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  <p:sldMasterId id="2147483736" r:id="rId5"/>
    <p:sldMasterId id="2147483742" r:id="rId6"/>
  </p:sldMasterIdLst>
  <p:notesMasterIdLst>
    <p:notesMasterId r:id="rId19"/>
  </p:notesMasterIdLst>
  <p:sldIdLst>
    <p:sldId id="475" r:id="rId7"/>
    <p:sldId id="476" r:id="rId8"/>
    <p:sldId id="479" r:id="rId9"/>
    <p:sldId id="480" r:id="rId10"/>
    <p:sldId id="478" r:id="rId11"/>
    <p:sldId id="481" r:id="rId12"/>
    <p:sldId id="483" r:id="rId13"/>
    <p:sldId id="484" r:id="rId14"/>
    <p:sldId id="486" r:id="rId15"/>
    <p:sldId id="485" r:id="rId16"/>
    <p:sldId id="482" r:id="rId17"/>
    <p:sldId id="487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2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1F04"/>
    <a:srgbClr val="FFBE00"/>
    <a:srgbClr val="FF0000"/>
    <a:srgbClr val="262626"/>
    <a:srgbClr val="02558D"/>
    <a:srgbClr val="1C819E"/>
    <a:srgbClr val="1579C3"/>
    <a:srgbClr val="FFFFFF"/>
    <a:srgbClr val="E2E2E2"/>
    <a:srgbClr val="065F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20" autoAdjust="0"/>
    <p:restoredTop sz="95330" autoAdjust="0"/>
  </p:normalViewPr>
  <p:slideViewPr>
    <p:cSldViewPr snapToGrid="0" showGuides="1">
      <p:cViewPr varScale="1">
        <p:scale>
          <a:sx n="82" d="100"/>
          <a:sy n="82" d="100"/>
        </p:scale>
        <p:origin x="182" y="48"/>
      </p:cViewPr>
      <p:guideLst>
        <p:guide orient="horz" pos="2160"/>
        <p:guide pos="372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, Venkataramana" userId="8fd13519-9d44-4c5c-a080-80bc5c0a396b" providerId="ADAL" clId="{BD24E259-290D-49BE-B98C-7A8A73C73D13}"/>
    <pc:docChg chg="delSld">
      <pc:chgData name="M, Venkataramana" userId="8fd13519-9d44-4c5c-a080-80bc5c0a396b" providerId="ADAL" clId="{BD24E259-290D-49BE-B98C-7A8A73C73D13}" dt="2021-05-21T08:57:06.960" v="0" actId="47"/>
      <pc:docMkLst>
        <pc:docMk/>
      </pc:docMkLst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3821843787" sldId="263"/>
        </pc:sldMkLst>
      </pc:sldChg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1765669688" sldId="266"/>
        </pc:sldMkLst>
      </pc:sldChg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3680388390" sldId="267"/>
        </pc:sldMkLst>
      </pc:sldChg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1175773396" sldId="268"/>
        </pc:sldMkLst>
      </pc:sldChg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907144581" sldId="269"/>
        </pc:sldMkLst>
      </pc:sldChg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229409618" sldId="288"/>
        </pc:sldMkLst>
      </pc:sldChg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3524005048" sldId="291"/>
        </pc:sldMkLst>
      </pc:sldChg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3844775565" sldId="292"/>
        </pc:sldMkLst>
      </pc:sldChg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2357129162" sldId="446"/>
        </pc:sldMkLst>
      </pc:sldChg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3916975149" sldId="5984"/>
        </pc:sldMkLst>
      </pc:sldChg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3889860807" sldId="5985"/>
        </pc:sldMkLst>
      </pc:sldChg>
      <pc:sldChg chg="del">
        <pc:chgData name="M, Venkataramana" userId="8fd13519-9d44-4c5c-a080-80bc5c0a396b" providerId="ADAL" clId="{BD24E259-290D-49BE-B98C-7A8A73C73D13}" dt="2021-05-21T08:57:06.960" v="0" actId="47"/>
        <pc:sldMkLst>
          <pc:docMk/>
          <pc:sldMk cId="2863063625" sldId="5986"/>
        </pc:sldMkLst>
      </pc:sldChg>
      <pc:sldMasterChg chg="delSldLayout">
        <pc:chgData name="M, Venkataramana" userId="8fd13519-9d44-4c5c-a080-80bc5c0a396b" providerId="ADAL" clId="{BD24E259-290D-49BE-B98C-7A8A73C73D13}" dt="2021-05-21T08:57:06.960" v="0" actId="47"/>
        <pc:sldMasterMkLst>
          <pc:docMk/>
          <pc:sldMasterMk cId="84526258" sldId="2147483742"/>
        </pc:sldMasterMkLst>
        <pc:sldLayoutChg chg="del">
          <pc:chgData name="M, Venkataramana" userId="8fd13519-9d44-4c5c-a080-80bc5c0a396b" providerId="ADAL" clId="{BD24E259-290D-49BE-B98C-7A8A73C73D13}" dt="2021-05-21T08:57:06.960" v="0" actId="47"/>
          <pc:sldLayoutMkLst>
            <pc:docMk/>
            <pc:sldMasterMk cId="84526258" sldId="2147483742"/>
            <pc:sldLayoutMk cId="4250426156" sldId="2147483771"/>
          </pc:sldLayoutMkLst>
        </pc:sldLayoutChg>
        <pc:sldLayoutChg chg="del">
          <pc:chgData name="M, Venkataramana" userId="8fd13519-9d44-4c5c-a080-80bc5c0a396b" providerId="ADAL" clId="{BD24E259-290D-49BE-B98C-7A8A73C73D13}" dt="2021-05-21T08:57:06.960" v="0" actId="47"/>
          <pc:sldLayoutMkLst>
            <pc:docMk/>
            <pc:sldMasterMk cId="84526258" sldId="2147483742"/>
            <pc:sldLayoutMk cId="3280344087" sldId="2147483772"/>
          </pc:sldLayoutMkLst>
        </pc:sldLayoutChg>
        <pc:sldLayoutChg chg="del">
          <pc:chgData name="M, Venkataramana" userId="8fd13519-9d44-4c5c-a080-80bc5c0a396b" providerId="ADAL" clId="{BD24E259-290D-49BE-B98C-7A8A73C73D13}" dt="2021-05-21T08:57:06.960" v="0" actId="47"/>
          <pc:sldLayoutMkLst>
            <pc:docMk/>
            <pc:sldMasterMk cId="84526258" sldId="2147483742"/>
            <pc:sldLayoutMk cId="788345886" sldId="2147483773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9DE434-43F4-4021-A3EF-C600C5CA999E}" type="datetimeFigureOut">
              <a:rPr lang="en-IN" smtClean="0"/>
              <a:t>15-07-2022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1FDA2E-3CFD-4428-8A76-AEA5B4D6443B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42071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1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356031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10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262581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11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417346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12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12621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2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2384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3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68650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4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77701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5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430346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6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512590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7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836360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8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25102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DA2E-3CFD-4428-8A76-AEA5B4D6443B}" type="slidenum">
              <a:rPr lang="en-IN" smtClean="0"/>
              <a:t>9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788298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969F0-C7D8-4E79-B859-1100ED0954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ison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4CE19D-FF70-467B-A6DC-D818C6BCC0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2AC51D-E91A-4036-A2A7-1C8978C8CC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225" y="325438"/>
            <a:ext cx="2695575" cy="40798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48E81A-3047-44B7-97CD-29A1275E15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635794"/>
            <a:ext cx="5414962" cy="481013"/>
          </a:xfrm>
          <a:solidFill>
            <a:srgbClr val="02558D"/>
          </a:solidFill>
        </p:spPr>
        <p:txBody>
          <a:bodyPr anchor="ctr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7B8354-9DE5-4D0A-9650-E3E15CD07C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2572417"/>
            <a:ext cx="5414962" cy="3106487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convalli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ari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. Cra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perdi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odale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mi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nte ipsum,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p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n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endrer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.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ibero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di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rna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d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ignissi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uc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rc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vestibulum porta ligula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mentu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raesen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ore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ivam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ect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x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bland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sue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ur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rtti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  <a:endParaRPr lang="en-IN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B2D7D6B-4C00-467F-AE74-08F2084798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84942" y="1635125"/>
            <a:ext cx="5414962" cy="481013"/>
          </a:xfrm>
          <a:solidFill>
            <a:srgbClr val="02558D"/>
          </a:solidFill>
        </p:spPr>
        <p:txBody>
          <a:bodyPr anchor="ctr">
            <a:normAutofit/>
          </a:bodyPr>
          <a:lstStyle>
            <a:lvl1pPr algn="ctr"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FCDE2E8-AE1D-4E6B-9299-550A7470A5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4942" y="2571750"/>
            <a:ext cx="5414962" cy="3106738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convalli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ari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. Cra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perdi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odale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mi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nte ipsum,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p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n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endrer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.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ibero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di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rna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d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ignissi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uc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rc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vestibulum porta ligula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mentu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raesen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ore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ivam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ect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x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bland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sue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ur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rtti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  <a:endParaRPr lang="en-IN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B02E6C03-D9B2-4C93-8448-0E20FDE928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7E3DACE-A469-478B-8A08-4ED6F97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06376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Chart Placeholder 41">
            <a:extLst>
              <a:ext uri="{FF2B5EF4-FFF2-40B4-BE49-F238E27FC236}">
                <a16:creationId xmlns:a16="http://schemas.microsoft.com/office/drawing/2014/main" id="{49D02932-E51C-4413-8FF2-A298160492DB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1004888" y="1733550"/>
            <a:ext cx="2297112" cy="2179638"/>
          </a:xfrm>
          <a:noFill/>
        </p:spPr>
        <p:txBody>
          <a:bodyPr/>
          <a:lstStyle/>
          <a:p>
            <a:endParaRPr lang="en-IN"/>
          </a:p>
        </p:txBody>
      </p:sp>
      <p:sp>
        <p:nvSpPr>
          <p:cNvPr id="44" name="Chart Placeholder 43">
            <a:extLst>
              <a:ext uri="{FF2B5EF4-FFF2-40B4-BE49-F238E27FC236}">
                <a16:creationId xmlns:a16="http://schemas.microsoft.com/office/drawing/2014/main" id="{06032C4C-6683-4593-BAFF-1579AD7D3090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618104" y="1733550"/>
            <a:ext cx="2305050" cy="2179638"/>
          </a:xfrm>
          <a:noFill/>
        </p:spPr>
        <p:txBody>
          <a:bodyPr/>
          <a:lstStyle/>
          <a:p>
            <a:endParaRPr lang="en-IN"/>
          </a:p>
        </p:txBody>
      </p:sp>
      <p:sp>
        <p:nvSpPr>
          <p:cNvPr id="46" name="Chart Placeholder 45">
            <a:extLst>
              <a:ext uri="{FF2B5EF4-FFF2-40B4-BE49-F238E27FC236}">
                <a16:creationId xmlns:a16="http://schemas.microsoft.com/office/drawing/2014/main" id="{D580A754-399E-4A00-B5E9-C8D7E121B079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252958" y="1733550"/>
            <a:ext cx="2311400" cy="2179638"/>
          </a:xfrm>
          <a:noFill/>
        </p:spPr>
        <p:txBody>
          <a:bodyPr/>
          <a:lstStyle/>
          <a:p>
            <a:endParaRPr lang="en-IN"/>
          </a:p>
        </p:txBody>
      </p:sp>
      <p:sp>
        <p:nvSpPr>
          <p:cNvPr id="48" name="Chart Placeholder 47">
            <a:extLst>
              <a:ext uri="{FF2B5EF4-FFF2-40B4-BE49-F238E27FC236}">
                <a16:creationId xmlns:a16="http://schemas.microsoft.com/office/drawing/2014/main" id="{2E0023AD-2AAA-42C3-83E3-ADA1E89C8DC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886218" y="1733550"/>
            <a:ext cx="2325687" cy="2179638"/>
          </a:xfrm>
          <a:noFill/>
        </p:spPr>
        <p:txBody>
          <a:bodyPr/>
          <a:lstStyle/>
          <a:p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3BC09E-7D3F-4CB2-871F-D24F31717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404E9C-6EF3-47FE-8297-9B15ED377A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124310A-4C24-460A-AA41-05B956B21323}"/>
              </a:ext>
            </a:extLst>
          </p:cNvPr>
          <p:cNvCxnSpPr/>
          <p:nvPr/>
        </p:nvCxnSpPr>
        <p:spPr>
          <a:xfrm>
            <a:off x="1214597" y="5126011"/>
            <a:ext cx="191364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4352288-E94D-4C8A-BE0C-FD9AA096FF4B}"/>
              </a:ext>
            </a:extLst>
          </p:cNvPr>
          <p:cNvCxnSpPr/>
          <p:nvPr/>
        </p:nvCxnSpPr>
        <p:spPr>
          <a:xfrm>
            <a:off x="3825540" y="5126011"/>
            <a:ext cx="191364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D9FD19D-3816-40F7-82FE-87D7D7764BBC}"/>
              </a:ext>
            </a:extLst>
          </p:cNvPr>
          <p:cNvCxnSpPr/>
          <p:nvPr/>
        </p:nvCxnSpPr>
        <p:spPr>
          <a:xfrm>
            <a:off x="6452818" y="5126011"/>
            <a:ext cx="191364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48949FA-F560-422F-B392-E1688290D721}"/>
              </a:ext>
            </a:extLst>
          </p:cNvPr>
          <p:cNvCxnSpPr/>
          <p:nvPr/>
        </p:nvCxnSpPr>
        <p:spPr>
          <a:xfrm>
            <a:off x="9081627" y="5126011"/>
            <a:ext cx="191364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08A386CC-7C96-4E8A-A991-BD1CE72B60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4887" y="4424927"/>
            <a:ext cx="2297114" cy="585787"/>
          </a:xfrm>
        </p:spPr>
        <p:txBody>
          <a:bodyPr>
            <a:noAutofit/>
          </a:bodyPr>
          <a:lstStyle>
            <a:lvl1pPr algn="ctr">
              <a:defRPr sz="40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774DCE23-7F07-4A9D-8E36-CEB2A63F88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04888" y="5241309"/>
            <a:ext cx="2297112" cy="338555"/>
          </a:xfrm>
        </p:spPr>
        <p:txBody>
          <a:bodyPr anchor="ctr">
            <a:normAutofit/>
          </a:bodyPr>
          <a:lstStyle>
            <a:lvl1pPr algn="ctr"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A6A35285-2EC4-4025-A658-F68D96CB76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26042" y="4424363"/>
            <a:ext cx="2297112" cy="585787"/>
          </a:xfrm>
        </p:spPr>
        <p:txBody>
          <a:bodyPr anchor="ctr">
            <a:noAutofit/>
          </a:bodyPr>
          <a:lstStyle>
            <a:lvl1pPr algn="ctr">
              <a:defRPr sz="40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2303B642-41FA-4F2D-8DBB-9B826D131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18104" y="5238885"/>
            <a:ext cx="2297112" cy="338138"/>
          </a:xfrm>
        </p:spPr>
        <p:txBody>
          <a:bodyPr anchor="ctr"/>
          <a:lstStyle>
            <a:lvl1pPr algn="ctr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6E7E43E9-10E4-4FE1-9D90-782124B064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38875" y="4424363"/>
            <a:ext cx="2305050" cy="585787"/>
          </a:xfrm>
        </p:spPr>
        <p:txBody>
          <a:bodyPr anchor="ctr">
            <a:noAutofit/>
          </a:bodyPr>
          <a:lstStyle>
            <a:lvl1pPr algn="ctr">
              <a:defRPr sz="40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9FC45D19-FC69-4F15-9259-D9D0094AD5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31320" y="5238885"/>
            <a:ext cx="2305050" cy="338138"/>
          </a:xfrm>
        </p:spPr>
        <p:txBody>
          <a:bodyPr anchor="ctr"/>
          <a:lstStyle>
            <a:lvl1pPr algn="ctr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F9B7D4E6-F3E4-4456-A332-088F25B2BD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78280" y="4424363"/>
            <a:ext cx="2333625" cy="585787"/>
          </a:xfrm>
        </p:spPr>
        <p:txBody>
          <a:bodyPr anchor="ctr">
            <a:noAutofit/>
          </a:bodyPr>
          <a:lstStyle>
            <a:lvl1pPr algn="ctr">
              <a:defRPr sz="40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E2E66343-B3D6-4B13-8CBC-2CEB8384334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877576" y="5238750"/>
            <a:ext cx="2311400" cy="338138"/>
          </a:xfrm>
        </p:spPr>
        <p:txBody>
          <a:bodyPr anchor="ctr"/>
          <a:lstStyle>
            <a:lvl1pPr algn="ctr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8B449B43-0F09-45B5-A51C-FE88D341E5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38975" y="349250"/>
            <a:ext cx="2659063" cy="338138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DE4FF85-6B28-4748-A3B2-EF0E832CCD0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925AE3DF-C729-45D1-9078-9706723BCC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6055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5B1C7-AA32-4DEE-8B89-FF571210F7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45ABDA-3073-4D97-9DE6-A5D37A665D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2C1C8173-A55E-432B-ACFB-335F5FCD63C5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407988" y="1287463"/>
            <a:ext cx="8086307" cy="4716462"/>
          </a:xfrm>
        </p:spPr>
        <p:txBody>
          <a:bodyPr/>
          <a:lstStyle/>
          <a:p>
            <a:endParaRPr lang="en-IN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8A5E0D-F92E-48A9-81B8-11B129A2FD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08305" y="3489409"/>
            <a:ext cx="2791494" cy="2514516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Nunc </a:t>
            </a:r>
            <a:r>
              <a:rPr lang="en-US" dirty="0" err="1"/>
              <a:t>venenatis</a:t>
            </a:r>
            <a:r>
              <a:rPr lang="en-US" dirty="0"/>
              <a:t> ligula vel </a:t>
            </a:r>
            <a:r>
              <a:rPr lang="en-US" dirty="0" err="1"/>
              <a:t>metus</a:t>
            </a:r>
            <a:r>
              <a:rPr lang="en-US" dirty="0"/>
              <a:t> vestibulum, pulvinar </a:t>
            </a:r>
            <a:r>
              <a:rPr lang="en-US" dirty="0" err="1"/>
              <a:t>volutpat</a:t>
            </a:r>
            <a:r>
              <a:rPr lang="en-US" dirty="0"/>
              <a:t> ligula gravida</a:t>
            </a:r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F4708B-8329-4CBE-BF0B-4B0587A807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09079" y="2583191"/>
            <a:ext cx="2790825" cy="577766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pPr lvl="0"/>
            <a:r>
              <a:rPr lang="en-US" dirty="0"/>
              <a:t>0000 Million</a:t>
            </a:r>
            <a:endParaRPr lang="en-IN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9913CDD-8720-4E60-AFC7-7891C3EDB87B}"/>
              </a:ext>
            </a:extLst>
          </p:cNvPr>
          <p:cNvSpPr/>
          <p:nvPr userDrawn="1"/>
        </p:nvSpPr>
        <p:spPr>
          <a:xfrm>
            <a:off x="8908305" y="1287463"/>
            <a:ext cx="967276" cy="967276"/>
          </a:xfrm>
          <a:prstGeom prst="ellipse">
            <a:avLst/>
          </a:prstGeom>
          <a:solidFill>
            <a:srgbClr val="09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A5BAE310-CA19-492F-8216-67DC98F57E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074890" y="1453561"/>
            <a:ext cx="634594" cy="63459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6317E08-82B3-49BD-A412-7476821C8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8281395-0C92-45BF-87C6-28928D3CA5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003757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3E3C1661-1AC3-4B0E-A448-2307514C4F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609" y="2094748"/>
            <a:ext cx="1126730" cy="368689"/>
          </a:xfrm>
        </p:spPr>
        <p:txBody>
          <a:bodyPr anchor="ctr">
            <a:noAutofit/>
          </a:bodyPr>
          <a:lstStyle>
            <a:lvl1pPr algn="ctr">
              <a:defRPr sz="28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26" name="Chart Placeholder 25">
            <a:extLst>
              <a:ext uri="{FF2B5EF4-FFF2-40B4-BE49-F238E27FC236}">
                <a16:creationId xmlns:a16="http://schemas.microsoft.com/office/drawing/2014/main" id="{99637227-E3C8-4C62-8C2E-739E531E44E1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3203106" y="1797889"/>
            <a:ext cx="8156662" cy="3645568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E7532B-CAFE-4A74-8799-CC87DAA9F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5BB556-A027-46E7-BB80-6F0B01FCB8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979B6C8-0C99-447E-8907-3982F1644D3D}"/>
              </a:ext>
            </a:extLst>
          </p:cNvPr>
          <p:cNvGrpSpPr/>
          <p:nvPr userDrawn="1"/>
        </p:nvGrpSpPr>
        <p:grpSpPr>
          <a:xfrm>
            <a:off x="786250" y="1797888"/>
            <a:ext cx="2416853" cy="3645569"/>
            <a:chOff x="786250" y="1797888"/>
            <a:chExt cx="10573518" cy="3645569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398212A-6003-48B9-9B89-31ABD7D2CC40}"/>
                </a:ext>
              </a:extLst>
            </p:cNvPr>
            <p:cNvCxnSpPr>
              <a:cxnSpLocks/>
            </p:cNvCxnSpPr>
            <p:nvPr/>
          </p:nvCxnSpPr>
          <p:spPr>
            <a:xfrm>
              <a:off x="786250" y="2712288"/>
              <a:ext cx="105735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DB7AFC3-EB98-426B-8F07-4B44203A3E5E}"/>
                </a:ext>
              </a:extLst>
            </p:cNvPr>
            <p:cNvCxnSpPr>
              <a:cxnSpLocks/>
            </p:cNvCxnSpPr>
            <p:nvPr/>
          </p:nvCxnSpPr>
          <p:spPr>
            <a:xfrm>
              <a:off x="786250" y="3626688"/>
              <a:ext cx="105735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CCEEBEB-7513-4D30-B89B-85784B1341A5}"/>
                </a:ext>
              </a:extLst>
            </p:cNvPr>
            <p:cNvCxnSpPr>
              <a:cxnSpLocks/>
            </p:cNvCxnSpPr>
            <p:nvPr/>
          </p:nvCxnSpPr>
          <p:spPr>
            <a:xfrm>
              <a:off x="786250" y="4541088"/>
              <a:ext cx="105735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7F4F681-0F35-4B5F-B137-206F7970915A}"/>
                </a:ext>
              </a:extLst>
            </p:cNvPr>
            <p:cNvCxnSpPr>
              <a:cxnSpLocks/>
            </p:cNvCxnSpPr>
            <p:nvPr/>
          </p:nvCxnSpPr>
          <p:spPr>
            <a:xfrm>
              <a:off x="786250" y="1797888"/>
              <a:ext cx="105735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CF9B6CB-CC24-45CC-AE19-23FD74B41472}"/>
                </a:ext>
              </a:extLst>
            </p:cNvPr>
            <p:cNvCxnSpPr>
              <a:cxnSpLocks/>
            </p:cNvCxnSpPr>
            <p:nvPr/>
          </p:nvCxnSpPr>
          <p:spPr>
            <a:xfrm>
              <a:off x="786250" y="5443457"/>
              <a:ext cx="105735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3DAB75A-BB6B-46D3-9AEE-9938B861BCA7}"/>
              </a:ext>
            </a:extLst>
          </p:cNvPr>
          <p:cNvCxnSpPr/>
          <p:nvPr userDrawn="1"/>
        </p:nvCxnSpPr>
        <p:spPr>
          <a:xfrm>
            <a:off x="786250" y="1797888"/>
            <a:ext cx="0" cy="364556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598E75F-5770-4297-9DCC-90769C2C2807}"/>
              </a:ext>
            </a:extLst>
          </p:cNvPr>
          <p:cNvCxnSpPr/>
          <p:nvPr userDrawn="1"/>
        </p:nvCxnSpPr>
        <p:spPr>
          <a:xfrm>
            <a:off x="2024013" y="1797888"/>
            <a:ext cx="0" cy="364556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8FCB776C-0724-45C0-8ECA-5385F31E1539}"/>
              </a:ext>
            </a:extLst>
          </p:cNvPr>
          <p:cNvSpPr txBox="1"/>
          <p:nvPr userDrawn="1"/>
        </p:nvSpPr>
        <p:spPr>
          <a:xfrm>
            <a:off x="8287862" y="2134033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5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B7CB32E-2782-4188-B1CD-6CCD7BF6A76C}"/>
              </a:ext>
            </a:extLst>
          </p:cNvPr>
          <p:cNvSpPr txBox="1"/>
          <p:nvPr userDrawn="1"/>
        </p:nvSpPr>
        <p:spPr>
          <a:xfrm>
            <a:off x="3796164" y="3037802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  <a:r>
              <a:rPr lang="id-ID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C5C06A-820A-4300-8154-B17D37B22AED}"/>
              </a:ext>
            </a:extLst>
          </p:cNvPr>
          <p:cNvSpPr txBox="1"/>
          <p:nvPr userDrawn="1"/>
        </p:nvSpPr>
        <p:spPr>
          <a:xfrm>
            <a:off x="10045217" y="3951405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0</a:t>
            </a:r>
            <a:r>
              <a:rPr lang="id-ID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%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0112499-364F-4659-94C2-D7A9467649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68121" y="2040593"/>
            <a:ext cx="936406" cy="411163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C30D97AD-C9F7-45EC-837A-5CD992B89E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2382" y="2942603"/>
            <a:ext cx="936405" cy="442912"/>
          </a:xfrm>
        </p:spPr>
        <p:txBody>
          <a:bodyPr anchor="ctr">
            <a:normAutofit/>
          </a:bodyPr>
          <a:lstStyle>
            <a:lvl1pPr algn="ctr">
              <a:def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C7309E8-7BAE-4288-B378-03373C19CF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62163" y="3867862"/>
            <a:ext cx="974770" cy="442912"/>
          </a:xfrm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51B2ACF0-BD3E-4B73-8253-4AEBEDB73B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62163" y="4760155"/>
            <a:ext cx="974725" cy="442913"/>
          </a:xfrm>
        </p:spPr>
        <p:txBody>
          <a:bodyPr>
            <a:normAutofit/>
          </a:bodyPr>
          <a:lstStyle>
            <a:lvl1pPr algn="ctr"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A399B453-07FC-4545-A125-FB663B7948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1699" y="2987090"/>
            <a:ext cx="1133640" cy="385763"/>
          </a:xfrm>
        </p:spPr>
        <p:txBody>
          <a:bodyPr>
            <a:noAutofit/>
          </a:bodyPr>
          <a:lstStyle>
            <a:lvl1pPr algn="ctr">
              <a:defRPr sz="28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A1F626DC-D61A-4200-9B24-5989DED97B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857" y="3901688"/>
            <a:ext cx="1159049" cy="392113"/>
          </a:xfrm>
        </p:spPr>
        <p:txBody>
          <a:bodyPr anchor="ctr">
            <a:noAutofit/>
          </a:bodyPr>
          <a:lstStyle>
            <a:lvl1pPr algn="ctr">
              <a:defRPr sz="2800" b="1"/>
            </a:lvl1pPr>
          </a:lstStyle>
          <a:p>
            <a:pPr lvl="0"/>
            <a:r>
              <a:rPr lang="en-US" dirty="0"/>
              <a:t>0000</a:t>
            </a:r>
            <a:endParaRPr lang="en-IN" dirty="0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012B698D-4C01-4E07-ADED-52032DA523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738" y="4776709"/>
            <a:ext cx="1144587" cy="398463"/>
          </a:xfrm>
        </p:spPr>
        <p:txBody>
          <a:bodyPr anchor="ctr">
            <a:noAutofit/>
          </a:bodyPr>
          <a:lstStyle>
            <a:lvl1pPr algn="ctr">
              <a:defRPr sz="2800" b="1"/>
            </a:lvl1pPr>
          </a:lstStyle>
          <a:p>
            <a:pPr lvl="0"/>
            <a:r>
              <a:rPr lang="en-US" dirty="0"/>
              <a:t>0000</a:t>
            </a:r>
            <a:endParaRPr lang="en-IN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4C852C-71DA-43CB-A028-1AA58BF574F9}"/>
              </a:ext>
            </a:extLst>
          </p:cNvPr>
          <p:cNvCxnSpPr/>
          <p:nvPr userDrawn="1"/>
        </p:nvCxnSpPr>
        <p:spPr>
          <a:xfrm>
            <a:off x="3203103" y="1797888"/>
            <a:ext cx="0" cy="364556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A240331-EC4E-4280-8216-90661BA253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0CFF8865-AB00-4964-BDC8-E0BF73B830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250858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Flowchart: Process 197">
            <a:extLst>
              <a:ext uri="{FF2B5EF4-FFF2-40B4-BE49-F238E27FC236}">
                <a16:creationId xmlns:a16="http://schemas.microsoft.com/office/drawing/2014/main" id="{13AB0A99-ECE6-4725-981C-AD1795EF1B88}"/>
              </a:ext>
            </a:extLst>
          </p:cNvPr>
          <p:cNvSpPr/>
          <p:nvPr userDrawn="1"/>
        </p:nvSpPr>
        <p:spPr>
          <a:xfrm>
            <a:off x="0" y="4451952"/>
            <a:ext cx="12192000" cy="1311442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B45829-3988-4230-8BA3-D51F29536B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15495" y="1281780"/>
            <a:ext cx="318464" cy="55762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75A304E-02A0-4613-B0A8-AB3EC53BDE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913800" y="1281780"/>
            <a:ext cx="318464" cy="55762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BB1D95C-814A-467B-8D21-66F05104C4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02339" y="1281780"/>
            <a:ext cx="318464" cy="55762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FA640C2-F4A2-43DF-A2B7-79F6399F45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06818" y="1281780"/>
            <a:ext cx="318464" cy="557622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085C62B-C23D-4939-91FD-EB35D8FFBA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05267" y="1281780"/>
            <a:ext cx="318464" cy="557622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6BD930A-6C6A-4630-826A-1E56B548E1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95106" y="1281780"/>
            <a:ext cx="318464" cy="557622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FE2FE2F-BA87-4156-8848-5B5ED29963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5726" y="1281780"/>
            <a:ext cx="318464" cy="5576220"/>
          </a:xfrm>
          <a:prstGeom prst="rect">
            <a:avLst/>
          </a:prstGeom>
        </p:spPr>
      </p:pic>
      <p:sp>
        <p:nvSpPr>
          <p:cNvPr id="8" name="Freeform 7">
            <a:extLst>
              <a:ext uri="{FF2B5EF4-FFF2-40B4-BE49-F238E27FC236}">
                <a16:creationId xmlns:a16="http://schemas.microsoft.com/office/drawing/2014/main" id="{7700D0F6-2A00-46E9-8260-7C6A1BA42F96}"/>
              </a:ext>
            </a:extLst>
          </p:cNvPr>
          <p:cNvSpPr>
            <a:spLocks/>
          </p:cNvSpPr>
          <p:nvPr userDrawn="1"/>
        </p:nvSpPr>
        <p:spPr bwMode="auto">
          <a:xfrm>
            <a:off x="12011216" y="1243298"/>
            <a:ext cx="180783" cy="1399775"/>
          </a:xfrm>
          <a:custGeom>
            <a:avLst/>
            <a:gdLst>
              <a:gd name="T0" fmla="*/ 54 w 81"/>
              <a:gd name="T1" fmla="*/ 575 h 628"/>
              <a:gd name="T2" fmla="*/ 54 w 81"/>
              <a:gd name="T3" fmla="*/ 0 h 628"/>
              <a:gd name="T4" fmla="*/ 0 w 81"/>
              <a:gd name="T5" fmla="*/ 11 h 628"/>
              <a:gd name="T6" fmla="*/ 0 w 81"/>
              <a:gd name="T7" fmla="*/ 628 h 628"/>
              <a:gd name="T8" fmla="*/ 54 w 81"/>
              <a:gd name="T9" fmla="*/ 617 h 628"/>
              <a:gd name="T10" fmla="*/ 54 w 81"/>
              <a:gd name="T11" fmla="*/ 617 h 628"/>
              <a:gd name="T12" fmla="*/ 80 w 81"/>
              <a:gd name="T13" fmla="*/ 587 h 628"/>
              <a:gd name="T14" fmla="*/ 54 w 81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1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61AE51EB-126B-43D0-87C5-0CF4EC956AFC}"/>
              </a:ext>
            </a:extLst>
          </p:cNvPr>
          <p:cNvSpPr>
            <a:spLocks/>
          </p:cNvSpPr>
          <p:nvPr userDrawn="1"/>
        </p:nvSpPr>
        <p:spPr bwMode="auto">
          <a:xfrm>
            <a:off x="10007111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20DB9334-B7F9-4570-887A-FDC0243A29DF}"/>
              </a:ext>
            </a:extLst>
          </p:cNvPr>
          <p:cNvSpPr>
            <a:spLocks/>
          </p:cNvSpPr>
          <p:nvPr userDrawn="1"/>
        </p:nvSpPr>
        <p:spPr bwMode="auto">
          <a:xfrm>
            <a:off x="10007111" y="1262348"/>
            <a:ext cx="182504" cy="1399775"/>
          </a:xfrm>
          <a:custGeom>
            <a:avLst/>
            <a:gdLst>
              <a:gd name="T0" fmla="*/ 54 w 82"/>
              <a:gd name="T1" fmla="*/ 575 h 628"/>
              <a:gd name="T2" fmla="*/ 54 w 82"/>
              <a:gd name="T3" fmla="*/ 0 h 628"/>
              <a:gd name="T4" fmla="*/ 0 w 82"/>
              <a:gd name="T5" fmla="*/ 11 h 628"/>
              <a:gd name="T6" fmla="*/ 0 w 82"/>
              <a:gd name="T7" fmla="*/ 628 h 628"/>
              <a:gd name="T8" fmla="*/ 54 w 82"/>
              <a:gd name="T9" fmla="*/ 617 h 628"/>
              <a:gd name="T10" fmla="*/ 54 w 82"/>
              <a:gd name="T11" fmla="*/ 617 h 628"/>
              <a:gd name="T12" fmla="*/ 80 w 82"/>
              <a:gd name="T13" fmla="*/ 587 h 628"/>
              <a:gd name="T14" fmla="*/ 54 w 82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2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983B06B3-8CCA-4B68-80CF-FF75CB9CA1C3}"/>
              </a:ext>
            </a:extLst>
          </p:cNvPr>
          <p:cNvSpPr>
            <a:spLocks/>
          </p:cNvSpPr>
          <p:nvPr userDrawn="1"/>
        </p:nvSpPr>
        <p:spPr bwMode="auto">
          <a:xfrm>
            <a:off x="8003006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FE3FE308-6A88-44D7-883F-294E1F63081A}"/>
              </a:ext>
            </a:extLst>
          </p:cNvPr>
          <p:cNvSpPr>
            <a:spLocks/>
          </p:cNvSpPr>
          <p:nvPr userDrawn="1"/>
        </p:nvSpPr>
        <p:spPr bwMode="auto">
          <a:xfrm>
            <a:off x="8003006" y="1262348"/>
            <a:ext cx="179061" cy="1399775"/>
          </a:xfrm>
          <a:custGeom>
            <a:avLst/>
            <a:gdLst>
              <a:gd name="T0" fmla="*/ 54 w 81"/>
              <a:gd name="T1" fmla="*/ 575 h 628"/>
              <a:gd name="T2" fmla="*/ 54 w 81"/>
              <a:gd name="T3" fmla="*/ 0 h 628"/>
              <a:gd name="T4" fmla="*/ 0 w 81"/>
              <a:gd name="T5" fmla="*/ 11 h 628"/>
              <a:gd name="T6" fmla="*/ 0 w 81"/>
              <a:gd name="T7" fmla="*/ 628 h 628"/>
              <a:gd name="T8" fmla="*/ 54 w 81"/>
              <a:gd name="T9" fmla="*/ 617 h 628"/>
              <a:gd name="T10" fmla="*/ 54 w 81"/>
              <a:gd name="T11" fmla="*/ 617 h 628"/>
              <a:gd name="T12" fmla="*/ 80 w 81"/>
              <a:gd name="T13" fmla="*/ 587 h 628"/>
              <a:gd name="T14" fmla="*/ 54 w 81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1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735E9ACF-0FEB-40AD-ADA8-9B7D24BDA41A}"/>
              </a:ext>
            </a:extLst>
          </p:cNvPr>
          <p:cNvSpPr>
            <a:spLocks/>
          </p:cNvSpPr>
          <p:nvPr userDrawn="1"/>
        </p:nvSpPr>
        <p:spPr bwMode="auto">
          <a:xfrm>
            <a:off x="5997180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F2CE6E4-E018-4758-8B92-2AB8A479912D}"/>
              </a:ext>
            </a:extLst>
          </p:cNvPr>
          <p:cNvGrpSpPr/>
          <p:nvPr userDrawn="1"/>
        </p:nvGrpSpPr>
        <p:grpSpPr>
          <a:xfrm>
            <a:off x="12011216" y="5108714"/>
            <a:ext cx="180783" cy="668842"/>
            <a:chOff x="12011216" y="6203320"/>
            <a:chExt cx="180783" cy="668842"/>
          </a:xfrm>
        </p:grpSpPr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3CFA2DF5-964D-4148-BD7C-710260CB5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1216" y="6203320"/>
              <a:ext cx="180783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67CE9B9B-1218-4D2B-96E9-A03E5FDAB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1216" y="6577744"/>
              <a:ext cx="180783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B11BFF5-92AF-4A33-83C2-9449107CF08F}"/>
              </a:ext>
            </a:extLst>
          </p:cNvPr>
          <p:cNvGrpSpPr/>
          <p:nvPr userDrawn="1"/>
        </p:nvGrpSpPr>
        <p:grpSpPr>
          <a:xfrm>
            <a:off x="10007111" y="5000245"/>
            <a:ext cx="2183166" cy="1089860"/>
            <a:chOff x="10007111" y="6094851"/>
            <a:chExt cx="2183166" cy="1089860"/>
          </a:xfrm>
        </p:grpSpPr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48E98C02-BA76-4567-B12A-666908320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111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C03DE34B-A9F6-4AF0-9ED6-10D6250F9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111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FA346AE-4EC1-4A92-A61E-3640E86489EE}"/>
              </a:ext>
            </a:extLst>
          </p:cNvPr>
          <p:cNvGrpSpPr/>
          <p:nvPr userDrawn="1"/>
        </p:nvGrpSpPr>
        <p:grpSpPr>
          <a:xfrm>
            <a:off x="10007111" y="5108714"/>
            <a:ext cx="182504" cy="678367"/>
            <a:chOff x="10007111" y="6203320"/>
            <a:chExt cx="182504" cy="678367"/>
          </a:xfrm>
        </p:grpSpPr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CF573CE3-14B2-4F23-91AD-B5F413B73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111" y="6203320"/>
              <a:ext cx="182504" cy="294418"/>
            </a:xfrm>
            <a:custGeom>
              <a:avLst/>
              <a:gdLst>
                <a:gd name="T0" fmla="*/ 54 w 82"/>
                <a:gd name="T1" fmla="*/ 79 h 132"/>
                <a:gd name="T2" fmla="*/ 54 w 82"/>
                <a:gd name="T3" fmla="*/ 0 h 132"/>
                <a:gd name="T4" fmla="*/ 0 w 82"/>
                <a:gd name="T5" fmla="*/ 11 h 132"/>
                <a:gd name="T6" fmla="*/ 0 w 82"/>
                <a:gd name="T7" fmla="*/ 132 h 132"/>
                <a:gd name="T8" fmla="*/ 54 w 82"/>
                <a:gd name="T9" fmla="*/ 121 h 132"/>
                <a:gd name="T10" fmla="*/ 54 w 82"/>
                <a:gd name="T11" fmla="*/ 121 h 132"/>
                <a:gd name="T12" fmla="*/ 80 w 82"/>
                <a:gd name="T13" fmla="*/ 91 h 132"/>
                <a:gd name="T14" fmla="*/ 54 w 82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2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8A28BDC9-7357-4BA7-83AF-5879ED61D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111" y="6587269"/>
              <a:ext cx="182504" cy="294418"/>
            </a:xfrm>
            <a:custGeom>
              <a:avLst/>
              <a:gdLst>
                <a:gd name="T0" fmla="*/ 54 w 82"/>
                <a:gd name="T1" fmla="*/ 79 h 132"/>
                <a:gd name="T2" fmla="*/ 54 w 82"/>
                <a:gd name="T3" fmla="*/ 0 h 132"/>
                <a:gd name="T4" fmla="*/ 0 w 82"/>
                <a:gd name="T5" fmla="*/ 11 h 132"/>
                <a:gd name="T6" fmla="*/ 0 w 82"/>
                <a:gd name="T7" fmla="*/ 132 h 132"/>
                <a:gd name="T8" fmla="*/ 54 w 82"/>
                <a:gd name="T9" fmla="*/ 121 h 132"/>
                <a:gd name="T10" fmla="*/ 54 w 82"/>
                <a:gd name="T11" fmla="*/ 121 h 132"/>
                <a:gd name="T12" fmla="*/ 80 w 82"/>
                <a:gd name="T13" fmla="*/ 91 h 132"/>
                <a:gd name="T14" fmla="*/ 54 w 82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2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02B9E27-FD4A-4EF3-9307-2ADE4D7503B0}"/>
              </a:ext>
            </a:extLst>
          </p:cNvPr>
          <p:cNvGrpSpPr/>
          <p:nvPr userDrawn="1"/>
        </p:nvGrpSpPr>
        <p:grpSpPr>
          <a:xfrm>
            <a:off x="8003006" y="5000245"/>
            <a:ext cx="2183166" cy="1089860"/>
            <a:chOff x="8003006" y="6094851"/>
            <a:chExt cx="2183166" cy="1089860"/>
          </a:xfrm>
        </p:grpSpPr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84A87437-5334-4B7F-98DB-DB0D8FB83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3006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4B0C2E85-67BA-4AE8-91E0-1464445CB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3006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172C8D2-AE07-47C0-92C1-9755CE651400}"/>
              </a:ext>
            </a:extLst>
          </p:cNvPr>
          <p:cNvGrpSpPr/>
          <p:nvPr userDrawn="1"/>
        </p:nvGrpSpPr>
        <p:grpSpPr>
          <a:xfrm>
            <a:off x="8003006" y="5108714"/>
            <a:ext cx="179061" cy="678367"/>
            <a:chOff x="8003006" y="6203320"/>
            <a:chExt cx="179061" cy="678367"/>
          </a:xfrm>
        </p:grpSpPr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6437B5C7-593C-4257-AC78-B7C31B833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3006" y="6203320"/>
              <a:ext cx="179061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2CBA57AE-CEB8-486A-80A4-5AA959E2E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3006" y="6587269"/>
              <a:ext cx="179061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78D7076-9C3E-4EBB-92CC-0390A80B6AD4}"/>
              </a:ext>
            </a:extLst>
          </p:cNvPr>
          <p:cNvGrpSpPr/>
          <p:nvPr userDrawn="1"/>
        </p:nvGrpSpPr>
        <p:grpSpPr>
          <a:xfrm>
            <a:off x="5997180" y="5000245"/>
            <a:ext cx="2183166" cy="1089860"/>
            <a:chOff x="5997180" y="6094851"/>
            <a:chExt cx="2183166" cy="1089860"/>
          </a:xfrm>
        </p:grpSpPr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33233997-4B2A-4C55-AF11-B7A6E1B3F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180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D560B5EA-1057-4819-9E05-391528B6B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180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5" name="Freeform 7">
            <a:extLst>
              <a:ext uri="{FF2B5EF4-FFF2-40B4-BE49-F238E27FC236}">
                <a16:creationId xmlns:a16="http://schemas.microsoft.com/office/drawing/2014/main" id="{4CF94926-FF33-42F5-AAD4-B964173D88F9}"/>
              </a:ext>
            </a:extLst>
          </p:cNvPr>
          <p:cNvSpPr>
            <a:spLocks/>
          </p:cNvSpPr>
          <p:nvPr userDrawn="1"/>
        </p:nvSpPr>
        <p:spPr bwMode="auto">
          <a:xfrm>
            <a:off x="5997180" y="1262348"/>
            <a:ext cx="180783" cy="1399775"/>
          </a:xfrm>
          <a:custGeom>
            <a:avLst/>
            <a:gdLst>
              <a:gd name="T0" fmla="*/ 54 w 81"/>
              <a:gd name="T1" fmla="*/ 575 h 628"/>
              <a:gd name="T2" fmla="*/ 54 w 81"/>
              <a:gd name="T3" fmla="*/ 0 h 628"/>
              <a:gd name="T4" fmla="*/ 0 w 81"/>
              <a:gd name="T5" fmla="*/ 11 h 628"/>
              <a:gd name="T6" fmla="*/ 0 w 81"/>
              <a:gd name="T7" fmla="*/ 628 h 628"/>
              <a:gd name="T8" fmla="*/ 54 w 81"/>
              <a:gd name="T9" fmla="*/ 617 h 628"/>
              <a:gd name="T10" fmla="*/ 54 w 81"/>
              <a:gd name="T11" fmla="*/ 617 h 628"/>
              <a:gd name="T12" fmla="*/ 80 w 81"/>
              <a:gd name="T13" fmla="*/ 587 h 628"/>
              <a:gd name="T14" fmla="*/ 54 w 81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1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6" name="Freeform 8">
            <a:extLst>
              <a:ext uri="{FF2B5EF4-FFF2-40B4-BE49-F238E27FC236}">
                <a16:creationId xmlns:a16="http://schemas.microsoft.com/office/drawing/2014/main" id="{F8B3D9E0-5072-47BA-9451-40DDF8408496}"/>
              </a:ext>
            </a:extLst>
          </p:cNvPr>
          <p:cNvSpPr>
            <a:spLocks/>
          </p:cNvSpPr>
          <p:nvPr userDrawn="1"/>
        </p:nvSpPr>
        <p:spPr bwMode="auto">
          <a:xfrm>
            <a:off x="3993076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7" name="Freeform 9">
            <a:extLst>
              <a:ext uri="{FF2B5EF4-FFF2-40B4-BE49-F238E27FC236}">
                <a16:creationId xmlns:a16="http://schemas.microsoft.com/office/drawing/2014/main" id="{9AEA11F4-CAF0-4281-938C-56E627F5A4F2}"/>
              </a:ext>
            </a:extLst>
          </p:cNvPr>
          <p:cNvSpPr>
            <a:spLocks/>
          </p:cNvSpPr>
          <p:nvPr userDrawn="1"/>
        </p:nvSpPr>
        <p:spPr bwMode="auto">
          <a:xfrm>
            <a:off x="3993076" y="1252823"/>
            <a:ext cx="182504" cy="1399775"/>
          </a:xfrm>
          <a:custGeom>
            <a:avLst/>
            <a:gdLst>
              <a:gd name="T0" fmla="*/ 54 w 82"/>
              <a:gd name="T1" fmla="*/ 575 h 628"/>
              <a:gd name="T2" fmla="*/ 54 w 82"/>
              <a:gd name="T3" fmla="*/ 0 h 628"/>
              <a:gd name="T4" fmla="*/ 0 w 82"/>
              <a:gd name="T5" fmla="*/ 11 h 628"/>
              <a:gd name="T6" fmla="*/ 0 w 82"/>
              <a:gd name="T7" fmla="*/ 628 h 628"/>
              <a:gd name="T8" fmla="*/ 54 w 82"/>
              <a:gd name="T9" fmla="*/ 617 h 628"/>
              <a:gd name="T10" fmla="*/ 54 w 82"/>
              <a:gd name="T11" fmla="*/ 617 h 628"/>
              <a:gd name="T12" fmla="*/ 80 w 82"/>
              <a:gd name="T13" fmla="*/ 587 h 628"/>
              <a:gd name="T14" fmla="*/ 54 w 82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2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8" name="Freeform 10">
            <a:extLst>
              <a:ext uri="{FF2B5EF4-FFF2-40B4-BE49-F238E27FC236}">
                <a16:creationId xmlns:a16="http://schemas.microsoft.com/office/drawing/2014/main" id="{310E6B59-0F41-461B-B75F-45BA86E05C22}"/>
              </a:ext>
            </a:extLst>
          </p:cNvPr>
          <p:cNvSpPr>
            <a:spLocks/>
          </p:cNvSpPr>
          <p:nvPr userDrawn="1"/>
        </p:nvSpPr>
        <p:spPr bwMode="auto">
          <a:xfrm>
            <a:off x="1988971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9" name="Freeform 11">
            <a:extLst>
              <a:ext uri="{FF2B5EF4-FFF2-40B4-BE49-F238E27FC236}">
                <a16:creationId xmlns:a16="http://schemas.microsoft.com/office/drawing/2014/main" id="{7D1DA31F-CB90-4987-914D-9763D9DF0CAB}"/>
              </a:ext>
            </a:extLst>
          </p:cNvPr>
          <p:cNvSpPr>
            <a:spLocks/>
          </p:cNvSpPr>
          <p:nvPr userDrawn="1"/>
        </p:nvSpPr>
        <p:spPr bwMode="auto">
          <a:xfrm>
            <a:off x="1988971" y="1262348"/>
            <a:ext cx="179061" cy="1399775"/>
          </a:xfrm>
          <a:custGeom>
            <a:avLst/>
            <a:gdLst>
              <a:gd name="T0" fmla="*/ 54 w 81"/>
              <a:gd name="T1" fmla="*/ 575 h 628"/>
              <a:gd name="T2" fmla="*/ 54 w 81"/>
              <a:gd name="T3" fmla="*/ 0 h 628"/>
              <a:gd name="T4" fmla="*/ 0 w 81"/>
              <a:gd name="T5" fmla="*/ 11 h 628"/>
              <a:gd name="T6" fmla="*/ 0 w 81"/>
              <a:gd name="T7" fmla="*/ 628 h 628"/>
              <a:gd name="T8" fmla="*/ 54 w 81"/>
              <a:gd name="T9" fmla="*/ 617 h 628"/>
              <a:gd name="T10" fmla="*/ 54 w 81"/>
              <a:gd name="T11" fmla="*/ 617 h 628"/>
              <a:gd name="T12" fmla="*/ 80 w 81"/>
              <a:gd name="T13" fmla="*/ 587 h 628"/>
              <a:gd name="T14" fmla="*/ 54 w 81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1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0" name="Freeform 12">
            <a:extLst>
              <a:ext uri="{FF2B5EF4-FFF2-40B4-BE49-F238E27FC236}">
                <a16:creationId xmlns:a16="http://schemas.microsoft.com/office/drawing/2014/main" id="{9C311B00-0C78-419A-852F-D3B603B9BF60}"/>
              </a:ext>
            </a:extLst>
          </p:cNvPr>
          <p:cNvSpPr>
            <a:spLocks/>
          </p:cNvSpPr>
          <p:nvPr userDrawn="1"/>
        </p:nvSpPr>
        <p:spPr bwMode="auto">
          <a:xfrm>
            <a:off x="-16855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45758DB-13FD-4D6F-B687-C9EF13584FA4}"/>
              </a:ext>
            </a:extLst>
          </p:cNvPr>
          <p:cNvGrpSpPr/>
          <p:nvPr userDrawn="1"/>
        </p:nvGrpSpPr>
        <p:grpSpPr>
          <a:xfrm>
            <a:off x="5997180" y="5108714"/>
            <a:ext cx="180783" cy="678367"/>
            <a:chOff x="5997180" y="6203320"/>
            <a:chExt cx="180783" cy="678367"/>
          </a:xfrm>
        </p:grpSpPr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2E39017E-F3B7-417A-8340-DEC7C4149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180" y="6203320"/>
              <a:ext cx="180783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5EE4CFF6-3C14-4959-A13C-FA6EFE520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180" y="6587269"/>
              <a:ext cx="180783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5B65723-DF28-4E38-8D15-01B6BB047D04}"/>
              </a:ext>
            </a:extLst>
          </p:cNvPr>
          <p:cNvGrpSpPr/>
          <p:nvPr userDrawn="1"/>
        </p:nvGrpSpPr>
        <p:grpSpPr>
          <a:xfrm>
            <a:off x="3993076" y="5000245"/>
            <a:ext cx="2183166" cy="1089860"/>
            <a:chOff x="3993076" y="6094851"/>
            <a:chExt cx="2183166" cy="1089860"/>
          </a:xfrm>
        </p:grpSpPr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3E712E8B-8B83-42AA-8397-0B4EE405C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076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DD49312B-07B0-4D20-A398-AC8DE2897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076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5CEFBB8-5CC3-4937-A935-41AC2077A5ED}"/>
              </a:ext>
            </a:extLst>
          </p:cNvPr>
          <p:cNvGrpSpPr/>
          <p:nvPr userDrawn="1"/>
        </p:nvGrpSpPr>
        <p:grpSpPr>
          <a:xfrm>
            <a:off x="3993076" y="5108714"/>
            <a:ext cx="182504" cy="678367"/>
            <a:chOff x="3993076" y="6203320"/>
            <a:chExt cx="182504" cy="678367"/>
          </a:xfrm>
        </p:grpSpPr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211F74F2-1F8D-4339-8BF8-CA8614B372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076" y="6203320"/>
              <a:ext cx="182504" cy="294418"/>
            </a:xfrm>
            <a:custGeom>
              <a:avLst/>
              <a:gdLst>
                <a:gd name="T0" fmla="*/ 54 w 82"/>
                <a:gd name="T1" fmla="*/ 79 h 132"/>
                <a:gd name="T2" fmla="*/ 54 w 82"/>
                <a:gd name="T3" fmla="*/ 0 h 132"/>
                <a:gd name="T4" fmla="*/ 0 w 82"/>
                <a:gd name="T5" fmla="*/ 11 h 132"/>
                <a:gd name="T6" fmla="*/ 0 w 82"/>
                <a:gd name="T7" fmla="*/ 132 h 132"/>
                <a:gd name="T8" fmla="*/ 54 w 82"/>
                <a:gd name="T9" fmla="*/ 121 h 132"/>
                <a:gd name="T10" fmla="*/ 54 w 82"/>
                <a:gd name="T11" fmla="*/ 121 h 132"/>
                <a:gd name="T12" fmla="*/ 80 w 82"/>
                <a:gd name="T13" fmla="*/ 91 h 132"/>
                <a:gd name="T14" fmla="*/ 54 w 82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2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CAFB290A-D7CF-49D5-877D-09C90D616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076" y="6587269"/>
              <a:ext cx="182504" cy="294418"/>
            </a:xfrm>
            <a:custGeom>
              <a:avLst/>
              <a:gdLst>
                <a:gd name="T0" fmla="*/ 54 w 82"/>
                <a:gd name="T1" fmla="*/ 79 h 132"/>
                <a:gd name="T2" fmla="*/ 54 w 82"/>
                <a:gd name="T3" fmla="*/ 0 h 132"/>
                <a:gd name="T4" fmla="*/ 0 w 82"/>
                <a:gd name="T5" fmla="*/ 11 h 132"/>
                <a:gd name="T6" fmla="*/ 0 w 82"/>
                <a:gd name="T7" fmla="*/ 132 h 132"/>
                <a:gd name="T8" fmla="*/ 54 w 82"/>
                <a:gd name="T9" fmla="*/ 121 h 132"/>
                <a:gd name="T10" fmla="*/ 54 w 82"/>
                <a:gd name="T11" fmla="*/ 121 h 132"/>
                <a:gd name="T12" fmla="*/ 80 w 82"/>
                <a:gd name="T13" fmla="*/ 91 h 132"/>
                <a:gd name="T14" fmla="*/ 54 w 82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2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3BC1834-392E-45DC-A51A-3B179EA973D6}"/>
              </a:ext>
            </a:extLst>
          </p:cNvPr>
          <p:cNvGrpSpPr/>
          <p:nvPr userDrawn="1"/>
        </p:nvGrpSpPr>
        <p:grpSpPr>
          <a:xfrm>
            <a:off x="1988971" y="5000245"/>
            <a:ext cx="2183166" cy="1089860"/>
            <a:chOff x="1988971" y="6094851"/>
            <a:chExt cx="2183166" cy="1089860"/>
          </a:xfrm>
        </p:grpSpPr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id="{C1AB3239-396B-4A61-8A83-D8AB58A03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971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A85A924B-1C4C-4A4A-9032-4D818265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971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D795F12-9932-49E1-AED9-EED83B866CEA}"/>
              </a:ext>
            </a:extLst>
          </p:cNvPr>
          <p:cNvGrpSpPr/>
          <p:nvPr userDrawn="1"/>
        </p:nvGrpSpPr>
        <p:grpSpPr>
          <a:xfrm>
            <a:off x="1988971" y="5108714"/>
            <a:ext cx="179061" cy="678367"/>
            <a:chOff x="1988971" y="6203320"/>
            <a:chExt cx="179061" cy="678367"/>
          </a:xfrm>
        </p:grpSpPr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C64363EA-56D5-4FFD-8707-6D8191717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971" y="6203320"/>
              <a:ext cx="179061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23">
              <a:extLst>
                <a:ext uri="{FF2B5EF4-FFF2-40B4-BE49-F238E27FC236}">
                  <a16:creationId xmlns:a16="http://schemas.microsoft.com/office/drawing/2014/main" id="{8B8F23BC-9130-4D07-9A5C-DF8DCB61B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971" y="6587269"/>
              <a:ext cx="179061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CF2B07C-08F4-46E6-9A85-3ECC703784FD}"/>
              </a:ext>
            </a:extLst>
          </p:cNvPr>
          <p:cNvGrpSpPr/>
          <p:nvPr userDrawn="1"/>
        </p:nvGrpSpPr>
        <p:grpSpPr>
          <a:xfrm>
            <a:off x="-16855" y="5000245"/>
            <a:ext cx="2183166" cy="1089860"/>
            <a:chOff x="-16855" y="6094851"/>
            <a:chExt cx="2183166" cy="1089860"/>
          </a:xfrm>
        </p:grpSpPr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id="{BBC7C8A9-C566-4BAF-A3F1-CA13DE6E9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855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24">
              <a:extLst>
                <a:ext uri="{FF2B5EF4-FFF2-40B4-BE49-F238E27FC236}">
                  <a16:creationId xmlns:a16="http://schemas.microsoft.com/office/drawing/2014/main" id="{CD91E709-5EEC-42D5-8DD8-80D7A4D6E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855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7A17BB6-649B-4220-8C28-01031E49EDEB}"/>
              </a:ext>
            </a:extLst>
          </p:cNvPr>
          <p:cNvGrpSpPr/>
          <p:nvPr/>
        </p:nvGrpSpPr>
        <p:grpSpPr>
          <a:xfrm>
            <a:off x="186198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93" name="Freeform 45">
              <a:extLst>
                <a:ext uri="{FF2B5EF4-FFF2-40B4-BE49-F238E27FC236}">
                  <a16:creationId xmlns:a16="http://schemas.microsoft.com/office/drawing/2014/main" id="{81A35021-9E82-4FFF-A312-078E6D956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46">
              <a:extLst>
                <a:ext uri="{FF2B5EF4-FFF2-40B4-BE49-F238E27FC236}">
                  <a16:creationId xmlns:a16="http://schemas.microsoft.com/office/drawing/2014/main" id="{1160289B-B461-43D2-9683-C500A6E11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47">
              <a:extLst>
                <a:ext uri="{FF2B5EF4-FFF2-40B4-BE49-F238E27FC236}">
                  <a16:creationId xmlns:a16="http://schemas.microsoft.com/office/drawing/2014/main" id="{BEE65041-4698-4261-A456-FA6B2E570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48">
              <a:extLst>
                <a:ext uri="{FF2B5EF4-FFF2-40B4-BE49-F238E27FC236}">
                  <a16:creationId xmlns:a16="http://schemas.microsoft.com/office/drawing/2014/main" id="{E857FADE-FAC5-47F0-B967-B3B516436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49">
              <a:extLst>
                <a:ext uri="{FF2B5EF4-FFF2-40B4-BE49-F238E27FC236}">
                  <a16:creationId xmlns:a16="http://schemas.microsoft.com/office/drawing/2014/main" id="{A6FDAFA5-7CDA-4B54-B21A-3A3CEBBC9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50">
              <a:extLst>
                <a:ext uri="{FF2B5EF4-FFF2-40B4-BE49-F238E27FC236}">
                  <a16:creationId xmlns:a16="http://schemas.microsoft.com/office/drawing/2014/main" id="{49D02862-75F0-46FB-9433-617694A54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51">
              <a:extLst>
                <a:ext uri="{FF2B5EF4-FFF2-40B4-BE49-F238E27FC236}">
                  <a16:creationId xmlns:a16="http://schemas.microsoft.com/office/drawing/2014/main" id="{44978405-7487-4E1B-974A-589D564E0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52">
              <a:extLst>
                <a:ext uri="{FF2B5EF4-FFF2-40B4-BE49-F238E27FC236}">
                  <a16:creationId xmlns:a16="http://schemas.microsoft.com/office/drawing/2014/main" id="{1846D427-348F-420B-AA0B-B25285C0E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53">
              <a:extLst>
                <a:ext uri="{FF2B5EF4-FFF2-40B4-BE49-F238E27FC236}">
                  <a16:creationId xmlns:a16="http://schemas.microsoft.com/office/drawing/2014/main" id="{C1AD02FA-9DD4-4A82-A90B-DD0FAF66E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54">
              <a:extLst>
                <a:ext uri="{FF2B5EF4-FFF2-40B4-BE49-F238E27FC236}">
                  <a16:creationId xmlns:a16="http://schemas.microsoft.com/office/drawing/2014/main" id="{DF6954E1-9EE2-4CB2-A405-4773EC9D7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55">
              <a:extLst>
                <a:ext uri="{FF2B5EF4-FFF2-40B4-BE49-F238E27FC236}">
                  <a16:creationId xmlns:a16="http://schemas.microsoft.com/office/drawing/2014/main" id="{E53CC7CC-F5DC-48AC-9427-23DE7B853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Freeform 56">
              <a:extLst>
                <a:ext uri="{FF2B5EF4-FFF2-40B4-BE49-F238E27FC236}">
                  <a16:creationId xmlns:a16="http://schemas.microsoft.com/office/drawing/2014/main" id="{66B9B90E-3F61-445F-8056-6A40DCB1A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57">
              <a:extLst>
                <a:ext uri="{FF2B5EF4-FFF2-40B4-BE49-F238E27FC236}">
                  <a16:creationId xmlns:a16="http://schemas.microsoft.com/office/drawing/2014/main" id="{E6B0D387-182A-4FDA-8A2A-E665E94EE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58">
              <a:extLst>
                <a:ext uri="{FF2B5EF4-FFF2-40B4-BE49-F238E27FC236}">
                  <a16:creationId xmlns:a16="http://schemas.microsoft.com/office/drawing/2014/main" id="{0257A9D6-AE8F-4505-A91D-306DCAE8A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9D4263B8-AAD0-47EB-998F-10055976C2C3}"/>
              </a:ext>
            </a:extLst>
          </p:cNvPr>
          <p:cNvGrpSpPr/>
          <p:nvPr/>
        </p:nvGrpSpPr>
        <p:grpSpPr>
          <a:xfrm>
            <a:off x="2210575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111" name="Freeform 45">
              <a:extLst>
                <a:ext uri="{FF2B5EF4-FFF2-40B4-BE49-F238E27FC236}">
                  <a16:creationId xmlns:a16="http://schemas.microsoft.com/office/drawing/2014/main" id="{D21A9976-3F5A-423C-ADBC-1C2BEC6BA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Freeform 46">
              <a:extLst>
                <a:ext uri="{FF2B5EF4-FFF2-40B4-BE49-F238E27FC236}">
                  <a16:creationId xmlns:a16="http://schemas.microsoft.com/office/drawing/2014/main" id="{02FC31F0-8538-4DED-B3C1-B46D40925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47">
              <a:extLst>
                <a:ext uri="{FF2B5EF4-FFF2-40B4-BE49-F238E27FC236}">
                  <a16:creationId xmlns:a16="http://schemas.microsoft.com/office/drawing/2014/main" id="{0DB32752-4F04-419F-B123-B21C805CCD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Freeform 48">
              <a:extLst>
                <a:ext uri="{FF2B5EF4-FFF2-40B4-BE49-F238E27FC236}">
                  <a16:creationId xmlns:a16="http://schemas.microsoft.com/office/drawing/2014/main" id="{F4243948-280F-4B34-B86A-50BEADD17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49">
              <a:extLst>
                <a:ext uri="{FF2B5EF4-FFF2-40B4-BE49-F238E27FC236}">
                  <a16:creationId xmlns:a16="http://schemas.microsoft.com/office/drawing/2014/main" id="{C8A058F9-DD58-4574-AA62-71EEFB4FE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" name="Freeform 50">
              <a:extLst>
                <a:ext uri="{FF2B5EF4-FFF2-40B4-BE49-F238E27FC236}">
                  <a16:creationId xmlns:a16="http://schemas.microsoft.com/office/drawing/2014/main" id="{B95E8BA3-7C0B-473F-8106-C017563E4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" name="Freeform 51">
              <a:extLst>
                <a:ext uri="{FF2B5EF4-FFF2-40B4-BE49-F238E27FC236}">
                  <a16:creationId xmlns:a16="http://schemas.microsoft.com/office/drawing/2014/main" id="{174E4A4A-E705-4EB4-8DAC-8D7085E00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" name="Freeform 52">
              <a:extLst>
                <a:ext uri="{FF2B5EF4-FFF2-40B4-BE49-F238E27FC236}">
                  <a16:creationId xmlns:a16="http://schemas.microsoft.com/office/drawing/2014/main" id="{37F689C6-B750-49E3-A85E-74DA4ABF5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53">
              <a:extLst>
                <a:ext uri="{FF2B5EF4-FFF2-40B4-BE49-F238E27FC236}">
                  <a16:creationId xmlns:a16="http://schemas.microsoft.com/office/drawing/2014/main" id="{F5E117B0-5CD4-4347-9234-7269DDA92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54">
              <a:extLst>
                <a:ext uri="{FF2B5EF4-FFF2-40B4-BE49-F238E27FC236}">
                  <a16:creationId xmlns:a16="http://schemas.microsoft.com/office/drawing/2014/main" id="{6F02F282-31D9-45B3-A5AA-D54B833F9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55">
              <a:extLst>
                <a:ext uri="{FF2B5EF4-FFF2-40B4-BE49-F238E27FC236}">
                  <a16:creationId xmlns:a16="http://schemas.microsoft.com/office/drawing/2014/main" id="{5FF5E800-3552-4CC1-922D-5767B8CB9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Freeform 56">
              <a:extLst>
                <a:ext uri="{FF2B5EF4-FFF2-40B4-BE49-F238E27FC236}">
                  <a16:creationId xmlns:a16="http://schemas.microsoft.com/office/drawing/2014/main" id="{19AFAE55-AADD-43EE-9DEA-C96D03DD0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Freeform 57">
              <a:extLst>
                <a:ext uri="{FF2B5EF4-FFF2-40B4-BE49-F238E27FC236}">
                  <a16:creationId xmlns:a16="http://schemas.microsoft.com/office/drawing/2014/main" id="{AEDBADAA-9B1A-4606-927D-430BACA91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58">
              <a:extLst>
                <a:ext uri="{FF2B5EF4-FFF2-40B4-BE49-F238E27FC236}">
                  <a16:creationId xmlns:a16="http://schemas.microsoft.com/office/drawing/2014/main" id="{28EE83D8-3964-41E9-B39D-C86B6E5BB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DCCACFD-D10E-4A9B-82D8-37CC70FDA507}"/>
              </a:ext>
            </a:extLst>
          </p:cNvPr>
          <p:cNvGrpSpPr/>
          <p:nvPr/>
        </p:nvGrpSpPr>
        <p:grpSpPr>
          <a:xfrm>
            <a:off x="4200613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32398D1F-E78B-4E0F-8AEC-2CE024F71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617CE8EC-5127-4F7B-AED1-8DEF39A31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C80D5E03-7769-45E1-862E-3C3F145B9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C84BC024-D342-4076-B6F4-D770683DC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93D5DB21-3BA6-4C10-B4BB-0ABACF61F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07F0C470-B70C-4B95-B0B8-D38B5FA36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0EB0C6A7-AB43-4259-BDE6-061009DC3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3E2CB982-231D-4BC2-AB58-46E0CBB69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C15BF80F-568F-491B-8F89-C21016370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97A41606-BCFB-45E9-B546-4C6F1415C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69CCF2A1-DDD0-4E96-AB55-726F845A8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15B6CDD0-051B-4C1D-B218-82DFBC816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A04134FC-8E55-43E5-ACC5-7F727FDC0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A37E6B98-1650-40BC-8558-AE10DC7CA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4676D214-2BE4-4826-940E-3754C87062D1}"/>
              </a:ext>
            </a:extLst>
          </p:cNvPr>
          <p:cNvGrpSpPr/>
          <p:nvPr/>
        </p:nvGrpSpPr>
        <p:grpSpPr>
          <a:xfrm>
            <a:off x="6224990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147" name="Freeform 45">
              <a:extLst>
                <a:ext uri="{FF2B5EF4-FFF2-40B4-BE49-F238E27FC236}">
                  <a16:creationId xmlns:a16="http://schemas.microsoft.com/office/drawing/2014/main" id="{1A1C7DE5-A61F-4DFD-9359-856A4AD0C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Freeform 46">
              <a:extLst>
                <a:ext uri="{FF2B5EF4-FFF2-40B4-BE49-F238E27FC236}">
                  <a16:creationId xmlns:a16="http://schemas.microsoft.com/office/drawing/2014/main" id="{5DCDF417-F755-4C81-9875-D3A99F50C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Freeform 47">
              <a:extLst>
                <a:ext uri="{FF2B5EF4-FFF2-40B4-BE49-F238E27FC236}">
                  <a16:creationId xmlns:a16="http://schemas.microsoft.com/office/drawing/2014/main" id="{6249F93C-EFF4-43E8-8589-1BCEDA562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Freeform 48">
              <a:extLst>
                <a:ext uri="{FF2B5EF4-FFF2-40B4-BE49-F238E27FC236}">
                  <a16:creationId xmlns:a16="http://schemas.microsoft.com/office/drawing/2014/main" id="{0240D32A-D298-4E70-AB8D-66FE33AB6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Freeform 49">
              <a:extLst>
                <a:ext uri="{FF2B5EF4-FFF2-40B4-BE49-F238E27FC236}">
                  <a16:creationId xmlns:a16="http://schemas.microsoft.com/office/drawing/2014/main" id="{946D6C14-126E-4745-A6EC-529C663C0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Freeform 50">
              <a:extLst>
                <a:ext uri="{FF2B5EF4-FFF2-40B4-BE49-F238E27FC236}">
                  <a16:creationId xmlns:a16="http://schemas.microsoft.com/office/drawing/2014/main" id="{21058F4D-6394-4429-B94C-078E2C54F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Freeform 51">
              <a:extLst>
                <a:ext uri="{FF2B5EF4-FFF2-40B4-BE49-F238E27FC236}">
                  <a16:creationId xmlns:a16="http://schemas.microsoft.com/office/drawing/2014/main" id="{4504348F-8CAA-449B-8494-25D0B1C38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Freeform 52">
              <a:extLst>
                <a:ext uri="{FF2B5EF4-FFF2-40B4-BE49-F238E27FC236}">
                  <a16:creationId xmlns:a16="http://schemas.microsoft.com/office/drawing/2014/main" id="{F0220031-A7D2-48A1-B449-285D26064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Freeform 53">
              <a:extLst>
                <a:ext uri="{FF2B5EF4-FFF2-40B4-BE49-F238E27FC236}">
                  <a16:creationId xmlns:a16="http://schemas.microsoft.com/office/drawing/2014/main" id="{51B46C65-EBEF-4469-B30E-5F9DFB698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Freeform 54">
              <a:extLst>
                <a:ext uri="{FF2B5EF4-FFF2-40B4-BE49-F238E27FC236}">
                  <a16:creationId xmlns:a16="http://schemas.microsoft.com/office/drawing/2014/main" id="{F9F87C76-1E65-4F94-A236-878DFB210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55">
              <a:extLst>
                <a:ext uri="{FF2B5EF4-FFF2-40B4-BE49-F238E27FC236}">
                  <a16:creationId xmlns:a16="http://schemas.microsoft.com/office/drawing/2014/main" id="{13313B72-517B-440A-BE52-956F8DDF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56">
              <a:extLst>
                <a:ext uri="{FF2B5EF4-FFF2-40B4-BE49-F238E27FC236}">
                  <a16:creationId xmlns:a16="http://schemas.microsoft.com/office/drawing/2014/main" id="{32701751-C52E-4FD3-BBFD-F47C1B8BB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57">
              <a:extLst>
                <a:ext uri="{FF2B5EF4-FFF2-40B4-BE49-F238E27FC236}">
                  <a16:creationId xmlns:a16="http://schemas.microsoft.com/office/drawing/2014/main" id="{414DCF55-E0B4-4695-970A-DF27F1504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0" name="Freeform 58">
              <a:extLst>
                <a:ext uri="{FF2B5EF4-FFF2-40B4-BE49-F238E27FC236}">
                  <a16:creationId xmlns:a16="http://schemas.microsoft.com/office/drawing/2014/main" id="{52CD4701-205C-4EDD-BE38-4B36D5A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89503CAF-4E44-42C1-8816-51FF1B2C850F}"/>
              </a:ext>
            </a:extLst>
          </p:cNvPr>
          <p:cNvGrpSpPr/>
          <p:nvPr/>
        </p:nvGrpSpPr>
        <p:grpSpPr>
          <a:xfrm>
            <a:off x="8183721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165" name="Freeform 45">
              <a:extLst>
                <a:ext uri="{FF2B5EF4-FFF2-40B4-BE49-F238E27FC236}">
                  <a16:creationId xmlns:a16="http://schemas.microsoft.com/office/drawing/2014/main" id="{5529258C-6117-4943-A67E-A3F0E91E5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6" name="Freeform 46">
              <a:extLst>
                <a:ext uri="{FF2B5EF4-FFF2-40B4-BE49-F238E27FC236}">
                  <a16:creationId xmlns:a16="http://schemas.microsoft.com/office/drawing/2014/main" id="{4CDE7860-595D-4BBB-83CE-42A969F9E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7" name="Freeform 47">
              <a:extLst>
                <a:ext uri="{FF2B5EF4-FFF2-40B4-BE49-F238E27FC236}">
                  <a16:creationId xmlns:a16="http://schemas.microsoft.com/office/drawing/2014/main" id="{291E2861-F17B-4916-85DA-069160D90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8" name="Freeform 48">
              <a:extLst>
                <a:ext uri="{FF2B5EF4-FFF2-40B4-BE49-F238E27FC236}">
                  <a16:creationId xmlns:a16="http://schemas.microsoft.com/office/drawing/2014/main" id="{2F297666-5BD9-482B-AF00-81ABC33CE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9" name="Freeform 49">
              <a:extLst>
                <a:ext uri="{FF2B5EF4-FFF2-40B4-BE49-F238E27FC236}">
                  <a16:creationId xmlns:a16="http://schemas.microsoft.com/office/drawing/2014/main" id="{3B910F2E-5CBB-471E-8255-E34A8B74A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0" name="Freeform 50">
              <a:extLst>
                <a:ext uri="{FF2B5EF4-FFF2-40B4-BE49-F238E27FC236}">
                  <a16:creationId xmlns:a16="http://schemas.microsoft.com/office/drawing/2014/main" id="{4BFD8493-B75C-448D-8527-E894BEA1F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1" name="Freeform 51">
              <a:extLst>
                <a:ext uri="{FF2B5EF4-FFF2-40B4-BE49-F238E27FC236}">
                  <a16:creationId xmlns:a16="http://schemas.microsoft.com/office/drawing/2014/main" id="{F3CB7239-866F-49C4-AA89-FA253FB09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2" name="Freeform 52">
              <a:extLst>
                <a:ext uri="{FF2B5EF4-FFF2-40B4-BE49-F238E27FC236}">
                  <a16:creationId xmlns:a16="http://schemas.microsoft.com/office/drawing/2014/main" id="{48DC6CF5-77C6-474B-8535-C33DEA585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3" name="Freeform 53">
              <a:extLst>
                <a:ext uri="{FF2B5EF4-FFF2-40B4-BE49-F238E27FC236}">
                  <a16:creationId xmlns:a16="http://schemas.microsoft.com/office/drawing/2014/main" id="{7CC85B97-B8C1-4BEB-80B4-FBAF690B8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4" name="Freeform 54">
              <a:extLst>
                <a:ext uri="{FF2B5EF4-FFF2-40B4-BE49-F238E27FC236}">
                  <a16:creationId xmlns:a16="http://schemas.microsoft.com/office/drawing/2014/main" id="{203E1460-0B5F-4664-8FF0-828F363B7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5" name="Freeform 55">
              <a:extLst>
                <a:ext uri="{FF2B5EF4-FFF2-40B4-BE49-F238E27FC236}">
                  <a16:creationId xmlns:a16="http://schemas.microsoft.com/office/drawing/2014/main" id="{98B028A7-17B5-4AD7-8043-51C3E1CC8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6" name="Freeform 56">
              <a:extLst>
                <a:ext uri="{FF2B5EF4-FFF2-40B4-BE49-F238E27FC236}">
                  <a16:creationId xmlns:a16="http://schemas.microsoft.com/office/drawing/2014/main" id="{8317F969-CAE2-4C5D-8B57-15FD09925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7" name="Freeform 57">
              <a:extLst>
                <a:ext uri="{FF2B5EF4-FFF2-40B4-BE49-F238E27FC236}">
                  <a16:creationId xmlns:a16="http://schemas.microsoft.com/office/drawing/2014/main" id="{CA8ED9B0-CD65-49AA-8794-78066260F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8" name="Freeform 58">
              <a:extLst>
                <a:ext uri="{FF2B5EF4-FFF2-40B4-BE49-F238E27FC236}">
                  <a16:creationId xmlns:a16="http://schemas.microsoft.com/office/drawing/2014/main" id="{86EA1C18-B045-4B79-B4E5-ABB77EC02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26BD0F31-D61E-4F90-888B-12C81ABA9B6A}"/>
              </a:ext>
            </a:extLst>
          </p:cNvPr>
          <p:cNvGrpSpPr/>
          <p:nvPr/>
        </p:nvGrpSpPr>
        <p:grpSpPr>
          <a:xfrm>
            <a:off x="10208098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183" name="Freeform 45">
              <a:extLst>
                <a:ext uri="{FF2B5EF4-FFF2-40B4-BE49-F238E27FC236}">
                  <a16:creationId xmlns:a16="http://schemas.microsoft.com/office/drawing/2014/main" id="{AA19472E-F7F0-4E32-BA4F-DED69C3CF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4" name="Freeform 46">
              <a:extLst>
                <a:ext uri="{FF2B5EF4-FFF2-40B4-BE49-F238E27FC236}">
                  <a16:creationId xmlns:a16="http://schemas.microsoft.com/office/drawing/2014/main" id="{CC67D155-7656-4426-BC61-AF2728FCA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5" name="Freeform 47">
              <a:extLst>
                <a:ext uri="{FF2B5EF4-FFF2-40B4-BE49-F238E27FC236}">
                  <a16:creationId xmlns:a16="http://schemas.microsoft.com/office/drawing/2014/main" id="{83336D1C-857F-4E99-943D-F5A00743F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6" name="Freeform 48">
              <a:extLst>
                <a:ext uri="{FF2B5EF4-FFF2-40B4-BE49-F238E27FC236}">
                  <a16:creationId xmlns:a16="http://schemas.microsoft.com/office/drawing/2014/main" id="{A02AE99E-FFF8-4A02-8BB5-CE09744E4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7" name="Freeform 49">
              <a:extLst>
                <a:ext uri="{FF2B5EF4-FFF2-40B4-BE49-F238E27FC236}">
                  <a16:creationId xmlns:a16="http://schemas.microsoft.com/office/drawing/2014/main" id="{33D729BB-E9B2-4E6C-9294-BF42C874D6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50">
              <a:extLst>
                <a:ext uri="{FF2B5EF4-FFF2-40B4-BE49-F238E27FC236}">
                  <a16:creationId xmlns:a16="http://schemas.microsoft.com/office/drawing/2014/main" id="{3E2AC497-A10F-4E56-AB92-B9C01972E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Freeform 51">
              <a:extLst>
                <a:ext uri="{FF2B5EF4-FFF2-40B4-BE49-F238E27FC236}">
                  <a16:creationId xmlns:a16="http://schemas.microsoft.com/office/drawing/2014/main" id="{E1F524AA-2CA5-491A-AED8-21972304A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Freeform 52">
              <a:extLst>
                <a:ext uri="{FF2B5EF4-FFF2-40B4-BE49-F238E27FC236}">
                  <a16:creationId xmlns:a16="http://schemas.microsoft.com/office/drawing/2014/main" id="{E4A733CB-516E-4BD3-853C-0ABB7C92E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Freeform 53">
              <a:extLst>
                <a:ext uri="{FF2B5EF4-FFF2-40B4-BE49-F238E27FC236}">
                  <a16:creationId xmlns:a16="http://schemas.microsoft.com/office/drawing/2014/main" id="{86478895-C420-4FAA-A658-C60853E6FE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Freeform 54">
              <a:extLst>
                <a:ext uri="{FF2B5EF4-FFF2-40B4-BE49-F238E27FC236}">
                  <a16:creationId xmlns:a16="http://schemas.microsoft.com/office/drawing/2014/main" id="{13F2E7C5-C03C-44BF-9613-0F80BA041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Freeform 55">
              <a:extLst>
                <a:ext uri="{FF2B5EF4-FFF2-40B4-BE49-F238E27FC236}">
                  <a16:creationId xmlns:a16="http://schemas.microsoft.com/office/drawing/2014/main" id="{EAB3AB77-7B09-49BC-B06E-97DA429A3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4" name="Freeform 56">
              <a:extLst>
                <a:ext uri="{FF2B5EF4-FFF2-40B4-BE49-F238E27FC236}">
                  <a16:creationId xmlns:a16="http://schemas.microsoft.com/office/drawing/2014/main" id="{7B9ACAFB-176C-4EF6-A200-9B64AC8417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5" name="Freeform 57">
              <a:extLst>
                <a:ext uri="{FF2B5EF4-FFF2-40B4-BE49-F238E27FC236}">
                  <a16:creationId xmlns:a16="http://schemas.microsoft.com/office/drawing/2014/main" id="{0367E1A1-4653-4696-BA77-3680001C0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6" name="Freeform 58">
              <a:extLst>
                <a:ext uri="{FF2B5EF4-FFF2-40B4-BE49-F238E27FC236}">
                  <a16:creationId xmlns:a16="http://schemas.microsoft.com/office/drawing/2014/main" id="{674CB2AF-0697-4A04-98EA-64C44ED98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47CA5B4-B92E-43D6-99ED-CAC85EA7B785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CC2C2F-2894-4CEC-A628-FBF552BDBCE4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00" name="Text Placeholder 199">
            <a:extLst>
              <a:ext uri="{FF2B5EF4-FFF2-40B4-BE49-F238E27FC236}">
                <a16:creationId xmlns:a16="http://schemas.microsoft.com/office/drawing/2014/main" id="{63091C84-F075-4460-9DD4-0565FF9D6ED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85738" y="3467505"/>
            <a:ext cx="1617662" cy="1486987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  <a:endParaRPr lang="en-IN" dirty="0"/>
          </a:p>
        </p:txBody>
      </p:sp>
      <p:sp>
        <p:nvSpPr>
          <p:cNvPr id="202" name="Text Placeholder 201">
            <a:extLst>
              <a:ext uri="{FF2B5EF4-FFF2-40B4-BE49-F238E27FC236}">
                <a16:creationId xmlns:a16="http://schemas.microsoft.com/office/drawing/2014/main" id="{A4454BF8-59EC-4418-9B90-DB14E31DF3F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207922" y="3467869"/>
            <a:ext cx="1644650" cy="148590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1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</a:p>
        </p:txBody>
      </p:sp>
      <p:sp>
        <p:nvSpPr>
          <p:cNvPr id="204" name="Text Placeholder 203">
            <a:extLst>
              <a:ext uri="{FF2B5EF4-FFF2-40B4-BE49-F238E27FC236}">
                <a16:creationId xmlns:a16="http://schemas.microsoft.com/office/drawing/2014/main" id="{A96F58B9-E130-410E-A136-A1BA503C67F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201330" y="3467869"/>
            <a:ext cx="1617662" cy="1508125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lang="en-IN" sz="11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</a:p>
        </p:txBody>
      </p:sp>
      <p:sp>
        <p:nvSpPr>
          <p:cNvPr id="206" name="Text Placeholder 205">
            <a:extLst>
              <a:ext uri="{FF2B5EF4-FFF2-40B4-BE49-F238E27FC236}">
                <a16:creationId xmlns:a16="http://schemas.microsoft.com/office/drawing/2014/main" id="{421BD8A5-DA6E-4AED-A31D-9D2CE3B4BBDA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203394" y="3467869"/>
            <a:ext cx="1649425" cy="150812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1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</a:p>
        </p:txBody>
      </p:sp>
      <p:sp>
        <p:nvSpPr>
          <p:cNvPr id="208" name="Text Placeholder 207">
            <a:extLst>
              <a:ext uri="{FF2B5EF4-FFF2-40B4-BE49-F238E27FC236}">
                <a16:creationId xmlns:a16="http://schemas.microsoft.com/office/drawing/2014/main" id="{0097EDD1-7B27-4B7D-82EE-A82EA663BF1D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89808" y="3467869"/>
            <a:ext cx="1682824" cy="151765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1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</a:p>
        </p:txBody>
      </p:sp>
      <p:sp>
        <p:nvSpPr>
          <p:cNvPr id="210" name="Text Placeholder 209">
            <a:extLst>
              <a:ext uri="{FF2B5EF4-FFF2-40B4-BE49-F238E27FC236}">
                <a16:creationId xmlns:a16="http://schemas.microsoft.com/office/drawing/2014/main" id="{48573DBB-5C51-4E60-90AE-0686628E3E8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0225469" y="3467869"/>
            <a:ext cx="1695281" cy="153193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1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</a:p>
        </p:txBody>
      </p:sp>
      <p:sp>
        <p:nvSpPr>
          <p:cNvPr id="212" name="Text Placeholder 211">
            <a:extLst>
              <a:ext uri="{FF2B5EF4-FFF2-40B4-BE49-F238E27FC236}">
                <a16:creationId xmlns:a16="http://schemas.microsoft.com/office/drawing/2014/main" id="{2E86FC11-30D2-44A1-AE40-0F246BAD5600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85738" y="1896210"/>
            <a:ext cx="1634285" cy="298450"/>
          </a:xfrm>
        </p:spPr>
        <p:txBody>
          <a:bodyPr>
            <a:no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214" name="Text Placeholder 213">
            <a:extLst>
              <a:ext uri="{FF2B5EF4-FFF2-40B4-BE49-F238E27FC236}">
                <a16:creationId xmlns:a16="http://schemas.microsoft.com/office/drawing/2014/main" id="{44D07222-ABF0-456D-BC9A-E44386623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27400" y="1896244"/>
            <a:ext cx="1665287" cy="298450"/>
          </a:xfrm>
        </p:spPr>
        <p:txBody>
          <a:bodyPr>
            <a:noAutofit/>
          </a:bodyPr>
          <a:lstStyle>
            <a:lvl1pPr>
              <a:defRPr lang="en-US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</a:t>
            </a:r>
          </a:p>
        </p:txBody>
      </p:sp>
      <p:sp>
        <p:nvSpPr>
          <p:cNvPr id="216" name="Text Placeholder 215">
            <a:extLst>
              <a:ext uri="{FF2B5EF4-FFF2-40B4-BE49-F238E27FC236}">
                <a16:creationId xmlns:a16="http://schemas.microsoft.com/office/drawing/2014/main" id="{50D64431-F81F-4BA2-A8EA-F959B9D1106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27348" y="1896243"/>
            <a:ext cx="1717675" cy="322701"/>
          </a:xfrm>
        </p:spPr>
        <p:txBody>
          <a:bodyPr>
            <a:normAutofit/>
          </a:bodyPr>
          <a:lstStyle>
            <a:lvl1pPr>
              <a:defRPr lang="en-IN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</a:t>
            </a:r>
            <a:endParaRPr lang="en-IN" dirty="0"/>
          </a:p>
        </p:txBody>
      </p:sp>
      <p:sp>
        <p:nvSpPr>
          <p:cNvPr id="218" name="Text Placeholder 217">
            <a:extLst>
              <a:ext uri="{FF2B5EF4-FFF2-40B4-BE49-F238E27FC236}">
                <a16:creationId xmlns:a16="http://schemas.microsoft.com/office/drawing/2014/main" id="{8597FE98-046B-4D69-9674-0F36909A5C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15389" y="1896244"/>
            <a:ext cx="1715486" cy="322263"/>
          </a:xfrm>
        </p:spPr>
        <p:txBody>
          <a:bodyPr>
            <a:normAutofit/>
          </a:bodyPr>
          <a:lstStyle>
            <a:lvl1pPr>
              <a:defRPr lang="en-US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</a:t>
            </a:r>
          </a:p>
        </p:txBody>
      </p:sp>
      <p:sp>
        <p:nvSpPr>
          <p:cNvPr id="220" name="Text Placeholder 219">
            <a:extLst>
              <a:ext uri="{FF2B5EF4-FFF2-40B4-BE49-F238E27FC236}">
                <a16:creationId xmlns:a16="http://schemas.microsoft.com/office/drawing/2014/main" id="{AEAEA3E7-C4BF-4798-A646-A4EB36C64A9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28088" y="1896244"/>
            <a:ext cx="1720802" cy="322263"/>
          </a:xfrm>
        </p:spPr>
        <p:txBody>
          <a:bodyPr>
            <a:noAutofit/>
          </a:bodyPr>
          <a:lstStyle>
            <a:lvl1pPr algn="ctr">
              <a:defRPr lang="en-US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222" name="Text Placeholder 221">
            <a:extLst>
              <a:ext uri="{FF2B5EF4-FFF2-40B4-BE49-F238E27FC236}">
                <a16:creationId xmlns:a16="http://schemas.microsoft.com/office/drawing/2014/main" id="{F720F4A2-4227-47CD-BFE5-AC518F5194E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310077" y="1896244"/>
            <a:ext cx="1722437" cy="322263"/>
          </a:xfrm>
        </p:spPr>
        <p:txBody>
          <a:bodyPr>
            <a:normAutofit/>
          </a:bodyPr>
          <a:lstStyle>
            <a:lvl1pPr>
              <a:defRPr lang="en-US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</a:t>
            </a:r>
          </a:p>
        </p:txBody>
      </p:sp>
      <p:sp>
        <p:nvSpPr>
          <p:cNvPr id="162" name="Text Placeholder 7">
            <a:extLst>
              <a:ext uri="{FF2B5EF4-FFF2-40B4-BE49-F238E27FC236}">
                <a16:creationId xmlns:a16="http://schemas.microsoft.com/office/drawing/2014/main" id="{C39DDCA1-85B5-4D1A-990D-5E23CA78A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64" name="Text Placeholder 7">
            <a:extLst>
              <a:ext uri="{FF2B5EF4-FFF2-40B4-BE49-F238E27FC236}">
                <a16:creationId xmlns:a16="http://schemas.microsoft.com/office/drawing/2014/main" id="{7D407D0E-AFEE-44DB-AE73-7FB98E5495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55322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ncil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E8A69-1ECB-4180-AEF0-3C39031DDA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A4B67A-05D8-44C6-B898-666ECF8382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Freeform 26">
            <a:extLst>
              <a:ext uri="{FF2B5EF4-FFF2-40B4-BE49-F238E27FC236}">
                <a16:creationId xmlns:a16="http://schemas.microsoft.com/office/drawing/2014/main" id="{7E3BA716-FD3C-4632-9C13-F094081B1B59}"/>
              </a:ext>
            </a:extLst>
          </p:cNvPr>
          <p:cNvSpPr>
            <a:spLocks/>
          </p:cNvSpPr>
          <p:nvPr userDrawn="1"/>
        </p:nvSpPr>
        <p:spPr bwMode="auto">
          <a:xfrm>
            <a:off x="2514599" y="1736736"/>
            <a:ext cx="4819834" cy="805953"/>
          </a:xfrm>
          <a:custGeom>
            <a:avLst/>
            <a:gdLst>
              <a:gd name="T0" fmla="*/ 3799 w 3804"/>
              <a:gd name="T1" fmla="*/ 0 h 1355"/>
              <a:gd name="T2" fmla="*/ 372 w 3804"/>
              <a:gd name="T3" fmla="*/ 0 h 1355"/>
              <a:gd name="T4" fmla="*/ 0 w 3804"/>
              <a:gd name="T5" fmla="*/ 679 h 1355"/>
              <a:gd name="T6" fmla="*/ 372 w 3804"/>
              <a:gd name="T7" fmla="*/ 1355 h 1355"/>
              <a:gd name="T8" fmla="*/ 3804 w 3804"/>
              <a:gd name="T9" fmla="*/ 1355 h 1355"/>
              <a:gd name="T10" fmla="*/ 3799 w 3804"/>
              <a:gd name="T11" fmla="*/ 0 h 1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04" h="1355">
                <a:moveTo>
                  <a:pt x="3799" y="0"/>
                </a:moveTo>
                <a:lnTo>
                  <a:pt x="372" y="0"/>
                </a:lnTo>
                <a:lnTo>
                  <a:pt x="0" y="679"/>
                </a:lnTo>
                <a:lnTo>
                  <a:pt x="372" y="1355"/>
                </a:lnTo>
                <a:lnTo>
                  <a:pt x="3804" y="1355"/>
                </a:lnTo>
                <a:lnTo>
                  <a:pt x="3799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" name="Freeform 26">
            <a:extLst>
              <a:ext uri="{FF2B5EF4-FFF2-40B4-BE49-F238E27FC236}">
                <a16:creationId xmlns:a16="http://schemas.microsoft.com/office/drawing/2014/main" id="{90D3053B-BF9B-4E7C-BCAF-6BE60E3E49CC}"/>
              </a:ext>
            </a:extLst>
          </p:cNvPr>
          <p:cNvSpPr>
            <a:spLocks/>
          </p:cNvSpPr>
          <p:nvPr userDrawn="1"/>
        </p:nvSpPr>
        <p:spPr bwMode="auto">
          <a:xfrm flipH="1">
            <a:off x="4688080" y="4644901"/>
            <a:ext cx="4961246" cy="805953"/>
          </a:xfrm>
          <a:custGeom>
            <a:avLst/>
            <a:gdLst>
              <a:gd name="T0" fmla="*/ 3799 w 3804"/>
              <a:gd name="T1" fmla="*/ 0 h 1355"/>
              <a:gd name="T2" fmla="*/ 372 w 3804"/>
              <a:gd name="T3" fmla="*/ 0 h 1355"/>
              <a:gd name="T4" fmla="*/ 0 w 3804"/>
              <a:gd name="T5" fmla="*/ 679 h 1355"/>
              <a:gd name="T6" fmla="*/ 372 w 3804"/>
              <a:gd name="T7" fmla="*/ 1355 h 1355"/>
              <a:gd name="T8" fmla="*/ 3804 w 3804"/>
              <a:gd name="T9" fmla="*/ 1355 h 1355"/>
              <a:gd name="T10" fmla="*/ 3799 w 3804"/>
              <a:gd name="T11" fmla="*/ 0 h 1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04" h="1355">
                <a:moveTo>
                  <a:pt x="3799" y="0"/>
                </a:moveTo>
                <a:lnTo>
                  <a:pt x="372" y="0"/>
                </a:lnTo>
                <a:lnTo>
                  <a:pt x="0" y="679"/>
                </a:lnTo>
                <a:lnTo>
                  <a:pt x="372" y="1355"/>
                </a:lnTo>
                <a:lnTo>
                  <a:pt x="3804" y="1355"/>
                </a:lnTo>
                <a:lnTo>
                  <a:pt x="3799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" name="Freeform 26">
            <a:extLst>
              <a:ext uri="{FF2B5EF4-FFF2-40B4-BE49-F238E27FC236}">
                <a16:creationId xmlns:a16="http://schemas.microsoft.com/office/drawing/2014/main" id="{B01201B7-779A-4F09-97C4-632F8773130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6284805" y="3026023"/>
            <a:ext cx="4738736" cy="805953"/>
          </a:xfrm>
          <a:custGeom>
            <a:avLst/>
            <a:gdLst>
              <a:gd name="T0" fmla="*/ 3799 w 3804"/>
              <a:gd name="T1" fmla="*/ 0 h 1355"/>
              <a:gd name="T2" fmla="*/ 372 w 3804"/>
              <a:gd name="T3" fmla="*/ 0 h 1355"/>
              <a:gd name="T4" fmla="*/ 0 w 3804"/>
              <a:gd name="T5" fmla="*/ 679 h 1355"/>
              <a:gd name="T6" fmla="*/ 372 w 3804"/>
              <a:gd name="T7" fmla="*/ 1355 h 1355"/>
              <a:gd name="T8" fmla="*/ 3804 w 3804"/>
              <a:gd name="T9" fmla="*/ 1355 h 1355"/>
              <a:gd name="T10" fmla="*/ 3799 w 3804"/>
              <a:gd name="T11" fmla="*/ 0 h 1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04" h="1355">
                <a:moveTo>
                  <a:pt x="3799" y="0"/>
                </a:moveTo>
                <a:lnTo>
                  <a:pt x="372" y="0"/>
                </a:lnTo>
                <a:lnTo>
                  <a:pt x="0" y="679"/>
                </a:lnTo>
                <a:lnTo>
                  <a:pt x="372" y="1355"/>
                </a:lnTo>
                <a:lnTo>
                  <a:pt x="3804" y="1355"/>
                </a:lnTo>
                <a:lnTo>
                  <a:pt x="3799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" name="Freeform 26">
            <a:extLst>
              <a:ext uri="{FF2B5EF4-FFF2-40B4-BE49-F238E27FC236}">
                <a16:creationId xmlns:a16="http://schemas.microsoft.com/office/drawing/2014/main" id="{7E9A7A09-9D7A-4073-9B93-CD1BA2600249}"/>
              </a:ext>
            </a:extLst>
          </p:cNvPr>
          <p:cNvSpPr>
            <a:spLocks/>
          </p:cNvSpPr>
          <p:nvPr userDrawn="1"/>
        </p:nvSpPr>
        <p:spPr bwMode="auto">
          <a:xfrm>
            <a:off x="1239252" y="3347067"/>
            <a:ext cx="4515659" cy="805953"/>
          </a:xfrm>
          <a:custGeom>
            <a:avLst/>
            <a:gdLst>
              <a:gd name="T0" fmla="*/ 3799 w 3804"/>
              <a:gd name="T1" fmla="*/ 0 h 1355"/>
              <a:gd name="T2" fmla="*/ 372 w 3804"/>
              <a:gd name="T3" fmla="*/ 0 h 1355"/>
              <a:gd name="T4" fmla="*/ 0 w 3804"/>
              <a:gd name="T5" fmla="*/ 679 h 1355"/>
              <a:gd name="T6" fmla="*/ 372 w 3804"/>
              <a:gd name="T7" fmla="*/ 1355 h 1355"/>
              <a:gd name="T8" fmla="*/ 3804 w 3804"/>
              <a:gd name="T9" fmla="*/ 1355 h 1355"/>
              <a:gd name="T10" fmla="*/ 3799 w 3804"/>
              <a:gd name="T11" fmla="*/ 0 h 1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04" h="1355">
                <a:moveTo>
                  <a:pt x="3799" y="0"/>
                </a:moveTo>
                <a:lnTo>
                  <a:pt x="372" y="0"/>
                </a:lnTo>
                <a:lnTo>
                  <a:pt x="0" y="679"/>
                </a:lnTo>
                <a:lnTo>
                  <a:pt x="372" y="1355"/>
                </a:lnTo>
                <a:lnTo>
                  <a:pt x="3804" y="1355"/>
                </a:lnTo>
                <a:lnTo>
                  <a:pt x="379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73A9974-0153-4140-B772-B124DAA52C85}"/>
              </a:ext>
            </a:extLst>
          </p:cNvPr>
          <p:cNvGrpSpPr/>
          <p:nvPr userDrawn="1"/>
        </p:nvGrpSpPr>
        <p:grpSpPr>
          <a:xfrm rot="18810804">
            <a:off x="5071243" y="3639661"/>
            <a:ext cx="1122786" cy="720924"/>
            <a:chOff x="4481513" y="3678059"/>
            <a:chExt cx="1614487" cy="1036638"/>
          </a:xfrm>
        </p:grpSpPr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86AC2A6B-0E69-43F6-A146-6A4426E85E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1513" y="3678059"/>
              <a:ext cx="1614487" cy="34448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Rectangle 13">
              <a:extLst>
                <a:ext uri="{FF2B5EF4-FFF2-40B4-BE49-F238E27FC236}">
                  <a16:creationId xmlns:a16="http://schemas.microsoft.com/office/drawing/2014/main" id="{3B6072C3-1589-40A0-82BF-169902CAC0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1513" y="4022546"/>
              <a:ext cx="1614487" cy="3444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Rectangle 14">
              <a:extLst>
                <a:ext uri="{FF2B5EF4-FFF2-40B4-BE49-F238E27FC236}">
                  <a16:creationId xmlns:a16="http://schemas.microsoft.com/office/drawing/2014/main" id="{610C3FD6-6A3E-4BFA-8102-E3989AA18F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1513" y="4367034"/>
              <a:ext cx="1614487" cy="34766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C996818-7B5C-49CF-99C6-EF4FC61F83A2}"/>
              </a:ext>
            </a:extLst>
          </p:cNvPr>
          <p:cNvGrpSpPr/>
          <p:nvPr userDrawn="1"/>
        </p:nvGrpSpPr>
        <p:grpSpPr>
          <a:xfrm rot="18810804">
            <a:off x="5841864" y="2829041"/>
            <a:ext cx="1122786" cy="717613"/>
            <a:chOff x="6096000" y="3187521"/>
            <a:chExt cx="1614487" cy="1031876"/>
          </a:xfrm>
        </p:grpSpPr>
        <p:sp>
          <p:nvSpPr>
            <p:cNvPr id="13" name="Rectangle 15">
              <a:extLst>
                <a:ext uri="{FF2B5EF4-FFF2-40B4-BE49-F238E27FC236}">
                  <a16:creationId xmlns:a16="http://schemas.microsoft.com/office/drawing/2014/main" id="{EB7509AC-C235-41FA-875F-DD7618844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000" y="3187521"/>
              <a:ext cx="1614487" cy="34448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Rectangle 16">
              <a:extLst>
                <a:ext uri="{FF2B5EF4-FFF2-40B4-BE49-F238E27FC236}">
                  <a16:creationId xmlns:a16="http://schemas.microsoft.com/office/drawing/2014/main" id="{280D7EAE-CE7E-401F-84B8-6F5E8AAEF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000" y="3532009"/>
              <a:ext cx="1614487" cy="3429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Rectangle 17">
              <a:extLst>
                <a:ext uri="{FF2B5EF4-FFF2-40B4-BE49-F238E27FC236}">
                  <a16:creationId xmlns:a16="http://schemas.microsoft.com/office/drawing/2014/main" id="{F40EA8B0-C0F5-4FC4-A0F4-79AAFEA980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000" y="3874909"/>
              <a:ext cx="1614487" cy="34448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7365447-1657-46D9-9118-A331DBD2E217}"/>
              </a:ext>
            </a:extLst>
          </p:cNvPr>
          <p:cNvGrpSpPr/>
          <p:nvPr userDrawn="1"/>
        </p:nvGrpSpPr>
        <p:grpSpPr>
          <a:xfrm rot="18810804">
            <a:off x="6576400" y="1962704"/>
            <a:ext cx="1290597" cy="720924"/>
            <a:chOff x="7700963" y="3678059"/>
            <a:chExt cx="1855787" cy="1036638"/>
          </a:xfrm>
        </p:grpSpPr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F3CF25BE-A7C8-4176-8527-0E7D1656B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4963" y="3678059"/>
              <a:ext cx="331787" cy="1036638"/>
            </a:xfrm>
            <a:custGeom>
              <a:avLst/>
              <a:gdLst>
                <a:gd name="T0" fmla="*/ 0 w 209"/>
                <a:gd name="T1" fmla="*/ 162 h 653"/>
                <a:gd name="T2" fmla="*/ 135 w 209"/>
                <a:gd name="T3" fmla="*/ 0 h 653"/>
                <a:gd name="T4" fmla="*/ 209 w 209"/>
                <a:gd name="T5" fmla="*/ 210 h 653"/>
                <a:gd name="T6" fmla="*/ 209 w 209"/>
                <a:gd name="T7" fmla="*/ 443 h 653"/>
                <a:gd name="T8" fmla="*/ 135 w 209"/>
                <a:gd name="T9" fmla="*/ 653 h 653"/>
                <a:gd name="T10" fmla="*/ 0 w 209"/>
                <a:gd name="T11" fmla="*/ 488 h 653"/>
                <a:gd name="T12" fmla="*/ 0 w 209"/>
                <a:gd name="T13" fmla="*/ 162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653">
                  <a:moveTo>
                    <a:pt x="0" y="162"/>
                  </a:moveTo>
                  <a:lnTo>
                    <a:pt x="135" y="0"/>
                  </a:lnTo>
                  <a:lnTo>
                    <a:pt x="209" y="210"/>
                  </a:lnTo>
                  <a:lnTo>
                    <a:pt x="209" y="443"/>
                  </a:lnTo>
                  <a:lnTo>
                    <a:pt x="135" y="653"/>
                  </a:lnTo>
                  <a:lnTo>
                    <a:pt x="0" y="488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BBA1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BBF6DF91-EC96-466D-8D36-91F217CC3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0963" y="3678059"/>
              <a:ext cx="1738312" cy="344488"/>
            </a:xfrm>
            <a:custGeom>
              <a:avLst/>
              <a:gdLst>
                <a:gd name="T0" fmla="*/ 1020 w 1095"/>
                <a:gd name="T1" fmla="*/ 217 h 217"/>
                <a:gd name="T2" fmla="*/ 1095 w 1095"/>
                <a:gd name="T3" fmla="*/ 0 h 217"/>
                <a:gd name="T4" fmla="*/ 0 w 1095"/>
                <a:gd name="T5" fmla="*/ 0 h 217"/>
                <a:gd name="T6" fmla="*/ 0 w 1095"/>
                <a:gd name="T7" fmla="*/ 217 h 217"/>
                <a:gd name="T8" fmla="*/ 1020 w 1095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217">
                  <a:moveTo>
                    <a:pt x="1020" y="217"/>
                  </a:moveTo>
                  <a:lnTo>
                    <a:pt x="1095" y="0"/>
                  </a:lnTo>
                  <a:lnTo>
                    <a:pt x="0" y="0"/>
                  </a:lnTo>
                  <a:lnTo>
                    <a:pt x="0" y="217"/>
                  </a:lnTo>
                  <a:lnTo>
                    <a:pt x="1020" y="217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Rectangle 19">
              <a:extLst>
                <a:ext uri="{FF2B5EF4-FFF2-40B4-BE49-F238E27FC236}">
                  <a16:creationId xmlns:a16="http://schemas.microsoft.com/office/drawing/2014/main" id="{B5A455F2-4B4B-4127-A0E2-AA4BD077FF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0963" y="4022546"/>
              <a:ext cx="1619250" cy="3444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20">
              <a:extLst>
                <a:ext uri="{FF2B5EF4-FFF2-40B4-BE49-F238E27FC236}">
                  <a16:creationId xmlns:a16="http://schemas.microsoft.com/office/drawing/2014/main" id="{1E4D5DA3-65FC-4731-AB66-6FDAD0D86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0963" y="4367034"/>
              <a:ext cx="1738312" cy="347663"/>
            </a:xfrm>
            <a:custGeom>
              <a:avLst/>
              <a:gdLst>
                <a:gd name="T0" fmla="*/ 1095 w 1095"/>
                <a:gd name="T1" fmla="*/ 219 h 219"/>
                <a:gd name="T2" fmla="*/ 1020 w 1095"/>
                <a:gd name="T3" fmla="*/ 0 h 219"/>
                <a:gd name="T4" fmla="*/ 0 w 1095"/>
                <a:gd name="T5" fmla="*/ 0 h 219"/>
                <a:gd name="T6" fmla="*/ 0 w 1095"/>
                <a:gd name="T7" fmla="*/ 219 h 219"/>
                <a:gd name="T8" fmla="*/ 1095 w 1095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219">
                  <a:moveTo>
                    <a:pt x="1095" y="219"/>
                  </a:moveTo>
                  <a:lnTo>
                    <a:pt x="1020" y="0"/>
                  </a:lnTo>
                  <a:lnTo>
                    <a:pt x="0" y="0"/>
                  </a:lnTo>
                  <a:lnTo>
                    <a:pt x="0" y="219"/>
                  </a:lnTo>
                  <a:lnTo>
                    <a:pt x="1095" y="219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Oval 21">
              <a:extLst>
                <a:ext uri="{FF2B5EF4-FFF2-40B4-BE49-F238E27FC236}">
                  <a16:creationId xmlns:a16="http://schemas.microsoft.com/office/drawing/2014/main" id="{42C093F8-91C4-4001-99B5-CAF2D29C3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8000" y="4049534"/>
              <a:ext cx="82550" cy="293688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F1EE03B-1E14-4FF3-AA82-6836040EA17B}"/>
              </a:ext>
            </a:extLst>
          </p:cNvPr>
          <p:cNvGrpSpPr/>
          <p:nvPr userDrawn="1"/>
        </p:nvGrpSpPr>
        <p:grpSpPr>
          <a:xfrm rot="18810804">
            <a:off x="3572392" y="4768771"/>
            <a:ext cx="1998273" cy="717613"/>
            <a:chOff x="1608138" y="3187521"/>
            <a:chExt cx="2873375" cy="1031876"/>
          </a:xfrm>
        </p:grpSpPr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840CAB2F-D702-4BB0-B46C-6734C6888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138" y="3187521"/>
              <a:ext cx="1490662" cy="1031875"/>
            </a:xfrm>
            <a:custGeom>
              <a:avLst/>
              <a:gdLst>
                <a:gd name="T0" fmla="*/ 793 w 939"/>
                <a:gd name="T1" fmla="*/ 650 h 650"/>
                <a:gd name="T2" fmla="*/ 0 w 939"/>
                <a:gd name="T3" fmla="*/ 326 h 650"/>
                <a:gd name="T4" fmla="*/ 793 w 939"/>
                <a:gd name="T5" fmla="*/ 0 h 650"/>
                <a:gd name="T6" fmla="*/ 939 w 939"/>
                <a:gd name="T7" fmla="*/ 0 h 650"/>
                <a:gd name="T8" fmla="*/ 939 w 939"/>
                <a:gd name="T9" fmla="*/ 650 h 650"/>
                <a:gd name="T10" fmla="*/ 793 w 939"/>
                <a:gd name="T11" fmla="*/ 65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9" h="650">
                  <a:moveTo>
                    <a:pt x="793" y="650"/>
                  </a:moveTo>
                  <a:lnTo>
                    <a:pt x="0" y="326"/>
                  </a:lnTo>
                  <a:lnTo>
                    <a:pt x="793" y="0"/>
                  </a:lnTo>
                  <a:lnTo>
                    <a:pt x="939" y="0"/>
                  </a:lnTo>
                  <a:lnTo>
                    <a:pt x="939" y="650"/>
                  </a:lnTo>
                  <a:lnTo>
                    <a:pt x="793" y="650"/>
                  </a:lnTo>
                  <a:close/>
                </a:path>
              </a:pathLst>
            </a:custGeom>
            <a:solidFill>
              <a:srgbClr val="D4AC8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F1723A06-585F-4D1B-AB75-C9E2C911F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3187521"/>
              <a:ext cx="1743075" cy="344488"/>
            </a:xfrm>
            <a:custGeom>
              <a:avLst/>
              <a:gdLst>
                <a:gd name="T0" fmla="*/ 464 w 464"/>
                <a:gd name="T1" fmla="*/ 0 h 91"/>
                <a:gd name="T2" fmla="*/ 41 w 464"/>
                <a:gd name="T3" fmla="*/ 0 h 91"/>
                <a:gd name="T4" fmla="*/ 16 w 464"/>
                <a:gd name="T5" fmla="*/ 14 h 91"/>
                <a:gd name="T6" fmla="*/ 5 w 464"/>
                <a:gd name="T7" fmla="*/ 31 h 91"/>
                <a:gd name="T8" fmla="*/ 5 w 464"/>
                <a:gd name="T9" fmla="*/ 59 h 91"/>
                <a:gd name="T10" fmla="*/ 16 w 464"/>
                <a:gd name="T11" fmla="*/ 77 h 91"/>
                <a:gd name="T12" fmla="*/ 41 w 464"/>
                <a:gd name="T13" fmla="*/ 91 h 91"/>
                <a:gd name="T14" fmla="*/ 464 w 464"/>
                <a:gd name="T15" fmla="*/ 91 h 91"/>
                <a:gd name="T16" fmla="*/ 464 w 464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4" h="91">
                  <a:moveTo>
                    <a:pt x="464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32" y="0"/>
                    <a:pt x="21" y="6"/>
                    <a:pt x="16" y="14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0" y="39"/>
                    <a:pt x="0" y="52"/>
                    <a:pt x="5" y="59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21" y="85"/>
                    <a:pt x="32" y="91"/>
                    <a:pt x="41" y="91"/>
                  </a:cubicBezTo>
                  <a:cubicBezTo>
                    <a:pt x="464" y="91"/>
                    <a:pt x="464" y="91"/>
                    <a:pt x="464" y="91"/>
                  </a:cubicBezTo>
                  <a:lnTo>
                    <a:pt x="464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80DE71A7-F050-4115-90A3-C06683224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3532009"/>
              <a:ext cx="1743075" cy="342900"/>
            </a:xfrm>
            <a:custGeom>
              <a:avLst/>
              <a:gdLst>
                <a:gd name="T0" fmla="*/ 464 w 464"/>
                <a:gd name="T1" fmla="*/ 0 h 91"/>
                <a:gd name="T2" fmla="*/ 41 w 464"/>
                <a:gd name="T3" fmla="*/ 0 h 91"/>
                <a:gd name="T4" fmla="*/ 16 w 464"/>
                <a:gd name="T5" fmla="*/ 14 h 91"/>
                <a:gd name="T6" fmla="*/ 5 w 464"/>
                <a:gd name="T7" fmla="*/ 32 h 91"/>
                <a:gd name="T8" fmla="*/ 5 w 464"/>
                <a:gd name="T9" fmla="*/ 60 h 91"/>
                <a:gd name="T10" fmla="*/ 16 w 464"/>
                <a:gd name="T11" fmla="*/ 77 h 91"/>
                <a:gd name="T12" fmla="*/ 41 w 464"/>
                <a:gd name="T13" fmla="*/ 91 h 91"/>
                <a:gd name="T14" fmla="*/ 464 w 464"/>
                <a:gd name="T15" fmla="*/ 91 h 91"/>
                <a:gd name="T16" fmla="*/ 464 w 464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4" h="91">
                  <a:moveTo>
                    <a:pt x="464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32" y="0"/>
                    <a:pt x="21" y="6"/>
                    <a:pt x="16" y="14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0" y="39"/>
                    <a:pt x="0" y="52"/>
                    <a:pt x="5" y="60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21" y="85"/>
                    <a:pt x="32" y="91"/>
                    <a:pt x="41" y="91"/>
                  </a:cubicBezTo>
                  <a:cubicBezTo>
                    <a:pt x="464" y="91"/>
                    <a:pt x="464" y="91"/>
                    <a:pt x="464" y="91"/>
                  </a:cubicBezTo>
                  <a:lnTo>
                    <a:pt x="46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BD056CA6-3298-4D89-A893-BEE5A05C2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3874909"/>
              <a:ext cx="1743075" cy="344488"/>
            </a:xfrm>
            <a:custGeom>
              <a:avLst/>
              <a:gdLst>
                <a:gd name="T0" fmla="*/ 464 w 464"/>
                <a:gd name="T1" fmla="*/ 0 h 91"/>
                <a:gd name="T2" fmla="*/ 41 w 464"/>
                <a:gd name="T3" fmla="*/ 0 h 91"/>
                <a:gd name="T4" fmla="*/ 16 w 464"/>
                <a:gd name="T5" fmla="*/ 14 h 91"/>
                <a:gd name="T6" fmla="*/ 5 w 464"/>
                <a:gd name="T7" fmla="*/ 32 h 91"/>
                <a:gd name="T8" fmla="*/ 5 w 464"/>
                <a:gd name="T9" fmla="*/ 60 h 91"/>
                <a:gd name="T10" fmla="*/ 16 w 464"/>
                <a:gd name="T11" fmla="*/ 77 h 91"/>
                <a:gd name="T12" fmla="*/ 41 w 464"/>
                <a:gd name="T13" fmla="*/ 91 h 91"/>
                <a:gd name="T14" fmla="*/ 464 w 464"/>
                <a:gd name="T15" fmla="*/ 91 h 91"/>
                <a:gd name="T16" fmla="*/ 464 w 464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4" h="91">
                  <a:moveTo>
                    <a:pt x="464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32" y="0"/>
                    <a:pt x="21" y="6"/>
                    <a:pt x="16" y="14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0" y="40"/>
                    <a:pt x="0" y="52"/>
                    <a:pt x="5" y="60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21" y="85"/>
                    <a:pt x="32" y="91"/>
                    <a:pt x="41" y="91"/>
                  </a:cubicBezTo>
                  <a:cubicBezTo>
                    <a:pt x="464" y="91"/>
                    <a:pt x="464" y="91"/>
                    <a:pt x="464" y="91"/>
                  </a:cubicBezTo>
                  <a:lnTo>
                    <a:pt x="464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5B792944-F34F-4C55-B22A-959C15B3C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138" y="3538359"/>
              <a:ext cx="428625" cy="333375"/>
            </a:xfrm>
            <a:custGeom>
              <a:avLst/>
              <a:gdLst>
                <a:gd name="T0" fmla="*/ 114 w 114"/>
                <a:gd name="T1" fmla="*/ 49 h 88"/>
                <a:gd name="T2" fmla="*/ 107 w 114"/>
                <a:gd name="T3" fmla="*/ 0 h 88"/>
                <a:gd name="T4" fmla="*/ 0 w 114"/>
                <a:gd name="T5" fmla="*/ 44 h 88"/>
                <a:gd name="T6" fmla="*/ 109 w 114"/>
                <a:gd name="T7" fmla="*/ 88 h 88"/>
                <a:gd name="T8" fmla="*/ 114 w 114"/>
                <a:gd name="T9" fmla="*/ 4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88">
                  <a:moveTo>
                    <a:pt x="114" y="49"/>
                  </a:moveTo>
                  <a:cubicBezTo>
                    <a:pt x="114" y="32"/>
                    <a:pt x="111" y="15"/>
                    <a:pt x="107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9" y="88"/>
                    <a:pt x="109" y="88"/>
                    <a:pt x="109" y="88"/>
                  </a:cubicBezTo>
                  <a:cubicBezTo>
                    <a:pt x="112" y="76"/>
                    <a:pt x="114" y="63"/>
                    <a:pt x="114" y="49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8" name="Freeform 27">
            <a:extLst>
              <a:ext uri="{FF2B5EF4-FFF2-40B4-BE49-F238E27FC236}">
                <a16:creationId xmlns:a16="http://schemas.microsoft.com/office/drawing/2014/main" id="{F57493FC-4276-4E79-8D09-32135966B5D5}"/>
              </a:ext>
            </a:extLst>
          </p:cNvPr>
          <p:cNvSpPr>
            <a:spLocks/>
          </p:cNvSpPr>
          <p:nvPr userDrawn="1"/>
        </p:nvSpPr>
        <p:spPr bwMode="auto">
          <a:xfrm>
            <a:off x="2987173" y="2194477"/>
            <a:ext cx="6038850" cy="2151062"/>
          </a:xfrm>
          <a:custGeom>
            <a:avLst/>
            <a:gdLst>
              <a:gd name="T0" fmla="*/ 3799 w 3804"/>
              <a:gd name="T1" fmla="*/ 0 h 1355"/>
              <a:gd name="T2" fmla="*/ 372 w 3804"/>
              <a:gd name="T3" fmla="*/ 0 h 1355"/>
              <a:gd name="T4" fmla="*/ 0 w 3804"/>
              <a:gd name="T5" fmla="*/ 679 h 1355"/>
              <a:gd name="T6" fmla="*/ 372 w 3804"/>
              <a:gd name="T7" fmla="*/ 1355 h 1355"/>
              <a:gd name="T8" fmla="*/ 3804 w 3804"/>
              <a:gd name="T9" fmla="*/ 1355 h 1355"/>
              <a:gd name="T10" fmla="*/ 3799 w 3804"/>
              <a:gd name="T11" fmla="*/ 0 h 1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04" h="1355">
                <a:moveTo>
                  <a:pt x="3799" y="0"/>
                </a:moveTo>
                <a:lnTo>
                  <a:pt x="372" y="0"/>
                </a:lnTo>
                <a:lnTo>
                  <a:pt x="0" y="679"/>
                </a:lnTo>
                <a:lnTo>
                  <a:pt x="372" y="1355"/>
                </a:lnTo>
                <a:lnTo>
                  <a:pt x="3804" y="1355"/>
                </a:lnTo>
                <a:lnTo>
                  <a:pt x="379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C2DF85AE-55A9-49F5-ABBE-2261DAC3AB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38812" y="3213100"/>
            <a:ext cx="2719626" cy="414338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0BF9434B-3B94-43D3-9147-D70031BAE6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0774" y="4825704"/>
            <a:ext cx="2719388" cy="461963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F71E1150-7133-4936-8AFE-1AFA95223A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3788" y="3503969"/>
            <a:ext cx="2747963" cy="465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26CBBB0E-9348-4086-BB17-2F35CD1D70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78088" y="1915662"/>
            <a:ext cx="2760663" cy="443638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36B6836E-2C74-4C22-B5FD-FA46A9D6E7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659CF5D-D793-4C28-8578-7A6F8C1561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23726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62CE78-23A2-4FF0-A135-4DA67BA43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5E0A78-12C1-443B-8AA7-24C99EA97D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8D15C07-B295-4977-B959-57613A721C75}"/>
              </a:ext>
            </a:extLst>
          </p:cNvPr>
          <p:cNvGrpSpPr/>
          <p:nvPr userDrawn="1"/>
        </p:nvGrpSpPr>
        <p:grpSpPr>
          <a:xfrm>
            <a:off x="6003758" y="704599"/>
            <a:ext cx="6198561" cy="5637747"/>
            <a:chOff x="5318554" y="704599"/>
            <a:chExt cx="6883765" cy="6260957"/>
          </a:xfrm>
        </p:grpSpPr>
        <p:sp>
          <p:nvSpPr>
            <p:cNvPr id="4" name="Freeform 66">
              <a:extLst>
                <a:ext uri="{FF2B5EF4-FFF2-40B4-BE49-F238E27FC236}">
                  <a16:creationId xmlns:a16="http://schemas.microsoft.com/office/drawing/2014/main" id="{A74B4755-7F94-41A7-8FD5-3E1FE549F3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52318" y="3879676"/>
              <a:ext cx="1873123" cy="1807400"/>
            </a:xfrm>
            <a:custGeom>
              <a:avLst/>
              <a:gdLst>
                <a:gd name="T0" fmla="*/ 256 w 1197"/>
                <a:gd name="T1" fmla="*/ 0 h 1155"/>
                <a:gd name="T2" fmla="*/ 0 w 1197"/>
                <a:gd name="T3" fmla="*/ 353 h 1155"/>
                <a:gd name="T4" fmla="*/ 1197 w 1197"/>
                <a:gd name="T5" fmla="*/ 1155 h 1155"/>
                <a:gd name="T6" fmla="*/ 1197 w 1197"/>
                <a:gd name="T7" fmla="*/ 633 h 1155"/>
                <a:gd name="T8" fmla="*/ 256 w 1197"/>
                <a:gd name="T9" fmla="*/ 0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7" h="1155">
                  <a:moveTo>
                    <a:pt x="256" y="0"/>
                  </a:moveTo>
                  <a:lnTo>
                    <a:pt x="0" y="353"/>
                  </a:lnTo>
                  <a:lnTo>
                    <a:pt x="1197" y="1155"/>
                  </a:lnTo>
                  <a:lnTo>
                    <a:pt x="1197" y="633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" name="Freeform 68">
              <a:extLst>
                <a:ext uri="{FF2B5EF4-FFF2-40B4-BE49-F238E27FC236}">
                  <a16:creationId xmlns:a16="http://schemas.microsoft.com/office/drawing/2014/main" id="{2F397039-6258-4625-B3C5-00AF42AB6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3680" y="3349193"/>
              <a:ext cx="1372372" cy="1326991"/>
            </a:xfrm>
            <a:custGeom>
              <a:avLst/>
              <a:gdLst>
                <a:gd name="T0" fmla="*/ 191 w 877"/>
                <a:gd name="T1" fmla="*/ 0 h 848"/>
                <a:gd name="T2" fmla="*/ 0 w 877"/>
                <a:gd name="T3" fmla="*/ 261 h 848"/>
                <a:gd name="T4" fmla="*/ 877 w 877"/>
                <a:gd name="T5" fmla="*/ 848 h 848"/>
                <a:gd name="T6" fmla="*/ 877 w 877"/>
                <a:gd name="T7" fmla="*/ 458 h 848"/>
                <a:gd name="T8" fmla="*/ 191 w 877"/>
                <a:gd name="T9" fmla="*/ 0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7" h="848">
                  <a:moveTo>
                    <a:pt x="191" y="0"/>
                  </a:moveTo>
                  <a:lnTo>
                    <a:pt x="0" y="261"/>
                  </a:lnTo>
                  <a:lnTo>
                    <a:pt x="877" y="848"/>
                  </a:lnTo>
                  <a:lnTo>
                    <a:pt x="877" y="458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" name="Freeform 70">
              <a:extLst>
                <a:ext uri="{FF2B5EF4-FFF2-40B4-BE49-F238E27FC236}">
                  <a16:creationId xmlns:a16="http://schemas.microsoft.com/office/drawing/2014/main" id="{6883F3A1-C71A-4B3A-8E8E-BC23F47CB0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6456" y="2801496"/>
              <a:ext cx="984290" cy="1081310"/>
            </a:xfrm>
            <a:custGeom>
              <a:avLst/>
              <a:gdLst>
                <a:gd name="T0" fmla="*/ 629 w 629"/>
                <a:gd name="T1" fmla="*/ 290 h 691"/>
                <a:gd name="T2" fmla="*/ 195 w 629"/>
                <a:gd name="T3" fmla="*/ 0 h 691"/>
                <a:gd name="T4" fmla="*/ 0 w 629"/>
                <a:gd name="T5" fmla="*/ 272 h 691"/>
                <a:gd name="T6" fmla="*/ 629 w 629"/>
                <a:gd name="T7" fmla="*/ 691 h 691"/>
                <a:gd name="T8" fmla="*/ 629 w 629"/>
                <a:gd name="T9" fmla="*/ 295 h 691"/>
                <a:gd name="T10" fmla="*/ 629 w 629"/>
                <a:gd name="T11" fmla="*/ 29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9" h="691">
                  <a:moveTo>
                    <a:pt x="629" y="290"/>
                  </a:moveTo>
                  <a:lnTo>
                    <a:pt x="195" y="0"/>
                  </a:lnTo>
                  <a:lnTo>
                    <a:pt x="0" y="272"/>
                  </a:lnTo>
                  <a:lnTo>
                    <a:pt x="629" y="691"/>
                  </a:lnTo>
                  <a:lnTo>
                    <a:pt x="629" y="295"/>
                  </a:lnTo>
                  <a:lnTo>
                    <a:pt x="629" y="29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Freeform 72">
              <a:extLst>
                <a:ext uri="{FF2B5EF4-FFF2-40B4-BE49-F238E27FC236}">
                  <a16:creationId xmlns:a16="http://schemas.microsoft.com/office/drawing/2014/main" id="{C73CF082-300C-48B8-81DA-B25EEB8F48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18554" y="4590116"/>
              <a:ext cx="2497497" cy="2375439"/>
            </a:xfrm>
            <a:custGeom>
              <a:avLst/>
              <a:gdLst>
                <a:gd name="T0" fmla="*/ 330 w 1596"/>
                <a:gd name="T1" fmla="*/ 0 h 1518"/>
                <a:gd name="T2" fmla="*/ 0 w 1596"/>
                <a:gd name="T3" fmla="*/ 451 h 1518"/>
                <a:gd name="T4" fmla="*/ 1596 w 1596"/>
                <a:gd name="T5" fmla="*/ 1518 h 1518"/>
                <a:gd name="T6" fmla="*/ 1596 w 1596"/>
                <a:gd name="T7" fmla="*/ 848 h 1518"/>
                <a:gd name="T8" fmla="*/ 330 w 1596"/>
                <a:gd name="T9" fmla="*/ 0 h 1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6" h="1518">
                  <a:moveTo>
                    <a:pt x="330" y="0"/>
                  </a:moveTo>
                  <a:lnTo>
                    <a:pt x="0" y="451"/>
                  </a:lnTo>
                  <a:lnTo>
                    <a:pt x="1596" y="1518"/>
                  </a:lnTo>
                  <a:lnTo>
                    <a:pt x="1596" y="848"/>
                  </a:lnTo>
                  <a:lnTo>
                    <a:pt x="330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7">
              <a:extLst>
                <a:ext uri="{FF2B5EF4-FFF2-40B4-BE49-F238E27FC236}">
                  <a16:creationId xmlns:a16="http://schemas.microsoft.com/office/drawing/2014/main" id="{A60F2302-5FCF-400F-AEB0-D0DDD87C6D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5440" y="2355515"/>
              <a:ext cx="4376879" cy="3331561"/>
            </a:xfrm>
            <a:custGeom>
              <a:avLst/>
              <a:gdLst>
                <a:gd name="T0" fmla="*/ 0 w 2797"/>
                <a:gd name="T1" fmla="*/ 1607 h 2129"/>
                <a:gd name="T2" fmla="*/ 0 w 2797"/>
                <a:gd name="T3" fmla="*/ 2129 h 2129"/>
                <a:gd name="T4" fmla="*/ 2797 w 2797"/>
                <a:gd name="T5" fmla="*/ 543 h 2129"/>
                <a:gd name="T6" fmla="*/ 2797 w 2797"/>
                <a:gd name="T7" fmla="*/ 0 h 2129"/>
                <a:gd name="T8" fmla="*/ 0 w 2797"/>
                <a:gd name="T9" fmla="*/ 1607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7" h="2129">
                  <a:moveTo>
                    <a:pt x="0" y="1607"/>
                  </a:moveTo>
                  <a:lnTo>
                    <a:pt x="0" y="2129"/>
                  </a:lnTo>
                  <a:lnTo>
                    <a:pt x="2797" y="543"/>
                  </a:lnTo>
                  <a:lnTo>
                    <a:pt x="2797" y="0"/>
                  </a:lnTo>
                  <a:lnTo>
                    <a:pt x="0" y="160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69">
              <a:extLst>
                <a:ext uri="{FF2B5EF4-FFF2-40B4-BE49-F238E27FC236}">
                  <a16:creationId xmlns:a16="http://schemas.microsoft.com/office/drawing/2014/main" id="{67B5C608-3A6A-49B6-9EEC-DBF08B02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6051" y="1527710"/>
              <a:ext cx="4386268" cy="3148474"/>
            </a:xfrm>
            <a:custGeom>
              <a:avLst/>
              <a:gdLst>
                <a:gd name="T0" fmla="*/ 0 w 2803"/>
                <a:gd name="T1" fmla="*/ 1622 h 2012"/>
                <a:gd name="T2" fmla="*/ 0 w 2803"/>
                <a:gd name="T3" fmla="*/ 1622 h 2012"/>
                <a:gd name="T4" fmla="*/ 0 w 2803"/>
                <a:gd name="T5" fmla="*/ 2012 h 2012"/>
                <a:gd name="T6" fmla="*/ 2803 w 2803"/>
                <a:gd name="T7" fmla="*/ 405 h 2012"/>
                <a:gd name="T8" fmla="*/ 2803 w 2803"/>
                <a:gd name="T9" fmla="*/ 0 h 2012"/>
                <a:gd name="T10" fmla="*/ 0 w 2803"/>
                <a:gd name="T11" fmla="*/ 1622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03" h="2012">
                  <a:moveTo>
                    <a:pt x="0" y="1622"/>
                  </a:moveTo>
                  <a:lnTo>
                    <a:pt x="0" y="1622"/>
                  </a:lnTo>
                  <a:lnTo>
                    <a:pt x="0" y="2012"/>
                  </a:lnTo>
                  <a:lnTo>
                    <a:pt x="2803" y="405"/>
                  </a:lnTo>
                  <a:lnTo>
                    <a:pt x="2803" y="0"/>
                  </a:lnTo>
                  <a:lnTo>
                    <a:pt x="0" y="16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71">
              <a:extLst>
                <a:ext uri="{FF2B5EF4-FFF2-40B4-BE49-F238E27FC236}">
                  <a16:creationId xmlns:a16="http://schemas.microsoft.com/office/drawing/2014/main" id="{CB8CF8CB-0540-4CC9-AF53-34098099F7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0746" y="704599"/>
              <a:ext cx="4381573" cy="3178206"/>
            </a:xfrm>
            <a:custGeom>
              <a:avLst/>
              <a:gdLst>
                <a:gd name="T0" fmla="*/ 0 w 2800"/>
                <a:gd name="T1" fmla="*/ 1635 h 2031"/>
                <a:gd name="T2" fmla="*/ 0 w 2800"/>
                <a:gd name="T3" fmla="*/ 2031 h 2031"/>
                <a:gd name="T4" fmla="*/ 2800 w 2800"/>
                <a:gd name="T5" fmla="*/ 409 h 2031"/>
                <a:gd name="T6" fmla="*/ 2800 w 2800"/>
                <a:gd name="T7" fmla="*/ 0 h 2031"/>
                <a:gd name="T8" fmla="*/ 0 w 2800"/>
                <a:gd name="T9" fmla="*/ 1635 h 2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0" h="2031">
                  <a:moveTo>
                    <a:pt x="0" y="1635"/>
                  </a:moveTo>
                  <a:lnTo>
                    <a:pt x="0" y="2031"/>
                  </a:lnTo>
                  <a:lnTo>
                    <a:pt x="2800" y="409"/>
                  </a:lnTo>
                  <a:lnTo>
                    <a:pt x="2800" y="0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73">
              <a:extLst>
                <a:ext uri="{FF2B5EF4-FFF2-40B4-BE49-F238E27FC236}">
                  <a16:creationId xmlns:a16="http://schemas.microsoft.com/office/drawing/2014/main" id="{1A3D6320-33D5-45E5-9F3F-8F2E94A1A6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6051" y="3429000"/>
              <a:ext cx="4386268" cy="3536556"/>
            </a:xfrm>
            <a:custGeom>
              <a:avLst/>
              <a:gdLst>
                <a:gd name="T0" fmla="*/ 0 w 2803"/>
                <a:gd name="T1" fmla="*/ 1590 h 2260"/>
                <a:gd name="T2" fmla="*/ 0 w 2803"/>
                <a:gd name="T3" fmla="*/ 2260 h 2260"/>
                <a:gd name="T4" fmla="*/ 2803 w 2803"/>
                <a:gd name="T5" fmla="*/ 692 h 2260"/>
                <a:gd name="T6" fmla="*/ 2803 w 2803"/>
                <a:gd name="T7" fmla="*/ 0 h 2260"/>
                <a:gd name="T8" fmla="*/ 0 w 2803"/>
                <a:gd name="T9" fmla="*/ 1590 h 2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3" h="2260">
                  <a:moveTo>
                    <a:pt x="0" y="1590"/>
                  </a:moveTo>
                  <a:lnTo>
                    <a:pt x="0" y="2260"/>
                  </a:lnTo>
                  <a:lnTo>
                    <a:pt x="2803" y="692"/>
                  </a:lnTo>
                  <a:lnTo>
                    <a:pt x="2803" y="0"/>
                  </a:lnTo>
                  <a:lnTo>
                    <a:pt x="0" y="159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53">
              <a:extLst>
                <a:ext uri="{FF2B5EF4-FFF2-40B4-BE49-F238E27FC236}">
                  <a16:creationId xmlns:a16="http://schemas.microsoft.com/office/drawing/2014/main" id="{1E6C24B5-5429-45AF-BB2A-E5D0877228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7994" y="1857614"/>
              <a:ext cx="700649" cy="1200108"/>
            </a:xfrm>
            <a:custGeom>
              <a:avLst/>
              <a:gdLst>
                <a:gd name="T0" fmla="*/ 0 w 498"/>
                <a:gd name="T1" fmla="*/ 853 h 853"/>
                <a:gd name="T2" fmla="*/ 0 w 498"/>
                <a:gd name="T3" fmla="*/ 0 h 853"/>
                <a:gd name="T4" fmla="*/ 498 w 498"/>
                <a:gd name="T5" fmla="*/ 562 h 853"/>
                <a:gd name="T6" fmla="*/ 0 w 498"/>
                <a:gd name="T7" fmla="*/ 853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8" h="853">
                  <a:moveTo>
                    <a:pt x="0" y="853"/>
                  </a:moveTo>
                  <a:lnTo>
                    <a:pt x="0" y="0"/>
                  </a:lnTo>
                  <a:lnTo>
                    <a:pt x="498" y="562"/>
                  </a:lnTo>
                  <a:lnTo>
                    <a:pt x="0" y="8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54">
              <a:extLst>
                <a:ext uri="{FF2B5EF4-FFF2-40B4-BE49-F238E27FC236}">
                  <a16:creationId xmlns:a16="http://schemas.microsoft.com/office/drawing/2014/main" id="{ACC4B63E-EA57-4F6F-A7F9-145468EA6E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42713" y="1857614"/>
              <a:ext cx="585281" cy="1200108"/>
            </a:xfrm>
            <a:custGeom>
              <a:avLst/>
              <a:gdLst>
                <a:gd name="T0" fmla="*/ 416 w 416"/>
                <a:gd name="T1" fmla="*/ 0 h 853"/>
                <a:gd name="T2" fmla="*/ 0 w 416"/>
                <a:gd name="T3" fmla="*/ 574 h 853"/>
                <a:gd name="T4" fmla="*/ 416 w 416"/>
                <a:gd name="T5" fmla="*/ 853 h 853"/>
                <a:gd name="T6" fmla="*/ 416 w 416"/>
                <a:gd name="T7" fmla="*/ 0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6" h="853">
                  <a:moveTo>
                    <a:pt x="416" y="0"/>
                  </a:moveTo>
                  <a:lnTo>
                    <a:pt x="0" y="574"/>
                  </a:lnTo>
                  <a:lnTo>
                    <a:pt x="416" y="853"/>
                  </a:lnTo>
                  <a:lnTo>
                    <a:pt x="41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28A4EF35-1AC7-4CC8-A023-3F02063B8F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9801735">
            <a:off x="8375911" y="2147885"/>
            <a:ext cx="3181379" cy="2967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F3C2E626-A129-41A0-8695-F9DD252D1F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9801735">
            <a:off x="8375397" y="2881226"/>
            <a:ext cx="3181379" cy="338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384138EA-D3A1-4410-A05E-E98ACC08A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9801735">
            <a:off x="8375398" y="3694226"/>
            <a:ext cx="3181379" cy="338576"/>
          </a:xfrm>
        </p:spPr>
        <p:txBody>
          <a:bodyPr/>
          <a:lstStyle>
            <a:lvl1pPr>
              <a:defRPr>
                <a:solidFill>
                  <a:srgbClr val="0979BF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71C69D4A-995D-4DF0-BB9C-E74F9E561C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9801735">
            <a:off x="8375397" y="4705573"/>
            <a:ext cx="3181379" cy="3274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9F4F6727-E21F-498B-A20E-245753AA4D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7" y="4280856"/>
            <a:ext cx="5042317" cy="1782586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Nunc </a:t>
            </a:r>
            <a:r>
              <a:rPr lang="en-US" dirty="0" err="1"/>
              <a:t>venenatis</a:t>
            </a:r>
            <a:r>
              <a:rPr lang="en-US" dirty="0"/>
              <a:t> ligula vel </a:t>
            </a:r>
            <a:r>
              <a:rPr lang="en-US" dirty="0" err="1"/>
              <a:t>metus</a:t>
            </a:r>
            <a:r>
              <a:rPr lang="en-US" dirty="0"/>
              <a:t> vestibulum, pulvinar </a:t>
            </a:r>
            <a:r>
              <a:rPr lang="en-US" dirty="0" err="1"/>
              <a:t>volutpat</a:t>
            </a:r>
            <a:r>
              <a:rPr lang="en-US" dirty="0"/>
              <a:t> ligula gravid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inibu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semper vestibulum. Duis id </a:t>
            </a:r>
            <a:r>
              <a:rPr lang="en-US" dirty="0" err="1"/>
              <a:t>sem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. </a:t>
            </a:r>
            <a:endParaRPr lang="en-IN" dirty="0"/>
          </a:p>
        </p:txBody>
      </p:sp>
      <p:sp>
        <p:nvSpPr>
          <p:cNvPr id="51" name="Chart Placeholder 50">
            <a:extLst>
              <a:ext uri="{FF2B5EF4-FFF2-40B4-BE49-F238E27FC236}">
                <a16:creationId xmlns:a16="http://schemas.microsoft.com/office/drawing/2014/main" id="{F456DBA0-C3C8-429C-9143-26F409DCC743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94821" y="1156737"/>
            <a:ext cx="5041900" cy="2835078"/>
          </a:xfrm>
        </p:spPr>
        <p:txBody>
          <a:bodyPr/>
          <a:lstStyle/>
          <a:p>
            <a:endParaRPr lang="en-IN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622B39C-FECC-47E7-86AF-32E14178F1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E7D2FD9-DAEB-47EC-9FA1-9D05B847F5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15204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zzle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3FFFD7-85B5-4F0D-B2E5-02ADC5CD3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EB7EC6-3217-43A7-A600-E03F48DD40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6216F2D7-B286-4045-B4C5-C0347D04C77B}"/>
              </a:ext>
            </a:extLst>
          </p:cNvPr>
          <p:cNvSpPr>
            <a:spLocks/>
          </p:cNvSpPr>
          <p:nvPr userDrawn="1"/>
        </p:nvSpPr>
        <p:spPr bwMode="auto">
          <a:xfrm>
            <a:off x="6096000" y="1982128"/>
            <a:ext cx="2381265" cy="2382494"/>
          </a:xfrm>
          <a:custGeom>
            <a:avLst/>
            <a:gdLst>
              <a:gd name="T0" fmla="*/ 183 w 819"/>
              <a:gd name="T1" fmla="*/ 603 h 819"/>
              <a:gd name="T2" fmla="*/ 256 w 819"/>
              <a:gd name="T3" fmla="*/ 638 h 819"/>
              <a:gd name="T4" fmla="*/ 218 w 819"/>
              <a:gd name="T5" fmla="*/ 731 h 819"/>
              <a:gd name="T6" fmla="*/ 386 w 819"/>
              <a:gd name="T7" fmla="*/ 731 h 819"/>
              <a:gd name="T8" fmla="*/ 347 w 819"/>
              <a:gd name="T9" fmla="*/ 638 h 819"/>
              <a:gd name="T10" fmla="*/ 420 w 819"/>
              <a:gd name="T11" fmla="*/ 603 h 819"/>
              <a:gd name="T12" fmla="*/ 603 w 819"/>
              <a:gd name="T13" fmla="*/ 603 h 819"/>
              <a:gd name="T14" fmla="*/ 603 w 819"/>
              <a:gd name="T15" fmla="*/ 420 h 819"/>
              <a:gd name="T16" fmla="*/ 639 w 819"/>
              <a:gd name="T17" fmla="*/ 347 h 819"/>
              <a:gd name="T18" fmla="*/ 731 w 819"/>
              <a:gd name="T19" fmla="*/ 385 h 819"/>
              <a:gd name="T20" fmla="*/ 731 w 819"/>
              <a:gd name="T21" fmla="*/ 217 h 819"/>
              <a:gd name="T22" fmla="*/ 639 w 819"/>
              <a:gd name="T23" fmla="*/ 256 h 819"/>
              <a:gd name="T24" fmla="*/ 603 w 819"/>
              <a:gd name="T25" fmla="*/ 183 h 819"/>
              <a:gd name="T26" fmla="*/ 603 w 819"/>
              <a:gd name="T27" fmla="*/ 0 h 819"/>
              <a:gd name="T28" fmla="*/ 420 w 819"/>
              <a:gd name="T29" fmla="*/ 0 h 819"/>
              <a:gd name="T30" fmla="*/ 347 w 819"/>
              <a:gd name="T31" fmla="*/ 35 h 819"/>
              <a:gd name="T32" fmla="*/ 386 w 819"/>
              <a:gd name="T33" fmla="*/ 128 h 819"/>
              <a:gd name="T34" fmla="*/ 218 w 819"/>
              <a:gd name="T35" fmla="*/ 128 h 819"/>
              <a:gd name="T36" fmla="*/ 256 w 819"/>
              <a:gd name="T37" fmla="*/ 35 h 819"/>
              <a:gd name="T38" fmla="*/ 183 w 819"/>
              <a:gd name="T39" fmla="*/ 0 h 819"/>
              <a:gd name="T40" fmla="*/ 0 w 819"/>
              <a:gd name="T41" fmla="*/ 0 h 819"/>
              <a:gd name="T42" fmla="*/ 0 w 819"/>
              <a:gd name="T43" fmla="*/ 183 h 819"/>
              <a:gd name="T44" fmla="*/ 35 w 819"/>
              <a:gd name="T45" fmla="*/ 256 h 819"/>
              <a:gd name="T46" fmla="*/ 128 w 819"/>
              <a:gd name="T47" fmla="*/ 217 h 819"/>
              <a:gd name="T48" fmla="*/ 128 w 819"/>
              <a:gd name="T49" fmla="*/ 385 h 819"/>
              <a:gd name="T50" fmla="*/ 35 w 819"/>
              <a:gd name="T51" fmla="*/ 347 h 819"/>
              <a:gd name="T52" fmla="*/ 0 w 819"/>
              <a:gd name="T53" fmla="*/ 420 h 819"/>
              <a:gd name="T54" fmla="*/ 0 w 819"/>
              <a:gd name="T55" fmla="*/ 603 h 819"/>
              <a:gd name="T56" fmla="*/ 183 w 819"/>
              <a:gd name="T57" fmla="*/ 603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19" h="819">
                <a:moveTo>
                  <a:pt x="183" y="603"/>
                </a:moveTo>
                <a:cubicBezTo>
                  <a:pt x="249" y="603"/>
                  <a:pt x="265" y="619"/>
                  <a:pt x="256" y="638"/>
                </a:cubicBezTo>
                <a:cubicBezTo>
                  <a:pt x="239" y="675"/>
                  <a:pt x="210" y="680"/>
                  <a:pt x="218" y="731"/>
                </a:cubicBezTo>
                <a:cubicBezTo>
                  <a:pt x="231" y="819"/>
                  <a:pt x="372" y="819"/>
                  <a:pt x="386" y="731"/>
                </a:cubicBezTo>
                <a:cubicBezTo>
                  <a:pt x="394" y="680"/>
                  <a:pt x="364" y="675"/>
                  <a:pt x="347" y="638"/>
                </a:cubicBezTo>
                <a:cubicBezTo>
                  <a:pt x="339" y="619"/>
                  <a:pt x="354" y="603"/>
                  <a:pt x="420" y="603"/>
                </a:cubicBezTo>
                <a:cubicBezTo>
                  <a:pt x="603" y="603"/>
                  <a:pt x="603" y="603"/>
                  <a:pt x="603" y="603"/>
                </a:cubicBezTo>
                <a:cubicBezTo>
                  <a:pt x="603" y="420"/>
                  <a:pt x="603" y="420"/>
                  <a:pt x="603" y="420"/>
                </a:cubicBezTo>
                <a:cubicBezTo>
                  <a:pt x="603" y="354"/>
                  <a:pt x="619" y="338"/>
                  <a:pt x="639" y="347"/>
                </a:cubicBezTo>
                <a:cubicBezTo>
                  <a:pt x="675" y="364"/>
                  <a:pt x="680" y="394"/>
                  <a:pt x="731" y="385"/>
                </a:cubicBezTo>
                <a:cubicBezTo>
                  <a:pt x="819" y="372"/>
                  <a:pt x="819" y="231"/>
                  <a:pt x="731" y="217"/>
                </a:cubicBezTo>
                <a:cubicBezTo>
                  <a:pt x="680" y="209"/>
                  <a:pt x="675" y="239"/>
                  <a:pt x="639" y="256"/>
                </a:cubicBezTo>
                <a:cubicBezTo>
                  <a:pt x="619" y="264"/>
                  <a:pt x="603" y="249"/>
                  <a:pt x="603" y="183"/>
                </a:cubicBezTo>
                <a:cubicBezTo>
                  <a:pt x="603" y="0"/>
                  <a:pt x="603" y="0"/>
                  <a:pt x="603" y="0"/>
                </a:cubicBezTo>
                <a:cubicBezTo>
                  <a:pt x="420" y="0"/>
                  <a:pt x="420" y="0"/>
                  <a:pt x="420" y="0"/>
                </a:cubicBezTo>
                <a:cubicBezTo>
                  <a:pt x="354" y="0"/>
                  <a:pt x="339" y="16"/>
                  <a:pt x="347" y="35"/>
                </a:cubicBezTo>
                <a:cubicBezTo>
                  <a:pt x="364" y="72"/>
                  <a:pt x="394" y="76"/>
                  <a:pt x="386" y="128"/>
                </a:cubicBezTo>
                <a:cubicBezTo>
                  <a:pt x="372" y="216"/>
                  <a:pt x="231" y="216"/>
                  <a:pt x="218" y="128"/>
                </a:cubicBezTo>
                <a:cubicBezTo>
                  <a:pt x="210" y="76"/>
                  <a:pt x="239" y="72"/>
                  <a:pt x="256" y="35"/>
                </a:cubicBezTo>
                <a:cubicBezTo>
                  <a:pt x="265" y="16"/>
                  <a:pt x="249" y="0"/>
                  <a:pt x="18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83"/>
                  <a:pt x="0" y="183"/>
                  <a:pt x="0" y="183"/>
                </a:cubicBezTo>
                <a:cubicBezTo>
                  <a:pt x="0" y="249"/>
                  <a:pt x="16" y="264"/>
                  <a:pt x="35" y="256"/>
                </a:cubicBezTo>
                <a:cubicBezTo>
                  <a:pt x="72" y="239"/>
                  <a:pt x="77" y="209"/>
                  <a:pt x="128" y="217"/>
                </a:cubicBezTo>
                <a:cubicBezTo>
                  <a:pt x="216" y="231"/>
                  <a:pt x="216" y="372"/>
                  <a:pt x="128" y="385"/>
                </a:cubicBezTo>
                <a:cubicBezTo>
                  <a:pt x="77" y="394"/>
                  <a:pt x="72" y="364"/>
                  <a:pt x="35" y="347"/>
                </a:cubicBezTo>
                <a:cubicBezTo>
                  <a:pt x="16" y="338"/>
                  <a:pt x="0" y="354"/>
                  <a:pt x="0" y="420"/>
                </a:cubicBezTo>
                <a:cubicBezTo>
                  <a:pt x="0" y="603"/>
                  <a:pt x="0" y="603"/>
                  <a:pt x="0" y="603"/>
                </a:cubicBezTo>
                <a:lnTo>
                  <a:pt x="183" y="60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91DB5207-98A4-440C-B641-313924C470E2}"/>
              </a:ext>
            </a:extLst>
          </p:cNvPr>
          <p:cNvSpPr>
            <a:spLocks/>
          </p:cNvSpPr>
          <p:nvPr userDrawn="1"/>
        </p:nvSpPr>
        <p:spPr bwMode="auto">
          <a:xfrm>
            <a:off x="5468123" y="3735514"/>
            <a:ext cx="2381265" cy="2382494"/>
          </a:xfrm>
          <a:custGeom>
            <a:avLst/>
            <a:gdLst>
              <a:gd name="T0" fmla="*/ 216 w 819"/>
              <a:gd name="T1" fmla="*/ 420 h 819"/>
              <a:gd name="T2" fmla="*/ 181 w 819"/>
              <a:gd name="T3" fmla="*/ 347 h 819"/>
              <a:gd name="T4" fmla="*/ 88 w 819"/>
              <a:gd name="T5" fmla="*/ 386 h 819"/>
              <a:gd name="T6" fmla="*/ 88 w 819"/>
              <a:gd name="T7" fmla="*/ 218 h 819"/>
              <a:gd name="T8" fmla="*/ 181 w 819"/>
              <a:gd name="T9" fmla="*/ 256 h 819"/>
              <a:gd name="T10" fmla="*/ 216 w 819"/>
              <a:gd name="T11" fmla="*/ 183 h 819"/>
              <a:gd name="T12" fmla="*/ 216 w 819"/>
              <a:gd name="T13" fmla="*/ 0 h 819"/>
              <a:gd name="T14" fmla="*/ 399 w 819"/>
              <a:gd name="T15" fmla="*/ 0 h 819"/>
              <a:gd name="T16" fmla="*/ 472 w 819"/>
              <a:gd name="T17" fmla="*/ 35 h 819"/>
              <a:gd name="T18" fmla="*/ 434 w 819"/>
              <a:gd name="T19" fmla="*/ 128 h 819"/>
              <a:gd name="T20" fmla="*/ 602 w 819"/>
              <a:gd name="T21" fmla="*/ 128 h 819"/>
              <a:gd name="T22" fmla="*/ 563 w 819"/>
              <a:gd name="T23" fmla="*/ 35 h 819"/>
              <a:gd name="T24" fmla="*/ 636 w 819"/>
              <a:gd name="T25" fmla="*/ 0 h 819"/>
              <a:gd name="T26" fmla="*/ 819 w 819"/>
              <a:gd name="T27" fmla="*/ 0 h 819"/>
              <a:gd name="T28" fmla="*/ 819 w 819"/>
              <a:gd name="T29" fmla="*/ 183 h 819"/>
              <a:gd name="T30" fmla="*/ 784 w 819"/>
              <a:gd name="T31" fmla="*/ 256 h 819"/>
              <a:gd name="T32" fmla="*/ 691 w 819"/>
              <a:gd name="T33" fmla="*/ 218 h 819"/>
              <a:gd name="T34" fmla="*/ 691 w 819"/>
              <a:gd name="T35" fmla="*/ 386 h 819"/>
              <a:gd name="T36" fmla="*/ 784 w 819"/>
              <a:gd name="T37" fmla="*/ 347 h 819"/>
              <a:gd name="T38" fmla="*/ 819 w 819"/>
              <a:gd name="T39" fmla="*/ 420 h 819"/>
              <a:gd name="T40" fmla="*/ 819 w 819"/>
              <a:gd name="T41" fmla="*/ 603 h 819"/>
              <a:gd name="T42" fmla="*/ 636 w 819"/>
              <a:gd name="T43" fmla="*/ 603 h 819"/>
              <a:gd name="T44" fmla="*/ 563 w 819"/>
              <a:gd name="T45" fmla="*/ 639 h 819"/>
              <a:gd name="T46" fmla="*/ 602 w 819"/>
              <a:gd name="T47" fmla="*/ 731 h 819"/>
              <a:gd name="T48" fmla="*/ 434 w 819"/>
              <a:gd name="T49" fmla="*/ 731 h 819"/>
              <a:gd name="T50" fmla="*/ 472 w 819"/>
              <a:gd name="T51" fmla="*/ 639 h 819"/>
              <a:gd name="T52" fmla="*/ 399 w 819"/>
              <a:gd name="T53" fmla="*/ 603 h 819"/>
              <a:gd name="T54" fmla="*/ 216 w 819"/>
              <a:gd name="T55" fmla="*/ 603 h 819"/>
              <a:gd name="T56" fmla="*/ 216 w 819"/>
              <a:gd name="T57" fmla="*/ 420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19" h="819">
                <a:moveTo>
                  <a:pt x="216" y="420"/>
                </a:moveTo>
                <a:cubicBezTo>
                  <a:pt x="216" y="354"/>
                  <a:pt x="200" y="339"/>
                  <a:pt x="181" y="347"/>
                </a:cubicBezTo>
                <a:cubicBezTo>
                  <a:pt x="144" y="364"/>
                  <a:pt x="139" y="394"/>
                  <a:pt x="88" y="386"/>
                </a:cubicBezTo>
                <a:cubicBezTo>
                  <a:pt x="0" y="372"/>
                  <a:pt x="0" y="231"/>
                  <a:pt x="88" y="218"/>
                </a:cubicBezTo>
                <a:cubicBezTo>
                  <a:pt x="139" y="210"/>
                  <a:pt x="144" y="239"/>
                  <a:pt x="181" y="256"/>
                </a:cubicBezTo>
                <a:cubicBezTo>
                  <a:pt x="200" y="265"/>
                  <a:pt x="216" y="249"/>
                  <a:pt x="216" y="183"/>
                </a:cubicBezTo>
                <a:cubicBezTo>
                  <a:pt x="216" y="0"/>
                  <a:pt x="216" y="0"/>
                  <a:pt x="216" y="0"/>
                </a:cubicBezTo>
                <a:cubicBezTo>
                  <a:pt x="399" y="0"/>
                  <a:pt x="399" y="0"/>
                  <a:pt x="399" y="0"/>
                </a:cubicBezTo>
                <a:cubicBezTo>
                  <a:pt x="465" y="0"/>
                  <a:pt x="481" y="16"/>
                  <a:pt x="472" y="35"/>
                </a:cubicBezTo>
                <a:cubicBezTo>
                  <a:pt x="455" y="72"/>
                  <a:pt x="426" y="77"/>
                  <a:pt x="434" y="128"/>
                </a:cubicBezTo>
                <a:cubicBezTo>
                  <a:pt x="447" y="216"/>
                  <a:pt x="588" y="216"/>
                  <a:pt x="602" y="128"/>
                </a:cubicBezTo>
                <a:cubicBezTo>
                  <a:pt x="610" y="77"/>
                  <a:pt x="580" y="72"/>
                  <a:pt x="563" y="35"/>
                </a:cubicBezTo>
                <a:cubicBezTo>
                  <a:pt x="555" y="16"/>
                  <a:pt x="570" y="0"/>
                  <a:pt x="636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83"/>
                  <a:pt x="819" y="183"/>
                  <a:pt x="819" y="183"/>
                </a:cubicBezTo>
                <a:cubicBezTo>
                  <a:pt x="819" y="249"/>
                  <a:pt x="803" y="265"/>
                  <a:pt x="784" y="256"/>
                </a:cubicBezTo>
                <a:cubicBezTo>
                  <a:pt x="747" y="239"/>
                  <a:pt x="743" y="210"/>
                  <a:pt x="691" y="218"/>
                </a:cubicBezTo>
                <a:cubicBezTo>
                  <a:pt x="603" y="231"/>
                  <a:pt x="603" y="372"/>
                  <a:pt x="691" y="386"/>
                </a:cubicBezTo>
                <a:cubicBezTo>
                  <a:pt x="743" y="394"/>
                  <a:pt x="747" y="364"/>
                  <a:pt x="784" y="347"/>
                </a:cubicBezTo>
                <a:cubicBezTo>
                  <a:pt x="803" y="339"/>
                  <a:pt x="819" y="354"/>
                  <a:pt x="819" y="420"/>
                </a:cubicBezTo>
                <a:cubicBezTo>
                  <a:pt x="819" y="603"/>
                  <a:pt x="819" y="603"/>
                  <a:pt x="819" y="603"/>
                </a:cubicBezTo>
                <a:cubicBezTo>
                  <a:pt x="636" y="603"/>
                  <a:pt x="636" y="603"/>
                  <a:pt x="636" y="603"/>
                </a:cubicBezTo>
                <a:cubicBezTo>
                  <a:pt x="570" y="603"/>
                  <a:pt x="555" y="619"/>
                  <a:pt x="563" y="639"/>
                </a:cubicBezTo>
                <a:cubicBezTo>
                  <a:pt x="580" y="675"/>
                  <a:pt x="610" y="680"/>
                  <a:pt x="602" y="731"/>
                </a:cubicBezTo>
                <a:cubicBezTo>
                  <a:pt x="588" y="819"/>
                  <a:pt x="447" y="819"/>
                  <a:pt x="434" y="731"/>
                </a:cubicBezTo>
                <a:cubicBezTo>
                  <a:pt x="426" y="680"/>
                  <a:pt x="455" y="675"/>
                  <a:pt x="472" y="639"/>
                </a:cubicBezTo>
                <a:cubicBezTo>
                  <a:pt x="481" y="619"/>
                  <a:pt x="465" y="603"/>
                  <a:pt x="399" y="603"/>
                </a:cubicBezTo>
                <a:cubicBezTo>
                  <a:pt x="216" y="603"/>
                  <a:pt x="216" y="603"/>
                  <a:pt x="216" y="603"/>
                </a:cubicBezTo>
                <a:lnTo>
                  <a:pt x="216" y="42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F3772F18-C7CD-4ED6-89BF-C536474630BC}"/>
              </a:ext>
            </a:extLst>
          </p:cNvPr>
          <p:cNvSpPr>
            <a:spLocks/>
          </p:cNvSpPr>
          <p:nvPr userDrawn="1"/>
        </p:nvSpPr>
        <p:spPr bwMode="auto">
          <a:xfrm>
            <a:off x="4342613" y="1354250"/>
            <a:ext cx="2381265" cy="2381264"/>
          </a:xfrm>
          <a:custGeom>
            <a:avLst/>
            <a:gdLst>
              <a:gd name="T0" fmla="*/ 183 w 819"/>
              <a:gd name="T1" fmla="*/ 216 h 819"/>
              <a:gd name="T2" fmla="*/ 256 w 819"/>
              <a:gd name="T3" fmla="*/ 180 h 819"/>
              <a:gd name="T4" fmla="*/ 217 w 819"/>
              <a:gd name="T5" fmla="*/ 88 h 819"/>
              <a:gd name="T6" fmla="*/ 385 w 819"/>
              <a:gd name="T7" fmla="*/ 88 h 819"/>
              <a:gd name="T8" fmla="*/ 347 w 819"/>
              <a:gd name="T9" fmla="*/ 180 h 819"/>
              <a:gd name="T10" fmla="*/ 420 w 819"/>
              <a:gd name="T11" fmla="*/ 216 h 819"/>
              <a:gd name="T12" fmla="*/ 603 w 819"/>
              <a:gd name="T13" fmla="*/ 216 h 819"/>
              <a:gd name="T14" fmla="*/ 603 w 819"/>
              <a:gd name="T15" fmla="*/ 399 h 819"/>
              <a:gd name="T16" fmla="*/ 638 w 819"/>
              <a:gd name="T17" fmla="*/ 472 h 819"/>
              <a:gd name="T18" fmla="*/ 731 w 819"/>
              <a:gd name="T19" fmla="*/ 433 h 819"/>
              <a:gd name="T20" fmla="*/ 731 w 819"/>
              <a:gd name="T21" fmla="*/ 601 h 819"/>
              <a:gd name="T22" fmla="*/ 638 w 819"/>
              <a:gd name="T23" fmla="*/ 563 h 819"/>
              <a:gd name="T24" fmla="*/ 603 w 819"/>
              <a:gd name="T25" fmla="*/ 636 h 819"/>
              <a:gd name="T26" fmla="*/ 603 w 819"/>
              <a:gd name="T27" fmla="*/ 819 h 819"/>
              <a:gd name="T28" fmla="*/ 420 w 819"/>
              <a:gd name="T29" fmla="*/ 819 h 819"/>
              <a:gd name="T30" fmla="*/ 347 w 819"/>
              <a:gd name="T31" fmla="*/ 784 h 819"/>
              <a:gd name="T32" fmla="*/ 385 w 819"/>
              <a:gd name="T33" fmla="*/ 691 h 819"/>
              <a:gd name="T34" fmla="*/ 217 w 819"/>
              <a:gd name="T35" fmla="*/ 691 h 819"/>
              <a:gd name="T36" fmla="*/ 256 w 819"/>
              <a:gd name="T37" fmla="*/ 784 h 819"/>
              <a:gd name="T38" fmla="*/ 183 w 819"/>
              <a:gd name="T39" fmla="*/ 819 h 819"/>
              <a:gd name="T40" fmla="*/ 0 w 819"/>
              <a:gd name="T41" fmla="*/ 819 h 819"/>
              <a:gd name="T42" fmla="*/ 0 w 819"/>
              <a:gd name="T43" fmla="*/ 636 h 819"/>
              <a:gd name="T44" fmla="*/ 35 w 819"/>
              <a:gd name="T45" fmla="*/ 563 h 819"/>
              <a:gd name="T46" fmla="*/ 128 w 819"/>
              <a:gd name="T47" fmla="*/ 601 h 819"/>
              <a:gd name="T48" fmla="*/ 128 w 819"/>
              <a:gd name="T49" fmla="*/ 433 h 819"/>
              <a:gd name="T50" fmla="*/ 35 w 819"/>
              <a:gd name="T51" fmla="*/ 472 h 819"/>
              <a:gd name="T52" fmla="*/ 0 w 819"/>
              <a:gd name="T53" fmla="*/ 399 h 819"/>
              <a:gd name="T54" fmla="*/ 0 w 819"/>
              <a:gd name="T55" fmla="*/ 216 h 819"/>
              <a:gd name="T56" fmla="*/ 183 w 819"/>
              <a:gd name="T57" fmla="*/ 216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19" h="819">
                <a:moveTo>
                  <a:pt x="183" y="216"/>
                </a:moveTo>
                <a:cubicBezTo>
                  <a:pt x="249" y="216"/>
                  <a:pt x="264" y="200"/>
                  <a:pt x="256" y="180"/>
                </a:cubicBezTo>
                <a:cubicBezTo>
                  <a:pt x="239" y="144"/>
                  <a:pt x="209" y="139"/>
                  <a:pt x="217" y="88"/>
                </a:cubicBezTo>
                <a:cubicBezTo>
                  <a:pt x="231" y="0"/>
                  <a:pt x="372" y="0"/>
                  <a:pt x="385" y="88"/>
                </a:cubicBezTo>
                <a:cubicBezTo>
                  <a:pt x="393" y="139"/>
                  <a:pt x="364" y="144"/>
                  <a:pt x="347" y="180"/>
                </a:cubicBezTo>
                <a:cubicBezTo>
                  <a:pt x="338" y="200"/>
                  <a:pt x="354" y="216"/>
                  <a:pt x="420" y="216"/>
                </a:cubicBezTo>
                <a:cubicBezTo>
                  <a:pt x="603" y="216"/>
                  <a:pt x="603" y="216"/>
                  <a:pt x="603" y="216"/>
                </a:cubicBezTo>
                <a:cubicBezTo>
                  <a:pt x="603" y="399"/>
                  <a:pt x="603" y="399"/>
                  <a:pt x="603" y="399"/>
                </a:cubicBezTo>
                <a:cubicBezTo>
                  <a:pt x="603" y="465"/>
                  <a:pt x="619" y="480"/>
                  <a:pt x="638" y="472"/>
                </a:cubicBezTo>
                <a:cubicBezTo>
                  <a:pt x="675" y="455"/>
                  <a:pt x="680" y="425"/>
                  <a:pt x="731" y="433"/>
                </a:cubicBezTo>
                <a:cubicBezTo>
                  <a:pt x="819" y="447"/>
                  <a:pt x="819" y="588"/>
                  <a:pt x="731" y="601"/>
                </a:cubicBezTo>
                <a:cubicBezTo>
                  <a:pt x="680" y="610"/>
                  <a:pt x="675" y="580"/>
                  <a:pt x="638" y="563"/>
                </a:cubicBezTo>
                <a:cubicBezTo>
                  <a:pt x="619" y="554"/>
                  <a:pt x="603" y="570"/>
                  <a:pt x="603" y="636"/>
                </a:cubicBezTo>
                <a:cubicBezTo>
                  <a:pt x="603" y="819"/>
                  <a:pt x="603" y="819"/>
                  <a:pt x="603" y="819"/>
                </a:cubicBezTo>
                <a:cubicBezTo>
                  <a:pt x="420" y="819"/>
                  <a:pt x="420" y="819"/>
                  <a:pt x="420" y="819"/>
                </a:cubicBezTo>
                <a:cubicBezTo>
                  <a:pt x="354" y="819"/>
                  <a:pt x="338" y="803"/>
                  <a:pt x="347" y="784"/>
                </a:cubicBezTo>
                <a:cubicBezTo>
                  <a:pt x="364" y="747"/>
                  <a:pt x="393" y="742"/>
                  <a:pt x="385" y="691"/>
                </a:cubicBezTo>
                <a:cubicBezTo>
                  <a:pt x="372" y="603"/>
                  <a:pt x="231" y="603"/>
                  <a:pt x="217" y="691"/>
                </a:cubicBezTo>
                <a:cubicBezTo>
                  <a:pt x="209" y="742"/>
                  <a:pt x="239" y="747"/>
                  <a:pt x="256" y="784"/>
                </a:cubicBezTo>
                <a:cubicBezTo>
                  <a:pt x="264" y="803"/>
                  <a:pt x="249" y="819"/>
                  <a:pt x="183" y="819"/>
                </a:cubicBezTo>
                <a:cubicBezTo>
                  <a:pt x="0" y="819"/>
                  <a:pt x="0" y="819"/>
                  <a:pt x="0" y="819"/>
                </a:cubicBezTo>
                <a:cubicBezTo>
                  <a:pt x="0" y="636"/>
                  <a:pt x="0" y="636"/>
                  <a:pt x="0" y="636"/>
                </a:cubicBezTo>
                <a:cubicBezTo>
                  <a:pt x="0" y="570"/>
                  <a:pt x="16" y="554"/>
                  <a:pt x="35" y="563"/>
                </a:cubicBezTo>
                <a:cubicBezTo>
                  <a:pt x="72" y="580"/>
                  <a:pt x="76" y="610"/>
                  <a:pt x="128" y="601"/>
                </a:cubicBezTo>
                <a:cubicBezTo>
                  <a:pt x="216" y="588"/>
                  <a:pt x="216" y="447"/>
                  <a:pt x="128" y="433"/>
                </a:cubicBezTo>
                <a:cubicBezTo>
                  <a:pt x="76" y="425"/>
                  <a:pt x="72" y="455"/>
                  <a:pt x="35" y="472"/>
                </a:cubicBezTo>
                <a:cubicBezTo>
                  <a:pt x="16" y="480"/>
                  <a:pt x="0" y="465"/>
                  <a:pt x="0" y="399"/>
                </a:cubicBezTo>
                <a:cubicBezTo>
                  <a:pt x="0" y="216"/>
                  <a:pt x="0" y="216"/>
                  <a:pt x="0" y="216"/>
                </a:cubicBezTo>
                <a:lnTo>
                  <a:pt x="183" y="21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F4C938C1-2AE0-4C81-B790-D5F1D9B4060B}"/>
              </a:ext>
            </a:extLst>
          </p:cNvPr>
          <p:cNvSpPr>
            <a:spLocks/>
          </p:cNvSpPr>
          <p:nvPr userDrawn="1"/>
        </p:nvSpPr>
        <p:spPr bwMode="auto">
          <a:xfrm>
            <a:off x="3714735" y="3107638"/>
            <a:ext cx="2381265" cy="2381264"/>
          </a:xfrm>
          <a:custGeom>
            <a:avLst/>
            <a:gdLst>
              <a:gd name="T0" fmla="*/ 399 w 819"/>
              <a:gd name="T1" fmla="*/ 216 h 819"/>
              <a:gd name="T2" fmla="*/ 472 w 819"/>
              <a:gd name="T3" fmla="*/ 181 h 819"/>
              <a:gd name="T4" fmla="*/ 433 w 819"/>
              <a:gd name="T5" fmla="*/ 88 h 819"/>
              <a:gd name="T6" fmla="*/ 601 w 819"/>
              <a:gd name="T7" fmla="*/ 88 h 819"/>
              <a:gd name="T8" fmla="*/ 563 w 819"/>
              <a:gd name="T9" fmla="*/ 181 h 819"/>
              <a:gd name="T10" fmla="*/ 636 w 819"/>
              <a:gd name="T11" fmla="*/ 216 h 819"/>
              <a:gd name="T12" fmla="*/ 819 w 819"/>
              <a:gd name="T13" fmla="*/ 216 h 819"/>
              <a:gd name="T14" fmla="*/ 819 w 819"/>
              <a:gd name="T15" fmla="*/ 399 h 819"/>
              <a:gd name="T16" fmla="*/ 784 w 819"/>
              <a:gd name="T17" fmla="*/ 472 h 819"/>
              <a:gd name="T18" fmla="*/ 691 w 819"/>
              <a:gd name="T19" fmla="*/ 434 h 819"/>
              <a:gd name="T20" fmla="*/ 691 w 819"/>
              <a:gd name="T21" fmla="*/ 602 h 819"/>
              <a:gd name="T22" fmla="*/ 784 w 819"/>
              <a:gd name="T23" fmla="*/ 563 h 819"/>
              <a:gd name="T24" fmla="*/ 819 w 819"/>
              <a:gd name="T25" fmla="*/ 636 h 819"/>
              <a:gd name="T26" fmla="*/ 819 w 819"/>
              <a:gd name="T27" fmla="*/ 819 h 819"/>
              <a:gd name="T28" fmla="*/ 636 w 819"/>
              <a:gd name="T29" fmla="*/ 819 h 819"/>
              <a:gd name="T30" fmla="*/ 563 w 819"/>
              <a:gd name="T31" fmla="*/ 784 h 819"/>
              <a:gd name="T32" fmla="*/ 601 w 819"/>
              <a:gd name="T33" fmla="*/ 691 h 819"/>
              <a:gd name="T34" fmla="*/ 433 w 819"/>
              <a:gd name="T35" fmla="*/ 691 h 819"/>
              <a:gd name="T36" fmla="*/ 472 w 819"/>
              <a:gd name="T37" fmla="*/ 784 h 819"/>
              <a:gd name="T38" fmla="*/ 399 w 819"/>
              <a:gd name="T39" fmla="*/ 819 h 819"/>
              <a:gd name="T40" fmla="*/ 216 w 819"/>
              <a:gd name="T41" fmla="*/ 819 h 819"/>
              <a:gd name="T42" fmla="*/ 216 w 819"/>
              <a:gd name="T43" fmla="*/ 636 h 819"/>
              <a:gd name="T44" fmla="*/ 180 w 819"/>
              <a:gd name="T45" fmla="*/ 563 h 819"/>
              <a:gd name="T46" fmla="*/ 88 w 819"/>
              <a:gd name="T47" fmla="*/ 602 h 819"/>
              <a:gd name="T48" fmla="*/ 88 w 819"/>
              <a:gd name="T49" fmla="*/ 434 h 819"/>
              <a:gd name="T50" fmla="*/ 180 w 819"/>
              <a:gd name="T51" fmla="*/ 472 h 819"/>
              <a:gd name="T52" fmla="*/ 216 w 819"/>
              <a:gd name="T53" fmla="*/ 399 h 819"/>
              <a:gd name="T54" fmla="*/ 216 w 819"/>
              <a:gd name="T55" fmla="*/ 216 h 819"/>
              <a:gd name="T56" fmla="*/ 399 w 819"/>
              <a:gd name="T57" fmla="*/ 216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19" h="819">
                <a:moveTo>
                  <a:pt x="399" y="216"/>
                </a:moveTo>
                <a:cubicBezTo>
                  <a:pt x="465" y="216"/>
                  <a:pt x="480" y="200"/>
                  <a:pt x="472" y="181"/>
                </a:cubicBezTo>
                <a:cubicBezTo>
                  <a:pt x="455" y="144"/>
                  <a:pt x="425" y="139"/>
                  <a:pt x="433" y="88"/>
                </a:cubicBezTo>
                <a:cubicBezTo>
                  <a:pt x="447" y="0"/>
                  <a:pt x="588" y="0"/>
                  <a:pt x="601" y="88"/>
                </a:cubicBezTo>
                <a:cubicBezTo>
                  <a:pt x="609" y="139"/>
                  <a:pt x="580" y="144"/>
                  <a:pt x="563" y="181"/>
                </a:cubicBezTo>
                <a:cubicBezTo>
                  <a:pt x="554" y="200"/>
                  <a:pt x="570" y="216"/>
                  <a:pt x="636" y="216"/>
                </a:cubicBezTo>
                <a:cubicBezTo>
                  <a:pt x="819" y="216"/>
                  <a:pt x="819" y="216"/>
                  <a:pt x="819" y="216"/>
                </a:cubicBezTo>
                <a:cubicBezTo>
                  <a:pt x="819" y="399"/>
                  <a:pt x="819" y="399"/>
                  <a:pt x="819" y="399"/>
                </a:cubicBezTo>
                <a:cubicBezTo>
                  <a:pt x="819" y="465"/>
                  <a:pt x="803" y="481"/>
                  <a:pt x="784" y="472"/>
                </a:cubicBezTo>
                <a:cubicBezTo>
                  <a:pt x="747" y="455"/>
                  <a:pt x="742" y="426"/>
                  <a:pt x="691" y="434"/>
                </a:cubicBezTo>
                <a:cubicBezTo>
                  <a:pt x="603" y="447"/>
                  <a:pt x="603" y="588"/>
                  <a:pt x="691" y="602"/>
                </a:cubicBezTo>
                <a:cubicBezTo>
                  <a:pt x="742" y="610"/>
                  <a:pt x="747" y="580"/>
                  <a:pt x="784" y="563"/>
                </a:cubicBezTo>
                <a:cubicBezTo>
                  <a:pt x="803" y="555"/>
                  <a:pt x="819" y="570"/>
                  <a:pt x="819" y="636"/>
                </a:cubicBezTo>
                <a:cubicBezTo>
                  <a:pt x="819" y="819"/>
                  <a:pt x="819" y="819"/>
                  <a:pt x="819" y="819"/>
                </a:cubicBezTo>
                <a:cubicBezTo>
                  <a:pt x="636" y="819"/>
                  <a:pt x="636" y="819"/>
                  <a:pt x="636" y="819"/>
                </a:cubicBezTo>
                <a:cubicBezTo>
                  <a:pt x="570" y="819"/>
                  <a:pt x="554" y="803"/>
                  <a:pt x="563" y="784"/>
                </a:cubicBezTo>
                <a:cubicBezTo>
                  <a:pt x="580" y="747"/>
                  <a:pt x="609" y="743"/>
                  <a:pt x="601" y="691"/>
                </a:cubicBezTo>
                <a:cubicBezTo>
                  <a:pt x="588" y="603"/>
                  <a:pt x="447" y="603"/>
                  <a:pt x="433" y="691"/>
                </a:cubicBezTo>
                <a:cubicBezTo>
                  <a:pt x="425" y="743"/>
                  <a:pt x="455" y="747"/>
                  <a:pt x="472" y="784"/>
                </a:cubicBezTo>
                <a:cubicBezTo>
                  <a:pt x="480" y="803"/>
                  <a:pt x="465" y="819"/>
                  <a:pt x="399" y="819"/>
                </a:cubicBezTo>
                <a:cubicBezTo>
                  <a:pt x="216" y="819"/>
                  <a:pt x="216" y="819"/>
                  <a:pt x="216" y="819"/>
                </a:cubicBezTo>
                <a:cubicBezTo>
                  <a:pt x="216" y="636"/>
                  <a:pt x="216" y="636"/>
                  <a:pt x="216" y="636"/>
                </a:cubicBezTo>
                <a:cubicBezTo>
                  <a:pt x="216" y="570"/>
                  <a:pt x="200" y="555"/>
                  <a:pt x="180" y="563"/>
                </a:cubicBezTo>
                <a:cubicBezTo>
                  <a:pt x="144" y="580"/>
                  <a:pt x="139" y="610"/>
                  <a:pt x="88" y="602"/>
                </a:cubicBezTo>
                <a:cubicBezTo>
                  <a:pt x="0" y="588"/>
                  <a:pt x="0" y="447"/>
                  <a:pt x="88" y="434"/>
                </a:cubicBezTo>
                <a:cubicBezTo>
                  <a:pt x="139" y="426"/>
                  <a:pt x="144" y="455"/>
                  <a:pt x="180" y="472"/>
                </a:cubicBezTo>
                <a:cubicBezTo>
                  <a:pt x="200" y="481"/>
                  <a:pt x="216" y="465"/>
                  <a:pt x="216" y="399"/>
                </a:cubicBezTo>
                <a:cubicBezTo>
                  <a:pt x="216" y="216"/>
                  <a:pt x="216" y="216"/>
                  <a:pt x="216" y="216"/>
                </a:cubicBezTo>
                <a:lnTo>
                  <a:pt x="399" y="21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C186A92-1125-44D0-AE8D-98A982825D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2418432"/>
            <a:ext cx="3189287" cy="905775"/>
          </a:xfrm>
        </p:spPr>
        <p:txBody>
          <a:bodyPr>
            <a:normAutofit/>
          </a:bodyPr>
          <a:lstStyle>
            <a:lvl1pPr algn="r">
              <a:lnSpc>
                <a:spcPct val="150000"/>
              </a:lnSpc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</a:t>
            </a:r>
            <a:endParaRPr lang="en-IN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398299E-B25C-49ED-9B42-B9661D3D8B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4138279"/>
            <a:ext cx="3189287" cy="906462"/>
          </a:xfrm>
        </p:spPr>
        <p:txBody>
          <a:bodyPr>
            <a:noAutofit/>
          </a:bodyPr>
          <a:lstStyle>
            <a:lvl1pPr algn="r">
              <a:lnSpc>
                <a:spcPct val="150000"/>
              </a:lnSpc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IN"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</a:t>
            </a:r>
            <a:endParaRPr lang="en-IN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C179F39-A6F6-413D-9FA6-63AF559CE3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04" y="2417763"/>
            <a:ext cx="3189287" cy="906462"/>
          </a:xfrm>
        </p:spPr>
        <p:txBody>
          <a:bodyPr>
            <a:noAutofit/>
          </a:bodyPr>
          <a:lstStyle>
            <a:lvl1pPr algn="l">
              <a:lnSpc>
                <a:spcPct val="150000"/>
              </a:lnSpc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algn="l"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algn="l"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algn="l"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algn="l">
              <a:defRPr lang="en-IN"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</a:t>
            </a:r>
            <a:endParaRPr lang="en-IN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E5A7FAA-1DE1-41C4-ABDC-B421CFA1DE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8" y="4138279"/>
            <a:ext cx="3189288" cy="906462"/>
          </a:xfrm>
        </p:spPr>
        <p:txBody>
          <a:bodyPr>
            <a:normAutofit/>
          </a:bodyPr>
          <a:lstStyle>
            <a:lvl1pPr>
              <a:defRPr lang="en-I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</a:t>
            </a:r>
            <a:endParaRPr lang="en-IN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A59D83F-42B8-4D96-BC21-8B4E99972FAF}"/>
              </a:ext>
            </a:extLst>
          </p:cNvPr>
          <p:cNvSpPr/>
          <p:nvPr userDrawn="1"/>
        </p:nvSpPr>
        <p:spPr>
          <a:xfrm>
            <a:off x="0" y="6332377"/>
            <a:ext cx="5510213" cy="87754"/>
          </a:xfrm>
          <a:custGeom>
            <a:avLst/>
            <a:gdLst>
              <a:gd name="connsiteX0" fmla="*/ 0 w 5510213"/>
              <a:gd name="connsiteY0" fmla="*/ 0 h 87754"/>
              <a:gd name="connsiteX1" fmla="*/ 5510213 w 5510213"/>
              <a:gd name="connsiteY1" fmla="*/ 0 h 87754"/>
              <a:gd name="connsiteX2" fmla="*/ 5473086 w 5510213"/>
              <a:gd name="connsiteY2" fmla="*/ 87754 h 87754"/>
              <a:gd name="connsiteX3" fmla="*/ 0 w 5510213"/>
              <a:gd name="connsiteY3" fmla="*/ 87754 h 87754"/>
              <a:gd name="connsiteX4" fmla="*/ 0 w 5510213"/>
              <a:gd name="connsiteY4" fmla="*/ 0 h 87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0213" h="87754">
                <a:moveTo>
                  <a:pt x="0" y="0"/>
                </a:moveTo>
                <a:lnTo>
                  <a:pt x="5510213" y="0"/>
                </a:lnTo>
                <a:lnTo>
                  <a:pt x="5473086" y="87754"/>
                </a:lnTo>
                <a:lnTo>
                  <a:pt x="0" y="87754"/>
                </a:lnTo>
                <a:lnTo>
                  <a:pt x="0" y="0"/>
                </a:lnTo>
                <a:close/>
              </a:path>
            </a:pathLst>
          </a:cu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B96FD640-4D74-4AC9-B5F5-1B7A48FC29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84009C13-535F-4F73-87FF-E23602F6D1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35690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8EB5A-601E-4978-9F80-6EC87DE05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917A9C-98B5-4343-B5DC-8AAF1026D0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0A02F80A-50A5-444B-B77E-D1E4A9E0E233}"/>
              </a:ext>
            </a:extLst>
          </p:cNvPr>
          <p:cNvSpPr>
            <a:spLocks/>
          </p:cNvSpPr>
          <p:nvPr userDrawn="1"/>
        </p:nvSpPr>
        <p:spPr bwMode="auto">
          <a:xfrm>
            <a:off x="7008813" y="2133600"/>
            <a:ext cx="1425575" cy="1281113"/>
          </a:xfrm>
          <a:custGeom>
            <a:avLst/>
            <a:gdLst>
              <a:gd name="T0" fmla="*/ 514 w 601"/>
              <a:gd name="T1" fmla="*/ 176 h 541"/>
              <a:gd name="T2" fmla="*/ 527 w 601"/>
              <a:gd name="T3" fmla="*/ 188 h 541"/>
              <a:gd name="T4" fmla="*/ 555 w 601"/>
              <a:gd name="T5" fmla="*/ 225 h 541"/>
              <a:gd name="T6" fmla="*/ 545 w 601"/>
              <a:gd name="T7" fmla="*/ 256 h 541"/>
              <a:gd name="T8" fmla="*/ 556 w 601"/>
              <a:gd name="T9" fmla="*/ 261 h 541"/>
              <a:gd name="T10" fmla="*/ 601 w 601"/>
              <a:gd name="T11" fmla="*/ 261 h 541"/>
              <a:gd name="T12" fmla="*/ 553 w 601"/>
              <a:gd name="T13" fmla="*/ 290 h 541"/>
              <a:gd name="T14" fmla="*/ 482 w 601"/>
              <a:gd name="T15" fmla="*/ 362 h 541"/>
              <a:gd name="T16" fmla="*/ 527 w 601"/>
              <a:gd name="T17" fmla="*/ 376 h 541"/>
              <a:gd name="T18" fmla="*/ 536 w 601"/>
              <a:gd name="T19" fmla="*/ 382 h 541"/>
              <a:gd name="T20" fmla="*/ 509 w 601"/>
              <a:gd name="T21" fmla="*/ 392 h 541"/>
              <a:gd name="T22" fmla="*/ 498 w 601"/>
              <a:gd name="T23" fmla="*/ 409 h 541"/>
              <a:gd name="T24" fmla="*/ 505 w 601"/>
              <a:gd name="T25" fmla="*/ 420 h 541"/>
              <a:gd name="T26" fmla="*/ 501 w 601"/>
              <a:gd name="T27" fmla="*/ 431 h 541"/>
              <a:gd name="T28" fmla="*/ 498 w 601"/>
              <a:gd name="T29" fmla="*/ 453 h 541"/>
              <a:gd name="T30" fmla="*/ 491 w 601"/>
              <a:gd name="T31" fmla="*/ 460 h 541"/>
              <a:gd name="T32" fmla="*/ 459 w 601"/>
              <a:gd name="T33" fmla="*/ 449 h 541"/>
              <a:gd name="T34" fmla="*/ 416 w 601"/>
              <a:gd name="T35" fmla="*/ 482 h 541"/>
              <a:gd name="T36" fmla="*/ 426 w 601"/>
              <a:gd name="T37" fmla="*/ 447 h 541"/>
              <a:gd name="T38" fmla="*/ 434 w 601"/>
              <a:gd name="T39" fmla="*/ 423 h 541"/>
              <a:gd name="T40" fmla="*/ 398 w 601"/>
              <a:gd name="T41" fmla="*/ 414 h 541"/>
              <a:gd name="T42" fmla="*/ 396 w 601"/>
              <a:gd name="T43" fmla="*/ 408 h 541"/>
              <a:gd name="T44" fmla="*/ 393 w 601"/>
              <a:gd name="T45" fmla="*/ 402 h 541"/>
              <a:gd name="T46" fmla="*/ 387 w 601"/>
              <a:gd name="T47" fmla="*/ 389 h 541"/>
              <a:gd name="T48" fmla="*/ 369 w 601"/>
              <a:gd name="T49" fmla="*/ 407 h 541"/>
              <a:gd name="T50" fmla="*/ 352 w 601"/>
              <a:gd name="T51" fmla="*/ 422 h 541"/>
              <a:gd name="T52" fmla="*/ 353 w 601"/>
              <a:gd name="T53" fmla="*/ 453 h 541"/>
              <a:gd name="T54" fmla="*/ 359 w 601"/>
              <a:gd name="T55" fmla="*/ 481 h 541"/>
              <a:gd name="T56" fmla="*/ 336 w 601"/>
              <a:gd name="T57" fmla="*/ 530 h 541"/>
              <a:gd name="T58" fmla="*/ 306 w 601"/>
              <a:gd name="T59" fmla="*/ 529 h 541"/>
              <a:gd name="T60" fmla="*/ 271 w 601"/>
              <a:gd name="T61" fmla="*/ 500 h 541"/>
              <a:gd name="T62" fmla="*/ 257 w 601"/>
              <a:gd name="T63" fmla="*/ 472 h 541"/>
              <a:gd name="T64" fmla="*/ 246 w 601"/>
              <a:gd name="T65" fmla="*/ 458 h 541"/>
              <a:gd name="T66" fmla="*/ 239 w 601"/>
              <a:gd name="T67" fmla="*/ 445 h 541"/>
              <a:gd name="T68" fmla="*/ 226 w 601"/>
              <a:gd name="T69" fmla="*/ 427 h 541"/>
              <a:gd name="T70" fmla="*/ 194 w 601"/>
              <a:gd name="T71" fmla="*/ 422 h 541"/>
              <a:gd name="T72" fmla="*/ 173 w 601"/>
              <a:gd name="T73" fmla="*/ 406 h 541"/>
              <a:gd name="T74" fmla="*/ 131 w 601"/>
              <a:gd name="T75" fmla="*/ 401 h 541"/>
              <a:gd name="T76" fmla="*/ 95 w 601"/>
              <a:gd name="T77" fmla="*/ 392 h 541"/>
              <a:gd name="T78" fmla="*/ 87 w 601"/>
              <a:gd name="T79" fmla="*/ 357 h 541"/>
              <a:gd name="T80" fmla="*/ 63 w 601"/>
              <a:gd name="T81" fmla="*/ 316 h 541"/>
              <a:gd name="T82" fmla="*/ 46 w 601"/>
              <a:gd name="T83" fmla="*/ 257 h 541"/>
              <a:gd name="T84" fmla="*/ 5 w 601"/>
              <a:gd name="T85" fmla="*/ 234 h 541"/>
              <a:gd name="T86" fmla="*/ 18 w 601"/>
              <a:gd name="T87" fmla="*/ 194 h 541"/>
              <a:gd name="T88" fmla="*/ 67 w 601"/>
              <a:gd name="T89" fmla="*/ 144 h 541"/>
              <a:gd name="T90" fmla="*/ 104 w 601"/>
              <a:gd name="T91" fmla="*/ 166 h 541"/>
              <a:gd name="T92" fmla="*/ 178 w 601"/>
              <a:gd name="T93" fmla="*/ 139 h 541"/>
              <a:gd name="T94" fmla="*/ 204 w 601"/>
              <a:gd name="T95" fmla="*/ 105 h 541"/>
              <a:gd name="T96" fmla="*/ 262 w 601"/>
              <a:gd name="T97" fmla="*/ 54 h 541"/>
              <a:gd name="T98" fmla="*/ 309 w 601"/>
              <a:gd name="T99" fmla="*/ 1 h 541"/>
              <a:gd name="T100" fmla="*/ 343 w 601"/>
              <a:gd name="T101" fmla="*/ 10 h 541"/>
              <a:gd name="T102" fmla="*/ 355 w 601"/>
              <a:gd name="T103" fmla="*/ 29 h 541"/>
              <a:gd name="T104" fmla="*/ 368 w 601"/>
              <a:gd name="T105" fmla="*/ 58 h 541"/>
              <a:gd name="T106" fmla="*/ 401 w 601"/>
              <a:gd name="T107" fmla="*/ 68 h 541"/>
              <a:gd name="T108" fmla="*/ 426 w 601"/>
              <a:gd name="T109" fmla="*/ 119 h 541"/>
              <a:gd name="T110" fmla="*/ 448 w 601"/>
              <a:gd name="T111" fmla="*/ 156 h 541"/>
              <a:gd name="T112" fmla="*/ 448 w 601"/>
              <a:gd name="T113" fmla="*/ 178 h 541"/>
              <a:gd name="T114" fmla="*/ 467 w 601"/>
              <a:gd name="T115" fmla="*/ 171 h 541"/>
              <a:gd name="T116" fmla="*/ 486 w 601"/>
              <a:gd name="T117" fmla="*/ 163 h 541"/>
              <a:gd name="T118" fmla="*/ 502 w 601"/>
              <a:gd name="T119" fmla="*/ 164 h 541"/>
              <a:gd name="T120" fmla="*/ 515 w 601"/>
              <a:gd name="T121" fmla="*/ 169 h 5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01" h="541">
                <a:moveTo>
                  <a:pt x="514" y="169"/>
                </a:moveTo>
                <a:cubicBezTo>
                  <a:pt x="514" y="172"/>
                  <a:pt x="514" y="174"/>
                  <a:pt x="514" y="176"/>
                </a:cubicBezTo>
                <a:cubicBezTo>
                  <a:pt x="514" y="181"/>
                  <a:pt x="514" y="186"/>
                  <a:pt x="513" y="191"/>
                </a:cubicBezTo>
                <a:cubicBezTo>
                  <a:pt x="518" y="190"/>
                  <a:pt x="523" y="190"/>
                  <a:pt x="527" y="188"/>
                </a:cubicBezTo>
                <a:cubicBezTo>
                  <a:pt x="534" y="187"/>
                  <a:pt x="537" y="190"/>
                  <a:pt x="538" y="196"/>
                </a:cubicBezTo>
                <a:cubicBezTo>
                  <a:pt x="541" y="207"/>
                  <a:pt x="546" y="217"/>
                  <a:pt x="555" y="225"/>
                </a:cubicBezTo>
                <a:cubicBezTo>
                  <a:pt x="559" y="229"/>
                  <a:pt x="560" y="232"/>
                  <a:pt x="555" y="237"/>
                </a:cubicBezTo>
                <a:cubicBezTo>
                  <a:pt x="550" y="242"/>
                  <a:pt x="553" y="252"/>
                  <a:pt x="545" y="256"/>
                </a:cubicBezTo>
                <a:cubicBezTo>
                  <a:pt x="546" y="258"/>
                  <a:pt x="547" y="261"/>
                  <a:pt x="549" y="263"/>
                </a:cubicBezTo>
                <a:cubicBezTo>
                  <a:pt x="550" y="264"/>
                  <a:pt x="554" y="263"/>
                  <a:pt x="556" y="261"/>
                </a:cubicBezTo>
                <a:cubicBezTo>
                  <a:pt x="567" y="253"/>
                  <a:pt x="580" y="258"/>
                  <a:pt x="593" y="257"/>
                </a:cubicBezTo>
                <a:cubicBezTo>
                  <a:pt x="595" y="257"/>
                  <a:pt x="598" y="260"/>
                  <a:pt x="601" y="261"/>
                </a:cubicBezTo>
                <a:cubicBezTo>
                  <a:pt x="599" y="263"/>
                  <a:pt x="597" y="265"/>
                  <a:pt x="595" y="267"/>
                </a:cubicBezTo>
                <a:cubicBezTo>
                  <a:pt x="581" y="275"/>
                  <a:pt x="567" y="282"/>
                  <a:pt x="553" y="290"/>
                </a:cubicBezTo>
                <a:cubicBezTo>
                  <a:pt x="532" y="304"/>
                  <a:pt x="510" y="318"/>
                  <a:pt x="489" y="332"/>
                </a:cubicBezTo>
                <a:cubicBezTo>
                  <a:pt x="478" y="340"/>
                  <a:pt x="476" y="349"/>
                  <a:pt x="482" y="362"/>
                </a:cubicBezTo>
                <a:cubicBezTo>
                  <a:pt x="488" y="373"/>
                  <a:pt x="510" y="382"/>
                  <a:pt x="522" y="378"/>
                </a:cubicBezTo>
                <a:cubicBezTo>
                  <a:pt x="523" y="377"/>
                  <a:pt x="525" y="377"/>
                  <a:pt x="527" y="376"/>
                </a:cubicBezTo>
                <a:cubicBezTo>
                  <a:pt x="529" y="374"/>
                  <a:pt x="532" y="372"/>
                  <a:pt x="534" y="370"/>
                </a:cubicBezTo>
                <a:cubicBezTo>
                  <a:pt x="535" y="374"/>
                  <a:pt x="537" y="379"/>
                  <a:pt x="536" y="382"/>
                </a:cubicBezTo>
                <a:cubicBezTo>
                  <a:pt x="535" y="385"/>
                  <a:pt x="531" y="387"/>
                  <a:pt x="528" y="388"/>
                </a:cubicBezTo>
                <a:cubicBezTo>
                  <a:pt x="522" y="390"/>
                  <a:pt x="515" y="390"/>
                  <a:pt x="509" y="392"/>
                </a:cubicBezTo>
                <a:cubicBezTo>
                  <a:pt x="504" y="393"/>
                  <a:pt x="500" y="395"/>
                  <a:pt x="500" y="402"/>
                </a:cubicBezTo>
                <a:cubicBezTo>
                  <a:pt x="501" y="404"/>
                  <a:pt x="500" y="407"/>
                  <a:pt x="498" y="409"/>
                </a:cubicBezTo>
                <a:cubicBezTo>
                  <a:pt x="494" y="414"/>
                  <a:pt x="497" y="416"/>
                  <a:pt x="501" y="418"/>
                </a:cubicBezTo>
                <a:cubicBezTo>
                  <a:pt x="502" y="418"/>
                  <a:pt x="504" y="419"/>
                  <a:pt x="505" y="420"/>
                </a:cubicBezTo>
                <a:cubicBezTo>
                  <a:pt x="507" y="424"/>
                  <a:pt x="509" y="427"/>
                  <a:pt x="511" y="431"/>
                </a:cubicBezTo>
                <a:cubicBezTo>
                  <a:pt x="508" y="431"/>
                  <a:pt x="504" y="432"/>
                  <a:pt x="501" y="431"/>
                </a:cubicBezTo>
                <a:cubicBezTo>
                  <a:pt x="494" y="430"/>
                  <a:pt x="491" y="433"/>
                  <a:pt x="492" y="439"/>
                </a:cubicBezTo>
                <a:cubicBezTo>
                  <a:pt x="493" y="444"/>
                  <a:pt x="496" y="448"/>
                  <a:pt x="498" y="453"/>
                </a:cubicBezTo>
                <a:cubicBezTo>
                  <a:pt x="499" y="455"/>
                  <a:pt x="498" y="458"/>
                  <a:pt x="499" y="460"/>
                </a:cubicBezTo>
                <a:cubicBezTo>
                  <a:pt x="496" y="460"/>
                  <a:pt x="492" y="461"/>
                  <a:pt x="491" y="460"/>
                </a:cubicBezTo>
                <a:cubicBezTo>
                  <a:pt x="486" y="455"/>
                  <a:pt x="481" y="453"/>
                  <a:pt x="474" y="456"/>
                </a:cubicBezTo>
                <a:cubicBezTo>
                  <a:pt x="470" y="457"/>
                  <a:pt x="464" y="452"/>
                  <a:pt x="459" y="449"/>
                </a:cubicBezTo>
                <a:cubicBezTo>
                  <a:pt x="447" y="443"/>
                  <a:pt x="444" y="445"/>
                  <a:pt x="442" y="458"/>
                </a:cubicBezTo>
                <a:cubicBezTo>
                  <a:pt x="441" y="469"/>
                  <a:pt x="426" y="483"/>
                  <a:pt x="416" y="482"/>
                </a:cubicBezTo>
                <a:cubicBezTo>
                  <a:pt x="416" y="482"/>
                  <a:pt x="414" y="478"/>
                  <a:pt x="415" y="478"/>
                </a:cubicBezTo>
                <a:cubicBezTo>
                  <a:pt x="427" y="471"/>
                  <a:pt x="423" y="458"/>
                  <a:pt x="426" y="447"/>
                </a:cubicBezTo>
                <a:cubicBezTo>
                  <a:pt x="427" y="444"/>
                  <a:pt x="428" y="441"/>
                  <a:pt x="430" y="439"/>
                </a:cubicBezTo>
                <a:cubicBezTo>
                  <a:pt x="432" y="434"/>
                  <a:pt x="439" y="430"/>
                  <a:pt x="434" y="423"/>
                </a:cubicBezTo>
                <a:cubicBezTo>
                  <a:pt x="428" y="415"/>
                  <a:pt x="421" y="410"/>
                  <a:pt x="411" y="412"/>
                </a:cubicBezTo>
                <a:cubicBezTo>
                  <a:pt x="407" y="413"/>
                  <a:pt x="402" y="413"/>
                  <a:pt x="398" y="414"/>
                </a:cubicBezTo>
                <a:cubicBezTo>
                  <a:pt x="396" y="414"/>
                  <a:pt x="395" y="413"/>
                  <a:pt x="393" y="412"/>
                </a:cubicBezTo>
                <a:cubicBezTo>
                  <a:pt x="394" y="411"/>
                  <a:pt x="395" y="410"/>
                  <a:pt x="396" y="408"/>
                </a:cubicBezTo>
                <a:cubicBezTo>
                  <a:pt x="397" y="407"/>
                  <a:pt x="398" y="406"/>
                  <a:pt x="399" y="404"/>
                </a:cubicBezTo>
                <a:cubicBezTo>
                  <a:pt x="397" y="404"/>
                  <a:pt x="395" y="402"/>
                  <a:pt x="393" y="402"/>
                </a:cubicBezTo>
                <a:cubicBezTo>
                  <a:pt x="387" y="403"/>
                  <a:pt x="385" y="401"/>
                  <a:pt x="389" y="396"/>
                </a:cubicBezTo>
                <a:cubicBezTo>
                  <a:pt x="390" y="394"/>
                  <a:pt x="388" y="390"/>
                  <a:pt x="387" y="389"/>
                </a:cubicBezTo>
                <a:cubicBezTo>
                  <a:pt x="384" y="389"/>
                  <a:pt x="380" y="389"/>
                  <a:pt x="378" y="391"/>
                </a:cubicBezTo>
                <a:cubicBezTo>
                  <a:pt x="374" y="396"/>
                  <a:pt x="371" y="401"/>
                  <a:pt x="369" y="407"/>
                </a:cubicBezTo>
                <a:cubicBezTo>
                  <a:pt x="367" y="412"/>
                  <a:pt x="366" y="412"/>
                  <a:pt x="361" y="411"/>
                </a:cubicBezTo>
                <a:cubicBezTo>
                  <a:pt x="351" y="408"/>
                  <a:pt x="348" y="411"/>
                  <a:pt x="352" y="422"/>
                </a:cubicBezTo>
                <a:cubicBezTo>
                  <a:pt x="355" y="430"/>
                  <a:pt x="356" y="437"/>
                  <a:pt x="351" y="445"/>
                </a:cubicBezTo>
                <a:cubicBezTo>
                  <a:pt x="349" y="448"/>
                  <a:pt x="347" y="452"/>
                  <a:pt x="353" y="453"/>
                </a:cubicBezTo>
                <a:cubicBezTo>
                  <a:pt x="363" y="456"/>
                  <a:pt x="362" y="464"/>
                  <a:pt x="361" y="471"/>
                </a:cubicBezTo>
                <a:cubicBezTo>
                  <a:pt x="361" y="474"/>
                  <a:pt x="358" y="478"/>
                  <a:pt x="359" y="481"/>
                </a:cubicBezTo>
                <a:cubicBezTo>
                  <a:pt x="362" y="496"/>
                  <a:pt x="353" y="504"/>
                  <a:pt x="343" y="510"/>
                </a:cubicBezTo>
                <a:cubicBezTo>
                  <a:pt x="332" y="517"/>
                  <a:pt x="332" y="518"/>
                  <a:pt x="336" y="530"/>
                </a:cubicBezTo>
                <a:cubicBezTo>
                  <a:pt x="336" y="532"/>
                  <a:pt x="335" y="534"/>
                  <a:pt x="334" y="535"/>
                </a:cubicBezTo>
                <a:cubicBezTo>
                  <a:pt x="324" y="541"/>
                  <a:pt x="312" y="540"/>
                  <a:pt x="306" y="529"/>
                </a:cubicBezTo>
                <a:cubicBezTo>
                  <a:pt x="300" y="518"/>
                  <a:pt x="290" y="513"/>
                  <a:pt x="279" y="509"/>
                </a:cubicBezTo>
                <a:cubicBezTo>
                  <a:pt x="274" y="508"/>
                  <a:pt x="272" y="505"/>
                  <a:pt x="271" y="500"/>
                </a:cubicBezTo>
                <a:cubicBezTo>
                  <a:pt x="269" y="494"/>
                  <a:pt x="265" y="488"/>
                  <a:pt x="260" y="483"/>
                </a:cubicBezTo>
                <a:cubicBezTo>
                  <a:pt x="256" y="479"/>
                  <a:pt x="254" y="477"/>
                  <a:pt x="257" y="472"/>
                </a:cubicBezTo>
                <a:cubicBezTo>
                  <a:pt x="259" y="469"/>
                  <a:pt x="257" y="463"/>
                  <a:pt x="255" y="459"/>
                </a:cubicBezTo>
                <a:cubicBezTo>
                  <a:pt x="253" y="454"/>
                  <a:pt x="250" y="454"/>
                  <a:pt x="246" y="458"/>
                </a:cubicBezTo>
                <a:cubicBezTo>
                  <a:pt x="245" y="458"/>
                  <a:pt x="241" y="457"/>
                  <a:pt x="241" y="455"/>
                </a:cubicBezTo>
                <a:cubicBezTo>
                  <a:pt x="240" y="452"/>
                  <a:pt x="238" y="447"/>
                  <a:pt x="239" y="445"/>
                </a:cubicBezTo>
                <a:cubicBezTo>
                  <a:pt x="245" y="437"/>
                  <a:pt x="241" y="433"/>
                  <a:pt x="236" y="428"/>
                </a:cubicBezTo>
                <a:cubicBezTo>
                  <a:pt x="233" y="424"/>
                  <a:pt x="231" y="424"/>
                  <a:pt x="226" y="427"/>
                </a:cubicBezTo>
                <a:cubicBezTo>
                  <a:pt x="218" y="433"/>
                  <a:pt x="211" y="432"/>
                  <a:pt x="204" y="426"/>
                </a:cubicBezTo>
                <a:cubicBezTo>
                  <a:pt x="201" y="424"/>
                  <a:pt x="197" y="423"/>
                  <a:pt x="194" y="422"/>
                </a:cubicBezTo>
                <a:cubicBezTo>
                  <a:pt x="192" y="421"/>
                  <a:pt x="189" y="420"/>
                  <a:pt x="189" y="419"/>
                </a:cubicBezTo>
                <a:cubicBezTo>
                  <a:pt x="187" y="411"/>
                  <a:pt x="179" y="410"/>
                  <a:pt x="173" y="406"/>
                </a:cubicBezTo>
                <a:cubicBezTo>
                  <a:pt x="167" y="402"/>
                  <a:pt x="162" y="402"/>
                  <a:pt x="156" y="402"/>
                </a:cubicBezTo>
                <a:cubicBezTo>
                  <a:pt x="148" y="403"/>
                  <a:pt x="140" y="401"/>
                  <a:pt x="131" y="401"/>
                </a:cubicBezTo>
                <a:cubicBezTo>
                  <a:pt x="126" y="401"/>
                  <a:pt x="120" y="402"/>
                  <a:pt x="115" y="402"/>
                </a:cubicBezTo>
                <a:cubicBezTo>
                  <a:pt x="104" y="404"/>
                  <a:pt x="100" y="403"/>
                  <a:pt x="95" y="392"/>
                </a:cubicBezTo>
                <a:cubicBezTo>
                  <a:pt x="92" y="384"/>
                  <a:pt x="91" y="375"/>
                  <a:pt x="89" y="366"/>
                </a:cubicBezTo>
                <a:cubicBezTo>
                  <a:pt x="88" y="363"/>
                  <a:pt x="88" y="359"/>
                  <a:pt x="87" y="357"/>
                </a:cubicBezTo>
                <a:cubicBezTo>
                  <a:pt x="80" y="346"/>
                  <a:pt x="73" y="336"/>
                  <a:pt x="73" y="323"/>
                </a:cubicBezTo>
                <a:cubicBezTo>
                  <a:pt x="73" y="317"/>
                  <a:pt x="67" y="317"/>
                  <a:pt x="63" y="316"/>
                </a:cubicBezTo>
                <a:cubicBezTo>
                  <a:pt x="44" y="312"/>
                  <a:pt x="36" y="298"/>
                  <a:pt x="43" y="280"/>
                </a:cubicBezTo>
                <a:cubicBezTo>
                  <a:pt x="45" y="272"/>
                  <a:pt x="45" y="264"/>
                  <a:pt x="46" y="257"/>
                </a:cubicBezTo>
                <a:cubicBezTo>
                  <a:pt x="48" y="248"/>
                  <a:pt x="44" y="244"/>
                  <a:pt x="35" y="245"/>
                </a:cubicBezTo>
                <a:cubicBezTo>
                  <a:pt x="23" y="247"/>
                  <a:pt x="14" y="241"/>
                  <a:pt x="5" y="234"/>
                </a:cubicBezTo>
                <a:cubicBezTo>
                  <a:pt x="1" y="230"/>
                  <a:pt x="0" y="227"/>
                  <a:pt x="1" y="222"/>
                </a:cubicBezTo>
                <a:cubicBezTo>
                  <a:pt x="4" y="211"/>
                  <a:pt x="7" y="201"/>
                  <a:pt x="18" y="194"/>
                </a:cubicBezTo>
                <a:cubicBezTo>
                  <a:pt x="32" y="186"/>
                  <a:pt x="43" y="174"/>
                  <a:pt x="50" y="158"/>
                </a:cubicBezTo>
                <a:cubicBezTo>
                  <a:pt x="53" y="152"/>
                  <a:pt x="60" y="148"/>
                  <a:pt x="67" y="144"/>
                </a:cubicBezTo>
                <a:cubicBezTo>
                  <a:pt x="72" y="142"/>
                  <a:pt x="80" y="147"/>
                  <a:pt x="83" y="154"/>
                </a:cubicBezTo>
                <a:cubicBezTo>
                  <a:pt x="86" y="164"/>
                  <a:pt x="94" y="168"/>
                  <a:pt x="104" y="166"/>
                </a:cubicBezTo>
                <a:cubicBezTo>
                  <a:pt x="117" y="164"/>
                  <a:pt x="129" y="163"/>
                  <a:pt x="141" y="162"/>
                </a:cubicBezTo>
                <a:cubicBezTo>
                  <a:pt x="158" y="161"/>
                  <a:pt x="172" y="157"/>
                  <a:pt x="178" y="139"/>
                </a:cubicBezTo>
                <a:cubicBezTo>
                  <a:pt x="179" y="135"/>
                  <a:pt x="182" y="132"/>
                  <a:pt x="186" y="130"/>
                </a:cubicBezTo>
                <a:cubicBezTo>
                  <a:pt x="195" y="123"/>
                  <a:pt x="201" y="115"/>
                  <a:pt x="204" y="105"/>
                </a:cubicBezTo>
                <a:cubicBezTo>
                  <a:pt x="206" y="98"/>
                  <a:pt x="210" y="93"/>
                  <a:pt x="217" y="91"/>
                </a:cubicBezTo>
                <a:cubicBezTo>
                  <a:pt x="236" y="84"/>
                  <a:pt x="252" y="74"/>
                  <a:pt x="262" y="54"/>
                </a:cubicBezTo>
                <a:cubicBezTo>
                  <a:pt x="269" y="41"/>
                  <a:pt x="279" y="29"/>
                  <a:pt x="284" y="14"/>
                </a:cubicBezTo>
                <a:cubicBezTo>
                  <a:pt x="287" y="6"/>
                  <a:pt x="300" y="0"/>
                  <a:pt x="309" y="1"/>
                </a:cubicBezTo>
                <a:cubicBezTo>
                  <a:pt x="309" y="1"/>
                  <a:pt x="310" y="1"/>
                  <a:pt x="310" y="1"/>
                </a:cubicBezTo>
                <a:cubicBezTo>
                  <a:pt x="317" y="17"/>
                  <a:pt x="332" y="9"/>
                  <a:pt x="343" y="10"/>
                </a:cubicBezTo>
                <a:cubicBezTo>
                  <a:pt x="350" y="11"/>
                  <a:pt x="356" y="12"/>
                  <a:pt x="353" y="22"/>
                </a:cubicBezTo>
                <a:cubicBezTo>
                  <a:pt x="352" y="24"/>
                  <a:pt x="353" y="27"/>
                  <a:pt x="355" y="29"/>
                </a:cubicBezTo>
                <a:cubicBezTo>
                  <a:pt x="359" y="34"/>
                  <a:pt x="361" y="38"/>
                  <a:pt x="356" y="45"/>
                </a:cubicBezTo>
                <a:cubicBezTo>
                  <a:pt x="352" y="50"/>
                  <a:pt x="361" y="60"/>
                  <a:pt x="368" y="58"/>
                </a:cubicBezTo>
                <a:cubicBezTo>
                  <a:pt x="376" y="57"/>
                  <a:pt x="382" y="57"/>
                  <a:pt x="386" y="65"/>
                </a:cubicBezTo>
                <a:cubicBezTo>
                  <a:pt x="389" y="72"/>
                  <a:pt x="396" y="70"/>
                  <a:pt x="401" y="68"/>
                </a:cubicBezTo>
                <a:cubicBezTo>
                  <a:pt x="409" y="65"/>
                  <a:pt x="412" y="68"/>
                  <a:pt x="414" y="75"/>
                </a:cubicBezTo>
                <a:cubicBezTo>
                  <a:pt x="418" y="90"/>
                  <a:pt x="422" y="104"/>
                  <a:pt x="426" y="119"/>
                </a:cubicBezTo>
                <a:cubicBezTo>
                  <a:pt x="428" y="127"/>
                  <a:pt x="432" y="132"/>
                  <a:pt x="440" y="135"/>
                </a:cubicBezTo>
                <a:cubicBezTo>
                  <a:pt x="451" y="138"/>
                  <a:pt x="454" y="146"/>
                  <a:pt x="448" y="156"/>
                </a:cubicBezTo>
                <a:cubicBezTo>
                  <a:pt x="447" y="160"/>
                  <a:pt x="445" y="163"/>
                  <a:pt x="445" y="167"/>
                </a:cubicBezTo>
                <a:cubicBezTo>
                  <a:pt x="445" y="171"/>
                  <a:pt x="446" y="177"/>
                  <a:pt x="448" y="178"/>
                </a:cubicBezTo>
                <a:cubicBezTo>
                  <a:pt x="453" y="179"/>
                  <a:pt x="459" y="179"/>
                  <a:pt x="465" y="178"/>
                </a:cubicBezTo>
                <a:cubicBezTo>
                  <a:pt x="466" y="178"/>
                  <a:pt x="468" y="173"/>
                  <a:pt x="467" y="171"/>
                </a:cubicBezTo>
                <a:cubicBezTo>
                  <a:pt x="465" y="162"/>
                  <a:pt x="474" y="162"/>
                  <a:pt x="477" y="157"/>
                </a:cubicBezTo>
                <a:cubicBezTo>
                  <a:pt x="480" y="159"/>
                  <a:pt x="485" y="161"/>
                  <a:pt x="486" y="163"/>
                </a:cubicBezTo>
                <a:cubicBezTo>
                  <a:pt x="492" y="174"/>
                  <a:pt x="492" y="174"/>
                  <a:pt x="501" y="165"/>
                </a:cubicBezTo>
                <a:cubicBezTo>
                  <a:pt x="501" y="165"/>
                  <a:pt x="501" y="164"/>
                  <a:pt x="502" y="164"/>
                </a:cubicBezTo>
                <a:cubicBezTo>
                  <a:pt x="505" y="162"/>
                  <a:pt x="509" y="159"/>
                  <a:pt x="512" y="156"/>
                </a:cubicBezTo>
                <a:cubicBezTo>
                  <a:pt x="513" y="161"/>
                  <a:pt x="514" y="165"/>
                  <a:pt x="515" y="169"/>
                </a:cubicBezTo>
                <a:cubicBezTo>
                  <a:pt x="515" y="169"/>
                  <a:pt x="515" y="169"/>
                  <a:pt x="514" y="169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DFA75146-7476-41F1-9A9A-501CA108D136}"/>
              </a:ext>
            </a:extLst>
          </p:cNvPr>
          <p:cNvSpPr>
            <a:spLocks/>
          </p:cNvSpPr>
          <p:nvPr userDrawn="1"/>
        </p:nvSpPr>
        <p:spPr bwMode="auto">
          <a:xfrm>
            <a:off x="7713663" y="2759075"/>
            <a:ext cx="1479550" cy="1027113"/>
          </a:xfrm>
          <a:custGeom>
            <a:avLst/>
            <a:gdLst>
              <a:gd name="T0" fmla="*/ 414 w 624"/>
              <a:gd name="T1" fmla="*/ 126 h 434"/>
              <a:gd name="T2" fmla="*/ 447 w 624"/>
              <a:gd name="T3" fmla="*/ 128 h 434"/>
              <a:gd name="T4" fmla="*/ 462 w 624"/>
              <a:gd name="T5" fmla="*/ 137 h 434"/>
              <a:gd name="T6" fmla="*/ 539 w 624"/>
              <a:gd name="T7" fmla="*/ 138 h 434"/>
              <a:gd name="T8" fmla="*/ 603 w 624"/>
              <a:gd name="T9" fmla="*/ 168 h 434"/>
              <a:gd name="T10" fmla="*/ 615 w 624"/>
              <a:gd name="T11" fmla="*/ 211 h 434"/>
              <a:gd name="T12" fmla="*/ 557 w 624"/>
              <a:gd name="T13" fmla="*/ 231 h 434"/>
              <a:gd name="T14" fmla="*/ 537 w 624"/>
              <a:gd name="T15" fmla="*/ 250 h 434"/>
              <a:gd name="T16" fmla="*/ 571 w 624"/>
              <a:gd name="T17" fmla="*/ 272 h 434"/>
              <a:gd name="T18" fmla="*/ 531 w 624"/>
              <a:gd name="T19" fmla="*/ 333 h 434"/>
              <a:gd name="T20" fmla="*/ 497 w 624"/>
              <a:gd name="T21" fmla="*/ 353 h 434"/>
              <a:gd name="T22" fmla="*/ 472 w 624"/>
              <a:gd name="T23" fmla="*/ 403 h 434"/>
              <a:gd name="T24" fmla="*/ 423 w 624"/>
              <a:gd name="T25" fmla="*/ 404 h 434"/>
              <a:gd name="T26" fmla="*/ 391 w 624"/>
              <a:gd name="T27" fmla="*/ 401 h 434"/>
              <a:gd name="T28" fmla="*/ 298 w 624"/>
              <a:gd name="T29" fmla="*/ 400 h 434"/>
              <a:gd name="T30" fmla="*/ 243 w 624"/>
              <a:gd name="T31" fmla="*/ 388 h 434"/>
              <a:gd name="T32" fmla="*/ 188 w 624"/>
              <a:gd name="T33" fmla="*/ 400 h 434"/>
              <a:gd name="T34" fmla="*/ 124 w 624"/>
              <a:gd name="T35" fmla="*/ 410 h 434"/>
              <a:gd name="T36" fmla="*/ 46 w 624"/>
              <a:gd name="T37" fmla="*/ 385 h 434"/>
              <a:gd name="T38" fmla="*/ 3 w 624"/>
              <a:gd name="T39" fmla="*/ 352 h 434"/>
              <a:gd name="T40" fmla="*/ 28 w 624"/>
              <a:gd name="T41" fmla="*/ 289 h 434"/>
              <a:gd name="T42" fmla="*/ 44 w 624"/>
              <a:gd name="T43" fmla="*/ 263 h 434"/>
              <a:gd name="T44" fmla="*/ 67 w 624"/>
              <a:gd name="T45" fmla="*/ 219 h 434"/>
              <a:gd name="T46" fmla="*/ 60 w 624"/>
              <a:gd name="T47" fmla="*/ 181 h 434"/>
              <a:gd name="T48" fmla="*/ 76 w 624"/>
              <a:gd name="T49" fmla="*/ 148 h 434"/>
              <a:gd name="T50" fmla="*/ 110 w 624"/>
              <a:gd name="T51" fmla="*/ 154 h 434"/>
              <a:gd name="T52" fmla="*/ 128 w 624"/>
              <a:gd name="T53" fmla="*/ 172 h 434"/>
              <a:gd name="T54" fmla="*/ 110 w 624"/>
              <a:gd name="T55" fmla="*/ 220 h 434"/>
              <a:gd name="T56" fmla="*/ 150 w 624"/>
              <a:gd name="T57" fmla="*/ 197 h 434"/>
              <a:gd name="T58" fmla="*/ 192 w 624"/>
              <a:gd name="T59" fmla="*/ 201 h 434"/>
              <a:gd name="T60" fmla="*/ 201 w 624"/>
              <a:gd name="T61" fmla="*/ 178 h 434"/>
              <a:gd name="T62" fmla="*/ 213 w 624"/>
              <a:gd name="T63" fmla="*/ 154 h 434"/>
              <a:gd name="T64" fmla="*/ 243 w 624"/>
              <a:gd name="T65" fmla="*/ 120 h 434"/>
              <a:gd name="T66" fmla="*/ 227 w 624"/>
              <a:gd name="T67" fmla="*/ 106 h 434"/>
              <a:gd name="T68" fmla="*/ 195 w 624"/>
              <a:gd name="T69" fmla="*/ 72 h 434"/>
              <a:gd name="T70" fmla="*/ 323 w 624"/>
              <a:gd name="T71" fmla="*/ 4 h 434"/>
              <a:gd name="T72" fmla="*/ 358 w 624"/>
              <a:gd name="T73" fmla="*/ 34 h 434"/>
              <a:gd name="T74" fmla="*/ 313 w 624"/>
              <a:gd name="T75" fmla="*/ 93 h 434"/>
              <a:gd name="T76" fmla="*/ 301 w 624"/>
              <a:gd name="T77" fmla="*/ 182 h 434"/>
              <a:gd name="T78" fmla="*/ 347 w 624"/>
              <a:gd name="T79" fmla="*/ 197 h 434"/>
              <a:gd name="T80" fmla="*/ 338 w 624"/>
              <a:gd name="T81" fmla="*/ 148 h 434"/>
              <a:gd name="T82" fmla="*/ 339 w 624"/>
              <a:gd name="T83" fmla="*/ 104 h 434"/>
              <a:gd name="T84" fmla="*/ 350 w 624"/>
              <a:gd name="T85" fmla="*/ 123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24" h="434">
                <a:moveTo>
                  <a:pt x="381" y="123"/>
                </a:moveTo>
                <a:cubicBezTo>
                  <a:pt x="380" y="130"/>
                  <a:pt x="383" y="134"/>
                  <a:pt x="390" y="133"/>
                </a:cubicBezTo>
                <a:cubicBezTo>
                  <a:pt x="398" y="132"/>
                  <a:pt x="407" y="130"/>
                  <a:pt x="414" y="126"/>
                </a:cubicBezTo>
                <a:cubicBezTo>
                  <a:pt x="421" y="123"/>
                  <a:pt x="426" y="118"/>
                  <a:pt x="433" y="115"/>
                </a:cubicBezTo>
                <a:cubicBezTo>
                  <a:pt x="436" y="113"/>
                  <a:pt x="442" y="114"/>
                  <a:pt x="445" y="116"/>
                </a:cubicBezTo>
                <a:cubicBezTo>
                  <a:pt x="449" y="118"/>
                  <a:pt x="450" y="123"/>
                  <a:pt x="447" y="128"/>
                </a:cubicBezTo>
                <a:cubicBezTo>
                  <a:pt x="445" y="130"/>
                  <a:pt x="445" y="133"/>
                  <a:pt x="445" y="136"/>
                </a:cubicBezTo>
                <a:cubicBezTo>
                  <a:pt x="444" y="140"/>
                  <a:pt x="446" y="143"/>
                  <a:pt x="451" y="141"/>
                </a:cubicBezTo>
                <a:cubicBezTo>
                  <a:pt x="455" y="140"/>
                  <a:pt x="458" y="139"/>
                  <a:pt x="462" y="137"/>
                </a:cubicBezTo>
                <a:cubicBezTo>
                  <a:pt x="470" y="133"/>
                  <a:pt x="475" y="133"/>
                  <a:pt x="481" y="141"/>
                </a:cubicBezTo>
                <a:cubicBezTo>
                  <a:pt x="489" y="151"/>
                  <a:pt x="502" y="151"/>
                  <a:pt x="511" y="142"/>
                </a:cubicBezTo>
                <a:cubicBezTo>
                  <a:pt x="520" y="132"/>
                  <a:pt x="529" y="131"/>
                  <a:pt x="539" y="138"/>
                </a:cubicBezTo>
                <a:cubicBezTo>
                  <a:pt x="548" y="143"/>
                  <a:pt x="556" y="148"/>
                  <a:pt x="564" y="153"/>
                </a:cubicBezTo>
                <a:cubicBezTo>
                  <a:pt x="573" y="158"/>
                  <a:pt x="583" y="164"/>
                  <a:pt x="592" y="169"/>
                </a:cubicBezTo>
                <a:cubicBezTo>
                  <a:pt x="595" y="171"/>
                  <a:pt x="599" y="169"/>
                  <a:pt x="603" y="168"/>
                </a:cubicBezTo>
                <a:cubicBezTo>
                  <a:pt x="616" y="167"/>
                  <a:pt x="620" y="171"/>
                  <a:pt x="617" y="184"/>
                </a:cubicBezTo>
                <a:cubicBezTo>
                  <a:pt x="616" y="189"/>
                  <a:pt x="615" y="194"/>
                  <a:pt x="614" y="199"/>
                </a:cubicBezTo>
                <a:cubicBezTo>
                  <a:pt x="614" y="202"/>
                  <a:pt x="614" y="207"/>
                  <a:pt x="615" y="211"/>
                </a:cubicBezTo>
                <a:cubicBezTo>
                  <a:pt x="617" y="215"/>
                  <a:pt x="624" y="219"/>
                  <a:pt x="617" y="225"/>
                </a:cubicBezTo>
                <a:cubicBezTo>
                  <a:pt x="611" y="230"/>
                  <a:pt x="606" y="238"/>
                  <a:pt x="595" y="235"/>
                </a:cubicBezTo>
                <a:cubicBezTo>
                  <a:pt x="582" y="231"/>
                  <a:pt x="570" y="228"/>
                  <a:pt x="557" y="231"/>
                </a:cubicBezTo>
                <a:cubicBezTo>
                  <a:pt x="555" y="232"/>
                  <a:pt x="552" y="230"/>
                  <a:pt x="549" y="229"/>
                </a:cubicBezTo>
                <a:cubicBezTo>
                  <a:pt x="542" y="226"/>
                  <a:pt x="539" y="228"/>
                  <a:pt x="540" y="236"/>
                </a:cubicBezTo>
                <a:cubicBezTo>
                  <a:pt x="540" y="241"/>
                  <a:pt x="539" y="246"/>
                  <a:pt x="537" y="250"/>
                </a:cubicBezTo>
                <a:cubicBezTo>
                  <a:pt x="535" y="257"/>
                  <a:pt x="538" y="262"/>
                  <a:pt x="545" y="260"/>
                </a:cubicBezTo>
                <a:cubicBezTo>
                  <a:pt x="553" y="258"/>
                  <a:pt x="559" y="258"/>
                  <a:pt x="563" y="267"/>
                </a:cubicBezTo>
                <a:cubicBezTo>
                  <a:pt x="564" y="269"/>
                  <a:pt x="568" y="270"/>
                  <a:pt x="571" y="272"/>
                </a:cubicBezTo>
                <a:cubicBezTo>
                  <a:pt x="578" y="275"/>
                  <a:pt x="580" y="284"/>
                  <a:pt x="573" y="286"/>
                </a:cubicBezTo>
                <a:cubicBezTo>
                  <a:pt x="557" y="291"/>
                  <a:pt x="556" y="308"/>
                  <a:pt x="546" y="317"/>
                </a:cubicBezTo>
                <a:cubicBezTo>
                  <a:pt x="541" y="322"/>
                  <a:pt x="536" y="328"/>
                  <a:pt x="531" y="333"/>
                </a:cubicBezTo>
                <a:cubicBezTo>
                  <a:pt x="526" y="337"/>
                  <a:pt x="520" y="339"/>
                  <a:pt x="513" y="336"/>
                </a:cubicBezTo>
                <a:cubicBezTo>
                  <a:pt x="507" y="333"/>
                  <a:pt x="502" y="334"/>
                  <a:pt x="502" y="344"/>
                </a:cubicBezTo>
                <a:cubicBezTo>
                  <a:pt x="502" y="347"/>
                  <a:pt x="499" y="350"/>
                  <a:pt x="497" y="353"/>
                </a:cubicBezTo>
                <a:cubicBezTo>
                  <a:pt x="490" y="361"/>
                  <a:pt x="479" y="368"/>
                  <a:pt x="481" y="381"/>
                </a:cubicBezTo>
                <a:cubicBezTo>
                  <a:pt x="481" y="383"/>
                  <a:pt x="480" y="385"/>
                  <a:pt x="478" y="386"/>
                </a:cubicBezTo>
                <a:cubicBezTo>
                  <a:pt x="472" y="390"/>
                  <a:pt x="473" y="397"/>
                  <a:pt x="472" y="403"/>
                </a:cubicBezTo>
                <a:cubicBezTo>
                  <a:pt x="472" y="409"/>
                  <a:pt x="469" y="415"/>
                  <a:pt x="467" y="421"/>
                </a:cubicBezTo>
                <a:cubicBezTo>
                  <a:pt x="461" y="418"/>
                  <a:pt x="454" y="417"/>
                  <a:pt x="450" y="412"/>
                </a:cubicBezTo>
                <a:cubicBezTo>
                  <a:pt x="442" y="403"/>
                  <a:pt x="434" y="400"/>
                  <a:pt x="423" y="404"/>
                </a:cubicBezTo>
                <a:cubicBezTo>
                  <a:pt x="420" y="406"/>
                  <a:pt x="416" y="405"/>
                  <a:pt x="413" y="405"/>
                </a:cubicBezTo>
                <a:cubicBezTo>
                  <a:pt x="408" y="404"/>
                  <a:pt x="404" y="403"/>
                  <a:pt x="400" y="403"/>
                </a:cubicBezTo>
                <a:cubicBezTo>
                  <a:pt x="397" y="402"/>
                  <a:pt x="393" y="403"/>
                  <a:pt x="391" y="401"/>
                </a:cubicBezTo>
                <a:cubicBezTo>
                  <a:pt x="375" y="389"/>
                  <a:pt x="369" y="388"/>
                  <a:pt x="353" y="399"/>
                </a:cubicBezTo>
                <a:cubicBezTo>
                  <a:pt x="339" y="408"/>
                  <a:pt x="324" y="412"/>
                  <a:pt x="309" y="400"/>
                </a:cubicBezTo>
                <a:cubicBezTo>
                  <a:pt x="307" y="398"/>
                  <a:pt x="301" y="399"/>
                  <a:pt x="298" y="400"/>
                </a:cubicBezTo>
                <a:cubicBezTo>
                  <a:pt x="283" y="412"/>
                  <a:pt x="265" y="410"/>
                  <a:pt x="247" y="411"/>
                </a:cubicBezTo>
                <a:cubicBezTo>
                  <a:pt x="242" y="411"/>
                  <a:pt x="238" y="408"/>
                  <a:pt x="244" y="403"/>
                </a:cubicBezTo>
                <a:cubicBezTo>
                  <a:pt x="250" y="397"/>
                  <a:pt x="245" y="393"/>
                  <a:pt x="243" y="388"/>
                </a:cubicBezTo>
                <a:cubicBezTo>
                  <a:pt x="241" y="382"/>
                  <a:pt x="236" y="382"/>
                  <a:pt x="231" y="383"/>
                </a:cubicBezTo>
                <a:cubicBezTo>
                  <a:pt x="219" y="386"/>
                  <a:pt x="207" y="389"/>
                  <a:pt x="196" y="392"/>
                </a:cubicBezTo>
                <a:cubicBezTo>
                  <a:pt x="193" y="393"/>
                  <a:pt x="189" y="397"/>
                  <a:pt x="188" y="400"/>
                </a:cubicBezTo>
                <a:cubicBezTo>
                  <a:pt x="181" y="413"/>
                  <a:pt x="170" y="423"/>
                  <a:pt x="158" y="431"/>
                </a:cubicBezTo>
                <a:cubicBezTo>
                  <a:pt x="153" y="434"/>
                  <a:pt x="146" y="431"/>
                  <a:pt x="144" y="424"/>
                </a:cubicBezTo>
                <a:cubicBezTo>
                  <a:pt x="139" y="410"/>
                  <a:pt x="139" y="410"/>
                  <a:pt x="124" y="410"/>
                </a:cubicBezTo>
                <a:cubicBezTo>
                  <a:pt x="111" y="409"/>
                  <a:pt x="97" y="408"/>
                  <a:pt x="83" y="408"/>
                </a:cubicBezTo>
                <a:cubicBezTo>
                  <a:pt x="77" y="407"/>
                  <a:pt x="73" y="405"/>
                  <a:pt x="70" y="399"/>
                </a:cubicBezTo>
                <a:cubicBezTo>
                  <a:pt x="65" y="391"/>
                  <a:pt x="57" y="385"/>
                  <a:pt x="46" y="385"/>
                </a:cubicBezTo>
                <a:cubicBezTo>
                  <a:pt x="35" y="386"/>
                  <a:pt x="30" y="379"/>
                  <a:pt x="30" y="368"/>
                </a:cubicBezTo>
                <a:cubicBezTo>
                  <a:pt x="30" y="355"/>
                  <a:pt x="25" y="351"/>
                  <a:pt x="14" y="357"/>
                </a:cubicBezTo>
                <a:cubicBezTo>
                  <a:pt x="7" y="360"/>
                  <a:pt x="4" y="359"/>
                  <a:pt x="3" y="352"/>
                </a:cubicBezTo>
                <a:cubicBezTo>
                  <a:pt x="1" y="345"/>
                  <a:pt x="0" y="338"/>
                  <a:pt x="4" y="329"/>
                </a:cubicBezTo>
                <a:cubicBezTo>
                  <a:pt x="7" y="320"/>
                  <a:pt x="10" y="316"/>
                  <a:pt x="19" y="314"/>
                </a:cubicBezTo>
                <a:cubicBezTo>
                  <a:pt x="29" y="312"/>
                  <a:pt x="34" y="298"/>
                  <a:pt x="28" y="289"/>
                </a:cubicBezTo>
                <a:cubicBezTo>
                  <a:pt x="24" y="283"/>
                  <a:pt x="25" y="281"/>
                  <a:pt x="31" y="279"/>
                </a:cubicBezTo>
                <a:cubicBezTo>
                  <a:pt x="34" y="278"/>
                  <a:pt x="37" y="277"/>
                  <a:pt x="40" y="276"/>
                </a:cubicBezTo>
                <a:cubicBezTo>
                  <a:pt x="50" y="272"/>
                  <a:pt x="50" y="272"/>
                  <a:pt x="44" y="263"/>
                </a:cubicBezTo>
                <a:cubicBezTo>
                  <a:pt x="40" y="259"/>
                  <a:pt x="41" y="256"/>
                  <a:pt x="45" y="253"/>
                </a:cubicBezTo>
                <a:cubicBezTo>
                  <a:pt x="49" y="249"/>
                  <a:pt x="54" y="246"/>
                  <a:pt x="58" y="243"/>
                </a:cubicBezTo>
                <a:cubicBezTo>
                  <a:pt x="65" y="236"/>
                  <a:pt x="71" y="229"/>
                  <a:pt x="67" y="219"/>
                </a:cubicBezTo>
                <a:cubicBezTo>
                  <a:pt x="66" y="217"/>
                  <a:pt x="67" y="214"/>
                  <a:pt x="68" y="212"/>
                </a:cubicBezTo>
                <a:cubicBezTo>
                  <a:pt x="73" y="201"/>
                  <a:pt x="71" y="193"/>
                  <a:pt x="62" y="185"/>
                </a:cubicBezTo>
                <a:cubicBezTo>
                  <a:pt x="61" y="184"/>
                  <a:pt x="59" y="182"/>
                  <a:pt x="60" y="181"/>
                </a:cubicBezTo>
                <a:cubicBezTo>
                  <a:pt x="66" y="173"/>
                  <a:pt x="62" y="164"/>
                  <a:pt x="60" y="156"/>
                </a:cubicBezTo>
                <a:cubicBezTo>
                  <a:pt x="58" y="150"/>
                  <a:pt x="62" y="151"/>
                  <a:pt x="65" y="153"/>
                </a:cubicBezTo>
                <a:cubicBezTo>
                  <a:pt x="72" y="158"/>
                  <a:pt x="74" y="154"/>
                  <a:pt x="76" y="148"/>
                </a:cubicBezTo>
                <a:cubicBezTo>
                  <a:pt x="78" y="142"/>
                  <a:pt x="82" y="137"/>
                  <a:pt x="85" y="131"/>
                </a:cubicBezTo>
                <a:cubicBezTo>
                  <a:pt x="85" y="131"/>
                  <a:pt x="85" y="131"/>
                  <a:pt x="85" y="131"/>
                </a:cubicBezTo>
                <a:cubicBezTo>
                  <a:pt x="84" y="150"/>
                  <a:pt x="92" y="157"/>
                  <a:pt x="110" y="154"/>
                </a:cubicBezTo>
                <a:cubicBezTo>
                  <a:pt x="113" y="154"/>
                  <a:pt x="117" y="153"/>
                  <a:pt x="120" y="154"/>
                </a:cubicBezTo>
                <a:cubicBezTo>
                  <a:pt x="124" y="155"/>
                  <a:pt x="129" y="158"/>
                  <a:pt x="132" y="161"/>
                </a:cubicBezTo>
                <a:cubicBezTo>
                  <a:pt x="133" y="163"/>
                  <a:pt x="130" y="168"/>
                  <a:pt x="128" y="172"/>
                </a:cubicBezTo>
                <a:cubicBezTo>
                  <a:pt x="127" y="175"/>
                  <a:pt x="124" y="178"/>
                  <a:pt x="124" y="181"/>
                </a:cubicBezTo>
                <a:cubicBezTo>
                  <a:pt x="123" y="193"/>
                  <a:pt x="123" y="205"/>
                  <a:pt x="112" y="213"/>
                </a:cubicBezTo>
                <a:cubicBezTo>
                  <a:pt x="110" y="214"/>
                  <a:pt x="109" y="219"/>
                  <a:pt x="110" y="220"/>
                </a:cubicBezTo>
                <a:cubicBezTo>
                  <a:pt x="112" y="222"/>
                  <a:pt x="116" y="225"/>
                  <a:pt x="118" y="224"/>
                </a:cubicBezTo>
                <a:cubicBezTo>
                  <a:pt x="125" y="222"/>
                  <a:pt x="132" y="218"/>
                  <a:pt x="139" y="214"/>
                </a:cubicBezTo>
                <a:cubicBezTo>
                  <a:pt x="147" y="211"/>
                  <a:pt x="149" y="205"/>
                  <a:pt x="150" y="197"/>
                </a:cubicBezTo>
                <a:cubicBezTo>
                  <a:pt x="152" y="186"/>
                  <a:pt x="153" y="186"/>
                  <a:pt x="162" y="191"/>
                </a:cubicBezTo>
                <a:cubicBezTo>
                  <a:pt x="169" y="194"/>
                  <a:pt x="175" y="200"/>
                  <a:pt x="184" y="196"/>
                </a:cubicBezTo>
                <a:cubicBezTo>
                  <a:pt x="185" y="196"/>
                  <a:pt x="189" y="201"/>
                  <a:pt x="192" y="201"/>
                </a:cubicBezTo>
                <a:cubicBezTo>
                  <a:pt x="197" y="201"/>
                  <a:pt x="203" y="202"/>
                  <a:pt x="207" y="199"/>
                </a:cubicBezTo>
                <a:cubicBezTo>
                  <a:pt x="212" y="196"/>
                  <a:pt x="209" y="190"/>
                  <a:pt x="205" y="186"/>
                </a:cubicBezTo>
                <a:cubicBezTo>
                  <a:pt x="204" y="184"/>
                  <a:pt x="202" y="181"/>
                  <a:pt x="201" y="178"/>
                </a:cubicBezTo>
                <a:cubicBezTo>
                  <a:pt x="201" y="177"/>
                  <a:pt x="205" y="174"/>
                  <a:pt x="205" y="174"/>
                </a:cubicBezTo>
                <a:cubicBezTo>
                  <a:pt x="211" y="177"/>
                  <a:pt x="218" y="176"/>
                  <a:pt x="219" y="170"/>
                </a:cubicBezTo>
                <a:cubicBezTo>
                  <a:pt x="220" y="165"/>
                  <a:pt x="217" y="158"/>
                  <a:pt x="213" y="154"/>
                </a:cubicBezTo>
                <a:cubicBezTo>
                  <a:pt x="205" y="145"/>
                  <a:pt x="207" y="134"/>
                  <a:pt x="219" y="131"/>
                </a:cubicBezTo>
                <a:cubicBezTo>
                  <a:pt x="224" y="130"/>
                  <a:pt x="230" y="129"/>
                  <a:pt x="235" y="129"/>
                </a:cubicBezTo>
                <a:cubicBezTo>
                  <a:pt x="241" y="128"/>
                  <a:pt x="244" y="126"/>
                  <a:pt x="243" y="120"/>
                </a:cubicBezTo>
                <a:cubicBezTo>
                  <a:pt x="243" y="117"/>
                  <a:pt x="244" y="114"/>
                  <a:pt x="243" y="112"/>
                </a:cubicBezTo>
                <a:cubicBezTo>
                  <a:pt x="242" y="108"/>
                  <a:pt x="241" y="102"/>
                  <a:pt x="238" y="101"/>
                </a:cubicBezTo>
                <a:cubicBezTo>
                  <a:pt x="234" y="98"/>
                  <a:pt x="230" y="101"/>
                  <a:pt x="227" y="106"/>
                </a:cubicBezTo>
                <a:cubicBezTo>
                  <a:pt x="225" y="108"/>
                  <a:pt x="220" y="110"/>
                  <a:pt x="216" y="110"/>
                </a:cubicBezTo>
                <a:cubicBezTo>
                  <a:pt x="207" y="109"/>
                  <a:pt x="198" y="107"/>
                  <a:pt x="192" y="99"/>
                </a:cubicBezTo>
                <a:cubicBezTo>
                  <a:pt x="185" y="89"/>
                  <a:pt x="185" y="79"/>
                  <a:pt x="195" y="72"/>
                </a:cubicBezTo>
                <a:cubicBezTo>
                  <a:pt x="212" y="60"/>
                  <a:pt x="229" y="48"/>
                  <a:pt x="247" y="37"/>
                </a:cubicBezTo>
                <a:cubicBezTo>
                  <a:pt x="265" y="26"/>
                  <a:pt x="284" y="17"/>
                  <a:pt x="302" y="6"/>
                </a:cubicBezTo>
                <a:cubicBezTo>
                  <a:pt x="309" y="2"/>
                  <a:pt x="315" y="0"/>
                  <a:pt x="323" y="4"/>
                </a:cubicBezTo>
                <a:cubicBezTo>
                  <a:pt x="325" y="5"/>
                  <a:pt x="329" y="6"/>
                  <a:pt x="332" y="6"/>
                </a:cubicBezTo>
                <a:cubicBezTo>
                  <a:pt x="347" y="9"/>
                  <a:pt x="355" y="17"/>
                  <a:pt x="358" y="32"/>
                </a:cubicBezTo>
                <a:cubicBezTo>
                  <a:pt x="358" y="33"/>
                  <a:pt x="358" y="33"/>
                  <a:pt x="358" y="34"/>
                </a:cubicBezTo>
                <a:cubicBezTo>
                  <a:pt x="354" y="44"/>
                  <a:pt x="349" y="55"/>
                  <a:pt x="345" y="65"/>
                </a:cubicBezTo>
                <a:cubicBezTo>
                  <a:pt x="344" y="67"/>
                  <a:pt x="342" y="68"/>
                  <a:pt x="341" y="69"/>
                </a:cubicBezTo>
                <a:cubicBezTo>
                  <a:pt x="335" y="82"/>
                  <a:pt x="329" y="92"/>
                  <a:pt x="313" y="93"/>
                </a:cubicBezTo>
                <a:cubicBezTo>
                  <a:pt x="308" y="93"/>
                  <a:pt x="303" y="110"/>
                  <a:pt x="304" y="115"/>
                </a:cubicBezTo>
                <a:cubicBezTo>
                  <a:pt x="308" y="124"/>
                  <a:pt x="308" y="132"/>
                  <a:pt x="301" y="140"/>
                </a:cubicBezTo>
                <a:cubicBezTo>
                  <a:pt x="296" y="146"/>
                  <a:pt x="296" y="175"/>
                  <a:pt x="301" y="182"/>
                </a:cubicBezTo>
                <a:cubicBezTo>
                  <a:pt x="302" y="183"/>
                  <a:pt x="304" y="184"/>
                  <a:pt x="306" y="185"/>
                </a:cubicBezTo>
                <a:cubicBezTo>
                  <a:pt x="314" y="189"/>
                  <a:pt x="323" y="194"/>
                  <a:pt x="332" y="198"/>
                </a:cubicBezTo>
                <a:cubicBezTo>
                  <a:pt x="337" y="201"/>
                  <a:pt x="342" y="203"/>
                  <a:pt x="347" y="197"/>
                </a:cubicBezTo>
                <a:cubicBezTo>
                  <a:pt x="352" y="192"/>
                  <a:pt x="359" y="188"/>
                  <a:pt x="354" y="179"/>
                </a:cubicBezTo>
                <a:cubicBezTo>
                  <a:pt x="353" y="176"/>
                  <a:pt x="352" y="172"/>
                  <a:pt x="350" y="172"/>
                </a:cubicBezTo>
                <a:cubicBezTo>
                  <a:pt x="340" y="167"/>
                  <a:pt x="340" y="157"/>
                  <a:pt x="338" y="148"/>
                </a:cubicBezTo>
                <a:cubicBezTo>
                  <a:pt x="335" y="138"/>
                  <a:pt x="332" y="128"/>
                  <a:pt x="329" y="118"/>
                </a:cubicBezTo>
                <a:cubicBezTo>
                  <a:pt x="328" y="114"/>
                  <a:pt x="329" y="110"/>
                  <a:pt x="334" y="109"/>
                </a:cubicBezTo>
                <a:cubicBezTo>
                  <a:pt x="336" y="109"/>
                  <a:pt x="338" y="106"/>
                  <a:pt x="339" y="104"/>
                </a:cubicBezTo>
                <a:cubicBezTo>
                  <a:pt x="341" y="101"/>
                  <a:pt x="342" y="96"/>
                  <a:pt x="346" y="99"/>
                </a:cubicBezTo>
                <a:cubicBezTo>
                  <a:pt x="350" y="102"/>
                  <a:pt x="354" y="106"/>
                  <a:pt x="351" y="112"/>
                </a:cubicBezTo>
                <a:cubicBezTo>
                  <a:pt x="349" y="116"/>
                  <a:pt x="343" y="120"/>
                  <a:pt x="350" y="123"/>
                </a:cubicBezTo>
                <a:cubicBezTo>
                  <a:pt x="356" y="127"/>
                  <a:pt x="363" y="131"/>
                  <a:pt x="371" y="127"/>
                </a:cubicBezTo>
                <a:cubicBezTo>
                  <a:pt x="374" y="125"/>
                  <a:pt x="378" y="124"/>
                  <a:pt x="381" y="123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2C859B2F-ACCF-4D9E-9DBC-3495886B365D}"/>
              </a:ext>
            </a:extLst>
          </p:cNvPr>
          <p:cNvSpPr>
            <a:spLocks/>
          </p:cNvSpPr>
          <p:nvPr userDrawn="1"/>
        </p:nvSpPr>
        <p:spPr bwMode="auto">
          <a:xfrm>
            <a:off x="7456488" y="3606800"/>
            <a:ext cx="1393825" cy="1158875"/>
          </a:xfrm>
          <a:custGeom>
            <a:avLst/>
            <a:gdLst>
              <a:gd name="T0" fmla="*/ 547 w 587"/>
              <a:gd name="T1" fmla="*/ 252 h 489"/>
              <a:gd name="T2" fmla="*/ 527 w 587"/>
              <a:gd name="T3" fmla="*/ 256 h 489"/>
              <a:gd name="T4" fmla="*/ 524 w 587"/>
              <a:gd name="T5" fmla="*/ 231 h 489"/>
              <a:gd name="T6" fmla="*/ 503 w 587"/>
              <a:gd name="T7" fmla="*/ 197 h 489"/>
              <a:gd name="T8" fmla="*/ 466 w 587"/>
              <a:gd name="T9" fmla="*/ 194 h 489"/>
              <a:gd name="T10" fmla="*/ 411 w 587"/>
              <a:gd name="T11" fmla="*/ 178 h 489"/>
              <a:gd name="T12" fmla="*/ 390 w 587"/>
              <a:gd name="T13" fmla="*/ 215 h 489"/>
              <a:gd name="T14" fmla="*/ 371 w 587"/>
              <a:gd name="T15" fmla="*/ 219 h 489"/>
              <a:gd name="T16" fmla="*/ 362 w 587"/>
              <a:gd name="T17" fmla="*/ 261 h 489"/>
              <a:gd name="T18" fmla="*/ 333 w 587"/>
              <a:gd name="T19" fmla="*/ 284 h 489"/>
              <a:gd name="T20" fmla="*/ 304 w 587"/>
              <a:gd name="T21" fmla="*/ 298 h 489"/>
              <a:gd name="T22" fmla="*/ 292 w 587"/>
              <a:gd name="T23" fmla="*/ 319 h 489"/>
              <a:gd name="T24" fmla="*/ 253 w 587"/>
              <a:gd name="T25" fmla="*/ 353 h 489"/>
              <a:gd name="T26" fmla="*/ 229 w 587"/>
              <a:gd name="T27" fmla="*/ 358 h 489"/>
              <a:gd name="T28" fmla="*/ 196 w 587"/>
              <a:gd name="T29" fmla="*/ 353 h 489"/>
              <a:gd name="T30" fmla="*/ 184 w 587"/>
              <a:gd name="T31" fmla="*/ 387 h 489"/>
              <a:gd name="T32" fmla="*/ 154 w 587"/>
              <a:gd name="T33" fmla="*/ 391 h 489"/>
              <a:gd name="T34" fmla="*/ 125 w 587"/>
              <a:gd name="T35" fmla="*/ 410 h 489"/>
              <a:gd name="T36" fmla="*/ 95 w 587"/>
              <a:gd name="T37" fmla="*/ 419 h 489"/>
              <a:gd name="T38" fmla="*/ 106 w 587"/>
              <a:gd name="T39" fmla="*/ 451 h 489"/>
              <a:gd name="T40" fmla="*/ 65 w 587"/>
              <a:gd name="T41" fmla="*/ 480 h 489"/>
              <a:gd name="T42" fmla="*/ 34 w 587"/>
              <a:gd name="T43" fmla="*/ 442 h 489"/>
              <a:gd name="T44" fmla="*/ 18 w 587"/>
              <a:gd name="T45" fmla="*/ 329 h 489"/>
              <a:gd name="T46" fmla="*/ 5 w 587"/>
              <a:gd name="T47" fmla="*/ 248 h 489"/>
              <a:gd name="T48" fmla="*/ 12 w 587"/>
              <a:gd name="T49" fmla="*/ 229 h 489"/>
              <a:gd name="T50" fmla="*/ 5 w 587"/>
              <a:gd name="T51" fmla="*/ 205 h 489"/>
              <a:gd name="T52" fmla="*/ 2 w 587"/>
              <a:gd name="T53" fmla="*/ 145 h 489"/>
              <a:gd name="T54" fmla="*/ 22 w 587"/>
              <a:gd name="T55" fmla="*/ 144 h 489"/>
              <a:gd name="T56" fmla="*/ 52 w 587"/>
              <a:gd name="T57" fmla="*/ 108 h 489"/>
              <a:gd name="T58" fmla="*/ 82 w 587"/>
              <a:gd name="T59" fmla="*/ 102 h 489"/>
              <a:gd name="T60" fmla="*/ 80 w 587"/>
              <a:gd name="T61" fmla="*/ 68 h 489"/>
              <a:gd name="T62" fmla="*/ 81 w 587"/>
              <a:gd name="T63" fmla="*/ 61 h 489"/>
              <a:gd name="T64" fmla="*/ 111 w 587"/>
              <a:gd name="T65" fmla="*/ 42 h 489"/>
              <a:gd name="T66" fmla="*/ 112 w 587"/>
              <a:gd name="T67" fmla="*/ 35 h 489"/>
              <a:gd name="T68" fmla="*/ 87 w 587"/>
              <a:gd name="T69" fmla="*/ 25 h 489"/>
              <a:gd name="T70" fmla="*/ 113 w 587"/>
              <a:gd name="T71" fmla="*/ 6 h 489"/>
              <a:gd name="T72" fmla="*/ 133 w 587"/>
              <a:gd name="T73" fmla="*/ 8 h 489"/>
              <a:gd name="T74" fmla="*/ 171 w 587"/>
              <a:gd name="T75" fmla="*/ 41 h 489"/>
              <a:gd name="T76" fmla="*/ 235 w 587"/>
              <a:gd name="T77" fmla="*/ 56 h 489"/>
              <a:gd name="T78" fmla="*/ 274 w 587"/>
              <a:gd name="T79" fmla="*/ 72 h 489"/>
              <a:gd name="T80" fmla="*/ 288 w 587"/>
              <a:gd name="T81" fmla="*/ 64 h 489"/>
              <a:gd name="T82" fmla="*/ 308 w 587"/>
              <a:gd name="T83" fmla="*/ 38 h 489"/>
              <a:gd name="T84" fmla="*/ 347 w 587"/>
              <a:gd name="T85" fmla="*/ 33 h 489"/>
              <a:gd name="T86" fmla="*/ 353 w 587"/>
              <a:gd name="T87" fmla="*/ 58 h 489"/>
              <a:gd name="T88" fmla="*/ 416 w 587"/>
              <a:gd name="T89" fmla="*/ 47 h 489"/>
              <a:gd name="T90" fmla="*/ 479 w 587"/>
              <a:gd name="T91" fmla="*/ 39 h 489"/>
              <a:gd name="T92" fmla="*/ 500 w 587"/>
              <a:gd name="T93" fmla="*/ 50 h 489"/>
              <a:gd name="T94" fmla="*/ 553 w 587"/>
              <a:gd name="T95" fmla="*/ 56 h 489"/>
              <a:gd name="T96" fmla="*/ 565 w 587"/>
              <a:gd name="T97" fmla="*/ 73 h 489"/>
              <a:gd name="T98" fmla="*/ 566 w 587"/>
              <a:gd name="T99" fmla="*/ 106 h 489"/>
              <a:gd name="T100" fmla="*/ 564 w 587"/>
              <a:gd name="T101" fmla="*/ 146 h 489"/>
              <a:gd name="T102" fmla="*/ 559 w 587"/>
              <a:gd name="T103" fmla="*/ 172 h 489"/>
              <a:gd name="T104" fmla="*/ 584 w 587"/>
              <a:gd name="T105" fmla="*/ 207 h 489"/>
              <a:gd name="T106" fmla="*/ 580 w 587"/>
              <a:gd name="T107" fmla="*/ 218 h 489"/>
              <a:gd name="T108" fmla="*/ 561 w 587"/>
              <a:gd name="T109" fmla="*/ 218 h 489"/>
              <a:gd name="T110" fmla="*/ 547 w 587"/>
              <a:gd name="T111" fmla="*/ 249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87" h="489">
                <a:moveTo>
                  <a:pt x="547" y="249"/>
                </a:moveTo>
                <a:cubicBezTo>
                  <a:pt x="547" y="249"/>
                  <a:pt x="547" y="251"/>
                  <a:pt x="547" y="252"/>
                </a:cubicBezTo>
                <a:cubicBezTo>
                  <a:pt x="547" y="257"/>
                  <a:pt x="549" y="264"/>
                  <a:pt x="541" y="265"/>
                </a:cubicBezTo>
                <a:cubicBezTo>
                  <a:pt x="534" y="267"/>
                  <a:pt x="530" y="262"/>
                  <a:pt x="527" y="256"/>
                </a:cubicBezTo>
                <a:cubicBezTo>
                  <a:pt x="524" y="251"/>
                  <a:pt x="522" y="245"/>
                  <a:pt x="521" y="240"/>
                </a:cubicBezTo>
                <a:cubicBezTo>
                  <a:pt x="521" y="237"/>
                  <a:pt x="523" y="234"/>
                  <a:pt x="524" y="231"/>
                </a:cubicBezTo>
                <a:cubicBezTo>
                  <a:pt x="529" y="217"/>
                  <a:pt x="523" y="202"/>
                  <a:pt x="510" y="197"/>
                </a:cubicBezTo>
                <a:cubicBezTo>
                  <a:pt x="508" y="196"/>
                  <a:pt x="505" y="196"/>
                  <a:pt x="503" y="197"/>
                </a:cubicBezTo>
                <a:cubicBezTo>
                  <a:pt x="494" y="202"/>
                  <a:pt x="484" y="199"/>
                  <a:pt x="475" y="196"/>
                </a:cubicBezTo>
                <a:cubicBezTo>
                  <a:pt x="472" y="195"/>
                  <a:pt x="468" y="193"/>
                  <a:pt x="466" y="194"/>
                </a:cubicBezTo>
                <a:cubicBezTo>
                  <a:pt x="457" y="196"/>
                  <a:pt x="451" y="193"/>
                  <a:pt x="446" y="185"/>
                </a:cubicBezTo>
                <a:cubicBezTo>
                  <a:pt x="442" y="180"/>
                  <a:pt x="417" y="174"/>
                  <a:pt x="411" y="178"/>
                </a:cubicBezTo>
                <a:cubicBezTo>
                  <a:pt x="408" y="180"/>
                  <a:pt x="406" y="184"/>
                  <a:pt x="406" y="187"/>
                </a:cubicBezTo>
                <a:cubicBezTo>
                  <a:pt x="406" y="199"/>
                  <a:pt x="394" y="205"/>
                  <a:pt x="390" y="215"/>
                </a:cubicBezTo>
                <a:cubicBezTo>
                  <a:pt x="390" y="216"/>
                  <a:pt x="385" y="216"/>
                  <a:pt x="383" y="215"/>
                </a:cubicBezTo>
                <a:cubicBezTo>
                  <a:pt x="377" y="212"/>
                  <a:pt x="374" y="215"/>
                  <a:pt x="371" y="219"/>
                </a:cubicBezTo>
                <a:cubicBezTo>
                  <a:pt x="364" y="228"/>
                  <a:pt x="357" y="237"/>
                  <a:pt x="365" y="249"/>
                </a:cubicBezTo>
                <a:cubicBezTo>
                  <a:pt x="367" y="251"/>
                  <a:pt x="364" y="258"/>
                  <a:pt x="362" y="261"/>
                </a:cubicBezTo>
                <a:cubicBezTo>
                  <a:pt x="354" y="268"/>
                  <a:pt x="345" y="273"/>
                  <a:pt x="342" y="284"/>
                </a:cubicBezTo>
                <a:cubicBezTo>
                  <a:pt x="340" y="290"/>
                  <a:pt x="336" y="288"/>
                  <a:pt x="333" y="284"/>
                </a:cubicBezTo>
                <a:cubicBezTo>
                  <a:pt x="328" y="278"/>
                  <a:pt x="326" y="280"/>
                  <a:pt x="321" y="286"/>
                </a:cubicBezTo>
                <a:cubicBezTo>
                  <a:pt x="317" y="291"/>
                  <a:pt x="310" y="296"/>
                  <a:pt x="304" y="298"/>
                </a:cubicBezTo>
                <a:cubicBezTo>
                  <a:pt x="297" y="300"/>
                  <a:pt x="294" y="302"/>
                  <a:pt x="294" y="309"/>
                </a:cubicBezTo>
                <a:cubicBezTo>
                  <a:pt x="295" y="313"/>
                  <a:pt x="295" y="318"/>
                  <a:pt x="292" y="319"/>
                </a:cubicBezTo>
                <a:cubicBezTo>
                  <a:pt x="286" y="324"/>
                  <a:pt x="279" y="330"/>
                  <a:pt x="272" y="331"/>
                </a:cubicBezTo>
                <a:cubicBezTo>
                  <a:pt x="256" y="335"/>
                  <a:pt x="252" y="337"/>
                  <a:pt x="253" y="353"/>
                </a:cubicBezTo>
                <a:cubicBezTo>
                  <a:pt x="253" y="357"/>
                  <a:pt x="252" y="359"/>
                  <a:pt x="247" y="357"/>
                </a:cubicBezTo>
                <a:cubicBezTo>
                  <a:pt x="241" y="354"/>
                  <a:pt x="235" y="354"/>
                  <a:pt x="229" y="358"/>
                </a:cubicBezTo>
                <a:cubicBezTo>
                  <a:pt x="222" y="362"/>
                  <a:pt x="217" y="358"/>
                  <a:pt x="211" y="355"/>
                </a:cubicBezTo>
                <a:cubicBezTo>
                  <a:pt x="206" y="353"/>
                  <a:pt x="202" y="348"/>
                  <a:pt x="196" y="353"/>
                </a:cubicBezTo>
                <a:cubicBezTo>
                  <a:pt x="190" y="358"/>
                  <a:pt x="194" y="362"/>
                  <a:pt x="196" y="368"/>
                </a:cubicBezTo>
                <a:cubicBezTo>
                  <a:pt x="201" y="381"/>
                  <a:pt x="197" y="386"/>
                  <a:pt x="184" y="387"/>
                </a:cubicBezTo>
                <a:cubicBezTo>
                  <a:pt x="181" y="388"/>
                  <a:pt x="177" y="387"/>
                  <a:pt x="176" y="389"/>
                </a:cubicBezTo>
                <a:cubicBezTo>
                  <a:pt x="169" y="395"/>
                  <a:pt x="162" y="394"/>
                  <a:pt x="154" y="391"/>
                </a:cubicBezTo>
                <a:cubicBezTo>
                  <a:pt x="148" y="388"/>
                  <a:pt x="144" y="390"/>
                  <a:pt x="140" y="395"/>
                </a:cubicBezTo>
                <a:cubicBezTo>
                  <a:pt x="136" y="401"/>
                  <a:pt x="131" y="405"/>
                  <a:pt x="125" y="410"/>
                </a:cubicBezTo>
                <a:cubicBezTo>
                  <a:pt x="122" y="412"/>
                  <a:pt x="119" y="416"/>
                  <a:pt x="114" y="410"/>
                </a:cubicBezTo>
                <a:cubicBezTo>
                  <a:pt x="112" y="408"/>
                  <a:pt x="96" y="415"/>
                  <a:pt x="95" y="419"/>
                </a:cubicBezTo>
                <a:cubicBezTo>
                  <a:pt x="94" y="423"/>
                  <a:pt x="96" y="427"/>
                  <a:pt x="98" y="431"/>
                </a:cubicBezTo>
                <a:cubicBezTo>
                  <a:pt x="102" y="437"/>
                  <a:pt x="110" y="442"/>
                  <a:pt x="106" y="451"/>
                </a:cubicBezTo>
                <a:cubicBezTo>
                  <a:pt x="101" y="461"/>
                  <a:pt x="97" y="472"/>
                  <a:pt x="90" y="480"/>
                </a:cubicBezTo>
                <a:cubicBezTo>
                  <a:pt x="84" y="486"/>
                  <a:pt x="75" y="489"/>
                  <a:pt x="65" y="480"/>
                </a:cubicBezTo>
                <a:cubicBezTo>
                  <a:pt x="60" y="475"/>
                  <a:pt x="50" y="476"/>
                  <a:pt x="45" y="468"/>
                </a:cubicBezTo>
                <a:cubicBezTo>
                  <a:pt x="39" y="460"/>
                  <a:pt x="35" y="452"/>
                  <a:pt x="34" y="442"/>
                </a:cubicBezTo>
                <a:cubicBezTo>
                  <a:pt x="31" y="421"/>
                  <a:pt x="28" y="400"/>
                  <a:pt x="25" y="379"/>
                </a:cubicBezTo>
                <a:cubicBezTo>
                  <a:pt x="22" y="362"/>
                  <a:pt x="21" y="345"/>
                  <a:pt x="18" y="329"/>
                </a:cubicBezTo>
                <a:cubicBezTo>
                  <a:pt x="15" y="310"/>
                  <a:pt x="10" y="292"/>
                  <a:pt x="6" y="273"/>
                </a:cubicBezTo>
                <a:cubicBezTo>
                  <a:pt x="5" y="265"/>
                  <a:pt x="5" y="256"/>
                  <a:pt x="5" y="248"/>
                </a:cubicBezTo>
                <a:cubicBezTo>
                  <a:pt x="5" y="246"/>
                  <a:pt x="6" y="243"/>
                  <a:pt x="7" y="242"/>
                </a:cubicBezTo>
                <a:cubicBezTo>
                  <a:pt x="14" y="239"/>
                  <a:pt x="10" y="232"/>
                  <a:pt x="12" y="229"/>
                </a:cubicBezTo>
                <a:cubicBezTo>
                  <a:pt x="16" y="222"/>
                  <a:pt x="11" y="220"/>
                  <a:pt x="8" y="216"/>
                </a:cubicBezTo>
                <a:cubicBezTo>
                  <a:pt x="6" y="213"/>
                  <a:pt x="5" y="209"/>
                  <a:pt x="5" y="205"/>
                </a:cubicBezTo>
                <a:cubicBezTo>
                  <a:pt x="3" y="193"/>
                  <a:pt x="1" y="181"/>
                  <a:pt x="0" y="169"/>
                </a:cubicBezTo>
                <a:cubicBezTo>
                  <a:pt x="0" y="161"/>
                  <a:pt x="1" y="153"/>
                  <a:pt x="2" y="145"/>
                </a:cubicBezTo>
                <a:cubicBezTo>
                  <a:pt x="2" y="140"/>
                  <a:pt x="5" y="139"/>
                  <a:pt x="10" y="141"/>
                </a:cubicBezTo>
                <a:cubicBezTo>
                  <a:pt x="14" y="142"/>
                  <a:pt x="18" y="143"/>
                  <a:pt x="22" y="144"/>
                </a:cubicBezTo>
                <a:cubicBezTo>
                  <a:pt x="28" y="146"/>
                  <a:pt x="33" y="146"/>
                  <a:pt x="37" y="140"/>
                </a:cubicBezTo>
                <a:cubicBezTo>
                  <a:pt x="42" y="134"/>
                  <a:pt x="51" y="118"/>
                  <a:pt x="52" y="108"/>
                </a:cubicBezTo>
                <a:cubicBezTo>
                  <a:pt x="54" y="102"/>
                  <a:pt x="55" y="101"/>
                  <a:pt x="62" y="104"/>
                </a:cubicBezTo>
                <a:cubicBezTo>
                  <a:pt x="74" y="111"/>
                  <a:pt x="76" y="110"/>
                  <a:pt x="82" y="102"/>
                </a:cubicBezTo>
                <a:cubicBezTo>
                  <a:pt x="90" y="91"/>
                  <a:pt x="91" y="80"/>
                  <a:pt x="84" y="73"/>
                </a:cubicBezTo>
                <a:cubicBezTo>
                  <a:pt x="83" y="71"/>
                  <a:pt x="81" y="69"/>
                  <a:pt x="80" y="68"/>
                </a:cubicBezTo>
                <a:cubicBezTo>
                  <a:pt x="77" y="65"/>
                  <a:pt x="75" y="64"/>
                  <a:pt x="73" y="62"/>
                </a:cubicBezTo>
                <a:cubicBezTo>
                  <a:pt x="75" y="61"/>
                  <a:pt x="78" y="62"/>
                  <a:pt x="81" y="61"/>
                </a:cubicBezTo>
                <a:cubicBezTo>
                  <a:pt x="85" y="59"/>
                  <a:pt x="92" y="58"/>
                  <a:pt x="92" y="55"/>
                </a:cubicBezTo>
                <a:cubicBezTo>
                  <a:pt x="95" y="44"/>
                  <a:pt x="104" y="44"/>
                  <a:pt x="111" y="42"/>
                </a:cubicBezTo>
                <a:cubicBezTo>
                  <a:pt x="114" y="42"/>
                  <a:pt x="116" y="40"/>
                  <a:pt x="118" y="39"/>
                </a:cubicBezTo>
                <a:cubicBezTo>
                  <a:pt x="116" y="38"/>
                  <a:pt x="114" y="35"/>
                  <a:pt x="112" y="35"/>
                </a:cubicBezTo>
                <a:cubicBezTo>
                  <a:pt x="106" y="33"/>
                  <a:pt x="100" y="32"/>
                  <a:pt x="93" y="32"/>
                </a:cubicBezTo>
                <a:cubicBezTo>
                  <a:pt x="88" y="32"/>
                  <a:pt x="84" y="33"/>
                  <a:pt x="87" y="25"/>
                </a:cubicBezTo>
                <a:cubicBezTo>
                  <a:pt x="89" y="21"/>
                  <a:pt x="89" y="14"/>
                  <a:pt x="92" y="12"/>
                </a:cubicBezTo>
                <a:cubicBezTo>
                  <a:pt x="98" y="9"/>
                  <a:pt x="106" y="8"/>
                  <a:pt x="113" y="6"/>
                </a:cubicBezTo>
                <a:cubicBezTo>
                  <a:pt x="117" y="5"/>
                  <a:pt x="121" y="4"/>
                  <a:pt x="126" y="2"/>
                </a:cubicBezTo>
                <a:cubicBezTo>
                  <a:pt x="131" y="0"/>
                  <a:pt x="133" y="2"/>
                  <a:pt x="133" y="8"/>
                </a:cubicBezTo>
                <a:cubicBezTo>
                  <a:pt x="133" y="25"/>
                  <a:pt x="140" y="32"/>
                  <a:pt x="156" y="34"/>
                </a:cubicBezTo>
                <a:cubicBezTo>
                  <a:pt x="162" y="35"/>
                  <a:pt x="170" y="37"/>
                  <a:pt x="171" y="41"/>
                </a:cubicBezTo>
                <a:cubicBezTo>
                  <a:pt x="177" y="55"/>
                  <a:pt x="188" y="55"/>
                  <a:pt x="199" y="56"/>
                </a:cubicBezTo>
                <a:cubicBezTo>
                  <a:pt x="211" y="57"/>
                  <a:pt x="223" y="56"/>
                  <a:pt x="235" y="56"/>
                </a:cubicBezTo>
                <a:cubicBezTo>
                  <a:pt x="241" y="56"/>
                  <a:pt x="244" y="58"/>
                  <a:pt x="246" y="64"/>
                </a:cubicBezTo>
                <a:cubicBezTo>
                  <a:pt x="251" y="81"/>
                  <a:pt x="259" y="83"/>
                  <a:pt x="274" y="72"/>
                </a:cubicBezTo>
                <a:cubicBezTo>
                  <a:pt x="276" y="71"/>
                  <a:pt x="279" y="71"/>
                  <a:pt x="281" y="70"/>
                </a:cubicBezTo>
                <a:cubicBezTo>
                  <a:pt x="284" y="68"/>
                  <a:pt x="287" y="66"/>
                  <a:pt x="288" y="64"/>
                </a:cubicBezTo>
                <a:cubicBezTo>
                  <a:pt x="293" y="56"/>
                  <a:pt x="297" y="49"/>
                  <a:pt x="302" y="41"/>
                </a:cubicBezTo>
                <a:cubicBezTo>
                  <a:pt x="303" y="40"/>
                  <a:pt x="306" y="39"/>
                  <a:pt x="308" y="38"/>
                </a:cubicBezTo>
                <a:cubicBezTo>
                  <a:pt x="319" y="36"/>
                  <a:pt x="329" y="33"/>
                  <a:pt x="339" y="31"/>
                </a:cubicBezTo>
                <a:cubicBezTo>
                  <a:pt x="342" y="30"/>
                  <a:pt x="345" y="31"/>
                  <a:pt x="347" y="33"/>
                </a:cubicBezTo>
                <a:cubicBezTo>
                  <a:pt x="350" y="36"/>
                  <a:pt x="349" y="39"/>
                  <a:pt x="346" y="42"/>
                </a:cubicBezTo>
                <a:cubicBezTo>
                  <a:pt x="339" y="49"/>
                  <a:pt x="344" y="59"/>
                  <a:pt x="353" y="58"/>
                </a:cubicBezTo>
                <a:cubicBezTo>
                  <a:pt x="371" y="58"/>
                  <a:pt x="390" y="59"/>
                  <a:pt x="406" y="48"/>
                </a:cubicBezTo>
                <a:cubicBezTo>
                  <a:pt x="409" y="46"/>
                  <a:pt x="414" y="46"/>
                  <a:pt x="416" y="47"/>
                </a:cubicBezTo>
                <a:cubicBezTo>
                  <a:pt x="433" y="57"/>
                  <a:pt x="448" y="55"/>
                  <a:pt x="464" y="45"/>
                </a:cubicBezTo>
                <a:cubicBezTo>
                  <a:pt x="468" y="42"/>
                  <a:pt x="474" y="40"/>
                  <a:pt x="479" y="39"/>
                </a:cubicBezTo>
                <a:cubicBezTo>
                  <a:pt x="484" y="39"/>
                  <a:pt x="489" y="43"/>
                  <a:pt x="494" y="45"/>
                </a:cubicBezTo>
                <a:cubicBezTo>
                  <a:pt x="496" y="46"/>
                  <a:pt x="498" y="50"/>
                  <a:pt x="500" y="50"/>
                </a:cubicBezTo>
                <a:cubicBezTo>
                  <a:pt x="511" y="51"/>
                  <a:pt x="523" y="52"/>
                  <a:pt x="534" y="50"/>
                </a:cubicBezTo>
                <a:cubicBezTo>
                  <a:pt x="542" y="50"/>
                  <a:pt x="547" y="50"/>
                  <a:pt x="553" y="56"/>
                </a:cubicBezTo>
                <a:cubicBezTo>
                  <a:pt x="556" y="60"/>
                  <a:pt x="560" y="63"/>
                  <a:pt x="565" y="65"/>
                </a:cubicBezTo>
                <a:cubicBezTo>
                  <a:pt x="571" y="68"/>
                  <a:pt x="570" y="70"/>
                  <a:pt x="565" y="73"/>
                </a:cubicBezTo>
                <a:cubicBezTo>
                  <a:pt x="555" y="80"/>
                  <a:pt x="555" y="86"/>
                  <a:pt x="562" y="95"/>
                </a:cubicBezTo>
                <a:cubicBezTo>
                  <a:pt x="564" y="98"/>
                  <a:pt x="566" y="102"/>
                  <a:pt x="566" y="106"/>
                </a:cubicBezTo>
                <a:cubicBezTo>
                  <a:pt x="568" y="115"/>
                  <a:pt x="560" y="125"/>
                  <a:pt x="570" y="133"/>
                </a:cubicBezTo>
                <a:cubicBezTo>
                  <a:pt x="573" y="135"/>
                  <a:pt x="572" y="143"/>
                  <a:pt x="564" y="146"/>
                </a:cubicBezTo>
                <a:cubicBezTo>
                  <a:pt x="555" y="150"/>
                  <a:pt x="554" y="151"/>
                  <a:pt x="560" y="160"/>
                </a:cubicBezTo>
                <a:cubicBezTo>
                  <a:pt x="563" y="165"/>
                  <a:pt x="565" y="168"/>
                  <a:pt x="559" y="172"/>
                </a:cubicBezTo>
                <a:cubicBezTo>
                  <a:pt x="553" y="176"/>
                  <a:pt x="558" y="181"/>
                  <a:pt x="561" y="184"/>
                </a:cubicBezTo>
                <a:cubicBezTo>
                  <a:pt x="568" y="192"/>
                  <a:pt x="577" y="199"/>
                  <a:pt x="584" y="207"/>
                </a:cubicBezTo>
                <a:cubicBezTo>
                  <a:pt x="586" y="209"/>
                  <a:pt x="587" y="212"/>
                  <a:pt x="586" y="213"/>
                </a:cubicBezTo>
                <a:cubicBezTo>
                  <a:pt x="585" y="215"/>
                  <a:pt x="582" y="216"/>
                  <a:pt x="580" y="218"/>
                </a:cubicBezTo>
                <a:cubicBezTo>
                  <a:pt x="579" y="218"/>
                  <a:pt x="578" y="218"/>
                  <a:pt x="577" y="217"/>
                </a:cubicBezTo>
                <a:cubicBezTo>
                  <a:pt x="572" y="214"/>
                  <a:pt x="567" y="212"/>
                  <a:pt x="561" y="218"/>
                </a:cubicBezTo>
                <a:cubicBezTo>
                  <a:pt x="555" y="225"/>
                  <a:pt x="546" y="229"/>
                  <a:pt x="547" y="241"/>
                </a:cubicBezTo>
                <a:cubicBezTo>
                  <a:pt x="547" y="243"/>
                  <a:pt x="547" y="246"/>
                  <a:pt x="547" y="249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D2DF97BC-2ECE-4846-9184-FCCB2BC06762}"/>
              </a:ext>
            </a:extLst>
          </p:cNvPr>
          <p:cNvSpPr>
            <a:spLocks/>
          </p:cNvSpPr>
          <p:nvPr userDrawn="1"/>
        </p:nvSpPr>
        <p:spPr bwMode="auto">
          <a:xfrm>
            <a:off x="8266113" y="2111375"/>
            <a:ext cx="1212850" cy="1182688"/>
          </a:xfrm>
          <a:custGeom>
            <a:avLst/>
            <a:gdLst>
              <a:gd name="T0" fmla="*/ 33 w 511"/>
              <a:gd name="T1" fmla="*/ 244 h 499"/>
              <a:gd name="T2" fmla="*/ 11 w 511"/>
              <a:gd name="T3" fmla="*/ 198 h 499"/>
              <a:gd name="T4" fmla="*/ 28 w 511"/>
              <a:gd name="T5" fmla="*/ 178 h 499"/>
              <a:gd name="T6" fmla="*/ 9 w 511"/>
              <a:gd name="T7" fmla="*/ 94 h 499"/>
              <a:gd name="T8" fmla="*/ 15 w 511"/>
              <a:gd name="T9" fmla="*/ 27 h 499"/>
              <a:gd name="T10" fmla="*/ 54 w 511"/>
              <a:gd name="T11" fmla="*/ 5 h 499"/>
              <a:gd name="T12" fmla="*/ 47 w 511"/>
              <a:gd name="T13" fmla="*/ 47 h 499"/>
              <a:gd name="T14" fmla="*/ 67 w 511"/>
              <a:gd name="T15" fmla="*/ 52 h 499"/>
              <a:gd name="T16" fmla="*/ 78 w 511"/>
              <a:gd name="T17" fmla="*/ 36 h 499"/>
              <a:gd name="T18" fmla="*/ 92 w 511"/>
              <a:gd name="T19" fmla="*/ 47 h 499"/>
              <a:gd name="T20" fmla="*/ 110 w 511"/>
              <a:gd name="T21" fmla="*/ 68 h 499"/>
              <a:gd name="T22" fmla="*/ 115 w 511"/>
              <a:gd name="T23" fmla="*/ 84 h 499"/>
              <a:gd name="T24" fmla="*/ 132 w 511"/>
              <a:gd name="T25" fmla="*/ 99 h 499"/>
              <a:gd name="T26" fmla="*/ 183 w 511"/>
              <a:gd name="T27" fmla="*/ 120 h 499"/>
              <a:gd name="T28" fmla="*/ 222 w 511"/>
              <a:gd name="T29" fmla="*/ 132 h 499"/>
              <a:gd name="T30" fmla="*/ 246 w 511"/>
              <a:gd name="T31" fmla="*/ 140 h 499"/>
              <a:gd name="T32" fmla="*/ 281 w 511"/>
              <a:gd name="T33" fmla="*/ 165 h 499"/>
              <a:gd name="T34" fmla="*/ 328 w 511"/>
              <a:gd name="T35" fmla="*/ 198 h 499"/>
              <a:gd name="T36" fmla="*/ 373 w 511"/>
              <a:gd name="T37" fmla="*/ 210 h 499"/>
              <a:gd name="T38" fmla="*/ 397 w 511"/>
              <a:gd name="T39" fmla="*/ 227 h 499"/>
              <a:gd name="T40" fmla="*/ 432 w 511"/>
              <a:gd name="T41" fmla="*/ 232 h 499"/>
              <a:gd name="T42" fmla="*/ 463 w 511"/>
              <a:gd name="T43" fmla="*/ 236 h 499"/>
              <a:gd name="T44" fmla="*/ 481 w 511"/>
              <a:gd name="T45" fmla="*/ 269 h 499"/>
              <a:gd name="T46" fmla="*/ 485 w 511"/>
              <a:gd name="T47" fmla="*/ 285 h 499"/>
              <a:gd name="T48" fmla="*/ 474 w 511"/>
              <a:gd name="T49" fmla="*/ 306 h 499"/>
              <a:gd name="T50" fmla="*/ 474 w 511"/>
              <a:gd name="T51" fmla="*/ 326 h 499"/>
              <a:gd name="T52" fmla="*/ 508 w 511"/>
              <a:gd name="T53" fmla="*/ 351 h 499"/>
              <a:gd name="T54" fmla="*/ 505 w 511"/>
              <a:gd name="T55" fmla="*/ 357 h 499"/>
              <a:gd name="T56" fmla="*/ 492 w 511"/>
              <a:gd name="T57" fmla="*/ 360 h 499"/>
              <a:gd name="T58" fmla="*/ 438 w 511"/>
              <a:gd name="T59" fmla="*/ 391 h 499"/>
              <a:gd name="T60" fmla="*/ 436 w 511"/>
              <a:gd name="T61" fmla="*/ 434 h 499"/>
              <a:gd name="T62" fmla="*/ 431 w 511"/>
              <a:gd name="T63" fmla="*/ 457 h 499"/>
              <a:gd name="T64" fmla="*/ 398 w 511"/>
              <a:gd name="T65" fmla="*/ 495 h 499"/>
              <a:gd name="T66" fmla="*/ 391 w 511"/>
              <a:gd name="T67" fmla="*/ 451 h 499"/>
              <a:gd name="T68" fmla="*/ 379 w 511"/>
              <a:gd name="T69" fmla="*/ 437 h 499"/>
              <a:gd name="T70" fmla="*/ 336 w 511"/>
              <a:gd name="T71" fmla="*/ 423 h 499"/>
              <a:gd name="T72" fmla="*/ 280 w 511"/>
              <a:gd name="T73" fmla="*/ 406 h 499"/>
              <a:gd name="T74" fmla="*/ 249 w 511"/>
              <a:gd name="T75" fmla="*/ 408 h 499"/>
              <a:gd name="T76" fmla="*/ 227 w 511"/>
              <a:gd name="T77" fmla="*/ 405 h 499"/>
              <a:gd name="T78" fmla="*/ 221 w 511"/>
              <a:gd name="T79" fmla="*/ 399 h 499"/>
              <a:gd name="T80" fmla="*/ 181 w 511"/>
              <a:gd name="T81" fmla="*/ 393 h 499"/>
              <a:gd name="T82" fmla="*/ 155 w 511"/>
              <a:gd name="T83" fmla="*/ 393 h 499"/>
              <a:gd name="T84" fmla="*/ 129 w 511"/>
              <a:gd name="T85" fmla="*/ 395 h 499"/>
              <a:gd name="T86" fmla="*/ 119 w 511"/>
              <a:gd name="T87" fmla="*/ 369 h 499"/>
              <a:gd name="T88" fmla="*/ 92 w 511"/>
              <a:gd name="T89" fmla="*/ 378 h 499"/>
              <a:gd name="T90" fmla="*/ 98 w 511"/>
              <a:gd name="T91" fmla="*/ 420 h 499"/>
              <a:gd name="T92" fmla="*/ 111 w 511"/>
              <a:gd name="T93" fmla="*/ 445 h 499"/>
              <a:gd name="T94" fmla="*/ 102 w 511"/>
              <a:gd name="T95" fmla="*/ 467 h 499"/>
              <a:gd name="T96" fmla="*/ 72 w 511"/>
              <a:gd name="T97" fmla="*/ 450 h 499"/>
              <a:gd name="T98" fmla="*/ 77 w 511"/>
              <a:gd name="T99" fmla="*/ 389 h 499"/>
              <a:gd name="T100" fmla="*/ 108 w 511"/>
              <a:gd name="T101" fmla="*/ 352 h 499"/>
              <a:gd name="T102" fmla="*/ 123 w 511"/>
              <a:gd name="T103" fmla="*/ 327 h 499"/>
              <a:gd name="T104" fmla="*/ 125 w 511"/>
              <a:gd name="T105" fmla="*/ 291 h 499"/>
              <a:gd name="T106" fmla="*/ 71 w 511"/>
              <a:gd name="T107" fmla="*/ 263 h 499"/>
              <a:gd name="T108" fmla="*/ 50 w 511"/>
              <a:gd name="T109" fmla="*/ 262 h 499"/>
              <a:gd name="T110" fmla="*/ 24 w 511"/>
              <a:gd name="T111" fmla="*/ 266 h 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1" h="499">
                <a:moveTo>
                  <a:pt x="24" y="266"/>
                </a:moveTo>
                <a:cubicBezTo>
                  <a:pt x="27" y="258"/>
                  <a:pt x="31" y="251"/>
                  <a:pt x="33" y="244"/>
                </a:cubicBezTo>
                <a:cubicBezTo>
                  <a:pt x="34" y="241"/>
                  <a:pt x="32" y="235"/>
                  <a:pt x="30" y="233"/>
                </a:cubicBezTo>
                <a:cubicBezTo>
                  <a:pt x="20" y="223"/>
                  <a:pt x="16" y="211"/>
                  <a:pt x="11" y="198"/>
                </a:cubicBezTo>
                <a:cubicBezTo>
                  <a:pt x="10" y="193"/>
                  <a:pt x="10" y="192"/>
                  <a:pt x="14" y="190"/>
                </a:cubicBezTo>
                <a:cubicBezTo>
                  <a:pt x="19" y="186"/>
                  <a:pt x="27" y="183"/>
                  <a:pt x="28" y="178"/>
                </a:cubicBezTo>
                <a:cubicBezTo>
                  <a:pt x="30" y="170"/>
                  <a:pt x="29" y="159"/>
                  <a:pt x="26" y="151"/>
                </a:cubicBezTo>
                <a:cubicBezTo>
                  <a:pt x="18" y="133"/>
                  <a:pt x="11" y="114"/>
                  <a:pt x="9" y="94"/>
                </a:cubicBezTo>
                <a:cubicBezTo>
                  <a:pt x="9" y="89"/>
                  <a:pt x="8" y="84"/>
                  <a:pt x="7" y="80"/>
                </a:cubicBezTo>
                <a:cubicBezTo>
                  <a:pt x="0" y="61"/>
                  <a:pt x="5" y="43"/>
                  <a:pt x="15" y="27"/>
                </a:cubicBezTo>
                <a:cubicBezTo>
                  <a:pt x="21" y="17"/>
                  <a:pt x="31" y="9"/>
                  <a:pt x="41" y="1"/>
                </a:cubicBezTo>
                <a:cubicBezTo>
                  <a:pt x="43" y="0"/>
                  <a:pt x="49" y="3"/>
                  <a:pt x="54" y="5"/>
                </a:cubicBezTo>
                <a:cubicBezTo>
                  <a:pt x="53" y="8"/>
                  <a:pt x="53" y="12"/>
                  <a:pt x="51" y="14"/>
                </a:cubicBezTo>
                <a:cubicBezTo>
                  <a:pt x="40" y="24"/>
                  <a:pt x="45" y="36"/>
                  <a:pt x="47" y="47"/>
                </a:cubicBezTo>
                <a:cubicBezTo>
                  <a:pt x="48" y="51"/>
                  <a:pt x="51" y="52"/>
                  <a:pt x="56" y="51"/>
                </a:cubicBezTo>
                <a:cubicBezTo>
                  <a:pt x="59" y="50"/>
                  <a:pt x="63" y="50"/>
                  <a:pt x="67" y="52"/>
                </a:cubicBezTo>
                <a:cubicBezTo>
                  <a:pt x="76" y="55"/>
                  <a:pt x="79" y="52"/>
                  <a:pt x="79" y="42"/>
                </a:cubicBezTo>
                <a:cubicBezTo>
                  <a:pt x="79" y="40"/>
                  <a:pt x="78" y="38"/>
                  <a:pt x="78" y="36"/>
                </a:cubicBezTo>
                <a:cubicBezTo>
                  <a:pt x="80" y="37"/>
                  <a:pt x="82" y="39"/>
                  <a:pt x="84" y="40"/>
                </a:cubicBezTo>
                <a:cubicBezTo>
                  <a:pt x="87" y="43"/>
                  <a:pt x="89" y="45"/>
                  <a:pt x="92" y="47"/>
                </a:cubicBezTo>
                <a:cubicBezTo>
                  <a:pt x="95" y="50"/>
                  <a:pt x="97" y="53"/>
                  <a:pt x="100" y="56"/>
                </a:cubicBezTo>
                <a:cubicBezTo>
                  <a:pt x="103" y="60"/>
                  <a:pt x="106" y="65"/>
                  <a:pt x="110" y="68"/>
                </a:cubicBezTo>
                <a:cubicBezTo>
                  <a:pt x="114" y="71"/>
                  <a:pt x="118" y="73"/>
                  <a:pt x="113" y="79"/>
                </a:cubicBezTo>
                <a:cubicBezTo>
                  <a:pt x="112" y="79"/>
                  <a:pt x="114" y="82"/>
                  <a:pt x="115" y="84"/>
                </a:cubicBezTo>
                <a:cubicBezTo>
                  <a:pt x="117" y="88"/>
                  <a:pt x="120" y="92"/>
                  <a:pt x="123" y="95"/>
                </a:cubicBezTo>
                <a:cubicBezTo>
                  <a:pt x="125" y="97"/>
                  <a:pt x="129" y="98"/>
                  <a:pt x="132" y="99"/>
                </a:cubicBezTo>
                <a:cubicBezTo>
                  <a:pt x="138" y="102"/>
                  <a:pt x="145" y="103"/>
                  <a:pt x="149" y="107"/>
                </a:cubicBezTo>
                <a:cubicBezTo>
                  <a:pt x="159" y="116"/>
                  <a:pt x="169" y="123"/>
                  <a:pt x="183" y="120"/>
                </a:cubicBezTo>
                <a:cubicBezTo>
                  <a:pt x="191" y="129"/>
                  <a:pt x="202" y="127"/>
                  <a:pt x="213" y="126"/>
                </a:cubicBezTo>
                <a:cubicBezTo>
                  <a:pt x="216" y="126"/>
                  <a:pt x="219" y="130"/>
                  <a:pt x="222" y="132"/>
                </a:cubicBezTo>
                <a:cubicBezTo>
                  <a:pt x="227" y="135"/>
                  <a:pt x="231" y="142"/>
                  <a:pt x="239" y="137"/>
                </a:cubicBezTo>
                <a:cubicBezTo>
                  <a:pt x="240" y="136"/>
                  <a:pt x="243" y="138"/>
                  <a:pt x="246" y="140"/>
                </a:cubicBezTo>
                <a:cubicBezTo>
                  <a:pt x="255" y="145"/>
                  <a:pt x="265" y="150"/>
                  <a:pt x="274" y="156"/>
                </a:cubicBezTo>
                <a:cubicBezTo>
                  <a:pt x="277" y="158"/>
                  <a:pt x="279" y="161"/>
                  <a:pt x="281" y="165"/>
                </a:cubicBezTo>
                <a:cubicBezTo>
                  <a:pt x="290" y="182"/>
                  <a:pt x="309" y="187"/>
                  <a:pt x="324" y="198"/>
                </a:cubicBezTo>
                <a:cubicBezTo>
                  <a:pt x="325" y="199"/>
                  <a:pt x="327" y="199"/>
                  <a:pt x="328" y="198"/>
                </a:cubicBezTo>
                <a:cubicBezTo>
                  <a:pt x="338" y="192"/>
                  <a:pt x="344" y="198"/>
                  <a:pt x="351" y="204"/>
                </a:cubicBezTo>
                <a:cubicBezTo>
                  <a:pt x="358" y="209"/>
                  <a:pt x="365" y="211"/>
                  <a:pt x="373" y="210"/>
                </a:cubicBezTo>
                <a:cubicBezTo>
                  <a:pt x="380" y="209"/>
                  <a:pt x="384" y="211"/>
                  <a:pt x="385" y="218"/>
                </a:cubicBezTo>
                <a:cubicBezTo>
                  <a:pt x="386" y="225"/>
                  <a:pt x="391" y="226"/>
                  <a:pt x="397" y="227"/>
                </a:cubicBezTo>
                <a:cubicBezTo>
                  <a:pt x="406" y="227"/>
                  <a:pt x="415" y="225"/>
                  <a:pt x="421" y="234"/>
                </a:cubicBezTo>
                <a:cubicBezTo>
                  <a:pt x="422" y="235"/>
                  <a:pt x="431" y="234"/>
                  <a:pt x="432" y="232"/>
                </a:cubicBezTo>
                <a:cubicBezTo>
                  <a:pt x="435" y="225"/>
                  <a:pt x="439" y="224"/>
                  <a:pt x="445" y="225"/>
                </a:cubicBezTo>
                <a:cubicBezTo>
                  <a:pt x="452" y="227"/>
                  <a:pt x="460" y="228"/>
                  <a:pt x="463" y="236"/>
                </a:cubicBezTo>
                <a:cubicBezTo>
                  <a:pt x="466" y="243"/>
                  <a:pt x="469" y="251"/>
                  <a:pt x="471" y="258"/>
                </a:cubicBezTo>
                <a:cubicBezTo>
                  <a:pt x="473" y="264"/>
                  <a:pt x="475" y="267"/>
                  <a:pt x="481" y="269"/>
                </a:cubicBezTo>
                <a:cubicBezTo>
                  <a:pt x="484" y="270"/>
                  <a:pt x="487" y="273"/>
                  <a:pt x="489" y="276"/>
                </a:cubicBezTo>
                <a:cubicBezTo>
                  <a:pt x="492" y="280"/>
                  <a:pt x="494" y="284"/>
                  <a:pt x="485" y="285"/>
                </a:cubicBezTo>
                <a:cubicBezTo>
                  <a:pt x="481" y="285"/>
                  <a:pt x="476" y="289"/>
                  <a:pt x="472" y="292"/>
                </a:cubicBezTo>
                <a:cubicBezTo>
                  <a:pt x="465" y="298"/>
                  <a:pt x="465" y="302"/>
                  <a:pt x="474" y="306"/>
                </a:cubicBezTo>
                <a:cubicBezTo>
                  <a:pt x="481" y="310"/>
                  <a:pt x="482" y="313"/>
                  <a:pt x="475" y="316"/>
                </a:cubicBezTo>
                <a:cubicBezTo>
                  <a:pt x="470" y="319"/>
                  <a:pt x="470" y="322"/>
                  <a:pt x="474" y="326"/>
                </a:cubicBezTo>
                <a:cubicBezTo>
                  <a:pt x="482" y="335"/>
                  <a:pt x="488" y="347"/>
                  <a:pt x="503" y="347"/>
                </a:cubicBezTo>
                <a:cubicBezTo>
                  <a:pt x="505" y="347"/>
                  <a:pt x="507" y="349"/>
                  <a:pt x="508" y="351"/>
                </a:cubicBezTo>
                <a:cubicBezTo>
                  <a:pt x="510" y="352"/>
                  <a:pt x="510" y="354"/>
                  <a:pt x="511" y="356"/>
                </a:cubicBezTo>
                <a:cubicBezTo>
                  <a:pt x="509" y="357"/>
                  <a:pt x="507" y="358"/>
                  <a:pt x="505" y="357"/>
                </a:cubicBezTo>
                <a:cubicBezTo>
                  <a:pt x="501" y="355"/>
                  <a:pt x="498" y="353"/>
                  <a:pt x="496" y="359"/>
                </a:cubicBezTo>
                <a:cubicBezTo>
                  <a:pt x="495" y="360"/>
                  <a:pt x="493" y="361"/>
                  <a:pt x="492" y="360"/>
                </a:cubicBezTo>
                <a:cubicBezTo>
                  <a:pt x="481" y="352"/>
                  <a:pt x="476" y="361"/>
                  <a:pt x="471" y="367"/>
                </a:cubicBezTo>
                <a:cubicBezTo>
                  <a:pt x="461" y="378"/>
                  <a:pt x="451" y="387"/>
                  <a:pt x="438" y="391"/>
                </a:cubicBezTo>
                <a:cubicBezTo>
                  <a:pt x="431" y="393"/>
                  <a:pt x="428" y="398"/>
                  <a:pt x="428" y="405"/>
                </a:cubicBezTo>
                <a:cubicBezTo>
                  <a:pt x="428" y="415"/>
                  <a:pt x="425" y="426"/>
                  <a:pt x="436" y="434"/>
                </a:cubicBezTo>
                <a:cubicBezTo>
                  <a:pt x="441" y="438"/>
                  <a:pt x="440" y="444"/>
                  <a:pt x="434" y="450"/>
                </a:cubicBezTo>
                <a:cubicBezTo>
                  <a:pt x="433" y="452"/>
                  <a:pt x="431" y="455"/>
                  <a:pt x="431" y="457"/>
                </a:cubicBezTo>
                <a:cubicBezTo>
                  <a:pt x="436" y="472"/>
                  <a:pt x="427" y="482"/>
                  <a:pt x="420" y="492"/>
                </a:cubicBezTo>
                <a:cubicBezTo>
                  <a:pt x="415" y="498"/>
                  <a:pt x="405" y="499"/>
                  <a:pt x="398" y="495"/>
                </a:cubicBezTo>
                <a:cubicBezTo>
                  <a:pt x="392" y="492"/>
                  <a:pt x="385" y="480"/>
                  <a:pt x="386" y="474"/>
                </a:cubicBezTo>
                <a:cubicBezTo>
                  <a:pt x="387" y="466"/>
                  <a:pt x="389" y="458"/>
                  <a:pt x="391" y="451"/>
                </a:cubicBezTo>
                <a:cubicBezTo>
                  <a:pt x="393" y="444"/>
                  <a:pt x="391" y="440"/>
                  <a:pt x="384" y="438"/>
                </a:cubicBezTo>
                <a:cubicBezTo>
                  <a:pt x="382" y="438"/>
                  <a:pt x="380" y="437"/>
                  <a:pt x="379" y="437"/>
                </a:cubicBezTo>
                <a:cubicBezTo>
                  <a:pt x="364" y="440"/>
                  <a:pt x="353" y="429"/>
                  <a:pt x="341" y="426"/>
                </a:cubicBezTo>
                <a:cubicBezTo>
                  <a:pt x="339" y="425"/>
                  <a:pt x="337" y="424"/>
                  <a:pt x="336" y="423"/>
                </a:cubicBezTo>
                <a:cubicBezTo>
                  <a:pt x="327" y="411"/>
                  <a:pt x="312" y="409"/>
                  <a:pt x="300" y="403"/>
                </a:cubicBezTo>
                <a:cubicBezTo>
                  <a:pt x="292" y="399"/>
                  <a:pt x="286" y="400"/>
                  <a:pt x="280" y="406"/>
                </a:cubicBezTo>
                <a:cubicBezTo>
                  <a:pt x="277" y="409"/>
                  <a:pt x="274" y="413"/>
                  <a:pt x="270" y="414"/>
                </a:cubicBezTo>
                <a:cubicBezTo>
                  <a:pt x="262" y="416"/>
                  <a:pt x="253" y="416"/>
                  <a:pt x="249" y="408"/>
                </a:cubicBezTo>
                <a:cubicBezTo>
                  <a:pt x="244" y="399"/>
                  <a:pt x="238" y="399"/>
                  <a:pt x="231" y="404"/>
                </a:cubicBezTo>
                <a:cubicBezTo>
                  <a:pt x="230" y="404"/>
                  <a:pt x="229" y="405"/>
                  <a:pt x="227" y="405"/>
                </a:cubicBezTo>
                <a:cubicBezTo>
                  <a:pt x="224" y="406"/>
                  <a:pt x="221" y="407"/>
                  <a:pt x="218" y="408"/>
                </a:cubicBezTo>
                <a:cubicBezTo>
                  <a:pt x="219" y="405"/>
                  <a:pt x="220" y="402"/>
                  <a:pt x="221" y="399"/>
                </a:cubicBezTo>
                <a:cubicBezTo>
                  <a:pt x="223" y="389"/>
                  <a:pt x="213" y="379"/>
                  <a:pt x="202" y="382"/>
                </a:cubicBezTo>
                <a:cubicBezTo>
                  <a:pt x="195" y="384"/>
                  <a:pt x="188" y="389"/>
                  <a:pt x="181" y="393"/>
                </a:cubicBezTo>
                <a:cubicBezTo>
                  <a:pt x="176" y="396"/>
                  <a:pt x="170" y="399"/>
                  <a:pt x="165" y="400"/>
                </a:cubicBezTo>
                <a:cubicBezTo>
                  <a:pt x="160" y="402"/>
                  <a:pt x="153" y="403"/>
                  <a:pt x="155" y="393"/>
                </a:cubicBezTo>
                <a:cubicBezTo>
                  <a:pt x="156" y="389"/>
                  <a:pt x="143" y="388"/>
                  <a:pt x="138" y="391"/>
                </a:cubicBezTo>
                <a:cubicBezTo>
                  <a:pt x="135" y="393"/>
                  <a:pt x="132" y="395"/>
                  <a:pt x="129" y="395"/>
                </a:cubicBezTo>
                <a:cubicBezTo>
                  <a:pt x="124" y="395"/>
                  <a:pt x="119" y="394"/>
                  <a:pt x="123" y="387"/>
                </a:cubicBezTo>
                <a:cubicBezTo>
                  <a:pt x="127" y="380"/>
                  <a:pt x="122" y="374"/>
                  <a:pt x="119" y="369"/>
                </a:cubicBezTo>
                <a:cubicBezTo>
                  <a:pt x="115" y="364"/>
                  <a:pt x="109" y="363"/>
                  <a:pt x="105" y="368"/>
                </a:cubicBezTo>
                <a:cubicBezTo>
                  <a:pt x="101" y="372"/>
                  <a:pt x="99" y="377"/>
                  <a:pt x="92" y="378"/>
                </a:cubicBezTo>
                <a:cubicBezTo>
                  <a:pt x="91" y="378"/>
                  <a:pt x="89" y="384"/>
                  <a:pt x="90" y="386"/>
                </a:cubicBezTo>
                <a:cubicBezTo>
                  <a:pt x="92" y="398"/>
                  <a:pt x="95" y="409"/>
                  <a:pt x="98" y="420"/>
                </a:cubicBezTo>
                <a:cubicBezTo>
                  <a:pt x="99" y="422"/>
                  <a:pt x="101" y="425"/>
                  <a:pt x="101" y="428"/>
                </a:cubicBezTo>
                <a:cubicBezTo>
                  <a:pt x="100" y="436"/>
                  <a:pt x="101" y="442"/>
                  <a:pt x="111" y="445"/>
                </a:cubicBezTo>
                <a:cubicBezTo>
                  <a:pt x="117" y="447"/>
                  <a:pt x="118" y="459"/>
                  <a:pt x="114" y="464"/>
                </a:cubicBezTo>
                <a:cubicBezTo>
                  <a:pt x="110" y="468"/>
                  <a:pt x="107" y="469"/>
                  <a:pt x="102" y="467"/>
                </a:cubicBezTo>
                <a:cubicBezTo>
                  <a:pt x="93" y="462"/>
                  <a:pt x="84" y="457"/>
                  <a:pt x="75" y="453"/>
                </a:cubicBezTo>
                <a:cubicBezTo>
                  <a:pt x="74" y="452"/>
                  <a:pt x="73" y="451"/>
                  <a:pt x="72" y="450"/>
                </a:cubicBezTo>
                <a:cubicBezTo>
                  <a:pt x="68" y="444"/>
                  <a:pt x="68" y="419"/>
                  <a:pt x="73" y="415"/>
                </a:cubicBezTo>
                <a:cubicBezTo>
                  <a:pt x="81" y="407"/>
                  <a:pt x="81" y="398"/>
                  <a:pt x="77" y="389"/>
                </a:cubicBezTo>
                <a:cubicBezTo>
                  <a:pt x="74" y="380"/>
                  <a:pt x="80" y="370"/>
                  <a:pt x="90" y="368"/>
                </a:cubicBezTo>
                <a:cubicBezTo>
                  <a:pt x="99" y="367"/>
                  <a:pt x="106" y="363"/>
                  <a:pt x="108" y="352"/>
                </a:cubicBezTo>
                <a:cubicBezTo>
                  <a:pt x="108" y="349"/>
                  <a:pt x="112" y="347"/>
                  <a:pt x="114" y="343"/>
                </a:cubicBezTo>
                <a:cubicBezTo>
                  <a:pt x="117" y="338"/>
                  <a:pt x="120" y="333"/>
                  <a:pt x="123" y="327"/>
                </a:cubicBezTo>
                <a:cubicBezTo>
                  <a:pt x="124" y="324"/>
                  <a:pt x="123" y="320"/>
                  <a:pt x="125" y="319"/>
                </a:cubicBezTo>
                <a:cubicBezTo>
                  <a:pt x="138" y="309"/>
                  <a:pt x="127" y="300"/>
                  <a:pt x="125" y="291"/>
                </a:cubicBezTo>
                <a:cubicBezTo>
                  <a:pt x="122" y="282"/>
                  <a:pt x="114" y="278"/>
                  <a:pt x="105" y="275"/>
                </a:cubicBezTo>
                <a:cubicBezTo>
                  <a:pt x="94" y="271"/>
                  <a:pt x="82" y="266"/>
                  <a:pt x="71" y="263"/>
                </a:cubicBezTo>
                <a:cubicBezTo>
                  <a:pt x="67" y="261"/>
                  <a:pt x="63" y="261"/>
                  <a:pt x="59" y="261"/>
                </a:cubicBezTo>
                <a:cubicBezTo>
                  <a:pt x="56" y="261"/>
                  <a:pt x="53" y="263"/>
                  <a:pt x="50" y="262"/>
                </a:cubicBezTo>
                <a:cubicBezTo>
                  <a:pt x="40" y="257"/>
                  <a:pt x="32" y="261"/>
                  <a:pt x="24" y="265"/>
                </a:cubicBezTo>
                <a:lnTo>
                  <a:pt x="24" y="26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58AD1CCD-4B68-43E8-B637-D4A15684D059}"/>
              </a:ext>
            </a:extLst>
          </p:cNvPr>
          <p:cNvSpPr>
            <a:spLocks/>
          </p:cNvSpPr>
          <p:nvPr userDrawn="1"/>
        </p:nvSpPr>
        <p:spPr bwMode="auto">
          <a:xfrm>
            <a:off x="7648575" y="4279900"/>
            <a:ext cx="769938" cy="1243013"/>
          </a:xfrm>
          <a:custGeom>
            <a:avLst/>
            <a:gdLst>
              <a:gd name="T0" fmla="*/ 190 w 324"/>
              <a:gd name="T1" fmla="*/ 519 h 525"/>
              <a:gd name="T2" fmla="*/ 147 w 324"/>
              <a:gd name="T3" fmla="*/ 504 h 525"/>
              <a:gd name="T4" fmla="*/ 114 w 324"/>
              <a:gd name="T5" fmla="*/ 491 h 525"/>
              <a:gd name="T6" fmla="*/ 80 w 324"/>
              <a:gd name="T7" fmla="*/ 454 h 525"/>
              <a:gd name="T8" fmla="*/ 42 w 324"/>
              <a:gd name="T9" fmla="*/ 406 h 525"/>
              <a:gd name="T10" fmla="*/ 34 w 324"/>
              <a:gd name="T11" fmla="*/ 343 h 525"/>
              <a:gd name="T12" fmla="*/ 7 w 324"/>
              <a:gd name="T13" fmla="*/ 274 h 525"/>
              <a:gd name="T14" fmla="*/ 12 w 324"/>
              <a:gd name="T15" fmla="*/ 247 h 525"/>
              <a:gd name="T16" fmla="*/ 25 w 324"/>
              <a:gd name="T17" fmla="*/ 182 h 525"/>
              <a:gd name="T18" fmla="*/ 21 w 324"/>
              <a:gd name="T19" fmla="*/ 136 h 525"/>
              <a:gd name="T20" fmla="*/ 42 w 324"/>
              <a:gd name="T21" fmla="*/ 133 h 525"/>
              <a:gd name="T22" fmla="*/ 73 w 324"/>
              <a:gd name="T23" fmla="*/ 112 h 525"/>
              <a:gd name="T24" fmla="*/ 108 w 324"/>
              <a:gd name="T25" fmla="*/ 108 h 525"/>
              <a:gd name="T26" fmla="*/ 119 w 324"/>
              <a:gd name="T27" fmla="*/ 80 h 525"/>
              <a:gd name="T28" fmla="*/ 125 w 324"/>
              <a:gd name="T29" fmla="*/ 74 h 525"/>
              <a:gd name="T30" fmla="*/ 165 w 324"/>
              <a:gd name="T31" fmla="*/ 78 h 525"/>
              <a:gd name="T32" fmla="*/ 176 w 324"/>
              <a:gd name="T33" fmla="*/ 65 h 525"/>
              <a:gd name="T34" fmla="*/ 215 w 324"/>
              <a:gd name="T35" fmla="*/ 40 h 525"/>
              <a:gd name="T36" fmla="*/ 227 w 324"/>
              <a:gd name="T37" fmla="*/ 18 h 525"/>
              <a:gd name="T38" fmla="*/ 251 w 324"/>
              <a:gd name="T39" fmla="*/ 6 h 525"/>
              <a:gd name="T40" fmla="*/ 255 w 324"/>
              <a:gd name="T41" fmla="*/ 52 h 525"/>
              <a:gd name="T42" fmla="*/ 261 w 324"/>
              <a:gd name="T43" fmla="*/ 76 h 525"/>
              <a:gd name="T44" fmla="*/ 249 w 324"/>
              <a:gd name="T45" fmla="*/ 103 h 525"/>
              <a:gd name="T46" fmla="*/ 247 w 324"/>
              <a:gd name="T47" fmla="*/ 162 h 525"/>
              <a:gd name="T48" fmla="*/ 247 w 324"/>
              <a:gd name="T49" fmla="*/ 187 h 525"/>
              <a:gd name="T50" fmla="*/ 219 w 324"/>
              <a:gd name="T51" fmla="*/ 198 h 525"/>
              <a:gd name="T52" fmla="*/ 215 w 324"/>
              <a:gd name="T53" fmla="*/ 237 h 525"/>
              <a:gd name="T54" fmla="*/ 219 w 324"/>
              <a:gd name="T55" fmla="*/ 257 h 525"/>
              <a:gd name="T56" fmla="*/ 202 w 324"/>
              <a:gd name="T57" fmla="*/ 257 h 525"/>
              <a:gd name="T58" fmla="*/ 193 w 324"/>
              <a:gd name="T59" fmla="*/ 284 h 525"/>
              <a:gd name="T60" fmla="*/ 206 w 324"/>
              <a:gd name="T61" fmla="*/ 341 h 525"/>
              <a:gd name="T62" fmla="*/ 210 w 324"/>
              <a:gd name="T63" fmla="*/ 359 h 525"/>
              <a:gd name="T64" fmla="*/ 223 w 324"/>
              <a:gd name="T65" fmla="*/ 343 h 525"/>
              <a:gd name="T66" fmla="*/ 233 w 324"/>
              <a:gd name="T67" fmla="*/ 320 h 525"/>
              <a:gd name="T68" fmla="*/ 242 w 324"/>
              <a:gd name="T69" fmla="*/ 366 h 525"/>
              <a:gd name="T70" fmla="*/ 270 w 324"/>
              <a:gd name="T71" fmla="*/ 358 h 525"/>
              <a:gd name="T72" fmla="*/ 303 w 324"/>
              <a:gd name="T73" fmla="*/ 376 h 525"/>
              <a:gd name="T74" fmla="*/ 319 w 324"/>
              <a:gd name="T75" fmla="*/ 399 h 525"/>
              <a:gd name="T76" fmla="*/ 301 w 324"/>
              <a:gd name="T77" fmla="*/ 435 h 525"/>
              <a:gd name="T78" fmla="*/ 273 w 324"/>
              <a:gd name="T79" fmla="*/ 429 h 525"/>
              <a:gd name="T80" fmla="*/ 246 w 324"/>
              <a:gd name="T81" fmla="*/ 472 h 525"/>
              <a:gd name="T82" fmla="*/ 253 w 324"/>
              <a:gd name="T83" fmla="*/ 485 h 525"/>
              <a:gd name="T84" fmla="*/ 254 w 324"/>
              <a:gd name="T85" fmla="*/ 498 h 525"/>
              <a:gd name="T86" fmla="*/ 215 w 324"/>
              <a:gd name="T87" fmla="*/ 512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4" h="525">
                <a:moveTo>
                  <a:pt x="215" y="512"/>
                </a:moveTo>
                <a:cubicBezTo>
                  <a:pt x="205" y="510"/>
                  <a:pt x="196" y="508"/>
                  <a:pt x="190" y="519"/>
                </a:cubicBezTo>
                <a:cubicBezTo>
                  <a:pt x="186" y="525"/>
                  <a:pt x="169" y="523"/>
                  <a:pt x="161" y="517"/>
                </a:cubicBezTo>
                <a:cubicBezTo>
                  <a:pt x="156" y="512"/>
                  <a:pt x="152" y="507"/>
                  <a:pt x="147" y="504"/>
                </a:cubicBezTo>
                <a:cubicBezTo>
                  <a:pt x="140" y="499"/>
                  <a:pt x="134" y="492"/>
                  <a:pt x="124" y="496"/>
                </a:cubicBezTo>
                <a:cubicBezTo>
                  <a:pt x="121" y="496"/>
                  <a:pt x="117" y="493"/>
                  <a:pt x="114" y="491"/>
                </a:cubicBezTo>
                <a:cubicBezTo>
                  <a:pt x="107" y="486"/>
                  <a:pt x="101" y="480"/>
                  <a:pt x="94" y="475"/>
                </a:cubicBezTo>
                <a:cubicBezTo>
                  <a:pt x="86" y="470"/>
                  <a:pt x="81" y="463"/>
                  <a:pt x="80" y="454"/>
                </a:cubicBezTo>
                <a:cubicBezTo>
                  <a:pt x="79" y="447"/>
                  <a:pt x="75" y="443"/>
                  <a:pt x="69" y="441"/>
                </a:cubicBezTo>
                <a:cubicBezTo>
                  <a:pt x="53" y="435"/>
                  <a:pt x="44" y="424"/>
                  <a:pt x="42" y="406"/>
                </a:cubicBezTo>
                <a:cubicBezTo>
                  <a:pt x="40" y="391"/>
                  <a:pt x="34" y="377"/>
                  <a:pt x="37" y="361"/>
                </a:cubicBezTo>
                <a:cubicBezTo>
                  <a:pt x="38" y="356"/>
                  <a:pt x="37" y="348"/>
                  <a:pt x="34" y="343"/>
                </a:cubicBezTo>
                <a:cubicBezTo>
                  <a:pt x="24" y="326"/>
                  <a:pt x="20" y="307"/>
                  <a:pt x="17" y="288"/>
                </a:cubicBezTo>
                <a:cubicBezTo>
                  <a:pt x="15" y="282"/>
                  <a:pt x="14" y="277"/>
                  <a:pt x="7" y="274"/>
                </a:cubicBezTo>
                <a:cubicBezTo>
                  <a:pt x="1" y="272"/>
                  <a:pt x="0" y="267"/>
                  <a:pt x="6" y="263"/>
                </a:cubicBezTo>
                <a:cubicBezTo>
                  <a:pt x="12" y="259"/>
                  <a:pt x="12" y="254"/>
                  <a:pt x="12" y="247"/>
                </a:cubicBezTo>
                <a:cubicBezTo>
                  <a:pt x="12" y="243"/>
                  <a:pt x="13" y="239"/>
                  <a:pt x="12" y="235"/>
                </a:cubicBezTo>
                <a:cubicBezTo>
                  <a:pt x="12" y="216"/>
                  <a:pt x="12" y="199"/>
                  <a:pt x="25" y="182"/>
                </a:cubicBezTo>
                <a:cubicBezTo>
                  <a:pt x="33" y="171"/>
                  <a:pt x="35" y="157"/>
                  <a:pt x="22" y="145"/>
                </a:cubicBezTo>
                <a:cubicBezTo>
                  <a:pt x="21" y="143"/>
                  <a:pt x="20" y="137"/>
                  <a:pt x="21" y="136"/>
                </a:cubicBezTo>
                <a:cubicBezTo>
                  <a:pt x="24" y="134"/>
                  <a:pt x="30" y="132"/>
                  <a:pt x="31" y="133"/>
                </a:cubicBezTo>
                <a:cubicBezTo>
                  <a:pt x="36" y="137"/>
                  <a:pt x="39" y="136"/>
                  <a:pt x="42" y="133"/>
                </a:cubicBezTo>
                <a:cubicBezTo>
                  <a:pt x="49" y="128"/>
                  <a:pt x="56" y="122"/>
                  <a:pt x="62" y="116"/>
                </a:cubicBezTo>
                <a:cubicBezTo>
                  <a:pt x="65" y="112"/>
                  <a:pt x="68" y="110"/>
                  <a:pt x="73" y="112"/>
                </a:cubicBezTo>
                <a:cubicBezTo>
                  <a:pt x="81" y="115"/>
                  <a:pt x="88" y="117"/>
                  <a:pt x="95" y="110"/>
                </a:cubicBezTo>
                <a:cubicBezTo>
                  <a:pt x="98" y="108"/>
                  <a:pt x="104" y="108"/>
                  <a:pt x="108" y="108"/>
                </a:cubicBezTo>
                <a:cubicBezTo>
                  <a:pt x="120" y="107"/>
                  <a:pt x="120" y="107"/>
                  <a:pt x="121" y="95"/>
                </a:cubicBezTo>
                <a:cubicBezTo>
                  <a:pt x="121" y="90"/>
                  <a:pt x="119" y="85"/>
                  <a:pt x="119" y="80"/>
                </a:cubicBezTo>
                <a:cubicBezTo>
                  <a:pt x="118" y="78"/>
                  <a:pt x="119" y="76"/>
                  <a:pt x="119" y="73"/>
                </a:cubicBezTo>
                <a:cubicBezTo>
                  <a:pt x="121" y="74"/>
                  <a:pt x="123" y="73"/>
                  <a:pt x="125" y="74"/>
                </a:cubicBezTo>
                <a:cubicBezTo>
                  <a:pt x="134" y="81"/>
                  <a:pt x="143" y="83"/>
                  <a:pt x="154" y="77"/>
                </a:cubicBezTo>
                <a:cubicBezTo>
                  <a:pt x="157" y="76"/>
                  <a:pt x="161" y="77"/>
                  <a:pt x="165" y="78"/>
                </a:cubicBezTo>
                <a:cubicBezTo>
                  <a:pt x="176" y="81"/>
                  <a:pt x="176" y="82"/>
                  <a:pt x="176" y="69"/>
                </a:cubicBezTo>
                <a:cubicBezTo>
                  <a:pt x="176" y="68"/>
                  <a:pt x="176" y="67"/>
                  <a:pt x="176" y="65"/>
                </a:cubicBezTo>
                <a:cubicBezTo>
                  <a:pt x="177" y="57"/>
                  <a:pt x="182" y="51"/>
                  <a:pt x="189" y="52"/>
                </a:cubicBezTo>
                <a:cubicBezTo>
                  <a:pt x="201" y="54"/>
                  <a:pt x="206" y="42"/>
                  <a:pt x="215" y="40"/>
                </a:cubicBezTo>
                <a:cubicBezTo>
                  <a:pt x="217" y="40"/>
                  <a:pt x="218" y="34"/>
                  <a:pt x="218" y="31"/>
                </a:cubicBezTo>
                <a:cubicBezTo>
                  <a:pt x="217" y="24"/>
                  <a:pt x="218" y="19"/>
                  <a:pt x="227" y="18"/>
                </a:cubicBezTo>
                <a:cubicBezTo>
                  <a:pt x="231" y="17"/>
                  <a:pt x="235" y="13"/>
                  <a:pt x="239" y="11"/>
                </a:cubicBezTo>
                <a:cubicBezTo>
                  <a:pt x="243" y="10"/>
                  <a:pt x="243" y="0"/>
                  <a:pt x="251" y="6"/>
                </a:cubicBezTo>
                <a:cubicBezTo>
                  <a:pt x="257" y="10"/>
                  <a:pt x="264" y="14"/>
                  <a:pt x="264" y="24"/>
                </a:cubicBezTo>
                <a:cubicBezTo>
                  <a:pt x="263" y="34"/>
                  <a:pt x="263" y="44"/>
                  <a:pt x="255" y="52"/>
                </a:cubicBezTo>
                <a:cubicBezTo>
                  <a:pt x="249" y="58"/>
                  <a:pt x="255" y="62"/>
                  <a:pt x="260" y="65"/>
                </a:cubicBezTo>
                <a:cubicBezTo>
                  <a:pt x="265" y="68"/>
                  <a:pt x="265" y="71"/>
                  <a:pt x="261" y="76"/>
                </a:cubicBezTo>
                <a:cubicBezTo>
                  <a:pt x="258" y="78"/>
                  <a:pt x="256" y="81"/>
                  <a:pt x="254" y="83"/>
                </a:cubicBezTo>
                <a:cubicBezTo>
                  <a:pt x="248" y="89"/>
                  <a:pt x="246" y="94"/>
                  <a:pt x="249" y="103"/>
                </a:cubicBezTo>
                <a:cubicBezTo>
                  <a:pt x="252" y="117"/>
                  <a:pt x="251" y="131"/>
                  <a:pt x="241" y="144"/>
                </a:cubicBezTo>
                <a:cubicBezTo>
                  <a:pt x="233" y="153"/>
                  <a:pt x="235" y="159"/>
                  <a:pt x="247" y="162"/>
                </a:cubicBezTo>
                <a:cubicBezTo>
                  <a:pt x="254" y="163"/>
                  <a:pt x="255" y="165"/>
                  <a:pt x="252" y="171"/>
                </a:cubicBezTo>
                <a:cubicBezTo>
                  <a:pt x="250" y="176"/>
                  <a:pt x="251" y="184"/>
                  <a:pt x="247" y="187"/>
                </a:cubicBezTo>
                <a:cubicBezTo>
                  <a:pt x="245" y="190"/>
                  <a:pt x="237" y="187"/>
                  <a:pt x="231" y="187"/>
                </a:cubicBezTo>
                <a:cubicBezTo>
                  <a:pt x="224" y="186"/>
                  <a:pt x="220" y="190"/>
                  <a:pt x="219" y="198"/>
                </a:cubicBezTo>
                <a:cubicBezTo>
                  <a:pt x="219" y="204"/>
                  <a:pt x="217" y="210"/>
                  <a:pt x="214" y="215"/>
                </a:cubicBezTo>
                <a:cubicBezTo>
                  <a:pt x="207" y="223"/>
                  <a:pt x="210" y="230"/>
                  <a:pt x="215" y="237"/>
                </a:cubicBezTo>
                <a:cubicBezTo>
                  <a:pt x="216" y="238"/>
                  <a:pt x="218" y="240"/>
                  <a:pt x="219" y="241"/>
                </a:cubicBezTo>
                <a:cubicBezTo>
                  <a:pt x="224" y="246"/>
                  <a:pt x="222" y="252"/>
                  <a:pt x="219" y="257"/>
                </a:cubicBezTo>
                <a:cubicBezTo>
                  <a:pt x="217" y="259"/>
                  <a:pt x="212" y="258"/>
                  <a:pt x="208" y="258"/>
                </a:cubicBezTo>
                <a:cubicBezTo>
                  <a:pt x="206" y="259"/>
                  <a:pt x="204" y="258"/>
                  <a:pt x="202" y="257"/>
                </a:cubicBezTo>
                <a:cubicBezTo>
                  <a:pt x="194" y="255"/>
                  <a:pt x="189" y="259"/>
                  <a:pt x="193" y="267"/>
                </a:cubicBezTo>
                <a:cubicBezTo>
                  <a:pt x="196" y="273"/>
                  <a:pt x="196" y="278"/>
                  <a:pt x="193" y="284"/>
                </a:cubicBezTo>
                <a:cubicBezTo>
                  <a:pt x="191" y="287"/>
                  <a:pt x="192" y="293"/>
                  <a:pt x="194" y="295"/>
                </a:cubicBezTo>
                <a:cubicBezTo>
                  <a:pt x="206" y="308"/>
                  <a:pt x="204" y="325"/>
                  <a:pt x="206" y="341"/>
                </a:cubicBezTo>
                <a:cubicBezTo>
                  <a:pt x="206" y="343"/>
                  <a:pt x="205" y="345"/>
                  <a:pt x="206" y="348"/>
                </a:cubicBezTo>
                <a:cubicBezTo>
                  <a:pt x="207" y="351"/>
                  <a:pt x="208" y="355"/>
                  <a:pt x="210" y="359"/>
                </a:cubicBezTo>
                <a:cubicBezTo>
                  <a:pt x="213" y="357"/>
                  <a:pt x="218" y="356"/>
                  <a:pt x="220" y="354"/>
                </a:cubicBezTo>
                <a:cubicBezTo>
                  <a:pt x="223" y="351"/>
                  <a:pt x="223" y="347"/>
                  <a:pt x="223" y="343"/>
                </a:cubicBezTo>
                <a:cubicBezTo>
                  <a:pt x="222" y="337"/>
                  <a:pt x="220" y="331"/>
                  <a:pt x="220" y="325"/>
                </a:cubicBezTo>
                <a:cubicBezTo>
                  <a:pt x="221" y="316"/>
                  <a:pt x="228" y="319"/>
                  <a:pt x="233" y="320"/>
                </a:cubicBezTo>
                <a:cubicBezTo>
                  <a:pt x="240" y="322"/>
                  <a:pt x="235" y="326"/>
                  <a:pt x="233" y="329"/>
                </a:cubicBezTo>
                <a:cubicBezTo>
                  <a:pt x="227" y="343"/>
                  <a:pt x="237" y="354"/>
                  <a:pt x="242" y="366"/>
                </a:cubicBezTo>
                <a:cubicBezTo>
                  <a:pt x="243" y="368"/>
                  <a:pt x="246" y="369"/>
                  <a:pt x="248" y="368"/>
                </a:cubicBezTo>
                <a:cubicBezTo>
                  <a:pt x="255" y="365"/>
                  <a:pt x="263" y="363"/>
                  <a:pt x="270" y="358"/>
                </a:cubicBezTo>
                <a:cubicBezTo>
                  <a:pt x="279" y="351"/>
                  <a:pt x="290" y="353"/>
                  <a:pt x="292" y="365"/>
                </a:cubicBezTo>
                <a:cubicBezTo>
                  <a:pt x="293" y="372"/>
                  <a:pt x="298" y="374"/>
                  <a:pt x="303" y="376"/>
                </a:cubicBezTo>
                <a:cubicBezTo>
                  <a:pt x="310" y="379"/>
                  <a:pt x="315" y="382"/>
                  <a:pt x="313" y="391"/>
                </a:cubicBezTo>
                <a:cubicBezTo>
                  <a:pt x="313" y="393"/>
                  <a:pt x="316" y="397"/>
                  <a:pt x="319" y="399"/>
                </a:cubicBezTo>
                <a:cubicBezTo>
                  <a:pt x="324" y="402"/>
                  <a:pt x="324" y="405"/>
                  <a:pt x="323" y="410"/>
                </a:cubicBezTo>
                <a:cubicBezTo>
                  <a:pt x="320" y="423"/>
                  <a:pt x="310" y="428"/>
                  <a:pt x="301" y="435"/>
                </a:cubicBezTo>
                <a:cubicBezTo>
                  <a:pt x="300" y="436"/>
                  <a:pt x="297" y="435"/>
                  <a:pt x="295" y="435"/>
                </a:cubicBezTo>
                <a:cubicBezTo>
                  <a:pt x="287" y="433"/>
                  <a:pt x="280" y="430"/>
                  <a:pt x="273" y="429"/>
                </a:cubicBezTo>
                <a:cubicBezTo>
                  <a:pt x="261" y="428"/>
                  <a:pt x="248" y="446"/>
                  <a:pt x="251" y="456"/>
                </a:cubicBezTo>
                <a:cubicBezTo>
                  <a:pt x="254" y="463"/>
                  <a:pt x="250" y="467"/>
                  <a:pt x="246" y="472"/>
                </a:cubicBezTo>
                <a:cubicBezTo>
                  <a:pt x="237" y="481"/>
                  <a:pt x="237" y="481"/>
                  <a:pt x="250" y="484"/>
                </a:cubicBezTo>
                <a:cubicBezTo>
                  <a:pt x="251" y="484"/>
                  <a:pt x="252" y="484"/>
                  <a:pt x="253" y="485"/>
                </a:cubicBezTo>
                <a:cubicBezTo>
                  <a:pt x="256" y="486"/>
                  <a:pt x="258" y="487"/>
                  <a:pt x="261" y="489"/>
                </a:cubicBezTo>
                <a:cubicBezTo>
                  <a:pt x="259" y="492"/>
                  <a:pt x="257" y="496"/>
                  <a:pt x="254" y="498"/>
                </a:cubicBezTo>
                <a:cubicBezTo>
                  <a:pt x="248" y="502"/>
                  <a:pt x="242" y="506"/>
                  <a:pt x="236" y="508"/>
                </a:cubicBezTo>
                <a:cubicBezTo>
                  <a:pt x="229" y="510"/>
                  <a:pt x="222" y="511"/>
                  <a:pt x="215" y="51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DA94759-BC8A-4DE9-BC44-D1160882BBB2}"/>
              </a:ext>
            </a:extLst>
          </p:cNvPr>
          <p:cNvSpPr>
            <a:spLocks/>
          </p:cNvSpPr>
          <p:nvPr userDrawn="1"/>
        </p:nvSpPr>
        <p:spPr bwMode="auto">
          <a:xfrm>
            <a:off x="6737350" y="3100388"/>
            <a:ext cx="1042988" cy="819150"/>
          </a:xfrm>
          <a:custGeom>
            <a:avLst/>
            <a:gdLst>
              <a:gd name="T0" fmla="*/ 326 w 439"/>
              <a:gd name="T1" fmla="*/ 307 h 346"/>
              <a:gd name="T2" fmla="*/ 308 w 439"/>
              <a:gd name="T3" fmla="*/ 273 h 346"/>
              <a:gd name="T4" fmla="*/ 322 w 439"/>
              <a:gd name="T5" fmla="*/ 233 h 346"/>
              <a:gd name="T6" fmla="*/ 306 w 439"/>
              <a:gd name="T7" fmla="*/ 230 h 346"/>
              <a:gd name="T8" fmla="*/ 301 w 439"/>
              <a:gd name="T9" fmla="*/ 208 h 346"/>
              <a:gd name="T10" fmla="*/ 316 w 439"/>
              <a:gd name="T11" fmla="*/ 191 h 346"/>
              <a:gd name="T12" fmla="*/ 289 w 439"/>
              <a:gd name="T13" fmla="*/ 180 h 346"/>
              <a:gd name="T14" fmla="*/ 271 w 439"/>
              <a:gd name="T15" fmla="*/ 202 h 346"/>
              <a:gd name="T16" fmla="*/ 266 w 439"/>
              <a:gd name="T17" fmla="*/ 224 h 346"/>
              <a:gd name="T18" fmla="*/ 257 w 439"/>
              <a:gd name="T19" fmla="*/ 265 h 346"/>
              <a:gd name="T20" fmla="*/ 198 w 439"/>
              <a:gd name="T21" fmla="*/ 291 h 346"/>
              <a:gd name="T22" fmla="*/ 108 w 439"/>
              <a:gd name="T23" fmla="*/ 244 h 346"/>
              <a:gd name="T24" fmla="*/ 48 w 439"/>
              <a:gd name="T25" fmla="*/ 166 h 346"/>
              <a:gd name="T26" fmla="*/ 58 w 439"/>
              <a:gd name="T27" fmla="*/ 161 h 346"/>
              <a:gd name="T28" fmla="*/ 114 w 439"/>
              <a:gd name="T29" fmla="*/ 155 h 346"/>
              <a:gd name="T30" fmla="*/ 149 w 439"/>
              <a:gd name="T31" fmla="*/ 130 h 346"/>
              <a:gd name="T32" fmla="*/ 163 w 439"/>
              <a:gd name="T33" fmla="*/ 116 h 346"/>
              <a:gd name="T34" fmla="*/ 150 w 439"/>
              <a:gd name="T35" fmla="*/ 113 h 346"/>
              <a:gd name="T36" fmla="*/ 132 w 439"/>
              <a:gd name="T37" fmla="*/ 117 h 346"/>
              <a:gd name="T38" fmla="*/ 70 w 439"/>
              <a:gd name="T39" fmla="*/ 123 h 346"/>
              <a:gd name="T40" fmla="*/ 27 w 439"/>
              <a:gd name="T41" fmla="*/ 87 h 346"/>
              <a:gd name="T42" fmla="*/ 39 w 439"/>
              <a:gd name="T43" fmla="*/ 49 h 346"/>
              <a:gd name="T44" fmla="*/ 37 w 439"/>
              <a:gd name="T45" fmla="*/ 44 h 346"/>
              <a:gd name="T46" fmla="*/ 3 w 439"/>
              <a:gd name="T47" fmla="*/ 57 h 346"/>
              <a:gd name="T48" fmla="*/ 20 w 439"/>
              <a:gd name="T49" fmla="*/ 34 h 346"/>
              <a:gd name="T50" fmla="*/ 46 w 439"/>
              <a:gd name="T51" fmla="*/ 19 h 346"/>
              <a:gd name="T52" fmla="*/ 98 w 439"/>
              <a:gd name="T53" fmla="*/ 16 h 346"/>
              <a:gd name="T54" fmla="*/ 140 w 439"/>
              <a:gd name="T55" fmla="*/ 21 h 346"/>
              <a:gd name="T56" fmla="*/ 170 w 439"/>
              <a:gd name="T57" fmla="*/ 15 h 346"/>
              <a:gd name="T58" fmla="*/ 204 w 439"/>
              <a:gd name="T59" fmla="*/ 18 h 346"/>
              <a:gd name="T60" fmla="*/ 208 w 439"/>
              <a:gd name="T61" fmla="*/ 0 h 346"/>
              <a:gd name="T62" fmla="*/ 218 w 439"/>
              <a:gd name="T63" fmla="*/ 0 h 346"/>
              <a:gd name="T64" fmla="*/ 298 w 439"/>
              <a:gd name="T65" fmla="*/ 13 h 346"/>
              <a:gd name="T66" fmla="*/ 313 w 439"/>
              <a:gd name="T67" fmla="*/ 21 h 346"/>
              <a:gd name="T68" fmla="*/ 348 w 439"/>
              <a:gd name="T69" fmla="*/ 26 h 346"/>
              <a:gd name="T70" fmla="*/ 363 w 439"/>
              <a:gd name="T71" fmla="*/ 55 h 346"/>
              <a:gd name="T72" fmla="*/ 371 w 439"/>
              <a:gd name="T73" fmla="*/ 79 h 346"/>
              <a:gd name="T74" fmla="*/ 391 w 439"/>
              <a:gd name="T75" fmla="*/ 106 h 346"/>
              <a:gd name="T76" fmla="*/ 426 w 439"/>
              <a:gd name="T77" fmla="*/ 166 h 346"/>
              <a:gd name="T78" fmla="*/ 411 w 439"/>
              <a:gd name="T79" fmla="*/ 172 h 346"/>
              <a:gd name="T80" fmla="*/ 400 w 439"/>
              <a:gd name="T81" fmla="*/ 218 h 346"/>
              <a:gd name="T82" fmla="*/ 391 w 439"/>
              <a:gd name="T83" fmla="*/ 251 h 346"/>
              <a:gd name="T84" fmla="*/ 406 w 439"/>
              <a:gd name="T85" fmla="*/ 251 h 346"/>
              <a:gd name="T86" fmla="*/ 394 w 439"/>
              <a:gd name="T87" fmla="*/ 258 h 346"/>
              <a:gd name="T88" fmla="*/ 367 w 439"/>
              <a:gd name="T89" fmla="*/ 273 h 346"/>
              <a:gd name="T90" fmla="*/ 381 w 439"/>
              <a:gd name="T91" fmla="*/ 287 h 346"/>
              <a:gd name="T92" fmla="*/ 364 w 439"/>
              <a:gd name="T93" fmla="*/ 312 h 346"/>
              <a:gd name="T94" fmla="*/ 350 w 439"/>
              <a:gd name="T95" fmla="*/ 329 h 346"/>
              <a:gd name="T96" fmla="*/ 319 w 439"/>
              <a:gd name="T97" fmla="*/ 333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9" h="346">
                <a:moveTo>
                  <a:pt x="319" y="333"/>
                </a:moveTo>
                <a:cubicBezTo>
                  <a:pt x="316" y="323"/>
                  <a:pt x="318" y="315"/>
                  <a:pt x="326" y="307"/>
                </a:cubicBezTo>
                <a:cubicBezTo>
                  <a:pt x="333" y="301"/>
                  <a:pt x="332" y="296"/>
                  <a:pt x="325" y="289"/>
                </a:cubicBezTo>
                <a:cubicBezTo>
                  <a:pt x="319" y="284"/>
                  <a:pt x="313" y="279"/>
                  <a:pt x="308" y="273"/>
                </a:cubicBezTo>
                <a:cubicBezTo>
                  <a:pt x="298" y="259"/>
                  <a:pt x="300" y="249"/>
                  <a:pt x="314" y="239"/>
                </a:cubicBezTo>
                <a:cubicBezTo>
                  <a:pt x="317" y="238"/>
                  <a:pt x="319" y="235"/>
                  <a:pt x="322" y="233"/>
                </a:cubicBezTo>
                <a:cubicBezTo>
                  <a:pt x="318" y="232"/>
                  <a:pt x="315" y="231"/>
                  <a:pt x="312" y="230"/>
                </a:cubicBezTo>
                <a:cubicBezTo>
                  <a:pt x="310" y="230"/>
                  <a:pt x="308" y="230"/>
                  <a:pt x="306" y="230"/>
                </a:cubicBezTo>
                <a:cubicBezTo>
                  <a:pt x="299" y="230"/>
                  <a:pt x="298" y="225"/>
                  <a:pt x="301" y="221"/>
                </a:cubicBezTo>
                <a:cubicBezTo>
                  <a:pt x="304" y="216"/>
                  <a:pt x="307" y="213"/>
                  <a:pt x="301" y="208"/>
                </a:cubicBezTo>
                <a:cubicBezTo>
                  <a:pt x="296" y="204"/>
                  <a:pt x="300" y="199"/>
                  <a:pt x="307" y="197"/>
                </a:cubicBezTo>
                <a:cubicBezTo>
                  <a:pt x="310" y="196"/>
                  <a:pt x="313" y="193"/>
                  <a:pt x="316" y="191"/>
                </a:cubicBezTo>
                <a:cubicBezTo>
                  <a:pt x="312" y="189"/>
                  <a:pt x="309" y="184"/>
                  <a:pt x="305" y="183"/>
                </a:cubicBezTo>
                <a:cubicBezTo>
                  <a:pt x="300" y="183"/>
                  <a:pt x="295" y="184"/>
                  <a:pt x="289" y="180"/>
                </a:cubicBezTo>
                <a:cubicBezTo>
                  <a:pt x="285" y="176"/>
                  <a:pt x="276" y="184"/>
                  <a:pt x="278" y="190"/>
                </a:cubicBezTo>
                <a:cubicBezTo>
                  <a:pt x="280" y="198"/>
                  <a:pt x="277" y="199"/>
                  <a:pt x="271" y="202"/>
                </a:cubicBezTo>
                <a:cubicBezTo>
                  <a:pt x="267" y="205"/>
                  <a:pt x="264" y="210"/>
                  <a:pt x="261" y="214"/>
                </a:cubicBezTo>
                <a:cubicBezTo>
                  <a:pt x="258" y="219"/>
                  <a:pt x="260" y="222"/>
                  <a:pt x="266" y="224"/>
                </a:cubicBezTo>
                <a:cubicBezTo>
                  <a:pt x="277" y="228"/>
                  <a:pt x="279" y="237"/>
                  <a:pt x="272" y="246"/>
                </a:cubicBezTo>
                <a:cubicBezTo>
                  <a:pt x="268" y="252"/>
                  <a:pt x="262" y="258"/>
                  <a:pt x="257" y="265"/>
                </a:cubicBezTo>
                <a:cubicBezTo>
                  <a:pt x="256" y="266"/>
                  <a:pt x="255" y="266"/>
                  <a:pt x="253" y="267"/>
                </a:cubicBezTo>
                <a:cubicBezTo>
                  <a:pt x="235" y="275"/>
                  <a:pt x="216" y="283"/>
                  <a:pt x="198" y="291"/>
                </a:cubicBezTo>
                <a:cubicBezTo>
                  <a:pt x="175" y="300"/>
                  <a:pt x="155" y="294"/>
                  <a:pt x="138" y="278"/>
                </a:cubicBezTo>
                <a:cubicBezTo>
                  <a:pt x="127" y="268"/>
                  <a:pt x="117" y="256"/>
                  <a:pt x="108" y="244"/>
                </a:cubicBezTo>
                <a:cubicBezTo>
                  <a:pt x="92" y="225"/>
                  <a:pt x="76" y="206"/>
                  <a:pt x="60" y="187"/>
                </a:cubicBezTo>
                <a:cubicBezTo>
                  <a:pt x="55" y="181"/>
                  <a:pt x="51" y="173"/>
                  <a:pt x="48" y="166"/>
                </a:cubicBezTo>
                <a:cubicBezTo>
                  <a:pt x="47" y="163"/>
                  <a:pt x="50" y="159"/>
                  <a:pt x="51" y="155"/>
                </a:cubicBezTo>
                <a:cubicBezTo>
                  <a:pt x="53" y="157"/>
                  <a:pt x="56" y="159"/>
                  <a:pt x="58" y="161"/>
                </a:cubicBezTo>
                <a:cubicBezTo>
                  <a:pt x="62" y="163"/>
                  <a:pt x="66" y="167"/>
                  <a:pt x="69" y="167"/>
                </a:cubicBezTo>
                <a:cubicBezTo>
                  <a:pt x="85" y="164"/>
                  <a:pt x="101" y="165"/>
                  <a:pt x="114" y="155"/>
                </a:cubicBezTo>
                <a:cubicBezTo>
                  <a:pt x="115" y="153"/>
                  <a:pt x="117" y="152"/>
                  <a:pt x="119" y="152"/>
                </a:cubicBezTo>
                <a:cubicBezTo>
                  <a:pt x="134" y="151"/>
                  <a:pt x="141" y="141"/>
                  <a:pt x="149" y="130"/>
                </a:cubicBezTo>
                <a:cubicBezTo>
                  <a:pt x="151" y="127"/>
                  <a:pt x="155" y="126"/>
                  <a:pt x="158" y="123"/>
                </a:cubicBezTo>
                <a:cubicBezTo>
                  <a:pt x="160" y="121"/>
                  <a:pt x="163" y="118"/>
                  <a:pt x="163" y="116"/>
                </a:cubicBezTo>
                <a:cubicBezTo>
                  <a:pt x="163" y="114"/>
                  <a:pt x="160" y="110"/>
                  <a:pt x="157" y="110"/>
                </a:cubicBezTo>
                <a:cubicBezTo>
                  <a:pt x="155" y="109"/>
                  <a:pt x="150" y="111"/>
                  <a:pt x="150" y="113"/>
                </a:cubicBezTo>
                <a:cubicBezTo>
                  <a:pt x="148" y="120"/>
                  <a:pt x="145" y="120"/>
                  <a:pt x="139" y="117"/>
                </a:cubicBezTo>
                <a:cubicBezTo>
                  <a:pt x="137" y="116"/>
                  <a:pt x="134" y="117"/>
                  <a:pt x="132" y="117"/>
                </a:cubicBezTo>
                <a:cubicBezTo>
                  <a:pt x="122" y="121"/>
                  <a:pt x="112" y="126"/>
                  <a:pt x="103" y="129"/>
                </a:cubicBezTo>
                <a:cubicBezTo>
                  <a:pt x="91" y="133"/>
                  <a:pt x="79" y="128"/>
                  <a:pt x="70" y="123"/>
                </a:cubicBezTo>
                <a:cubicBezTo>
                  <a:pt x="56" y="115"/>
                  <a:pt x="40" y="107"/>
                  <a:pt x="31" y="92"/>
                </a:cubicBezTo>
                <a:cubicBezTo>
                  <a:pt x="30" y="90"/>
                  <a:pt x="28" y="89"/>
                  <a:pt x="27" y="87"/>
                </a:cubicBezTo>
                <a:cubicBezTo>
                  <a:pt x="14" y="66"/>
                  <a:pt x="14" y="63"/>
                  <a:pt x="36" y="51"/>
                </a:cubicBezTo>
                <a:cubicBezTo>
                  <a:pt x="37" y="50"/>
                  <a:pt x="38" y="50"/>
                  <a:pt x="39" y="49"/>
                </a:cubicBezTo>
                <a:cubicBezTo>
                  <a:pt x="41" y="48"/>
                  <a:pt x="42" y="47"/>
                  <a:pt x="43" y="45"/>
                </a:cubicBezTo>
                <a:cubicBezTo>
                  <a:pt x="41" y="45"/>
                  <a:pt x="39" y="43"/>
                  <a:pt x="37" y="44"/>
                </a:cubicBezTo>
                <a:cubicBezTo>
                  <a:pt x="27" y="47"/>
                  <a:pt x="14" y="45"/>
                  <a:pt x="7" y="57"/>
                </a:cubicBezTo>
                <a:cubicBezTo>
                  <a:pt x="6" y="57"/>
                  <a:pt x="3" y="58"/>
                  <a:pt x="3" y="57"/>
                </a:cubicBezTo>
                <a:cubicBezTo>
                  <a:pt x="2" y="56"/>
                  <a:pt x="0" y="53"/>
                  <a:pt x="1" y="52"/>
                </a:cubicBezTo>
                <a:cubicBezTo>
                  <a:pt x="1" y="43"/>
                  <a:pt x="12" y="34"/>
                  <a:pt x="20" y="34"/>
                </a:cubicBezTo>
                <a:cubicBezTo>
                  <a:pt x="22" y="34"/>
                  <a:pt x="24" y="34"/>
                  <a:pt x="26" y="34"/>
                </a:cubicBezTo>
                <a:cubicBezTo>
                  <a:pt x="42" y="34"/>
                  <a:pt x="43" y="36"/>
                  <a:pt x="46" y="19"/>
                </a:cubicBezTo>
                <a:cubicBezTo>
                  <a:pt x="47" y="12"/>
                  <a:pt x="50" y="10"/>
                  <a:pt x="58" y="11"/>
                </a:cubicBezTo>
                <a:cubicBezTo>
                  <a:pt x="71" y="13"/>
                  <a:pt x="85" y="14"/>
                  <a:pt x="98" y="16"/>
                </a:cubicBezTo>
                <a:cubicBezTo>
                  <a:pt x="101" y="16"/>
                  <a:pt x="103" y="18"/>
                  <a:pt x="105" y="20"/>
                </a:cubicBezTo>
                <a:cubicBezTo>
                  <a:pt x="116" y="29"/>
                  <a:pt x="128" y="28"/>
                  <a:pt x="140" y="21"/>
                </a:cubicBezTo>
                <a:cubicBezTo>
                  <a:pt x="148" y="16"/>
                  <a:pt x="157" y="13"/>
                  <a:pt x="166" y="10"/>
                </a:cubicBezTo>
                <a:cubicBezTo>
                  <a:pt x="167" y="10"/>
                  <a:pt x="169" y="13"/>
                  <a:pt x="170" y="15"/>
                </a:cubicBezTo>
                <a:cubicBezTo>
                  <a:pt x="174" y="27"/>
                  <a:pt x="182" y="30"/>
                  <a:pt x="192" y="23"/>
                </a:cubicBezTo>
                <a:cubicBezTo>
                  <a:pt x="196" y="21"/>
                  <a:pt x="200" y="19"/>
                  <a:pt x="204" y="18"/>
                </a:cubicBezTo>
                <a:cubicBezTo>
                  <a:pt x="210" y="16"/>
                  <a:pt x="214" y="15"/>
                  <a:pt x="209" y="8"/>
                </a:cubicBezTo>
                <a:cubicBezTo>
                  <a:pt x="208" y="6"/>
                  <a:pt x="208" y="3"/>
                  <a:pt x="208" y="0"/>
                </a:cubicBezTo>
                <a:cubicBezTo>
                  <a:pt x="211" y="0"/>
                  <a:pt x="214" y="0"/>
                  <a:pt x="217" y="0"/>
                </a:cubicBezTo>
                <a:cubicBezTo>
                  <a:pt x="217" y="0"/>
                  <a:pt x="217" y="0"/>
                  <a:pt x="218" y="0"/>
                </a:cubicBezTo>
                <a:cubicBezTo>
                  <a:pt x="235" y="0"/>
                  <a:pt x="252" y="1"/>
                  <a:pt x="270" y="0"/>
                </a:cubicBezTo>
                <a:cubicBezTo>
                  <a:pt x="282" y="0"/>
                  <a:pt x="292" y="3"/>
                  <a:pt x="298" y="13"/>
                </a:cubicBezTo>
                <a:cubicBezTo>
                  <a:pt x="301" y="17"/>
                  <a:pt x="302" y="22"/>
                  <a:pt x="309" y="19"/>
                </a:cubicBezTo>
                <a:cubicBezTo>
                  <a:pt x="310" y="19"/>
                  <a:pt x="313" y="20"/>
                  <a:pt x="313" y="21"/>
                </a:cubicBezTo>
                <a:cubicBezTo>
                  <a:pt x="321" y="32"/>
                  <a:pt x="331" y="29"/>
                  <a:pt x="342" y="26"/>
                </a:cubicBezTo>
                <a:cubicBezTo>
                  <a:pt x="344" y="25"/>
                  <a:pt x="347" y="25"/>
                  <a:pt x="348" y="26"/>
                </a:cubicBezTo>
                <a:cubicBezTo>
                  <a:pt x="349" y="28"/>
                  <a:pt x="350" y="31"/>
                  <a:pt x="349" y="33"/>
                </a:cubicBezTo>
                <a:cubicBezTo>
                  <a:pt x="345" y="48"/>
                  <a:pt x="348" y="53"/>
                  <a:pt x="363" y="55"/>
                </a:cubicBezTo>
                <a:cubicBezTo>
                  <a:pt x="365" y="56"/>
                  <a:pt x="367" y="61"/>
                  <a:pt x="366" y="62"/>
                </a:cubicBezTo>
                <a:cubicBezTo>
                  <a:pt x="360" y="71"/>
                  <a:pt x="363" y="75"/>
                  <a:pt x="371" y="79"/>
                </a:cubicBezTo>
                <a:cubicBezTo>
                  <a:pt x="375" y="82"/>
                  <a:pt x="378" y="87"/>
                  <a:pt x="379" y="92"/>
                </a:cubicBezTo>
                <a:cubicBezTo>
                  <a:pt x="379" y="100"/>
                  <a:pt x="383" y="104"/>
                  <a:pt x="391" y="106"/>
                </a:cubicBezTo>
                <a:cubicBezTo>
                  <a:pt x="414" y="112"/>
                  <a:pt x="424" y="132"/>
                  <a:pt x="436" y="149"/>
                </a:cubicBezTo>
                <a:cubicBezTo>
                  <a:pt x="439" y="155"/>
                  <a:pt x="433" y="164"/>
                  <a:pt x="426" y="166"/>
                </a:cubicBezTo>
                <a:cubicBezTo>
                  <a:pt x="422" y="167"/>
                  <a:pt x="419" y="168"/>
                  <a:pt x="415" y="169"/>
                </a:cubicBezTo>
                <a:cubicBezTo>
                  <a:pt x="414" y="170"/>
                  <a:pt x="411" y="171"/>
                  <a:pt x="411" y="172"/>
                </a:cubicBezTo>
                <a:cubicBezTo>
                  <a:pt x="409" y="183"/>
                  <a:pt x="407" y="194"/>
                  <a:pt x="408" y="205"/>
                </a:cubicBezTo>
                <a:cubicBezTo>
                  <a:pt x="408" y="212"/>
                  <a:pt x="407" y="217"/>
                  <a:pt x="400" y="218"/>
                </a:cubicBezTo>
                <a:cubicBezTo>
                  <a:pt x="385" y="220"/>
                  <a:pt x="388" y="234"/>
                  <a:pt x="383" y="243"/>
                </a:cubicBezTo>
                <a:cubicBezTo>
                  <a:pt x="382" y="244"/>
                  <a:pt x="388" y="249"/>
                  <a:pt x="391" y="251"/>
                </a:cubicBezTo>
                <a:cubicBezTo>
                  <a:pt x="393" y="252"/>
                  <a:pt x="396" y="251"/>
                  <a:pt x="398" y="251"/>
                </a:cubicBezTo>
                <a:cubicBezTo>
                  <a:pt x="401" y="251"/>
                  <a:pt x="403" y="251"/>
                  <a:pt x="406" y="251"/>
                </a:cubicBezTo>
                <a:cubicBezTo>
                  <a:pt x="404" y="252"/>
                  <a:pt x="401" y="254"/>
                  <a:pt x="399" y="255"/>
                </a:cubicBezTo>
                <a:cubicBezTo>
                  <a:pt x="397" y="256"/>
                  <a:pt x="395" y="257"/>
                  <a:pt x="394" y="258"/>
                </a:cubicBezTo>
                <a:cubicBezTo>
                  <a:pt x="393" y="270"/>
                  <a:pt x="384" y="270"/>
                  <a:pt x="375" y="269"/>
                </a:cubicBezTo>
                <a:cubicBezTo>
                  <a:pt x="372" y="269"/>
                  <a:pt x="370" y="272"/>
                  <a:pt x="367" y="273"/>
                </a:cubicBezTo>
                <a:cubicBezTo>
                  <a:pt x="369" y="276"/>
                  <a:pt x="370" y="279"/>
                  <a:pt x="372" y="280"/>
                </a:cubicBezTo>
                <a:cubicBezTo>
                  <a:pt x="375" y="283"/>
                  <a:pt x="378" y="284"/>
                  <a:pt x="381" y="287"/>
                </a:cubicBezTo>
                <a:cubicBezTo>
                  <a:pt x="389" y="294"/>
                  <a:pt x="388" y="307"/>
                  <a:pt x="379" y="314"/>
                </a:cubicBezTo>
                <a:cubicBezTo>
                  <a:pt x="374" y="319"/>
                  <a:pt x="369" y="315"/>
                  <a:pt x="364" y="312"/>
                </a:cubicBezTo>
                <a:cubicBezTo>
                  <a:pt x="354" y="306"/>
                  <a:pt x="353" y="306"/>
                  <a:pt x="351" y="318"/>
                </a:cubicBezTo>
                <a:cubicBezTo>
                  <a:pt x="351" y="322"/>
                  <a:pt x="350" y="325"/>
                  <a:pt x="350" y="329"/>
                </a:cubicBezTo>
                <a:cubicBezTo>
                  <a:pt x="347" y="344"/>
                  <a:pt x="342" y="346"/>
                  <a:pt x="328" y="337"/>
                </a:cubicBezTo>
                <a:cubicBezTo>
                  <a:pt x="326" y="335"/>
                  <a:pt x="322" y="334"/>
                  <a:pt x="319" y="333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443A4C2-0B51-4999-896A-046CDBA6B7E6}"/>
              </a:ext>
            </a:extLst>
          </p:cNvPr>
          <p:cNvSpPr>
            <a:spLocks/>
          </p:cNvSpPr>
          <p:nvPr userDrawn="1"/>
        </p:nvSpPr>
        <p:spPr bwMode="auto">
          <a:xfrm>
            <a:off x="8963025" y="3549650"/>
            <a:ext cx="1019175" cy="850900"/>
          </a:xfrm>
          <a:custGeom>
            <a:avLst/>
            <a:gdLst>
              <a:gd name="T0" fmla="*/ 176 w 429"/>
              <a:gd name="T1" fmla="*/ 276 h 359"/>
              <a:gd name="T2" fmla="*/ 139 w 429"/>
              <a:gd name="T3" fmla="*/ 276 h 359"/>
              <a:gd name="T4" fmla="*/ 112 w 429"/>
              <a:gd name="T5" fmla="*/ 303 h 359"/>
              <a:gd name="T6" fmla="*/ 94 w 429"/>
              <a:gd name="T7" fmla="*/ 315 h 359"/>
              <a:gd name="T8" fmla="*/ 75 w 429"/>
              <a:gd name="T9" fmla="*/ 306 h 359"/>
              <a:gd name="T10" fmla="*/ 62 w 429"/>
              <a:gd name="T11" fmla="*/ 337 h 359"/>
              <a:gd name="T12" fmla="*/ 24 w 429"/>
              <a:gd name="T13" fmla="*/ 351 h 359"/>
              <a:gd name="T14" fmla="*/ 1 w 429"/>
              <a:gd name="T15" fmla="*/ 352 h 359"/>
              <a:gd name="T16" fmla="*/ 12 w 429"/>
              <a:gd name="T17" fmla="*/ 326 h 359"/>
              <a:gd name="T18" fmla="*/ 48 w 429"/>
              <a:gd name="T19" fmla="*/ 288 h 359"/>
              <a:gd name="T20" fmla="*/ 53 w 429"/>
              <a:gd name="T21" fmla="*/ 243 h 359"/>
              <a:gd name="T22" fmla="*/ 43 w 429"/>
              <a:gd name="T23" fmla="*/ 224 h 359"/>
              <a:gd name="T24" fmla="*/ 30 w 429"/>
              <a:gd name="T25" fmla="*/ 195 h 359"/>
              <a:gd name="T26" fmla="*/ 55 w 429"/>
              <a:gd name="T27" fmla="*/ 202 h 359"/>
              <a:gd name="T28" fmla="*/ 75 w 429"/>
              <a:gd name="T29" fmla="*/ 209 h 359"/>
              <a:gd name="T30" fmla="*/ 93 w 429"/>
              <a:gd name="T31" fmla="*/ 198 h 359"/>
              <a:gd name="T32" fmla="*/ 73 w 429"/>
              <a:gd name="T33" fmla="*/ 173 h 359"/>
              <a:gd name="T34" fmla="*/ 75 w 429"/>
              <a:gd name="T35" fmla="*/ 126 h 359"/>
              <a:gd name="T36" fmla="*/ 111 w 429"/>
              <a:gd name="T37" fmla="*/ 104 h 359"/>
              <a:gd name="T38" fmla="*/ 138 w 429"/>
              <a:gd name="T39" fmla="*/ 76 h 359"/>
              <a:gd name="T40" fmla="*/ 153 w 429"/>
              <a:gd name="T41" fmla="*/ 43 h 359"/>
              <a:gd name="T42" fmla="*/ 174 w 429"/>
              <a:gd name="T43" fmla="*/ 16 h 359"/>
              <a:gd name="T44" fmla="*/ 222 w 429"/>
              <a:gd name="T45" fmla="*/ 11 h 359"/>
              <a:gd name="T46" fmla="*/ 257 w 429"/>
              <a:gd name="T47" fmla="*/ 14 h 359"/>
              <a:gd name="T48" fmla="*/ 279 w 429"/>
              <a:gd name="T49" fmla="*/ 32 h 359"/>
              <a:gd name="T50" fmla="*/ 299 w 429"/>
              <a:gd name="T51" fmla="*/ 33 h 359"/>
              <a:gd name="T52" fmla="*/ 328 w 429"/>
              <a:gd name="T53" fmla="*/ 24 h 359"/>
              <a:gd name="T54" fmla="*/ 336 w 429"/>
              <a:gd name="T55" fmla="*/ 2 h 359"/>
              <a:gd name="T56" fmla="*/ 379 w 429"/>
              <a:gd name="T57" fmla="*/ 22 h 359"/>
              <a:gd name="T58" fmla="*/ 399 w 429"/>
              <a:gd name="T59" fmla="*/ 40 h 359"/>
              <a:gd name="T60" fmla="*/ 423 w 429"/>
              <a:gd name="T61" fmla="*/ 64 h 359"/>
              <a:gd name="T62" fmla="*/ 388 w 429"/>
              <a:gd name="T63" fmla="*/ 93 h 359"/>
              <a:gd name="T64" fmla="*/ 396 w 429"/>
              <a:gd name="T65" fmla="*/ 127 h 359"/>
              <a:gd name="T66" fmla="*/ 371 w 429"/>
              <a:gd name="T67" fmla="*/ 170 h 359"/>
              <a:gd name="T68" fmla="*/ 333 w 429"/>
              <a:gd name="T69" fmla="*/ 199 h 359"/>
              <a:gd name="T70" fmla="*/ 298 w 429"/>
              <a:gd name="T71" fmla="*/ 203 h 359"/>
              <a:gd name="T72" fmla="*/ 275 w 429"/>
              <a:gd name="T73" fmla="*/ 221 h 359"/>
              <a:gd name="T74" fmla="*/ 249 w 429"/>
              <a:gd name="T75" fmla="*/ 250 h 359"/>
              <a:gd name="T76" fmla="*/ 215 w 429"/>
              <a:gd name="T77" fmla="*/ 270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29" h="359">
                <a:moveTo>
                  <a:pt x="191" y="284"/>
                </a:moveTo>
                <a:cubicBezTo>
                  <a:pt x="184" y="285"/>
                  <a:pt x="179" y="284"/>
                  <a:pt x="176" y="276"/>
                </a:cubicBezTo>
                <a:cubicBezTo>
                  <a:pt x="173" y="266"/>
                  <a:pt x="161" y="265"/>
                  <a:pt x="153" y="262"/>
                </a:cubicBezTo>
                <a:cubicBezTo>
                  <a:pt x="147" y="260"/>
                  <a:pt x="142" y="269"/>
                  <a:pt x="139" y="276"/>
                </a:cubicBezTo>
                <a:cubicBezTo>
                  <a:pt x="138" y="280"/>
                  <a:pt x="133" y="283"/>
                  <a:pt x="129" y="284"/>
                </a:cubicBezTo>
                <a:cubicBezTo>
                  <a:pt x="117" y="287"/>
                  <a:pt x="113" y="290"/>
                  <a:pt x="112" y="303"/>
                </a:cubicBezTo>
                <a:cubicBezTo>
                  <a:pt x="111" y="310"/>
                  <a:pt x="112" y="316"/>
                  <a:pt x="101" y="312"/>
                </a:cubicBezTo>
                <a:cubicBezTo>
                  <a:pt x="99" y="312"/>
                  <a:pt x="95" y="313"/>
                  <a:pt x="94" y="315"/>
                </a:cubicBezTo>
                <a:cubicBezTo>
                  <a:pt x="88" y="328"/>
                  <a:pt x="86" y="319"/>
                  <a:pt x="82" y="313"/>
                </a:cubicBezTo>
                <a:cubicBezTo>
                  <a:pt x="80" y="310"/>
                  <a:pt x="78" y="307"/>
                  <a:pt x="75" y="306"/>
                </a:cubicBezTo>
                <a:cubicBezTo>
                  <a:pt x="73" y="305"/>
                  <a:pt x="68" y="307"/>
                  <a:pt x="68" y="308"/>
                </a:cubicBezTo>
                <a:cubicBezTo>
                  <a:pt x="67" y="318"/>
                  <a:pt x="56" y="325"/>
                  <a:pt x="62" y="337"/>
                </a:cubicBezTo>
                <a:cubicBezTo>
                  <a:pt x="64" y="342"/>
                  <a:pt x="57" y="346"/>
                  <a:pt x="53" y="344"/>
                </a:cubicBezTo>
                <a:cubicBezTo>
                  <a:pt x="41" y="337"/>
                  <a:pt x="34" y="346"/>
                  <a:pt x="24" y="351"/>
                </a:cubicBezTo>
                <a:cubicBezTo>
                  <a:pt x="19" y="353"/>
                  <a:pt x="13" y="356"/>
                  <a:pt x="7" y="358"/>
                </a:cubicBezTo>
                <a:cubicBezTo>
                  <a:pt x="3" y="359"/>
                  <a:pt x="0" y="358"/>
                  <a:pt x="1" y="352"/>
                </a:cubicBezTo>
                <a:cubicBezTo>
                  <a:pt x="3" y="346"/>
                  <a:pt x="3" y="340"/>
                  <a:pt x="5" y="335"/>
                </a:cubicBezTo>
                <a:cubicBezTo>
                  <a:pt x="6" y="331"/>
                  <a:pt x="9" y="328"/>
                  <a:pt x="12" y="326"/>
                </a:cubicBezTo>
                <a:cubicBezTo>
                  <a:pt x="22" y="320"/>
                  <a:pt x="33" y="314"/>
                  <a:pt x="35" y="300"/>
                </a:cubicBezTo>
                <a:cubicBezTo>
                  <a:pt x="36" y="295"/>
                  <a:pt x="43" y="291"/>
                  <a:pt x="48" y="288"/>
                </a:cubicBezTo>
                <a:cubicBezTo>
                  <a:pt x="55" y="283"/>
                  <a:pt x="58" y="278"/>
                  <a:pt x="54" y="269"/>
                </a:cubicBezTo>
                <a:cubicBezTo>
                  <a:pt x="51" y="261"/>
                  <a:pt x="49" y="252"/>
                  <a:pt x="53" y="243"/>
                </a:cubicBezTo>
                <a:cubicBezTo>
                  <a:pt x="55" y="238"/>
                  <a:pt x="53" y="235"/>
                  <a:pt x="49" y="233"/>
                </a:cubicBezTo>
                <a:cubicBezTo>
                  <a:pt x="46" y="231"/>
                  <a:pt x="43" y="227"/>
                  <a:pt x="43" y="224"/>
                </a:cubicBezTo>
                <a:cubicBezTo>
                  <a:pt x="44" y="215"/>
                  <a:pt x="41" y="208"/>
                  <a:pt x="33" y="202"/>
                </a:cubicBezTo>
                <a:cubicBezTo>
                  <a:pt x="31" y="201"/>
                  <a:pt x="29" y="196"/>
                  <a:pt x="30" y="195"/>
                </a:cubicBezTo>
                <a:cubicBezTo>
                  <a:pt x="31" y="193"/>
                  <a:pt x="35" y="191"/>
                  <a:pt x="37" y="191"/>
                </a:cubicBezTo>
                <a:cubicBezTo>
                  <a:pt x="46" y="189"/>
                  <a:pt x="52" y="194"/>
                  <a:pt x="55" y="202"/>
                </a:cubicBezTo>
                <a:cubicBezTo>
                  <a:pt x="57" y="207"/>
                  <a:pt x="59" y="209"/>
                  <a:pt x="65" y="207"/>
                </a:cubicBezTo>
                <a:cubicBezTo>
                  <a:pt x="67" y="205"/>
                  <a:pt x="73" y="207"/>
                  <a:pt x="75" y="209"/>
                </a:cubicBezTo>
                <a:cubicBezTo>
                  <a:pt x="80" y="213"/>
                  <a:pt x="85" y="212"/>
                  <a:pt x="89" y="209"/>
                </a:cubicBezTo>
                <a:cubicBezTo>
                  <a:pt x="92" y="207"/>
                  <a:pt x="93" y="202"/>
                  <a:pt x="93" y="198"/>
                </a:cubicBezTo>
                <a:cubicBezTo>
                  <a:pt x="94" y="192"/>
                  <a:pt x="89" y="191"/>
                  <a:pt x="84" y="190"/>
                </a:cubicBezTo>
                <a:cubicBezTo>
                  <a:pt x="72" y="186"/>
                  <a:pt x="72" y="186"/>
                  <a:pt x="73" y="173"/>
                </a:cubicBezTo>
                <a:cubicBezTo>
                  <a:pt x="73" y="166"/>
                  <a:pt x="73" y="158"/>
                  <a:pt x="68" y="151"/>
                </a:cubicBezTo>
                <a:cubicBezTo>
                  <a:pt x="62" y="144"/>
                  <a:pt x="67" y="132"/>
                  <a:pt x="75" y="126"/>
                </a:cubicBezTo>
                <a:cubicBezTo>
                  <a:pt x="80" y="123"/>
                  <a:pt x="84" y="118"/>
                  <a:pt x="87" y="113"/>
                </a:cubicBezTo>
                <a:cubicBezTo>
                  <a:pt x="92" y="104"/>
                  <a:pt x="103" y="98"/>
                  <a:pt x="111" y="104"/>
                </a:cubicBezTo>
                <a:cubicBezTo>
                  <a:pt x="121" y="111"/>
                  <a:pt x="126" y="106"/>
                  <a:pt x="132" y="99"/>
                </a:cubicBezTo>
                <a:cubicBezTo>
                  <a:pt x="138" y="92"/>
                  <a:pt x="145" y="86"/>
                  <a:pt x="138" y="76"/>
                </a:cubicBezTo>
                <a:cubicBezTo>
                  <a:pt x="137" y="74"/>
                  <a:pt x="140" y="69"/>
                  <a:pt x="143" y="67"/>
                </a:cubicBezTo>
                <a:cubicBezTo>
                  <a:pt x="151" y="61"/>
                  <a:pt x="154" y="53"/>
                  <a:pt x="153" y="43"/>
                </a:cubicBezTo>
                <a:cubicBezTo>
                  <a:pt x="153" y="36"/>
                  <a:pt x="156" y="30"/>
                  <a:pt x="161" y="26"/>
                </a:cubicBezTo>
                <a:cubicBezTo>
                  <a:pt x="166" y="23"/>
                  <a:pt x="170" y="19"/>
                  <a:pt x="174" y="16"/>
                </a:cubicBezTo>
                <a:cubicBezTo>
                  <a:pt x="180" y="11"/>
                  <a:pt x="185" y="8"/>
                  <a:pt x="195" y="12"/>
                </a:cubicBezTo>
                <a:cubicBezTo>
                  <a:pt x="202" y="16"/>
                  <a:pt x="212" y="18"/>
                  <a:pt x="222" y="11"/>
                </a:cubicBezTo>
                <a:cubicBezTo>
                  <a:pt x="230" y="5"/>
                  <a:pt x="243" y="4"/>
                  <a:pt x="254" y="3"/>
                </a:cubicBezTo>
                <a:cubicBezTo>
                  <a:pt x="260" y="3"/>
                  <a:pt x="259" y="10"/>
                  <a:pt x="257" y="14"/>
                </a:cubicBezTo>
                <a:cubicBezTo>
                  <a:pt x="252" y="23"/>
                  <a:pt x="257" y="28"/>
                  <a:pt x="264" y="32"/>
                </a:cubicBezTo>
                <a:cubicBezTo>
                  <a:pt x="270" y="36"/>
                  <a:pt x="274" y="37"/>
                  <a:pt x="279" y="32"/>
                </a:cubicBezTo>
                <a:cubicBezTo>
                  <a:pt x="283" y="28"/>
                  <a:pt x="286" y="27"/>
                  <a:pt x="291" y="31"/>
                </a:cubicBezTo>
                <a:cubicBezTo>
                  <a:pt x="292" y="33"/>
                  <a:pt x="296" y="33"/>
                  <a:pt x="299" y="33"/>
                </a:cubicBezTo>
                <a:cubicBezTo>
                  <a:pt x="303" y="34"/>
                  <a:pt x="307" y="33"/>
                  <a:pt x="310" y="35"/>
                </a:cubicBezTo>
                <a:cubicBezTo>
                  <a:pt x="319" y="38"/>
                  <a:pt x="327" y="34"/>
                  <a:pt x="328" y="24"/>
                </a:cubicBezTo>
                <a:cubicBezTo>
                  <a:pt x="329" y="19"/>
                  <a:pt x="328" y="12"/>
                  <a:pt x="328" y="6"/>
                </a:cubicBezTo>
                <a:cubicBezTo>
                  <a:pt x="328" y="0"/>
                  <a:pt x="331" y="0"/>
                  <a:pt x="336" y="2"/>
                </a:cubicBezTo>
                <a:cubicBezTo>
                  <a:pt x="337" y="3"/>
                  <a:pt x="338" y="3"/>
                  <a:pt x="339" y="4"/>
                </a:cubicBezTo>
                <a:cubicBezTo>
                  <a:pt x="350" y="14"/>
                  <a:pt x="366" y="15"/>
                  <a:pt x="379" y="22"/>
                </a:cubicBezTo>
                <a:cubicBezTo>
                  <a:pt x="385" y="26"/>
                  <a:pt x="394" y="27"/>
                  <a:pt x="395" y="37"/>
                </a:cubicBezTo>
                <a:cubicBezTo>
                  <a:pt x="395" y="38"/>
                  <a:pt x="398" y="41"/>
                  <a:pt x="399" y="40"/>
                </a:cubicBezTo>
                <a:cubicBezTo>
                  <a:pt x="411" y="37"/>
                  <a:pt x="414" y="50"/>
                  <a:pt x="423" y="53"/>
                </a:cubicBezTo>
                <a:cubicBezTo>
                  <a:pt x="429" y="54"/>
                  <a:pt x="428" y="61"/>
                  <a:pt x="423" y="64"/>
                </a:cubicBezTo>
                <a:cubicBezTo>
                  <a:pt x="421" y="66"/>
                  <a:pt x="417" y="67"/>
                  <a:pt x="414" y="68"/>
                </a:cubicBezTo>
                <a:cubicBezTo>
                  <a:pt x="401" y="72"/>
                  <a:pt x="394" y="82"/>
                  <a:pt x="388" y="93"/>
                </a:cubicBezTo>
                <a:cubicBezTo>
                  <a:pt x="384" y="100"/>
                  <a:pt x="386" y="108"/>
                  <a:pt x="390" y="115"/>
                </a:cubicBezTo>
                <a:cubicBezTo>
                  <a:pt x="392" y="119"/>
                  <a:pt x="394" y="123"/>
                  <a:pt x="396" y="127"/>
                </a:cubicBezTo>
                <a:cubicBezTo>
                  <a:pt x="397" y="129"/>
                  <a:pt x="398" y="133"/>
                  <a:pt x="397" y="134"/>
                </a:cubicBezTo>
                <a:cubicBezTo>
                  <a:pt x="387" y="146"/>
                  <a:pt x="384" y="161"/>
                  <a:pt x="371" y="170"/>
                </a:cubicBezTo>
                <a:cubicBezTo>
                  <a:pt x="367" y="173"/>
                  <a:pt x="363" y="175"/>
                  <a:pt x="361" y="179"/>
                </a:cubicBezTo>
                <a:cubicBezTo>
                  <a:pt x="355" y="191"/>
                  <a:pt x="348" y="199"/>
                  <a:pt x="333" y="199"/>
                </a:cubicBezTo>
                <a:cubicBezTo>
                  <a:pt x="327" y="199"/>
                  <a:pt x="321" y="203"/>
                  <a:pt x="315" y="206"/>
                </a:cubicBezTo>
                <a:cubicBezTo>
                  <a:pt x="309" y="209"/>
                  <a:pt x="303" y="212"/>
                  <a:pt x="298" y="203"/>
                </a:cubicBezTo>
                <a:cubicBezTo>
                  <a:pt x="294" y="197"/>
                  <a:pt x="284" y="197"/>
                  <a:pt x="279" y="201"/>
                </a:cubicBezTo>
                <a:cubicBezTo>
                  <a:pt x="272" y="206"/>
                  <a:pt x="271" y="214"/>
                  <a:pt x="275" y="221"/>
                </a:cubicBezTo>
                <a:cubicBezTo>
                  <a:pt x="276" y="223"/>
                  <a:pt x="276" y="227"/>
                  <a:pt x="276" y="227"/>
                </a:cubicBezTo>
                <a:cubicBezTo>
                  <a:pt x="263" y="231"/>
                  <a:pt x="258" y="243"/>
                  <a:pt x="249" y="250"/>
                </a:cubicBezTo>
                <a:cubicBezTo>
                  <a:pt x="247" y="252"/>
                  <a:pt x="244" y="255"/>
                  <a:pt x="241" y="255"/>
                </a:cubicBezTo>
                <a:cubicBezTo>
                  <a:pt x="229" y="254"/>
                  <a:pt x="221" y="261"/>
                  <a:pt x="215" y="270"/>
                </a:cubicBezTo>
                <a:cubicBezTo>
                  <a:pt x="209" y="280"/>
                  <a:pt x="202" y="285"/>
                  <a:pt x="191" y="284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3C7BAB3D-7AD5-4848-9DF6-008D6CE0CCF8}"/>
              </a:ext>
            </a:extLst>
          </p:cNvPr>
          <p:cNvSpPr>
            <a:spLocks/>
          </p:cNvSpPr>
          <p:nvPr userDrawn="1"/>
        </p:nvSpPr>
        <p:spPr bwMode="auto">
          <a:xfrm>
            <a:off x="8005763" y="5195888"/>
            <a:ext cx="744538" cy="981075"/>
          </a:xfrm>
          <a:custGeom>
            <a:avLst/>
            <a:gdLst>
              <a:gd name="T0" fmla="*/ 145 w 314"/>
              <a:gd name="T1" fmla="*/ 55 h 414"/>
              <a:gd name="T2" fmla="*/ 222 w 314"/>
              <a:gd name="T3" fmla="*/ 30 h 414"/>
              <a:gd name="T4" fmla="*/ 252 w 314"/>
              <a:gd name="T5" fmla="*/ 18 h 414"/>
              <a:gd name="T6" fmla="*/ 288 w 314"/>
              <a:gd name="T7" fmla="*/ 5 h 414"/>
              <a:gd name="T8" fmla="*/ 309 w 314"/>
              <a:gd name="T9" fmla="*/ 22 h 414"/>
              <a:gd name="T10" fmla="*/ 295 w 314"/>
              <a:gd name="T11" fmla="*/ 77 h 414"/>
              <a:gd name="T12" fmla="*/ 260 w 314"/>
              <a:gd name="T13" fmla="*/ 112 h 414"/>
              <a:gd name="T14" fmla="*/ 256 w 314"/>
              <a:gd name="T15" fmla="*/ 135 h 414"/>
              <a:gd name="T16" fmla="*/ 270 w 314"/>
              <a:gd name="T17" fmla="*/ 180 h 414"/>
              <a:gd name="T18" fmla="*/ 266 w 314"/>
              <a:gd name="T19" fmla="*/ 208 h 414"/>
              <a:gd name="T20" fmla="*/ 269 w 314"/>
              <a:gd name="T21" fmla="*/ 238 h 414"/>
              <a:gd name="T22" fmla="*/ 245 w 314"/>
              <a:gd name="T23" fmla="*/ 243 h 414"/>
              <a:gd name="T24" fmla="*/ 215 w 314"/>
              <a:gd name="T25" fmla="*/ 279 h 414"/>
              <a:gd name="T26" fmla="*/ 199 w 314"/>
              <a:gd name="T27" fmla="*/ 316 h 414"/>
              <a:gd name="T28" fmla="*/ 160 w 314"/>
              <a:gd name="T29" fmla="*/ 340 h 414"/>
              <a:gd name="T30" fmla="*/ 119 w 314"/>
              <a:gd name="T31" fmla="*/ 399 h 414"/>
              <a:gd name="T32" fmla="*/ 69 w 314"/>
              <a:gd name="T33" fmla="*/ 411 h 414"/>
              <a:gd name="T34" fmla="*/ 64 w 314"/>
              <a:gd name="T35" fmla="*/ 373 h 414"/>
              <a:gd name="T36" fmla="*/ 65 w 314"/>
              <a:gd name="T37" fmla="*/ 352 h 414"/>
              <a:gd name="T38" fmla="*/ 80 w 314"/>
              <a:gd name="T39" fmla="*/ 312 h 414"/>
              <a:gd name="T40" fmla="*/ 68 w 314"/>
              <a:gd name="T41" fmla="*/ 286 h 414"/>
              <a:gd name="T42" fmla="*/ 72 w 314"/>
              <a:gd name="T43" fmla="*/ 249 h 414"/>
              <a:gd name="T44" fmla="*/ 45 w 314"/>
              <a:gd name="T45" fmla="*/ 243 h 414"/>
              <a:gd name="T46" fmla="*/ 43 w 314"/>
              <a:gd name="T47" fmla="*/ 211 h 414"/>
              <a:gd name="T48" fmla="*/ 31 w 314"/>
              <a:gd name="T49" fmla="*/ 178 h 414"/>
              <a:gd name="T50" fmla="*/ 17 w 314"/>
              <a:gd name="T51" fmla="*/ 163 h 414"/>
              <a:gd name="T52" fmla="*/ 8 w 314"/>
              <a:gd name="T53" fmla="*/ 151 h 414"/>
              <a:gd name="T54" fmla="*/ 14 w 314"/>
              <a:gd name="T55" fmla="*/ 137 h 414"/>
              <a:gd name="T56" fmla="*/ 47 w 314"/>
              <a:gd name="T57" fmla="*/ 132 h 414"/>
              <a:gd name="T58" fmla="*/ 76 w 314"/>
              <a:gd name="T59" fmla="*/ 129 h 414"/>
              <a:gd name="T60" fmla="*/ 104 w 314"/>
              <a:gd name="T61" fmla="*/ 116 h 414"/>
              <a:gd name="T62" fmla="*/ 106 w 314"/>
              <a:gd name="T63" fmla="*/ 93 h 414"/>
              <a:gd name="T64" fmla="*/ 108 w 314"/>
              <a:gd name="T65" fmla="*/ 72 h 414"/>
              <a:gd name="T66" fmla="*/ 128 w 314"/>
              <a:gd name="T67" fmla="*/ 45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14" h="414">
                <a:moveTo>
                  <a:pt x="128" y="45"/>
                </a:moveTo>
                <a:cubicBezTo>
                  <a:pt x="133" y="48"/>
                  <a:pt x="140" y="51"/>
                  <a:pt x="145" y="55"/>
                </a:cubicBezTo>
                <a:cubicBezTo>
                  <a:pt x="159" y="67"/>
                  <a:pt x="169" y="68"/>
                  <a:pt x="178" y="52"/>
                </a:cubicBezTo>
                <a:cubicBezTo>
                  <a:pt x="189" y="34"/>
                  <a:pt x="205" y="32"/>
                  <a:pt x="222" y="30"/>
                </a:cubicBezTo>
                <a:cubicBezTo>
                  <a:pt x="230" y="29"/>
                  <a:pt x="237" y="29"/>
                  <a:pt x="241" y="21"/>
                </a:cubicBezTo>
                <a:cubicBezTo>
                  <a:pt x="243" y="16"/>
                  <a:pt x="248" y="15"/>
                  <a:pt x="252" y="18"/>
                </a:cubicBezTo>
                <a:cubicBezTo>
                  <a:pt x="263" y="24"/>
                  <a:pt x="271" y="20"/>
                  <a:pt x="278" y="13"/>
                </a:cubicBezTo>
                <a:cubicBezTo>
                  <a:pt x="281" y="10"/>
                  <a:pt x="285" y="8"/>
                  <a:pt x="288" y="5"/>
                </a:cubicBezTo>
                <a:cubicBezTo>
                  <a:pt x="294" y="0"/>
                  <a:pt x="301" y="1"/>
                  <a:pt x="307" y="5"/>
                </a:cubicBezTo>
                <a:cubicBezTo>
                  <a:pt x="314" y="9"/>
                  <a:pt x="311" y="16"/>
                  <a:pt x="309" y="22"/>
                </a:cubicBezTo>
                <a:cubicBezTo>
                  <a:pt x="306" y="28"/>
                  <a:pt x="305" y="35"/>
                  <a:pt x="305" y="41"/>
                </a:cubicBezTo>
                <a:cubicBezTo>
                  <a:pt x="305" y="54"/>
                  <a:pt x="303" y="66"/>
                  <a:pt x="295" y="77"/>
                </a:cubicBezTo>
                <a:cubicBezTo>
                  <a:pt x="290" y="84"/>
                  <a:pt x="286" y="90"/>
                  <a:pt x="282" y="97"/>
                </a:cubicBezTo>
                <a:cubicBezTo>
                  <a:pt x="277" y="106"/>
                  <a:pt x="272" y="113"/>
                  <a:pt x="260" y="112"/>
                </a:cubicBezTo>
                <a:cubicBezTo>
                  <a:pt x="253" y="111"/>
                  <a:pt x="250" y="116"/>
                  <a:pt x="251" y="124"/>
                </a:cubicBezTo>
                <a:cubicBezTo>
                  <a:pt x="252" y="128"/>
                  <a:pt x="254" y="132"/>
                  <a:pt x="256" y="135"/>
                </a:cubicBezTo>
                <a:cubicBezTo>
                  <a:pt x="268" y="144"/>
                  <a:pt x="268" y="157"/>
                  <a:pt x="269" y="170"/>
                </a:cubicBezTo>
                <a:cubicBezTo>
                  <a:pt x="269" y="173"/>
                  <a:pt x="269" y="177"/>
                  <a:pt x="270" y="180"/>
                </a:cubicBezTo>
                <a:cubicBezTo>
                  <a:pt x="271" y="185"/>
                  <a:pt x="271" y="189"/>
                  <a:pt x="265" y="192"/>
                </a:cubicBezTo>
                <a:cubicBezTo>
                  <a:pt x="259" y="198"/>
                  <a:pt x="260" y="202"/>
                  <a:pt x="266" y="208"/>
                </a:cubicBezTo>
                <a:cubicBezTo>
                  <a:pt x="268" y="209"/>
                  <a:pt x="269" y="212"/>
                  <a:pt x="269" y="214"/>
                </a:cubicBezTo>
                <a:cubicBezTo>
                  <a:pt x="269" y="222"/>
                  <a:pt x="269" y="230"/>
                  <a:pt x="269" y="238"/>
                </a:cubicBezTo>
                <a:cubicBezTo>
                  <a:pt x="269" y="244"/>
                  <a:pt x="266" y="246"/>
                  <a:pt x="260" y="245"/>
                </a:cubicBezTo>
                <a:cubicBezTo>
                  <a:pt x="255" y="244"/>
                  <a:pt x="250" y="243"/>
                  <a:pt x="245" y="243"/>
                </a:cubicBezTo>
                <a:cubicBezTo>
                  <a:pt x="231" y="243"/>
                  <a:pt x="222" y="251"/>
                  <a:pt x="221" y="265"/>
                </a:cubicBezTo>
                <a:cubicBezTo>
                  <a:pt x="221" y="270"/>
                  <a:pt x="218" y="275"/>
                  <a:pt x="215" y="279"/>
                </a:cubicBezTo>
                <a:cubicBezTo>
                  <a:pt x="211" y="285"/>
                  <a:pt x="204" y="290"/>
                  <a:pt x="201" y="296"/>
                </a:cubicBezTo>
                <a:cubicBezTo>
                  <a:pt x="198" y="302"/>
                  <a:pt x="198" y="310"/>
                  <a:pt x="199" y="316"/>
                </a:cubicBezTo>
                <a:cubicBezTo>
                  <a:pt x="201" y="322"/>
                  <a:pt x="199" y="325"/>
                  <a:pt x="194" y="327"/>
                </a:cubicBezTo>
                <a:cubicBezTo>
                  <a:pt x="182" y="331"/>
                  <a:pt x="171" y="335"/>
                  <a:pt x="160" y="340"/>
                </a:cubicBezTo>
                <a:cubicBezTo>
                  <a:pt x="143" y="346"/>
                  <a:pt x="132" y="361"/>
                  <a:pt x="131" y="379"/>
                </a:cubicBezTo>
                <a:cubicBezTo>
                  <a:pt x="131" y="388"/>
                  <a:pt x="128" y="395"/>
                  <a:pt x="119" y="399"/>
                </a:cubicBezTo>
                <a:cubicBezTo>
                  <a:pt x="108" y="403"/>
                  <a:pt x="98" y="409"/>
                  <a:pt x="87" y="412"/>
                </a:cubicBezTo>
                <a:cubicBezTo>
                  <a:pt x="82" y="414"/>
                  <a:pt x="74" y="413"/>
                  <a:pt x="69" y="411"/>
                </a:cubicBezTo>
                <a:cubicBezTo>
                  <a:pt x="57" y="408"/>
                  <a:pt x="56" y="402"/>
                  <a:pt x="63" y="392"/>
                </a:cubicBezTo>
                <a:cubicBezTo>
                  <a:pt x="68" y="386"/>
                  <a:pt x="72" y="380"/>
                  <a:pt x="64" y="373"/>
                </a:cubicBezTo>
                <a:cubicBezTo>
                  <a:pt x="63" y="373"/>
                  <a:pt x="62" y="372"/>
                  <a:pt x="63" y="371"/>
                </a:cubicBezTo>
                <a:cubicBezTo>
                  <a:pt x="63" y="365"/>
                  <a:pt x="67" y="357"/>
                  <a:pt x="65" y="352"/>
                </a:cubicBezTo>
                <a:cubicBezTo>
                  <a:pt x="61" y="344"/>
                  <a:pt x="64" y="339"/>
                  <a:pt x="68" y="334"/>
                </a:cubicBezTo>
                <a:cubicBezTo>
                  <a:pt x="72" y="326"/>
                  <a:pt x="76" y="319"/>
                  <a:pt x="80" y="312"/>
                </a:cubicBezTo>
                <a:cubicBezTo>
                  <a:pt x="85" y="304"/>
                  <a:pt x="83" y="297"/>
                  <a:pt x="74" y="296"/>
                </a:cubicBezTo>
                <a:cubicBezTo>
                  <a:pt x="66" y="295"/>
                  <a:pt x="67" y="291"/>
                  <a:pt x="68" y="286"/>
                </a:cubicBezTo>
                <a:cubicBezTo>
                  <a:pt x="69" y="278"/>
                  <a:pt x="71" y="270"/>
                  <a:pt x="72" y="262"/>
                </a:cubicBezTo>
                <a:cubicBezTo>
                  <a:pt x="72" y="258"/>
                  <a:pt x="72" y="253"/>
                  <a:pt x="72" y="249"/>
                </a:cubicBezTo>
                <a:cubicBezTo>
                  <a:pt x="68" y="233"/>
                  <a:pt x="68" y="233"/>
                  <a:pt x="54" y="241"/>
                </a:cubicBezTo>
                <a:cubicBezTo>
                  <a:pt x="51" y="242"/>
                  <a:pt x="45" y="244"/>
                  <a:pt x="45" y="243"/>
                </a:cubicBezTo>
                <a:cubicBezTo>
                  <a:pt x="42" y="238"/>
                  <a:pt x="39" y="232"/>
                  <a:pt x="39" y="227"/>
                </a:cubicBezTo>
                <a:cubicBezTo>
                  <a:pt x="38" y="221"/>
                  <a:pt x="41" y="216"/>
                  <a:pt x="43" y="211"/>
                </a:cubicBezTo>
                <a:cubicBezTo>
                  <a:pt x="45" y="205"/>
                  <a:pt x="44" y="200"/>
                  <a:pt x="39" y="196"/>
                </a:cubicBezTo>
                <a:cubicBezTo>
                  <a:pt x="33" y="191"/>
                  <a:pt x="31" y="185"/>
                  <a:pt x="31" y="178"/>
                </a:cubicBezTo>
                <a:cubicBezTo>
                  <a:pt x="32" y="171"/>
                  <a:pt x="31" y="166"/>
                  <a:pt x="21" y="169"/>
                </a:cubicBezTo>
                <a:cubicBezTo>
                  <a:pt x="15" y="171"/>
                  <a:pt x="13" y="167"/>
                  <a:pt x="17" y="163"/>
                </a:cubicBezTo>
                <a:cubicBezTo>
                  <a:pt x="21" y="156"/>
                  <a:pt x="17" y="154"/>
                  <a:pt x="12" y="152"/>
                </a:cubicBezTo>
                <a:cubicBezTo>
                  <a:pt x="11" y="151"/>
                  <a:pt x="9" y="152"/>
                  <a:pt x="8" y="151"/>
                </a:cubicBezTo>
                <a:cubicBezTo>
                  <a:pt x="5" y="149"/>
                  <a:pt x="0" y="146"/>
                  <a:pt x="0" y="144"/>
                </a:cubicBezTo>
                <a:cubicBezTo>
                  <a:pt x="0" y="139"/>
                  <a:pt x="8" y="135"/>
                  <a:pt x="14" y="137"/>
                </a:cubicBezTo>
                <a:cubicBezTo>
                  <a:pt x="18" y="138"/>
                  <a:pt x="22" y="140"/>
                  <a:pt x="26" y="140"/>
                </a:cubicBezTo>
                <a:cubicBezTo>
                  <a:pt x="34" y="141"/>
                  <a:pt x="42" y="141"/>
                  <a:pt x="47" y="132"/>
                </a:cubicBezTo>
                <a:cubicBezTo>
                  <a:pt x="49" y="130"/>
                  <a:pt x="53" y="129"/>
                  <a:pt x="57" y="129"/>
                </a:cubicBezTo>
                <a:cubicBezTo>
                  <a:pt x="63" y="128"/>
                  <a:pt x="70" y="130"/>
                  <a:pt x="76" y="129"/>
                </a:cubicBezTo>
                <a:cubicBezTo>
                  <a:pt x="81" y="129"/>
                  <a:pt x="86" y="126"/>
                  <a:pt x="91" y="124"/>
                </a:cubicBezTo>
                <a:cubicBezTo>
                  <a:pt x="95" y="122"/>
                  <a:pt x="100" y="119"/>
                  <a:pt x="104" y="116"/>
                </a:cubicBezTo>
                <a:cubicBezTo>
                  <a:pt x="107" y="114"/>
                  <a:pt x="111" y="112"/>
                  <a:pt x="113" y="109"/>
                </a:cubicBezTo>
                <a:cubicBezTo>
                  <a:pt x="120" y="98"/>
                  <a:pt x="119" y="96"/>
                  <a:pt x="106" y="93"/>
                </a:cubicBezTo>
                <a:cubicBezTo>
                  <a:pt x="98" y="91"/>
                  <a:pt x="98" y="91"/>
                  <a:pt x="104" y="84"/>
                </a:cubicBezTo>
                <a:cubicBezTo>
                  <a:pt x="107" y="80"/>
                  <a:pt x="110" y="77"/>
                  <a:pt x="108" y="72"/>
                </a:cubicBezTo>
                <a:cubicBezTo>
                  <a:pt x="106" y="68"/>
                  <a:pt x="102" y="63"/>
                  <a:pt x="107" y="58"/>
                </a:cubicBezTo>
                <a:cubicBezTo>
                  <a:pt x="113" y="53"/>
                  <a:pt x="117" y="45"/>
                  <a:pt x="128" y="45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2E24F0AE-E62F-4334-A3C1-00025A2D542A}"/>
              </a:ext>
            </a:extLst>
          </p:cNvPr>
          <p:cNvSpPr>
            <a:spLocks/>
          </p:cNvSpPr>
          <p:nvPr userDrawn="1"/>
        </p:nvSpPr>
        <p:spPr bwMode="auto">
          <a:xfrm>
            <a:off x="8761413" y="3259138"/>
            <a:ext cx="690563" cy="1141413"/>
          </a:xfrm>
          <a:custGeom>
            <a:avLst/>
            <a:gdLst>
              <a:gd name="T0" fmla="*/ 105 w 291"/>
              <a:gd name="T1" fmla="*/ 115 h 482"/>
              <a:gd name="T2" fmla="*/ 130 w 291"/>
              <a:gd name="T3" fmla="*/ 82 h 482"/>
              <a:gd name="T4" fmla="*/ 133 w 291"/>
              <a:gd name="T5" fmla="*/ 56 h 482"/>
              <a:gd name="T6" fmla="*/ 104 w 291"/>
              <a:gd name="T7" fmla="*/ 43 h 482"/>
              <a:gd name="T8" fmla="*/ 105 w 291"/>
              <a:gd name="T9" fmla="*/ 23 h 482"/>
              <a:gd name="T10" fmla="*/ 154 w 291"/>
              <a:gd name="T11" fmla="*/ 29 h 482"/>
              <a:gd name="T12" fmla="*/ 192 w 291"/>
              <a:gd name="T13" fmla="*/ 17 h 482"/>
              <a:gd name="T14" fmla="*/ 228 w 291"/>
              <a:gd name="T15" fmla="*/ 7 h 482"/>
              <a:gd name="T16" fmla="*/ 247 w 291"/>
              <a:gd name="T17" fmla="*/ 39 h 482"/>
              <a:gd name="T18" fmla="*/ 285 w 291"/>
              <a:gd name="T19" fmla="*/ 89 h 482"/>
              <a:gd name="T20" fmla="*/ 271 w 291"/>
              <a:gd name="T21" fmla="*/ 111 h 482"/>
              <a:gd name="T22" fmla="*/ 261 w 291"/>
              <a:gd name="T23" fmla="*/ 131 h 482"/>
              <a:gd name="T24" fmla="*/ 232 w 291"/>
              <a:gd name="T25" fmla="*/ 171 h 482"/>
              <a:gd name="T26" fmla="*/ 219 w 291"/>
              <a:gd name="T27" fmla="*/ 203 h 482"/>
              <a:gd name="T28" fmla="*/ 202 w 291"/>
              <a:gd name="T29" fmla="*/ 224 h 482"/>
              <a:gd name="T30" fmla="*/ 167 w 291"/>
              <a:gd name="T31" fmla="*/ 233 h 482"/>
              <a:gd name="T32" fmla="*/ 148 w 291"/>
              <a:gd name="T33" fmla="*/ 252 h 482"/>
              <a:gd name="T34" fmla="*/ 152 w 291"/>
              <a:gd name="T35" fmla="*/ 300 h 482"/>
              <a:gd name="T36" fmla="*/ 169 w 291"/>
              <a:gd name="T37" fmla="*/ 318 h 482"/>
              <a:gd name="T38" fmla="*/ 164 w 291"/>
              <a:gd name="T39" fmla="*/ 327 h 482"/>
              <a:gd name="T40" fmla="*/ 142 w 291"/>
              <a:gd name="T41" fmla="*/ 317 h 482"/>
              <a:gd name="T42" fmla="*/ 109 w 291"/>
              <a:gd name="T43" fmla="*/ 316 h 482"/>
              <a:gd name="T44" fmla="*/ 122 w 291"/>
              <a:gd name="T45" fmla="*/ 349 h 482"/>
              <a:gd name="T46" fmla="*/ 131 w 291"/>
              <a:gd name="T47" fmla="*/ 375 h 482"/>
              <a:gd name="T48" fmla="*/ 128 w 291"/>
              <a:gd name="T49" fmla="*/ 408 h 482"/>
              <a:gd name="T50" fmla="*/ 96 w 291"/>
              <a:gd name="T51" fmla="*/ 443 h 482"/>
              <a:gd name="T52" fmla="*/ 84 w 291"/>
              <a:gd name="T53" fmla="*/ 463 h 482"/>
              <a:gd name="T54" fmla="*/ 50 w 291"/>
              <a:gd name="T55" fmla="*/ 468 h 482"/>
              <a:gd name="T56" fmla="*/ 31 w 291"/>
              <a:gd name="T57" fmla="*/ 443 h 482"/>
              <a:gd name="T58" fmla="*/ 1 w 291"/>
              <a:gd name="T59" fmla="*/ 413 h 482"/>
              <a:gd name="T60" fmla="*/ 16 w 291"/>
              <a:gd name="T61" fmla="*/ 368 h 482"/>
              <a:gd name="T62" fmla="*/ 36 w 291"/>
              <a:gd name="T63" fmla="*/ 367 h 482"/>
              <a:gd name="T64" fmla="*/ 17 w 291"/>
              <a:gd name="T65" fmla="*/ 331 h 482"/>
              <a:gd name="T66" fmla="*/ 16 w 291"/>
              <a:gd name="T67" fmla="*/ 306 h 482"/>
              <a:gd name="T68" fmla="*/ 24 w 291"/>
              <a:gd name="T69" fmla="*/ 273 h 482"/>
              <a:gd name="T70" fmla="*/ 15 w 291"/>
              <a:gd name="T71" fmla="*/ 238 h 482"/>
              <a:gd name="T72" fmla="*/ 36 w 291"/>
              <a:gd name="T73" fmla="*/ 192 h 482"/>
              <a:gd name="T74" fmla="*/ 44 w 291"/>
              <a:gd name="T75" fmla="*/ 171 h 482"/>
              <a:gd name="T76" fmla="*/ 65 w 291"/>
              <a:gd name="T77" fmla="*/ 133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91" h="482">
                <a:moveTo>
                  <a:pt x="74" y="130"/>
                </a:moveTo>
                <a:cubicBezTo>
                  <a:pt x="88" y="132"/>
                  <a:pt x="98" y="124"/>
                  <a:pt x="105" y="115"/>
                </a:cubicBezTo>
                <a:cubicBezTo>
                  <a:pt x="112" y="106"/>
                  <a:pt x="117" y="96"/>
                  <a:pt x="123" y="87"/>
                </a:cubicBezTo>
                <a:cubicBezTo>
                  <a:pt x="125" y="85"/>
                  <a:pt x="128" y="82"/>
                  <a:pt x="130" y="82"/>
                </a:cubicBezTo>
                <a:cubicBezTo>
                  <a:pt x="136" y="80"/>
                  <a:pt x="138" y="76"/>
                  <a:pt x="139" y="71"/>
                </a:cubicBezTo>
                <a:cubicBezTo>
                  <a:pt x="142" y="63"/>
                  <a:pt x="141" y="58"/>
                  <a:pt x="133" y="56"/>
                </a:cubicBezTo>
                <a:cubicBezTo>
                  <a:pt x="130" y="56"/>
                  <a:pt x="126" y="55"/>
                  <a:pt x="125" y="53"/>
                </a:cubicBezTo>
                <a:cubicBezTo>
                  <a:pt x="121" y="43"/>
                  <a:pt x="114" y="40"/>
                  <a:pt x="104" y="43"/>
                </a:cubicBezTo>
                <a:cubicBezTo>
                  <a:pt x="104" y="43"/>
                  <a:pt x="101" y="41"/>
                  <a:pt x="102" y="40"/>
                </a:cubicBezTo>
                <a:cubicBezTo>
                  <a:pt x="103" y="34"/>
                  <a:pt x="104" y="29"/>
                  <a:pt x="105" y="23"/>
                </a:cubicBezTo>
                <a:cubicBezTo>
                  <a:pt x="114" y="32"/>
                  <a:pt x="123" y="20"/>
                  <a:pt x="132" y="24"/>
                </a:cubicBezTo>
                <a:cubicBezTo>
                  <a:pt x="139" y="27"/>
                  <a:pt x="147" y="27"/>
                  <a:pt x="154" y="29"/>
                </a:cubicBezTo>
                <a:cubicBezTo>
                  <a:pt x="162" y="31"/>
                  <a:pt x="167" y="29"/>
                  <a:pt x="172" y="23"/>
                </a:cubicBezTo>
                <a:cubicBezTo>
                  <a:pt x="177" y="17"/>
                  <a:pt x="183" y="14"/>
                  <a:pt x="192" y="17"/>
                </a:cubicBezTo>
                <a:cubicBezTo>
                  <a:pt x="203" y="19"/>
                  <a:pt x="213" y="17"/>
                  <a:pt x="219" y="6"/>
                </a:cubicBezTo>
                <a:cubicBezTo>
                  <a:pt x="222" y="0"/>
                  <a:pt x="226" y="2"/>
                  <a:pt x="228" y="7"/>
                </a:cubicBezTo>
                <a:cubicBezTo>
                  <a:pt x="234" y="17"/>
                  <a:pt x="247" y="22"/>
                  <a:pt x="245" y="36"/>
                </a:cubicBezTo>
                <a:cubicBezTo>
                  <a:pt x="245" y="37"/>
                  <a:pt x="246" y="39"/>
                  <a:pt x="247" y="39"/>
                </a:cubicBezTo>
                <a:cubicBezTo>
                  <a:pt x="265" y="44"/>
                  <a:pt x="263" y="62"/>
                  <a:pt x="268" y="74"/>
                </a:cubicBezTo>
                <a:cubicBezTo>
                  <a:pt x="272" y="82"/>
                  <a:pt x="274" y="89"/>
                  <a:pt x="285" y="89"/>
                </a:cubicBezTo>
                <a:cubicBezTo>
                  <a:pt x="290" y="89"/>
                  <a:pt x="291" y="92"/>
                  <a:pt x="287" y="95"/>
                </a:cubicBezTo>
                <a:cubicBezTo>
                  <a:pt x="282" y="101"/>
                  <a:pt x="276" y="106"/>
                  <a:pt x="271" y="111"/>
                </a:cubicBezTo>
                <a:cubicBezTo>
                  <a:pt x="269" y="113"/>
                  <a:pt x="268" y="116"/>
                  <a:pt x="268" y="117"/>
                </a:cubicBezTo>
                <a:cubicBezTo>
                  <a:pt x="273" y="126"/>
                  <a:pt x="266" y="128"/>
                  <a:pt x="261" y="131"/>
                </a:cubicBezTo>
                <a:cubicBezTo>
                  <a:pt x="256" y="134"/>
                  <a:pt x="252" y="139"/>
                  <a:pt x="248" y="142"/>
                </a:cubicBezTo>
                <a:cubicBezTo>
                  <a:pt x="237" y="149"/>
                  <a:pt x="230" y="157"/>
                  <a:pt x="232" y="171"/>
                </a:cubicBezTo>
                <a:cubicBezTo>
                  <a:pt x="234" y="179"/>
                  <a:pt x="227" y="183"/>
                  <a:pt x="222" y="187"/>
                </a:cubicBezTo>
                <a:cubicBezTo>
                  <a:pt x="217" y="192"/>
                  <a:pt x="213" y="196"/>
                  <a:pt x="219" y="203"/>
                </a:cubicBezTo>
                <a:cubicBezTo>
                  <a:pt x="223" y="209"/>
                  <a:pt x="218" y="213"/>
                  <a:pt x="215" y="216"/>
                </a:cubicBezTo>
                <a:cubicBezTo>
                  <a:pt x="211" y="220"/>
                  <a:pt x="209" y="226"/>
                  <a:pt x="202" y="224"/>
                </a:cubicBezTo>
                <a:cubicBezTo>
                  <a:pt x="196" y="222"/>
                  <a:pt x="189" y="222"/>
                  <a:pt x="183" y="221"/>
                </a:cubicBezTo>
                <a:cubicBezTo>
                  <a:pt x="175" y="221"/>
                  <a:pt x="169" y="223"/>
                  <a:pt x="167" y="233"/>
                </a:cubicBezTo>
                <a:cubicBezTo>
                  <a:pt x="166" y="237"/>
                  <a:pt x="162" y="241"/>
                  <a:pt x="158" y="245"/>
                </a:cubicBezTo>
                <a:cubicBezTo>
                  <a:pt x="155" y="248"/>
                  <a:pt x="149" y="249"/>
                  <a:pt x="148" y="252"/>
                </a:cubicBezTo>
                <a:cubicBezTo>
                  <a:pt x="146" y="259"/>
                  <a:pt x="144" y="269"/>
                  <a:pt x="147" y="274"/>
                </a:cubicBezTo>
                <a:cubicBezTo>
                  <a:pt x="152" y="283"/>
                  <a:pt x="153" y="291"/>
                  <a:pt x="152" y="300"/>
                </a:cubicBezTo>
                <a:cubicBezTo>
                  <a:pt x="151" y="310"/>
                  <a:pt x="154" y="315"/>
                  <a:pt x="164" y="316"/>
                </a:cubicBezTo>
                <a:cubicBezTo>
                  <a:pt x="165" y="317"/>
                  <a:pt x="168" y="317"/>
                  <a:pt x="169" y="318"/>
                </a:cubicBezTo>
                <a:cubicBezTo>
                  <a:pt x="171" y="320"/>
                  <a:pt x="172" y="323"/>
                  <a:pt x="173" y="325"/>
                </a:cubicBezTo>
                <a:cubicBezTo>
                  <a:pt x="170" y="326"/>
                  <a:pt x="166" y="329"/>
                  <a:pt x="164" y="327"/>
                </a:cubicBezTo>
                <a:cubicBezTo>
                  <a:pt x="159" y="324"/>
                  <a:pt x="154" y="321"/>
                  <a:pt x="148" y="323"/>
                </a:cubicBezTo>
                <a:cubicBezTo>
                  <a:pt x="146" y="323"/>
                  <a:pt x="144" y="319"/>
                  <a:pt x="142" y="317"/>
                </a:cubicBezTo>
                <a:cubicBezTo>
                  <a:pt x="137" y="311"/>
                  <a:pt x="130" y="308"/>
                  <a:pt x="122" y="308"/>
                </a:cubicBezTo>
                <a:cubicBezTo>
                  <a:pt x="115" y="308"/>
                  <a:pt x="112" y="311"/>
                  <a:pt x="109" y="316"/>
                </a:cubicBezTo>
                <a:cubicBezTo>
                  <a:pt x="106" y="322"/>
                  <a:pt x="110" y="325"/>
                  <a:pt x="114" y="328"/>
                </a:cubicBezTo>
                <a:cubicBezTo>
                  <a:pt x="121" y="333"/>
                  <a:pt x="126" y="339"/>
                  <a:pt x="122" y="349"/>
                </a:cubicBezTo>
                <a:cubicBezTo>
                  <a:pt x="122" y="351"/>
                  <a:pt x="123" y="356"/>
                  <a:pt x="124" y="356"/>
                </a:cubicBezTo>
                <a:cubicBezTo>
                  <a:pt x="134" y="360"/>
                  <a:pt x="133" y="366"/>
                  <a:pt x="131" y="375"/>
                </a:cubicBezTo>
                <a:cubicBezTo>
                  <a:pt x="129" y="379"/>
                  <a:pt x="132" y="385"/>
                  <a:pt x="134" y="391"/>
                </a:cubicBezTo>
                <a:cubicBezTo>
                  <a:pt x="137" y="398"/>
                  <a:pt x="135" y="404"/>
                  <a:pt x="128" y="408"/>
                </a:cubicBezTo>
                <a:cubicBezTo>
                  <a:pt x="120" y="412"/>
                  <a:pt x="115" y="418"/>
                  <a:pt x="113" y="428"/>
                </a:cubicBezTo>
                <a:cubicBezTo>
                  <a:pt x="111" y="434"/>
                  <a:pt x="103" y="440"/>
                  <a:pt x="96" y="443"/>
                </a:cubicBezTo>
                <a:cubicBezTo>
                  <a:pt x="88" y="446"/>
                  <a:pt x="85" y="451"/>
                  <a:pt x="85" y="459"/>
                </a:cubicBezTo>
                <a:cubicBezTo>
                  <a:pt x="85" y="460"/>
                  <a:pt x="85" y="462"/>
                  <a:pt x="84" y="463"/>
                </a:cubicBezTo>
                <a:cubicBezTo>
                  <a:pt x="81" y="482"/>
                  <a:pt x="80" y="482"/>
                  <a:pt x="61" y="480"/>
                </a:cubicBezTo>
                <a:cubicBezTo>
                  <a:pt x="53" y="479"/>
                  <a:pt x="49" y="476"/>
                  <a:pt x="50" y="468"/>
                </a:cubicBezTo>
                <a:cubicBezTo>
                  <a:pt x="51" y="460"/>
                  <a:pt x="47" y="457"/>
                  <a:pt x="41" y="455"/>
                </a:cubicBezTo>
                <a:cubicBezTo>
                  <a:pt x="35" y="453"/>
                  <a:pt x="32" y="449"/>
                  <a:pt x="31" y="443"/>
                </a:cubicBezTo>
                <a:cubicBezTo>
                  <a:pt x="28" y="433"/>
                  <a:pt x="20" y="425"/>
                  <a:pt x="9" y="423"/>
                </a:cubicBezTo>
                <a:cubicBezTo>
                  <a:pt x="2" y="422"/>
                  <a:pt x="1" y="418"/>
                  <a:pt x="1" y="413"/>
                </a:cubicBezTo>
                <a:cubicBezTo>
                  <a:pt x="1" y="407"/>
                  <a:pt x="2" y="401"/>
                  <a:pt x="1" y="395"/>
                </a:cubicBezTo>
                <a:cubicBezTo>
                  <a:pt x="0" y="384"/>
                  <a:pt x="7" y="372"/>
                  <a:pt x="16" y="368"/>
                </a:cubicBezTo>
                <a:cubicBezTo>
                  <a:pt x="19" y="367"/>
                  <a:pt x="22" y="369"/>
                  <a:pt x="25" y="369"/>
                </a:cubicBezTo>
                <a:cubicBezTo>
                  <a:pt x="29" y="369"/>
                  <a:pt x="34" y="369"/>
                  <a:pt x="36" y="367"/>
                </a:cubicBezTo>
                <a:cubicBezTo>
                  <a:pt x="46" y="361"/>
                  <a:pt x="46" y="359"/>
                  <a:pt x="37" y="351"/>
                </a:cubicBezTo>
                <a:cubicBezTo>
                  <a:pt x="31" y="344"/>
                  <a:pt x="24" y="338"/>
                  <a:pt x="17" y="331"/>
                </a:cubicBezTo>
                <a:cubicBezTo>
                  <a:pt x="14" y="328"/>
                  <a:pt x="13" y="326"/>
                  <a:pt x="16" y="321"/>
                </a:cubicBezTo>
                <a:cubicBezTo>
                  <a:pt x="19" y="318"/>
                  <a:pt x="17" y="311"/>
                  <a:pt x="16" y="306"/>
                </a:cubicBezTo>
                <a:cubicBezTo>
                  <a:pt x="14" y="302"/>
                  <a:pt x="12" y="300"/>
                  <a:pt x="17" y="298"/>
                </a:cubicBezTo>
                <a:cubicBezTo>
                  <a:pt x="26" y="292"/>
                  <a:pt x="28" y="283"/>
                  <a:pt x="24" y="273"/>
                </a:cubicBezTo>
                <a:cubicBezTo>
                  <a:pt x="23" y="270"/>
                  <a:pt x="22" y="266"/>
                  <a:pt x="22" y="262"/>
                </a:cubicBezTo>
                <a:cubicBezTo>
                  <a:pt x="22" y="253"/>
                  <a:pt x="23" y="245"/>
                  <a:pt x="15" y="238"/>
                </a:cubicBezTo>
                <a:cubicBezTo>
                  <a:pt x="10" y="233"/>
                  <a:pt x="12" y="228"/>
                  <a:pt x="17" y="226"/>
                </a:cubicBezTo>
                <a:cubicBezTo>
                  <a:pt x="33" y="219"/>
                  <a:pt x="33" y="205"/>
                  <a:pt x="36" y="192"/>
                </a:cubicBezTo>
                <a:cubicBezTo>
                  <a:pt x="37" y="187"/>
                  <a:pt x="40" y="183"/>
                  <a:pt x="42" y="179"/>
                </a:cubicBezTo>
                <a:cubicBezTo>
                  <a:pt x="43" y="176"/>
                  <a:pt x="45" y="173"/>
                  <a:pt x="44" y="171"/>
                </a:cubicBezTo>
                <a:cubicBezTo>
                  <a:pt x="42" y="161"/>
                  <a:pt x="49" y="156"/>
                  <a:pt x="54" y="150"/>
                </a:cubicBezTo>
                <a:cubicBezTo>
                  <a:pt x="59" y="145"/>
                  <a:pt x="66" y="142"/>
                  <a:pt x="65" y="133"/>
                </a:cubicBezTo>
                <a:cubicBezTo>
                  <a:pt x="65" y="133"/>
                  <a:pt x="71" y="131"/>
                  <a:pt x="74" y="13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4B7D22B9-0C4F-4C20-888E-AA62C8FDAE4D}"/>
              </a:ext>
            </a:extLst>
          </p:cNvPr>
          <p:cNvSpPr>
            <a:spLocks/>
          </p:cNvSpPr>
          <p:nvPr userDrawn="1"/>
        </p:nvSpPr>
        <p:spPr bwMode="auto">
          <a:xfrm>
            <a:off x="7826375" y="1143000"/>
            <a:ext cx="819150" cy="593725"/>
          </a:xfrm>
          <a:custGeom>
            <a:avLst/>
            <a:gdLst>
              <a:gd name="T0" fmla="*/ 116 w 345"/>
              <a:gd name="T1" fmla="*/ 212 h 251"/>
              <a:gd name="T2" fmla="*/ 104 w 345"/>
              <a:gd name="T3" fmla="*/ 236 h 251"/>
              <a:gd name="T4" fmla="*/ 79 w 345"/>
              <a:gd name="T5" fmla="*/ 238 h 251"/>
              <a:gd name="T6" fmla="*/ 55 w 345"/>
              <a:gd name="T7" fmla="*/ 229 h 251"/>
              <a:gd name="T8" fmla="*/ 39 w 345"/>
              <a:gd name="T9" fmla="*/ 217 h 251"/>
              <a:gd name="T10" fmla="*/ 36 w 345"/>
              <a:gd name="T11" fmla="*/ 210 h 251"/>
              <a:gd name="T12" fmla="*/ 15 w 345"/>
              <a:gd name="T13" fmla="*/ 172 h 251"/>
              <a:gd name="T14" fmla="*/ 14 w 345"/>
              <a:gd name="T15" fmla="*/ 153 h 251"/>
              <a:gd name="T16" fmla="*/ 13 w 345"/>
              <a:gd name="T17" fmla="*/ 121 h 251"/>
              <a:gd name="T18" fmla="*/ 21 w 345"/>
              <a:gd name="T19" fmla="*/ 110 h 251"/>
              <a:gd name="T20" fmla="*/ 23 w 345"/>
              <a:gd name="T21" fmla="*/ 109 h 251"/>
              <a:gd name="T22" fmla="*/ 31 w 345"/>
              <a:gd name="T23" fmla="*/ 98 h 251"/>
              <a:gd name="T24" fmla="*/ 21 w 345"/>
              <a:gd name="T25" fmla="*/ 93 h 251"/>
              <a:gd name="T26" fmla="*/ 11 w 345"/>
              <a:gd name="T27" fmla="*/ 92 h 251"/>
              <a:gd name="T28" fmla="*/ 3 w 345"/>
              <a:gd name="T29" fmla="*/ 77 h 251"/>
              <a:gd name="T30" fmla="*/ 13 w 345"/>
              <a:gd name="T31" fmla="*/ 53 h 251"/>
              <a:gd name="T32" fmla="*/ 46 w 345"/>
              <a:gd name="T33" fmla="*/ 41 h 251"/>
              <a:gd name="T34" fmla="*/ 67 w 345"/>
              <a:gd name="T35" fmla="*/ 48 h 251"/>
              <a:gd name="T36" fmla="*/ 94 w 345"/>
              <a:gd name="T37" fmla="*/ 50 h 251"/>
              <a:gd name="T38" fmla="*/ 131 w 345"/>
              <a:gd name="T39" fmla="*/ 45 h 251"/>
              <a:gd name="T40" fmla="*/ 139 w 345"/>
              <a:gd name="T41" fmla="*/ 46 h 251"/>
              <a:gd name="T42" fmla="*/ 146 w 345"/>
              <a:gd name="T43" fmla="*/ 47 h 251"/>
              <a:gd name="T44" fmla="*/ 178 w 345"/>
              <a:gd name="T45" fmla="*/ 47 h 251"/>
              <a:gd name="T46" fmla="*/ 193 w 345"/>
              <a:gd name="T47" fmla="*/ 41 h 251"/>
              <a:gd name="T48" fmla="*/ 233 w 345"/>
              <a:gd name="T49" fmla="*/ 9 h 251"/>
              <a:gd name="T50" fmla="*/ 250 w 345"/>
              <a:gd name="T51" fmla="*/ 4 h 251"/>
              <a:gd name="T52" fmla="*/ 271 w 345"/>
              <a:gd name="T53" fmla="*/ 16 h 251"/>
              <a:gd name="T54" fmla="*/ 279 w 345"/>
              <a:gd name="T55" fmla="*/ 53 h 251"/>
              <a:gd name="T56" fmla="*/ 303 w 345"/>
              <a:gd name="T57" fmla="*/ 80 h 251"/>
              <a:gd name="T58" fmla="*/ 314 w 345"/>
              <a:gd name="T59" fmla="*/ 101 h 251"/>
              <a:gd name="T60" fmla="*/ 314 w 345"/>
              <a:gd name="T61" fmla="*/ 142 h 251"/>
              <a:gd name="T62" fmla="*/ 319 w 345"/>
              <a:gd name="T63" fmla="*/ 159 h 251"/>
              <a:gd name="T64" fmla="*/ 332 w 345"/>
              <a:gd name="T65" fmla="*/ 178 h 251"/>
              <a:gd name="T66" fmla="*/ 339 w 345"/>
              <a:gd name="T67" fmla="*/ 187 h 251"/>
              <a:gd name="T68" fmla="*/ 342 w 345"/>
              <a:gd name="T69" fmla="*/ 214 h 251"/>
              <a:gd name="T70" fmla="*/ 336 w 345"/>
              <a:gd name="T71" fmla="*/ 236 h 251"/>
              <a:gd name="T72" fmla="*/ 332 w 345"/>
              <a:gd name="T73" fmla="*/ 239 h 251"/>
              <a:gd name="T74" fmla="*/ 320 w 345"/>
              <a:gd name="T75" fmla="*/ 246 h 251"/>
              <a:gd name="T76" fmla="*/ 311 w 345"/>
              <a:gd name="T77" fmla="*/ 229 h 251"/>
              <a:gd name="T78" fmla="*/ 299 w 345"/>
              <a:gd name="T79" fmla="*/ 223 h 251"/>
              <a:gd name="T80" fmla="*/ 292 w 345"/>
              <a:gd name="T81" fmla="*/ 227 h 251"/>
              <a:gd name="T82" fmla="*/ 284 w 345"/>
              <a:gd name="T83" fmla="*/ 234 h 251"/>
              <a:gd name="T84" fmla="*/ 287 w 345"/>
              <a:gd name="T85" fmla="*/ 225 h 251"/>
              <a:gd name="T86" fmla="*/ 285 w 345"/>
              <a:gd name="T87" fmla="*/ 219 h 251"/>
              <a:gd name="T88" fmla="*/ 279 w 345"/>
              <a:gd name="T89" fmla="*/ 220 h 251"/>
              <a:gd name="T90" fmla="*/ 270 w 345"/>
              <a:gd name="T91" fmla="*/ 224 h 251"/>
              <a:gd name="T92" fmla="*/ 258 w 345"/>
              <a:gd name="T93" fmla="*/ 219 h 251"/>
              <a:gd name="T94" fmla="*/ 250 w 345"/>
              <a:gd name="T95" fmla="*/ 206 h 251"/>
              <a:gd name="T96" fmla="*/ 229 w 345"/>
              <a:gd name="T97" fmla="*/ 203 h 251"/>
              <a:gd name="T98" fmla="*/ 213 w 345"/>
              <a:gd name="T99" fmla="*/ 206 h 251"/>
              <a:gd name="T100" fmla="*/ 191 w 345"/>
              <a:gd name="T101" fmla="*/ 192 h 251"/>
              <a:gd name="T102" fmla="*/ 188 w 345"/>
              <a:gd name="T103" fmla="*/ 185 h 251"/>
              <a:gd name="T104" fmla="*/ 178 w 345"/>
              <a:gd name="T105" fmla="*/ 178 h 251"/>
              <a:gd name="T106" fmla="*/ 161 w 345"/>
              <a:gd name="T107" fmla="*/ 179 h 251"/>
              <a:gd name="T108" fmla="*/ 153 w 345"/>
              <a:gd name="T109" fmla="*/ 180 h 251"/>
              <a:gd name="T110" fmla="*/ 119 w 345"/>
              <a:gd name="T111" fmla="*/ 202 h 251"/>
              <a:gd name="T112" fmla="*/ 116 w 345"/>
              <a:gd name="T113" fmla="*/ 212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5" h="251">
                <a:moveTo>
                  <a:pt x="116" y="212"/>
                </a:moveTo>
                <a:cubicBezTo>
                  <a:pt x="120" y="226"/>
                  <a:pt x="112" y="231"/>
                  <a:pt x="104" y="236"/>
                </a:cubicBezTo>
                <a:cubicBezTo>
                  <a:pt x="96" y="241"/>
                  <a:pt x="88" y="243"/>
                  <a:pt x="79" y="238"/>
                </a:cubicBezTo>
                <a:cubicBezTo>
                  <a:pt x="71" y="233"/>
                  <a:pt x="65" y="228"/>
                  <a:pt x="55" y="229"/>
                </a:cubicBezTo>
                <a:cubicBezTo>
                  <a:pt x="49" y="230"/>
                  <a:pt x="40" y="227"/>
                  <a:pt x="39" y="217"/>
                </a:cubicBezTo>
                <a:cubicBezTo>
                  <a:pt x="39" y="214"/>
                  <a:pt x="38" y="211"/>
                  <a:pt x="36" y="210"/>
                </a:cubicBezTo>
                <a:cubicBezTo>
                  <a:pt x="23" y="200"/>
                  <a:pt x="17" y="187"/>
                  <a:pt x="15" y="172"/>
                </a:cubicBezTo>
                <a:cubicBezTo>
                  <a:pt x="14" y="166"/>
                  <a:pt x="15" y="159"/>
                  <a:pt x="14" y="153"/>
                </a:cubicBezTo>
                <a:cubicBezTo>
                  <a:pt x="14" y="143"/>
                  <a:pt x="16" y="132"/>
                  <a:pt x="13" y="121"/>
                </a:cubicBezTo>
                <a:cubicBezTo>
                  <a:pt x="11" y="116"/>
                  <a:pt x="13" y="110"/>
                  <a:pt x="21" y="110"/>
                </a:cubicBezTo>
                <a:cubicBezTo>
                  <a:pt x="22" y="109"/>
                  <a:pt x="23" y="109"/>
                  <a:pt x="23" y="109"/>
                </a:cubicBezTo>
                <a:cubicBezTo>
                  <a:pt x="26" y="105"/>
                  <a:pt x="28" y="102"/>
                  <a:pt x="31" y="98"/>
                </a:cubicBezTo>
                <a:cubicBezTo>
                  <a:pt x="27" y="96"/>
                  <a:pt x="24" y="94"/>
                  <a:pt x="21" y="93"/>
                </a:cubicBezTo>
                <a:cubicBezTo>
                  <a:pt x="18" y="92"/>
                  <a:pt x="14" y="93"/>
                  <a:pt x="11" y="92"/>
                </a:cubicBezTo>
                <a:cubicBezTo>
                  <a:pt x="2" y="91"/>
                  <a:pt x="0" y="86"/>
                  <a:pt x="3" y="77"/>
                </a:cubicBezTo>
                <a:cubicBezTo>
                  <a:pt x="7" y="69"/>
                  <a:pt x="10" y="61"/>
                  <a:pt x="13" y="53"/>
                </a:cubicBezTo>
                <a:cubicBezTo>
                  <a:pt x="19" y="42"/>
                  <a:pt x="34" y="36"/>
                  <a:pt x="46" y="41"/>
                </a:cubicBezTo>
                <a:cubicBezTo>
                  <a:pt x="53" y="43"/>
                  <a:pt x="60" y="47"/>
                  <a:pt x="67" y="48"/>
                </a:cubicBezTo>
                <a:cubicBezTo>
                  <a:pt x="76" y="50"/>
                  <a:pt x="85" y="50"/>
                  <a:pt x="94" y="50"/>
                </a:cubicBezTo>
                <a:cubicBezTo>
                  <a:pt x="106" y="49"/>
                  <a:pt x="118" y="46"/>
                  <a:pt x="131" y="45"/>
                </a:cubicBezTo>
                <a:cubicBezTo>
                  <a:pt x="133" y="45"/>
                  <a:pt x="136" y="46"/>
                  <a:pt x="139" y="46"/>
                </a:cubicBezTo>
                <a:cubicBezTo>
                  <a:pt x="141" y="46"/>
                  <a:pt x="144" y="48"/>
                  <a:pt x="146" y="47"/>
                </a:cubicBezTo>
                <a:cubicBezTo>
                  <a:pt x="157" y="40"/>
                  <a:pt x="167" y="44"/>
                  <a:pt x="178" y="47"/>
                </a:cubicBezTo>
                <a:cubicBezTo>
                  <a:pt x="185" y="50"/>
                  <a:pt x="189" y="48"/>
                  <a:pt x="193" y="41"/>
                </a:cubicBezTo>
                <a:cubicBezTo>
                  <a:pt x="202" y="25"/>
                  <a:pt x="215" y="14"/>
                  <a:pt x="233" y="9"/>
                </a:cubicBezTo>
                <a:cubicBezTo>
                  <a:pt x="238" y="7"/>
                  <a:pt x="244" y="6"/>
                  <a:pt x="250" y="4"/>
                </a:cubicBezTo>
                <a:cubicBezTo>
                  <a:pt x="263" y="0"/>
                  <a:pt x="268" y="3"/>
                  <a:pt x="271" y="16"/>
                </a:cubicBezTo>
                <a:cubicBezTo>
                  <a:pt x="274" y="28"/>
                  <a:pt x="277" y="41"/>
                  <a:pt x="279" y="53"/>
                </a:cubicBezTo>
                <a:cubicBezTo>
                  <a:pt x="281" y="68"/>
                  <a:pt x="287" y="77"/>
                  <a:pt x="303" y="80"/>
                </a:cubicBezTo>
                <a:cubicBezTo>
                  <a:pt x="318" y="83"/>
                  <a:pt x="320" y="88"/>
                  <a:pt x="314" y="101"/>
                </a:cubicBezTo>
                <a:cubicBezTo>
                  <a:pt x="307" y="115"/>
                  <a:pt x="307" y="128"/>
                  <a:pt x="314" y="142"/>
                </a:cubicBezTo>
                <a:cubicBezTo>
                  <a:pt x="317" y="147"/>
                  <a:pt x="318" y="153"/>
                  <a:pt x="319" y="159"/>
                </a:cubicBezTo>
                <a:cubicBezTo>
                  <a:pt x="319" y="172"/>
                  <a:pt x="321" y="175"/>
                  <a:pt x="332" y="178"/>
                </a:cubicBezTo>
                <a:cubicBezTo>
                  <a:pt x="338" y="180"/>
                  <a:pt x="339" y="182"/>
                  <a:pt x="339" y="187"/>
                </a:cubicBezTo>
                <a:cubicBezTo>
                  <a:pt x="339" y="196"/>
                  <a:pt x="340" y="206"/>
                  <a:pt x="342" y="214"/>
                </a:cubicBezTo>
                <a:cubicBezTo>
                  <a:pt x="345" y="224"/>
                  <a:pt x="341" y="230"/>
                  <a:pt x="336" y="236"/>
                </a:cubicBezTo>
                <a:cubicBezTo>
                  <a:pt x="335" y="237"/>
                  <a:pt x="333" y="238"/>
                  <a:pt x="332" y="239"/>
                </a:cubicBezTo>
                <a:cubicBezTo>
                  <a:pt x="329" y="242"/>
                  <a:pt x="327" y="251"/>
                  <a:pt x="320" y="246"/>
                </a:cubicBezTo>
                <a:cubicBezTo>
                  <a:pt x="315" y="242"/>
                  <a:pt x="305" y="240"/>
                  <a:pt x="311" y="229"/>
                </a:cubicBezTo>
                <a:cubicBezTo>
                  <a:pt x="313" y="225"/>
                  <a:pt x="304" y="220"/>
                  <a:pt x="299" y="223"/>
                </a:cubicBezTo>
                <a:cubicBezTo>
                  <a:pt x="297" y="224"/>
                  <a:pt x="295" y="226"/>
                  <a:pt x="292" y="227"/>
                </a:cubicBezTo>
                <a:cubicBezTo>
                  <a:pt x="290" y="230"/>
                  <a:pt x="287" y="232"/>
                  <a:pt x="284" y="234"/>
                </a:cubicBezTo>
                <a:cubicBezTo>
                  <a:pt x="285" y="231"/>
                  <a:pt x="287" y="228"/>
                  <a:pt x="287" y="225"/>
                </a:cubicBezTo>
                <a:cubicBezTo>
                  <a:pt x="287" y="223"/>
                  <a:pt x="286" y="221"/>
                  <a:pt x="285" y="219"/>
                </a:cubicBezTo>
                <a:cubicBezTo>
                  <a:pt x="283" y="219"/>
                  <a:pt x="281" y="219"/>
                  <a:pt x="279" y="220"/>
                </a:cubicBezTo>
                <a:cubicBezTo>
                  <a:pt x="276" y="221"/>
                  <a:pt x="273" y="223"/>
                  <a:pt x="270" y="224"/>
                </a:cubicBezTo>
                <a:cubicBezTo>
                  <a:pt x="265" y="226"/>
                  <a:pt x="261" y="225"/>
                  <a:pt x="258" y="219"/>
                </a:cubicBezTo>
                <a:cubicBezTo>
                  <a:pt x="256" y="215"/>
                  <a:pt x="253" y="211"/>
                  <a:pt x="250" y="206"/>
                </a:cubicBezTo>
                <a:cubicBezTo>
                  <a:pt x="243" y="197"/>
                  <a:pt x="237" y="195"/>
                  <a:pt x="229" y="203"/>
                </a:cubicBezTo>
                <a:cubicBezTo>
                  <a:pt x="224" y="208"/>
                  <a:pt x="219" y="210"/>
                  <a:pt x="213" y="206"/>
                </a:cubicBezTo>
                <a:cubicBezTo>
                  <a:pt x="206" y="201"/>
                  <a:pt x="198" y="197"/>
                  <a:pt x="191" y="192"/>
                </a:cubicBezTo>
                <a:cubicBezTo>
                  <a:pt x="189" y="191"/>
                  <a:pt x="189" y="187"/>
                  <a:pt x="188" y="185"/>
                </a:cubicBezTo>
                <a:cubicBezTo>
                  <a:pt x="187" y="178"/>
                  <a:pt x="184" y="174"/>
                  <a:pt x="178" y="178"/>
                </a:cubicBezTo>
                <a:cubicBezTo>
                  <a:pt x="172" y="181"/>
                  <a:pt x="168" y="181"/>
                  <a:pt x="161" y="179"/>
                </a:cubicBezTo>
                <a:cubicBezTo>
                  <a:pt x="159" y="178"/>
                  <a:pt x="154" y="179"/>
                  <a:pt x="153" y="180"/>
                </a:cubicBezTo>
                <a:cubicBezTo>
                  <a:pt x="143" y="190"/>
                  <a:pt x="132" y="197"/>
                  <a:pt x="119" y="202"/>
                </a:cubicBezTo>
                <a:cubicBezTo>
                  <a:pt x="117" y="203"/>
                  <a:pt x="116" y="210"/>
                  <a:pt x="116" y="21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C21EC646-C792-4103-9819-D86E220310E5}"/>
              </a:ext>
            </a:extLst>
          </p:cNvPr>
          <p:cNvSpPr>
            <a:spLocks/>
          </p:cNvSpPr>
          <p:nvPr userDrawn="1"/>
        </p:nvSpPr>
        <p:spPr bwMode="auto">
          <a:xfrm>
            <a:off x="8116888" y="4035425"/>
            <a:ext cx="1409700" cy="1298575"/>
          </a:xfrm>
          <a:custGeom>
            <a:avLst/>
            <a:gdLst>
              <a:gd name="T0" fmla="*/ 574 w 594"/>
              <a:gd name="T1" fmla="*/ 71 h 548"/>
              <a:gd name="T2" fmla="*/ 531 w 594"/>
              <a:gd name="T3" fmla="*/ 80 h 548"/>
              <a:gd name="T4" fmla="*/ 503 w 594"/>
              <a:gd name="T5" fmla="*/ 70 h 548"/>
              <a:gd name="T6" fmla="*/ 475 w 594"/>
              <a:gd name="T7" fmla="*/ 96 h 548"/>
              <a:gd name="T8" fmla="*/ 461 w 594"/>
              <a:gd name="T9" fmla="*/ 114 h 548"/>
              <a:gd name="T10" fmla="*/ 436 w 594"/>
              <a:gd name="T11" fmla="*/ 112 h 548"/>
              <a:gd name="T12" fmla="*/ 429 w 594"/>
              <a:gd name="T13" fmla="*/ 107 h 548"/>
              <a:gd name="T14" fmla="*/ 423 w 594"/>
              <a:gd name="T15" fmla="*/ 139 h 548"/>
              <a:gd name="T16" fmla="*/ 388 w 594"/>
              <a:gd name="T17" fmla="*/ 148 h 548"/>
              <a:gd name="T18" fmla="*/ 367 w 594"/>
              <a:gd name="T19" fmla="*/ 158 h 548"/>
              <a:gd name="T20" fmla="*/ 355 w 594"/>
              <a:gd name="T21" fmla="*/ 158 h 548"/>
              <a:gd name="T22" fmla="*/ 330 w 594"/>
              <a:gd name="T23" fmla="*/ 157 h 548"/>
              <a:gd name="T24" fmla="*/ 308 w 594"/>
              <a:gd name="T25" fmla="*/ 130 h 548"/>
              <a:gd name="T26" fmla="*/ 280 w 594"/>
              <a:gd name="T27" fmla="*/ 100 h 548"/>
              <a:gd name="T28" fmla="*/ 244 w 594"/>
              <a:gd name="T29" fmla="*/ 77 h 548"/>
              <a:gd name="T30" fmla="*/ 242 w 594"/>
              <a:gd name="T31" fmla="*/ 47 h 548"/>
              <a:gd name="T32" fmla="*/ 222 w 594"/>
              <a:gd name="T33" fmla="*/ 23 h 548"/>
              <a:gd name="T34" fmla="*/ 185 w 594"/>
              <a:gd name="T35" fmla="*/ 19 h 548"/>
              <a:gd name="T36" fmla="*/ 138 w 594"/>
              <a:gd name="T37" fmla="*/ 2 h 548"/>
              <a:gd name="T38" fmla="*/ 118 w 594"/>
              <a:gd name="T39" fmla="*/ 36 h 548"/>
              <a:gd name="T40" fmla="*/ 98 w 594"/>
              <a:gd name="T41" fmla="*/ 40 h 548"/>
              <a:gd name="T42" fmla="*/ 90 w 594"/>
              <a:gd name="T43" fmla="*/ 82 h 548"/>
              <a:gd name="T44" fmla="*/ 70 w 594"/>
              <a:gd name="T45" fmla="*/ 119 h 548"/>
              <a:gd name="T46" fmla="*/ 68 w 594"/>
              <a:gd name="T47" fmla="*/ 166 h 548"/>
              <a:gd name="T48" fmla="*/ 61 w 594"/>
              <a:gd name="T49" fmla="*/ 189 h 548"/>
              <a:gd name="T50" fmla="*/ 48 w 594"/>
              <a:gd name="T51" fmla="*/ 250 h 548"/>
              <a:gd name="T52" fmla="*/ 58 w 594"/>
              <a:gd name="T53" fmla="*/ 261 h 548"/>
              <a:gd name="T54" fmla="*/ 60 w 594"/>
              <a:gd name="T55" fmla="*/ 274 h 548"/>
              <a:gd name="T56" fmla="*/ 57 w 594"/>
              <a:gd name="T57" fmla="*/ 288 h 548"/>
              <a:gd name="T58" fmla="*/ 47 w 594"/>
              <a:gd name="T59" fmla="*/ 296 h 548"/>
              <a:gd name="T60" fmla="*/ 25 w 594"/>
              <a:gd name="T61" fmla="*/ 315 h 548"/>
              <a:gd name="T62" fmla="*/ 26 w 594"/>
              <a:gd name="T63" fmla="*/ 363 h 548"/>
              <a:gd name="T64" fmla="*/ 7 w 594"/>
              <a:gd name="T65" fmla="*/ 366 h 548"/>
              <a:gd name="T66" fmla="*/ 1 w 594"/>
              <a:gd name="T67" fmla="*/ 388 h 548"/>
              <a:gd name="T68" fmla="*/ 15 w 594"/>
              <a:gd name="T69" fmla="*/ 440 h 548"/>
              <a:gd name="T70" fmla="*/ 20 w 594"/>
              <a:gd name="T71" fmla="*/ 453 h 548"/>
              <a:gd name="T72" fmla="*/ 37 w 594"/>
              <a:gd name="T73" fmla="*/ 418 h 548"/>
              <a:gd name="T74" fmla="*/ 48 w 594"/>
              <a:gd name="T75" fmla="*/ 463 h 548"/>
              <a:gd name="T76" fmla="*/ 67 w 594"/>
              <a:gd name="T77" fmla="*/ 459 h 548"/>
              <a:gd name="T78" fmla="*/ 101 w 594"/>
              <a:gd name="T79" fmla="*/ 464 h 548"/>
              <a:gd name="T80" fmla="*/ 133 w 594"/>
              <a:gd name="T81" fmla="*/ 503 h 548"/>
              <a:gd name="T82" fmla="*/ 111 w 594"/>
              <a:gd name="T83" fmla="*/ 539 h 548"/>
              <a:gd name="T84" fmla="*/ 117 w 594"/>
              <a:gd name="T85" fmla="*/ 547 h 548"/>
              <a:gd name="T86" fmla="*/ 159 w 594"/>
              <a:gd name="T87" fmla="*/ 518 h 548"/>
              <a:gd name="T88" fmla="*/ 189 w 594"/>
              <a:gd name="T89" fmla="*/ 507 h 548"/>
              <a:gd name="T90" fmla="*/ 228 w 594"/>
              <a:gd name="T91" fmla="*/ 499 h 548"/>
              <a:gd name="T92" fmla="*/ 255 w 594"/>
              <a:gd name="T93" fmla="*/ 487 h 548"/>
              <a:gd name="T94" fmla="*/ 257 w 594"/>
              <a:gd name="T95" fmla="*/ 463 h 548"/>
              <a:gd name="T96" fmla="*/ 251 w 594"/>
              <a:gd name="T97" fmla="*/ 403 h 548"/>
              <a:gd name="T98" fmla="*/ 263 w 594"/>
              <a:gd name="T99" fmla="*/ 322 h 548"/>
              <a:gd name="T100" fmla="*/ 309 w 594"/>
              <a:gd name="T101" fmla="*/ 313 h 548"/>
              <a:gd name="T102" fmla="*/ 338 w 594"/>
              <a:gd name="T103" fmla="*/ 279 h 548"/>
              <a:gd name="T104" fmla="*/ 399 w 594"/>
              <a:gd name="T105" fmla="*/ 259 h 548"/>
              <a:gd name="T106" fmla="*/ 412 w 594"/>
              <a:gd name="T107" fmla="*/ 247 h 548"/>
              <a:gd name="T108" fmla="*/ 462 w 594"/>
              <a:gd name="T109" fmla="*/ 185 h 548"/>
              <a:gd name="T110" fmla="*/ 529 w 594"/>
              <a:gd name="T111" fmla="*/ 129 h 548"/>
              <a:gd name="T112" fmla="*/ 587 w 594"/>
              <a:gd name="T113" fmla="*/ 70 h 548"/>
              <a:gd name="T114" fmla="*/ 580 w 594"/>
              <a:gd name="T115" fmla="*/ 64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94" h="548">
                <a:moveTo>
                  <a:pt x="580" y="64"/>
                </a:moveTo>
                <a:cubicBezTo>
                  <a:pt x="577" y="66"/>
                  <a:pt x="576" y="69"/>
                  <a:pt x="574" y="71"/>
                </a:cubicBezTo>
                <a:cubicBezTo>
                  <a:pt x="567" y="80"/>
                  <a:pt x="547" y="87"/>
                  <a:pt x="537" y="85"/>
                </a:cubicBezTo>
                <a:cubicBezTo>
                  <a:pt x="534" y="84"/>
                  <a:pt x="531" y="81"/>
                  <a:pt x="531" y="80"/>
                </a:cubicBezTo>
                <a:cubicBezTo>
                  <a:pt x="530" y="71"/>
                  <a:pt x="523" y="69"/>
                  <a:pt x="517" y="66"/>
                </a:cubicBezTo>
                <a:cubicBezTo>
                  <a:pt x="509" y="61"/>
                  <a:pt x="504" y="62"/>
                  <a:pt x="503" y="70"/>
                </a:cubicBezTo>
                <a:cubicBezTo>
                  <a:pt x="501" y="80"/>
                  <a:pt x="494" y="84"/>
                  <a:pt x="485" y="85"/>
                </a:cubicBezTo>
                <a:cubicBezTo>
                  <a:pt x="478" y="86"/>
                  <a:pt x="475" y="90"/>
                  <a:pt x="475" y="96"/>
                </a:cubicBezTo>
                <a:cubicBezTo>
                  <a:pt x="474" y="99"/>
                  <a:pt x="474" y="102"/>
                  <a:pt x="474" y="104"/>
                </a:cubicBezTo>
                <a:cubicBezTo>
                  <a:pt x="473" y="111"/>
                  <a:pt x="470" y="117"/>
                  <a:pt x="461" y="114"/>
                </a:cubicBezTo>
                <a:cubicBezTo>
                  <a:pt x="459" y="114"/>
                  <a:pt x="456" y="115"/>
                  <a:pt x="454" y="117"/>
                </a:cubicBezTo>
                <a:cubicBezTo>
                  <a:pt x="443" y="126"/>
                  <a:pt x="443" y="126"/>
                  <a:pt x="436" y="112"/>
                </a:cubicBezTo>
                <a:cubicBezTo>
                  <a:pt x="435" y="111"/>
                  <a:pt x="435" y="109"/>
                  <a:pt x="433" y="108"/>
                </a:cubicBezTo>
                <a:cubicBezTo>
                  <a:pt x="432" y="107"/>
                  <a:pt x="429" y="107"/>
                  <a:pt x="429" y="107"/>
                </a:cubicBezTo>
                <a:cubicBezTo>
                  <a:pt x="427" y="114"/>
                  <a:pt x="424" y="122"/>
                  <a:pt x="424" y="129"/>
                </a:cubicBezTo>
                <a:cubicBezTo>
                  <a:pt x="424" y="133"/>
                  <a:pt x="427" y="136"/>
                  <a:pt x="423" y="139"/>
                </a:cubicBezTo>
                <a:cubicBezTo>
                  <a:pt x="418" y="142"/>
                  <a:pt x="414" y="149"/>
                  <a:pt x="408" y="145"/>
                </a:cubicBezTo>
                <a:cubicBezTo>
                  <a:pt x="400" y="139"/>
                  <a:pt x="394" y="143"/>
                  <a:pt x="388" y="148"/>
                </a:cubicBezTo>
                <a:cubicBezTo>
                  <a:pt x="386" y="150"/>
                  <a:pt x="383" y="152"/>
                  <a:pt x="381" y="154"/>
                </a:cubicBezTo>
                <a:cubicBezTo>
                  <a:pt x="376" y="156"/>
                  <a:pt x="371" y="157"/>
                  <a:pt x="367" y="158"/>
                </a:cubicBezTo>
                <a:cubicBezTo>
                  <a:pt x="367" y="158"/>
                  <a:pt x="367" y="158"/>
                  <a:pt x="367" y="158"/>
                </a:cubicBezTo>
                <a:cubicBezTo>
                  <a:pt x="363" y="158"/>
                  <a:pt x="359" y="158"/>
                  <a:pt x="355" y="158"/>
                </a:cubicBezTo>
                <a:cubicBezTo>
                  <a:pt x="352" y="158"/>
                  <a:pt x="350" y="158"/>
                  <a:pt x="351" y="158"/>
                </a:cubicBezTo>
                <a:cubicBezTo>
                  <a:pt x="342" y="157"/>
                  <a:pt x="336" y="157"/>
                  <a:pt x="330" y="157"/>
                </a:cubicBezTo>
                <a:cubicBezTo>
                  <a:pt x="321" y="157"/>
                  <a:pt x="316" y="153"/>
                  <a:pt x="317" y="144"/>
                </a:cubicBezTo>
                <a:cubicBezTo>
                  <a:pt x="317" y="137"/>
                  <a:pt x="315" y="132"/>
                  <a:pt x="308" y="130"/>
                </a:cubicBezTo>
                <a:cubicBezTo>
                  <a:pt x="302" y="128"/>
                  <a:pt x="300" y="125"/>
                  <a:pt x="299" y="118"/>
                </a:cubicBezTo>
                <a:cubicBezTo>
                  <a:pt x="297" y="109"/>
                  <a:pt x="290" y="102"/>
                  <a:pt x="280" y="100"/>
                </a:cubicBezTo>
                <a:cubicBezTo>
                  <a:pt x="269" y="97"/>
                  <a:pt x="261" y="89"/>
                  <a:pt x="250" y="85"/>
                </a:cubicBezTo>
                <a:cubicBezTo>
                  <a:pt x="248" y="84"/>
                  <a:pt x="245" y="80"/>
                  <a:pt x="244" y="77"/>
                </a:cubicBezTo>
                <a:cubicBezTo>
                  <a:pt x="243" y="74"/>
                  <a:pt x="244" y="69"/>
                  <a:pt x="242" y="67"/>
                </a:cubicBezTo>
                <a:cubicBezTo>
                  <a:pt x="235" y="60"/>
                  <a:pt x="237" y="54"/>
                  <a:pt x="242" y="47"/>
                </a:cubicBezTo>
                <a:cubicBezTo>
                  <a:pt x="243" y="45"/>
                  <a:pt x="243" y="43"/>
                  <a:pt x="243" y="41"/>
                </a:cubicBezTo>
                <a:cubicBezTo>
                  <a:pt x="245" y="30"/>
                  <a:pt x="234" y="21"/>
                  <a:pt x="222" y="23"/>
                </a:cubicBezTo>
                <a:cubicBezTo>
                  <a:pt x="215" y="24"/>
                  <a:pt x="207" y="22"/>
                  <a:pt x="199" y="21"/>
                </a:cubicBezTo>
                <a:cubicBezTo>
                  <a:pt x="194" y="21"/>
                  <a:pt x="189" y="18"/>
                  <a:pt x="185" y="19"/>
                </a:cubicBezTo>
                <a:cubicBezTo>
                  <a:pt x="176" y="20"/>
                  <a:pt x="171" y="17"/>
                  <a:pt x="167" y="11"/>
                </a:cubicBezTo>
                <a:cubicBezTo>
                  <a:pt x="160" y="0"/>
                  <a:pt x="149" y="2"/>
                  <a:pt x="138" y="2"/>
                </a:cubicBezTo>
                <a:cubicBezTo>
                  <a:pt x="137" y="2"/>
                  <a:pt x="134" y="5"/>
                  <a:pt x="134" y="7"/>
                </a:cubicBezTo>
                <a:cubicBezTo>
                  <a:pt x="131" y="18"/>
                  <a:pt x="123" y="26"/>
                  <a:pt x="118" y="36"/>
                </a:cubicBezTo>
                <a:cubicBezTo>
                  <a:pt x="115" y="41"/>
                  <a:pt x="112" y="42"/>
                  <a:pt x="107" y="40"/>
                </a:cubicBezTo>
                <a:cubicBezTo>
                  <a:pt x="104" y="40"/>
                  <a:pt x="100" y="39"/>
                  <a:pt x="98" y="40"/>
                </a:cubicBezTo>
                <a:cubicBezTo>
                  <a:pt x="91" y="45"/>
                  <a:pt x="88" y="56"/>
                  <a:pt x="92" y="64"/>
                </a:cubicBezTo>
                <a:cubicBezTo>
                  <a:pt x="96" y="71"/>
                  <a:pt x="94" y="77"/>
                  <a:pt x="90" y="82"/>
                </a:cubicBezTo>
                <a:cubicBezTo>
                  <a:pt x="86" y="86"/>
                  <a:pt x="83" y="91"/>
                  <a:pt x="79" y="94"/>
                </a:cubicBezTo>
                <a:cubicBezTo>
                  <a:pt x="67" y="100"/>
                  <a:pt x="68" y="108"/>
                  <a:pt x="70" y="119"/>
                </a:cubicBezTo>
                <a:cubicBezTo>
                  <a:pt x="72" y="130"/>
                  <a:pt x="76" y="142"/>
                  <a:pt x="66" y="152"/>
                </a:cubicBezTo>
                <a:cubicBezTo>
                  <a:pt x="61" y="157"/>
                  <a:pt x="62" y="162"/>
                  <a:pt x="68" y="166"/>
                </a:cubicBezTo>
                <a:cubicBezTo>
                  <a:pt x="76" y="170"/>
                  <a:pt x="74" y="175"/>
                  <a:pt x="69" y="181"/>
                </a:cubicBezTo>
                <a:cubicBezTo>
                  <a:pt x="66" y="183"/>
                  <a:pt x="64" y="186"/>
                  <a:pt x="61" y="189"/>
                </a:cubicBezTo>
                <a:cubicBezTo>
                  <a:pt x="57" y="193"/>
                  <a:pt x="56" y="198"/>
                  <a:pt x="57" y="204"/>
                </a:cubicBezTo>
                <a:cubicBezTo>
                  <a:pt x="59" y="220"/>
                  <a:pt x="60" y="236"/>
                  <a:pt x="48" y="250"/>
                </a:cubicBezTo>
                <a:cubicBezTo>
                  <a:pt x="43" y="256"/>
                  <a:pt x="44" y="258"/>
                  <a:pt x="51" y="260"/>
                </a:cubicBezTo>
                <a:cubicBezTo>
                  <a:pt x="54" y="261"/>
                  <a:pt x="56" y="261"/>
                  <a:pt x="58" y="261"/>
                </a:cubicBezTo>
                <a:cubicBezTo>
                  <a:pt x="64" y="262"/>
                  <a:pt x="66" y="264"/>
                  <a:pt x="63" y="269"/>
                </a:cubicBezTo>
                <a:cubicBezTo>
                  <a:pt x="62" y="271"/>
                  <a:pt x="61" y="273"/>
                  <a:pt x="60" y="274"/>
                </a:cubicBezTo>
                <a:cubicBezTo>
                  <a:pt x="59" y="280"/>
                  <a:pt x="58" y="283"/>
                  <a:pt x="58" y="286"/>
                </a:cubicBezTo>
                <a:cubicBezTo>
                  <a:pt x="58" y="287"/>
                  <a:pt x="58" y="287"/>
                  <a:pt x="57" y="288"/>
                </a:cubicBezTo>
                <a:cubicBezTo>
                  <a:pt x="55" y="291"/>
                  <a:pt x="55" y="294"/>
                  <a:pt x="55" y="297"/>
                </a:cubicBezTo>
                <a:cubicBezTo>
                  <a:pt x="52" y="297"/>
                  <a:pt x="50" y="296"/>
                  <a:pt x="47" y="296"/>
                </a:cubicBezTo>
                <a:cubicBezTo>
                  <a:pt x="32" y="294"/>
                  <a:pt x="31" y="295"/>
                  <a:pt x="27" y="309"/>
                </a:cubicBezTo>
                <a:cubicBezTo>
                  <a:pt x="27" y="311"/>
                  <a:pt x="26" y="313"/>
                  <a:pt x="25" y="315"/>
                </a:cubicBezTo>
                <a:cubicBezTo>
                  <a:pt x="17" y="324"/>
                  <a:pt x="18" y="332"/>
                  <a:pt x="26" y="343"/>
                </a:cubicBezTo>
                <a:cubicBezTo>
                  <a:pt x="30" y="347"/>
                  <a:pt x="28" y="357"/>
                  <a:pt x="26" y="363"/>
                </a:cubicBezTo>
                <a:cubicBezTo>
                  <a:pt x="24" y="370"/>
                  <a:pt x="17" y="368"/>
                  <a:pt x="11" y="367"/>
                </a:cubicBezTo>
                <a:cubicBezTo>
                  <a:pt x="9" y="366"/>
                  <a:pt x="8" y="365"/>
                  <a:pt x="7" y="366"/>
                </a:cubicBezTo>
                <a:cubicBezTo>
                  <a:pt x="5" y="367"/>
                  <a:pt x="2" y="370"/>
                  <a:pt x="2" y="370"/>
                </a:cubicBezTo>
                <a:cubicBezTo>
                  <a:pt x="7" y="376"/>
                  <a:pt x="3" y="382"/>
                  <a:pt x="1" y="388"/>
                </a:cubicBezTo>
                <a:cubicBezTo>
                  <a:pt x="0" y="391"/>
                  <a:pt x="0" y="395"/>
                  <a:pt x="2" y="397"/>
                </a:cubicBezTo>
                <a:cubicBezTo>
                  <a:pt x="14" y="409"/>
                  <a:pt x="11" y="425"/>
                  <a:pt x="15" y="440"/>
                </a:cubicBezTo>
                <a:cubicBezTo>
                  <a:pt x="15" y="442"/>
                  <a:pt x="14" y="445"/>
                  <a:pt x="14" y="448"/>
                </a:cubicBezTo>
                <a:cubicBezTo>
                  <a:pt x="15" y="453"/>
                  <a:pt x="19" y="456"/>
                  <a:pt x="20" y="453"/>
                </a:cubicBezTo>
                <a:cubicBezTo>
                  <a:pt x="21" y="448"/>
                  <a:pt x="19" y="443"/>
                  <a:pt x="18" y="439"/>
                </a:cubicBezTo>
                <a:cubicBezTo>
                  <a:pt x="14" y="423"/>
                  <a:pt x="22" y="414"/>
                  <a:pt x="37" y="418"/>
                </a:cubicBezTo>
                <a:cubicBezTo>
                  <a:pt x="47" y="420"/>
                  <a:pt x="48" y="421"/>
                  <a:pt x="43" y="431"/>
                </a:cubicBezTo>
                <a:cubicBezTo>
                  <a:pt x="36" y="443"/>
                  <a:pt x="43" y="453"/>
                  <a:pt x="48" y="463"/>
                </a:cubicBezTo>
                <a:cubicBezTo>
                  <a:pt x="48" y="465"/>
                  <a:pt x="52" y="466"/>
                  <a:pt x="53" y="465"/>
                </a:cubicBezTo>
                <a:cubicBezTo>
                  <a:pt x="58" y="464"/>
                  <a:pt x="65" y="463"/>
                  <a:pt x="67" y="459"/>
                </a:cubicBezTo>
                <a:cubicBezTo>
                  <a:pt x="73" y="450"/>
                  <a:pt x="82" y="453"/>
                  <a:pt x="90" y="453"/>
                </a:cubicBezTo>
                <a:cubicBezTo>
                  <a:pt x="97" y="454"/>
                  <a:pt x="101" y="456"/>
                  <a:pt x="101" y="464"/>
                </a:cubicBezTo>
                <a:cubicBezTo>
                  <a:pt x="101" y="467"/>
                  <a:pt x="104" y="473"/>
                  <a:pt x="107" y="473"/>
                </a:cubicBezTo>
                <a:cubicBezTo>
                  <a:pt x="124" y="476"/>
                  <a:pt x="117" y="499"/>
                  <a:pt x="133" y="503"/>
                </a:cubicBezTo>
                <a:cubicBezTo>
                  <a:pt x="133" y="503"/>
                  <a:pt x="133" y="507"/>
                  <a:pt x="132" y="509"/>
                </a:cubicBezTo>
                <a:cubicBezTo>
                  <a:pt x="130" y="522"/>
                  <a:pt x="122" y="531"/>
                  <a:pt x="111" y="539"/>
                </a:cubicBezTo>
                <a:cubicBezTo>
                  <a:pt x="110" y="540"/>
                  <a:pt x="109" y="544"/>
                  <a:pt x="108" y="546"/>
                </a:cubicBezTo>
                <a:cubicBezTo>
                  <a:pt x="111" y="547"/>
                  <a:pt x="115" y="548"/>
                  <a:pt x="117" y="547"/>
                </a:cubicBezTo>
                <a:cubicBezTo>
                  <a:pt x="121" y="544"/>
                  <a:pt x="127" y="541"/>
                  <a:pt x="129" y="536"/>
                </a:cubicBezTo>
                <a:cubicBezTo>
                  <a:pt x="136" y="524"/>
                  <a:pt x="146" y="519"/>
                  <a:pt x="159" y="518"/>
                </a:cubicBezTo>
                <a:cubicBezTo>
                  <a:pt x="165" y="517"/>
                  <a:pt x="171" y="517"/>
                  <a:pt x="176" y="515"/>
                </a:cubicBezTo>
                <a:cubicBezTo>
                  <a:pt x="181" y="514"/>
                  <a:pt x="186" y="511"/>
                  <a:pt x="189" y="507"/>
                </a:cubicBezTo>
                <a:cubicBezTo>
                  <a:pt x="194" y="500"/>
                  <a:pt x="200" y="499"/>
                  <a:pt x="207" y="503"/>
                </a:cubicBezTo>
                <a:cubicBezTo>
                  <a:pt x="215" y="507"/>
                  <a:pt x="222" y="506"/>
                  <a:pt x="228" y="499"/>
                </a:cubicBezTo>
                <a:cubicBezTo>
                  <a:pt x="229" y="497"/>
                  <a:pt x="232" y="496"/>
                  <a:pt x="233" y="495"/>
                </a:cubicBezTo>
                <a:cubicBezTo>
                  <a:pt x="240" y="489"/>
                  <a:pt x="246" y="483"/>
                  <a:pt x="255" y="487"/>
                </a:cubicBezTo>
                <a:cubicBezTo>
                  <a:pt x="256" y="488"/>
                  <a:pt x="258" y="487"/>
                  <a:pt x="258" y="486"/>
                </a:cubicBezTo>
                <a:cubicBezTo>
                  <a:pt x="258" y="478"/>
                  <a:pt x="260" y="469"/>
                  <a:pt x="257" y="463"/>
                </a:cubicBezTo>
                <a:cubicBezTo>
                  <a:pt x="251" y="448"/>
                  <a:pt x="252" y="433"/>
                  <a:pt x="253" y="418"/>
                </a:cubicBezTo>
                <a:cubicBezTo>
                  <a:pt x="253" y="413"/>
                  <a:pt x="252" y="408"/>
                  <a:pt x="251" y="403"/>
                </a:cubicBezTo>
                <a:cubicBezTo>
                  <a:pt x="249" y="394"/>
                  <a:pt x="247" y="385"/>
                  <a:pt x="245" y="376"/>
                </a:cubicBezTo>
                <a:cubicBezTo>
                  <a:pt x="247" y="354"/>
                  <a:pt x="251" y="341"/>
                  <a:pt x="263" y="322"/>
                </a:cubicBezTo>
                <a:cubicBezTo>
                  <a:pt x="269" y="314"/>
                  <a:pt x="277" y="308"/>
                  <a:pt x="287" y="306"/>
                </a:cubicBezTo>
                <a:cubicBezTo>
                  <a:pt x="296" y="303"/>
                  <a:pt x="303" y="305"/>
                  <a:pt x="309" y="313"/>
                </a:cubicBezTo>
                <a:cubicBezTo>
                  <a:pt x="313" y="317"/>
                  <a:pt x="318" y="314"/>
                  <a:pt x="321" y="310"/>
                </a:cubicBezTo>
                <a:cubicBezTo>
                  <a:pt x="327" y="300"/>
                  <a:pt x="334" y="290"/>
                  <a:pt x="338" y="279"/>
                </a:cubicBezTo>
                <a:cubicBezTo>
                  <a:pt x="342" y="269"/>
                  <a:pt x="348" y="268"/>
                  <a:pt x="357" y="267"/>
                </a:cubicBezTo>
                <a:cubicBezTo>
                  <a:pt x="371" y="266"/>
                  <a:pt x="385" y="262"/>
                  <a:pt x="399" y="259"/>
                </a:cubicBezTo>
                <a:cubicBezTo>
                  <a:pt x="402" y="258"/>
                  <a:pt x="406" y="255"/>
                  <a:pt x="409" y="253"/>
                </a:cubicBezTo>
                <a:cubicBezTo>
                  <a:pt x="411" y="252"/>
                  <a:pt x="412" y="249"/>
                  <a:pt x="412" y="247"/>
                </a:cubicBezTo>
                <a:cubicBezTo>
                  <a:pt x="407" y="228"/>
                  <a:pt x="414" y="214"/>
                  <a:pt x="430" y="204"/>
                </a:cubicBezTo>
                <a:cubicBezTo>
                  <a:pt x="440" y="197"/>
                  <a:pt x="451" y="191"/>
                  <a:pt x="462" y="185"/>
                </a:cubicBezTo>
                <a:cubicBezTo>
                  <a:pt x="475" y="178"/>
                  <a:pt x="487" y="171"/>
                  <a:pt x="495" y="158"/>
                </a:cubicBezTo>
                <a:cubicBezTo>
                  <a:pt x="503" y="145"/>
                  <a:pt x="514" y="134"/>
                  <a:pt x="529" y="129"/>
                </a:cubicBezTo>
                <a:cubicBezTo>
                  <a:pt x="536" y="126"/>
                  <a:pt x="545" y="123"/>
                  <a:pt x="549" y="117"/>
                </a:cubicBezTo>
                <a:cubicBezTo>
                  <a:pt x="563" y="102"/>
                  <a:pt x="575" y="86"/>
                  <a:pt x="587" y="70"/>
                </a:cubicBezTo>
                <a:cubicBezTo>
                  <a:pt x="590" y="66"/>
                  <a:pt x="592" y="61"/>
                  <a:pt x="594" y="56"/>
                </a:cubicBezTo>
                <a:cubicBezTo>
                  <a:pt x="589" y="59"/>
                  <a:pt x="584" y="61"/>
                  <a:pt x="580" y="64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A9581C23-0817-4B0E-B98D-8C688E299F2A}"/>
              </a:ext>
            </a:extLst>
          </p:cNvPr>
          <p:cNvSpPr>
            <a:spLocks/>
          </p:cNvSpPr>
          <p:nvPr userDrawn="1"/>
        </p:nvSpPr>
        <p:spPr bwMode="auto">
          <a:xfrm>
            <a:off x="9288463" y="2644775"/>
            <a:ext cx="796925" cy="571500"/>
          </a:xfrm>
          <a:custGeom>
            <a:avLst/>
            <a:gdLst>
              <a:gd name="T0" fmla="*/ 17 w 336"/>
              <a:gd name="T1" fmla="*/ 166 h 241"/>
              <a:gd name="T2" fmla="*/ 61 w 336"/>
              <a:gd name="T3" fmla="*/ 141 h 241"/>
              <a:gd name="T4" fmla="*/ 76 w 336"/>
              <a:gd name="T5" fmla="*/ 138 h 241"/>
              <a:gd name="T6" fmla="*/ 83 w 336"/>
              <a:gd name="T7" fmla="*/ 124 h 241"/>
              <a:gd name="T8" fmla="*/ 54 w 336"/>
              <a:gd name="T9" fmla="*/ 107 h 241"/>
              <a:gd name="T10" fmla="*/ 48 w 336"/>
              <a:gd name="T11" fmla="*/ 78 h 241"/>
              <a:gd name="T12" fmla="*/ 48 w 336"/>
              <a:gd name="T13" fmla="*/ 68 h 241"/>
              <a:gd name="T14" fmla="*/ 72 w 336"/>
              <a:gd name="T15" fmla="*/ 64 h 241"/>
              <a:gd name="T16" fmla="*/ 48 w 336"/>
              <a:gd name="T17" fmla="*/ 36 h 241"/>
              <a:gd name="T18" fmla="*/ 40 w 336"/>
              <a:gd name="T19" fmla="*/ 14 h 241"/>
              <a:gd name="T20" fmla="*/ 53 w 336"/>
              <a:gd name="T21" fmla="*/ 2 h 241"/>
              <a:gd name="T22" fmla="*/ 85 w 336"/>
              <a:gd name="T23" fmla="*/ 22 h 241"/>
              <a:gd name="T24" fmla="*/ 129 w 336"/>
              <a:gd name="T25" fmla="*/ 53 h 241"/>
              <a:gd name="T26" fmla="*/ 150 w 336"/>
              <a:gd name="T27" fmla="*/ 49 h 241"/>
              <a:gd name="T28" fmla="*/ 163 w 336"/>
              <a:gd name="T29" fmla="*/ 62 h 241"/>
              <a:gd name="T30" fmla="*/ 220 w 336"/>
              <a:gd name="T31" fmla="*/ 72 h 241"/>
              <a:gd name="T32" fmla="*/ 257 w 336"/>
              <a:gd name="T33" fmla="*/ 74 h 241"/>
              <a:gd name="T34" fmla="*/ 290 w 336"/>
              <a:gd name="T35" fmla="*/ 78 h 241"/>
              <a:gd name="T36" fmla="*/ 318 w 336"/>
              <a:gd name="T37" fmla="*/ 76 h 241"/>
              <a:gd name="T38" fmla="*/ 335 w 336"/>
              <a:gd name="T39" fmla="*/ 71 h 241"/>
              <a:gd name="T40" fmla="*/ 322 w 336"/>
              <a:gd name="T41" fmla="*/ 91 h 241"/>
              <a:gd name="T42" fmla="*/ 326 w 336"/>
              <a:gd name="T43" fmla="*/ 138 h 241"/>
              <a:gd name="T44" fmla="*/ 305 w 336"/>
              <a:gd name="T45" fmla="*/ 155 h 241"/>
              <a:gd name="T46" fmla="*/ 279 w 336"/>
              <a:gd name="T47" fmla="*/ 169 h 241"/>
              <a:gd name="T48" fmla="*/ 257 w 336"/>
              <a:gd name="T49" fmla="*/ 208 h 241"/>
              <a:gd name="T50" fmla="*/ 218 w 336"/>
              <a:gd name="T51" fmla="*/ 228 h 241"/>
              <a:gd name="T52" fmla="*/ 195 w 336"/>
              <a:gd name="T53" fmla="*/ 209 h 241"/>
              <a:gd name="T54" fmla="*/ 172 w 336"/>
              <a:gd name="T55" fmla="*/ 204 h 241"/>
              <a:gd name="T56" fmla="*/ 137 w 336"/>
              <a:gd name="T57" fmla="*/ 226 h 241"/>
              <a:gd name="T58" fmla="*/ 105 w 336"/>
              <a:gd name="T59" fmla="*/ 230 h 241"/>
              <a:gd name="T60" fmla="*/ 92 w 336"/>
              <a:gd name="T61" fmla="*/ 233 h 241"/>
              <a:gd name="T62" fmla="*/ 59 w 336"/>
              <a:gd name="T63" fmla="*/ 223 h 241"/>
              <a:gd name="T64" fmla="*/ 21 w 336"/>
              <a:gd name="T65" fmla="*/ 226 h 241"/>
              <a:gd name="T66" fmla="*/ 6 w 336"/>
              <a:gd name="T67" fmla="*/ 202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36" h="241">
                <a:moveTo>
                  <a:pt x="1" y="190"/>
                </a:moveTo>
                <a:cubicBezTo>
                  <a:pt x="0" y="176"/>
                  <a:pt x="7" y="171"/>
                  <a:pt x="17" y="166"/>
                </a:cubicBezTo>
                <a:cubicBezTo>
                  <a:pt x="27" y="161"/>
                  <a:pt x="35" y="152"/>
                  <a:pt x="44" y="145"/>
                </a:cubicBezTo>
                <a:cubicBezTo>
                  <a:pt x="49" y="140"/>
                  <a:pt x="54" y="135"/>
                  <a:pt x="61" y="141"/>
                </a:cubicBezTo>
                <a:cubicBezTo>
                  <a:pt x="63" y="142"/>
                  <a:pt x="68" y="142"/>
                  <a:pt x="68" y="141"/>
                </a:cubicBezTo>
                <a:cubicBezTo>
                  <a:pt x="70" y="136"/>
                  <a:pt x="73" y="139"/>
                  <a:pt x="76" y="138"/>
                </a:cubicBezTo>
                <a:cubicBezTo>
                  <a:pt x="80" y="138"/>
                  <a:pt x="84" y="136"/>
                  <a:pt x="86" y="133"/>
                </a:cubicBezTo>
                <a:cubicBezTo>
                  <a:pt x="87" y="132"/>
                  <a:pt x="85" y="126"/>
                  <a:pt x="83" y="124"/>
                </a:cubicBezTo>
                <a:cubicBezTo>
                  <a:pt x="79" y="121"/>
                  <a:pt x="75" y="117"/>
                  <a:pt x="70" y="116"/>
                </a:cubicBezTo>
                <a:cubicBezTo>
                  <a:pt x="63" y="115"/>
                  <a:pt x="59" y="111"/>
                  <a:pt x="54" y="107"/>
                </a:cubicBezTo>
                <a:cubicBezTo>
                  <a:pt x="49" y="101"/>
                  <a:pt x="46" y="98"/>
                  <a:pt x="53" y="91"/>
                </a:cubicBezTo>
                <a:cubicBezTo>
                  <a:pt x="58" y="85"/>
                  <a:pt x="56" y="80"/>
                  <a:pt x="48" y="78"/>
                </a:cubicBezTo>
                <a:cubicBezTo>
                  <a:pt x="46" y="77"/>
                  <a:pt x="45" y="75"/>
                  <a:pt x="43" y="74"/>
                </a:cubicBezTo>
                <a:cubicBezTo>
                  <a:pt x="45" y="72"/>
                  <a:pt x="46" y="69"/>
                  <a:pt x="48" y="68"/>
                </a:cubicBezTo>
                <a:cubicBezTo>
                  <a:pt x="53" y="67"/>
                  <a:pt x="59" y="66"/>
                  <a:pt x="64" y="65"/>
                </a:cubicBezTo>
                <a:cubicBezTo>
                  <a:pt x="67" y="65"/>
                  <a:pt x="69" y="64"/>
                  <a:pt x="72" y="64"/>
                </a:cubicBezTo>
                <a:cubicBezTo>
                  <a:pt x="70" y="61"/>
                  <a:pt x="69" y="59"/>
                  <a:pt x="68" y="57"/>
                </a:cubicBezTo>
                <a:cubicBezTo>
                  <a:pt x="61" y="50"/>
                  <a:pt x="60" y="38"/>
                  <a:pt x="48" y="36"/>
                </a:cubicBezTo>
                <a:cubicBezTo>
                  <a:pt x="46" y="36"/>
                  <a:pt x="45" y="31"/>
                  <a:pt x="44" y="29"/>
                </a:cubicBezTo>
                <a:cubicBezTo>
                  <a:pt x="43" y="24"/>
                  <a:pt x="41" y="19"/>
                  <a:pt x="40" y="14"/>
                </a:cubicBezTo>
                <a:cubicBezTo>
                  <a:pt x="39" y="11"/>
                  <a:pt x="38" y="4"/>
                  <a:pt x="39" y="4"/>
                </a:cubicBezTo>
                <a:cubicBezTo>
                  <a:pt x="43" y="2"/>
                  <a:pt x="49" y="0"/>
                  <a:pt x="53" y="2"/>
                </a:cubicBezTo>
                <a:cubicBezTo>
                  <a:pt x="62" y="4"/>
                  <a:pt x="70" y="8"/>
                  <a:pt x="78" y="11"/>
                </a:cubicBezTo>
                <a:cubicBezTo>
                  <a:pt x="84" y="13"/>
                  <a:pt x="86" y="16"/>
                  <a:pt x="85" y="22"/>
                </a:cubicBezTo>
                <a:cubicBezTo>
                  <a:pt x="84" y="30"/>
                  <a:pt x="88" y="32"/>
                  <a:pt x="95" y="35"/>
                </a:cubicBezTo>
                <a:cubicBezTo>
                  <a:pt x="107" y="40"/>
                  <a:pt x="118" y="46"/>
                  <a:pt x="129" y="53"/>
                </a:cubicBezTo>
                <a:cubicBezTo>
                  <a:pt x="135" y="57"/>
                  <a:pt x="138" y="57"/>
                  <a:pt x="143" y="54"/>
                </a:cubicBezTo>
                <a:cubicBezTo>
                  <a:pt x="146" y="52"/>
                  <a:pt x="148" y="51"/>
                  <a:pt x="150" y="49"/>
                </a:cubicBezTo>
                <a:cubicBezTo>
                  <a:pt x="157" y="45"/>
                  <a:pt x="160" y="48"/>
                  <a:pt x="161" y="54"/>
                </a:cubicBezTo>
                <a:cubicBezTo>
                  <a:pt x="162" y="57"/>
                  <a:pt x="162" y="60"/>
                  <a:pt x="163" y="62"/>
                </a:cubicBezTo>
                <a:cubicBezTo>
                  <a:pt x="166" y="67"/>
                  <a:pt x="169" y="71"/>
                  <a:pt x="176" y="69"/>
                </a:cubicBezTo>
                <a:cubicBezTo>
                  <a:pt x="191" y="63"/>
                  <a:pt x="206" y="64"/>
                  <a:pt x="220" y="72"/>
                </a:cubicBezTo>
                <a:cubicBezTo>
                  <a:pt x="229" y="78"/>
                  <a:pt x="237" y="77"/>
                  <a:pt x="245" y="71"/>
                </a:cubicBezTo>
                <a:cubicBezTo>
                  <a:pt x="250" y="67"/>
                  <a:pt x="253" y="67"/>
                  <a:pt x="257" y="74"/>
                </a:cubicBezTo>
                <a:cubicBezTo>
                  <a:pt x="260" y="81"/>
                  <a:pt x="269" y="82"/>
                  <a:pt x="277" y="80"/>
                </a:cubicBezTo>
                <a:cubicBezTo>
                  <a:pt x="281" y="79"/>
                  <a:pt x="285" y="79"/>
                  <a:pt x="290" y="78"/>
                </a:cubicBezTo>
                <a:cubicBezTo>
                  <a:pt x="294" y="78"/>
                  <a:pt x="299" y="78"/>
                  <a:pt x="303" y="77"/>
                </a:cubicBezTo>
                <a:cubicBezTo>
                  <a:pt x="308" y="75"/>
                  <a:pt x="312" y="71"/>
                  <a:pt x="318" y="76"/>
                </a:cubicBezTo>
                <a:cubicBezTo>
                  <a:pt x="319" y="77"/>
                  <a:pt x="324" y="73"/>
                  <a:pt x="328" y="72"/>
                </a:cubicBezTo>
                <a:cubicBezTo>
                  <a:pt x="330" y="71"/>
                  <a:pt x="333" y="71"/>
                  <a:pt x="335" y="71"/>
                </a:cubicBezTo>
                <a:cubicBezTo>
                  <a:pt x="335" y="73"/>
                  <a:pt x="336" y="77"/>
                  <a:pt x="335" y="79"/>
                </a:cubicBezTo>
                <a:cubicBezTo>
                  <a:pt x="331" y="84"/>
                  <a:pt x="326" y="87"/>
                  <a:pt x="322" y="91"/>
                </a:cubicBezTo>
                <a:cubicBezTo>
                  <a:pt x="305" y="106"/>
                  <a:pt x="306" y="118"/>
                  <a:pt x="322" y="133"/>
                </a:cubicBezTo>
                <a:cubicBezTo>
                  <a:pt x="324" y="134"/>
                  <a:pt x="325" y="137"/>
                  <a:pt x="326" y="138"/>
                </a:cubicBezTo>
                <a:cubicBezTo>
                  <a:pt x="324" y="139"/>
                  <a:pt x="321" y="141"/>
                  <a:pt x="319" y="141"/>
                </a:cubicBezTo>
                <a:cubicBezTo>
                  <a:pt x="311" y="142"/>
                  <a:pt x="305" y="145"/>
                  <a:pt x="305" y="155"/>
                </a:cubicBezTo>
                <a:cubicBezTo>
                  <a:pt x="305" y="156"/>
                  <a:pt x="301" y="159"/>
                  <a:pt x="299" y="159"/>
                </a:cubicBezTo>
                <a:cubicBezTo>
                  <a:pt x="290" y="159"/>
                  <a:pt x="284" y="163"/>
                  <a:pt x="279" y="169"/>
                </a:cubicBezTo>
                <a:cubicBezTo>
                  <a:pt x="279" y="170"/>
                  <a:pt x="278" y="170"/>
                  <a:pt x="278" y="170"/>
                </a:cubicBezTo>
                <a:cubicBezTo>
                  <a:pt x="263" y="178"/>
                  <a:pt x="258" y="191"/>
                  <a:pt x="257" y="208"/>
                </a:cubicBezTo>
                <a:cubicBezTo>
                  <a:pt x="257" y="215"/>
                  <a:pt x="247" y="220"/>
                  <a:pt x="240" y="218"/>
                </a:cubicBezTo>
                <a:cubicBezTo>
                  <a:pt x="226" y="216"/>
                  <a:pt x="225" y="216"/>
                  <a:pt x="218" y="228"/>
                </a:cubicBezTo>
                <a:cubicBezTo>
                  <a:pt x="216" y="231"/>
                  <a:pt x="214" y="234"/>
                  <a:pt x="212" y="229"/>
                </a:cubicBezTo>
                <a:cubicBezTo>
                  <a:pt x="207" y="221"/>
                  <a:pt x="195" y="221"/>
                  <a:pt x="195" y="209"/>
                </a:cubicBezTo>
                <a:cubicBezTo>
                  <a:pt x="195" y="208"/>
                  <a:pt x="190" y="206"/>
                  <a:pt x="188" y="207"/>
                </a:cubicBezTo>
                <a:cubicBezTo>
                  <a:pt x="182" y="209"/>
                  <a:pt x="177" y="208"/>
                  <a:pt x="172" y="204"/>
                </a:cubicBezTo>
                <a:cubicBezTo>
                  <a:pt x="172" y="203"/>
                  <a:pt x="166" y="205"/>
                  <a:pt x="166" y="206"/>
                </a:cubicBezTo>
                <a:cubicBezTo>
                  <a:pt x="161" y="222"/>
                  <a:pt x="152" y="227"/>
                  <a:pt x="137" y="226"/>
                </a:cubicBezTo>
                <a:cubicBezTo>
                  <a:pt x="133" y="226"/>
                  <a:pt x="128" y="230"/>
                  <a:pt x="124" y="232"/>
                </a:cubicBezTo>
                <a:cubicBezTo>
                  <a:pt x="115" y="238"/>
                  <a:pt x="114" y="238"/>
                  <a:pt x="105" y="230"/>
                </a:cubicBezTo>
                <a:cubicBezTo>
                  <a:pt x="103" y="228"/>
                  <a:pt x="100" y="228"/>
                  <a:pt x="97" y="229"/>
                </a:cubicBezTo>
                <a:cubicBezTo>
                  <a:pt x="95" y="229"/>
                  <a:pt x="94" y="231"/>
                  <a:pt x="92" y="233"/>
                </a:cubicBezTo>
                <a:cubicBezTo>
                  <a:pt x="80" y="241"/>
                  <a:pt x="79" y="241"/>
                  <a:pt x="70" y="230"/>
                </a:cubicBezTo>
                <a:cubicBezTo>
                  <a:pt x="68" y="226"/>
                  <a:pt x="63" y="223"/>
                  <a:pt x="59" y="223"/>
                </a:cubicBezTo>
                <a:cubicBezTo>
                  <a:pt x="52" y="223"/>
                  <a:pt x="44" y="224"/>
                  <a:pt x="36" y="224"/>
                </a:cubicBezTo>
                <a:cubicBezTo>
                  <a:pt x="31" y="225"/>
                  <a:pt x="26" y="226"/>
                  <a:pt x="21" y="226"/>
                </a:cubicBezTo>
                <a:cubicBezTo>
                  <a:pt x="18" y="225"/>
                  <a:pt x="14" y="222"/>
                  <a:pt x="14" y="219"/>
                </a:cubicBezTo>
                <a:cubicBezTo>
                  <a:pt x="14" y="212"/>
                  <a:pt x="11" y="207"/>
                  <a:pt x="6" y="202"/>
                </a:cubicBezTo>
                <a:cubicBezTo>
                  <a:pt x="3" y="199"/>
                  <a:pt x="2" y="194"/>
                  <a:pt x="1" y="19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A8F73F4D-207B-4DDE-85F7-E190A8EAA09E}"/>
              </a:ext>
            </a:extLst>
          </p:cNvPr>
          <p:cNvSpPr>
            <a:spLocks/>
          </p:cNvSpPr>
          <p:nvPr userDrawn="1"/>
        </p:nvSpPr>
        <p:spPr bwMode="auto">
          <a:xfrm>
            <a:off x="10641013" y="2187575"/>
            <a:ext cx="917575" cy="506413"/>
          </a:xfrm>
          <a:custGeom>
            <a:avLst/>
            <a:gdLst>
              <a:gd name="T0" fmla="*/ 377 w 387"/>
              <a:gd name="T1" fmla="*/ 167 h 214"/>
              <a:gd name="T2" fmla="*/ 366 w 387"/>
              <a:gd name="T3" fmla="*/ 159 h 214"/>
              <a:gd name="T4" fmla="*/ 339 w 387"/>
              <a:gd name="T5" fmla="*/ 155 h 214"/>
              <a:gd name="T6" fmla="*/ 330 w 387"/>
              <a:gd name="T7" fmla="*/ 159 h 214"/>
              <a:gd name="T8" fmla="*/ 294 w 387"/>
              <a:gd name="T9" fmla="*/ 181 h 214"/>
              <a:gd name="T10" fmla="*/ 273 w 387"/>
              <a:gd name="T11" fmla="*/ 205 h 214"/>
              <a:gd name="T12" fmla="*/ 256 w 387"/>
              <a:gd name="T13" fmla="*/ 214 h 214"/>
              <a:gd name="T14" fmla="*/ 253 w 387"/>
              <a:gd name="T15" fmla="*/ 195 h 214"/>
              <a:gd name="T16" fmla="*/ 258 w 387"/>
              <a:gd name="T17" fmla="*/ 187 h 214"/>
              <a:gd name="T18" fmla="*/ 287 w 387"/>
              <a:gd name="T19" fmla="*/ 169 h 214"/>
              <a:gd name="T20" fmla="*/ 295 w 387"/>
              <a:gd name="T21" fmla="*/ 165 h 214"/>
              <a:gd name="T22" fmla="*/ 299 w 387"/>
              <a:gd name="T23" fmla="*/ 148 h 214"/>
              <a:gd name="T24" fmla="*/ 291 w 387"/>
              <a:gd name="T25" fmla="*/ 134 h 214"/>
              <a:gd name="T26" fmla="*/ 292 w 387"/>
              <a:gd name="T27" fmla="*/ 127 h 214"/>
              <a:gd name="T28" fmla="*/ 294 w 387"/>
              <a:gd name="T29" fmla="*/ 112 h 214"/>
              <a:gd name="T30" fmla="*/ 281 w 387"/>
              <a:gd name="T31" fmla="*/ 108 h 214"/>
              <a:gd name="T32" fmla="*/ 275 w 387"/>
              <a:gd name="T33" fmla="*/ 109 h 214"/>
              <a:gd name="T34" fmla="*/ 214 w 387"/>
              <a:gd name="T35" fmla="*/ 137 h 214"/>
              <a:gd name="T36" fmla="*/ 194 w 387"/>
              <a:gd name="T37" fmla="*/ 144 h 214"/>
              <a:gd name="T38" fmla="*/ 176 w 387"/>
              <a:gd name="T39" fmla="*/ 155 h 214"/>
              <a:gd name="T40" fmla="*/ 168 w 387"/>
              <a:gd name="T41" fmla="*/ 166 h 214"/>
              <a:gd name="T42" fmla="*/ 149 w 387"/>
              <a:gd name="T43" fmla="*/ 191 h 214"/>
              <a:gd name="T44" fmla="*/ 129 w 387"/>
              <a:gd name="T45" fmla="*/ 202 h 214"/>
              <a:gd name="T46" fmla="*/ 116 w 387"/>
              <a:gd name="T47" fmla="*/ 201 h 214"/>
              <a:gd name="T48" fmla="*/ 88 w 387"/>
              <a:gd name="T49" fmla="*/ 201 h 214"/>
              <a:gd name="T50" fmla="*/ 68 w 387"/>
              <a:gd name="T51" fmla="*/ 203 h 214"/>
              <a:gd name="T52" fmla="*/ 46 w 387"/>
              <a:gd name="T53" fmla="*/ 208 h 214"/>
              <a:gd name="T54" fmla="*/ 33 w 387"/>
              <a:gd name="T55" fmla="*/ 191 h 214"/>
              <a:gd name="T56" fmla="*/ 34 w 387"/>
              <a:gd name="T57" fmla="*/ 185 h 214"/>
              <a:gd name="T58" fmla="*/ 17 w 387"/>
              <a:gd name="T59" fmla="*/ 171 h 214"/>
              <a:gd name="T60" fmla="*/ 3 w 387"/>
              <a:gd name="T61" fmla="*/ 158 h 214"/>
              <a:gd name="T62" fmla="*/ 11 w 387"/>
              <a:gd name="T63" fmla="*/ 152 h 214"/>
              <a:gd name="T64" fmla="*/ 17 w 387"/>
              <a:gd name="T65" fmla="*/ 153 h 214"/>
              <a:gd name="T66" fmla="*/ 59 w 387"/>
              <a:gd name="T67" fmla="*/ 139 h 214"/>
              <a:gd name="T68" fmla="*/ 73 w 387"/>
              <a:gd name="T69" fmla="*/ 123 h 214"/>
              <a:gd name="T70" fmla="*/ 81 w 387"/>
              <a:gd name="T71" fmla="*/ 115 h 214"/>
              <a:gd name="T72" fmla="*/ 104 w 387"/>
              <a:gd name="T73" fmla="*/ 83 h 214"/>
              <a:gd name="T74" fmla="*/ 111 w 387"/>
              <a:gd name="T75" fmla="*/ 76 h 214"/>
              <a:gd name="T76" fmla="*/ 130 w 387"/>
              <a:gd name="T77" fmla="*/ 73 h 214"/>
              <a:gd name="T78" fmla="*/ 160 w 387"/>
              <a:gd name="T79" fmla="*/ 49 h 214"/>
              <a:gd name="T80" fmla="*/ 178 w 387"/>
              <a:gd name="T81" fmla="*/ 32 h 214"/>
              <a:gd name="T82" fmla="*/ 195 w 387"/>
              <a:gd name="T83" fmla="*/ 23 h 214"/>
              <a:gd name="T84" fmla="*/ 202 w 387"/>
              <a:gd name="T85" fmla="*/ 24 h 214"/>
              <a:gd name="T86" fmla="*/ 226 w 387"/>
              <a:gd name="T87" fmla="*/ 32 h 214"/>
              <a:gd name="T88" fmla="*/ 231 w 387"/>
              <a:gd name="T89" fmla="*/ 32 h 214"/>
              <a:gd name="T90" fmla="*/ 261 w 387"/>
              <a:gd name="T91" fmla="*/ 19 h 214"/>
              <a:gd name="T92" fmla="*/ 290 w 387"/>
              <a:gd name="T93" fmla="*/ 2 h 214"/>
              <a:gd name="T94" fmla="*/ 302 w 387"/>
              <a:gd name="T95" fmla="*/ 19 h 214"/>
              <a:gd name="T96" fmla="*/ 298 w 387"/>
              <a:gd name="T97" fmla="*/ 25 h 214"/>
              <a:gd name="T98" fmla="*/ 300 w 387"/>
              <a:gd name="T99" fmla="*/ 35 h 214"/>
              <a:gd name="T100" fmla="*/ 308 w 387"/>
              <a:gd name="T101" fmla="*/ 33 h 214"/>
              <a:gd name="T102" fmla="*/ 324 w 387"/>
              <a:gd name="T103" fmla="*/ 33 h 214"/>
              <a:gd name="T104" fmla="*/ 324 w 387"/>
              <a:gd name="T105" fmla="*/ 53 h 214"/>
              <a:gd name="T106" fmla="*/ 316 w 387"/>
              <a:gd name="T107" fmla="*/ 69 h 214"/>
              <a:gd name="T108" fmla="*/ 329 w 387"/>
              <a:gd name="T109" fmla="*/ 77 h 214"/>
              <a:gd name="T110" fmla="*/ 348 w 387"/>
              <a:gd name="T111" fmla="*/ 75 h 214"/>
              <a:gd name="T112" fmla="*/ 372 w 387"/>
              <a:gd name="T113" fmla="*/ 78 h 214"/>
              <a:gd name="T114" fmla="*/ 379 w 387"/>
              <a:gd name="T115" fmla="*/ 80 h 214"/>
              <a:gd name="T116" fmla="*/ 381 w 387"/>
              <a:gd name="T117" fmla="*/ 110 h 214"/>
              <a:gd name="T118" fmla="*/ 366 w 387"/>
              <a:gd name="T119" fmla="*/ 123 h 214"/>
              <a:gd name="T120" fmla="*/ 364 w 387"/>
              <a:gd name="T121" fmla="*/ 151 h 214"/>
              <a:gd name="T122" fmla="*/ 377 w 387"/>
              <a:gd name="T123" fmla="*/ 167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87" h="214">
                <a:moveTo>
                  <a:pt x="377" y="167"/>
                </a:moveTo>
                <a:cubicBezTo>
                  <a:pt x="373" y="164"/>
                  <a:pt x="369" y="162"/>
                  <a:pt x="366" y="159"/>
                </a:cubicBezTo>
                <a:cubicBezTo>
                  <a:pt x="358" y="151"/>
                  <a:pt x="349" y="151"/>
                  <a:pt x="339" y="155"/>
                </a:cubicBezTo>
                <a:cubicBezTo>
                  <a:pt x="336" y="157"/>
                  <a:pt x="333" y="159"/>
                  <a:pt x="330" y="159"/>
                </a:cubicBezTo>
                <a:cubicBezTo>
                  <a:pt x="314" y="159"/>
                  <a:pt x="304" y="170"/>
                  <a:pt x="294" y="181"/>
                </a:cubicBezTo>
                <a:cubicBezTo>
                  <a:pt x="287" y="189"/>
                  <a:pt x="281" y="198"/>
                  <a:pt x="273" y="205"/>
                </a:cubicBezTo>
                <a:cubicBezTo>
                  <a:pt x="269" y="209"/>
                  <a:pt x="262" y="211"/>
                  <a:pt x="256" y="214"/>
                </a:cubicBezTo>
                <a:cubicBezTo>
                  <a:pt x="255" y="207"/>
                  <a:pt x="254" y="201"/>
                  <a:pt x="253" y="195"/>
                </a:cubicBezTo>
                <a:cubicBezTo>
                  <a:pt x="253" y="192"/>
                  <a:pt x="256" y="189"/>
                  <a:pt x="258" y="187"/>
                </a:cubicBezTo>
                <a:cubicBezTo>
                  <a:pt x="266" y="179"/>
                  <a:pt x="273" y="168"/>
                  <a:pt x="287" y="169"/>
                </a:cubicBezTo>
                <a:cubicBezTo>
                  <a:pt x="290" y="169"/>
                  <a:pt x="292" y="166"/>
                  <a:pt x="295" y="165"/>
                </a:cubicBezTo>
                <a:cubicBezTo>
                  <a:pt x="307" y="159"/>
                  <a:pt x="307" y="159"/>
                  <a:pt x="299" y="148"/>
                </a:cubicBezTo>
                <a:cubicBezTo>
                  <a:pt x="296" y="143"/>
                  <a:pt x="293" y="139"/>
                  <a:pt x="291" y="134"/>
                </a:cubicBezTo>
                <a:cubicBezTo>
                  <a:pt x="290" y="132"/>
                  <a:pt x="290" y="128"/>
                  <a:pt x="292" y="127"/>
                </a:cubicBezTo>
                <a:cubicBezTo>
                  <a:pt x="297" y="122"/>
                  <a:pt x="298" y="117"/>
                  <a:pt x="294" y="112"/>
                </a:cubicBezTo>
                <a:cubicBezTo>
                  <a:pt x="292" y="109"/>
                  <a:pt x="286" y="109"/>
                  <a:pt x="281" y="108"/>
                </a:cubicBezTo>
                <a:cubicBezTo>
                  <a:pt x="279" y="108"/>
                  <a:pt x="276" y="108"/>
                  <a:pt x="275" y="109"/>
                </a:cubicBezTo>
                <a:cubicBezTo>
                  <a:pt x="256" y="123"/>
                  <a:pt x="232" y="122"/>
                  <a:pt x="214" y="137"/>
                </a:cubicBezTo>
                <a:cubicBezTo>
                  <a:pt x="209" y="142"/>
                  <a:pt x="201" y="143"/>
                  <a:pt x="194" y="144"/>
                </a:cubicBezTo>
                <a:cubicBezTo>
                  <a:pt x="186" y="145"/>
                  <a:pt x="180" y="147"/>
                  <a:pt x="176" y="155"/>
                </a:cubicBezTo>
                <a:cubicBezTo>
                  <a:pt x="175" y="159"/>
                  <a:pt x="171" y="163"/>
                  <a:pt x="168" y="166"/>
                </a:cubicBezTo>
                <a:cubicBezTo>
                  <a:pt x="159" y="173"/>
                  <a:pt x="152" y="179"/>
                  <a:pt x="149" y="191"/>
                </a:cubicBezTo>
                <a:cubicBezTo>
                  <a:pt x="147" y="201"/>
                  <a:pt x="139" y="203"/>
                  <a:pt x="129" y="202"/>
                </a:cubicBezTo>
                <a:cubicBezTo>
                  <a:pt x="125" y="201"/>
                  <a:pt x="120" y="201"/>
                  <a:pt x="116" y="201"/>
                </a:cubicBezTo>
                <a:cubicBezTo>
                  <a:pt x="106" y="203"/>
                  <a:pt x="98" y="206"/>
                  <a:pt x="88" y="201"/>
                </a:cubicBezTo>
                <a:cubicBezTo>
                  <a:pt x="83" y="198"/>
                  <a:pt x="75" y="201"/>
                  <a:pt x="68" y="203"/>
                </a:cubicBezTo>
                <a:cubicBezTo>
                  <a:pt x="61" y="204"/>
                  <a:pt x="53" y="207"/>
                  <a:pt x="46" y="208"/>
                </a:cubicBezTo>
                <a:cubicBezTo>
                  <a:pt x="36" y="209"/>
                  <a:pt x="30" y="201"/>
                  <a:pt x="33" y="191"/>
                </a:cubicBezTo>
                <a:cubicBezTo>
                  <a:pt x="33" y="189"/>
                  <a:pt x="34" y="187"/>
                  <a:pt x="34" y="185"/>
                </a:cubicBezTo>
                <a:cubicBezTo>
                  <a:pt x="34" y="174"/>
                  <a:pt x="28" y="169"/>
                  <a:pt x="17" y="171"/>
                </a:cubicBezTo>
                <a:cubicBezTo>
                  <a:pt x="7" y="172"/>
                  <a:pt x="0" y="166"/>
                  <a:pt x="3" y="158"/>
                </a:cubicBezTo>
                <a:cubicBezTo>
                  <a:pt x="4" y="155"/>
                  <a:pt x="8" y="153"/>
                  <a:pt x="11" y="152"/>
                </a:cubicBezTo>
                <a:cubicBezTo>
                  <a:pt x="12" y="151"/>
                  <a:pt x="15" y="153"/>
                  <a:pt x="17" y="153"/>
                </a:cubicBezTo>
                <a:cubicBezTo>
                  <a:pt x="31" y="149"/>
                  <a:pt x="45" y="145"/>
                  <a:pt x="59" y="139"/>
                </a:cubicBezTo>
                <a:cubicBezTo>
                  <a:pt x="66" y="137"/>
                  <a:pt x="73" y="133"/>
                  <a:pt x="73" y="123"/>
                </a:cubicBezTo>
                <a:cubicBezTo>
                  <a:pt x="74" y="120"/>
                  <a:pt x="78" y="118"/>
                  <a:pt x="81" y="115"/>
                </a:cubicBezTo>
                <a:cubicBezTo>
                  <a:pt x="91" y="106"/>
                  <a:pt x="104" y="100"/>
                  <a:pt x="104" y="83"/>
                </a:cubicBezTo>
                <a:cubicBezTo>
                  <a:pt x="104" y="81"/>
                  <a:pt x="108" y="77"/>
                  <a:pt x="111" y="76"/>
                </a:cubicBezTo>
                <a:cubicBezTo>
                  <a:pt x="117" y="74"/>
                  <a:pt x="123" y="74"/>
                  <a:pt x="130" y="73"/>
                </a:cubicBezTo>
                <a:cubicBezTo>
                  <a:pt x="143" y="69"/>
                  <a:pt x="155" y="64"/>
                  <a:pt x="160" y="49"/>
                </a:cubicBezTo>
                <a:cubicBezTo>
                  <a:pt x="163" y="42"/>
                  <a:pt x="171" y="37"/>
                  <a:pt x="178" y="32"/>
                </a:cubicBezTo>
                <a:cubicBezTo>
                  <a:pt x="183" y="28"/>
                  <a:pt x="189" y="25"/>
                  <a:pt x="195" y="23"/>
                </a:cubicBezTo>
                <a:cubicBezTo>
                  <a:pt x="196" y="22"/>
                  <a:pt x="200" y="22"/>
                  <a:pt x="202" y="24"/>
                </a:cubicBezTo>
                <a:cubicBezTo>
                  <a:pt x="208" y="31"/>
                  <a:pt x="217" y="31"/>
                  <a:pt x="226" y="32"/>
                </a:cubicBezTo>
                <a:cubicBezTo>
                  <a:pt x="228" y="32"/>
                  <a:pt x="230" y="31"/>
                  <a:pt x="231" y="32"/>
                </a:cubicBezTo>
                <a:cubicBezTo>
                  <a:pt x="245" y="37"/>
                  <a:pt x="253" y="32"/>
                  <a:pt x="261" y="19"/>
                </a:cubicBezTo>
                <a:cubicBezTo>
                  <a:pt x="267" y="11"/>
                  <a:pt x="280" y="7"/>
                  <a:pt x="290" y="2"/>
                </a:cubicBezTo>
                <a:cubicBezTo>
                  <a:pt x="296" y="0"/>
                  <a:pt x="304" y="13"/>
                  <a:pt x="302" y="19"/>
                </a:cubicBezTo>
                <a:cubicBezTo>
                  <a:pt x="301" y="21"/>
                  <a:pt x="298" y="23"/>
                  <a:pt x="298" y="25"/>
                </a:cubicBezTo>
                <a:cubicBezTo>
                  <a:pt x="298" y="28"/>
                  <a:pt x="299" y="32"/>
                  <a:pt x="300" y="35"/>
                </a:cubicBezTo>
                <a:cubicBezTo>
                  <a:pt x="303" y="34"/>
                  <a:pt x="306" y="34"/>
                  <a:pt x="308" y="33"/>
                </a:cubicBezTo>
                <a:cubicBezTo>
                  <a:pt x="314" y="29"/>
                  <a:pt x="319" y="27"/>
                  <a:pt x="324" y="33"/>
                </a:cubicBezTo>
                <a:cubicBezTo>
                  <a:pt x="329" y="40"/>
                  <a:pt x="329" y="46"/>
                  <a:pt x="324" y="53"/>
                </a:cubicBezTo>
                <a:cubicBezTo>
                  <a:pt x="320" y="58"/>
                  <a:pt x="317" y="63"/>
                  <a:pt x="316" y="69"/>
                </a:cubicBezTo>
                <a:cubicBezTo>
                  <a:pt x="315" y="78"/>
                  <a:pt x="322" y="82"/>
                  <a:pt x="329" y="77"/>
                </a:cubicBezTo>
                <a:cubicBezTo>
                  <a:pt x="336" y="72"/>
                  <a:pt x="341" y="72"/>
                  <a:pt x="348" y="75"/>
                </a:cubicBezTo>
                <a:cubicBezTo>
                  <a:pt x="355" y="79"/>
                  <a:pt x="363" y="82"/>
                  <a:pt x="372" y="78"/>
                </a:cubicBezTo>
                <a:cubicBezTo>
                  <a:pt x="373" y="77"/>
                  <a:pt x="377" y="78"/>
                  <a:pt x="379" y="80"/>
                </a:cubicBezTo>
                <a:cubicBezTo>
                  <a:pt x="386" y="85"/>
                  <a:pt x="387" y="105"/>
                  <a:pt x="381" y="110"/>
                </a:cubicBezTo>
                <a:cubicBezTo>
                  <a:pt x="376" y="115"/>
                  <a:pt x="371" y="119"/>
                  <a:pt x="366" y="123"/>
                </a:cubicBezTo>
                <a:cubicBezTo>
                  <a:pt x="356" y="132"/>
                  <a:pt x="356" y="140"/>
                  <a:pt x="364" y="151"/>
                </a:cubicBezTo>
                <a:cubicBezTo>
                  <a:pt x="369" y="156"/>
                  <a:pt x="373" y="162"/>
                  <a:pt x="377" y="167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7A2613D5-7657-4D3E-895F-2F229132BD55}"/>
              </a:ext>
            </a:extLst>
          </p:cNvPr>
          <p:cNvSpPr>
            <a:spLocks/>
          </p:cNvSpPr>
          <p:nvPr userDrawn="1"/>
        </p:nvSpPr>
        <p:spPr bwMode="auto">
          <a:xfrm>
            <a:off x="10334625" y="2457450"/>
            <a:ext cx="1008063" cy="730250"/>
          </a:xfrm>
          <a:custGeom>
            <a:avLst/>
            <a:gdLst>
              <a:gd name="T0" fmla="*/ 154 w 425"/>
              <a:gd name="T1" fmla="*/ 165 h 308"/>
              <a:gd name="T2" fmla="*/ 96 w 425"/>
              <a:gd name="T3" fmla="*/ 182 h 308"/>
              <a:gd name="T4" fmla="*/ 54 w 425"/>
              <a:gd name="T5" fmla="*/ 177 h 308"/>
              <a:gd name="T6" fmla="*/ 22 w 425"/>
              <a:gd name="T7" fmla="*/ 179 h 308"/>
              <a:gd name="T8" fmla="*/ 14 w 425"/>
              <a:gd name="T9" fmla="*/ 132 h 308"/>
              <a:gd name="T10" fmla="*/ 47 w 425"/>
              <a:gd name="T11" fmla="*/ 112 h 308"/>
              <a:gd name="T12" fmla="*/ 115 w 425"/>
              <a:gd name="T13" fmla="*/ 112 h 308"/>
              <a:gd name="T14" fmla="*/ 162 w 425"/>
              <a:gd name="T15" fmla="*/ 106 h 308"/>
              <a:gd name="T16" fmla="*/ 195 w 425"/>
              <a:gd name="T17" fmla="*/ 96 h 308"/>
              <a:gd name="T18" fmla="*/ 225 w 425"/>
              <a:gd name="T19" fmla="*/ 96 h 308"/>
              <a:gd name="T20" fmla="*/ 284 w 425"/>
              <a:gd name="T21" fmla="*/ 77 h 308"/>
              <a:gd name="T22" fmla="*/ 311 w 425"/>
              <a:gd name="T23" fmla="*/ 42 h 308"/>
              <a:gd name="T24" fmla="*/ 355 w 425"/>
              <a:gd name="T25" fmla="*/ 23 h 308"/>
              <a:gd name="T26" fmla="*/ 398 w 425"/>
              <a:gd name="T27" fmla="*/ 5 h 308"/>
              <a:gd name="T28" fmla="*/ 419 w 425"/>
              <a:gd name="T29" fmla="*/ 2 h 308"/>
              <a:gd name="T30" fmla="*/ 412 w 425"/>
              <a:gd name="T31" fmla="*/ 19 h 308"/>
              <a:gd name="T32" fmla="*/ 423 w 425"/>
              <a:gd name="T33" fmla="*/ 45 h 308"/>
              <a:gd name="T34" fmla="*/ 394 w 425"/>
              <a:gd name="T35" fmla="*/ 57 h 308"/>
              <a:gd name="T36" fmla="*/ 355 w 425"/>
              <a:gd name="T37" fmla="*/ 84 h 308"/>
              <a:gd name="T38" fmla="*/ 323 w 425"/>
              <a:gd name="T39" fmla="*/ 117 h 308"/>
              <a:gd name="T40" fmla="*/ 298 w 425"/>
              <a:gd name="T41" fmla="*/ 162 h 308"/>
              <a:gd name="T42" fmla="*/ 279 w 425"/>
              <a:gd name="T43" fmla="*/ 167 h 308"/>
              <a:gd name="T44" fmla="*/ 260 w 425"/>
              <a:gd name="T45" fmla="*/ 206 h 308"/>
              <a:gd name="T46" fmla="*/ 245 w 425"/>
              <a:gd name="T47" fmla="*/ 268 h 308"/>
              <a:gd name="T48" fmla="*/ 211 w 425"/>
              <a:gd name="T49" fmla="*/ 300 h 308"/>
              <a:gd name="T50" fmla="*/ 185 w 425"/>
              <a:gd name="T51" fmla="*/ 271 h 308"/>
              <a:gd name="T52" fmla="*/ 203 w 425"/>
              <a:gd name="T53" fmla="*/ 249 h 308"/>
              <a:gd name="T54" fmla="*/ 216 w 425"/>
              <a:gd name="T55" fmla="*/ 230 h 308"/>
              <a:gd name="T56" fmla="*/ 214 w 425"/>
              <a:gd name="T57" fmla="*/ 199 h 308"/>
              <a:gd name="T58" fmla="*/ 199 w 425"/>
              <a:gd name="T59" fmla="*/ 191 h 308"/>
              <a:gd name="T60" fmla="*/ 177 w 425"/>
              <a:gd name="T61" fmla="*/ 182 h 308"/>
              <a:gd name="T62" fmla="*/ 166 w 425"/>
              <a:gd name="T63" fmla="*/ 166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25" h="308">
                <a:moveTo>
                  <a:pt x="166" y="166"/>
                </a:moveTo>
                <a:cubicBezTo>
                  <a:pt x="164" y="165"/>
                  <a:pt x="159" y="165"/>
                  <a:pt x="154" y="165"/>
                </a:cubicBezTo>
                <a:cubicBezTo>
                  <a:pt x="144" y="165"/>
                  <a:pt x="136" y="171"/>
                  <a:pt x="128" y="177"/>
                </a:cubicBezTo>
                <a:cubicBezTo>
                  <a:pt x="118" y="186"/>
                  <a:pt x="108" y="191"/>
                  <a:pt x="96" y="182"/>
                </a:cubicBezTo>
                <a:cubicBezTo>
                  <a:pt x="93" y="180"/>
                  <a:pt x="89" y="180"/>
                  <a:pt x="85" y="180"/>
                </a:cubicBezTo>
                <a:cubicBezTo>
                  <a:pt x="75" y="179"/>
                  <a:pt x="64" y="177"/>
                  <a:pt x="54" y="177"/>
                </a:cubicBezTo>
                <a:cubicBezTo>
                  <a:pt x="46" y="177"/>
                  <a:pt x="38" y="180"/>
                  <a:pt x="31" y="182"/>
                </a:cubicBezTo>
                <a:cubicBezTo>
                  <a:pt x="27" y="184"/>
                  <a:pt x="24" y="184"/>
                  <a:pt x="22" y="179"/>
                </a:cubicBezTo>
                <a:cubicBezTo>
                  <a:pt x="21" y="176"/>
                  <a:pt x="20" y="172"/>
                  <a:pt x="18" y="171"/>
                </a:cubicBezTo>
                <a:cubicBezTo>
                  <a:pt x="0" y="159"/>
                  <a:pt x="8" y="143"/>
                  <a:pt x="14" y="132"/>
                </a:cubicBezTo>
                <a:cubicBezTo>
                  <a:pt x="20" y="123"/>
                  <a:pt x="35" y="118"/>
                  <a:pt x="46" y="112"/>
                </a:cubicBezTo>
                <a:cubicBezTo>
                  <a:pt x="46" y="112"/>
                  <a:pt x="47" y="112"/>
                  <a:pt x="47" y="112"/>
                </a:cubicBezTo>
                <a:cubicBezTo>
                  <a:pt x="63" y="123"/>
                  <a:pt x="79" y="118"/>
                  <a:pt x="96" y="117"/>
                </a:cubicBezTo>
                <a:cubicBezTo>
                  <a:pt x="102" y="117"/>
                  <a:pt x="109" y="114"/>
                  <a:pt x="115" y="112"/>
                </a:cubicBezTo>
                <a:cubicBezTo>
                  <a:pt x="119" y="111"/>
                  <a:pt x="123" y="109"/>
                  <a:pt x="126" y="110"/>
                </a:cubicBezTo>
                <a:cubicBezTo>
                  <a:pt x="139" y="116"/>
                  <a:pt x="150" y="110"/>
                  <a:pt x="162" y="106"/>
                </a:cubicBezTo>
                <a:cubicBezTo>
                  <a:pt x="168" y="104"/>
                  <a:pt x="175" y="102"/>
                  <a:pt x="182" y="100"/>
                </a:cubicBezTo>
                <a:cubicBezTo>
                  <a:pt x="187" y="99"/>
                  <a:pt x="192" y="99"/>
                  <a:pt x="195" y="96"/>
                </a:cubicBezTo>
                <a:cubicBezTo>
                  <a:pt x="205" y="89"/>
                  <a:pt x="214" y="89"/>
                  <a:pt x="223" y="96"/>
                </a:cubicBezTo>
                <a:cubicBezTo>
                  <a:pt x="224" y="96"/>
                  <a:pt x="224" y="97"/>
                  <a:pt x="225" y="96"/>
                </a:cubicBezTo>
                <a:cubicBezTo>
                  <a:pt x="241" y="95"/>
                  <a:pt x="257" y="94"/>
                  <a:pt x="273" y="90"/>
                </a:cubicBezTo>
                <a:cubicBezTo>
                  <a:pt x="278" y="89"/>
                  <a:pt x="283" y="82"/>
                  <a:pt x="284" y="77"/>
                </a:cubicBezTo>
                <a:cubicBezTo>
                  <a:pt x="285" y="68"/>
                  <a:pt x="291" y="64"/>
                  <a:pt x="296" y="59"/>
                </a:cubicBezTo>
                <a:cubicBezTo>
                  <a:pt x="301" y="54"/>
                  <a:pt x="306" y="48"/>
                  <a:pt x="311" y="42"/>
                </a:cubicBezTo>
                <a:cubicBezTo>
                  <a:pt x="314" y="40"/>
                  <a:pt x="317" y="37"/>
                  <a:pt x="320" y="37"/>
                </a:cubicBezTo>
                <a:cubicBezTo>
                  <a:pt x="333" y="36"/>
                  <a:pt x="344" y="29"/>
                  <a:pt x="355" y="23"/>
                </a:cubicBezTo>
                <a:cubicBezTo>
                  <a:pt x="364" y="17"/>
                  <a:pt x="375" y="15"/>
                  <a:pt x="386" y="11"/>
                </a:cubicBezTo>
                <a:cubicBezTo>
                  <a:pt x="390" y="10"/>
                  <a:pt x="394" y="7"/>
                  <a:pt x="398" y="5"/>
                </a:cubicBezTo>
                <a:cubicBezTo>
                  <a:pt x="401" y="4"/>
                  <a:pt x="404" y="1"/>
                  <a:pt x="407" y="0"/>
                </a:cubicBezTo>
                <a:cubicBezTo>
                  <a:pt x="411" y="0"/>
                  <a:pt x="415" y="1"/>
                  <a:pt x="419" y="2"/>
                </a:cubicBezTo>
                <a:cubicBezTo>
                  <a:pt x="417" y="5"/>
                  <a:pt x="415" y="8"/>
                  <a:pt x="414" y="11"/>
                </a:cubicBezTo>
                <a:cubicBezTo>
                  <a:pt x="413" y="13"/>
                  <a:pt x="411" y="17"/>
                  <a:pt x="412" y="19"/>
                </a:cubicBezTo>
                <a:cubicBezTo>
                  <a:pt x="416" y="26"/>
                  <a:pt x="421" y="32"/>
                  <a:pt x="425" y="39"/>
                </a:cubicBezTo>
                <a:cubicBezTo>
                  <a:pt x="425" y="41"/>
                  <a:pt x="425" y="45"/>
                  <a:pt x="423" y="45"/>
                </a:cubicBezTo>
                <a:cubicBezTo>
                  <a:pt x="417" y="48"/>
                  <a:pt x="411" y="50"/>
                  <a:pt x="404" y="52"/>
                </a:cubicBezTo>
                <a:cubicBezTo>
                  <a:pt x="401" y="54"/>
                  <a:pt x="395" y="54"/>
                  <a:pt x="394" y="57"/>
                </a:cubicBezTo>
                <a:cubicBezTo>
                  <a:pt x="387" y="70"/>
                  <a:pt x="374" y="76"/>
                  <a:pt x="361" y="81"/>
                </a:cubicBezTo>
                <a:cubicBezTo>
                  <a:pt x="359" y="81"/>
                  <a:pt x="357" y="82"/>
                  <a:pt x="355" y="84"/>
                </a:cubicBezTo>
                <a:cubicBezTo>
                  <a:pt x="346" y="94"/>
                  <a:pt x="336" y="103"/>
                  <a:pt x="327" y="113"/>
                </a:cubicBezTo>
                <a:cubicBezTo>
                  <a:pt x="325" y="115"/>
                  <a:pt x="324" y="117"/>
                  <a:pt x="323" y="117"/>
                </a:cubicBezTo>
                <a:cubicBezTo>
                  <a:pt x="312" y="116"/>
                  <a:pt x="312" y="126"/>
                  <a:pt x="308" y="131"/>
                </a:cubicBezTo>
                <a:cubicBezTo>
                  <a:pt x="299" y="141"/>
                  <a:pt x="298" y="151"/>
                  <a:pt x="298" y="162"/>
                </a:cubicBezTo>
                <a:cubicBezTo>
                  <a:pt x="297" y="168"/>
                  <a:pt x="295" y="171"/>
                  <a:pt x="289" y="166"/>
                </a:cubicBezTo>
                <a:cubicBezTo>
                  <a:pt x="285" y="161"/>
                  <a:pt x="282" y="163"/>
                  <a:pt x="279" y="167"/>
                </a:cubicBezTo>
                <a:cubicBezTo>
                  <a:pt x="273" y="176"/>
                  <a:pt x="266" y="185"/>
                  <a:pt x="260" y="195"/>
                </a:cubicBezTo>
                <a:cubicBezTo>
                  <a:pt x="258" y="198"/>
                  <a:pt x="258" y="204"/>
                  <a:pt x="260" y="206"/>
                </a:cubicBezTo>
                <a:cubicBezTo>
                  <a:pt x="267" y="214"/>
                  <a:pt x="263" y="221"/>
                  <a:pt x="259" y="228"/>
                </a:cubicBezTo>
                <a:cubicBezTo>
                  <a:pt x="251" y="240"/>
                  <a:pt x="245" y="253"/>
                  <a:pt x="245" y="268"/>
                </a:cubicBezTo>
                <a:cubicBezTo>
                  <a:pt x="245" y="281"/>
                  <a:pt x="239" y="286"/>
                  <a:pt x="227" y="288"/>
                </a:cubicBezTo>
                <a:cubicBezTo>
                  <a:pt x="219" y="289"/>
                  <a:pt x="215" y="294"/>
                  <a:pt x="211" y="300"/>
                </a:cubicBezTo>
                <a:cubicBezTo>
                  <a:pt x="205" y="308"/>
                  <a:pt x="200" y="308"/>
                  <a:pt x="193" y="302"/>
                </a:cubicBezTo>
                <a:cubicBezTo>
                  <a:pt x="187" y="297"/>
                  <a:pt x="183" y="278"/>
                  <a:pt x="185" y="271"/>
                </a:cubicBezTo>
                <a:cubicBezTo>
                  <a:pt x="188" y="263"/>
                  <a:pt x="191" y="258"/>
                  <a:pt x="200" y="258"/>
                </a:cubicBezTo>
                <a:cubicBezTo>
                  <a:pt x="207" y="258"/>
                  <a:pt x="208" y="255"/>
                  <a:pt x="203" y="249"/>
                </a:cubicBezTo>
                <a:cubicBezTo>
                  <a:pt x="197" y="242"/>
                  <a:pt x="197" y="241"/>
                  <a:pt x="206" y="236"/>
                </a:cubicBezTo>
                <a:cubicBezTo>
                  <a:pt x="209" y="234"/>
                  <a:pt x="213" y="232"/>
                  <a:pt x="216" y="230"/>
                </a:cubicBezTo>
                <a:cubicBezTo>
                  <a:pt x="221" y="226"/>
                  <a:pt x="223" y="221"/>
                  <a:pt x="220" y="216"/>
                </a:cubicBezTo>
                <a:cubicBezTo>
                  <a:pt x="217" y="211"/>
                  <a:pt x="211" y="207"/>
                  <a:pt x="214" y="199"/>
                </a:cubicBezTo>
                <a:cubicBezTo>
                  <a:pt x="214" y="199"/>
                  <a:pt x="211" y="198"/>
                  <a:pt x="209" y="197"/>
                </a:cubicBezTo>
                <a:cubicBezTo>
                  <a:pt x="206" y="195"/>
                  <a:pt x="202" y="194"/>
                  <a:pt x="199" y="191"/>
                </a:cubicBezTo>
                <a:cubicBezTo>
                  <a:pt x="194" y="187"/>
                  <a:pt x="190" y="185"/>
                  <a:pt x="183" y="188"/>
                </a:cubicBezTo>
                <a:cubicBezTo>
                  <a:pt x="177" y="191"/>
                  <a:pt x="176" y="188"/>
                  <a:pt x="177" y="182"/>
                </a:cubicBezTo>
                <a:cubicBezTo>
                  <a:pt x="178" y="179"/>
                  <a:pt x="179" y="176"/>
                  <a:pt x="179" y="173"/>
                </a:cubicBezTo>
                <a:cubicBezTo>
                  <a:pt x="179" y="167"/>
                  <a:pt x="176" y="163"/>
                  <a:pt x="166" y="166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835EFB95-44DC-412D-B03F-B8FAE62BFEE6}"/>
              </a:ext>
            </a:extLst>
          </p:cNvPr>
          <p:cNvSpPr>
            <a:spLocks/>
          </p:cNvSpPr>
          <p:nvPr userDrawn="1"/>
        </p:nvSpPr>
        <p:spPr bwMode="auto">
          <a:xfrm>
            <a:off x="9297988" y="3030538"/>
            <a:ext cx="747713" cy="592138"/>
          </a:xfrm>
          <a:custGeom>
            <a:avLst/>
            <a:gdLst>
              <a:gd name="T0" fmla="*/ 169 w 315"/>
              <a:gd name="T1" fmla="*/ 152 h 250"/>
              <a:gd name="T2" fmla="*/ 186 w 315"/>
              <a:gd name="T3" fmla="*/ 175 h 250"/>
              <a:gd name="T4" fmla="*/ 200 w 315"/>
              <a:gd name="T5" fmla="*/ 180 h 250"/>
              <a:gd name="T6" fmla="*/ 214 w 315"/>
              <a:gd name="T7" fmla="*/ 192 h 250"/>
              <a:gd name="T8" fmla="*/ 229 w 315"/>
              <a:gd name="T9" fmla="*/ 209 h 250"/>
              <a:gd name="T10" fmla="*/ 238 w 315"/>
              <a:gd name="T11" fmla="*/ 220 h 250"/>
              <a:gd name="T12" fmla="*/ 238 w 315"/>
              <a:gd name="T13" fmla="*/ 232 h 250"/>
              <a:gd name="T14" fmla="*/ 228 w 315"/>
              <a:gd name="T15" fmla="*/ 231 h 250"/>
              <a:gd name="T16" fmla="*/ 195 w 315"/>
              <a:gd name="T17" fmla="*/ 215 h 250"/>
              <a:gd name="T18" fmla="*/ 183 w 315"/>
              <a:gd name="T19" fmla="*/ 222 h 250"/>
              <a:gd name="T20" fmla="*/ 183 w 315"/>
              <a:gd name="T21" fmla="*/ 242 h 250"/>
              <a:gd name="T22" fmla="*/ 172 w 315"/>
              <a:gd name="T23" fmla="*/ 248 h 250"/>
              <a:gd name="T24" fmla="*/ 160 w 315"/>
              <a:gd name="T25" fmla="*/ 247 h 250"/>
              <a:gd name="T26" fmla="*/ 152 w 315"/>
              <a:gd name="T27" fmla="*/ 245 h 250"/>
              <a:gd name="T28" fmla="*/ 135 w 315"/>
              <a:gd name="T29" fmla="*/ 246 h 250"/>
              <a:gd name="T30" fmla="*/ 125 w 315"/>
              <a:gd name="T31" fmla="*/ 246 h 250"/>
              <a:gd name="T32" fmla="*/ 121 w 315"/>
              <a:gd name="T33" fmla="*/ 236 h 250"/>
              <a:gd name="T34" fmla="*/ 123 w 315"/>
              <a:gd name="T35" fmla="*/ 230 h 250"/>
              <a:gd name="T36" fmla="*/ 108 w 315"/>
              <a:gd name="T37" fmla="*/ 217 h 250"/>
              <a:gd name="T38" fmla="*/ 88 w 315"/>
              <a:gd name="T39" fmla="*/ 221 h 250"/>
              <a:gd name="T40" fmla="*/ 76 w 315"/>
              <a:gd name="T41" fmla="*/ 226 h 250"/>
              <a:gd name="T42" fmla="*/ 57 w 315"/>
              <a:gd name="T43" fmla="*/ 227 h 250"/>
              <a:gd name="T44" fmla="*/ 52 w 315"/>
              <a:gd name="T45" fmla="*/ 210 h 250"/>
              <a:gd name="T46" fmla="*/ 64 w 315"/>
              <a:gd name="T47" fmla="*/ 196 h 250"/>
              <a:gd name="T48" fmla="*/ 69 w 315"/>
              <a:gd name="T49" fmla="*/ 188 h 250"/>
              <a:gd name="T50" fmla="*/ 62 w 315"/>
              <a:gd name="T51" fmla="*/ 180 h 250"/>
              <a:gd name="T52" fmla="*/ 46 w 315"/>
              <a:gd name="T53" fmla="*/ 164 h 250"/>
              <a:gd name="T54" fmla="*/ 38 w 315"/>
              <a:gd name="T55" fmla="*/ 138 h 250"/>
              <a:gd name="T56" fmla="*/ 36 w 315"/>
              <a:gd name="T57" fmla="*/ 134 h 250"/>
              <a:gd name="T58" fmla="*/ 21 w 315"/>
              <a:gd name="T59" fmla="*/ 117 h 250"/>
              <a:gd name="T60" fmla="*/ 5 w 315"/>
              <a:gd name="T61" fmla="*/ 98 h 250"/>
              <a:gd name="T62" fmla="*/ 2 w 315"/>
              <a:gd name="T63" fmla="*/ 83 h 250"/>
              <a:gd name="T64" fmla="*/ 5 w 315"/>
              <a:gd name="T65" fmla="*/ 68 h 250"/>
              <a:gd name="T66" fmla="*/ 21 w 315"/>
              <a:gd name="T67" fmla="*/ 69 h 250"/>
              <a:gd name="T68" fmla="*/ 40 w 315"/>
              <a:gd name="T69" fmla="*/ 65 h 250"/>
              <a:gd name="T70" fmla="*/ 64 w 315"/>
              <a:gd name="T71" fmla="*/ 72 h 250"/>
              <a:gd name="T72" fmla="*/ 88 w 315"/>
              <a:gd name="T73" fmla="*/ 76 h 250"/>
              <a:gd name="T74" fmla="*/ 102 w 315"/>
              <a:gd name="T75" fmla="*/ 76 h 250"/>
              <a:gd name="T76" fmla="*/ 119 w 315"/>
              <a:gd name="T77" fmla="*/ 76 h 250"/>
              <a:gd name="T78" fmla="*/ 142 w 315"/>
              <a:gd name="T79" fmla="*/ 68 h 250"/>
              <a:gd name="T80" fmla="*/ 163 w 315"/>
              <a:gd name="T81" fmla="*/ 52 h 250"/>
              <a:gd name="T82" fmla="*/ 172 w 315"/>
              <a:gd name="T83" fmla="*/ 49 h 250"/>
              <a:gd name="T84" fmla="*/ 205 w 315"/>
              <a:gd name="T85" fmla="*/ 72 h 250"/>
              <a:gd name="T86" fmla="*/ 218 w 315"/>
              <a:gd name="T87" fmla="*/ 70 h 250"/>
              <a:gd name="T88" fmla="*/ 237 w 315"/>
              <a:gd name="T89" fmla="*/ 61 h 250"/>
              <a:gd name="T90" fmla="*/ 259 w 315"/>
              <a:gd name="T91" fmla="*/ 47 h 250"/>
              <a:gd name="T92" fmla="*/ 260 w 315"/>
              <a:gd name="T93" fmla="*/ 35 h 250"/>
              <a:gd name="T94" fmla="*/ 270 w 315"/>
              <a:gd name="T95" fmla="*/ 17 h 250"/>
              <a:gd name="T96" fmla="*/ 281 w 315"/>
              <a:gd name="T97" fmla="*/ 7 h 250"/>
              <a:gd name="T98" fmla="*/ 301 w 315"/>
              <a:gd name="T99" fmla="*/ 3 h 250"/>
              <a:gd name="T100" fmla="*/ 304 w 315"/>
              <a:gd name="T101" fmla="*/ 5 h 250"/>
              <a:gd name="T102" fmla="*/ 306 w 315"/>
              <a:gd name="T103" fmla="*/ 48 h 250"/>
              <a:gd name="T104" fmla="*/ 303 w 315"/>
              <a:gd name="T105" fmla="*/ 58 h 250"/>
              <a:gd name="T106" fmla="*/ 275 w 315"/>
              <a:gd name="T107" fmla="*/ 93 h 250"/>
              <a:gd name="T108" fmla="*/ 269 w 315"/>
              <a:gd name="T109" fmla="*/ 103 h 250"/>
              <a:gd name="T110" fmla="*/ 258 w 315"/>
              <a:gd name="T111" fmla="*/ 109 h 250"/>
              <a:gd name="T112" fmla="*/ 252 w 315"/>
              <a:gd name="T113" fmla="*/ 105 h 250"/>
              <a:gd name="T114" fmla="*/ 243 w 315"/>
              <a:gd name="T115" fmla="*/ 108 h 250"/>
              <a:gd name="T116" fmla="*/ 222 w 315"/>
              <a:gd name="T117" fmla="*/ 124 h 250"/>
              <a:gd name="T118" fmla="*/ 205 w 315"/>
              <a:gd name="T119" fmla="*/ 135 h 250"/>
              <a:gd name="T120" fmla="*/ 197 w 315"/>
              <a:gd name="T121" fmla="*/ 136 h 250"/>
              <a:gd name="T122" fmla="*/ 176 w 315"/>
              <a:gd name="T123" fmla="*/ 137 h 250"/>
              <a:gd name="T124" fmla="*/ 169 w 315"/>
              <a:gd name="T125" fmla="*/ 152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15" h="250">
                <a:moveTo>
                  <a:pt x="169" y="152"/>
                </a:moveTo>
                <a:cubicBezTo>
                  <a:pt x="168" y="165"/>
                  <a:pt x="178" y="170"/>
                  <a:pt x="186" y="175"/>
                </a:cubicBezTo>
                <a:cubicBezTo>
                  <a:pt x="190" y="178"/>
                  <a:pt x="195" y="179"/>
                  <a:pt x="200" y="180"/>
                </a:cubicBezTo>
                <a:cubicBezTo>
                  <a:pt x="208" y="180"/>
                  <a:pt x="215" y="179"/>
                  <a:pt x="214" y="192"/>
                </a:cubicBezTo>
                <a:cubicBezTo>
                  <a:pt x="214" y="197"/>
                  <a:pt x="224" y="203"/>
                  <a:pt x="229" y="209"/>
                </a:cubicBezTo>
                <a:cubicBezTo>
                  <a:pt x="232" y="212"/>
                  <a:pt x="236" y="216"/>
                  <a:pt x="238" y="220"/>
                </a:cubicBezTo>
                <a:cubicBezTo>
                  <a:pt x="240" y="223"/>
                  <a:pt x="238" y="228"/>
                  <a:pt x="238" y="232"/>
                </a:cubicBezTo>
                <a:cubicBezTo>
                  <a:pt x="234" y="231"/>
                  <a:pt x="231" y="231"/>
                  <a:pt x="228" y="231"/>
                </a:cubicBezTo>
                <a:cubicBezTo>
                  <a:pt x="215" y="230"/>
                  <a:pt x="206" y="220"/>
                  <a:pt x="195" y="215"/>
                </a:cubicBezTo>
                <a:cubicBezTo>
                  <a:pt x="184" y="211"/>
                  <a:pt x="184" y="212"/>
                  <a:pt x="183" y="222"/>
                </a:cubicBezTo>
                <a:cubicBezTo>
                  <a:pt x="183" y="229"/>
                  <a:pt x="183" y="235"/>
                  <a:pt x="183" y="242"/>
                </a:cubicBezTo>
                <a:cubicBezTo>
                  <a:pt x="182" y="249"/>
                  <a:pt x="179" y="250"/>
                  <a:pt x="172" y="248"/>
                </a:cubicBezTo>
                <a:cubicBezTo>
                  <a:pt x="168" y="247"/>
                  <a:pt x="164" y="247"/>
                  <a:pt x="160" y="247"/>
                </a:cubicBezTo>
                <a:cubicBezTo>
                  <a:pt x="157" y="246"/>
                  <a:pt x="153" y="247"/>
                  <a:pt x="152" y="245"/>
                </a:cubicBezTo>
                <a:cubicBezTo>
                  <a:pt x="145" y="238"/>
                  <a:pt x="140" y="241"/>
                  <a:pt x="135" y="246"/>
                </a:cubicBezTo>
                <a:cubicBezTo>
                  <a:pt x="132" y="250"/>
                  <a:pt x="129" y="249"/>
                  <a:pt x="125" y="246"/>
                </a:cubicBezTo>
                <a:cubicBezTo>
                  <a:pt x="121" y="244"/>
                  <a:pt x="118" y="241"/>
                  <a:pt x="121" y="236"/>
                </a:cubicBezTo>
                <a:cubicBezTo>
                  <a:pt x="122" y="234"/>
                  <a:pt x="123" y="232"/>
                  <a:pt x="123" y="230"/>
                </a:cubicBezTo>
                <a:cubicBezTo>
                  <a:pt x="124" y="220"/>
                  <a:pt x="118" y="215"/>
                  <a:pt x="108" y="217"/>
                </a:cubicBezTo>
                <a:cubicBezTo>
                  <a:pt x="102" y="219"/>
                  <a:pt x="95" y="219"/>
                  <a:pt x="88" y="221"/>
                </a:cubicBezTo>
                <a:cubicBezTo>
                  <a:pt x="84" y="222"/>
                  <a:pt x="80" y="225"/>
                  <a:pt x="76" y="226"/>
                </a:cubicBezTo>
                <a:cubicBezTo>
                  <a:pt x="70" y="227"/>
                  <a:pt x="63" y="229"/>
                  <a:pt x="57" y="227"/>
                </a:cubicBezTo>
                <a:cubicBezTo>
                  <a:pt x="50" y="226"/>
                  <a:pt x="47" y="217"/>
                  <a:pt x="52" y="210"/>
                </a:cubicBezTo>
                <a:cubicBezTo>
                  <a:pt x="56" y="205"/>
                  <a:pt x="60" y="200"/>
                  <a:pt x="64" y="196"/>
                </a:cubicBezTo>
                <a:cubicBezTo>
                  <a:pt x="66" y="193"/>
                  <a:pt x="70" y="190"/>
                  <a:pt x="69" y="188"/>
                </a:cubicBezTo>
                <a:cubicBezTo>
                  <a:pt x="68" y="185"/>
                  <a:pt x="64" y="180"/>
                  <a:pt x="62" y="180"/>
                </a:cubicBezTo>
                <a:cubicBezTo>
                  <a:pt x="50" y="180"/>
                  <a:pt x="48" y="172"/>
                  <a:pt x="46" y="164"/>
                </a:cubicBezTo>
                <a:cubicBezTo>
                  <a:pt x="44" y="155"/>
                  <a:pt x="40" y="147"/>
                  <a:pt x="38" y="138"/>
                </a:cubicBezTo>
                <a:cubicBezTo>
                  <a:pt x="37" y="137"/>
                  <a:pt x="36" y="135"/>
                  <a:pt x="36" y="134"/>
                </a:cubicBezTo>
                <a:cubicBezTo>
                  <a:pt x="25" y="134"/>
                  <a:pt x="25" y="123"/>
                  <a:pt x="21" y="117"/>
                </a:cubicBezTo>
                <a:cubicBezTo>
                  <a:pt x="17" y="110"/>
                  <a:pt x="11" y="104"/>
                  <a:pt x="5" y="98"/>
                </a:cubicBezTo>
                <a:cubicBezTo>
                  <a:pt x="0" y="93"/>
                  <a:pt x="0" y="89"/>
                  <a:pt x="2" y="83"/>
                </a:cubicBezTo>
                <a:cubicBezTo>
                  <a:pt x="4" y="78"/>
                  <a:pt x="2" y="70"/>
                  <a:pt x="5" y="68"/>
                </a:cubicBezTo>
                <a:cubicBezTo>
                  <a:pt x="9" y="65"/>
                  <a:pt x="16" y="69"/>
                  <a:pt x="21" y="69"/>
                </a:cubicBezTo>
                <a:cubicBezTo>
                  <a:pt x="28" y="68"/>
                  <a:pt x="34" y="66"/>
                  <a:pt x="40" y="65"/>
                </a:cubicBezTo>
                <a:cubicBezTo>
                  <a:pt x="49" y="63"/>
                  <a:pt x="58" y="63"/>
                  <a:pt x="64" y="72"/>
                </a:cubicBezTo>
                <a:cubicBezTo>
                  <a:pt x="71" y="83"/>
                  <a:pt x="76" y="84"/>
                  <a:pt x="88" y="76"/>
                </a:cubicBezTo>
                <a:cubicBezTo>
                  <a:pt x="93" y="73"/>
                  <a:pt x="96" y="69"/>
                  <a:pt x="102" y="76"/>
                </a:cubicBezTo>
                <a:cubicBezTo>
                  <a:pt x="106" y="82"/>
                  <a:pt x="114" y="80"/>
                  <a:pt x="119" y="76"/>
                </a:cubicBezTo>
                <a:cubicBezTo>
                  <a:pt x="126" y="70"/>
                  <a:pt x="134" y="69"/>
                  <a:pt x="142" y="68"/>
                </a:cubicBezTo>
                <a:cubicBezTo>
                  <a:pt x="152" y="67"/>
                  <a:pt x="160" y="63"/>
                  <a:pt x="163" y="52"/>
                </a:cubicBezTo>
                <a:cubicBezTo>
                  <a:pt x="164" y="48"/>
                  <a:pt x="167" y="48"/>
                  <a:pt x="172" y="49"/>
                </a:cubicBezTo>
                <a:cubicBezTo>
                  <a:pt x="188" y="50"/>
                  <a:pt x="195" y="63"/>
                  <a:pt x="205" y="72"/>
                </a:cubicBezTo>
                <a:cubicBezTo>
                  <a:pt x="213" y="80"/>
                  <a:pt x="213" y="81"/>
                  <a:pt x="218" y="70"/>
                </a:cubicBezTo>
                <a:cubicBezTo>
                  <a:pt x="223" y="58"/>
                  <a:pt x="224" y="57"/>
                  <a:pt x="237" y="61"/>
                </a:cubicBezTo>
                <a:cubicBezTo>
                  <a:pt x="247" y="64"/>
                  <a:pt x="257" y="57"/>
                  <a:pt x="259" y="47"/>
                </a:cubicBezTo>
                <a:cubicBezTo>
                  <a:pt x="259" y="43"/>
                  <a:pt x="259" y="39"/>
                  <a:pt x="260" y="35"/>
                </a:cubicBezTo>
                <a:cubicBezTo>
                  <a:pt x="261" y="27"/>
                  <a:pt x="263" y="20"/>
                  <a:pt x="270" y="17"/>
                </a:cubicBezTo>
                <a:cubicBezTo>
                  <a:pt x="274" y="15"/>
                  <a:pt x="278" y="11"/>
                  <a:pt x="281" y="7"/>
                </a:cubicBezTo>
                <a:cubicBezTo>
                  <a:pt x="286" y="0"/>
                  <a:pt x="294" y="3"/>
                  <a:pt x="301" y="3"/>
                </a:cubicBezTo>
                <a:cubicBezTo>
                  <a:pt x="302" y="3"/>
                  <a:pt x="304" y="4"/>
                  <a:pt x="304" y="5"/>
                </a:cubicBezTo>
                <a:cubicBezTo>
                  <a:pt x="308" y="19"/>
                  <a:pt x="315" y="33"/>
                  <a:pt x="306" y="48"/>
                </a:cubicBezTo>
                <a:cubicBezTo>
                  <a:pt x="304" y="51"/>
                  <a:pt x="303" y="54"/>
                  <a:pt x="303" y="58"/>
                </a:cubicBezTo>
                <a:cubicBezTo>
                  <a:pt x="302" y="77"/>
                  <a:pt x="294" y="89"/>
                  <a:pt x="275" y="93"/>
                </a:cubicBezTo>
                <a:cubicBezTo>
                  <a:pt x="269" y="94"/>
                  <a:pt x="269" y="98"/>
                  <a:pt x="269" y="103"/>
                </a:cubicBezTo>
                <a:cubicBezTo>
                  <a:pt x="269" y="113"/>
                  <a:pt x="266" y="114"/>
                  <a:pt x="258" y="109"/>
                </a:cubicBezTo>
                <a:cubicBezTo>
                  <a:pt x="256" y="108"/>
                  <a:pt x="254" y="107"/>
                  <a:pt x="252" y="105"/>
                </a:cubicBezTo>
                <a:cubicBezTo>
                  <a:pt x="248" y="103"/>
                  <a:pt x="245" y="103"/>
                  <a:pt x="243" y="108"/>
                </a:cubicBezTo>
                <a:cubicBezTo>
                  <a:pt x="240" y="119"/>
                  <a:pt x="231" y="122"/>
                  <a:pt x="222" y="124"/>
                </a:cubicBezTo>
                <a:cubicBezTo>
                  <a:pt x="215" y="126"/>
                  <a:pt x="208" y="127"/>
                  <a:pt x="205" y="135"/>
                </a:cubicBezTo>
                <a:cubicBezTo>
                  <a:pt x="204" y="136"/>
                  <a:pt x="198" y="137"/>
                  <a:pt x="197" y="136"/>
                </a:cubicBezTo>
                <a:cubicBezTo>
                  <a:pt x="189" y="130"/>
                  <a:pt x="182" y="132"/>
                  <a:pt x="176" y="137"/>
                </a:cubicBezTo>
                <a:cubicBezTo>
                  <a:pt x="172" y="140"/>
                  <a:pt x="171" y="147"/>
                  <a:pt x="169" y="15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85991C-22A3-493A-B989-A60D4FBBF353}"/>
              </a:ext>
            </a:extLst>
          </p:cNvPr>
          <p:cNvSpPr>
            <a:spLocks/>
          </p:cNvSpPr>
          <p:nvPr userDrawn="1"/>
        </p:nvSpPr>
        <p:spPr bwMode="auto">
          <a:xfrm>
            <a:off x="9710738" y="2857500"/>
            <a:ext cx="552450" cy="839788"/>
          </a:xfrm>
          <a:custGeom>
            <a:avLst/>
            <a:gdLst>
              <a:gd name="T0" fmla="*/ 150 w 233"/>
              <a:gd name="T1" fmla="*/ 16 h 354"/>
              <a:gd name="T2" fmla="*/ 177 w 233"/>
              <a:gd name="T3" fmla="*/ 47 h 354"/>
              <a:gd name="T4" fmla="*/ 202 w 233"/>
              <a:gd name="T5" fmla="*/ 60 h 354"/>
              <a:gd name="T6" fmla="*/ 206 w 233"/>
              <a:gd name="T7" fmla="*/ 74 h 354"/>
              <a:gd name="T8" fmla="*/ 176 w 233"/>
              <a:gd name="T9" fmla="*/ 84 h 354"/>
              <a:gd name="T10" fmla="*/ 153 w 233"/>
              <a:gd name="T11" fmla="*/ 121 h 354"/>
              <a:gd name="T12" fmla="*/ 198 w 233"/>
              <a:gd name="T13" fmla="*/ 158 h 354"/>
              <a:gd name="T14" fmla="*/ 197 w 233"/>
              <a:gd name="T15" fmla="*/ 205 h 354"/>
              <a:gd name="T16" fmla="*/ 210 w 233"/>
              <a:gd name="T17" fmla="*/ 230 h 354"/>
              <a:gd name="T18" fmla="*/ 216 w 233"/>
              <a:gd name="T19" fmla="*/ 252 h 354"/>
              <a:gd name="T20" fmla="*/ 220 w 233"/>
              <a:gd name="T21" fmla="*/ 285 h 354"/>
              <a:gd name="T22" fmla="*/ 224 w 233"/>
              <a:gd name="T23" fmla="*/ 345 h 354"/>
              <a:gd name="T24" fmla="*/ 209 w 233"/>
              <a:gd name="T25" fmla="*/ 341 h 354"/>
              <a:gd name="T26" fmla="*/ 202 w 233"/>
              <a:gd name="T27" fmla="*/ 311 h 354"/>
              <a:gd name="T28" fmla="*/ 195 w 233"/>
              <a:gd name="T29" fmla="*/ 328 h 354"/>
              <a:gd name="T30" fmla="*/ 172 w 233"/>
              <a:gd name="T31" fmla="*/ 344 h 354"/>
              <a:gd name="T32" fmla="*/ 153 w 233"/>
              <a:gd name="T33" fmla="*/ 300 h 354"/>
              <a:gd name="T34" fmla="*/ 150 w 233"/>
              <a:gd name="T35" fmla="*/ 309 h 354"/>
              <a:gd name="T36" fmla="*/ 123 w 233"/>
              <a:gd name="T37" fmla="*/ 351 h 354"/>
              <a:gd name="T38" fmla="*/ 104 w 233"/>
              <a:gd name="T39" fmla="*/ 335 h 354"/>
              <a:gd name="T40" fmla="*/ 85 w 233"/>
              <a:gd name="T41" fmla="*/ 326 h 354"/>
              <a:gd name="T42" fmla="*/ 70 w 233"/>
              <a:gd name="T43" fmla="*/ 304 h 354"/>
              <a:gd name="T44" fmla="*/ 47 w 233"/>
              <a:gd name="T45" fmla="*/ 268 h 354"/>
              <a:gd name="T46" fmla="*/ 33 w 233"/>
              <a:gd name="T47" fmla="*/ 249 h 354"/>
              <a:gd name="T48" fmla="*/ 2 w 233"/>
              <a:gd name="T49" fmla="*/ 218 h 354"/>
              <a:gd name="T50" fmla="*/ 37 w 233"/>
              <a:gd name="T51" fmla="*/ 209 h 354"/>
              <a:gd name="T52" fmla="*/ 73 w 233"/>
              <a:gd name="T53" fmla="*/ 187 h 354"/>
              <a:gd name="T54" fmla="*/ 100 w 233"/>
              <a:gd name="T55" fmla="*/ 177 h 354"/>
              <a:gd name="T56" fmla="*/ 135 w 233"/>
              <a:gd name="T57" fmla="*/ 135 h 354"/>
              <a:gd name="T58" fmla="*/ 141 w 233"/>
              <a:gd name="T59" fmla="*/ 93 h 354"/>
              <a:gd name="T60" fmla="*/ 141 w 233"/>
              <a:gd name="T61" fmla="*/ 56 h 354"/>
              <a:gd name="T62" fmla="*/ 150 w 233"/>
              <a:gd name="T63" fmla="*/ 40 h 354"/>
              <a:gd name="T64" fmla="*/ 154 w 233"/>
              <a:gd name="T65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3" h="354">
                <a:moveTo>
                  <a:pt x="154" y="0"/>
                </a:moveTo>
                <a:cubicBezTo>
                  <a:pt x="153" y="5"/>
                  <a:pt x="152" y="11"/>
                  <a:pt x="150" y="16"/>
                </a:cubicBezTo>
                <a:cubicBezTo>
                  <a:pt x="148" y="24"/>
                  <a:pt x="150" y="32"/>
                  <a:pt x="158" y="34"/>
                </a:cubicBezTo>
                <a:cubicBezTo>
                  <a:pt x="167" y="36"/>
                  <a:pt x="172" y="41"/>
                  <a:pt x="177" y="47"/>
                </a:cubicBezTo>
                <a:cubicBezTo>
                  <a:pt x="182" y="53"/>
                  <a:pt x="187" y="57"/>
                  <a:pt x="196" y="57"/>
                </a:cubicBezTo>
                <a:cubicBezTo>
                  <a:pt x="198" y="57"/>
                  <a:pt x="201" y="58"/>
                  <a:pt x="202" y="60"/>
                </a:cubicBezTo>
                <a:cubicBezTo>
                  <a:pt x="205" y="63"/>
                  <a:pt x="207" y="67"/>
                  <a:pt x="210" y="71"/>
                </a:cubicBezTo>
                <a:cubicBezTo>
                  <a:pt x="210" y="71"/>
                  <a:pt x="207" y="73"/>
                  <a:pt x="206" y="74"/>
                </a:cubicBezTo>
                <a:cubicBezTo>
                  <a:pt x="200" y="74"/>
                  <a:pt x="195" y="75"/>
                  <a:pt x="189" y="74"/>
                </a:cubicBezTo>
                <a:cubicBezTo>
                  <a:pt x="182" y="74"/>
                  <a:pt x="178" y="77"/>
                  <a:pt x="176" y="84"/>
                </a:cubicBezTo>
                <a:cubicBezTo>
                  <a:pt x="175" y="91"/>
                  <a:pt x="173" y="98"/>
                  <a:pt x="162" y="97"/>
                </a:cubicBezTo>
                <a:cubicBezTo>
                  <a:pt x="156" y="97"/>
                  <a:pt x="149" y="113"/>
                  <a:pt x="153" y="121"/>
                </a:cubicBezTo>
                <a:cubicBezTo>
                  <a:pt x="160" y="136"/>
                  <a:pt x="172" y="144"/>
                  <a:pt x="187" y="147"/>
                </a:cubicBezTo>
                <a:cubicBezTo>
                  <a:pt x="195" y="149"/>
                  <a:pt x="199" y="150"/>
                  <a:pt x="198" y="158"/>
                </a:cubicBezTo>
                <a:cubicBezTo>
                  <a:pt x="197" y="165"/>
                  <a:pt x="202" y="175"/>
                  <a:pt x="191" y="179"/>
                </a:cubicBezTo>
                <a:cubicBezTo>
                  <a:pt x="193" y="188"/>
                  <a:pt x="193" y="197"/>
                  <a:pt x="197" y="205"/>
                </a:cubicBezTo>
                <a:cubicBezTo>
                  <a:pt x="200" y="210"/>
                  <a:pt x="203" y="213"/>
                  <a:pt x="201" y="219"/>
                </a:cubicBezTo>
                <a:cubicBezTo>
                  <a:pt x="199" y="226"/>
                  <a:pt x="204" y="229"/>
                  <a:pt x="210" y="230"/>
                </a:cubicBezTo>
                <a:cubicBezTo>
                  <a:pt x="215" y="231"/>
                  <a:pt x="216" y="233"/>
                  <a:pt x="214" y="237"/>
                </a:cubicBezTo>
                <a:cubicBezTo>
                  <a:pt x="210" y="243"/>
                  <a:pt x="211" y="248"/>
                  <a:pt x="216" y="252"/>
                </a:cubicBezTo>
                <a:cubicBezTo>
                  <a:pt x="221" y="258"/>
                  <a:pt x="221" y="265"/>
                  <a:pt x="220" y="272"/>
                </a:cubicBezTo>
                <a:cubicBezTo>
                  <a:pt x="219" y="276"/>
                  <a:pt x="218" y="282"/>
                  <a:pt x="220" y="285"/>
                </a:cubicBezTo>
                <a:cubicBezTo>
                  <a:pt x="231" y="302"/>
                  <a:pt x="228" y="321"/>
                  <a:pt x="232" y="339"/>
                </a:cubicBezTo>
                <a:cubicBezTo>
                  <a:pt x="233" y="347"/>
                  <a:pt x="231" y="348"/>
                  <a:pt x="224" y="345"/>
                </a:cubicBezTo>
                <a:cubicBezTo>
                  <a:pt x="222" y="344"/>
                  <a:pt x="219" y="345"/>
                  <a:pt x="217" y="346"/>
                </a:cubicBezTo>
                <a:cubicBezTo>
                  <a:pt x="210" y="351"/>
                  <a:pt x="210" y="346"/>
                  <a:pt x="209" y="341"/>
                </a:cubicBezTo>
                <a:cubicBezTo>
                  <a:pt x="208" y="332"/>
                  <a:pt x="207" y="324"/>
                  <a:pt x="205" y="315"/>
                </a:cubicBezTo>
                <a:cubicBezTo>
                  <a:pt x="205" y="314"/>
                  <a:pt x="203" y="311"/>
                  <a:pt x="202" y="311"/>
                </a:cubicBezTo>
                <a:cubicBezTo>
                  <a:pt x="201" y="311"/>
                  <a:pt x="198" y="313"/>
                  <a:pt x="198" y="314"/>
                </a:cubicBezTo>
                <a:cubicBezTo>
                  <a:pt x="197" y="319"/>
                  <a:pt x="197" y="324"/>
                  <a:pt x="195" y="328"/>
                </a:cubicBezTo>
                <a:cubicBezTo>
                  <a:pt x="193" y="334"/>
                  <a:pt x="192" y="341"/>
                  <a:pt x="188" y="347"/>
                </a:cubicBezTo>
                <a:cubicBezTo>
                  <a:pt x="183" y="354"/>
                  <a:pt x="175" y="353"/>
                  <a:pt x="172" y="344"/>
                </a:cubicBezTo>
                <a:cubicBezTo>
                  <a:pt x="170" y="336"/>
                  <a:pt x="169" y="327"/>
                  <a:pt x="169" y="319"/>
                </a:cubicBezTo>
                <a:cubicBezTo>
                  <a:pt x="169" y="313"/>
                  <a:pt x="158" y="299"/>
                  <a:pt x="153" y="300"/>
                </a:cubicBezTo>
                <a:cubicBezTo>
                  <a:pt x="151" y="300"/>
                  <a:pt x="149" y="302"/>
                  <a:pt x="148" y="304"/>
                </a:cubicBezTo>
                <a:cubicBezTo>
                  <a:pt x="148" y="305"/>
                  <a:pt x="149" y="307"/>
                  <a:pt x="150" y="309"/>
                </a:cubicBezTo>
                <a:cubicBezTo>
                  <a:pt x="153" y="315"/>
                  <a:pt x="160" y="320"/>
                  <a:pt x="155" y="328"/>
                </a:cubicBezTo>
                <a:cubicBezTo>
                  <a:pt x="148" y="340"/>
                  <a:pt x="138" y="349"/>
                  <a:pt x="123" y="351"/>
                </a:cubicBezTo>
                <a:cubicBezTo>
                  <a:pt x="122" y="351"/>
                  <a:pt x="119" y="350"/>
                  <a:pt x="119" y="350"/>
                </a:cubicBezTo>
                <a:cubicBezTo>
                  <a:pt x="117" y="341"/>
                  <a:pt x="108" y="340"/>
                  <a:pt x="104" y="335"/>
                </a:cubicBezTo>
                <a:cubicBezTo>
                  <a:pt x="100" y="329"/>
                  <a:pt x="97" y="326"/>
                  <a:pt x="90" y="327"/>
                </a:cubicBezTo>
                <a:cubicBezTo>
                  <a:pt x="88" y="328"/>
                  <a:pt x="85" y="327"/>
                  <a:pt x="85" y="326"/>
                </a:cubicBezTo>
                <a:cubicBezTo>
                  <a:pt x="83" y="319"/>
                  <a:pt x="78" y="314"/>
                  <a:pt x="71" y="312"/>
                </a:cubicBezTo>
                <a:cubicBezTo>
                  <a:pt x="70" y="311"/>
                  <a:pt x="69" y="307"/>
                  <a:pt x="70" y="304"/>
                </a:cubicBezTo>
                <a:cubicBezTo>
                  <a:pt x="73" y="291"/>
                  <a:pt x="67" y="283"/>
                  <a:pt x="57" y="277"/>
                </a:cubicBezTo>
                <a:cubicBezTo>
                  <a:pt x="53" y="274"/>
                  <a:pt x="50" y="271"/>
                  <a:pt x="47" y="268"/>
                </a:cubicBezTo>
                <a:cubicBezTo>
                  <a:pt x="45" y="266"/>
                  <a:pt x="45" y="264"/>
                  <a:pt x="45" y="262"/>
                </a:cubicBezTo>
                <a:cubicBezTo>
                  <a:pt x="45" y="250"/>
                  <a:pt x="45" y="251"/>
                  <a:pt x="33" y="249"/>
                </a:cubicBezTo>
                <a:cubicBezTo>
                  <a:pt x="25" y="247"/>
                  <a:pt x="16" y="244"/>
                  <a:pt x="9" y="240"/>
                </a:cubicBezTo>
                <a:cubicBezTo>
                  <a:pt x="2" y="235"/>
                  <a:pt x="0" y="225"/>
                  <a:pt x="2" y="218"/>
                </a:cubicBezTo>
                <a:cubicBezTo>
                  <a:pt x="5" y="212"/>
                  <a:pt x="13" y="209"/>
                  <a:pt x="19" y="213"/>
                </a:cubicBezTo>
                <a:cubicBezTo>
                  <a:pt x="27" y="220"/>
                  <a:pt x="32" y="218"/>
                  <a:pt x="37" y="209"/>
                </a:cubicBezTo>
                <a:cubicBezTo>
                  <a:pt x="38" y="206"/>
                  <a:pt x="44" y="204"/>
                  <a:pt x="48" y="203"/>
                </a:cubicBezTo>
                <a:cubicBezTo>
                  <a:pt x="57" y="199"/>
                  <a:pt x="68" y="197"/>
                  <a:pt x="73" y="187"/>
                </a:cubicBezTo>
                <a:cubicBezTo>
                  <a:pt x="74" y="186"/>
                  <a:pt x="80" y="186"/>
                  <a:pt x="82" y="187"/>
                </a:cubicBezTo>
                <a:cubicBezTo>
                  <a:pt x="94" y="192"/>
                  <a:pt x="98" y="190"/>
                  <a:pt x="100" y="177"/>
                </a:cubicBezTo>
                <a:cubicBezTo>
                  <a:pt x="101" y="175"/>
                  <a:pt x="104" y="171"/>
                  <a:pt x="106" y="170"/>
                </a:cubicBezTo>
                <a:cubicBezTo>
                  <a:pt x="122" y="165"/>
                  <a:pt x="133" y="151"/>
                  <a:pt x="135" y="135"/>
                </a:cubicBezTo>
                <a:cubicBezTo>
                  <a:pt x="135" y="130"/>
                  <a:pt x="138" y="125"/>
                  <a:pt x="139" y="119"/>
                </a:cubicBezTo>
                <a:cubicBezTo>
                  <a:pt x="140" y="111"/>
                  <a:pt x="142" y="102"/>
                  <a:pt x="141" y="93"/>
                </a:cubicBezTo>
                <a:cubicBezTo>
                  <a:pt x="140" y="83"/>
                  <a:pt x="136" y="74"/>
                  <a:pt x="133" y="65"/>
                </a:cubicBezTo>
                <a:cubicBezTo>
                  <a:pt x="132" y="59"/>
                  <a:pt x="136" y="57"/>
                  <a:pt x="141" y="56"/>
                </a:cubicBezTo>
                <a:cubicBezTo>
                  <a:pt x="145" y="56"/>
                  <a:pt x="149" y="56"/>
                  <a:pt x="152" y="54"/>
                </a:cubicBezTo>
                <a:cubicBezTo>
                  <a:pt x="156" y="51"/>
                  <a:pt x="155" y="44"/>
                  <a:pt x="150" y="40"/>
                </a:cubicBezTo>
                <a:cubicBezTo>
                  <a:pt x="146" y="38"/>
                  <a:pt x="143" y="35"/>
                  <a:pt x="141" y="32"/>
                </a:cubicBezTo>
                <a:cubicBezTo>
                  <a:pt x="134" y="18"/>
                  <a:pt x="137" y="12"/>
                  <a:pt x="154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042CC3C-C706-41DD-B3BB-5D219ACDC75D}"/>
              </a:ext>
            </a:extLst>
          </p:cNvPr>
          <p:cNvSpPr>
            <a:spLocks/>
          </p:cNvSpPr>
          <p:nvPr userDrawn="1"/>
        </p:nvSpPr>
        <p:spPr bwMode="auto">
          <a:xfrm>
            <a:off x="7634288" y="836613"/>
            <a:ext cx="669925" cy="415925"/>
          </a:xfrm>
          <a:custGeom>
            <a:avLst/>
            <a:gdLst>
              <a:gd name="T0" fmla="*/ 54 w 282"/>
              <a:gd name="T1" fmla="*/ 22 h 175"/>
              <a:gd name="T2" fmla="*/ 82 w 282"/>
              <a:gd name="T3" fmla="*/ 25 h 175"/>
              <a:gd name="T4" fmla="*/ 90 w 282"/>
              <a:gd name="T5" fmla="*/ 22 h 175"/>
              <a:gd name="T6" fmla="*/ 85 w 282"/>
              <a:gd name="T7" fmla="*/ 14 h 175"/>
              <a:gd name="T8" fmla="*/ 82 w 282"/>
              <a:gd name="T9" fmla="*/ 10 h 175"/>
              <a:gd name="T10" fmla="*/ 88 w 282"/>
              <a:gd name="T11" fmla="*/ 10 h 175"/>
              <a:gd name="T12" fmla="*/ 118 w 282"/>
              <a:gd name="T13" fmla="*/ 9 h 175"/>
              <a:gd name="T14" fmla="*/ 139 w 282"/>
              <a:gd name="T15" fmla="*/ 1 h 175"/>
              <a:gd name="T16" fmla="*/ 146 w 282"/>
              <a:gd name="T17" fmla="*/ 3 h 175"/>
              <a:gd name="T18" fmla="*/ 156 w 282"/>
              <a:gd name="T19" fmla="*/ 12 h 175"/>
              <a:gd name="T20" fmla="*/ 172 w 282"/>
              <a:gd name="T21" fmla="*/ 6 h 175"/>
              <a:gd name="T22" fmla="*/ 185 w 282"/>
              <a:gd name="T23" fmla="*/ 10 h 175"/>
              <a:gd name="T24" fmla="*/ 210 w 282"/>
              <a:gd name="T25" fmla="*/ 45 h 175"/>
              <a:gd name="T26" fmla="*/ 213 w 282"/>
              <a:gd name="T27" fmla="*/ 68 h 175"/>
              <a:gd name="T28" fmla="*/ 215 w 282"/>
              <a:gd name="T29" fmla="*/ 83 h 175"/>
              <a:gd name="T30" fmla="*/ 235 w 282"/>
              <a:gd name="T31" fmla="*/ 104 h 175"/>
              <a:gd name="T32" fmla="*/ 252 w 282"/>
              <a:gd name="T33" fmla="*/ 107 h 175"/>
              <a:gd name="T34" fmla="*/ 261 w 282"/>
              <a:gd name="T35" fmla="*/ 110 h 175"/>
              <a:gd name="T36" fmla="*/ 276 w 282"/>
              <a:gd name="T37" fmla="*/ 144 h 175"/>
              <a:gd name="T38" fmla="*/ 268 w 282"/>
              <a:gd name="T39" fmla="*/ 168 h 175"/>
              <a:gd name="T40" fmla="*/ 253 w 282"/>
              <a:gd name="T41" fmla="*/ 169 h 175"/>
              <a:gd name="T42" fmla="*/ 228 w 282"/>
              <a:gd name="T43" fmla="*/ 169 h 175"/>
              <a:gd name="T44" fmla="*/ 214 w 282"/>
              <a:gd name="T45" fmla="*/ 168 h 175"/>
              <a:gd name="T46" fmla="*/ 193 w 282"/>
              <a:gd name="T47" fmla="*/ 171 h 175"/>
              <a:gd name="T48" fmla="*/ 173 w 282"/>
              <a:gd name="T49" fmla="*/ 169 h 175"/>
              <a:gd name="T50" fmla="*/ 123 w 282"/>
              <a:gd name="T51" fmla="*/ 152 h 175"/>
              <a:gd name="T52" fmla="*/ 79 w 282"/>
              <a:gd name="T53" fmla="*/ 138 h 175"/>
              <a:gd name="T54" fmla="*/ 74 w 282"/>
              <a:gd name="T55" fmla="*/ 126 h 175"/>
              <a:gd name="T56" fmla="*/ 68 w 282"/>
              <a:gd name="T57" fmla="*/ 113 h 175"/>
              <a:gd name="T58" fmla="*/ 53 w 282"/>
              <a:gd name="T59" fmla="*/ 109 h 175"/>
              <a:gd name="T60" fmla="*/ 38 w 282"/>
              <a:gd name="T61" fmla="*/ 96 h 175"/>
              <a:gd name="T62" fmla="*/ 33 w 282"/>
              <a:gd name="T63" fmla="*/ 85 h 175"/>
              <a:gd name="T64" fmla="*/ 13 w 282"/>
              <a:gd name="T65" fmla="*/ 83 h 175"/>
              <a:gd name="T66" fmla="*/ 3 w 282"/>
              <a:gd name="T67" fmla="*/ 75 h 175"/>
              <a:gd name="T68" fmla="*/ 16 w 282"/>
              <a:gd name="T69" fmla="*/ 52 h 175"/>
              <a:gd name="T70" fmla="*/ 36 w 282"/>
              <a:gd name="T71" fmla="*/ 32 h 175"/>
              <a:gd name="T72" fmla="*/ 54 w 282"/>
              <a:gd name="T73" fmla="*/ 22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2" h="175">
                <a:moveTo>
                  <a:pt x="54" y="22"/>
                </a:moveTo>
                <a:cubicBezTo>
                  <a:pt x="63" y="23"/>
                  <a:pt x="73" y="25"/>
                  <a:pt x="82" y="25"/>
                </a:cubicBezTo>
                <a:cubicBezTo>
                  <a:pt x="84" y="25"/>
                  <a:pt x="87" y="23"/>
                  <a:pt x="90" y="22"/>
                </a:cubicBezTo>
                <a:cubicBezTo>
                  <a:pt x="88" y="19"/>
                  <a:pt x="87" y="17"/>
                  <a:pt x="85" y="14"/>
                </a:cubicBezTo>
                <a:cubicBezTo>
                  <a:pt x="84" y="13"/>
                  <a:pt x="83" y="12"/>
                  <a:pt x="82" y="10"/>
                </a:cubicBezTo>
                <a:cubicBezTo>
                  <a:pt x="84" y="10"/>
                  <a:pt x="87" y="9"/>
                  <a:pt x="88" y="10"/>
                </a:cubicBezTo>
                <a:cubicBezTo>
                  <a:pt x="98" y="18"/>
                  <a:pt x="108" y="15"/>
                  <a:pt x="118" y="9"/>
                </a:cubicBezTo>
                <a:cubicBezTo>
                  <a:pt x="124" y="6"/>
                  <a:pt x="132" y="3"/>
                  <a:pt x="139" y="1"/>
                </a:cubicBezTo>
                <a:cubicBezTo>
                  <a:pt x="141" y="1"/>
                  <a:pt x="144" y="2"/>
                  <a:pt x="146" y="3"/>
                </a:cubicBezTo>
                <a:cubicBezTo>
                  <a:pt x="150" y="6"/>
                  <a:pt x="153" y="12"/>
                  <a:pt x="156" y="12"/>
                </a:cubicBezTo>
                <a:cubicBezTo>
                  <a:pt x="162" y="12"/>
                  <a:pt x="168" y="9"/>
                  <a:pt x="172" y="6"/>
                </a:cubicBezTo>
                <a:cubicBezTo>
                  <a:pt x="179" y="0"/>
                  <a:pt x="181" y="2"/>
                  <a:pt x="185" y="10"/>
                </a:cubicBezTo>
                <a:cubicBezTo>
                  <a:pt x="192" y="22"/>
                  <a:pt x="201" y="34"/>
                  <a:pt x="210" y="45"/>
                </a:cubicBezTo>
                <a:cubicBezTo>
                  <a:pt x="218" y="55"/>
                  <a:pt x="219" y="58"/>
                  <a:pt x="213" y="68"/>
                </a:cubicBezTo>
                <a:cubicBezTo>
                  <a:pt x="209" y="74"/>
                  <a:pt x="210" y="78"/>
                  <a:pt x="215" y="83"/>
                </a:cubicBezTo>
                <a:cubicBezTo>
                  <a:pt x="222" y="90"/>
                  <a:pt x="228" y="97"/>
                  <a:pt x="235" y="104"/>
                </a:cubicBezTo>
                <a:cubicBezTo>
                  <a:pt x="240" y="110"/>
                  <a:pt x="246" y="109"/>
                  <a:pt x="252" y="107"/>
                </a:cubicBezTo>
                <a:cubicBezTo>
                  <a:pt x="256" y="105"/>
                  <a:pt x="257" y="106"/>
                  <a:pt x="261" y="110"/>
                </a:cubicBezTo>
                <a:cubicBezTo>
                  <a:pt x="270" y="120"/>
                  <a:pt x="270" y="133"/>
                  <a:pt x="276" y="144"/>
                </a:cubicBezTo>
                <a:cubicBezTo>
                  <a:pt x="282" y="155"/>
                  <a:pt x="272" y="161"/>
                  <a:pt x="268" y="168"/>
                </a:cubicBezTo>
                <a:cubicBezTo>
                  <a:pt x="265" y="175"/>
                  <a:pt x="258" y="170"/>
                  <a:pt x="253" y="169"/>
                </a:cubicBezTo>
                <a:cubicBezTo>
                  <a:pt x="245" y="167"/>
                  <a:pt x="237" y="166"/>
                  <a:pt x="228" y="169"/>
                </a:cubicBezTo>
                <a:cubicBezTo>
                  <a:pt x="224" y="171"/>
                  <a:pt x="218" y="168"/>
                  <a:pt x="214" y="168"/>
                </a:cubicBezTo>
                <a:cubicBezTo>
                  <a:pt x="207" y="168"/>
                  <a:pt x="200" y="170"/>
                  <a:pt x="193" y="171"/>
                </a:cubicBezTo>
                <a:cubicBezTo>
                  <a:pt x="186" y="171"/>
                  <a:pt x="179" y="171"/>
                  <a:pt x="173" y="169"/>
                </a:cubicBezTo>
                <a:cubicBezTo>
                  <a:pt x="156" y="164"/>
                  <a:pt x="140" y="156"/>
                  <a:pt x="123" y="152"/>
                </a:cubicBezTo>
                <a:cubicBezTo>
                  <a:pt x="108" y="148"/>
                  <a:pt x="94" y="141"/>
                  <a:pt x="79" y="138"/>
                </a:cubicBezTo>
                <a:cubicBezTo>
                  <a:pt x="68" y="135"/>
                  <a:pt x="72" y="129"/>
                  <a:pt x="74" y="126"/>
                </a:cubicBezTo>
                <a:cubicBezTo>
                  <a:pt x="79" y="117"/>
                  <a:pt x="74" y="115"/>
                  <a:pt x="68" y="113"/>
                </a:cubicBezTo>
                <a:cubicBezTo>
                  <a:pt x="63" y="112"/>
                  <a:pt x="57" y="112"/>
                  <a:pt x="53" y="109"/>
                </a:cubicBezTo>
                <a:cubicBezTo>
                  <a:pt x="48" y="106"/>
                  <a:pt x="43" y="101"/>
                  <a:pt x="38" y="96"/>
                </a:cubicBezTo>
                <a:cubicBezTo>
                  <a:pt x="36" y="93"/>
                  <a:pt x="36" y="86"/>
                  <a:pt x="33" y="85"/>
                </a:cubicBezTo>
                <a:cubicBezTo>
                  <a:pt x="27" y="83"/>
                  <a:pt x="20" y="83"/>
                  <a:pt x="13" y="83"/>
                </a:cubicBezTo>
                <a:cubicBezTo>
                  <a:pt x="3" y="85"/>
                  <a:pt x="5" y="85"/>
                  <a:pt x="3" y="75"/>
                </a:cubicBezTo>
                <a:cubicBezTo>
                  <a:pt x="0" y="61"/>
                  <a:pt x="7" y="58"/>
                  <a:pt x="16" y="52"/>
                </a:cubicBezTo>
                <a:cubicBezTo>
                  <a:pt x="24" y="47"/>
                  <a:pt x="33" y="41"/>
                  <a:pt x="36" y="32"/>
                </a:cubicBezTo>
                <a:cubicBezTo>
                  <a:pt x="40" y="22"/>
                  <a:pt x="46" y="22"/>
                  <a:pt x="54" y="2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EE21D32F-2276-45E3-9C9A-EC9225A03E6D}"/>
              </a:ext>
            </a:extLst>
          </p:cNvPr>
          <p:cNvSpPr>
            <a:spLocks/>
          </p:cNvSpPr>
          <p:nvPr userDrawn="1"/>
        </p:nvSpPr>
        <p:spPr bwMode="auto">
          <a:xfrm>
            <a:off x="8050213" y="1576388"/>
            <a:ext cx="519113" cy="520700"/>
          </a:xfrm>
          <a:custGeom>
            <a:avLst/>
            <a:gdLst>
              <a:gd name="T0" fmla="*/ 184 w 219"/>
              <a:gd name="T1" fmla="*/ 45 h 220"/>
              <a:gd name="T2" fmla="*/ 185 w 219"/>
              <a:gd name="T3" fmla="*/ 61 h 220"/>
              <a:gd name="T4" fmla="*/ 205 w 219"/>
              <a:gd name="T5" fmla="*/ 98 h 220"/>
              <a:gd name="T6" fmla="*/ 207 w 219"/>
              <a:gd name="T7" fmla="*/ 135 h 220"/>
              <a:gd name="T8" fmla="*/ 213 w 219"/>
              <a:gd name="T9" fmla="*/ 152 h 220"/>
              <a:gd name="T10" fmla="*/ 218 w 219"/>
              <a:gd name="T11" fmla="*/ 157 h 220"/>
              <a:gd name="T12" fmla="*/ 218 w 219"/>
              <a:gd name="T13" fmla="*/ 162 h 220"/>
              <a:gd name="T14" fmla="*/ 213 w 219"/>
              <a:gd name="T15" fmla="*/ 161 h 220"/>
              <a:gd name="T16" fmla="*/ 162 w 219"/>
              <a:gd name="T17" fmla="*/ 156 h 220"/>
              <a:gd name="T18" fmla="*/ 147 w 219"/>
              <a:gd name="T19" fmla="*/ 161 h 220"/>
              <a:gd name="T20" fmla="*/ 139 w 219"/>
              <a:gd name="T21" fmla="*/ 197 h 220"/>
              <a:gd name="T22" fmla="*/ 136 w 219"/>
              <a:gd name="T23" fmla="*/ 214 h 220"/>
              <a:gd name="T24" fmla="*/ 120 w 219"/>
              <a:gd name="T25" fmla="*/ 216 h 220"/>
              <a:gd name="T26" fmla="*/ 96 w 219"/>
              <a:gd name="T27" fmla="*/ 191 h 220"/>
              <a:gd name="T28" fmla="*/ 76 w 219"/>
              <a:gd name="T29" fmla="*/ 170 h 220"/>
              <a:gd name="T30" fmla="*/ 68 w 219"/>
              <a:gd name="T31" fmla="*/ 160 h 220"/>
              <a:gd name="T32" fmla="*/ 41 w 219"/>
              <a:gd name="T33" fmla="*/ 141 h 220"/>
              <a:gd name="T34" fmla="*/ 35 w 219"/>
              <a:gd name="T35" fmla="*/ 137 h 220"/>
              <a:gd name="T36" fmla="*/ 26 w 219"/>
              <a:gd name="T37" fmla="*/ 102 h 220"/>
              <a:gd name="T38" fmla="*/ 14 w 219"/>
              <a:gd name="T39" fmla="*/ 89 h 220"/>
              <a:gd name="T40" fmla="*/ 11 w 219"/>
              <a:gd name="T41" fmla="*/ 71 h 220"/>
              <a:gd name="T42" fmla="*/ 28 w 219"/>
              <a:gd name="T43" fmla="*/ 29 h 220"/>
              <a:gd name="T44" fmla="*/ 29 w 219"/>
              <a:gd name="T45" fmla="*/ 24 h 220"/>
              <a:gd name="T46" fmla="*/ 50 w 219"/>
              <a:gd name="T47" fmla="*/ 12 h 220"/>
              <a:gd name="T48" fmla="*/ 81 w 219"/>
              <a:gd name="T49" fmla="*/ 2 h 220"/>
              <a:gd name="T50" fmla="*/ 88 w 219"/>
              <a:gd name="T51" fmla="*/ 7 h 220"/>
              <a:gd name="T52" fmla="*/ 92 w 219"/>
              <a:gd name="T53" fmla="*/ 12 h 220"/>
              <a:gd name="T54" fmla="*/ 116 w 219"/>
              <a:gd name="T55" fmla="*/ 27 h 220"/>
              <a:gd name="T56" fmla="*/ 137 w 219"/>
              <a:gd name="T57" fmla="*/ 25 h 220"/>
              <a:gd name="T58" fmla="*/ 151 w 219"/>
              <a:gd name="T59" fmla="*/ 27 h 220"/>
              <a:gd name="T60" fmla="*/ 155 w 219"/>
              <a:gd name="T61" fmla="*/ 32 h 220"/>
              <a:gd name="T62" fmla="*/ 184 w 219"/>
              <a:gd name="T63" fmla="*/ 46 h 220"/>
              <a:gd name="T64" fmla="*/ 184 w 219"/>
              <a:gd name="T65" fmla="*/ 45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9" h="220">
                <a:moveTo>
                  <a:pt x="184" y="45"/>
                </a:moveTo>
                <a:cubicBezTo>
                  <a:pt x="182" y="51"/>
                  <a:pt x="184" y="56"/>
                  <a:pt x="185" y="61"/>
                </a:cubicBezTo>
                <a:cubicBezTo>
                  <a:pt x="189" y="75"/>
                  <a:pt x="194" y="88"/>
                  <a:pt x="205" y="98"/>
                </a:cubicBezTo>
                <a:cubicBezTo>
                  <a:pt x="203" y="111"/>
                  <a:pt x="213" y="122"/>
                  <a:pt x="207" y="135"/>
                </a:cubicBezTo>
                <a:cubicBezTo>
                  <a:pt x="204" y="141"/>
                  <a:pt x="204" y="149"/>
                  <a:pt x="213" y="152"/>
                </a:cubicBezTo>
                <a:cubicBezTo>
                  <a:pt x="215" y="153"/>
                  <a:pt x="217" y="155"/>
                  <a:pt x="218" y="157"/>
                </a:cubicBezTo>
                <a:cubicBezTo>
                  <a:pt x="219" y="159"/>
                  <a:pt x="218" y="161"/>
                  <a:pt x="218" y="162"/>
                </a:cubicBezTo>
                <a:cubicBezTo>
                  <a:pt x="217" y="162"/>
                  <a:pt x="215" y="162"/>
                  <a:pt x="213" y="161"/>
                </a:cubicBezTo>
                <a:cubicBezTo>
                  <a:pt x="197" y="153"/>
                  <a:pt x="180" y="147"/>
                  <a:pt x="162" y="156"/>
                </a:cubicBezTo>
                <a:cubicBezTo>
                  <a:pt x="157" y="158"/>
                  <a:pt x="151" y="158"/>
                  <a:pt x="147" y="161"/>
                </a:cubicBezTo>
                <a:cubicBezTo>
                  <a:pt x="135" y="171"/>
                  <a:pt x="134" y="184"/>
                  <a:pt x="139" y="197"/>
                </a:cubicBezTo>
                <a:cubicBezTo>
                  <a:pt x="141" y="203"/>
                  <a:pt x="143" y="209"/>
                  <a:pt x="136" y="214"/>
                </a:cubicBezTo>
                <a:cubicBezTo>
                  <a:pt x="130" y="219"/>
                  <a:pt x="126" y="220"/>
                  <a:pt x="120" y="216"/>
                </a:cubicBezTo>
                <a:cubicBezTo>
                  <a:pt x="110" y="209"/>
                  <a:pt x="101" y="203"/>
                  <a:pt x="96" y="191"/>
                </a:cubicBezTo>
                <a:cubicBezTo>
                  <a:pt x="92" y="183"/>
                  <a:pt x="83" y="177"/>
                  <a:pt x="76" y="170"/>
                </a:cubicBezTo>
                <a:cubicBezTo>
                  <a:pt x="73" y="167"/>
                  <a:pt x="69" y="164"/>
                  <a:pt x="68" y="160"/>
                </a:cubicBezTo>
                <a:cubicBezTo>
                  <a:pt x="62" y="147"/>
                  <a:pt x="56" y="142"/>
                  <a:pt x="41" y="141"/>
                </a:cubicBezTo>
                <a:cubicBezTo>
                  <a:pt x="39" y="141"/>
                  <a:pt x="36" y="139"/>
                  <a:pt x="35" y="137"/>
                </a:cubicBezTo>
                <a:cubicBezTo>
                  <a:pt x="32" y="125"/>
                  <a:pt x="28" y="114"/>
                  <a:pt x="26" y="102"/>
                </a:cubicBezTo>
                <a:cubicBezTo>
                  <a:pt x="25" y="94"/>
                  <a:pt x="19" y="92"/>
                  <a:pt x="14" y="89"/>
                </a:cubicBezTo>
                <a:cubicBezTo>
                  <a:pt x="1" y="83"/>
                  <a:pt x="0" y="81"/>
                  <a:pt x="11" y="71"/>
                </a:cubicBezTo>
                <a:cubicBezTo>
                  <a:pt x="23" y="59"/>
                  <a:pt x="32" y="47"/>
                  <a:pt x="28" y="29"/>
                </a:cubicBezTo>
                <a:cubicBezTo>
                  <a:pt x="27" y="27"/>
                  <a:pt x="28" y="25"/>
                  <a:pt x="29" y="24"/>
                </a:cubicBezTo>
                <a:cubicBezTo>
                  <a:pt x="36" y="20"/>
                  <a:pt x="45" y="18"/>
                  <a:pt x="50" y="12"/>
                </a:cubicBezTo>
                <a:cubicBezTo>
                  <a:pt x="59" y="2"/>
                  <a:pt x="69" y="1"/>
                  <a:pt x="81" y="2"/>
                </a:cubicBezTo>
                <a:cubicBezTo>
                  <a:pt x="86" y="3"/>
                  <a:pt x="89" y="0"/>
                  <a:pt x="88" y="7"/>
                </a:cubicBezTo>
                <a:cubicBezTo>
                  <a:pt x="88" y="9"/>
                  <a:pt x="91" y="11"/>
                  <a:pt x="92" y="12"/>
                </a:cubicBezTo>
                <a:cubicBezTo>
                  <a:pt x="100" y="17"/>
                  <a:pt x="108" y="21"/>
                  <a:pt x="116" y="27"/>
                </a:cubicBezTo>
                <a:cubicBezTo>
                  <a:pt x="124" y="34"/>
                  <a:pt x="131" y="32"/>
                  <a:pt x="137" y="25"/>
                </a:cubicBezTo>
                <a:cubicBezTo>
                  <a:pt x="143" y="19"/>
                  <a:pt x="147" y="20"/>
                  <a:pt x="151" y="27"/>
                </a:cubicBezTo>
                <a:cubicBezTo>
                  <a:pt x="153" y="28"/>
                  <a:pt x="154" y="30"/>
                  <a:pt x="155" y="32"/>
                </a:cubicBezTo>
                <a:cubicBezTo>
                  <a:pt x="160" y="47"/>
                  <a:pt x="170" y="51"/>
                  <a:pt x="184" y="46"/>
                </a:cubicBezTo>
                <a:lnTo>
                  <a:pt x="184" y="4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2F47AADF-114A-4816-9057-41BEF3A1857D}"/>
              </a:ext>
            </a:extLst>
          </p:cNvPr>
          <p:cNvSpPr>
            <a:spLocks/>
          </p:cNvSpPr>
          <p:nvPr userDrawn="1"/>
        </p:nvSpPr>
        <p:spPr bwMode="auto">
          <a:xfrm>
            <a:off x="8372475" y="1917700"/>
            <a:ext cx="511175" cy="482600"/>
          </a:xfrm>
          <a:custGeom>
            <a:avLst/>
            <a:gdLst>
              <a:gd name="T0" fmla="*/ 6 w 215"/>
              <a:gd name="T1" fmla="*/ 114 h 204"/>
              <a:gd name="T2" fmla="*/ 13 w 215"/>
              <a:gd name="T3" fmla="*/ 96 h 204"/>
              <a:gd name="T4" fmla="*/ 11 w 215"/>
              <a:gd name="T5" fmla="*/ 82 h 204"/>
              <a:gd name="T6" fmla="*/ 9 w 215"/>
              <a:gd name="T7" fmla="*/ 69 h 204"/>
              <a:gd name="T8" fmla="*/ 10 w 215"/>
              <a:gd name="T9" fmla="*/ 60 h 204"/>
              <a:gd name="T10" fmla="*/ 6 w 215"/>
              <a:gd name="T11" fmla="*/ 46 h 204"/>
              <a:gd name="T12" fmla="*/ 23 w 215"/>
              <a:gd name="T13" fmla="*/ 18 h 204"/>
              <a:gd name="T14" fmla="*/ 30 w 215"/>
              <a:gd name="T15" fmla="*/ 15 h 204"/>
              <a:gd name="T16" fmla="*/ 48 w 215"/>
              <a:gd name="T17" fmla="*/ 14 h 204"/>
              <a:gd name="T18" fmla="*/ 58 w 215"/>
              <a:gd name="T19" fmla="*/ 15 h 204"/>
              <a:gd name="T20" fmla="*/ 75 w 215"/>
              <a:gd name="T21" fmla="*/ 21 h 204"/>
              <a:gd name="T22" fmla="*/ 88 w 215"/>
              <a:gd name="T23" fmla="*/ 24 h 204"/>
              <a:gd name="T24" fmla="*/ 88 w 215"/>
              <a:gd name="T25" fmla="*/ 14 h 204"/>
              <a:gd name="T26" fmla="*/ 92 w 215"/>
              <a:gd name="T27" fmla="*/ 4 h 204"/>
              <a:gd name="T28" fmla="*/ 101 w 215"/>
              <a:gd name="T29" fmla="*/ 9 h 204"/>
              <a:gd name="T30" fmla="*/ 116 w 215"/>
              <a:gd name="T31" fmla="*/ 29 h 204"/>
              <a:gd name="T32" fmla="*/ 137 w 215"/>
              <a:gd name="T33" fmla="*/ 36 h 204"/>
              <a:gd name="T34" fmla="*/ 169 w 215"/>
              <a:gd name="T35" fmla="*/ 59 h 204"/>
              <a:gd name="T36" fmla="*/ 178 w 215"/>
              <a:gd name="T37" fmla="*/ 69 h 204"/>
              <a:gd name="T38" fmla="*/ 204 w 215"/>
              <a:gd name="T39" fmla="*/ 82 h 204"/>
              <a:gd name="T40" fmla="*/ 206 w 215"/>
              <a:gd name="T41" fmla="*/ 101 h 204"/>
              <a:gd name="T42" fmla="*/ 181 w 215"/>
              <a:gd name="T43" fmla="*/ 125 h 204"/>
              <a:gd name="T44" fmla="*/ 168 w 215"/>
              <a:gd name="T45" fmla="*/ 157 h 204"/>
              <a:gd name="T46" fmla="*/ 162 w 215"/>
              <a:gd name="T47" fmla="*/ 175 h 204"/>
              <a:gd name="T48" fmla="*/ 155 w 215"/>
              <a:gd name="T49" fmla="*/ 198 h 204"/>
              <a:gd name="T50" fmla="*/ 151 w 215"/>
              <a:gd name="T51" fmla="*/ 204 h 204"/>
              <a:gd name="T52" fmla="*/ 123 w 215"/>
              <a:gd name="T53" fmla="*/ 195 h 204"/>
              <a:gd name="T54" fmla="*/ 109 w 215"/>
              <a:gd name="T55" fmla="*/ 186 h 204"/>
              <a:gd name="T56" fmla="*/ 88 w 215"/>
              <a:gd name="T57" fmla="*/ 175 h 204"/>
              <a:gd name="T58" fmla="*/ 79 w 215"/>
              <a:gd name="T59" fmla="*/ 167 h 204"/>
              <a:gd name="T60" fmla="*/ 78 w 215"/>
              <a:gd name="T61" fmla="*/ 157 h 204"/>
              <a:gd name="T62" fmla="*/ 75 w 215"/>
              <a:gd name="T63" fmla="*/ 151 h 204"/>
              <a:gd name="T64" fmla="*/ 57 w 215"/>
              <a:gd name="T65" fmla="*/ 131 h 204"/>
              <a:gd name="T66" fmla="*/ 35 w 215"/>
              <a:gd name="T67" fmla="*/ 112 h 204"/>
              <a:gd name="T68" fmla="*/ 27 w 215"/>
              <a:gd name="T69" fmla="*/ 118 h 204"/>
              <a:gd name="T70" fmla="*/ 18 w 215"/>
              <a:gd name="T71" fmla="*/ 125 h 204"/>
              <a:gd name="T72" fmla="*/ 14 w 215"/>
              <a:gd name="T73" fmla="*/ 126 h 204"/>
              <a:gd name="T74" fmla="*/ 5 w 215"/>
              <a:gd name="T75" fmla="*/ 118 h 204"/>
              <a:gd name="T76" fmla="*/ 6 w 215"/>
              <a:gd name="T77" fmla="*/ 114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5" h="204">
                <a:moveTo>
                  <a:pt x="6" y="114"/>
                </a:moveTo>
                <a:cubicBezTo>
                  <a:pt x="2" y="105"/>
                  <a:pt x="9" y="101"/>
                  <a:pt x="13" y="96"/>
                </a:cubicBezTo>
                <a:cubicBezTo>
                  <a:pt x="20" y="88"/>
                  <a:pt x="20" y="87"/>
                  <a:pt x="11" y="82"/>
                </a:cubicBezTo>
                <a:cubicBezTo>
                  <a:pt x="5" y="78"/>
                  <a:pt x="0" y="76"/>
                  <a:pt x="9" y="69"/>
                </a:cubicBezTo>
                <a:cubicBezTo>
                  <a:pt x="11" y="68"/>
                  <a:pt x="11" y="63"/>
                  <a:pt x="10" y="60"/>
                </a:cubicBezTo>
                <a:cubicBezTo>
                  <a:pt x="9" y="55"/>
                  <a:pt x="7" y="51"/>
                  <a:pt x="6" y="46"/>
                </a:cubicBezTo>
                <a:cubicBezTo>
                  <a:pt x="2" y="32"/>
                  <a:pt x="9" y="21"/>
                  <a:pt x="23" y="18"/>
                </a:cubicBezTo>
                <a:cubicBezTo>
                  <a:pt x="25" y="17"/>
                  <a:pt x="28" y="17"/>
                  <a:pt x="30" y="15"/>
                </a:cubicBezTo>
                <a:cubicBezTo>
                  <a:pt x="36" y="10"/>
                  <a:pt x="42" y="11"/>
                  <a:pt x="48" y="14"/>
                </a:cubicBezTo>
                <a:cubicBezTo>
                  <a:pt x="51" y="15"/>
                  <a:pt x="54" y="16"/>
                  <a:pt x="58" y="15"/>
                </a:cubicBezTo>
                <a:cubicBezTo>
                  <a:pt x="64" y="15"/>
                  <a:pt x="70" y="17"/>
                  <a:pt x="75" y="21"/>
                </a:cubicBezTo>
                <a:cubicBezTo>
                  <a:pt x="78" y="24"/>
                  <a:pt x="84" y="23"/>
                  <a:pt x="88" y="24"/>
                </a:cubicBezTo>
                <a:cubicBezTo>
                  <a:pt x="88" y="21"/>
                  <a:pt x="87" y="17"/>
                  <a:pt x="88" y="14"/>
                </a:cubicBezTo>
                <a:cubicBezTo>
                  <a:pt x="89" y="10"/>
                  <a:pt x="89" y="5"/>
                  <a:pt x="92" y="4"/>
                </a:cubicBezTo>
                <a:cubicBezTo>
                  <a:pt x="97" y="0"/>
                  <a:pt x="99" y="6"/>
                  <a:pt x="101" y="9"/>
                </a:cubicBezTo>
                <a:cubicBezTo>
                  <a:pt x="106" y="15"/>
                  <a:pt x="111" y="22"/>
                  <a:pt x="116" y="29"/>
                </a:cubicBezTo>
                <a:cubicBezTo>
                  <a:pt x="121" y="36"/>
                  <a:pt x="127" y="39"/>
                  <a:pt x="137" y="36"/>
                </a:cubicBezTo>
                <a:cubicBezTo>
                  <a:pt x="147" y="34"/>
                  <a:pt x="168" y="49"/>
                  <a:pt x="169" y="59"/>
                </a:cubicBezTo>
                <a:cubicBezTo>
                  <a:pt x="170" y="65"/>
                  <a:pt x="174" y="67"/>
                  <a:pt x="178" y="69"/>
                </a:cubicBezTo>
                <a:cubicBezTo>
                  <a:pt x="187" y="73"/>
                  <a:pt x="196" y="77"/>
                  <a:pt x="204" y="82"/>
                </a:cubicBezTo>
                <a:cubicBezTo>
                  <a:pt x="215" y="88"/>
                  <a:pt x="215" y="92"/>
                  <a:pt x="206" y="101"/>
                </a:cubicBezTo>
                <a:cubicBezTo>
                  <a:pt x="198" y="109"/>
                  <a:pt x="187" y="116"/>
                  <a:pt x="181" y="125"/>
                </a:cubicBezTo>
                <a:cubicBezTo>
                  <a:pt x="174" y="135"/>
                  <a:pt x="168" y="146"/>
                  <a:pt x="168" y="157"/>
                </a:cubicBezTo>
                <a:cubicBezTo>
                  <a:pt x="168" y="165"/>
                  <a:pt x="166" y="169"/>
                  <a:pt x="162" y="175"/>
                </a:cubicBezTo>
                <a:cubicBezTo>
                  <a:pt x="158" y="182"/>
                  <a:pt x="157" y="191"/>
                  <a:pt x="155" y="198"/>
                </a:cubicBezTo>
                <a:cubicBezTo>
                  <a:pt x="154" y="200"/>
                  <a:pt x="152" y="202"/>
                  <a:pt x="151" y="204"/>
                </a:cubicBezTo>
                <a:cubicBezTo>
                  <a:pt x="144" y="193"/>
                  <a:pt x="132" y="199"/>
                  <a:pt x="123" y="195"/>
                </a:cubicBezTo>
                <a:cubicBezTo>
                  <a:pt x="119" y="192"/>
                  <a:pt x="113" y="190"/>
                  <a:pt x="109" y="186"/>
                </a:cubicBezTo>
                <a:cubicBezTo>
                  <a:pt x="103" y="181"/>
                  <a:pt x="95" y="179"/>
                  <a:pt x="88" y="175"/>
                </a:cubicBezTo>
                <a:cubicBezTo>
                  <a:pt x="85" y="173"/>
                  <a:pt x="82" y="170"/>
                  <a:pt x="79" y="167"/>
                </a:cubicBezTo>
                <a:cubicBezTo>
                  <a:pt x="75" y="164"/>
                  <a:pt x="74" y="161"/>
                  <a:pt x="78" y="157"/>
                </a:cubicBezTo>
                <a:cubicBezTo>
                  <a:pt x="79" y="157"/>
                  <a:pt x="77" y="152"/>
                  <a:pt x="75" y="151"/>
                </a:cubicBezTo>
                <a:cubicBezTo>
                  <a:pt x="66" y="147"/>
                  <a:pt x="62" y="139"/>
                  <a:pt x="57" y="131"/>
                </a:cubicBezTo>
                <a:cubicBezTo>
                  <a:pt x="52" y="123"/>
                  <a:pt x="43" y="118"/>
                  <a:pt x="35" y="112"/>
                </a:cubicBezTo>
                <a:cubicBezTo>
                  <a:pt x="31" y="108"/>
                  <a:pt x="26" y="112"/>
                  <a:pt x="27" y="118"/>
                </a:cubicBezTo>
                <a:cubicBezTo>
                  <a:pt x="28" y="126"/>
                  <a:pt x="30" y="132"/>
                  <a:pt x="18" y="125"/>
                </a:cubicBezTo>
                <a:cubicBezTo>
                  <a:pt x="17" y="125"/>
                  <a:pt x="16" y="125"/>
                  <a:pt x="14" y="126"/>
                </a:cubicBezTo>
                <a:cubicBezTo>
                  <a:pt x="6" y="129"/>
                  <a:pt x="4" y="125"/>
                  <a:pt x="5" y="118"/>
                </a:cubicBezTo>
                <a:cubicBezTo>
                  <a:pt x="5" y="116"/>
                  <a:pt x="5" y="115"/>
                  <a:pt x="6" y="114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A963E531-79FD-4C4B-BABE-55290095BB6E}"/>
              </a:ext>
            </a:extLst>
          </p:cNvPr>
          <p:cNvSpPr>
            <a:spLocks/>
          </p:cNvSpPr>
          <p:nvPr userDrawn="1"/>
        </p:nvSpPr>
        <p:spPr bwMode="auto">
          <a:xfrm>
            <a:off x="7762875" y="1704975"/>
            <a:ext cx="469900" cy="498475"/>
          </a:xfrm>
          <a:custGeom>
            <a:avLst/>
            <a:gdLst>
              <a:gd name="T0" fmla="*/ 198 w 198"/>
              <a:gd name="T1" fmla="*/ 138 h 211"/>
              <a:gd name="T2" fmla="*/ 189 w 198"/>
              <a:gd name="T3" fmla="*/ 161 h 211"/>
              <a:gd name="T4" fmla="*/ 188 w 198"/>
              <a:gd name="T5" fmla="*/ 163 h 211"/>
              <a:gd name="T6" fmla="*/ 161 w 198"/>
              <a:gd name="T7" fmla="*/ 179 h 211"/>
              <a:gd name="T8" fmla="*/ 152 w 198"/>
              <a:gd name="T9" fmla="*/ 190 h 211"/>
              <a:gd name="T10" fmla="*/ 152 w 198"/>
              <a:gd name="T11" fmla="*/ 199 h 211"/>
              <a:gd name="T12" fmla="*/ 137 w 198"/>
              <a:gd name="T13" fmla="*/ 208 h 211"/>
              <a:gd name="T14" fmla="*/ 95 w 198"/>
              <a:gd name="T15" fmla="*/ 208 h 211"/>
              <a:gd name="T16" fmla="*/ 87 w 198"/>
              <a:gd name="T17" fmla="*/ 208 h 211"/>
              <a:gd name="T18" fmla="*/ 51 w 198"/>
              <a:gd name="T19" fmla="*/ 188 h 211"/>
              <a:gd name="T20" fmla="*/ 13 w 198"/>
              <a:gd name="T21" fmla="*/ 187 h 211"/>
              <a:gd name="T22" fmla="*/ 2 w 198"/>
              <a:gd name="T23" fmla="*/ 173 h 211"/>
              <a:gd name="T24" fmla="*/ 40 w 198"/>
              <a:gd name="T25" fmla="*/ 115 h 211"/>
              <a:gd name="T26" fmla="*/ 50 w 198"/>
              <a:gd name="T27" fmla="*/ 107 h 211"/>
              <a:gd name="T28" fmla="*/ 53 w 198"/>
              <a:gd name="T29" fmla="*/ 96 h 211"/>
              <a:gd name="T30" fmla="*/ 52 w 198"/>
              <a:gd name="T31" fmla="*/ 86 h 211"/>
              <a:gd name="T32" fmla="*/ 52 w 198"/>
              <a:gd name="T33" fmla="*/ 58 h 211"/>
              <a:gd name="T34" fmla="*/ 60 w 198"/>
              <a:gd name="T35" fmla="*/ 42 h 211"/>
              <a:gd name="T36" fmla="*/ 93 w 198"/>
              <a:gd name="T37" fmla="*/ 28 h 211"/>
              <a:gd name="T38" fmla="*/ 109 w 198"/>
              <a:gd name="T39" fmla="*/ 14 h 211"/>
              <a:gd name="T40" fmla="*/ 112 w 198"/>
              <a:gd name="T41" fmla="*/ 10 h 211"/>
              <a:gd name="T42" fmla="*/ 138 w 198"/>
              <a:gd name="T43" fmla="*/ 1 h 211"/>
              <a:gd name="T44" fmla="*/ 140 w 198"/>
              <a:gd name="T45" fmla="*/ 1 h 211"/>
              <a:gd name="T46" fmla="*/ 138 w 198"/>
              <a:gd name="T47" fmla="*/ 3 h 211"/>
              <a:gd name="T48" fmla="*/ 124 w 198"/>
              <a:gd name="T49" fmla="*/ 18 h 211"/>
              <a:gd name="T50" fmla="*/ 127 w 198"/>
              <a:gd name="T51" fmla="*/ 37 h 211"/>
              <a:gd name="T52" fmla="*/ 143 w 198"/>
              <a:gd name="T53" fmla="*/ 59 h 211"/>
              <a:gd name="T54" fmla="*/ 153 w 198"/>
              <a:gd name="T55" fmla="*/ 88 h 211"/>
              <a:gd name="T56" fmla="*/ 163 w 198"/>
              <a:gd name="T57" fmla="*/ 94 h 211"/>
              <a:gd name="T58" fmla="*/ 183 w 198"/>
              <a:gd name="T59" fmla="*/ 106 h 211"/>
              <a:gd name="T60" fmla="*/ 193 w 198"/>
              <a:gd name="T61" fmla="*/ 121 h 211"/>
              <a:gd name="T62" fmla="*/ 198 w 198"/>
              <a:gd name="T63" fmla="*/ 138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98" h="211">
                <a:moveTo>
                  <a:pt x="198" y="138"/>
                </a:moveTo>
                <a:cubicBezTo>
                  <a:pt x="196" y="145"/>
                  <a:pt x="193" y="153"/>
                  <a:pt x="189" y="161"/>
                </a:cubicBezTo>
                <a:cubicBezTo>
                  <a:pt x="189" y="162"/>
                  <a:pt x="189" y="163"/>
                  <a:pt x="188" y="163"/>
                </a:cubicBezTo>
                <a:cubicBezTo>
                  <a:pt x="182" y="173"/>
                  <a:pt x="173" y="179"/>
                  <a:pt x="161" y="179"/>
                </a:cubicBezTo>
                <a:cubicBezTo>
                  <a:pt x="154" y="180"/>
                  <a:pt x="151" y="183"/>
                  <a:pt x="152" y="190"/>
                </a:cubicBezTo>
                <a:cubicBezTo>
                  <a:pt x="152" y="193"/>
                  <a:pt x="152" y="196"/>
                  <a:pt x="152" y="199"/>
                </a:cubicBezTo>
                <a:cubicBezTo>
                  <a:pt x="151" y="207"/>
                  <a:pt x="144" y="211"/>
                  <a:pt x="137" y="208"/>
                </a:cubicBezTo>
                <a:cubicBezTo>
                  <a:pt x="123" y="200"/>
                  <a:pt x="109" y="203"/>
                  <a:pt x="95" y="208"/>
                </a:cubicBezTo>
                <a:cubicBezTo>
                  <a:pt x="93" y="209"/>
                  <a:pt x="88" y="209"/>
                  <a:pt x="87" y="208"/>
                </a:cubicBezTo>
                <a:cubicBezTo>
                  <a:pt x="80" y="191"/>
                  <a:pt x="65" y="190"/>
                  <a:pt x="51" y="188"/>
                </a:cubicBezTo>
                <a:cubicBezTo>
                  <a:pt x="38" y="187"/>
                  <a:pt x="26" y="188"/>
                  <a:pt x="13" y="187"/>
                </a:cubicBezTo>
                <a:cubicBezTo>
                  <a:pt x="0" y="187"/>
                  <a:pt x="0" y="186"/>
                  <a:pt x="2" y="173"/>
                </a:cubicBezTo>
                <a:cubicBezTo>
                  <a:pt x="5" y="147"/>
                  <a:pt x="22" y="130"/>
                  <a:pt x="40" y="115"/>
                </a:cubicBezTo>
                <a:cubicBezTo>
                  <a:pt x="44" y="112"/>
                  <a:pt x="47" y="110"/>
                  <a:pt x="50" y="107"/>
                </a:cubicBezTo>
                <a:cubicBezTo>
                  <a:pt x="54" y="104"/>
                  <a:pt x="57" y="102"/>
                  <a:pt x="53" y="96"/>
                </a:cubicBezTo>
                <a:cubicBezTo>
                  <a:pt x="52" y="94"/>
                  <a:pt x="51" y="89"/>
                  <a:pt x="52" y="86"/>
                </a:cubicBezTo>
                <a:cubicBezTo>
                  <a:pt x="57" y="77"/>
                  <a:pt x="55" y="68"/>
                  <a:pt x="52" y="58"/>
                </a:cubicBezTo>
                <a:cubicBezTo>
                  <a:pt x="48" y="47"/>
                  <a:pt x="49" y="47"/>
                  <a:pt x="60" y="42"/>
                </a:cubicBezTo>
                <a:cubicBezTo>
                  <a:pt x="71" y="37"/>
                  <a:pt x="82" y="32"/>
                  <a:pt x="93" y="28"/>
                </a:cubicBezTo>
                <a:cubicBezTo>
                  <a:pt x="100" y="25"/>
                  <a:pt x="106" y="22"/>
                  <a:pt x="109" y="14"/>
                </a:cubicBezTo>
                <a:cubicBezTo>
                  <a:pt x="110" y="13"/>
                  <a:pt x="111" y="10"/>
                  <a:pt x="112" y="10"/>
                </a:cubicBezTo>
                <a:cubicBezTo>
                  <a:pt x="122" y="11"/>
                  <a:pt x="131" y="7"/>
                  <a:pt x="138" y="1"/>
                </a:cubicBezTo>
                <a:cubicBezTo>
                  <a:pt x="138" y="0"/>
                  <a:pt x="139" y="1"/>
                  <a:pt x="140" y="1"/>
                </a:cubicBezTo>
                <a:cubicBezTo>
                  <a:pt x="139" y="2"/>
                  <a:pt x="139" y="3"/>
                  <a:pt x="138" y="3"/>
                </a:cubicBezTo>
                <a:cubicBezTo>
                  <a:pt x="133" y="8"/>
                  <a:pt x="128" y="13"/>
                  <a:pt x="124" y="18"/>
                </a:cubicBezTo>
                <a:cubicBezTo>
                  <a:pt x="116" y="26"/>
                  <a:pt x="117" y="32"/>
                  <a:pt x="127" y="37"/>
                </a:cubicBezTo>
                <a:cubicBezTo>
                  <a:pt x="137" y="41"/>
                  <a:pt x="142" y="48"/>
                  <a:pt x="143" y="59"/>
                </a:cubicBezTo>
                <a:cubicBezTo>
                  <a:pt x="145" y="69"/>
                  <a:pt x="148" y="79"/>
                  <a:pt x="153" y="88"/>
                </a:cubicBezTo>
                <a:cubicBezTo>
                  <a:pt x="154" y="91"/>
                  <a:pt x="160" y="94"/>
                  <a:pt x="163" y="94"/>
                </a:cubicBezTo>
                <a:cubicBezTo>
                  <a:pt x="174" y="94"/>
                  <a:pt x="180" y="96"/>
                  <a:pt x="183" y="106"/>
                </a:cubicBezTo>
                <a:cubicBezTo>
                  <a:pt x="185" y="112"/>
                  <a:pt x="187" y="117"/>
                  <a:pt x="193" y="121"/>
                </a:cubicBezTo>
                <a:cubicBezTo>
                  <a:pt x="196" y="124"/>
                  <a:pt x="196" y="131"/>
                  <a:pt x="198" y="138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89D5A7F4-9387-4099-8017-683B4B4DA006}"/>
              </a:ext>
            </a:extLst>
          </p:cNvPr>
          <p:cNvSpPr>
            <a:spLocks/>
          </p:cNvSpPr>
          <p:nvPr userDrawn="1"/>
        </p:nvSpPr>
        <p:spPr bwMode="auto">
          <a:xfrm>
            <a:off x="7850188" y="2012950"/>
            <a:ext cx="496888" cy="563563"/>
          </a:xfrm>
          <a:custGeom>
            <a:avLst/>
            <a:gdLst>
              <a:gd name="T0" fmla="*/ 119 w 209"/>
              <a:gd name="T1" fmla="*/ 67 h 238"/>
              <a:gd name="T2" fmla="*/ 133 w 209"/>
              <a:gd name="T3" fmla="*/ 58 h 238"/>
              <a:gd name="T4" fmla="*/ 151 w 209"/>
              <a:gd name="T5" fmla="*/ 50 h 238"/>
              <a:gd name="T6" fmla="*/ 159 w 209"/>
              <a:gd name="T7" fmla="*/ 31 h 238"/>
              <a:gd name="T8" fmla="*/ 166 w 209"/>
              <a:gd name="T9" fmla="*/ 6 h 238"/>
              <a:gd name="T10" fmla="*/ 168 w 209"/>
              <a:gd name="T11" fmla="*/ 0 h 238"/>
              <a:gd name="T12" fmla="*/ 173 w 209"/>
              <a:gd name="T13" fmla="*/ 4 h 238"/>
              <a:gd name="T14" fmla="*/ 175 w 209"/>
              <a:gd name="T15" fmla="*/ 6 h 238"/>
              <a:gd name="T16" fmla="*/ 203 w 209"/>
              <a:gd name="T17" fmla="*/ 36 h 238"/>
              <a:gd name="T18" fmla="*/ 203 w 209"/>
              <a:gd name="T19" fmla="*/ 46 h 238"/>
              <a:gd name="T20" fmla="*/ 177 w 209"/>
              <a:gd name="T21" fmla="*/ 87 h 238"/>
              <a:gd name="T22" fmla="*/ 175 w 209"/>
              <a:gd name="T23" fmla="*/ 111 h 238"/>
              <a:gd name="T24" fmla="*/ 179 w 209"/>
              <a:gd name="T25" fmla="*/ 141 h 238"/>
              <a:gd name="T26" fmla="*/ 173 w 209"/>
              <a:gd name="T27" fmla="*/ 149 h 238"/>
              <a:gd name="T28" fmla="*/ 154 w 209"/>
              <a:gd name="T29" fmla="*/ 161 h 238"/>
              <a:gd name="T30" fmla="*/ 153 w 209"/>
              <a:gd name="T31" fmla="*/ 176 h 238"/>
              <a:gd name="T32" fmla="*/ 161 w 209"/>
              <a:gd name="T33" fmla="*/ 181 h 238"/>
              <a:gd name="T34" fmla="*/ 189 w 209"/>
              <a:gd name="T35" fmla="*/ 185 h 238"/>
              <a:gd name="T36" fmla="*/ 194 w 209"/>
              <a:gd name="T37" fmla="*/ 189 h 238"/>
              <a:gd name="T38" fmla="*/ 198 w 209"/>
              <a:gd name="T39" fmla="*/ 217 h 238"/>
              <a:gd name="T40" fmla="*/ 192 w 209"/>
              <a:gd name="T41" fmla="*/ 224 h 238"/>
              <a:gd name="T42" fmla="*/ 170 w 209"/>
              <a:gd name="T43" fmla="*/ 235 h 238"/>
              <a:gd name="T44" fmla="*/ 163 w 209"/>
              <a:gd name="T45" fmla="*/ 229 h 238"/>
              <a:gd name="T46" fmla="*/ 165 w 209"/>
              <a:gd name="T47" fmla="*/ 213 h 238"/>
              <a:gd name="T48" fmla="*/ 159 w 209"/>
              <a:gd name="T49" fmla="*/ 202 h 238"/>
              <a:gd name="T50" fmla="*/ 149 w 209"/>
              <a:gd name="T51" fmla="*/ 206 h 238"/>
              <a:gd name="T52" fmla="*/ 144 w 209"/>
              <a:gd name="T53" fmla="*/ 211 h 238"/>
              <a:gd name="T54" fmla="*/ 135 w 209"/>
              <a:gd name="T55" fmla="*/ 211 h 238"/>
              <a:gd name="T56" fmla="*/ 120 w 209"/>
              <a:gd name="T57" fmla="*/ 203 h 238"/>
              <a:gd name="T58" fmla="*/ 107 w 209"/>
              <a:gd name="T59" fmla="*/ 219 h 238"/>
              <a:gd name="T60" fmla="*/ 101 w 209"/>
              <a:gd name="T61" fmla="*/ 225 h 238"/>
              <a:gd name="T62" fmla="*/ 95 w 209"/>
              <a:gd name="T63" fmla="*/ 217 h 238"/>
              <a:gd name="T64" fmla="*/ 98 w 209"/>
              <a:gd name="T65" fmla="*/ 210 h 238"/>
              <a:gd name="T66" fmla="*/ 88 w 209"/>
              <a:gd name="T67" fmla="*/ 181 h 238"/>
              <a:gd name="T68" fmla="*/ 75 w 209"/>
              <a:gd name="T69" fmla="*/ 167 h 238"/>
              <a:gd name="T70" fmla="*/ 63 w 209"/>
              <a:gd name="T71" fmla="*/ 122 h 238"/>
              <a:gd name="T72" fmla="*/ 49 w 209"/>
              <a:gd name="T73" fmla="*/ 113 h 238"/>
              <a:gd name="T74" fmla="*/ 31 w 209"/>
              <a:gd name="T75" fmla="*/ 107 h 238"/>
              <a:gd name="T76" fmla="*/ 17 w 209"/>
              <a:gd name="T77" fmla="*/ 103 h 238"/>
              <a:gd name="T78" fmla="*/ 7 w 209"/>
              <a:gd name="T79" fmla="*/ 102 h 238"/>
              <a:gd name="T80" fmla="*/ 9 w 209"/>
              <a:gd name="T81" fmla="*/ 94 h 238"/>
              <a:gd name="T82" fmla="*/ 7 w 209"/>
              <a:gd name="T83" fmla="*/ 82 h 238"/>
              <a:gd name="T84" fmla="*/ 5 w 209"/>
              <a:gd name="T85" fmla="*/ 68 h 238"/>
              <a:gd name="T86" fmla="*/ 16 w 209"/>
              <a:gd name="T87" fmla="*/ 64 h 238"/>
              <a:gd name="T88" fmla="*/ 46 w 209"/>
              <a:gd name="T89" fmla="*/ 82 h 238"/>
              <a:gd name="T90" fmla="*/ 55 w 209"/>
              <a:gd name="T91" fmla="*/ 86 h 238"/>
              <a:gd name="T92" fmla="*/ 88 w 209"/>
              <a:gd name="T93" fmla="*/ 78 h 238"/>
              <a:gd name="T94" fmla="*/ 95 w 209"/>
              <a:gd name="T95" fmla="*/ 81 h 238"/>
              <a:gd name="T96" fmla="*/ 119 w 209"/>
              <a:gd name="T97" fmla="*/ 67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09" h="238">
                <a:moveTo>
                  <a:pt x="119" y="67"/>
                </a:moveTo>
                <a:cubicBezTo>
                  <a:pt x="119" y="54"/>
                  <a:pt x="122" y="53"/>
                  <a:pt x="133" y="58"/>
                </a:cubicBezTo>
                <a:cubicBezTo>
                  <a:pt x="140" y="60"/>
                  <a:pt x="149" y="56"/>
                  <a:pt x="151" y="50"/>
                </a:cubicBezTo>
                <a:cubicBezTo>
                  <a:pt x="153" y="43"/>
                  <a:pt x="155" y="37"/>
                  <a:pt x="159" y="31"/>
                </a:cubicBezTo>
                <a:cubicBezTo>
                  <a:pt x="163" y="23"/>
                  <a:pt x="167" y="15"/>
                  <a:pt x="166" y="6"/>
                </a:cubicBezTo>
                <a:cubicBezTo>
                  <a:pt x="165" y="4"/>
                  <a:pt x="167" y="2"/>
                  <a:pt x="168" y="0"/>
                </a:cubicBezTo>
                <a:cubicBezTo>
                  <a:pt x="169" y="1"/>
                  <a:pt x="171" y="2"/>
                  <a:pt x="173" y="4"/>
                </a:cubicBezTo>
                <a:cubicBezTo>
                  <a:pt x="174" y="4"/>
                  <a:pt x="174" y="5"/>
                  <a:pt x="175" y="6"/>
                </a:cubicBezTo>
                <a:cubicBezTo>
                  <a:pt x="178" y="21"/>
                  <a:pt x="189" y="30"/>
                  <a:pt x="203" y="36"/>
                </a:cubicBezTo>
                <a:cubicBezTo>
                  <a:pt x="209" y="39"/>
                  <a:pt x="208" y="43"/>
                  <a:pt x="203" y="46"/>
                </a:cubicBezTo>
                <a:cubicBezTo>
                  <a:pt x="189" y="56"/>
                  <a:pt x="181" y="71"/>
                  <a:pt x="177" y="87"/>
                </a:cubicBezTo>
                <a:cubicBezTo>
                  <a:pt x="175" y="95"/>
                  <a:pt x="174" y="103"/>
                  <a:pt x="175" y="111"/>
                </a:cubicBezTo>
                <a:cubicBezTo>
                  <a:pt x="175" y="121"/>
                  <a:pt x="178" y="131"/>
                  <a:pt x="179" y="141"/>
                </a:cubicBezTo>
                <a:cubicBezTo>
                  <a:pt x="179" y="144"/>
                  <a:pt x="176" y="147"/>
                  <a:pt x="173" y="149"/>
                </a:cubicBezTo>
                <a:cubicBezTo>
                  <a:pt x="167" y="153"/>
                  <a:pt x="159" y="156"/>
                  <a:pt x="154" y="161"/>
                </a:cubicBezTo>
                <a:cubicBezTo>
                  <a:pt x="152" y="164"/>
                  <a:pt x="153" y="171"/>
                  <a:pt x="153" y="176"/>
                </a:cubicBezTo>
                <a:cubicBezTo>
                  <a:pt x="153" y="181"/>
                  <a:pt x="157" y="181"/>
                  <a:pt x="161" y="181"/>
                </a:cubicBezTo>
                <a:cubicBezTo>
                  <a:pt x="171" y="180"/>
                  <a:pt x="179" y="189"/>
                  <a:pt x="189" y="185"/>
                </a:cubicBezTo>
                <a:cubicBezTo>
                  <a:pt x="190" y="185"/>
                  <a:pt x="192" y="188"/>
                  <a:pt x="194" y="189"/>
                </a:cubicBezTo>
                <a:cubicBezTo>
                  <a:pt x="200" y="198"/>
                  <a:pt x="199" y="208"/>
                  <a:pt x="198" y="217"/>
                </a:cubicBezTo>
                <a:cubicBezTo>
                  <a:pt x="198" y="220"/>
                  <a:pt x="195" y="223"/>
                  <a:pt x="192" y="224"/>
                </a:cubicBezTo>
                <a:cubicBezTo>
                  <a:pt x="185" y="228"/>
                  <a:pt x="177" y="231"/>
                  <a:pt x="170" y="235"/>
                </a:cubicBezTo>
                <a:cubicBezTo>
                  <a:pt x="163" y="238"/>
                  <a:pt x="163" y="234"/>
                  <a:pt x="163" y="229"/>
                </a:cubicBezTo>
                <a:cubicBezTo>
                  <a:pt x="164" y="224"/>
                  <a:pt x="166" y="218"/>
                  <a:pt x="165" y="213"/>
                </a:cubicBezTo>
                <a:cubicBezTo>
                  <a:pt x="165" y="209"/>
                  <a:pt x="162" y="204"/>
                  <a:pt x="159" y="202"/>
                </a:cubicBezTo>
                <a:cubicBezTo>
                  <a:pt x="157" y="201"/>
                  <a:pt x="152" y="204"/>
                  <a:pt x="149" y="206"/>
                </a:cubicBezTo>
                <a:cubicBezTo>
                  <a:pt x="147" y="207"/>
                  <a:pt x="145" y="209"/>
                  <a:pt x="144" y="211"/>
                </a:cubicBezTo>
                <a:cubicBezTo>
                  <a:pt x="141" y="214"/>
                  <a:pt x="138" y="216"/>
                  <a:pt x="135" y="211"/>
                </a:cubicBezTo>
                <a:cubicBezTo>
                  <a:pt x="132" y="204"/>
                  <a:pt x="126" y="200"/>
                  <a:pt x="120" y="203"/>
                </a:cubicBezTo>
                <a:cubicBezTo>
                  <a:pt x="114" y="206"/>
                  <a:pt x="104" y="208"/>
                  <a:pt x="107" y="219"/>
                </a:cubicBezTo>
                <a:cubicBezTo>
                  <a:pt x="108" y="223"/>
                  <a:pt x="106" y="227"/>
                  <a:pt x="101" y="225"/>
                </a:cubicBezTo>
                <a:cubicBezTo>
                  <a:pt x="98" y="224"/>
                  <a:pt x="96" y="220"/>
                  <a:pt x="95" y="217"/>
                </a:cubicBezTo>
                <a:cubicBezTo>
                  <a:pt x="94" y="215"/>
                  <a:pt x="97" y="212"/>
                  <a:pt x="98" y="210"/>
                </a:cubicBezTo>
                <a:cubicBezTo>
                  <a:pt x="105" y="198"/>
                  <a:pt x="101" y="185"/>
                  <a:pt x="88" y="181"/>
                </a:cubicBezTo>
                <a:cubicBezTo>
                  <a:pt x="81" y="178"/>
                  <a:pt x="77" y="174"/>
                  <a:pt x="75" y="167"/>
                </a:cubicBezTo>
                <a:cubicBezTo>
                  <a:pt x="72" y="152"/>
                  <a:pt x="67" y="137"/>
                  <a:pt x="63" y="122"/>
                </a:cubicBezTo>
                <a:cubicBezTo>
                  <a:pt x="60" y="111"/>
                  <a:pt x="60" y="110"/>
                  <a:pt x="49" y="113"/>
                </a:cubicBezTo>
                <a:cubicBezTo>
                  <a:pt x="40" y="116"/>
                  <a:pt x="35" y="115"/>
                  <a:pt x="31" y="107"/>
                </a:cubicBezTo>
                <a:cubicBezTo>
                  <a:pt x="28" y="101"/>
                  <a:pt x="23" y="102"/>
                  <a:pt x="17" y="103"/>
                </a:cubicBezTo>
                <a:cubicBezTo>
                  <a:pt x="14" y="104"/>
                  <a:pt x="11" y="102"/>
                  <a:pt x="7" y="102"/>
                </a:cubicBezTo>
                <a:cubicBezTo>
                  <a:pt x="8" y="99"/>
                  <a:pt x="8" y="96"/>
                  <a:pt x="9" y="94"/>
                </a:cubicBezTo>
                <a:cubicBezTo>
                  <a:pt x="14" y="88"/>
                  <a:pt x="9" y="85"/>
                  <a:pt x="7" y="82"/>
                </a:cubicBezTo>
                <a:cubicBezTo>
                  <a:pt x="3" y="77"/>
                  <a:pt x="0" y="72"/>
                  <a:pt x="5" y="68"/>
                </a:cubicBezTo>
                <a:cubicBezTo>
                  <a:pt x="7" y="65"/>
                  <a:pt x="13" y="64"/>
                  <a:pt x="16" y="64"/>
                </a:cubicBezTo>
                <a:cubicBezTo>
                  <a:pt x="28" y="66"/>
                  <a:pt x="42" y="67"/>
                  <a:pt x="46" y="82"/>
                </a:cubicBezTo>
                <a:cubicBezTo>
                  <a:pt x="47" y="88"/>
                  <a:pt x="52" y="89"/>
                  <a:pt x="55" y="86"/>
                </a:cubicBezTo>
                <a:cubicBezTo>
                  <a:pt x="65" y="76"/>
                  <a:pt x="77" y="80"/>
                  <a:pt x="88" y="78"/>
                </a:cubicBezTo>
                <a:cubicBezTo>
                  <a:pt x="90" y="78"/>
                  <a:pt x="93" y="80"/>
                  <a:pt x="95" y="81"/>
                </a:cubicBezTo>
                <a:cubicBezTo>
                  <a:pt x="109" y="89"/>
                  <a:pt x="119" y="82"/>
                  <a:pt x="119" y="67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0EE5CDDF-0500-4E9C-AF64-185755644653}"/>
              </a:ext>
            </a:extLst>
          </p:cNvPr>
          <p:cNvSpPr>
            <a:spLocks/>
          </p:cNvSpPr>
          <p:nvPr userDrawn="1"/>
        </p:nvSpPr>
        <p:spPr bwMode="auto">
          <a:xfrm>
            <a:off x="7772400" y="5319713"/>
            <a:ext cx="417513" cy="814388"/>
          </a:xfrm>
          <a:custGeom>
            <a:avLst/>
            <a:gdLst>
              <a:gd name="T0" fmla="*/ 165 w 176"/>
              <a:gd name="T1" fmla="*/ 207 h 344"/>
              <a:gd name="T2" fmla="*/ 160 w 176"/>
              <a:gd name="T3" fmla="*/ 235 h 344"/>
              <a:gd name="T4" fmla="*/ 169 w 176"/>
              <a:gd name="T5" fmla="*/ 249 h 344"/>
              <a:gd name="T6" fmla="*/ 173 w 176"/>
              <a:gd name="T7" fmla="*/ 259 h 344"/>
              <a:gd name="T8" fmla="*/ 160 w 176"/>
              <a:gd name="T9" fmla="*/ 281 h 344"/>
              <a:gd name="T10" fmla="*/ 156 w 176"/>
              <a:gd name="T11" fmla="*/ 289 h 344"/>
              <a:gd name="T12" fmla="*/ 157 w 176"/>
              <a:gd name="T13" fmla="*/ 307 h 344"/>
              <a:gd name="T14" fmla="*/ 159 w 176"/>
              <a:gd name="T15" fmla="*/ 326 h 344"/>
              <a:gd name="T16" fmla="*/ 151 w 176"/>
              <a:gd name="T17" fmla="*/ 344 h 344"/>
              <a:gd name="T18" fmla="*/ 147 w 176"/>
              <a:gd name="T19" fmla="*/ 341 h 344"/>
              <a:gd name="T20" fmla="*/ 95 w 176"/>
              <a:gd name="T21" fmla="*/ 252 h 344"/>
              <a:gd name="T22" fmla="*/ 93 w 176"/>
              <a:gd name="T23" fmla="*/ 240 h 344"/>
              <a:gd name="T24" fmla="*/ 84 w 176"/>
              <a:gd name="T25" fmla="*/ 186 h 344"/>
              <a:gd name="T26" fmla="*/ 57 w 176"/>
              <a:gd name="T27" fmla="*/ 111 h 344"/>
              <a:gd name="T28" fmla="*/ 22 w 176"/>
              <a:gd name="T29" fmla="*/ 50 h 344"/>
              <a:gd name="T30" fmla="*/ 1 w 176"/>
              <a:gd name="T31" fmla="*/ 4 h 344"/>
              <a:gd name="T32" fmla="*/ 1 w 176"/>
              <a:gd name="T33" fmla="*/ 0 h 344"/>
              <a:gd name="T34" fmla="*/ 5 w 176"/>
              <a:gd name="T35" fmla="*/ 1 h 344"/>
              <a:gd name="T36" fmla="*/ 25 w 176"/>
              <a:gd name="T37" fmla="*/ 23 h 344"/>
              <a:gd name="T38" fmla="*/ 32 w 176"/>
              <a:gd name="T39" fmla="*/ 34 h 344"/>
              <a:gd name="T40" fmla="*/ 61 w 176"/>
              <a:gd name="T41" fmla="*/ 58 h 344"/>
              <a:gd name="T42" fmla="*/ 72 w 176"/>
              <a:gd name="T43" fmla="*/ 61 h 344"/>
              <a:gd name="T44" fmla="*/ 99 w 176"/>
              <a:gd name="T45" fmla="*/ 75 h 344"/>
              <a:gd name="T46" fmla="*/ 98 w 176"/>
              <a:gd name="T47" fmla="*/ 83 h 344"/>
              <a:gd name="T48" fmla="*/ 104 w 176"/>
              <a:gd name="T49" fmla="*/ 104 h 344"/>
              <a:gd name="T50" fmla="*/ 108 w 176"/>
              <a:gd name="T51" fmla="*/ 111 h 344"/>
              <a:gd name="T52" fmla="*/ 118 w 176"/>
              <a:gd name="T53" fmla="*/ 122 h 344"/>
              <a:gd name="T54" fmla="*/ 125 w 176"/>
              <a:gd name="T55" fmla="*/ 129 h 344"/>
              <a:gd name="T56" fmla="*/ 131 w 176"/>
              <a:gd name="T57" fmla="*/ 144 h 344"/>
              <a:gd name="T58" fmla="*/ 134 w 176"/>
              <a:gd name="T59" fmla="*/ 165 h 344"/>
              <a:gd name="T60" fmla="*/ 135 w 176"/>
              <a:gd name="T61" fmla="*/ 190 h 344"/>
              <a:gd name="T62" fmla="*/ 153 w 176"/>
              <a:gd name="T63" fmla="*/ 194 h 344"/>
              <a:gd name="T64" fmla="*/ 165 w 176"/>
              <a:gd name="T65" fmla="*/ 199 h 344"/>
              <a:gd name="T66" fmla="*/ 165 w 176"/>
              <a:gd name="T67" fmla="*/ 207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6" h="344">
                <a:moveTo>
                  <a:pt x="165" y="207"/>
                </a:moveTo>
                <a:cubicBezTo>
                  <a:pt x="164" y="215"/>
                  <a:pt x="162" y="225"/>
                  <a:pt x="160" y="235"/>
                </a:cubicBezTo>
                <a:cubicBezTo>
                  <a:pt x="158" y="247"/>
                  <a:pt x="158" y="247"/>
                  <a:pt x="169" y="249"/>
                </a:cubicBezTo>
                <a:cubicBezTo>
                  <a:pt x="176" y="250"/>
                  <a:pt x="176" y="254"/>
                  <a:pt x="173" y="259"/>
                </a:cubicBezTo>
                <a:cubicBezTo>
                  <a:pt x="169" y="266"/>
                  <a:pt x="164" y="274"/>
                  <a:pt x="160" y="281"/>
                </a:cubicBezTo>
                <a:cubicBezTo>
                  <a:pt x="159" y="284"/>
                  <a:pt x="156" y="286"/>
                  <a:pt x="156" y="289"/>
                </a:cubicBezTo>
                <a:cubicBezTo>
                  <a:pt x="156" y="295"/>
                  <a:pt x="159" y="302"/>
                  <a:pt x="157" y="307"/>
                </a:cubicBezTo>
                <a:cubicBezTo>
                  <a:pt x="153" y="315"/>
                  <a:pt x="153" y="320"/>
                  <a:pt x="159" y="326"/>
                </a:cubicBezTo>
                <a:cubicBezTo>
                  <a:pt x="162" y="330"/>
                  <a:pt x="155" y="343"/>
                  <a:pt x="151" y="344"/>
                </a:cubicBezTo>
                <a:cubicBezTo>
                  <a:pt x="150" y="344"/>
                  <a:pt x="148" y="342"/>
                  <a:pt x="147" y="341"/>
                </a:cubicBezTo>
                <a:cubicBezTo>
                  <a:pt x="125" y="314"/>
                  <a:pt x="104" y="287"/>
                  <a:pt x="95" y="252"/>
                </a:cubicBezTo>
                <a:cubicBezTo>
                  <a:pt x="94" y="248"/>
                  <a:pt x="93" y="244"/>
                  <a:pt x="93" y="240"/>
                </a:cubicBezTo>
                <a:cubicBezTo>
                  <a:pt x="94" y="221"/>
                  <a:pt x="91" y="204"/>
                  <a:pt x="84" y="186"/>
                </a:cubicBezTo>
                <a:cubicBezTo>
                  <a:pt x="74" y="161"/>
                  <a:pt x="66" y="136"/>
                  <a:pt x="57" y="111"/>
                </a:cubicBezTo>
                <a:cubicBezTo>
                  <a:pt x="49" y="88"/>
                  <a:pt x="35" y="70"/>
                  <a:pt x="22" y="50"/>
                </a:cubicBezTo>
                <a:cubicBezTo>
                  <a:pt x="12" y="37"/>
                  <a:pt x="8" y="19"/>
                  <a:pt x="1" y="4"/>
                </a:cubicBezTo>
                <a:cubicBezTo>
                  <a:pt x="0" y="3"/>
                  <a:pt x="1" y="1"/>
                  <a:pt x="1" y="0"/>
                </a:cubicBezTo>
                <a:cubicBezTo>
                  <a:pt x="2" y="0"/>
                  <a:pt x="3" y="0"/>
                  <a:pt x="5" y="1"/>
                </a:cubicBezTo>
                <a:cubicBezTo>
                  <a:pt x="14" y="6"/>
                  <a:pt x="24" y="10"/>
                  <a:pt x="25" y="23"/>
                </a:cubicBezTo>
                <a:cubicBezTo>
                  <a:pt x="25" y="27"/>
                  <a:pt x="29" y="31"/>
                  <a:pt x="32" y="34"/>
                </a:cubicBezTo>
                <a:cubicBezTo>
                  <a:pt x="41" y="42"/>
                  <a:pt x="51" y="50"/>
                  <a:pt x="61" y="58"/>
                </a:cubicBezTo>
                <a:cubicBezTo>
                  <a:pt x="64" y="60"/>
                  <a:pt x="69" y="62"/>
                  <a:pt x="72" y="61"/>
                </a:cubicBezTo>
                <a:cubicBezTo>
                  <a:pt x="85" y="59"/>
                  <a:pt x="91" y="68"/>
                  <a:pt x="99" y="75"/>
                </a:cubicBezTo>
                <a:cubicBezTo>
                  <a:pt x="100" y="76"/>
                  <a:pt x="100" y="81"/>
                  <a:pt x="98" y="83"/>
                </a:cubicBezTo>
                <a:cubicBezTo>
                  <a:pt x="89" y="95"/>
                  <a:pt x="89" y="98"/>
                  <a:pt x="104" y="104"/>
                </a:cubicBezTo>
                <a:cubicBezTo>
                  <a:pt x="108" y="105"/>
                  <a:pt x="110" y="106"/>
                  <a:pt x="108" y="111"/>
                </a:cubicBezTo>
                <a:cubicBezTo>
                  <a:pt x="105" y="119"/>
                  <a:pt x="109" y="122"/>
                  <a:pt x="118" y="122"/>
                </a:cubicBezTo>
                <a:cubicBezTo>
                  <a:pt x="124" y="122"/>
                  <a:pt x="125" y="124"/>
                  <a:pt x="125" y="129"/>
                </a:cubicBezTo>
                <a:cubicBezTo>
                  <a:pt x="126" y="135"/>
                  <a:pt x="127" y="141"/>
                  <a:pt x="131" y="144"/>
                </a:cubicBezTo>
                <a:cubicBezTo>
                  <a:pt x="138" y="151"/>
                  <a:pt x="138" y="158"/>
                  <a:pt x="134" y="165"/>
                </a:cubicBezTo>
                <a:cubicBezTo>
                  <a:pt x="130" y="174"/>
                  <a:pt x="130" y="182"/>
                  <a:pt x="135" y="190"/>
                </a:cubicBezTo>
                <a:cubicBezTo>
                  <a:pt x="142" y="200"/>
                  <a:pt x="143" y="202"/>
                  <a:pt x="153" y="194"/>
                </a:cubicBezTo>
                <a:cubicBezTo>
                  <a:pt x="162" y="188"/>
                  <a:pt x="163" y="189"/>
                  <a:pt x="165" y="199"/>
                </a:cubicBezTo>
                <a:cubicBezTo>
                  <a:pt x="165" y="201"/>
                  <a:pt x="165" y="203"/>
                  <a:pt x="165" y="207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7453EAEB-F0EA-4A39-B0F9-9D159CCD24D5}"/>
              </a:ext>
            </a:extLst>
          </p:cNvPr>
          <p:cNvSpPr>
            <a:spLocks/>
          </p:cNvSpPr>
          <p:nvPr userDrawn="1"/>
        </p:nvSpPr>
        <p:spPr bwMode="auto">
          <a:xfrm>
            <a:off x="8464550" y="1031875"/>
            <a:ext cx="344488" cy="434975"/>
          </a:xfrm>
          <a:custGeom>
            <a:avLst/>
            <a:gdLst>
              <a:gd name="T0" fmla="*/ 50 w 145"/>
              <a:gd name="T1" fmla="*/ 184 h 184"/>
              <a:gd name="T2" fmla="*/ 47 w 145"/>
              <a:gd name="T3" fmla="*/ 156 h 184"/>
              <a:gd name="T4" fmla="*/ 50 w 145"/>
              <a:gd name="T5" fmla="*/ 148 h 184"/>
              <a:gd name="T6" fmla="*/ 38 w 145"/>
              <a:gd name="T7" fmla="*/ 123 h 184"/>
              <a:gd name="T8" fmla="*/ 14 w 145"/>
              <a:gd name="T9" fmla="*/ 95 h 184"/>
              <a:gd name="T10" fmla="*/ 4 w 145"/>
              <a:gd name="T11" fmla="*/ 54 h 184"/>
              <a:gd name="T12" fmla="*/ 7 w 145"/>
              <a:gd name="T13" fmla="*/ 48 h 184"/>
              <a:gd name="T14" fmla="*/ 11 w 145"/>
              <a:gd name="T15" fmla="*/ 43 h 184"/>
              <a:gd name="T16" fmla="*/ 40 w 145"/>
              <a:gd name="T17" fmla="*/ 25 h 184"/>
              <a:gd name="T18" fmla="*/ 58 w 145"/>
              <a:gd name="T19" fmla="*/ 13 h 184"/>
              <a:gd name="T20" fmla="*/ 87 w 145"/>
              <a:gd name="T21" fmla="*/ 14 h 184"/>
              <a:gd name="T22" fmla="*/ 122 w 145"/>
              <a:gd name="T23" fmla="*/ 31 h 184"/>
              <a:gd name="T24" fmla="*/ 126 w 145"/>
              <a:gd name="T25" fmla="*/ 31 h 184"/>
              <a:gd name="T26" fmla="*/ 143 w 145"/>
              <a:gd name="T27" fmla="*/ 50 h 184"/>
              <a:gd name="T28" fmla="*/ 144 w 145"/>
              <a:gd name="T29" fmla="*/ 60 h 184"/>
              <a:gd name="T30" fmla="*/ 129 w 145"/>
              <a:gd name="T31" fmla="*/ 104 h 184"/>
              <a:gd name="T32" fmla="*/ 117 w 145"/>
              <a:gd name="T33" fmla="*/ 116 h 184"/>
              <a:gd name="T34" fmla="*/ 110 w 145"/>
              <a:gd name="T35" fmla="*/ 122 h 184"/>
              <a:gd name="T36" fmla="*/ 96 w 145"/>
              <a:gd name="T37" fmla="*/ 131 h 184"/>
              <a:gd name="T38" fmla="*/ 92 w 145"/>
              <a:gd name="T39" fmla="*/ 141 h 184"/>
              <a:gd name="T40" fmla="*/ 81 w 145"/>
              <a:gd name="T41" fmla="*/ 165 h 184"/>
              <a:gd name="T42" fmla="*/ 78 w 145"/>
              <a:gd name="T43" fmla="*/ 165 h 184"/>
              <a:gd name="T44" fmla="*/ 75 w 145"/>
              <a:gd name="T45" fmla="*/ 164 h 184"/>
              <a:gd name="T46" fmla="*/ 50 w 145"/>
              <a:gd name="T47" fmla="*/ 184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5" h="184">
                <a:moveTo>
                  <a:pt x="50" y="184"/>
                </a:moveTo>
                <a:cubicBezTo>
                  <a:pt x="42" y="176"/>
                  <a:pt x="45" y="166"/>
                  <a:pt x="47" y="156"/>
                </a:cubicBezTo>
                <a:cubicBezTo>
                  <a:pt x="47" y="153"/>
                  <a:pt x="49" y="151"/>
                  <a:pt x="50" y="148"/>
                </a:cubicBezTo>
                <a:cubicBezTo>
                  <a:pt x="57" y="135"/>
                  <a:pt x="52" y="126"/>
                  <a:pt x="38" y="123"/>
                </a:cubicBezTo>
                <a:cubicBezTo>
                  <a:pt x="19" y="118"/>
                  <a:pt x="17" y="113"/>
                  <a:pt x="14" y="95"/>
                </a:cubicBezTo>
                <a:cubicBezTo>
                  <a:pt x="13" y="81"/>
                  <a:pt x="8" y="67"/>
                  <a:pt x="4" y="54"/>
                </a:cubicBezTo>
                <a:cubicBezTo>
                  <a:pt x="2" y="50"/>
                  <a:pt x="0" y="47"/>
                  <a:pt x="7" y="48"/>
                </a:cubicBezTo>
                <a:cubicBezTo>
                  <a:pt x="8" y="48"/>
                  <a:pt x="10" y="45"/>
                  <a:pt x="11" y="43"/>
                </a:cubicBezTo>
                <a:cubicBezTo>
                  <a:pt x="20" y="35"/>
                  <a:pt x="28" y="27"/>
                  <a:pt x="40" y="25"/>
                </a:cubicBezTo>
                <a:cubicBezTo>
                  <a:pt x="48" y="24"/>
                  <a:pt x="53" y="19"/>
                  <a:pt x="58" y="13"/>
                </a:cubicBezTo>
                <a:cubicBezTo>
                  <a:pt x="69" y="0"/>
                  <a:pt x="76" y="0"/>
                  <a:pt x="87" y="14"/>
                </a:cubicBezTo>
                <a:cubicBezTo>
                  <a:pt x="96" y="25"/>
                  <a:pt x="106" y="35"/>
                  <a:pt x="122" y="31"/>
                </a:cubicBezTo>
                <a:cubicBezTo>
                  <a:pt x="123" y="30"/>
                  <a:pt x="126" y="31"/>
                  <a:pt x="126" y="31"/>
                </a:cubicBezTo>
                <a:cubicBezTo>
                  <a:pt x="128" y="41"/>
                  <a:pt x="138" y="43"/>
                  <a:pt x="143" y="50"/>
                </a:cubicBezTo>
                <a:cubicBezTo>
                  <a:pt x="145" y="52"/>
                  <a:pt x="145" y="57"/>
                  <a:pt x="144" y="60"/>
                </a:cubicBezTo>
                <a:cubicBezTo>
                  <a:pt x="139" y="75"/>
                  <a:pt x="134" y="89"/>
                  <a:pt x="129" y="104"/>
                </a:cubicBezTo>
                <a:cubicBezTo>
                  <a:pt x="127" y="110"/>
                  <a:pt x="124" y="115"/>
                  <a:pt x="117" y="116"/>
                </a:cubicBezTo>
                <a:cubicBezTo>
                  <a:pt x="114" y="117"/>
                  <a:pt x="111" y="120"/>
                  <a:pt x="110" y="122"/>
                </a:cubicBezTo>
                <a:cubicBezTo>
                  <a:pt x="107" y="128"/>
                  <a:pt x="106" y="136"/>
                  <a:pt x="96" y="131"/>
                </a:cubicBezTo>
                <a:cubicBezTo>
                  <a:pt x="95" y="135"/>
                  <a:pt x="91" y="139"/>
                  <a:pt x="92" y="141"/>
                </a:cubicBezTo>
                <a:cubicBezTo>
                  <a:pt x="97" y="154"/>
                  <a:pt x="83" y="156"/>
                  <a:pt x="81" y="165"/>
                </a:cubicBezTo>
                <a:cubicBezTo>
                  <a:pt x="81" y="166"/>
                  <a:pt x="79" y="166"/>
                  <a:pt x="78" y="165"/>
                </a:cubicBezTo>
                <a:cubicBezTo>
                  <a:pt x="77" y="165"/>
                  <a:pt x="76" y="165"/>
                  <a:pt x="75" y="164"/>
                </a:cubicBezTo>
                <a:cubicBezTo>
                  <a:pt x="56" y="160"/>
                  <a:pt x="50" y="165"/>
                  <a:pt x="50" y="184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AE9A28F3-86C2-44F7-8096-6F64570A7287}"/>
              </a:ext>
            </a:extLst>
          </p:cNvPr>
          <p:cNvSpPr>
            <a:spLocks/>
          </p:cNvSpPr>
          <p:nvPr userDrawn="1"/>
        </p:nvSpPr>
        <p:spPr bwMode="auto">
          <a:xfrm>
            <a:off x="10910888" y="2909888"/>
            <a:ext cx="263525" cy="301625"/>
          </a:xfrm>
          <a:custGeom>
            <a:avLst/>
            <a:gdLst>
              <a:gd name="T0" fmla="*/ 0 w 111"/>
              <a:gd name="T1" fmla="*/ 109 h 127"/>
              <a:gd name="T2" fmla="*/ 1 w 111"/>
              <a:gd name="T3" fmla="*/ 97 h 127"/>
              <a:gd name="T4" fmla="*/ 15 w 111"/>
              <a:gd name="T5" fmla="*/ 49 h 127"/>
              <a:gd name="T6" fmla="*/ 33 w 111"/>
              <a:gd name="T7" fmla="*/ 31 h 127"/>
              <a:gd name="T8" fmla="*/ 45 w 111"/>
              <a:gd name="T9" fmla="*/ 21 h 127"/>
              <a:gd name="T10" fmla="*/ 75 w 111"/>
              <a:gd name="T11" fmla="*/ 9 h 127"/>
              <a:gd name="T12" fmla="*/ 91 w 111"/>
              <a:gd name="T13" fmla="*/ 3 h 127"/>
              <a:gd name="T14" fmla="*/ 97 w 111"/>
              <a:gd name="T15" fmla="*/ 4 h 127"/>
              <a:gd name="T16" fmla="*/ 101 w 111"/>
              <a:gd name="T17" fmla="*/ 18 h 127"/>
              <a:gd name="T18" fmla="*/ 105 w 111"/>
              <a:gd name="T19" fmla="*/ 38 h 127"/>
              <a:gd name="T20" fmla="*/ 105 w 111"/>
              <a:gd name="T21" fmla="*/ 60 h 127"/>
              <a:gd name="T22" fmla="*/ 85 w 111"/>
              <a:gd name="T23" fmla="*/ 108 h 127"/>
              <a:gd name="T24" fmla="*/ 61 w 111"/>
              <a:gd name="T25" fmla="*/ 124 h 127"/>
              <a:gd name="T26" fmla="*/ 37 w 111"/>
              <a:gd name="T27" fmla="*/ 125 h 127"/>
              <a:gd name="T28" fmla="*/ 4 w 111"/>
              <a:gd name="T29" fmla="*/ 120 h 127"/>
              <a:gd name="T30" fmla="*/ 0 w 111"/>
              <a:gd name="T31" fmla="*/ 109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1" h="127">
                <a:moveTo>
                  <a:pt x="0" y="109"/>
                </a:moveTo>
                <a:cubicBezTo>
                  <a:pt x="0" y="103"/>
                  <a:pt x="0" y="100"/>
                  <a:pt x="1" y="97"/>
                </a:cubicBezTo>
                <a:cubicBezTo>
                  <a:pt x="5" y="81"/>
                  <a:pt x="9" y="64"/>
                  <a:pt x="15" y="49"/>
                </a:cubicBezTo>
                <a:cubicBezTo>
                  <a:pt x="18" y="41"/>
                  <a:pt x="21" y="31"/>
                  <a:pt x="33" y="31"/>
                </a:cubicBezTo>
                <a:cubicBezTo>
                  <a:pt x="37" y="31"/>
                  <a:pt x="42" y="25"/>
                  <a:pt x="45" y="21"/>
                </a:cubicBezTo>
                <a:cubicBezTo>
                  <a:pt x="56" y="6"/>
                  <a:pt x="59" y="4"/>
                  <a:pt x="75" y="9"/>
                </a:cubicBezTo>
                <a:cubicBezTo>
                  <a:pt x="82" y="10"/>
                  <a:pt x="87" y="9"/>
                  <a:pt x="91" y="3"/>
                </a:cubicBezTo>
                <a:cubicBezTo>
                  <a:pt x="94" y="0"/>
                  <a:pt x="96" y="0"/>
                  <a:pt x="97" y="4"/>
                </a:cubicBezTo>
                <a:cubicBezTo>
                  <a:pt x="98" y="8"/>
                  <a:pt x="102" y="14"/>
                  <a:pt x="101" y="18"/>
                </a:cubicBezTo>
                <a:cubicBezTo>
                  <a:pt x="98" y="26"/>
                  <a:pt x="102" y="32"/>
                  <a:pt x="105" y="38"/>
                </a:cubicBezTo>
                <a:cubicBezTo>
                  <a:pt x="109" y="46"/>
                  <a:pt x="111" y="53"/>
                  <a:pt x="105" y="60"/>
                </a:cubicBezTo>
                <a:cubicBezTo>
                  <a:pt x="92" y="74"/>
                  <a:pt x="90" y="91"/>
                  <a:pt x="85" y="108"/>
                </a:cubicBezTo>
                <a:cubicBezTo>
                  <a:pt x="80" y="126"/>
                  <a:pt x="80" y="127"/>
                  <a:pt x="61" y="124"/>
                </a:cubicBezTo>
                <a:cubicBezTo>
                  <a:pt x="53" y="123"/>
                  <a:pt x="45" y="125"/>
                  <a:pt x="37" y="125"/>
                </a:cubicBezTo>
                <a:cubicBezTo>
                  <a:pt x="26" y="125"/>
                  <a:pt x="15" y="123"/>
                  <a:pt x="4" y="120"/>
                </a:cubicBezTo>
                <a:cubicBezTo>
                  <a:pt x="1" y="119"/>
                  <a:pt x="1" y="112"/>
                  <a:pt x="0" y="109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20A72008-4FA0-4322-9F23-DB9EB678721B}"/>
              </a:ext>
            </a:extLst>
          </p:cNvPr>
          <p:cNvSpPr>
            <a:spLocks/>
          </p:cNvSpPr>
          <p:nvPr userDrawn="1"/>
        </p:nvSpPr>
        <p:spPr bwMode="auto">
          <a:xfrm>
            <a:off x="10371138" y="2857500"/>
            <a:ext cx="481013" cy="171450"/>
          </a:xfrm>
          <a:custGeom>
            <a:avLst/>
            <a:gdLst>
              <a:gd name="T0" fmla="*/ 36 w 203"/>
              <a:gd name="T1" fmla="*/ 15 h 72"/>
              <a:gd name="T2" fmla="*/ 70 w 203"/>
              <a:gd name="T3" fmla="*/ 15 h 72"/>
              <a:gd name="T4" fmla="*/ 79 w 203"/>
              <a:gd name="T5" fmla="*/ 18 h 72"/>
              <a:gd name="T6" fmla="*/ 114 w 203"/>
              <a:gd name="T7" fmla="*/ 15 h 72"/>
              <a:gd name="T8" fmla="*/ 148 w 203"/>
              <a:gd name="T9" fmla="*/ 1 h 72"/>
              <a:gd name="T10" fmla="*/ 157 w 203"/>
              <a:gd name="T11" fmla="*/ 12 h 72"/>
              <a:gd name="T12" fmla="*/ 167 w 203"/>
              <a:gd name="T13" fmla="*/ 25 h 72"/>
              <a:gd name="T14" fmla="*/ 191 w 203"/>
              <a:gd name="T15" fmla="*/ 37 h 72"/>
              <a:gd name="T16" fmla="*/ 195 w 203"/>
              <a:gd name="T17" fmla="*/ 44 h 72"/>
              <a:gd name="T18" fmla="*/ 193 w 203"/>
              <a:gd name="T19" fmla="*/ 60 h 72"/>
              <a:gd name="T20" fmla="*/ 162 w 203"/>
              <a:gd name="T21" fmla="*/ 63 h 72"/>
              <a:gd name="T22" fmla="*/ 147 w 203"/>
              <a:gd name="T23" fmla="*/ 63 h 72"/>
              <a:gd name="T24" fmla="*/ 101 w 203"/>
              <a:gd name="T25" fmla="*/ 64 h 72"/>
              <a:gd name="T26" fmla="*/ 86 w 203"/>
              <a:gd name="T27" fmla="*/ 66 h 72"/>
              <a:gd name="T28" fmla="*/ 65 w 203"/>
              <a:gd name="T29" fmla="*/ 69 h 72"/>
              <a:gd name="T30" fmla="*/ 41 w 203"/>
              <a:gd name="T31" fmla="*/ 71 h 72"/>
              <a:gd name="T32" fmla="*/ 34 w 203"/>
              <a:gd name="T33" fmla="*/ 70 h 72"/>
              <a:gd name="T34" fmla="*/ 10 w 203"/>
              <a:gd name="T35" fmla="*/ 63 h 72"/>
              <a:gd name="T36" fmla="*/ 4 w 203"/>
              <a:gd name="T37" fmla="*/ 51 h 72"/>
              <a:gd name="T38" fmla="*/ 9 w 203"/>
              <a:gd name="T39" fmla="*/ 32 h 72"/>
              <a:gd name="T40" fmla="*/ 18 w 203"/>
              <a:gd name="T41" fmla="*/ 18 h 72"/>
              <a:gd name="T42" fmla="*/ 36 w 203"/>
              <a:gd name="T43" fmla="*/ 12 h 72"/>
              <a:gd name="T44" fmla="*/ 36 w 203"/>
              <a:gd name="T45" fmla="*/ 15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03" h="72">
                <a:moveTo>
                  <a:pt x="36" y="15"/>
                </a:moveTo>
                <a:cubicBezTo>
                  <a:pt x="48" y="15"/>
                  <a:pt x="59" y="15"/>
                  <a:pt x="70" y="15"/>
                </a:cubicBezTo>
                <a:cubicBezTo>
                  <a:pt x="73" y="15"/>
                  <a:pt x="77" y="16"/>
                  <a:pt x="79" y="18"/>
                </a:cubicBezTo>
                <a:cubicBezTo>
                  <a:pt x="92" y="30"/>
                  <a:pt x="103" y="22"/>
                  <a:pt x="114" y="15"/>
                </a:cubicBezTo>
                <a:cubicBezTo>
                  <a:pt x="125" y="8"/>
                  <a:pt x="134" y="0"/>
                  <a:pt x="148" y="1"/>
                </a:cubicBezTo>
                <a:cubicBezTo>
                  <a:pt x="160" y="2"/>
                  <a:pt x="160" y="2"/>
                  <a:pt x="157" y="12"/>
                </a:cubicBezTo>
                <a:cubicBezTo>
                  <a:pt x="154" y="23"/>
                  <a:pt x="158" y="28"/>
                  <a:pt x="167" y="25"/>
                </a:cubicBezTo>
                <a:cubicBezTo>
                  <a:pt x="180" y="21"/>
                  <a:pt x="184" y="31"/>
                  <a:pt x="191" y="37"/>
                </a:cubicBezTo>
                <a:cubicBezTo>
                  <a:pt x="193" y="39"/>
                  <a:pt x="193" y="42"/>
                  <a:pt x="195" y="44"/>
                </a:cubicBezTo>
                <a:cubicBezTo>
                  <a:pt x="203" y="53"/>
                  <a:pt x="203" y="53"/>
                  <a:pt x="193" y="60"/>
                </a:cubicBezTo>
                <a:cubicBezTo>
                  <a:pt x="183" y="68"/>
                  <a:pt x="173" y="71"/>
                  <a:pt x="162" y="63"/>
                </a:cubicBezTo>
                <a:cubicBezTo>
                  <a:pt x="158" y="61"/>
                  <a:pt x="152" y="62"/>
                  <a:pt x="147" y="63"/>
                </a:cubicBezTo>
                <a:cubicBezTo>
                  <a:pt x="132" y="65"/>
                  <a:pt x="117" y="69"/>
                  <a:pt x="101" y="64"/>
                </a:cubicBezTo>
                <a:cubicBezTo>
                  <a:pt x="97" y="63"/>
                  <a:pt x="91" y="65"/>
                  <a:pt x="86" y="66"/>
                </a:cubicBezTo>
                <a:cubicBezTo>
                  <a:pt x="79" y="67"/>
                  <a:pt x="72" y="68"/>
                  <a:pt x="65" y="69"/>
                </a:cubicBezTo>
                <a:cubicBezTo>
                  <a:pt x="57" y="69"/>
                  <a:pt x="48" y="65"/>
                  <a:pt x="41" y="71"/>
                </a:cubicBezTo>
                <a:cubicBezTo>
                  <a:pt x="39" y="72"/>
                  <a:pt x="36" y="71"/>
                  <a:pt x="34" y="70"/>
                </a:cubicBezTo>
                <a:cubicBezTo>
                  <a:pt x="26" y="68"/>
                  <a:pt x="18" y="65"/>
                  <a:pt x="10" y="63"/>
                </a:cubicBezTo>
                <a:cubicBezTo>
                  <a:pt x="2" y="61"/>
                  <a:pt x="0" y="58"/>
                  <a:pt x="4" y="51"/>
                </a:cubicBezTo>
                <a:cubicBezTo>
                  <a:pt x="8" y="45"/>
                  <a:pt x="9" y="39"/>
                  <a:pt x="9" y="32"/>
                </a:cubicBezTo>
                <a:cubicBezTo>
                  <a:pt x="9" y="27"/>
                  <a:pt x="13" y="21"/>
                  <a:pt x="18" y="18"/>
                </a:cubicBezTo>
                <a:cubicBezTo>
                  <a:pt x="23" y="15"/>
                  <a:pt x="30" y="14"/>
                  <a:pt x="36" y="12"/>
                </a:cubicBezTo>
                <a:cubicBezTo>
                  <a:pt x="36" y="13"/>
                  <a:pt x="36" y="14"/>
                  <a:pt x="36" y="15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24" name="Freeform 31">
            <a:extLst>
              <a:ext uri="{FF2B5EF4-FFF2-40B4-BE49-F238E27FC236}">
                <a16:creationId xmlns:a16="http://schemas.microsoft.com/office/drawing/2014/main" id="{107992B4-0DA3-4BAB-80D3-88A71D15A632}"/>
              </a:ext>
            </a:extLst>
          </p:cNvPr>
          <p:cNvSpPr>
            <a:spLocks/>
          </p:cNvSpPr>
          <p:nvPr userDrawn="1"/>
        </p:nvSpPr>
        <p:spPr bwMode="auto">
          <a:xfrm>
            <a:off x="10790238" y="3149600"/>
            <a:ext cx="195263" cy="414338"/>
          </a:xfrm>
          <a:custGeom>
            <a:avLst/>
            <a:gdLst>
              <a:gd name="T0" fmla="*/ 81 w 82"/>
              <a:gd name="T1" fmla="*/ 70 h 175"/>
              <a:gd name="T2" fmla="*/ 80 w 82"/>
              <a:gd name="T3" fmla="*/ 88 h 175"/>
              <a:gd name="T4" fmla="*/ 70 w 82"/>
              <a:gd name="T5" fmla="*/ 98 h 175"/>
              <a:gd name="T6" fmla="*/ 62 w 82"/>
              <a:gd name="T7" fmla="*/ 107 h 175"/>
              <a:gd name="T8" fmla="*/ 67 w 82"/>
              <a:gd name="T9" fmla="*/ 146 h 175"/>
              <a:gd name="T10" fmla="*/ 63 w 82"/>
              <a:gd name="T11" fmla="*/ 165 h 175"/>
              <a:gd name="T12" fmla="*/ 58 w 82"/>
              <a:gd name="T13" fmla="*/ 171 h 175"/>
              <a:gd name="T14" fmla="*/ 56 w 82"/>
              <a:gd name="T15" fmla="*/ 174 h 175"/>
              <a:gd name="T16" fmla="*/ 51 w 82"/>
              <a:gd name="T17" fmla="*/ 174 h 175"/>
              <a:gd name="T18" fmla="*/ 32 w 82"/>
              <a:gd name="T19" fmla="*/ 162 h 175"/>
              <a:gd name="T20" fmla="*/ 26 w 82"/>
              <a:gd name="T21" fmla="*/ 134 h 175"/>
              <a:gd name="T22" fmla="*/ 21 w 82"/>
              <a:gd name="T23" fmla="*/ 120 h 175"/>
              <a:gd name="T24" fmla="*/ 12 w 82"/>
              <a:gd name="T25" fmla="*/ 89 h 175"/>
              <a:gd name="T26" fmla="*/ 7 w 82"/>
              <a:gd name="T27" fmla="*/ 67 h 175"/>
              <a:gd name="T28" fmla="*/ 4 w 82"/>
              <a:gd name="T29" fmla="*/ 38 h 175"/>
              <a:gd name="T30" fmla="*/ 7 w 82"/>
              <a:gd name="T31" fmla="*/ 29 h 175"/>
              <a:gd name="T32" fmla="*/ 14 w 82"/>
              <a:gd name="T33" fmla="*/ 21 h 175"/>
              <a:gd name="T34" fmla="*/ 20 w 82"/>
              <a:gd name="T35" fmla="*/ 14 h 175"/>
              <a:gd name="T36" fmla="*/ 27 w 82"/>
              <a:gd name="T37" fmla="*/ 6 h 175"/>
              <a:gd name="T38" fmla="*/ 44 w 82"/>
              <a:gd name="T39" fmla="*/ 0 h 175"/>
              <a:gd name="T40" fmla="*/ 46 w 82"/>
              <a:gd name="T41" fmla="*/ 12 h 175"/>
              <a:gd name="T42" fmla="*/ 59 w 82"/>
              <a:gd name="T43" fmla="*/ 25 h 175"/>
              <a:gd name="T44" fmla="*/ 76 w 82"/>
              <a:gd name="T45" fmla="*/ 39 h 175"/>
              <a:gd name="T46" fmla="*/ 82 w 82"/>
              <a:gd name="T47" fmla="*/ 70 h 175"/>
              <a:gd name="T48" fmla="*/ 81 w 82"/>
              <a:gd name="T49" fmla="*/ 70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2" h="175">
                <a:moveTo>
                  <a:pt x="81" y="70"/>
                </a:moveTo>
                <a:cubicBezTo>
                  <a:pt x="81" y="76"/>
                  <a:pt x="81" y="82"/>
                  <a:pt x="80" y="88"/>
                </a:cubicBezTo>
                <a:cubicBezTo>
                  <a:pt x="79" y="93"/>
                  <a:pt x="79" y="99"/>
                  <a:pt x="70" y="98"/>
                </a:cubicBezTo>
                <a:cubicBezTo>
                  <a:pt x="67" y="98"/>
                  <a:pt x="62" y="104"/>
                  <a:pt x="62" y="107"/>
                </a:cubicBezTo>
                <a:cubicBezTo>
                  <a:pt x="62" y="120"/>
                  <a:pt x="59" y="134"/>
                  <a:pt x="67" y="146"/>
                </a:cubicBezTo>
                <a:cubicBezTo>
                  <a:pt x="71" y="153"/>
                  <a:pt x="72" y="160"/>
                  <a:pt x="63" y="165"/>
                </a:cubicBezTo>
                <a:cubicBezTo>
                  <a:pt x="61" y="166"/>
                  <a:pt x="60" y="169"/>
                  <a:pt x="58" y="171"/>
                </a:cubicBezTo>
                <a:cubicBezTo>
                  <a:pt x="57" y="172"/>
                  <a:pt x="57" y="174"/>
                  <a:pt x="56" y="174"/>
                </a:cubicBezTo>
                <a:cubicBezTo>
                  <a:pt x="54" y="175"/>
                  <a:pt x="51" y="174"/>
                  <a:pt x="51" y="174"/>
                </a:cubicBezTo>
                <a:cubicBezTo>
                  <a:pt x="47" y="165"/>
                  <a:pt x="34" y="173"/>
                  <a:pt x="32" y="162"/>
                </a:cubicBezTo>
                <a:cubicBezTo>
                  <a:pt x="30" y="153"/>
                  <a:pt x="29" y="143"/>
                  <a:pt x="26" y="134"/>
                </a:cubicBezTo>
                <a:cubicBezTo>
                  <a:pt x="25" y="129"/>
                  <a:pt x="24" y="124"/>
                  <a:pt x="21" y="120"/>
                </a:cubicBezTo>
                <a:cubicBezTo>
                  <a:pt x="13" y="111"/>
                  <a:pt x="11" y="101"/>
                  <a:pt x="12" y="89"/>
                </a:cubicBezTo>
                <a:cubicBezTo>
                  <a:pt x="13" y="81"/>
                  <a:pt x="11" y="74"/>
                  <a:pt x="7" y="67"/>
                </a:cubicBezTo>
                <a:cubicBezTo>
                  <a:pt x="1" y="58"/>
                  <a:pt x="0" y="48"/>
                  <a:pt x="4" y="38"/>
                </a:cubicBezTo>
                <a:cubicBezTo>
                  <a:pt x="6" y="35"/>
                  <a:pt x="7" y="32"/>
                  <a:pt x="7" y="29"/>
                </a:cubicBezTo>
                <a:cubicBezTo>
                  <a:pt x="7" y="23"/>
                  <a:pt x="7" y="20"/>
                  <a:pt x="14" y="21"/>
                </a:cubicBezTo>
                <a:cubicBezTo>
                  <a:pt x="16" y="21"/>
                  <a:pt x="18" y="17"/>
                  <a:pt x="20" y="14"/>
                </a:cubicBezTo>
                <a:cubicBezTo>
                  <a:pt x="23" y="12"/>
                  <a:pt x="24" y="7"/>
                  <a:pt x="27" y="6"/>
                </a:cubicBezTo>
                <a:cubicBezTo>
                  <a:pt x="32" y="3"/>
                  <a:pt x="38" y="2"/>
                  <a:pt x="44" y="0"/>
                </a:cubicBezTo>
                <a:cubicBezTo>
                  <a:pt x="44" y="4"/>
                  <a:pt x="46" y="8"/>
                  <a:pt x="46" y="12"/>
                </a:cubicBezTo>
                <a:cubicBezTo>
                  <a:pt x="47" y="23"/>
                  <a:pt x="47" y="24"/>
                  <a:pt x="59" y="25"/>
                </a:cubicBezTo>
                <a:cubicBezTo>
                  <a:pt x="73" y="26"/>
                  <a:pt x="73" y="25"/>
                  <a:pt x="76" y="39"/>
                </a:cubicBezTo>
                <a:cubicBezTo>
                  <a:pt x="79" y="49"/>
                  <a:pt x="80" y="59"/>
                  <a:pt x="82" y="70"/>
                </a:cubicBezTo>
                <a:cubicBezTo>
                  <a:pt x="82" y="70"/>
                  <a:pt x="82" y="70"/>
                  <a:pt x="81" y="7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25" name="Freeform 32">
            <a:extLst>
              <a:ext uri="{FF2B5EF4-FFF2-40B4-BE49-F238E27FC236}">
                <a16:creationId xmlns:a16="http://schemas.microsoft.com/office/drawing/2014/main" id="{6D08C61C-1423-4C91-AE9F-DEB680D1CF62}"/>
              </a:ext>
            </a:extLst>
          </p:cNvPr>
          <p:cNvSpPr>
            <a:spLocks/>
          </p:cNvSpPr>
          <p:nvPr userDrawn="1"/>
        </p:nvSpPr>
        <p:spPr bwMode="auto">
          <a:xfrm>
            <a:off x="10956925" y="2651125"/>
            <a:ext cx="282575" cy="325438"/>
          </a:xfrm>
          <a:custGeom>
            <a:avLst/>
            <a:gdLst>
              <a:gd name="T0" fmla="*/ 117 w 119"/>
              <a:gd name="T1" fmla="*/ 15 h 137"/>
              <a:gd name="T2" fmla="*/ 112 w 119"/>
              <a:gd name="T3" fmla="*/ 29 h 137"/>
              <a:gd name="T4" fmla="*/ 112 w 119"/>
              <a:gd name="T5" fmla="*/ 46 h 137"/>
              <a:gd name="T6" fmla="*/ 118 w 119"/>
              <a:gd name="T7" fmla="*/ 70 h 137"/>
              <a:gd name="T8" fmla="*/ 115 w 119"/>
              <a:gd name="T9" fmla="*/ 79 h 137"/>
              <a:gd name="T10" fmla="*/ 107 w 119"/>
              <a:gd name="T11" fmla="*/ 93 h 137"/>
              <a:gd name="T12" fmla="*/ 95 w 119"/>
              <a:gd name="T13" fmla="*/ 108 h 137"/>
              <a:gd name="T14" fmla="*/ 82 w 119"/>
              <a:gd name="T15" fmla="*/ 103 h 137"/>
              <a:gd name="T16" fmla="*/ 76 w 119"/>
              <a:gd name="T17" fmla="*/ 101 h 137"/>
              <a:gd name="T18" fmla="*/ 72 w 119"/>
              <a:gd name="T19" fmla="*/ 105 h 137"/>
              <a:gd name="T20" fmla="*/ 51 w 119"/>
              <a:gd name="T21" fmla="*/ 111 h 137"/>
              <a:gd name="T22" fmla="*/ 23 w 119"/>
              <a:gd name="T23" fmla="*/ 125 h 137"/>
              <a:gd name="T24" fmla="*/ 18 w 119"/>
              <a:gd name="T25" fmla="*/ 131 h 137"/>
              <a:gd name="T26" fmla="*/ 7 w 119"/>
              <a:gd name="T27" fmla="*/ 131 h 137"/>
              <a:gd name="T28" fmla="*/ 8 w 119"/>
              <a:gd name="T29" fmla="*/ 106 h 137"/>
              <a:gd name="T30" fmla="*/ 18 w 119"/>
              <a:gd name="T31" fmla="*/ 92 h 137"/>
              <a:gd name="T32" fmla="*/ 26 w 119"/>
              <a:gd name="T33" fmla="*/ 91 h 137"/>
              <a:gd name="T34" fmla="*/ 40 w 119"/>
              <a:gd name="T35" fmla="*/ 85 h 137"/>
              <a:gd name="T36" fmla="*/ 42 w 119"/>
              <a:gd name="T37" fmla="*/ 76 h 137"/>
              <a:gd name="T38" fmla="*/ 54 w 119"/>
              <a:gd name="T39" fmla="*/ 43 h 137"/>
              <a:gd name="T40" fmla="*/ 55 w 119"/>
              <a:gd name="T41" fmla="*/ 42 h 137"/>
              <a:gd name="T42" fmla="*/ 77 w 119"/>
              <a:gd name="T43" fmla="*/ 25 h 137"/>
              <a:gd name="T44" fmla="*/ 92 w 119"/>
              <a:gd name="T45" fmla="*/ 11 h 137"/>
              <a:gd name="T46" fmla="*/ 97 w 119"/>
              <a:gd name="T47" fmla="*/ 6 h 137"/>
              <a:gd name="T48" fmla="*/ 113 w 119"/>
              <a:gd name="T49" fmla="*/ 0 h 137"/>
              <a:gd name="T50" fmla="*/ 117 w 119"/>
              <a:gd name="T51" fmla="*/ 15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9" h="137">
                <a:moveTo>
                  <a:pt x="117" y="15"/>
                </a:moveTo>
                <a:cubicBezTo>
                  <a:pt x="116" y="20"/>
                  <a:pt x="115" y="25"/>
                  <a:pt x="112" y="29"/>
                </a:cubicBezTo>
                <a:cubicBezTo>
                  <a:pt x="107" y="35"/>
                  <a:pt x="109" y="40"/>
                  <a:pt x="112" y="46"/>
                </a:cubicBezTo>
                <a:cubicBezTo>
                  <a:pt x="115" y="54"/>
                  <a:pt x="117" y="62"/>
                  <a:pt x="118" y="70"/>
                </a:cubicBezTo>
                <a:cubicBezTo>
                  <a:pt x="119" y="73"/>
                  <a:pt x="116" y="76"/>
                  <a:pt x="115" y="79"/>
                </a:cubicBezTo>
                <a:cubicBezTo>
                  <a:pt x="113" y="83"/>
                  <a:pt x="110" y="88"/>
                  <a:pt x="107" y="93"/>
                </a:cubicBezTo>
                <a:cubicBezTo>
                  <a:pt x="104" y="98"/>
                  <a:pt x="100" y="104"/>
                  <a:pt x="95" y="108"/>
                </a:cubicBezTo>
                <a:cubicBezTo>
                  <a:pt x="86" y="115"/>
                  <a:pt x="84" y="114"/>
                  <a:pt x="82" y="103"/>
                </a:cubicBezTo>
                <a:cubicBezTo>
                  <a:pt x="81" y="98"/>
                  <a:pt x="79" y="98"/>
                  <a:pt x="76" y="101"/>
                </a:cubicBezTo>
                <a:cubicBezTo>
                  <a:pt x="74" y="102"/>
                  <a:pt x="73" y="103"/>
                  <a:pt x="72" y="105"/>
                </a:cubicBezTo>
                <a:cubicBezTo>
                  <a:pt x="67" y="113"/>
                  <a:pt x="61" y="115"/>
                  <a:pt x="51" y="111"/>
                </a:cubicBezTo>
                <a:cubicBezTo>
                  <a:pt x="41" y="106"/>
                  <a:pt x="28" y="113"/>
                  <a:pt x="23" y="125"/>
                </a:cubicBezTo>
                <a:cubicBezTo>
                  <a:pt x="22" y="127"/>
                  <a:pt x="20" y="129"/>
                  <a:pt x="18" y="131"/>
                </a:cubicBezTo>
                <a:cubicBezTo>
                  <a:pt x="14" y="137"/>
                  <a:pt x="11" y="137"/>
                  <a:pt x="7" y="131"/>
                </a:cubicBezTo>
                <a:cubicBezTo>
                  <a:pt x="2" y="122"/>
                  <a:pt x="0" y="114"/>
                  <a:pt x="8" y="106"/>
                </a:cubicBezTo>
                <a:cubicBezTo>
                  <a:pt x="12" y="102"/>
                  <a:pt x="14" y="97"/>
                  <a:pt x="18" y="92"/>
                </a:cubicBezTo>
                <a:cubicBezTo>
                  <a:pt x="20" y="89"/>
                  <a:pt x="22" y="87"/>
                  <a:pt x="26" y="91"/>
                </a:cubicBezTo>
                <a:cubicBezTo>
                  <a:pt x="33" y="96"/>
                  <a:pt x="37" y="91"/>
                  <a:pt x="40" y="85"/>
                </a:cubicBezTo>
                <a:cubicBezTo>
                  <a:pt x="42" y="83"/>
                  <a:pt x="42" y="79"/>
                  <a:pt x="42" y="76"/>
                </a:cubicBezTo>
                <a:cubicBezTo>
                  <a:pt x="39" y="62"/>
                  <a:pt x="51" y="55"/>
                  <a:pt x="54" y="43"/>
                </a:cubicBezTo>
                <a:cubicBezTo>
                  <a:pt x="54" y="43"/>
                  <a:pt x="54" y="42"/>
                  <a:pt x="55" y="42"/>
                </a:cubicBezTo>
                <a:cubicBezTo>
                  <a:pt x="67" y="43"/>
                  <a:pt x="69" y="30"/>
                  <a:pt x="77" y="25"/>
                </a:cubicBezTo>
                <a:cubicBezTo>
                  <a:pt x="83" y="22"/>
                  <a:pt x="87" y="16"/>
                  <a:pt x="92" y="11"/>
                </a:cubicBezTo>
                <a:cubicBezTo>
                  <a:pt x="94" y="10"/>
                  <a:pt x="95" y="7"/>
                  <a:pt x="97" y="6"/>
                </a:cubicBezTo>
                <a:cubicBezTo>
                  <a:pt x="102" y="4"/>
                  <a:pt x="108" y="2"/>
                  <a:pt x="113" y="0"/>
                </a:cubicBezTo>
                <a:cubicBezTo>
                  <a:pt x="114" y="5"/>
                  <a:pt x="116" y="10"/>
                  <a:pt x="117" y="15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26" name="Freeform 33">
            <a:extLst>
              <a:ext uri="{FF2B5EF4-FFF2-40B4-BE49-F238E27FC236}">
                <a16:creationId xmlns:a16="http://schemas.microsoft.com/office/drawing/2014/main" id="{7836A3F6-61E9-407E-928C-36542D00E56D}"/>
              </a:ext>
            </a:extLst>
          </p:cNvPr>
          <p:cNvSpPr>
            <a:spLocks/>
          </p:cNvSpPr>
          <p:nvPr userDrawn="1"/>
        </p:nvSpPr>
        <p:spPr bwMode="auto">
          <a:xfrm>
            <a:off x="7747000" y="1192213"/>
            <a:ext cx="280988" cy="422275"/>
          </a:xfrm>
          <a:custGeom>
            <a:avLst/>
            <a:gdLst>
              <a:gd name="T0" fmla="*/ 9 w 119"/>
              <a:gd name="T1" fmla="*/ 133 h 178"/>
              <a:gd name="T2" fmla="*/ 9 w 119"/>
              <a:gd name="T3" fmla="*/ 87 h 178"/>
              <a:gd name="T4" fmla="*/ 4 w 119"/>
              <a:gd name="T5" fmla="*/ 62 h 178"/>
              <a:gd name="T6" fmla="*/ 15 w 119"/>
              <a:gd name="T7" fmla="*/ 42 h 178"/>
              <a:gd name="T8" fmla="*/ 21 w 119"/>
              <a:gd name="T9" fmla="*/ 36 h 178"/>
              <a:gd name="T10" fmla="*/ 32 w 119"/>
              <a:gd name="T11" fmla="*/ 25 h 178"/>
              <a:gd name="T12" fmla="*/ 46 w 119"/>
              <a:gd name="T13" fmla="*/ 10 h 178"/>
              <a:gd name="T14" fmla="*/ 58 w 119"/>
              <a:gd name="T15" fmla="*/ 3 h 178"/>
              <a:gd name="T16" fmla="*/ 114 w 119"/>
              <a:gd name="T17" fmla="*/ 21 h 178"/>
              <a:gd name="T18" fmla="*/ 119 w 119"/>
              <a:gd name="T19" fmla="*/ 24 h 178"/>
              <a:gd name="T20" fmla="*/ 114 w 119"/>
              <a:gd name="T21" fmla="*/ 25 h 178"/>
              <a:gd name="T22" fmla="*/ 84 w 119"/>
              <a:gd name="T23" fmla="*/ 15 h 178"/>
              <a:gd name="T24" fmla="*/ 47 w 119"/>
              <a:gd name="T25" fmla="*/ 24 h 178"/>
              <a:gd name="T26" fmla="*/ 42 w 119"/>
              <a:gd name="T27" fmla="*/ 32 h 178"/>
              <a:gd name="T28" fmla="*/ 33 w 119"/>
              <a:gd name="T29" fmla="*/ 52 h 178"/>
              <a:gd name="T30" fmla="*/ 46 w 119"/>
              <a:gd name="T31" fmla="*/ 77 h 178"/>
              <a:gd name="T32" fmla="*/ 53 w 119"/>
              <a:gd name="T33" fmla="*/ 77 h 178"/>
              <a:gd name="T34" fmla="*/ 57 w 119"/>
              <a:gd name="T35" fmla="*/ 79 h 178"/>
              <a:gd name="T36" fmla="*/ 53 w 119"/>
              <a:gd name="T37" fmla="*/ 83 h 178"/>
              <a:gd name="T38" fmla="*/ 41 w 119"/>
              <a:gd name="T39" fmla="*/ 105 h 178"/>
              <a:gd name="T40" fmla="*/ 43 w 119"/>
              <a:gd name="T41" fmla="*/ 136 h 178"/>
              <a:gd name="T42" fmla="*/ 51 w 119"/>
              <a:gd name="T43" fmla="*/ 174 h 178"/>
              <a:gd name="T44" fmla="*/ 51 w 119"/>
              <a:gd name="T45" fmla="*/ 178 h 178"/>
              <a:gd name="T46" fmla="*/ 49 w 119"/>
              <a:gd name="T47" fmla="*/ 177 h 178"/>
              <a:gd name="T48" fmla="*/ 15 w 119"/>
              <a:gd name="T49" fmla="*/ 155 h 178"/>
              <a:gd name="T50" fmla="*/ 9 w 119"/>
              <a:gd name="T51" fmla="*/ 133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9" h="178">
                <a:moveTo>
                  <a:pt x="9" y="133"/>
                </a:moveTo>
                <a:cubicBezTo>
                  <a:pt x="9" y="118"/>
                  <a:pt x="10" y="103"/>
                  <a:pt x="9" y="87"/>
                </a:cubicBezTo>
                <a:cubicBezTo>
                  <a:pt x="9" y="79"/>
                  <a:pt x="6" y="70"/>
                  <a:pt x="4" y="62"/>
                </a:cubicBezTo>
                <a:cubicBezTo>
                  <a:pt x="0" y="49"/>
                  <a:pt x="2" y="45"/>
                  <a:pt x="15" y="42"/>
                </a:cubicBezTo>
                <a:cubicBezTo>
                  <a:pt x="18" y="41"/>
                  <a:pt x="21" y="38"/>
                  <a:pt x="21" y="36"/>
                </a:cubicBezTo>
                <a:cubicBezTo>
                  <a:pt x="22" y="29"/>
                  <a:pt x="24" y="25"/>
                  <a:pt x="32" y="25"/>
                </a:cubicBezTo>
                <a:cubicBezTo>
                  <a:pt x="40" y="24"/>
                  <a:pt x="45" y="18"/>
                  <a:pt x="46" y="10"/>
                </a:cubicBezTo>
                <a:cubicBezTo>
                  <a:pt x="46" y="1"/>
                  <a:pt x="51" y="0"/>
                  <a:pt x="58" y="3"/>
                </a:cubicBezTo>
                <a:cubicBezTo>
                  <a:pt x="77" y="9"/>
                  <a:pt x="95" y="15"/>
                  <a:pt x="114" y="21"/>
                </a:cubicBezTo>
                <a:cubicBezTo>
                  <a:pt x="116" y="22"/>
                  <a:pt x="117" y="23"/>
                  <a:pt x="119" y="24"/>
                </a:cubicBezTo>
                <a:cubicBezTo>
                  <a:pt x="117" y="24"/>
                  <a:pt x="115" y="25"/>
                  <a:pt x="114" y="25"/>
                </a:cubicBezTo>
                <a:cubicBezTo>
                  <a:pt x="104" y="22"/>
                  <a:pt x="93" y="19"/>
                  <a:pt x="84" y="15"/>
                </a:cubicBezTo>
                <a:cubicBezTo>
                  <a:pt x="69" y="10"/>
                  <a:pt x="57" y="13"/>
                  <a:pt x="47" y="24"/>
                </a:cubicBezTo>
                <a:cubicBezTo>
                  <a:pt x="45" y="27"/>
                  <a:pt x="44" y="29"/>
                  <a:pt x="42" y="32"/>
                </a:cubicBezTo>
                <a:cubicBezTo>
                  <a:pt x="39" y="39"/>
                  <a:pt x="37" y="46"/>
                  <a:pt x="33" y="52"/>
                </a:cubicBezTo>
                <a:cubicBezTo>
                  <a:pt x="27" y="65"/>
                  <a:pt x="32" y="75"/>
                  <a:pt x="46" y="77"/>
                </a:cubicBezTo>
                <a:cubicBezTo>
                  <a:pt x="48" y="78"/>
                  <a:pt x="50" y="77"/>
                  <a:pt x="53" y="77"/>
                </a:cubicBezTo>
                <a:cubicBezTo>
                  <a:pt x="54" y="78"/>
                  <a:pt x="56" y="78"/>
                  <a:pt x="57" y="79"/>
                </a:cubicBezTo>
                <a:cubicBezTo>
                  <a:pt x="56" y="81"/>
                  <a:pt x="55" y="82"/>
                  <a:pt x="53" y="83"/>
                </a:cubicBezTo>
                <a:cubicBezTo>
                  <a:pt x="43" y="88"/>
                  <a:pt x="40" y="93"/>
                  <a:pt x="41" y="105"/>
                </a:cubicBezTo>
                <a:cubicBezTo>
                  <a:pt x="42" y="115"/>
                  <a:pt x="43" y="125"/>
                  <a:pt x="43" y="136"/>
                </a:cubicBezTo>
                <a:cubicBezTo>
                  <a:pt x="42" y="149"/>
                  <a:pt x="44" y="162"/>
                  <a:pt x="51" y="174"/>
                </a:cubicBezTo>
                <a:cubicBezTo>
                  <a:pt x="51" y="175"/>
                  <a:pt x="51" y="177"/>
                  <a:pt x="51" y="178"/>
                </a:cubicBezTo>
                <a:cubicBezTo>
                  <a:pt x="50" y="178"/>
                  <a:pt x="49" y="178"/>
                  <a:pt x="49" y="177"/>
                </a:cubicBezTo>
                <a:cubicBezTo>
                  <a:pt x="37" y="170"/>
                  <a:pt x="26" y="163"/>
                  <a:pt x="15" y="155"/>
                </a:cubicBezTo>
                <a:cubicBezTo>
                  <a:pt x="8" y="150"/>
                  <a:pt x="6" y="142"/>
                  <a:pt x="9" y="133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27" name="Freeform 34">
            <a:extLst>
              <a:ext uri="{FF2B5EF4-FFF2-40B4-BE49-F238E27FC236}">
                <a16:creationId xmlns:a16="http://schemas.microsoft.com/office/drawing/2014/main" id="{8F4941D6-3EC6-4C32-9C27-FB8B491FE721}"/>
              </a:ext>
            </a:extLst>
          </p:cNvPr>
          <p:cNvSpPr>
            <a:spLocks/>
          </p:cNvSpPr>
          <p:nvPr userDrawn="1"/>
        </p:nvSpPr>
        <p:spPr bwMode="auto">
          <a:xfrm>
            <a:off x="10066338" y="2665413"/>
            <a:ext cx="287338" cy="209550"/>
          </a:xfrm>
          <a:custGeom>
            <a:avLst/>
            <a:gdLst>
              <a:gd name="T0" fmla="*/ 4 w 121"/>
              <a:gd name="T1" fmla="*/ 81 h 88"/>
              <a:gd name="T2" fmla="*/ 11 w 121"/>
              <a:gd name="T3" fmla="*/ 73 h 88"/>
              <a:gd name="T4" fmla="*/ 12 w 121"/>
              <a:gd name="T5" fmla="*/ 59 h 88"/>
              <a:gd name="T6" fmla="*/ 8 w 121"/>
              <a:gd name="T7" fmla="*/ 45 h 88"/>
              <a:gd name="T8" fmla="*/ 1 w 121"/>
              <a:gd name="T9" fmla="*/ 15 h 88"/>
              <a:gd name="T10" fmla="*/ 0 w 121"/>
              <a:gd name="T11" fmla="*/ 12 h 88"/>
              <a:gd name="T12" fmla="*/ 5 w 121"/>
              <a:gd name="T13" fmla="*/ 10 h 88"/>
              <a:gd name="T14" fmla="*/ 10 w 121"/>
              <a:gd name="T15" fmla="*/ 12 h 88"/>
              <a:gd name="T16" fmla="*/ 28 w 121"/>
              <a:gd name="T17" fmla="*/ 9 h 88"/>
              <a:gd name="T18" fmla="*/ 32 w 121"/>
              <a:gd name="T19" fmla="*/ 6 h 88"/>
              <a:gd name="T20" fmla="*/ 48 w 121"/>
              <a:gd name="T21" fmla="*/ 8 h 88"/>
              <a:gd name="T22" fmla="*/ 77 w 121"/>
              <a:gd name="T23" fmla="*/ 30 h 88"/>
              <a:gd name="T24" fmla="*/ 92 w 121"/>
              <a:gd name="T25" fmla="*/ 31 h 88"/>
              <a:gd name="T26" fmla="*/ 102 w 121"/>
              <a:gd name="T27" fmla="*/ 33 h 88"/>
              <a:gd name="T28" fmla="*/ 120 w 121"/>
              <a:gd name="T29" fmla="*/ 44 h 88"/>
              <a:gd name="T30" fmla="*/ 110 w 121"/>
              <a:gd name="T31" fmla="*/ 70 h 88"/>
              <a:gd name="T32" fmla="*/ 100 w 121"/>
              <a:gd name="T33" fmla="*/ 83 h 88"/>
              <a:gd name="T34" fmla="*/ 90 w 121"/>
              <a:gd name="T35" fmla="*/ 87 h 88"/>
              <a:gd name="T36" fmla="*/ 77 w 121"/>
              <a:gd name="T37" fmla="*/ 71 h 88"/>
              <a:gd name="T38" fmla="*/ 66 w 121"/>
              <a:gd name="T39" fmla="*/ 57 h 88"/>
              <a:gd name="T40" fmla="*/ 59 w 121"/>
              <a:gd name="T41" fmla="*/ 55 h 88"/>
              <a:gd name="T42" fmla="*/ 51 w 121"/>
              <a:gd name="T43" fmla="*/ 62 h 88"/>
              <a:gd name="T44" fmla="*/ 38 w 121"/>
              <a:gd name="T45" fmla="*/ 54 h 88"/>
              <a:gd name="T46" fmla="*/ 26 w 121"/>
              <a:gd name="T47" fmla="*/ 44 h 88"/>
              <a:gd name="T48" fmla="*/ 24 w 121"/>
              <a:gd name="T49" fmla="*/ 42 h 88"/>
              <a:gd name="T50" fmla="*/ 16 w 121"/>
              <a:gd name="T51" fmla="*/ 42 h 88"/>
              <a:gd name="T52" fmla="*/ 14 w 121"/>
              <a:gd name="T53" fmla="*/ 52 h 88"/>
              <a:gd name="T54" fmla="*/ 21 w 121"/>
              <a:gd name="T55" fmla="*/ 67 h 88"/>
              <a:gd name="T56" fmla="*/ 5 w 121"/>
              <a:gd name="T57" fmla="*/ 81 h 88"/>
              <a:gd name="T58" fmla="*/ 4 w 121"/>
              <a:gd name="T59" fmla="*/ 81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1" h="88">
                <a:moveTo>
                  <a:pt x="4" y="81"/>
                </a:moveTo>
                <a:cubicBezTo>
                  <a:pt x="6" y="79"/>
                  <a:pt x="9" y="75"/>
                  <a:pt x="11" y="73"/>
                </a:cubicBezTo>
                <a:cubicBezTo>
                  <a:pt x="17" y="69"/>
                  <a:pt x="16" y="65"/>
                  <a:pt x="12" y="59"/>
                </a:cubicBezTo>
                <a:cubicBezTo>
                  <a:pt x="9" y="56"/>
                  <a:pt x="8" y="50"/>
                  <a:pt x="8" y="45"/>
                </a:cubicBezTo>
                <a:cubicBezTo>
                  <a:pt x="7" y="35"/>
                  <a:pt x="9" y="24"/>
                  <a:pt x="1" y="15"/>
                </a:cubicBezTo>
                <a:cubicBezTo>
                  <a:pt x="0" y="14"/>
                  <a:pt x="0" y="12"/>
                  <a:pt x="0" y="12"/>
                </a:cubicBezTo>
                <a:cubicBezTo>
                  <a:pt x="2" y="11"/>
                  <a:pt x="3" y="10"/>
                  <a:pt x="5" y="10"/>
                </a:cubicBezTo>
                <a:cubicBezTo>
                  <a:pt x="7" y="11"/>
                  <a:pt x="9" y="11"/>
                  <a:pt x="10" y="12"/>
                </a:cubicBezTo>
                <a:cubicBezTo>
                  <a:pt x="17" y="18"/>
                  <a:pt x="23" y="15"/>
                  <a:pt x="28" y="9"/>
                </a:cubicBezTo>
                <a:cubicBezTo>
                  <a:pt x="29" y="8"/>
                  <a:pt x="31" y="7"/>
                  <a:pt x="32" y="6"/>
                </a:cubicBezTo>
                <a:cubicBezTo>
                  <a:pt x="38" y="0"/>
                  <a:pt x="43" y="1"/>
                  <a:pt x="48" y="8"/>
                </a:cubicBezTo>
                <a:cubicBezTo>
                  <a:pt x="55" y="19"/>
                  <a:pt x="63" y="28"/>
                  <a:pt x="77" y="30"/>
                </a:cubicBezTo>
                <a:cubicBezTo>
                  <a:pt x="82" y="31"/>
                  <a:pt x="87" y="31"/>
                  <a:pt x="92" y="31"/>
                </a:cubicBezTo>
                <a:cubicBezTo>
                  <a:pt x="95" y="31"/>
                  <a:pt x="99" y="31"/>
                  <a:pt x="102" y="33"/>
                </a:cubicBezTo>
                <a:cubicBezTo>
                  <a:pt x="108" y="36"/>
                  <a:pt x="119" y="34"/>
                  <a:pt x="120" y="44"/>
                </a:cubicBezTo>
                <a:cubicBezTo>
                  <a:pt x="121" y="54"/>
                  <a:pt x="118" y="63"/>
                  <a:pt x="110" y="70"/>
                </a:cubicBezTo>
                <a:cubicBezTo>
                  <a:pt x="105" y="74"/>
                  <a:pt x="101" y="76"/>
                  <a:pt x="100" y="83"/>
                </a:cubicBezTo>
                <a:cubicBezTo>
                  <a:pt x="99" y="85"/>
                  <a:pt x="93" y="88"/>
                  <a:pt x="90" y="87"/>
                </a:cubicBezTo>
                <a:cubicBezTo>
                  <a:pt x="83" y="84"/>
                  <a:pt x="80" y="78"/>
                  <a:pt x="77" y="71"/>
                </a:cubicBezTo>
                <a:cubicBezTo>
                  <a:pt x="75" y="66"/>
                  <a:pt x="70" y="61"/>
                  <a:pt x="66" y="57"/>
                </a:cubicBezTo>
                <a:cubicBezTo>
                  <a:pt x="65" y="55"/>
                  <a:pt x="62" y="56"/>
                  <a:pt x="59" y="55"/>
                </a:cubicBezTo>
                <a:cubicBezTo>
                  <a:pt x="54" y="54"/>
                  <a:pt x="54" y="65"/>
                  <a:pt x="51" y="62"/>
                </a:cubicBezTo>
                <a:cubicBezTo>
                  <a:pt x="47" y="56"/>
                  <a:pt x="42" y="56"/>
                  <a:pt x="38" y="54"/>
                </a:cubicBezTo>
                <a:cubicBezTo>
                  <a:pt x="33" y="52"/>
                  <a:pt x="30" y="47"/>
                  <a:pt x="26" y="44"/>
                </a:cubicBezTo>
                <a:cubicBezTo>
                  <a:pt x="25" y="44"/>
                  <a:pt x="25" y="42"/>
                  <a:pt x="24" y="42"/>
                </a:cubicBezTo>
                <a:cubicBezTo>
                  <a:pt x="21" y="42"/>
                  <a:pt x="16" y="41"/>
                  <a:pt x="16" y="42"/>
                </a:cubicBezTo>
                <a:cubicBezTo>
                  <a:pt x="14" y="45"/>
                  <a:pt x="13" y="49"/>
                  <a:pt x="14" y="52"/>
                </a:cubicBezTo>
                <a:cubicBezTo>
                  <a:pt x="16" y="57"/>
                  <a:pt x="23" y="64"/>
                  <a:pt x="21" y="67"/>
                </a:cubicBezTo>
                <a:cubicBezTo>
                  <a:pt x="18" y="73"/>
                  <a:pt x="11" y="76"/>
                  <a:pt x="5" y="81"/>
                </a:cubicBezTo>
                <a:cubicBezTo>
                  <a:pt x="5" y="81"/>
                  <a:pt x="4" y="81"/>
                  <a:pt x="4" y="81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28" name="Freeform 35">
            <a:extLst>
              <a:ext uri="{FF2B5EF4-FFF2-40B4-BE49-F238E27FC236}">
                <a16:creationId xmlns:a16="http://schemas.microsoft.com/office/drawing/2014/main" id="{7836143C-77E7-44DF-80E0-22D84FF9AE9C}"/>
              </a:ext>
            </a:extLst>
          </p:cNvPr>
          <p:cNvSpPr>
            <a:spLocks/>
          </p:cNvSpPr>
          <p:nvPr userDrawn="1"/>
        </p:nvSpPr>
        <p:spPr bwMode="auto">
          <a:xfrm>
            <a:off x="10602913" y="3154363"/>
            <a:ext cx="190500" cy="255588"/>
          </a:xfrm>
          <a:custGeom>
            <a:avLst/>
            <a:gdLst>
              <a:gd name="T0" fmla="*/ 80 w 80"/>
              <a:gd name="T1" fmla="*/ 22 h 108"/>
              <a:gd name="T2" fmla="*/ 66 w 80"/>
              <a:gd name="T3" fmla="*/ 50 h 108"/>
              <a:gd name="T4" fmla="*/ 60 w 80"/>
              <a:gd name="T5" fmla="*/ 51 h 108"/>
              <a:gd name="T6" fmla="*/ 53 w 80"/>
              <a:gd name="T7" fmla="*/ 58 h 108"/>
              <a:gd name="T8" fmla="*/ 47 w 80"/>
              <a:gd name="T9" fmla="*/ 76 h 108"/>
              <a:gd name="T10" fmla="*/ 44 w 80"/>
              <a:gd name="T11" fmla="*/ 95 h 108"/>
              <a:gd name="T12" fmla="*/ 39 w 80"/>
              <a:gd name="T13" fmla="*/ 107 h 108"/>
              <a:gd name="T14" fmla="*/ 35 w 80"/>
              <a:gd name="T15" fmla="*/ 108 h 108"/>
              <a:gd name="T16" fmla="*/ 12 w 80"/>
              <a:gd name="T17" fmla="*/ 87 h 108"/>
              <a:gd name="T18" fmla="*/ 3 w 80"/>
              <a:gd name="T19" fmla="*/ 60 h 108"/>
              <a:gd name="T20" fmla="*/ 24 w 80"/>
              <a:gd name="T21" fmla="*/ 28 h 108"/>
              <a:gd name="T22" fmla="*/ 36 w 80"/>
              <a:gd name="T23" fmla="*/ 21 h 108"/>
              <a:gd name="T24" fmla="*/ 52 w 80"/>
              <a:gd name="T25" fmla="*/ 14 h 108"/>
              <a:gd name="T26" fmla="*/ 66 w 80"/>
              <a:gd name="T27" fmla="*/ 2 h 108"/>
              <a:gd name="T28" fmla="*/ 70 w 80"/>
              <a:gd name="T29" fmla="*/ 1 h 108"/>
              <a:gd name="T30" fmla="*/ 80 w 80"/>
              <a:gd name="T31" fmla="*/ 22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0" h="108">
                <a:moveTo>
                  <a:pt x="80" y="22"/>
                </a:moveTo>
                <a:cubicBezTo>
                  <a:pt x="80" y="36"/>
                  <a:pt x="77" y="45"/>
                  <a:pt x="66" y="50"/>
                </a:cubicBezTo>
                <a:cubicBezTo>
                  <a:pt x="64" y="51"/>
                  <a:pt x="61" y="51"/>
                  <a:pt x="60" y="51"/>
                </a:cubicBezTo>
                <a:cubicBezTo>
                  <a:pt x="52" y="48"/>
                  <a:pt x="51" y="53"/>
                  <a:pt x="53" y="58"/>
                </a:cubicBezTo>
                <a:cubicBezTo>
                  <a:pt x="56" y="66"/>
                  <a:pt x="54" y="71"/>
                  <a:pt x="47" y="76"/>
                </a:cubicBezTo>
                <a:cubicBezTo>
                  <a:pt x="41" y="80"/>
                  <a:pt x="40" y="88"/>
                  <a:pt x="44" y="95"/>
                </a:cubicBezTo>
                <a:cubicBezTo>
                  <a:pt x="47" y="101"/>
                  <a:pt x="44" y="104"/>
                  <a:pt x="39" y="107"/>
                </a:cubicBezTo>
                <a:cubicBezTo>
                  <a:pt x="38" y="107"/>
                  <a:pt x="36" y="107"/>
                  <a:pt x="35" y="108"/>
                </a:cubicBezTo>
                <a:cubicBezTo>
                  <a:pt x="32" y="96"/>
                  <a:pt x="15" y="100"/>
                  <a:pt x="12" y="87"/>
                </a:cubicBezTo>
                <a:cubicBezTo>
                  <a:pt x="10" y="77"/>
                  <a:pt x="6" y="69"/>
                  <a:pt x="3" y="60"/>
                </a:cubicBezTo>
                <a:cubicBezTo>
                  <a:pt x="0" y="46"/>
                  <a:pt x="10" y="32"/>
                  <a:pt x="24" y="28"/>
                </a:cubicBezTo>
                <a:cubicBezTo>
                  <a:pt x="28" y="27"/>
                  <a:pt x="32" y="23"/>
                  <a:pt x="36" y="21"/>
                </a:cubicBezTo>
                <a:cubicBezTo>
                  <a:pt x="41" y="18"/>
                  <a:pt x="49" y="18"/>
                  <a:pt x="52" y="14"/>
                </a:cubicBezTo>
                <a:cubicBezTo>
                  <a:pt x="56" y="8"/>
                  <a:pt x="59" y="3"/>
                  <a:pt x="66" y="2"/>
                </a:cubicBezTo>
                <a:cubicBezTo>
                  <a:pt x="67" y="1"/>
                  <a:pt x="70" y="0"/>
                  <a:pt x="70" y="1"/>
                </a:cubicBezTo>
                <a:cubicBezTo>
                  <a:pt x="74" y="9"/>
                  <a:pt x="78" y="17"/>
                  <a:pt x="80" y="2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0" name="Freeform 36">
            <a:extLst>
              <a:ext uri="{FF2B5EF4-FFF2-40B4-BE49-F238E27FC236}">
                <a16:creationId xmlns:a16="http://schemas.microsoft.com/office/drawing/2014/main" id="{D4222B42-76D2-44F8-9C40-EB7121684382}"/>
              </a:ext>
            </a:extLst>
          </p:cNvPr>
          <p:cNvSpPr>
            <a:spLocks/>
          </p:cNvSpPr>
          <p:nvPr userDrawn="1"/>
        </p:nvSpPr>
        <p:spPr bwMode="auto">
          <a:xfrm>
            <a:off x="10055225" y="2514600"/>
            <a:ext cx="123825" cy="177800"/>
          </a:xfrm>
          <a:custGeom>
            <a:avLst/>
            <a:gdLst>
              <a:gd name="T0" fmla="*/ 52 w 52"/>
              <a:gd name="T1" fmla="*/ 26 h 75"/>
              <a:gd name="T2" fmla="*/ 43 w 52"/>
              <a:gd name="T3" fmla="*/ 58 h 75"/>
              <a:gd name="T4" fmla="*/ 24 w 52"/>
              <a:gd name="T5" fmla="*/ 73 h 75"/>
              <a:gd name="T6" fmla="*/ 3 w 52"/>
              <a:gd name="T7" fmla="*/ 68 h 75"/>
              <a:gd name="T8" fmla="*/ 1 w 52"/>
              <a:gd name="T9" fmla="*/ 64 h 75"/>
              <a:gd name="T10" fmla="*/ 2 w 52"/>
              <a:gd name="T11" fmla="*/ 38 h 75"/>
              <a:gd name="T12" fmla="*/ 10 w 52"/>
              <a:gd name="T13" fmla="*/ 15 h 75"/>
              <a:gd name="T14" fmla="*/ 17 w 52"/>
              <a:gd name="T15" fmla="*/ 11 h 75"/>
              <a:gd name="T16" fmla="*/ 33 w 52"/>
              <a:gd name="T17" fmla="*/ 4 h 75"/>
              <a:gd name="T18" fmla="*/ 49 w 52"/>
              <a:gd name="T19" fmla="*/ 12 h 75"/>
              <a:gd name="T20" fmla="*/ 50 w 52"/>
              <a:gd name="T21" fmla="*/ 26 h 75"/>
              <a:gd name="T22" fmla="*/ 52 w 52"/>
              <a:gd name="T23" fmla="*/ 2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2" h="75">
                <a:moveTo>
                  <a:pt x="52" y="26"/>
                </a:moveTo>
                <a:cubicBezTo>
                  <a:pt x="49" y="37"/>
                  <a:pt x="48" y="48"/>
                  <a:pt x="43" y="58"/>
                </a:cubicBezTo>
                <a:cubicBezTo>
                  <a:pt x="39" y="64"/>
                  <a:pt x="32" y="71"/>
                  <a:pt x="24" y="73"/>
                </a:cubicBezTo>
                <a:cubicBezTo>
                  <a:pt x="18" y="75"/>
                  <a:pt x="10" y="70"/>
                  <a:pt x="3" y="68"/>
                </a:cubicBezTo>
                <a:cubicBezTo>
                  <a:pt x="2" y="68"/>
                  <a:pt x="1" y="65"/>
                  <a:pt x="1" y="64"/>
                </a:cubicBezTo>
                <a:cubicBezTo>
                  <a:pt x="1" y="55"/>
                  <a:pt x="0" y="46"/>
                  <a:pt x="2" y="38"/>
                </a:cubicBezTo>
                <a:cubicBezTo>
                  <a:pt x="4" y="30"/>
                  <a:pt x="11" y="24"/>
                  <a:pt x="10" y="15"/>
                </a:cubicBezTo>
                <a:cubicBezTo>
                  <a:pt x="10" y="14"/>
                  <a:pt x="15" y="12"/>
                  <a:pt x="17" y="11"/>
                </a:cubicBezTo>
                <a:cubicBezTo>
                  <a:pt x="22" y="8"/>
                  <a:pt x="28" y="6"/>
                  <a:pt x="33" y="4"/>
                </a:cubicBezTo>
                <a:cubicBezTo>
                  <a:pt x="42" y="0"/>
                  <a:pt x="47" y="3"/>
                  <a:pt x="49" y="12"/>
                </a:cubicBezTo>
                <a:cubicBezTo>
                  <a:pt x="50" y="17"/>
                  <a:pt x="50" y="21"/>
                  <a:pt x="50" y="26"/>
                </a:cubicBezTo>
                <a:cubicBezTo>
                  <a:pt x="51" y="26"/>
                  <a:pt x="51" y="26"/>
                  <a:pt x="52" y="26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1" name="Freeform 37">
            <a:extLst>
              <a:ext uri="{FF2B5EF4-FFF2-40B4-BE49-F238E27FC236}">
                <a16:creationId xmlns:a16="http://schemas.microsoft.com/office/drawing/2014/main" id="{CB1E8A4E-841E-4A9F-AF97-6D1DFE71F9A7}"/>
              </a:ext>
            </a:extLst>
          </p:cNvPr>
          <p:cNvSpPr>
            <a:spLocks/>
          </p:cNvSpPr>
          <p:nvPr userDrawn="1"/>
        </p:nvSpPr>
        <p:spPr bwMode="auto">
          <a:xfrm>
            <a:off x="8145463" y="976313"/>
            <a:ext cx="222250" cy="163513"/>
          </a:xfrm>
          <a:custGeom>
            <a:avLst/>
            <a:gdLst>
              <a:gd name="T0" fmla="*/ 54 w 94"/>
              <a:gd name="T1" fmla="*/ 30 h 69"/>
              <a:gd name="T2" fmla="*/ 66 w 94"/>
              <a:gd name="T3" fmla="*/ 48 h 69"/>
              <a:gd name="T4" fmla="*/ 83 w 94"/>
              <a:gd name="T5" fmla="*/ 53 h 69"/>
              <a:gd name="T6" fmla="*/ 92 w 94"/>
              <a:gd name="T7" fmla="*/ 59 h 69"/>
              <a:gd name="T8" fmla="*/ 93 w 94"/>
              <a:gd name="T9" fmla="*/ 66 h 69"/>
              <a:gd name="T10" fmla="*/ 87 w 94"/>
              <a:gd name="T11" fmla="*/ 68 h 69"/>
              <a:gd name="T12" fmla="*/ 50 w 94"/>
              <a:gd name="T13" fmla="*/ 44 h 69"/>
              <a:gd name="T14" fmla="*/ 38 w 94"/>
              <a:gd name="T15" fmla="*/ 40 h 69"/>
              <a:gd name="T16" fmla="*/ 21 w 94"/>
              <a:gd name="T17" fmla="*/ 36 h 69"/>
              <a:gd name="T18" fmla="*/ 5 w 94"/>
              <a:gd name="T19" fmla="*/ 22 h 69"/>
              <a:gd name="T20" fmla="*/ 3 w 94"/>
              <a:gd name="T21" fmla="*/ 10 h 69"/>
              <a:gd name="T22" fmla="*/ 23 w 94"/>
              <a:gd name="T23" fmla="*/ 2 h 69"/>
              <a:gd name="T24" fmla="*/ 37 w 94"/>
              <a:gd name="T25" fmla="*/ 12 h 69"/>
              <a:gd name="T26" fmla="*/ 48 w 94"/>
              <a:gd name="T27" fmla="*/ 21 h 69"/>
              <a:gd name="T28" fmla="*/ 54 w 94"/>
              <a:gd name="T29" fmla="*/ 3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4" h="69">
                <a:moveTo>
                  <a:pt x="54" y="30"/>
                </a:moveTo>
                <a:cubicBezTo>
                  <a:pt x="51" y="42"/>
                  <a:pt x="59" y="45"/>
                  <a:pt x="66" y="48"/>
                </a:cubicBezTo>
                <a:cubicBezTo>
                  <a:pt x="71" y="51"/>
                  <a:pt x="77" y="51"/>
                  <a:pt x="83" y="53"/>
                </a:cubicBezTo>
                <a:cubicBezTo>
                  <a:pt x="86" y="54"/>
                  <a:pt x="89" y="56"/>
                  <a:pt x="92" y="59"/>
                </a:cubicBezTo>
                <a:cubicBezTo>
                  <a:pt x="93" y="60"/>
                  <a:pt x="94" y="64"/>
                  <a:pt x="93" y="66"/>
                </a:cubicBezTo>
                <a:cubicBezTo>
                  <a:pt x="93" y="67"/>
                  <a:pt x="90" y="68"/>
                  <a:pt x="87" y="68"/>
                </a:cubicBezTo>
                <a:cubicBezTo>
                  <a:pt x="75" y="69"/>
                  <a:pt x="55" y="56"/>
                  <a:pt x="50" y="44"/>
                </a:cubicBezTo>
                <a:cubicBezTo>
                  <a:pt x="48" y="39"/>
                  <a:pt x="45" y="34"/>
                  <a:pt x="38" y="40"/>
                </a:cubicBezTo>
                <a:cubicBezTo>
                  <a:pt x="31" y="47"/>
                  <a:pt x="27" y="44"/>
                  <a:pt x="21" y="36"/>
                </a:cubicBezTo>
                <a:cubicBezTo>
                  <a:pt x="17" y="31"/>
                  <a:pt x="11" y="26"/>
                  <a:pt x="5" y="22"/>
                </a:cubicBezTo>
                <a:cubicBezTo>
                  <a:pt x="1" y="18"/>
                  <a:pt x="0" y="15"/>
                  <a:pt x="3" y="10"/>
                </a:cubicBezTo>
                <a:cubicBezTo>
                  <a:pt x="8" y="2"/>
                  <a:pt x="14" y="0"/>
                  <a:pt x="23" y="2"/>
                </a:cubicBezTo>
                <a:cubicBezTo>
                  <a:pt x="30" y="3"/>
                  <a:pt x="33" y="7"/>
                  <a:pt x="37" y="12"/>
                </a:cubicBezTo>
                <a:cubicBezTo>
                  <a:pt x="39" y="16"/>
                  <a:pt x="45" y="18"/>
                  <a:pt x="48" y="21"/>
                </a:cubicBezTo>
                <a:cubicBezTo>
                  <a:pt x="51" y="24"/>
                  <a:pt x="53" y="28"/>
                  <a:pt x="54" y="3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2" name="Freeform 38">
            <a:extLst>
              <a:ext uri="{FF2B5EF4-FFF2-40B4-BE49-F238E27FC236}">
                <a16:creationId xmlns:a16="http://schemas.microsoft.com/office/drawing/2014/main" id="{B30856AD-E618-4C3C-A563-CD4261A58DE0}"/>
              </a:ext>
            </a:extLst>
          </p:cNvPr>
          <p:cNvSpPr>
            <a:spLocks/>
          </p:cNvSpPr>
          <p:nvPr userDrawn="1"/>
        </p:nvSpPr>
        <p:spPr bwMode="auto">
          <a:xfrm>
            <a:off x="7580313" y="4748213"/>
            <a:ext cx="85725" cy="147638"/>
          </a:xfrm>
          <a:custGeom>
            <a:avLst/>
            <a:gdLst>
              <a:gd name="T0" fmla="*/ 35 w 36"/>
              <a:gd name="T1" fmla="*/ 36 h 62"/>
              <a:gd name="T2" fmla="*/ 35 w 36"/>
              <a:gd name="T3" fmla="*/ 54 h 62"/>
              <a:gd name="T4" fmla="*/ 30 w 36"/>
              <a:gd name="T5" fmla="*/ 61 h 62"/>
              <a:gd name="T6" fmla="*/ 23 w 36"/>
              <a:gd name="T7" fmla="*/ 57 h 62"/>
              <a:gd name="T8" fmla="*/ 17 w 36"/>
              <a:gd name="T9" fmla="*/ 41 h 62"/>
              <a:gd name="T10" fmla="*/ 11 w 36"/>
              <a:gd name="T11" fmla="*/ 26 h 62"/>
              <a:gd name="T12" fmla="*/ 1 w 36"/>
              <a:gd name="T13" fmla="*/ 10 h 62"/>
              <a:gd name="T14" fmla="*/ 3 w 36"/>
              <a:gd name="T15" fmla="*/ 2 h 62"/>
              <a:gd name="T16" fmla="*/ 11 w 36"/>
              <a:gd name="T17" fmla="*/ 3 h 62"/>
              <a:gd name="T18" fmla="*/ 24 w 36"/>
              <a:gd name="T19" fmla="*/ 9 h 62"/>
              <a:gd name="T20" fmla="*/ 36 w 36"/>
              <a:gd name="T21" fmla="*/ 21 h 62"/>
              <a:gd name="T22" fmla="*/ 36 w 36"/>
              <a:gd name="T23" fmla="*/ 36 h 62"/>
              <a:gd name="T24" fmla="*/ 35 w 36"/>
              <a:gd name="T25" fmla="*/ 36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6" h="62">
                <a:moveTo>
                  <a:pt x="35" y="36"/>
                </a:moveTo>
                <a:cubicBezTo>
                  <a:pt x="35" y="42"/>
                  <a:pt x="36" y="48"/>
                  <a:pt x="35" y="54"/>
                </a:cubicBezTo>
                <a:cubicBezTo>
                  <a:pt x="35" y="57"/>
                  <a:pt x="32" y="60"/>
                  <a:pt x="30" y="61"/>
                </a:cubicBezTo>
                <a:cubicBezTo>
                  <a:pt x="28" y="62"/>
                  <a:pt x="24" y="59"/>
                  <a:pt x="23" y="57"/>
                </a:cubicBezTo>
                <a:cubicBezTo>
                  <a:pt x="21" y="52"/>
                  <a:pt x="19" y="46"/>
                  <a:pt x="17" y="41"/>
                </a:cubicBezTo>
                <a:cubicBezTo>
                  <a:pt x="15" y="36"/>
                  <a:pt x="14" y="31"/>
                  <a:pt x="11" y="26"/>
                </a:cubicBezTo>
                <a:cubicBezTo>
                  <a:pt x="8" y="21"/>
                  <a:pt x="3" y="16"/>
                  <a:pt x="1" y="10"/>
                </a:cubicBezTo>
                <a:cubicBezTo>
                  <a:pt x="0" y="8"/>
                  <a:pt x="1" y="3"/>
                  <a:pt x="3" y="2"/>
                </a:cubicBezTo>
                <a:cubicBezTo>
                  <a:pt x="4" y="0"/>
                  <a:pt x="10" y="1"/>
                  <a:pt x="11" y="3"/>
                </a:cubicBezTo>
                <a:cubicBezTo>
                  <a:pt x="14" y="8"/>
                  <a:pt x="18" y="9"/>
                  <a:pt x="24" y="9"/>
                </a:cubicBezTo>
                <a:cubicBezTo>
                  <a:pt x="34" y="9"/>
                  <a:pt x="36" y="11"/>
                  <a:pt x="36" y="21"/>
                </a:cubicBezTo>
                <a:cubicBezTo>
                  <a:pt x="36" y="26"/>
                  <a:pt x="36" y="31"/>
                  <a:pt x="36" y="36"/>
                </a:cubicBezTo>
                <a:cubicBezTo>
                  <a:pt x="36" y="36"/>
                  <a:pt x="36" y="36"/>
                  <a:pt x="35" y="36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3" name="Freeform 39">
            <a:extLst>
              <a:ext uri="{FF2B5EF4-FFF2-40B4-BE49-F238E27FC236}">
                <a16:creationId xmlns:a16="http://schemas.microsoft.com/office/drawing/2014/main" id="{894EE53E-A602-4D29-865E-AF5E607EF24C}"/>
              </a:ext>
            </a:extLst>
          </p:cNvPr>
          <p:cNvSpPr>
            <a:spLocks/>
          </p:cNvSpPr>
          <p:nvPr userDrawn="1"/>
        </p:nvSpPr>
        <p:spPr bwMode="auto">
          <a:xfrm>
            <a:off x="8218488" y="2376488"/>
            <a:ext cx="76200" cy="65088"/>
          </a:xfrm>
          <a:custGeom>
            <a:avLst/>
            <a:gdLst>
              <a:gd name="T0" fmla="*/ 32 w 32"/>
              <a:gd name="T1" fmla="*/ 18 h 27"/>
              <a:gd name="T2" fmla="*/ 21 w 32"/>
              <a:gd name="T3" fmla="*/ 25 h 27"/>
              <a:gd name="T4" fmla="*/ 10 w 32"/>
              <a:gd name="T5" fmla="*/ 21 h 27"/>
              <a:gd name="T6" fmla="*/ 3 w 32"/>
              <a:gd name="T7" fmla="*/ 11 h 27"/>
              <a:gd name="T8" fmla="*/ 21 w 32"/>
              <a:gd name="T9" fmla="*/ 1 h 27"/>
              <a:gd name="T10" fmla="*/ 32 w 32"/>
              <a:gd name="T11" fmla="*/ 1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2" h="27">
                <a:moveTo>
                  <a:pt x="32" y="18"/>
                </a:moveTo>
                <a:cubicBezTo>
                  <a:pt x="32" y="25"/>
                  <a:pt x="28" y="27"/>
                  <a:pt x="21" y="25"/>
                </a:cubicBezTo>
                <a:cubicBezTo>
                  <a:pt x="17" y="24"/>
                  <a:pt x="13" y="22"/>
                  <a:pt x="10" y="21"/>
                </a:cubicBezTo>
                <a:cubicBezTo>
                  <a:pt x="3" y="20"/>
                  <a:pt x="0" y="16"/>
                  <a:pt x="3" y="11"/>
                </a:cubicBezTo>
                <a:cubicBezTo>
                  <a:pt x="6" y="5"/>
                  <a:pt x="15" y="0"/>
                  <a:pt x="21" y="1"/>
                </a:cubicBezTo>
                <a:cubicBezTo>
                  <a:pt x="27" y="3"/>
                  <a:pt x="32" y="10"/>
                  <a:pt x="32" y="18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4" name="Freeform 40">
            <a:extLst>
              <a:ext uri="{FF2B5EF4-FFF2-40B4-BE49-F238E27FC236}">
                <a16:creationId xmlns:a16="http://schemas.microsoft.com/office/drawing/2014/main" id="{AAABAF2F-63AF-41CE-B404-0DBEF7A30EDE}"/>
              </a:ext>
            </a:extLst>
          </p:cNvPr>
          <p:cNvSpPr>
            <a:spLocks/>
          </p:cNvSpPr>
          <p:nvPr userDrawn="1"/>
        </p:nvSpPr>
        <p:spPr bwMode="auto">
          <a:xfrm>
            <a:off x="8640763" y="1577975"/>
            <a:ext cx="42863" cy="117475"/>
          </a:xfrm>
          <a:custGeom>
            <a:avLst/>
            <a:gdLst>
              <a:gd name="T0" fmla="*/ 8 w 18"/>
              <a:gd name="T1" fmla="*/ 6 h 49"/>
              <a:gd name="T2" fmla="*/ 14 w 18"/>
              <a:gd name="T3" fmla="*/ 30 h 49"/>
              <a:gd name="T4" fmla="*/ 13 w 18"/>
              <a:gd name="T5" fmla="*/ 45 h 49"/>
              <a:gd name="T6" fmla="*/ 5 w 18"/>
              <a:gd name="T7" fmla="*/ 49 h 49"/>
              <a:gd name="T8" fmla="*/ 5 w 18"/>
              <a:gd name="T9" fmla="*/ 42 h 49"/>
              <a:gd name="T10" fmla="*/ 4 w 18"/>
              <a:gd name="T11" fmla="*/ 30 h 49"/>
              <a:gd name="T12" fmla="*/ 2 w 18"/>
              <a:gd name="T13" fmla="*/ 5 h 49"/>
              <a:gd name="T14" fmla="*/ 4 w 18"/>
              <a:gd name="T15" fmla="*/ 0 h 49"/>
              <a:gd name="T16" fmla="*/ 8 w 18"/>
              <a:gd name="T17" fmla="*/ 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49">
                <a:moveTo>
                  <a:pt x="8" y="6"/>
                </a:moveTo>
                <a:cubicBezTo>
                  <a:pt x="0" y="16"/>
                  <a:pt x="8" y="23"/>
                  <a:pt x="14" y="30"/>
                </a:cubicBezTo>
                <a:cubicBezTo>
                  <a:pt x="18" y="35"/>
                  <a:pt x="17" y="41"/>
                  <a:pt x="13" y="45"/>
                </a:cubicBezTo>
                <a:cubicBezTo>
                  <a:pt x="11" y="47"/>
                  <a:pt x="8" y="47"/>
                  <a:pt x="5" y="49"/>
                </a:cubicBezTo>
                <a:cubicBezTo>
                  <a:pt x="5" y="46"/>
                  <a:pt x="5" y="44"/>
                  <a:pt x="5" y="42"/>
                </a:cubicBezTo>
                <a:cubicBezTo>
                  <a:pt x="5" y="38"/>
                  <a:pt x="5" y="34"/>
                  <a:pt x="4" y="30"/>
                </a:cubicBezTo>
                <a:cubicBezTo>
                  <a:pt x="4" y="22"/>
                  <a:pt x="2" y="14"/>
                  <a:pt x="2" y="5"/>
                </a:cubicBezTo>
                <a:cubicBezTo>
                  <a:pt x="2" y="4"/>
                  <a:pt x="3" y="2"/>
                  <a:pt x="4" y="0"/>
                </a:cubicBezTo>
                <a:cubicBezTo>
                  <a:pt x="5" y="2"/>
                  <a:pt x="6" y="4"/>
                  <a:pt x="8" y="6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5" name="Freeform 41">
            <a:extLst>
              <a:ext uri="{FF2B5EF4-FFF2-40B4-BE49-F238E27FC236}">
                <a16:creationId xmlns:a16="http://schemas.microsoft.com/office/drawing/2014/main" id="{36E68104-750F-415F-951C-70B93BC5BA17}"/>
              </a:ext>
            </a:extLst>
          </p:cNvPr>
          <p:cNvSpPr>
            <a:spLocks/>
          </p:cNvSpPr>
          <p:nvPr userDrawn="1"/>
        </p:nvSpPr>
        <p:spPr bwMode="auto">
          <a:xfrm>
            <a:off x="8289925" y="1130300"/>
            <a:ext cx="63500" cy="55563"/>
          </a:xfrm>
          <a:custGeom>
            <a:avLst/>
            <a:gdLst>
              <a:gd name="T0" fmla="*/ 27 w 27"/>
              <a:gd name="T1" fmla="*/ 11 h 23"/>
              <a:gd name="T2" fmla="*/ 25 w 27"/>
              <a:gd name="T3" fmla="*/ 13 h 23"/>
              <a:gd name="T4" fmla="*/ 13 w 27"/>
              <a:gd name="T5" fmla="*/ 21 h 23"/>
              <a:gd name="T6" fmla="*/ 9 w 27"/>
              <a:gd name="T7" fmla="*/ 23 h 23"/>
              <a:gd name="T8" fmla="*/ 1 w 27"/>
              <a:gd name="T9" fmla="*/ 9 h 23"/>
              <a:gd name="T10" fmla="*/ 0 w 27"/>
              <a:gd name="T11" fmla="*/ 0 h 23"/>
              <a:gd name="T12" fmla="*/ 4 w 27"/>
              <a:gd name="T13" fmla="*/ 1 h 23"/>
              <a:gd name="T14" fmla="*/ 24 w 27"/>
              <a:gd name="T15" fmla="*/ 9 h 23"/>
              <a:gd name="T16" fmla="*/ 27 w 27"/>
              <a:gd name="T17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7" h="23">
                <a:moveTo>
                  <a:pt x="27" y="11"/>
                </a:moveTo>
                <a:cubicBezTo>
                  <a:pt x="26" y="12"/>
                  <a:pt x="25" y="12"/>
                  <a:pt x="25" y="13"/>
                </a:cubicBezTo>
                <a:cubicBezTo>
                  <a:pt x="21" y="16"/>
                  <a:pt x="17" y="19"/>
                  <a:pt x="13" y="21"/>
                </a:cubicBezTo>
                <a:cubicBezTo>
                  <a:pt x="11" y="22"/>
                  <a:pt x="10" y="23"/>
                  <a:pt x="9" y="23"/>
                </a:cubicBezTo>
                <a:cubicBezTo>
                  <a:pt x="6" y="19"/>
                  <a:pt x="4" y="14"/>
                  <a:pt x="1" y="9"/>
                </a:cubicBezTo>
                <a:cubicBezTo>
                  <a:pt x="0" y="7"/>
                  <a:pt x="0" y="3"/>
                  <a:pt x="0" y="0"/>
                </a:cubicBezTo>
                <a:cubicBezTo>
                  <a:pt x="1" y="1"/>
                  <a:pt x="3" y="0"/>
                  <a:pt x="4" y="1"/>
                </a:cubicBezTo>
                <a:cubicBezTo>
                  <a:pt x="10" y="3"/>
                  <a:pt x="17" y="6"/>
                  <a:pt x="24" y="9"/>
                </a:cubicBezTo>
                <a:cubicBezTo>
                  <a:pt x="25" y="9"/>
                  <a:pt x="26" y="10"/>
                  <a:pt x="27" y="11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6" name="Freeform 42">
            <a:extLst>
              <a:ext uri="{FF2B5EF4-FFF2-40B4-BE49-F238E27FC236}">
                <a16:creationId xmlns:a16="http://schemas.microsoft.com/office/drawing/2014/main" id="{BF9DB851-9574-44C3-A43B-AB1D4665669D}"/>
              </a:ext>
            </a:extLst>
          </p:cNvPr>
          <p:cNvSpPr>
            <a:spLocks/>
          </p:cNvSpPr>
          <p:nvPr userDrawn="1"/>
        </p:nvSpPr>
        <p:spPr bwMode="auto">
          <a:xfrm>
            <a:off x="8612188" y="5465763"/>
            <a:ext cx="33338" cy="50800"/>
          </a:xfrm>
          <a:custGeom>
            <a:avLst/>
            <a:gdLst>
              <a:gd name="T0" fmla="*/ 7 w 14"/>
              <a:gd name="T1" fmla="*/ 0 h 21"/>
              <a:gd name="T2" fmla="*/ 13 w 14"/>
              <a:gd name="T3" fmla="*/ 6 h 21"/>
              <a:gd name="T4" fmla="*/ 8 w 14"/>
              <a:gd name="T5" fmla="*/ 21 h 21"/>
              <a:gd name="T6" fmla="*/ 1 w 14"/>
              <a:gd name="T7" fmla="*/ 7 h 21"/>
              <a:gd name="T8" fmla="*/ 7 w 14"/>
              <a:gd name="T9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21">
                <a:moveTo>
                  <a:pt x="7" y="0"/>
                </a:moveTo>
                <a:cubicBezTo>
                  <a:pt x="10" y="3"/>
                  <a:pt x="14" y="5"/>
                  <a:pt x="13" y="6"/>
                </a:cubicBezTo>
                <a:cubicBezTo>
                  <a:pt x="12" y="11"/>
                  <a:pt x="10" y="16"/>
                  <a:pt x="8" y="21"/>
                </a:cubicBezTo>
                <a:cubicBezTo>
                  <a:pt x="6" y="16"/>
                  <a:pt x="2" y="12"/>
                  <a:pt x="1" y="7"/>
                </a:cubicBezTo>
                <a:cubicBezTo>
                  <a:pt x="0" y="6"/>
                  <a:pt x="4" y="3"/>
                  <a:pt x="7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7" name="Freeform 43">
            <a:extLst>
              <a:ext uri="{FF2B5EF4-FFF2-40B4-BE49-F238E27FC236}">
                <a16:creationId xmlns:a16="http://schemas.microsoft.com/office/drawing/2014/main" id="{5D43C097-9CB2-435D-87EF-1F24865580D7}"/>
              </a:ext>
            </a:extLst>
          </p:cNvPr>
          <p:cNvSpPr>
            <a:spLocks/>
          </p:cNvSpPr>
          <p:nvPr userDrawn="1"/>
        </p:nvSpPr>
        <p:spPr bwMode="auto">
          <a:xfrm>
            <a:off x="7488238" y="3906838"/>
            <a:ext cx="49213" cy="36513"/>
          </a:xfrm>
          <a:custGeom>
            <a:avLst/>
            <a:gdLst>
              <a:gd name="T0" fmla="*/ 14 w 21"/>
              <a:gd name="T1" fmla="*/ 15 h 15"/>
              <a:gd name="T2" fmla="*/ 1 w 21"/>
              <a:gd name="T3" fmla="*/ 6 h 15"/>
              <a:gd name="T4" fmla="*/ 3 w 21"/>
              <a:gd name="T5" fmla="*/ 0 h 15"/>
              <a:gd name="T6" fmla="*/ 7 w 21"/>
              <a:gd name="T7" fmla="*/ 0 h 15"/>
              <a:gd name="T8" fmla="*/ 20 w 21"/>
              <a:gd name="T9" fmla="*/ 8 h 15"/>
              <a:gd name="T10" fmla="*/ 14 w 21"/>
              <a:gd name="T11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" h="15">
                <a:moveTo>
                  <a:pt x="14" y="15"/>
                </a:moveTo>
                <a:cubicBezTo>
                  <a:pt x="9" y="12"/>
                  <a:pt x="5" y="9"/>
                  <a:pt x="1" y="6"/>
                </a:cubicBezTo>
                <a:cubicBezTo>
                  <a:pt x="0" y="5"/>
                  <a:pt x="2" y="2"/>
                  <a:pt x="3" y="0"/>
                </a:cubicBezTo>
                <a:cubicBezTo>
                  <a:pt x="4" y="0"/>
                  <a:pt x="5" y="0"/>
                  <a:pt x="7" y="0"/>
                </a:cubicBezTo>
                <a:cubicBezTo>
                  <a:pt x="6" y="11"/>
                  <a:pt x="19" y="0"/>
                  <a:pt x="20" y="8"/>
                </a:cubicBezTo>
                <a:cubicBezTo>
                  <a:pt x="21" y="10"/>
                  <a:pt x="17" y="12"/>
                  <a:pt x="14" y="15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8" name="Freeform 44">
            <a:extLst>
              <a:ext uri="{FF2B5EF4-FFF2-40B4-BE49-F238E27FC236}">
                <a16:creationId xmlns:a16="http://schemas.microsoft.com/office/drawing/2014/main" id="{7DBBDC3E-2027-43E6-8612-279D061C1073}"/>
              </a:ext>
            </a:extLst>
          </p:cNvPr>
          <p:cNvSpPr>
            <a:spLocks/>
          </p:cNvSpPr>
          <p:nvPr userDrawn="1"/>
        </p:nvSpPr>
        <p:spPr bwMode="auto">
          <a:xfrm>
            <a:off x="8583613" y="1466850"/>
            <a:ext cx="12700" cy="28575"/>
          </a:xfrm>
          <a:custGeom>
            <a:avLst/>
            <a:gdLst>
              <a:gd name="T0" fmla="*/ 0 w 5"/>
              <a:gd name="T1" fmla="*/ 0 h 12"/>
              <a:gd name="T2" fmla="*/ 4 w 5"/>
              <a:gd name="T3" fmla="*/ 4 h 12"/>
              <a:gd name="T4" fmla="*/ 5 w 5"/>
              <a:gd name="T5" fmla="*/ 12 h 12"/>
              <a:gd name="T6" fmla="*/ 1 w 5"/>
              <a:gd name="T7" fmla="*/ 5 h 12"/>
              <a:gd name="T8" fmla="*/ 0 w 5"/>
              <a:gd name="T9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12">
                <a:moveTo>
                  <a:pt x="0" y="0"/>
                </a:moveTo>
                <a:cubicBezTo>
                  <a:pt x="2" y="1"/>
                  <a:pt x="4" y="2"/>
                  <a:pt x="4" y="4"/>
                </a:cubicBezTo>
                <a:cubicBezTo>
                  <a:pt x="5" y="6"/>
                  <a:pt x="5" y="9"/>
                  <a:pt x="5" y="12"/>
                </a:cubicBezTo>
                <a:cubicBezTo>
                  <a:pt x="4" y="10"/>
                  <a:pt x="3" y="8"/>
                  <a:pt x="1" y="5"/>
                </a:cubicBezTo>
                <a:cubicBezTo>
                  <a:pt x="1" y="4"/>
                  <a:pt x="1" y="2"/>
                  <a:pt x="0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9" name="Freeform 45">
            <a:extLst>
              <a:ext uri="{FF2B5EF4-FFF2-40B4-BE49-F238E27FC236}">
                <a16:creationId xmlns:a16="http://schemas.microsoft.com/office/drawing/2014/main" id="{68708311-4E68-40D0-BF98-3CD6BEF22F2F}"/>
              </a:ext>
            </a:extLst>
          </p:cNvPr>
          <p:cNvSpPr>
            <a:spLocks/>
          </p:cNvSpPr>
          <p:nvPr userDrawn="1"/>
        </p:nvSpPr>
        <p:spPr bwMode="auto">
          <a:xfrm>
            <a:off x="8639175" y="5665788"/>
            <a:ext cx="9525" cy="9525"/>
          </a:xfrm>
          <a:custGeom>
            <a:avLst/>
            <a:gdLst>
              <a:gd name="T0" fmla="*/ 1 w 4"/>
              <a:gd name="T1" fmla="*/ 4 h 4"/>
              <a:gd name="T2" fmla="*/ 0 w 4"/>
              <a:gd name="T3" fmla="*/ 1 h 4"/>
              <a:gd name="T4" fmla="*/ 3 w 4"/>
              <a:gd name="T5" fmla="*/ 0 h 4"/>
              <a:gd name="T6" fmla="*/ 4 w 4"/>
              <a:gd name="T7" fmla="*/ 3 h 4"/>
              <a:gd name="T8" fmla="*/ 1 w 4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4">
                <a:moveTo>
                  <a:pt x="1" y="4"/>
                </a:moveTo>
                <a:cubicBezTo>
                  <a:pt x="1" y="3"/>
                  <a:pt x="0" y="2"/>
                  <a:pt x="0" y="1"/>
                </a:cubicBezTo>
                <a:cubicBezTo>
                  <a:pt x="1" y="0"/>
                  <a:pt x="2" y="0"/>
                  <a:pt x="3" y="0"/>
                </a:cubicBezTo>
                <a:cubicBezTo>
                  <a:pt x="3" y="1"/>
                  <a:pt x="4" y="2"/>
                  <a:pt x="4" y="3"/>
                </a:cubicBezTo>
                <a:cubicBezTo>
                  <a:pt x="4" y="4"/>
                  <a:pt x="2" y="4"/>
                  <a:pt x="1" y="4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0" name="Freeform 46">
            <a:extLst>
              <a:ext uri="{FF2B5EF4-FFF2-40B4-BE49-F238E27FC236}">
                <a16:creationId xmlns:a16="http://schemas.microsoft.com/office/drawing/2014/main" id="{9C484B27-BCD3-462D-90E8-7B2B41634CD0}"/>
              </a:ext>
            </a:extLst>
          </p:cNvPr>
          <p:cNvSpPr>
            <a:spLocks/>
          </p:cNvSpPr>
          <p:nvPr userDrawn="1"/>
        </p:nvSpPr>
        <p:spPr bwMode="auto">
          <a:xfrm>
            <a:off x="7469188" y="3879850"/>
            <a:ext cx="9525" cy="11113"/>
          </a:xfrm>
          <a:custGeom>
            <a:avLst/>
            <a:gdLst>
              <a:gd name="T0" fmla="*/ 3 w 4"/>
              <a:gd name="T1" fmla="*/ 0 h 5"/>
              <a:gd name="T2" fmla="*/ 3 w 4"/>
              <a:gd name="T3" fmla="*/ 3 h 5"/>
              <a:gd name="T4" fmla="*/ 1 w 4"/>
              <a:gd name="T5" fmla="*/ 5 h 5"/>
              <a:gd name="T6" fmla="*/ 1 w 4"/>
              <a:gd name="T7" fmla="*/ 1 h 5"/>
              <a:gd name="T8" fmla="*/ 3 w 4"/>
              <a:gd name="T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5">
                <a:moveTo>
                  <a:pt x="3" y="0"/>
                </a:moveTo>
                <a:cubicBezTo>
                  <a:pt x="3" y="1"/>
                  <a:pt x="4" y="2"/>
                  <a:pt x="3" y="3"/>
                </a:cubicBezTo>
                <a:cubicBezTo>
                  <a:pt x="3" y="4"/>
                  <a:pt x="2" y="4"/>
                  <a:pt x="1" y="5"/>
                </a:cubicBezTo>
                <a:cubicBezTo>
                  <a:pt x="1" y="3"/>
                  <a:pt x="0" y="2"/>
                  <a:pt x="1" y="1"/>
                </a:cubicBezTo>
                <a:cubicBezTo>
                  <a:pt x="1" y="0"/>
                  <a:pt x="2" y="0"/>
                  <a:pt x="3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1" name="Freeform 47">
            <a:extLst>
              <a:ext uri="{FF2B5EF4-FFF2-40B4-BE49-F238E27FC236}">
                <a16:creationId xmlns:a16="http://schemas.microsoft.com/office/drawing/2014/main" id="{A61845A3-834A-4FF1-ADCC-55359E440450}"/>
              </a:ext>
            </a:extLst>
          </p:cNvPr>
          <p:cNvSpPr>
            <a:spLocks/>
          </p:cNvSpPr>
          <p:nvPr userDrawn="1"/>
        </p:nvSpPr>
        <p:spPr bwMode="auto">
          <a:xfrm>
            <a:off x="9099550" y="4598988"/>
            <a:ext cx="11113" cy="12700"/>
          </a:xfrm>
          <a:custGeom>
            <a:avLst/>
            <a:gdLst>
              <a:gd name="T0" fmla="*/ 5 w 5"/>
              <a:gd name="T1" fmla="*/ 2 h 5"/>
              <a:gd name="T2" fmla="*/ 3 w 5"/>
              <a:gd name="T3" fmla="*/ 5 h 5"/>
              <a:gd name="T4" fmla="*/ 1 w 5"/>
              <a:gd name="T5" fmla="*/ 3 h 5"/>
              <a:gd name="T6" fmla="*/ 2 w 5"/>
              <a:gd name="T7" fmla="*/ 0 h 5"/>
              <a:gd name="T8" fmla="*/ 5 w 5"/>
              <a:gd name="T9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5">
                <a:moveTo>
                  <a:pt x="5" y="2"/>
                </a:moveTo>
                <a:cubicBezTo>
                  <a:pt x="4" y="4"/>
                  <a:pt x="4" y="4"/>
                  <a:pt x="3" y="5"/>
                </a:cubicBezTo>
                <a:cubicBezTo>
                  <a:pt x="2" y="4"/>
                  <a:pt x="1" y="4"/>
                  <a:pt x="1" y="3"/>
                </a:cubicBezTo>
                <a:cubicBezTo>
                  <a:pt x="0" y="2"/>
                  <a:pt x="1" y="1"/>
                  <a:pt x="2" y="0"/>
                </a:cubicBezTo>
                <a:cubicBezTo>
                  <a:pt x="3" y="1"/>
                  <a:pt x="4" y="2"/>
                  <a:pt x="5" y="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2" name="Freeform 48">
            <a:extLst>
              <a:ext uri="{FF2B5EF4-FFF2-40B4-BE49-F238E27FC236}">
                <a16:creationId xmlns:a16="http://schemas.microsoft.com/office/drawing/2014/main" id="{4906687F-6179-417A-9BF5-3CFAB6FF01AE}"/>
              </a:ext>
            </a:extLst>
          </p:cNvPr>
          <p:cNvSpPr>
            <a:spLocks/>
          </p:cNvSpPr>
          <p:nvPr userDrawn="1"/>
        </p:nvSpPr>
        <p:spPr bwMode="auto">
          <a:xfrm>
            <a:off x="6765925" y="3227388"/>
            <a:ext cx="14288" cy="12700"/>
          </a:xfrm>
          <a:custGeom>
            <a:avLst/>
            <a:gdLst>
              <a:gd name="T0" fmla="*/ 6 w 6"/>
              <a:gd name="T1" fmla="*/ 2 h 5"/>
              <a:gd name="T2" fmla="*/ 2 w 6"/>
              <a:gd name="T3" fmla="*/ 5 h 5"/>
              <a:gd name="T4" fmla="*/ 1 w 6"/>
              <a:gd name="T5" fmla="*/ 4 h 5"/>
              <a:gd name="T6" fmla="*/ 3 w 6"/>
              <a:gd name="T7" fmla="*/ 1 h 5"/>
              <a:gd name="T8" fmla="*/ 6 w 6"/>
              <a:gd name="T9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5">
                <a:moveTo>
                  <a:pt x="6" y="2"/>
                </a:moveTo>
                <a:cubicBezTo>
                  <a:pt x="4" y="3"/>
                  <a:pt x="3" y="4"/>
                  <a:pt x="2" y="5"/>
                </a:cubicBezTo>
                <a:cubicBezTo>
                  <a:pt x="1" y="5"/>
                  <a:pt x="0" y="4"/>
                  <a:pt x="1" y="4"/>
                </a:cubicBezTo>
                <a:cubicBezTo>
                  <a:pt x="1" y="2"/>
                  <a:pt x="2" y="1"/>
                  <a:pt x="3" y="1"/>
                </a:cubicBezTo>
                <a:cubicBezTo>
                  <a:pt x="3" y="0"/>
                  <a:pt x="4" y="1"/>
                  <a:pt x="6" y="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3" name="Freeform 49">
            <a:extLst>
              <a:ext uri="{FF2B5EF4-FFF2-40B4-BE49-F238E27FC236}">
                <a16:creationId xmlns:a16="http://schemas.microsoft.com/office/drawing/2014/main" id="{56F862E7-791F-4741-A1D4-4F549F38D2EE}"/>
              </a:ext>
            </a:extLst>
          </p:cNvPr>
          <p:cNvSpPr>
            <a:spLocks/>
          </p:cNvSpPr>
          <p:nvPr userDrawn="1"/>
        </p:nvSpPr>
        <p:spPr bwMode="auto">
          <a:xfrm>
            <a:off x="7104063" y="3375025"/>
            <a:ext cx="6350" cy="4763"/>
          </a:xfrm>
          <a:custGeom>
            <a:avLst/>
            <a:gdLst>
              <a:gd name="T0" fmla="*/ 3 w 3"/>
              <a:gd name="T1" fmla="*/ 1 h 2"/>
              <a:gd name="T2" fmla="*/ 1 w 3"/>
              <a:gd name="T3" fmla="*/ 2 h 2"/>
              <a:gd name="T4" fmla="*/ 0 w 3"/>
              <a:gd name="T5" fmla="*/ 0 h 2"/>
              <a:gd name="T6" fmla="*/ 1 w 3"/>
              <a:gd name="T7" fmla="*/ 0 h 2"/>
              <a:gd name="T8" fmla="*/ 3 w 3"/>
              <a:gd name="T9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3" y="1"/>
                </a:moveTo>
                <a:cubicBezTo>
                  <a:pt x="2" y="1"/>
                  <a:pt x="2" y="2"/>
                  <a:pt x="1" y="2"/>
                </a:cubicBezTo>
                <a:cubicBezTo>
                  <a:pt x="1" y="2"/>
                  <a:pt x="0" y="1"/>
                  <a:pt x="0" y="0"/>
                </a:cubicBezTo>
                <a:cubicBezTo>
                  <a:pt x="0" y="0"/>
                  <a:pt x="1" y="0"/>
                  <a:pt x="1" y="0"/>
                </a:cubicBezTo>
                <a:cubicBezTo>
                  <a:pt x="2" y="0"/>
                  <a:pt x="2" y="1"/>
                  <a:pt x="3" y="1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4" name="Freeform 50">
            <a:extLst>
              <a:ext uri="{FF2B5EF4-FFF2-40B4-BE49-F238E27FC236}">
                <a16:creationId xmlns:a16="http://schemas.microsoft.com/office/drawing/2014/main" id="{B4B19A8E-6F57-46AE-92E8-1F222CA570BB}"/>
              </a:ext>
            </a:extLst>
          </p:cNvPr>
          <p:cNvSpPr>
            <a:spLocks/>
          </p:cNvSpPr>
          <p:nvPr userDrawn="1"/>
        </p:nvSpPr>
        <p:spPr bwMode="auto">
          <a:xfrm>
            <a:off x="10094913" y="3598863"/>
            <a:ext cx="4763" cy="12700"/>
          </a:xfrm>
          <a:custGeom>
            <a:avLst/>
            <a:gdLst>
              <a:gd name="T0" fmla="*/ 0 w 2"/>
              <a:gd name="T1" fmla="*/ 0 h 5"/>
              <a:gd name="T2" fmla="*/ 2 w 2"/>
              <a:gd name="T3" fmla="*/ 4 h 5"/>
              <a:gd name="T4" fmla="*/ 1 w 2"/>
              <a:gd name="T5" fmla="*/ 5 h 5"/>
              <a:gd name="T6" fmla="*/ 0 w 2"/>
              <a:gd name="T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5">
                <a:moveTo>
                  <a:pt x="0" y="0"/>
                </a:moveTo>
                <a:cubicBezTo>
                  <a:pt x="1" y="2"/>
                  <a:pt x="2" y="3"/>
                  <a:pt x="2" y="4"/>
                </a:cubicBezTo>
                <a:cubicBezTo>
                  <a:pt x="2" y="5"/>
                  <a:pt x="2" y="5"/>
                  <a:pt x="1" y="5"/>
                </a:cubicBezTo>
                <a:cubicBezTo>
                  <a:pt x="1" y="4"/>
                  <a:pt x="1" y="2"/>
                  <a:pt x="0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5" name="Freeform 51">
            <a:extLst>
              <a:ext uri="{FF2B5EF4-FFF2-40B4-BE49-F238E27FC236}">
                <a16:creationId xmlns:a16="http://schemas.microsoft.com/office/drawing/2014/main" id="{1F8B3A63-3156-4B15-A906-5F575B99ECAB}"/>
              </a:ext>
            </a:extLst>
          </p:cNvPr>
          <p:cNvSpPr>
            <a:spLocks/>
          </p:cNvSpPr>
          <p:nvPr userDrawn="1"/>
        </p:nvSpPr>
        <p:spPr bwMode="auto">
          <a:xfrm>
            <a:off x="7473950" y="3902075"/>
            <a:ext cx="6350" cy="12700"/>
          </a:xfrm>
          <a:custGeom>
            <a:avLst/>
            <a:gdLst>
              <a:gd name="T0" fmla="*/ 0 w 3"/>
              <a:gd name="T1" fmla="*/ 5 h 5"/>
              <a:gd name="T2" fmla="*/ 3 w 3"/>
              <a:gd name="T3" fmla="*/ 0 h 5"/>
              <a:gd name="T4" fmla="*/ 3 w 3"/>
              <a:gd name="T5" fmla="*/ 0 h 5"/>
              <a:gd name="T6" fmla="*/ 0 w 3"/>
              <a:gd name="T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5">
                <a:moveTo>
                  <a:pt x="0" y="5"/>
                </a:moveTo>
                <a:cubicBezTo>
                  <a:pt x="1" y="3"/>
                  <a:pt x="2" y="2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2" y="1"/>
                  <a:pt x="1" y="3"/>
                  <a:pt x="0" y="5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6" name="Freeform 52">
            <a:extLst>
              <a:ext uri="{FF2B5EF4-FFF2-40B4-BE49-F238E27FC236}">
                <a16:creationId xmlns:a16="http://schemas.microsoft.com/office/drawing/2014/main" id="{FCC378BF-3BA8-4D03-B520-57C4FF73F7FD}"/>
              </a:ext>
            </a:extLst>
          </p:cNvPr>
          <p:cNvSpPr>
            <a:spLocks/>
          </p:cNvSpPr>
          <p:nvPr userDrawn="1"/>
        </p:nvSpPr>
        <p:spPr bwMode="auto">
          <a:xfrm>
            <a:off x="10083800" y="3592513"/>
            <a:ext cx="11113" cy="6350"/>
          </a:xfrm>
          <a:custGeom>
            <a:avLst/>
            <a:gdLst>
              <a:gd name="T0" fmla="*/ 5 w 5"/>
              <a:gd name="T1" fmla="*/ 3 h 3"/>
              <a:gd name="T2" fmla="*/ 0 w 5"/>
              <a:gd name="T3" fmla="*/ 0 h 3"/>
              <a:gd name="T4" fmla="*/ 0 w 5"/>
              <a:gd name="T5" fmla="*/ 0 h 3"/>
              <a:gd name="T6" fmla="*/ 5 w 5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3">
                <a:moveTo>
                  <a:pt x="5" y="3"/>
                </a:moveTo>
                <a:cubicBezTo>
                  <a:pt x="3" y="2"/>
                  <a:pt x="2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1"/>
                  <a:pt x="3" y="2"/>
                  <a:pt x="5" y="3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7" name="Freeform 53">
            <a:extLst>
              <a:ext uri="{FF2B5EF4-FFF2-40B4-BE49-F238E27FC236}">
                <a16:creationId xmlns:a16="http://schemas.microsoft.com/office/drawing/2014/main" id="{F825991D-B7B7-441C-BA1F-20A63E9A82BD}"/>
              </a:ext>
            </a:extLst>
          </p:cNvPr>
          <p:cNvSpPr>
            <a:spLocks/>
          </p:cNvSpPr>
          <p:nvPr userDrawn="1"/>
        </p:nvSpPr>
        <p:spPr bwMode="auto">
          <a:xfrm>
            <a:off x="8318500" y="2740025"/>
            <a:ext cx="4763" cy="1588"/>
          </a:xfrm>
          <a:custGeom>
            <a:avLst/>
            <a:gdLst>
              <a:gd name="T0" fmla="*/ 2 w 2"/>
              <a:gd name="T1" fmla="*/ 0 h 1"/>
              <a:gd name="T2" fmla="*/ 0 w 2"/>
              <a:gd name="T3" fmla="*/ 1 h 1"/>
              <a:gd name="T4" fmla="*/ 0 w 2"/>
              <a:gd name="T5" fmla="*/ 1 h 1"/>
              <a:gd name="T6" fmla="*/ 2 w 2"/>
              <a:gd name="T7" fmla="*/ 1 h 1"/>
              <a:gd name="T8" fmla="*/ 2 w 2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2" y="0"/>
                </a:moveTo>
                <a:cubicBezTo>
                  <a:pt x="1" y="1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1" y="1"/>
                  <a:pt x="1" y="1"/>
                  <a:pt x="2" y="1"/>
                </a:cubicBezTo>
                <a:lnTo>
                  <a:pt x="2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8" name="Freeform 54">
            <a:extLst>
              <a:ext uri="{FF2B5EF4-FFF2-40B4-BE49-F238E27FC236}">
                <a16:creationId xmlns:a16="http://schemas.microsoft.com/office/drawing/2014/main" id="{60AA231E-DF3F-4510-8AF6-B18FCF3A0EE2}"/>
              </a:ext>
            </a:extLst>
          </p:cNvPr>
          <p:cNvSpPr>
            <a:spLocks/>
          </p:cNvSpPr>
          <p:nvPr userDrawn="1"/>
        </p:nvSpPr>
        <p:spPr bwMode="auto">
          <a:xfrm>
            <a:off x="7488238" y="3887788"/>
            <a:ext cx="6350" cy="7938"/>
          </a:xfrm>
          <a:custGeom>
            <a:avLst/>
            <a:gdLst>
              <a:gd name="T0" fmla="*/ 0 w 3"/>
              <a:gd name="T1" fmla="*/ 3 h 3"/>
              <a:gd name="T2" fmla="*/ 3 w 3"/>
              <a:gd name="T3" fmla="*/ 0 h 3"/>
              <a:gd name="T4" fmla="*/ 3 w 3"/>
              <a:gd name="T5" fmla="*/ 0 h 3"/>
              <a:gd name="T6" fmla="*/ 0 w 3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3">
                <a:moveTo>
                  <a:pt x="0" y="3"/>
                </a:moveTo>
                <a:cubicBezTo>
                  <a:pt x="1" y="2"/>
                  <a:pt x="2" y="1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2" y="1"/>
                  <a:pt x="1" y="2"/>
                  <a:pt x="0" y="3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9" name="Freeform 55">
            <a:extLst>
              <a:ext uri="{FF2B5EF4-FFF2-40B4-BE49-F238E27FC236}">
                <a16:creationId xmlns:a16="http://schemas.microsoft.com/office/drawing/2014/main" id="{32048304-343E-4232-B540-2736425D2223}"/>
              </a:ext>
            </a:extLst>
          </p:cNvPr>
          <p:cNvSpPr>
            <a:spLocks/>
          </p:cNvSpPr>
          <p:nvPr userDrawn="1"/>
        </p:nvSpPr>
        <p:spPr bwMode="auto">
          <a:xfrm>
            <a:off x="11534775" y="2582863"/>
            <a:ext cx="3175" cy="3175"/>
          </a:xfrm>
          <a:custGeom>
            <a:avLst/>
            <a:gdLst>
              <a:gd name="T0" fmla="*/ 0 w 2"/>
              <a:gd name="T1" fmla="*/ 0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0" name="Freeform 56">
            <a:extLst>
              <a:ext uri="{FF2B5EF4-FFF2-40B4-BE49-F238E27FC236}">
                <a16:creationId xmlns:a16="http://schemas.microsoft.com/office/drawing/2014/main" id="{F7608E84-1782-4E6E-916B-3D71DBB6AA85}"/>
              </a:ext>
            </a:extLst>
          </p:cNvPr>
          <p:cNvSpPr>
            <a:spLocks/>
          </p:cNvSpPr>
          <p:nvPr userDrawn="1"/>
        </p:nvSpPr>
        <p:spPr bwMode="auto">
          <a:xfrm>
            <a:off x="8486775" y="1677988"/>
            <a:ext cx="6350" cy="7938"/>
          </a:xfrm>
          <a:custGeom>
            <a:avLst/>
            <a:gdLst>
              <a:gd name="T0" fmla="*/ 0 w 3"/>
              <a:gd name="T1" fmla="*/ 3 h 3"/>
              <a:gd name="T2" fmla="*/ 3 w 3"/>
              <a:gd name="T3" fmla="*/ 0 h 3"/>
              <a:gd name="T4" fmla="*/ 2 w 3"/>
              <a:gd name="T5" fmla="*/ 0 h 3"/>
              <a:gd name="T6" fmla="*/ 0 w 3"/>
              <a:gd name="T7" fmla="*/ 2 h 3"/>
              <a:gd name="T8" fmla="*/ 0 w 3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0" y="3"/>
                </a:moveTo>
                <a:cubicBezTo>
                  <a:pt x="1" y="2"/>
                  <a:pt x="2" y="1"/>
                  <a:pt x="3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1"/>
                  <a:pt x="1" y="2"/>
                  <a:pt x="0" y="2"/>
                </a:cubicBez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1" name="Freeform 57">
            <a:extLst>
              <a:ext uri="{FF2B5EF4-FFF2-40B4-BE49-F238E27FC236}">
                <a16:creationId xmlns:a16="http://schemas.microsoft.com/office/drawing/2014/main" id="{63972EDD-9A62-4C46-B5FA-FB520BE14A05}"/>
              </a:ext>
            </a:extLst>
          </p:cNvPr>
          <p:cNvSpPr>
            <a:spLocks/>
          </p:cNvSpPr>
          <p:nvPr userDrawn="1"/>
        </p:nvSpPr>
        <p:spPr bwMode="auto">
          <a:xfrm>
            <a:off x="8491538" y="1677988"/>
            <a:ext cx="1588" cy="0"/>
          </a:xfrm>
          <a:custGeom>
            <a:avLst/>
            <a:gdLst>
              <a:gd name="T0" fmla="*/ 1 w 1"/>
              <a:gd name="T1" fmla="*/ 0 w 1"/>
              <a:gd name="T2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2" name="Freeform 58">
            <a:extLst>
              <a:ext uri="{FF2B5EF4-FFF2-40B4-BE49-F238E27FC236}">
                <a16:creationId xmlns:a16="http://schemas.microsoft.com/office/drawing/2014/main" id="{269229AD-B45A-4BBC-9585-0266C32E37B5}"/>
              </a:ext>
            </a:extLst>
          </p:cNvPr>
          <p:cNvSpPr>
            <a:spLocks/>
          </p:cNvSpPr>
          <p:nvPr userDrawn="1"/>
        </p:nvSpPr>
        <p:spPr bwMode="auto">
          <a:xfrm>
            <a:off x="7473950" y="3914775"/>
            <a:ext cx="0" cy="1588"/>
          </a:xfrm>
          <a:custGeom>
            <a:avLst/>
            <a:gdLst>
              <a:gd name="T0" fmla="*/ 0 h 1"/>
              <a:gd name="T1" fmla="*/ 1 h 1"/>
              <a:gd name="T2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0"/>
                </a:move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3" name="Freeform 59">
            <a:extLst>
              <a:ext uri="{FF2B5EF4-FFF2-40B4-BE49-F238E27FC236}">
                <a16:creationId xmlns:a16="http://schemas.microsoft.com/office/drawing/2014/main" id="{4E2B80F1-2487-4099-ADCE-E27541F809BF}"/>
              </a:ext>
            </a:extLst>
          </p:cNvPr>
          <p:cNvSpPr>
            <a:spLocks/>
          </p:cNvSpPr>
          <p:nvPr userDrawn="1"/>
        </p:nvSpPr>
        <p:spPr bwMode="auto">
          <a:xfrm>
            <a:off x="7480300" y="3895725"/>
            <a:ext cx="7938" cy="6350"/>
          </a:xfrm>
          <a:custGeom>
            <a:avLst/>
            <a:gdLst>
              <a:gd name="T0" fmla="*/ 3 w 3"/>
              <a:gd name="T1" fmla="*/ 0 h 3"/>
              <a:gd name="T2" fmla="*/ 0 w 3"/>
              <a:gd name="T3" fmla="*/ 3 h 3"/>
              <a:gd name="T4" fmla="*/ 0 w 3"/>
              <a:gd name="T5" fmla="*/ 3 h 3"/>
              <a:gd name="T6" fmla="*/ 3 w 3"/>
              <a:gd name="T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3">
                <a:moveTo>
                  <a:pt x="3" y="0"/>
                </a:moveTo>
                <a:cubicBezTo>
                  <a:pt x="2" y="1"/>
                  <a:pt x="1" y="2"/>
                  <a:pt x="0" y="3"/>
                </a:cubicBezTo>
                <a:cubicBezTo>
                  <a:pt x="0" y="3"/>
                  <a:pt x="0" y="3"/>
                  <a:pt x="0" y="3"/>
                </a:cubicBezTo>
                <a:cubicBezTo>
                  <a:pt x="1" y="2"/>
                  <a:pt x="2" y="1"/>
                  <a:pt x="3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4" name="Freeform 60">
            <a:extLst>
              <a:ext uri="{FF2B5EF4-FFF2-40B4-BE49-F238E27FC236}">
                <a16:creationId xmlns:a16="http://schemas.microsoft.com/office/drawing/2014/main" id="{7B94AC88-2780-4BA3-955E-1ACECE4387AB}"/>
              </a:ext>
            </a:extLst>
          </p:cNvPr>
          <p:cNvSpPr>
            <a:spLocks/>
          </p:cNvSpPr>
          <p:nvPr userDrawn="1"/>
        </p:nvSpPr>
        <p:spPr bwMode="auto">
          <a:xfrm>
            <a:off x="10080625" y="3592513"/>
            <a:ext cx="3175" cy="0"/>
          </a:xfrm>
          <a:custGeom>
            <a:avLst/>
            <a:gdLst>
              <a:gd name="T0" fmla="*/ 2 w 2"/>
              <a:gd name="T1" fmla="*/ 0 w 2"/>
              <a:gd name="T2" fmla="*/ 2 w 2"/>
              <a:gd name="T3" fmla="*/ 2 w 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5" name="Freeform 61">
            <a:extLst>
              <a:ext uri="{FF2B5EF4-FFF2-40B4-BE49-F238E27FC236}">
                <a16:creationId xmlns:a16="http://schemas.microsoft.com/office/drawing/2014/main" id="{26E15B10-D737-42A2-9996-7ABC432213F4}"/>
              </a:ext>
            </a:extLst>
          </p:cNvPr>
          <p:cNvSpPr>
            <a:spLocks/>
          </p:cNvSpPr>
          <p:nvPr userDrawn="1"/>
        </p:nvSpPr>
        <p:spPr bwMode="auto">
          <a:xfrm>
            <a:off x="7915275" y="3067050"/>
            <a:ext cx="0" cy="1588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1"/>
                  <a:pt x="0" y="1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6" name="Freeform 62">
            <a:extLst>
              <a:ext uri="{FF2B5EF4-FFF2-40B4-BE49-F238E27FC236}">
                <a16:creationId xmlns:a16="http://schemas.microsoft.com/office/drawing/2014/main" id="{EB7BAB34-B42D-4914-A2D0-6F75522B7FF3}"/>
              </a:ext>
            </a:extLst>
          </p:cNvPr>
          <p:cNvSpPr>
            <a:spLocks/>
          </p:cNvSpPr>
          <p:nvPr userDrawn="1"/>
        </p:nvSpPr>
        <p:spPr bwMode="auto">
          <a:xfrm>
            <a:off x="8616950" y="304958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2" name="Parallelogram 91">
            <a:extLst>
              <a:ext uri="{FF2B5EF4-FFF2-40B4-BE49-F238E27FC236}">
                <a16:creationId xmlns:a16="http://schemas.microsoft.com/office/drawing/2014/main" id="{F80A7950-7F7E-4AE5-A970-A5028F4CD8E9}"/>
              </a:ext>
            </a:extLst>
          </p:cNvPr>
          <p:cNvSpPr/>
          <p:nvPr userDrawn="1"/>
        </p:nvSpPr>
        <p:spPr>
          <a:xfrm>
            <a:off x="971551" y="1660837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3" name="Parallelogram 92">
            <a:extLst>
              <a:ext uri="{FF2B5EF4-FFF2-40B4-BE49-F238E27FC236}">
                <a16:creationId xmlns:a16="http://schemas.microsoft.com/office/drawing/2014/main" id="{4C209F1D-82C4-4801-A011-9F658496F5A9}"/>
              </a:ext>
            </a:extLst>
          </p:cNvPr>
          <p:cNvSpPr/>
          <p:nvPr userDrawn="1"/>
        </p:nvSpPr>
        <p:spPr>
          <a:xfrm>
            <a:off x="461464" y="1631009"/>
            <a:ext cx="911373" cy="589442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4" name="Parallelogram 93">
            <a:extLst>
              <a:ext uri="{FF2B5EF4-FFF2-40B4-BE49-F238E27FC236}">
                <a16:creationId xmlns:a16="http://schemas.microsoft.com/office/drawing/2014/main" id="{9DCC0248-1B18-4BA8-9ADD-DD87F9BD2987}"/>
              </a:ext>
            </a:extLst>
          </p:cNvPr>
          <p:cNvSpPr/>
          <p:nvPr userDrawn="1"/>
        </p:nvSpPr>
        <p:spPr>
          <a:xfrm>
            <a:off x="971551" y="2470902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5" name="Parallelogram 94">
            <a:extLst>
              <a:ext uri="{FF2B5EF4-FFF2-40B4-BE49-F238E27FC236}">
                <a16:creationId xmlns:a16="http://schemas.microsoft.com/office/drawing/2014/main" id="{506EC090-D3BD-4C09-B73C-F747493CDD79}"/>
              </a:ext>
            </a:extLst>
          </p:cNvPr>
          <p:cNvSpPr/>
          <p:nvPr userDrawn="1"/>
        </p:nvSpPr>
        <p:spPr>
          <a:xfrm>
            <a:off x="461464" y="2441074"/>
            <a:ext cx="911373" cy="589442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6" name="Parallelogram 95">
            <a:extLst>
              <a:ext uri="{FF2B5EF4-FFF2-40B4-BE49-F238E27FC236}">
                <a16:creationId xmlns:a16="http://schemas.microsoft.com/office/drawing/2014/main" id="{DD977C1F-E246-4C6C-BF2F-68FF6C0198E9}"/>
              </a:ext>
            </a:extLst>
          </p:cNvPr>
          <p:cNvSpPr/>
          <p:nvPr userDrawn="1"/>
        </p:nvSpPr>
        <p:spPr>
          <a:xfrm>
            <a:off x="971551" y="3310795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7" name="Parallelogram 96">
            <a:extLst>
              <a:ext uri="{FF2B5EF4-FFF2-40B4-BE49-F238E27FC236}">
                <a16:creationId xmlns:a16="http://schemas.microsoft.com/office/drawing/2014/main" id="{F3E0AF4B-4758-417D-992D-E73BB7E3C34C}"/>
              </a:ext>
            </a:extLst>
          </p:cNvPr>
          <p:cNvSpPr/>
          <p:nvPr userDrawn="1"/>
        </p:nvSpPr>
        <p:spPr>
          <a:xfrm>
            <a:off x="461464" y="3280967"/>
            <a:ext cx="911373" cy="589442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58" name="Text Placeholder 1057">
            <a:extLst>
              <a:ext uri="{FF2B5EF4-FFF2-40B4-BE49-F238E27FC236}">
                <a16:creationId xmlns:a16="http://schemas.microsoft.com/office/drawing/2014/main" id="{D976D1DD-496C-4997-831A-F4C18AF1D1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44246" y="4662488"/>
            <a:ext cx="4243137" cy="1066800"/>
          </a:xfrm>
        </p:spPr>
        <p:txBody>
          <a:bodyPr anchor="ctr">
            <a:normAutofit/>
          </a:bodyPr>
          <a:lstStyle>
            <a:lvl1pPr>
              <a:lnSpc>
                <a:spcPct val="150000"/>
              </a:lnSpc>
              <a:defRPr lang="en-IN" sz="1200" b="0" i="0" smtClean="0">
                <a:effectLst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ante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haretr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cip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t a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emp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nenat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lac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qu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endParaRPr lang="en-IN" dirty="0"/>
          </a:p>
        </p:txBody>
      </p:sp>
      <p:sp>
        <p:nvSpPr>
          <p:cNvPr id="1060" name="Text Placeholder 1059">
            <a:extLst>
              <a:ext uri="{FF2B5EF4-FFF2-40B4-BE49-F238E27FC236}">
                <a16:creationId xmlns:a16="http://schemas.microsoft.com/office/drawing/2014/main" id="{A8DCC2BA-9CD4-49F3-875C-E9E3FAD1C6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437" y="4662488"/>
            <a:ext cx="1828800" cy="1076325"/>
          </a:xfrm>
        </p:spPr>
        <p:txBody>
          <a:bodyPr anchor="ctr">
            <a:noAutofit/>
          </a:bodyPr>
          <a:lstStyle>
            <a:lvl1pPr>
              <a:defRPr sz="60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 dirty="0"/>
              <a:t>00m</a:t>
            </a:r>
          </a:p>
        </p:txBody>
      </p:sp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39376739-C9FE-4776-91FB-2FAAB17A86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70" name="Text Placeholder 7">
            <a:extLst>
              <a:ext uri="{FF2B5EF4-FFF2-40B4-BE49-F238E27FC236}">
                <a16:creationId xmlns:a16="http://schemas.microsoft.com/office/drawing/2014/main" id="{A9D39D63-737B-4B0D-BB76-750E8A8A3A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564451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 P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arallelogram 13">
            <a:extLst>
              <a:ext uri="{FF2B5EF4-FFF2-40B4-BE49-F238E27FC236}">
                <a16:creationId xmlns:a16="http://schemas.microsoft.com/office/drawing/2014/main" id="{5A8D9B40-7AB2-4CD2-8322-1443813A513C}"/>
              </a:ext>
            </a:extLst>
          </p:cNvPr>
          <p:cNvSpPr/>
          <p:nvPr userDrawn="1"/>
        </p:nvSpPr>
        <p:spPr>
          <a:xfrm>
            <a:off x="7958611" y="1353302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Flowchart: Process 6">
            <a:extLst>
              <a:ext uri="{FF2B5EF4-FFF2-40B4-BE49-F238E27FC236}">
                <a16:creationId xmlns:a16="http://schemas.microsoft.com/office/drawing/2014/main" id="{92B9C876-9F13-46FD-AFDA-C4890F90D80D}"/>
              </a:ext>
            </a:extLst>
          </p:cNvPr>
          <p:cNvSpPr/>
          <p:nvPr userDrawn="1"/>
        </p:nvSpPr>
        <p:spPr>
          <a:xfrm>
            <a:off x="0" y="4150895"/>
            <a:ext cx="12192000" cy="2707105"/>
          </a:xfrm>
          <a:prstGeom prst="flowChartProcess">
            <a:avLst/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8C559CA-829E-4075-86CD-9E9434AC4774}"/>
              </a:ext>
            </a:extLst>
          </p:cNvPr>
          <p:cNvSpPr/>
          <p:nvPr userDrawn="1"/>
        </p:nvSpPr>
        <p:spPr>
          <a:xfrm flipV="1">
            <a:off x="4644190" y="4151689"/>
            <a:ext cx="7540216" cy="2706309"/>
          </a:xfrm>
          <a:custGeom>
            <a:avLst/>
            <a:gdLst>
              <a:gd name="connsiteX0" fmla="*/ 0 w 4974502"/>
              <a:gd name="connsiteY0" fmla="*/ 0 h 3609474"/>
              <a:gd name="connsiteX1" fmla="*/ 4974502 w 4974502"/>
              <a:gd name="connsiteY1" fmla="*/ 0 h 3609474"/>
              <a:gd name="connsiteX2" fmla="*/ 4974502 w 4974502"/>
              <a:gd name="connsiteY2" fmla="*/ 3609474 h 3609474"/>
              <a:gd name="connsiteX3" fmla="*/ 1527096 w 4974502"/>
              <a:gd name="connsiteY3" fmla="*/ 3609474 h 3609474"/>
              <a:gd name="connsiteX4" fmla="*/ 0 w 4974502"/>
              <a:gd name="connsiteY4" fmla="*/ 0 h 3609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4502" h="3609474">
                <a:moveTo>
                  <a:pt x="0" y="0"/>
                </a:moveTo>
                <a:lnTo>
                  <a:pt x="4974502" y="0"/>
                </a:lnTo>
                <a:lnTo>
                  <a:pt x="4974502" y="3609474"/>
                </a:lnTo>
                <a:lnTo>
                  <a:pt x="1527096" y="3609474"/>
                </a:lnTo>
                <a:lnTo>
                  <a:pt x="0" y="0"/>
                </a:lnTo>
                <a:close/>
              </a:path>
            </a:pathLst>
          </a:custGeom>
          <a:solidFill>
            <a:srgbClr val="0979BF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C2E8EC-230E-4B35-9312-9C3A3EB38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575953-9E2E-4FC5-9D3A-B1765E3C50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981F499-E358-448D-9715-C3B4B716C0F5}"/>
              </a:ext>
            </a:extLst>
          </p:cNvPr>
          <p:cNvGrpSpPr/>
          <p:nvPr userDrawn="1"/>
        </p:nvGrpSpPr>
        <p:grpSpPr>
          <a:xfrm>
            <a:off x="0" y="1335506"/>
            <a:ext cx="7448524" cy="4872790"/>
            <a:chOff x="649599" y="997592"/>
            <a:chExt cx="10892802" cy="7126020"/>
          </a:xfrm>
          <a:effectLst>
            <a:outerShdw blurRad="3937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92562F9-EEF0-4AC5-BCCD-A99A17D7ECA8}"/>
                </a:ext>
              </a:extLst>
            </p:cNvPr>
            <p:cNvSpPr/>
            <p:nvPr/>
          </p:nvSpPr>
          <p:spPr>
            <a:xfrm>
              <a:off x="1844566" y="1434662"/>
              <a:ext cx="8592206" cy="449317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19965FC-BF0C-49BF-B082-84914D5169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9599" y="997592"/>
              <a:ext cx="10892802" cy="7126020"/>
            </a:xfrm>
            <a:prstGeom prst="rect">
              <a:avLst/>
            </a:prstGeom>
          </p:spPr>
        </p:pic>
      </p:grp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75DEB2C-09FB-47B7-9491-5F3E3E7882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48984" y="5090083"/>
            <a:ext cx="4350920" cy="1230754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Nunc </a:t>
            </a:r>
            <a:r>
              <a:rPr lang="en-US" dirty="0" err="1"/>
              <a:t>venenatis</a:t>
            </a:r>
            <a:r>
              <a:rPr lang="en-US" dirty="0"/>
              <a:t> ligula vel</a:t>
            </a:r>
            <a:endParaRPr lang="en-IN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9E17C96-74CF-4548-A652-87ABAB4142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336923" y="4450492"/>
            <a:ext cx="4350920" cy="398234"/>
          </a:xfrm>
        </p:spPr>
        <p:txBody>
          <a:bodyPr anchor="ctr">
            <a:norm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49D2E61-0F0D-4EBB-920A-1F58B22195AE}"/>
              </a:ext>
            </a:extLst>
          </p:cNvPr>
          <p:cNvSpPr/>
          <p:nvPr userDrawn="1"/>
        </p:nvSpPr>
        <p:spPr>
          <a:xfrm>
            <a:off x="7448524" y="1323474"/>
            <a:ext cx="911373" cy="589442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368B285C-887A-4876-91A8-014AC3DA0CBB}"/>
              </a:ext>
            </a:extLst>
          </p:cNvPr>
          <p:cNvSpPr/>
          <p:nvPr userDrawn="1"/>
        </p:nvSpPr>
        <p:spPr>
          <a:xfrm>
            <a:off x="7958611" y="2184101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13DE7A96-2355-4B43-877B-15EC2CA0AC5B}"/>
              </a:ext>
            </a:extLst>
          </p:cNvPr>
          <p:cNvSpPr/>
          <p:nvPr userDrawn="1"/>
        </p:nvSpPr>
        <p:spPr>
          <a:xfrm>
            <a:off x="7448524" y="2154273"/>
            <a:ext cx="911373" cy="589442"/>
          </a:xfrm>
          <a:prstGeom prst="parallelogram">
            <a:avLst>
              <a:gd name="adj" fmla="val 42022"/>
            </a:avLst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C23C08A6-601D-484B-876F-D412F2EA2AE7}"/>
              </a:ext>
            </a:extLst>
          </p:cNvPr>
          <p:cNvSpPr/>
          <p:nvPr userDrawn="1"/>
        </p:nvSpPr>
        <p:spPr>
          <a:xfrm>
            <a:off x="7958611" y="3014900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Parallelogram 17">
            <a:extLst>
              <a:ext uri="{FF2B5EF4-FFF2-40B4-BE49-F238E27FC236}">
                <a16:creationId xmlns:a16="http://schemas.microsoft.com/office/drawing/2014/main" id="{38CCED46-3718-464C-8576-3948424373F1}"/>
              </a:ext>
            </a:extLst>
          </p:cNvPr>
          <p:cNvSpPr/>
          <p:nvPr userDrawn="1"/>
        </p:nvSpPr>
        <p:spPr>
          <a:xfrm>
            <a:off x="7448524" y="2985072"/>
            <a:ext cx="911373" cy="589442"/>
          </a:xfrm>
          <a:prstGeom prst="parallelogram">
            <a:avLst>
              <a:gd name="adj" fmla="val 42022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5F7E7E-8310-46D2-9AE9-7B1F7EA017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06326" y="1473271"/>
            <a:ext cx="3368174" cy="295371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6CC660F-6E5D-46CF-BDD4-BE5A0A948B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05825" y="2311831"/>
            <a:ext cx="3368675" cy="295275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0884FF8-35C7-4AB4-9E4B-397880A057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05825" y="3132903"/>
            <a:ext cx="3368675" cy="307975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9521098-2BBA-400D-AEC0-48D30FDE24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8464" y="1706567"/>
            <a:ext cx="5663865" cy="3000251"/>
          </a:xfrm>
          <a:solidFill>
            <a:srgbClr val="D9D9D9"/>
          </a:solidFill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20888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Mob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Process 7">
            <a:extLst>
              <a:ext uri="{FF2B5EF4-FFF2-40B4-BE49-F238E27FC236}">
                <a16:creationId xmlns:a16="http://schemas.microsoft.com/office/drawing/2014/main" id="{D12D6D9D-1167-48B5-B079-5FAE1F89F2D1}"/>
              </a:ext>
            </a:extLst>
          </p:cNvPr>
          <p:cNvSpPr/>
          <p:nvPr userDrawn="1"/>
        </p:nvSpPr>
        <p:spPr>
          <a:xfrm>
            <a:off x="0" y="3693695"/>
            <a:ext cx="12192000" cy="2638682"/>
          </a:xfrm>
          <a:prstGeom prst="flowChartProcess">
            <a:avLst/>
          </a:prstGeom>
          <a:solidFill>
            <a:srgbClr val="09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37D897-42C0-4D27-8C2A-98223B9E9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578E8E-073F-4DF3-A641-DABFF17053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605CE0-6E5C-4E1E-A231-8EC783EF28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7683" y="1175972"/>
            <a:ext cx="2139018" cy="40730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8A61FF2-E9C9-4356-98C4-9AB86735D1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49071" y="1175972"/>
            <a:ext cx="2139018" cy="40730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9DF3395-CC2C-4760-B1BF-197BCFAFEC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0459" y="1175972"/>
            <a:ext cx="2139018" cy="407300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874925-4BCA-44C0-9E35-8D7B7D8E02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91847" y="1175972"/>
            <a:ext cx="2139018" cy="4073002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576C1D-5395-43A9-B1C6-BB3C377F7C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6751" y="5376281"/>
            <a:ext cx="2139950" cy="305747"/>
          </a:xfrm>
        </p:spPr>
        <p:txBody>
          <a:bodyPr anchor="ctr">
            <a:no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3567DDD-9B1A-422B-BC08-5144EF9CD1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48140" y="5375916"/>
            <a:ext cx="2139949" cy="305747"/>
          </a:xfrm>
        </p:spPr>
        <p:txBody>
          <a:bodyPr>
            <a:no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9BD787-20EB-4BF3-95F3-A664FAC5C9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67787" y="5375275"/>
            <a:ext cx="2138362" cy="306388"/>
          </a:xfrm>
        </p:spPr>
        <p:txBody>
          <a:bodyPr>
            <a:no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D08461F-0A15-4486-8E2F-54F6278185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92503" y="5375275"/>
            <a:ext cx="2138362" cy="306388"/>
          </a:xfrm>
        </p:spPr>
        <p:txBody>
          <a:bodyPr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CACC7D7-4EDA-42BD-8A5A-75CEE19C57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7075" y="5809335"/>
            <a:ext cx="2141538" cy="286422"/>
          </a:xfrm>
        </p:spPr>
        <p:txBody>
          <a:bodyPr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 algn="ctr">
              <a:defRPr sz="12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200">
                <a:solidFill>
                  <a:schemeClr val="bg1"/>
                </a:solidFill>
              </a:defRPr>
            </a:lvl4pPr>
            <a:lvl5pPr algn="ctr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9E150A3-4BB2-4696-8940-4E9C40FB7E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48139" y="5808663"/>
            <a:ext cx="2139950" cy="306387"/>
          </a:xfrm>
        </p:spPr>
        <p:txBody>
          <a:bodyPr>
            <a:norm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E7F8A2B-F25C-4247-9886-7F1FC96381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67787" y="5808663"/>
            <a:ext cx="2138362" cy="306387"/>
          </a:xfrm>
        </p:spPr>
        <p:txBody>
          <a:bodyPr>
            <a:norm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7436B8B-D895-4919-9092-577F4CC670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185847" y="5808663"/>
            <a:ext cx="2138362" cy="306387"/>
          </a:xfrm>
        </p:spPr>
        <p:txBody>
          <a:bodyPr>
            <a:norm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6A3E46E-BA7F-4B35-8181-9E12A3402E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6BD1AE45-FD8C-41E5-B0C4-CDFBB0DD3BA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308798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969F0-C7D8-4E79-B859-1100ED095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4CE19D-FF70-467B-A6DC-D818C6BCC0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2AC51D-E91A-4036-A2A7-1C8978C8CC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225" y="325438"/>
            <a:ext cx="2695575" cy="40798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48E81A-3047-44B7-97CD-29A1275E15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310942"/>
            <a:ext cx="11291916" cy="481013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A0C686B-87D4-43B6-911E-63540E619F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2199191"/>
            <a:ext cx="11291887" cy="481013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AA69AC-C869-43AC-B2AE-C72FC1C1782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3848936"/>
            <a:ext cx="11291887" cy="481013"/>
          </a:xfrm>
        </p:spPr>
        <p:txBody>
          <a:bodyPr/>
          <a:lstStyle>
            <a:lvl1pPr>
              <a:defRPr lang="en-US" sz="2400" kern="1200" smtClean="0">
                <a:solidFill>
                  <a:srgbClr val="0979B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128BDAA-2F56-4AC0-9F55-8B0510AB68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7988" y="4736934"/>
            <a:ext cx="11291887" cy="49530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3C88FA4-1E38-438D-9EDE-9E14961786B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8EF0AA9-685A-44FC-B592-638530E36D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527035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Mobile and p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lowchart: Process 11">
            <a:extLst>
              <a:ext uri="{FF2B5EF4-FFF2-40B4-BE49-F238E27FC236}">
                <a16:creationId xmlns:a16="http://schemas.microsoft.com/office/drawing/2014/main" id="{81FC6466-15C5-4D5A-9125-C8927B9BE43C}"/>
              </a:ext>
            </a:extLst>
          </p:cNvPr>
          <p:cNvSpPr/>
          <p:nvPr userDrawn="1"/>
        </p:nvSpPr>
        <p:spPr>
          <a:xfrm>
            <a:off x="8458200" y="0"/>
            <a:ext cx="3733800" cy="6858000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8780F8-F96D-428F-9EFC-01A562A1F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2294A0-18C6-4C7D-82FA-0BFB0F6E42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ABF571E-C8A3-4D79-A9CF-B83B26D654E1}"/>
              </a:ext>
            </a:extLst>
          </p:cNvPr>
          <p:cNvGrpSpPr/>
          <p:nvPr userDrawn="1"/>
        </p:nvGrpSpPr>
        <p:grpSpPr>
          <a:xfrm>
            <a:off x="0" y="1315208"/>
            <a:ext cx="7448524" cy="4872790"/>
            <a:chOff x="649599" y="997592"/>
            <a:chExt cx="10892802" cy="7126020"/>
          </a:xfrm>
          <a:effectLst/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A67CBF8-F34E-4C8E-853E-D753384B017B}"/>
                </a:ext>
              </a:extLst>
            </p:cNvPr>
            <p:cNvSpPr/>
            <p:nvPr/>
          </p:nvSpPr>
          <p:spPr>
            <a:xfrm>
              <a:off x="1844566" y="1434662"/>
              <a:ext cx="8592206" cy="449317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867048D-0E3C-4753-8593-344CD6E4ED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9599" y="997592"/>
              <a:ext cx="10892802" cy="7126020"/>
            </a:xfrm>
            <a:prstGeom prst="rect">
              <a:avLst/>
            </a:prstGeom>
          </p:spPr>
        </p:pic>
      </p:grp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EDEDD60-EABA-40E1-97EE-BBA07BB8F8B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90546" y="1665026"/>
            <a:ext cx="5735442" cy="3021273"/>
          </a:xfrm>
          <a:solidFill>
            <a:schemeClr val="bg1">
              <a:lumMod val="50000"/>
            </a:schemeClr>
          </a:solidFill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BF49936-396E-4D38-855F-98AE266AE192}"/>
              </a:ext>
            </a:extLst>
          </p:cNvPr>
          <p:cNvSpPr/>
          <p:nvPr userDrawn="1"/>
        </p:nvSpPr>
        <p:spPr>
          <a:xfrm>
            <a:off x="9781952" y="1"/>
            <a:ext cx="2410047" cy="772746"/>
          </a:xfrm>
          <a:custGeom>
            <a:avLst/>
            <a:gdLst>
              <a:gd name="connsiteX0" fmla="*/ 0 w 4974502"/>
              <a:gd name="connsiteY0" fmla="*/ 0 h 3609474"/>
              <a:gd name="connsiteX1" fmla="*/ 4974502 w 4974502"/>
              <a:gd name="connsiteY1" fmla="*/ 0 h 3609474"/>
              <a:gd name="connsiteX2" fmla="*/ 4974502 w 4974502"/>
              <a:gd name="connsiteY2" fmla="*/ 3609474 h 3609474"/>
              <a:gd name="connsiteX3" fmla="*/ 1527096 w 4974502"/>
              <a:gd name="connsiteY3" fmla="*/ 3609474 h 3609474"/>
              <a:gd name="connsiteX4" fmla="*/ 0 w 4974502"/>
              <a:gd name="connsiteY4" fmla="*/ 0 h 3609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4502" h="3609474">
                <a:moveTo>
                  <a:pt x="0" y="0"/>
                </a:moveTo>
                <a:lnTo>
                  <a:pt x="4974502" y="0"/>
                </a:lnTo>
                <a:lnTo>
                  <a:pt x="4974502" y="3609474"/>
                </a:lnTo>
                <a:lnTo>
                  <a:pt x="1527096" y="360947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006E04B-CBE0-4EF9-823F-EA59CA3610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0964" y="217023"/>
            <a:ext cx="1360409" cy="370833"/>
          </a:xfrm>
          <a:prstGeom prst="rect">
            <a:avLst/>
          </a:prstGeom>
        </p:spPr>
      </p:pic>
      <p:sp>
        <p:nvSpPr>
          <p:cNvPr id="15" name="Flowchart: Process 14">
            <a:extLst>
              <a:ext uri="{FF2B5EF4-FFF2-40B4-BE49-F238E27FC236}">
                <a16:creationId xmlns:a16="http://schemas.microsoft.com/office/drawing/2014/main" id="{2D858AA9-49B4-4E46-80BC-864CAF2A8B1C}"/>
              </a:ext>
            </a:extLst>
          </p:cNvPr>
          <p:cNvSpPr/>
          <p:nvPr userDrawn="1"/>
        </p:nvSpPr>
        <p:spPr>
          <a:xfrm>
            <a:off x="0" y="0"/>
            <a:ext cx="10058400" cy="45719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22AC6D32-93F5-442A-B0E9-2B55347D164E}"/>
              </a:ext>
            </a:extLst>
          </p:cNvPr>
          <p:cNvSpPr/>
          <p:nvPr userDrawn="1"/>
        </p:nvSpPr>
        <p:spPr>
          <a:xfrm>
            <a:off x="9288379" y="1850106"/>
            <a:ext cx="2903620" cy="377796"/>
          </a:xfrm>
          <a:prstGeom prst="flowChartProcess">
            <a:avLst/>
          </a:prstGeom>
          <a:solidFill>
            <a:srgbClr val="062E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F51B29E-7A7B-43F6-AFE7-CE8108A3E9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09852" y="1862138"/>
            <a:ext cx="2133600" cy="369190"/>
          </a:xfrm>
        </p:spPr>
        <p:txBody>
          <a:bodyPr anchor="ctr">
            <a:normAutofit/>
          </a:bodyPr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Flowchart: Process 18">
            <a:extLst>
              <a:ext uri="{FF2B5EF4-FFF2-40B4-BE49-F238E27FC236}">
                <a16:creationId xmlns:a16="http://schemas.microsoft.com/office/drawing/2014/main" id="{BE841E86-3298-43EB-9B05-E4C93477BDB4}"/>
              </a:ext>
            </a:extLst>
          </p:cNvPr>
          <p:cNvSpPr/>
          <p:nvPr userDrawn="1"/>
        </p:nvSpPr>
        <p:spPr>
          <a:xfrm>
            <a:off x="9288379" y="2533389"/>
            <a:ext cx="2903620" cy="377796"/>
          </a:xfrm>
          <a:prstGeom prst="flowChartProcess">
            <a:avLst/>
          </a:prstGeom>
          <a:solidFill>
            <a:srgbClr val="062E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D6584C1-0D75-4385-8471-2D57A3C81C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09175" y="2530632"/>
            <a:ext cx="2133600" cy="385763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Flowchart: Process 21">
            <a:extLst>
              <a:ext uri="{FF2B5EF4-FFF2-40B4-BE49-F238E27FC236}">
                <a16:creationId xmlns:a16="http://schemas.microsoft.com/office/drawing/2014/main" id="{8A573C22-1FC9-45CB-AD79-96FEF12BE2AE}"/>
              </a:ext>
            </a:extLst>
          </p:cNvPr>
          <p:cNvSpPr/>
          <p:nvPr userDrawn="1"/>
        </p:nvSpPr>
        <p:spPr>
          <a:xfrm>
            <a:off x="9288379" y="3240102"/>
            <a:ext cx="2903620" cy="377796"/>
          </a:xfrm>
          <a:prstGeom prst="flowChartProcess">
            <a:avLst/>
          </a:prstGeom>
          <a:solidFill>
            <a:srgbClr val="062E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02FF308-2757-4FA0-960A-7F06DDAF939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196136" y="1392498"/>
            <a:ext cx="2518452" cy="479549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5FF137D-4C21-4512-B3E8-6CCD0A8EC22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383439" y="1841500"/>
            <a:ext cx="2097445" cy="3921126"/>
          </a:xfrm>
          <a:solidFill>
            <a:schemeClr val="bg1">
              <a:lumMod val="5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D44AD38-C39B-43FF-909A-2F7561346F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909175" y="3232135"/>
            <a:ext cx="2133600" cy="385763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EC5BE98-FCDD-4FA3-9AD9-841A6AAAE4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09175" y="3958516"/>
            <a:ext cx="2133600" cy="180975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275027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09247E-B11A-4992-93FA-6E99DE252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AC9856-1F8F-4E0D-93AC-8B225B5350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7FC23B4-7F74-4EA8-BF34-711BEFCB3504}"/>
              </a:ext>
            </a:extLst>
          </p:cNvPr>
          <p:cNvGrpSpPr/>
          <p:nvPr userDrawn="1"/>
        </p:nvGrpSpPr>
        <p:grpSpPr>
          <a:xfrm>
            <a:off x="493294" y="5919538"/>
            <a:ext cx="11206609" cy="96252"/>
            <a:chOff x="493295" y="5955632"/>
            <a:chExt cx="12212050" cy="96252"/>
          </a:xfrm>
        </p:grpSpPr>
        <p:sp>
          <p:nvSpPr>
            <p:cNvPr id="4" name="Flowchart: Process 3">
              <a:extLst>
                <a:ext uri="{FF2B5EF4-FFF2-40B4-BE49-F238E27FC236}">
                  <a16:creationId xmlns:a16="http://schemas.microsoft.com/office/drawing/2014/main" id="{86BBF0D1-7D05-467E-B928-6E529D8AE107}"/>
                </a:ext>
              </a:extLst>
            </p:cNvPr>
            <p:cNvSpPr/>
            <p:nvPr userDrawn="1"/>
          </p:nvSpPr>
          <p:spPr>
            <a:xfrm>
              <a:off x="493295" y="5955632"/>
              <a:ext cx="2442410" cy="96252"/>
            </a:xfrm>
            <a:prstGeom prst="flowChartProcess">
              <a:avLst/>
            </a:prstGeom>
            <a:solidFill>
              <a:srgbClr val="097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" name="Flowchart: Process 4">
              <a:extLst>
                <a:ext uri="{FF2B5EF4-FFF2-40B4-BE49-F238E27FC236}">
                  <a16:creationId xmlns:a16="http://schemas.microsoft.com/office/drawing/2014/main" id="{943209DF-4C03-4682-A1B3-74172C718B91}"/>
                </a:ext>
              </a:extLst>
            </p:cNvPr>
            <p:cNvSpPr/>
            <p:nvPr userDrawn="1"/>
          </p:nvSpPr>
          <p:spPr>
            <a:xfrm>
              <a:off x="2935705" y="5955632"/>
              <a:ext cx="2442410" cy="96252"/>
            </a:xfrm>
            <a:prstGeom prst="flowChartProcess">
              <a:avLst/>
            </a:prstGeom>
            <a:solidFill>
              <a:srgbClr val="062E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" name="Flowchart: Process 5">
              <a:extLst>
                <a:ext uri="{FF2B5EF4-FFF2-40B4-BE49-F238E27FC236}">
                  <a16:creationId xmlns:a16="http://schemas.microsoft.com/office/drawing/2014/main" id="{77566417-DBB7-4D69-BE17-E6C871ABE5B6}"/>
                </a:ext>
              </a:extLst>
            </p:cNvPr>
            <p:cNvSpPr/>
            <p:nvPr userDrawn="1"/>
          </p:nvSpPr>
          <p:spPr>
            <a:xfrm>
              <a:off x="5378115" y="5955632"/>
              <a:ext cx="2442410" cy="96252"/>
            </a:xfrm>
            <a:prstGeom prst="flowChartProcess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" name="Flowchart: Process 6">
              <a:extLst>
                <a:ext uri="{FF2B5EF4-FFF2-40B4-BE49-F238E27FC236}">
                  <a16:creationId xmlns:a16="http://schemas.microsoft.com/office/drawing/2014/main" id="{B0EC5D2E-35C7-4F2D-A629-CBEC128C5FCC}"/>
                </a:ext>
              </a:extLst>
            </p:cNvPr>
            <p:cNvSpPr/>
            <p:nvPr userDrawn="1"/>
          </p:nvSpPr>
          <p:spPr>
            <a:xfrm>
              <a:off x="7820525" y="5955632"/>
              <a:ext cx="2442410" cy="96252"/>
            </a:xfrm>
            <a:prstGeom prst="flowChartProcess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8" name="Flowchart: Process 7">
              <a:extLst>
                <a:ext uri="{FF2B5EF4-FFF2-40B4-BE49-F238E27FC236}">
                  <a16:creationId xmlns:a16="http://schemas.microsoft.com/office/drawing/2014/main" id="{3BF74527-229E-4AA4-9877-07AA004C41EF}"/>
                </a:ext>
              </a:extLst>
            </p:cNvPr>
            <p:cNvSpPr/>
            <p:nvPr userDrawn="1"/>
          </p:nvSpPr>
          <p:spPr>
            <a:xfrm>
              <a:off x="10262935" y="5955632"/>
              <a:ext cx="2442410" cy="96252"/>
            </a:xfrm>
            <a:prstGeom prst="flowChartProcess">
              <a:avLst/>
            </a:prstGeom>
            <a:solidFill>
              <a:srgbClr val="097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067D6A-5E67-4AD9-8B6F-E59A1A626658}"/>
              </a:ext>
            </a:extLst>
          </p:cNvPr>
          <p:cNvCxnSpPr>
            <a:stCxn id="4" idx="1"/>
          </p:cNvCxnSpPr>
          <p:nvPr userDrawn="1"/>
        </p:nvCxnSpPr>
        <p:spPr>
          <a:xfrm flipV="1">
            <a:off x="493294" y="1888958"/>
            <a:ext cx="0" cy="4078706"/>
          </a:xfrm>
          <a:prstGeom prst="line">
            <a:avLst/>
          </a:prstGeom>
          <a:ln>
            <a:solidFill>
              <a:srgbClr val="0979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FFA1FCD-6D70-48E6-8DEA-BDECEF6AA933}"/>
              </a:ext>
            </a:extLst>
          </p:cNvPr>
          <p:cNvGrpSpPr/>
          <p:nvPr userDrawn="1"/>
        </p:nvGrpSpPr>
        <p:grpSpPr>
          <a:xfrm>
            <a:off x="493294" y="1888958"/>
            <a:ext cx="300778" cy="1394108"/>
            <a:chOff x="493294" y="1888958"/>
            <a:chExt cx="300778" cy="139410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BE48CEF-CD91-4D6C-91EF-A8F854DE4357}"/>
                </a:ext>
              </a:extLst>
            </p:cNvPr>
            <p:cNvSpPr/>
            <p:nvPr userDrawn="1"/>
          </p:nvSpPr>
          <p:spPr>
            <a:xfrm>
              <a:off x="493294" y="1888958"/>
              <a:ext cx="300778" cy="10948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9EFDD7FB-E5A7-4CE6-8335-2A5B73DE8509}"/>
                </a:ext>
              </a:extLst>
            </p:cNvPr>
            <p:cNvSpPr/>
            <p:nvPr userDrawn="1"/>
          </p:nvSpPr>
          <p:spPr>
            <a:xfrm flipV="1">
              <a:off x="493294" y="2982288"/>
              <a:ext cx="300778" cy="300778"/>
            </a:xfrm>
            <a:prstGeom prst="rt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A403265-7B67-4E14-B093-113374213A57}"/>
              </a:ext>
            </a:extLst>
          </p:cNvPr>
          <p:cNvCxnSpPr/>
          <p:nvPr userDrawn="1"/>
        </p:nvCxnSpPr>
        <p:spPr>
          <a:xfrm flipV="1">
            <a:off x="2734616" y="1888958"/>
            <a:ext cx="0" cy="4078706"/>
          </a:xfrm>
          <a:prstGeom prst="line">
            <a:avLst/>
          </a:prstGeom>
          <a:ln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7C296F1-45C2-459C-8E11-81E8D74672CA}"/>
              </a:ext>
            </a:extLst>
          </p:cNvPr>
          <p:cNvGrpSpPr/>
          <p:nvPr userDrawn="1"/>
        </p:nvGrpSpPr>
        <p:grpSpPr>
          <a:xfrm>
            <a:off x="2734616" y="1888958"/>
            <a:ext cx="300778" cy="1394108"/>
            <a:chOff x="493294" y="1888958"/>
            <a:chExt cx="300778" cy="139410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E42CC36-CCB6-4D03-8431-A07BDAC1507C}"/>
                </a:ext>
              </a:extLst>
            </p:cNvPr>
            <p:cNvSpPr/>
            <p:nvPr userDrawn="1"/>
          </p:nvSpPr>
          <p:spPr>
            <a:xfrm>
              <a:off x="493294" y="1888958"/>
              <a:ext cx="300778" cy="1094874"/>
            </a:xfrm>
            <a:prstGeom prst="rect">
              <a:avLst/>
            </a:prstGeom>
            <a:solidFill>
              <a:srgbClr val="062E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8" name="Right Triangle 17">
              <a:extLst>
                <a:ext uri="{FF2B5EF4-FFF2-40B4-BE49-F238E27FC236}">
                  <a16:creationId xmlns:a16="http://schemas.microsoft.com/office/drawing/2014/main" id="{95CBFA15-2355-48CA-8A8C-E85ABD46DA9E}"/>
                </a:ext>
              </a:extLst>
            </p:cNvPr>
            <p:cNvSpPr/>
            <p:nvPr userDrawn="1"/>
          </p:nvSpPr>
          <p:spPr>
            <a:xfrm flipV="1">
              <a:off x="493294" y="2982288"/>
              <a:ext cx="300778" cy="300778"/>
            </a:xfrm>
            <a:prstGeom prst="rtTriangle">
              <a:avLst/>
            </a:prstGeom>
            <a:solidFill>
              <a:srgbClr val="062E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AC85AA4-9E2F-4A3F-A0AA-0900FBE57D89}"/>
              </a:ext>
            </a:extLst>
          </p:cNvPr>
          <p:cNvCxnSpPr/>
          <p:nvPr userDrawn="1"/>
        </p:nvCxnSpPr>
        <p:spPr>
          <a:xfrm flipV="1">
            <a:off x="4975938" y="1888958"/>
            <a:ext cx="0" cy="4078706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B168E65-4420-4D6C-8ACA-9CED2EECE195}"/>
              </a:ext>
            </a:extLst>
          </p:cNvPr>
          <p:cNvGrpSpPr/>
          <p:nvPr userDrawn="1"/>
        </p:nvGrpSpPr>
        <p:grpSpPr>
          <a:xfrm>
            <a:off x="4975938" y="1888958"/>
            <a:ext cx="300778" cy="1394108"/>
            <a:chOff x="493294" y="1888958"/>
            <a:chExt cx="300778" cy="1394108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2E009EE-24FE-423F-9B79-F78F5124308A}"/>
                </a:ext>
              </a:extLst>
            </p:cNvPr>
            <p:cNvSpPr/>
            <p:nvPr userDrawn="1"/>
          </p:nvSpPr>
          <p:spPr>
            <a:xfrm>
              <a:off x="493294" y="1888958"/>
              <a:ext cx="300778" cy="1094874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2" name="Right Triangle 21">
              <a:extLst>
                <a:ext uri="{FF2B5EF4-FFF2-40B4-BE49-F238E27FC236}">
                  <a16:creationId xmlns:a16="http://schemas.microsoft.com/office/drawing/2014/main" id="{C6F8FC01-A9DB-4F4A-9CE8-0A81B94F883E}"/>
                </a:ext>
              </a:extLst>
            </p:cNvPr>
            <p:cNvSpPr/>
            <p:nvPr userDrawn="1"/>
          </p:nvSpPr>
          <p:spPr>
            <a:xfrm flipV="1">
              <a:off x="493294" y="2982288"/>
              <a:ext cx="300778" cy="300778"/>
            </a:xfrm>
            <a:prstGeom prst="rtTriangle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30E5CA8-65DD-4AC0-9026-F9AA0A269BD8}"/>
              </a:ext>
            </a:extLst>
          </p:cNvPr>
          <p:cNvCxnSpPr/>
          <p:nvPr userDrawn="1"/>
        </p:nvCxnSpPr>
        <p:spPr>
          <a:xfrm flipV="1">
            <a:off x="7216063" y="1888958"/>
            <a:ext cx="0" cy="4078706"/>
          </a:xfrm>
          <a:prstGeom prst="line">
            <a:avLst/>
          </a:prstGeom>
          <a:ln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C8E9A0B-DD95-4AF3-82E3-6220AFD9C4AA}"/>
              </a:ext>
            </a:extLst>
          </p:cNvPr>
          <p:cNvGrpSpPr/>
          <p:nvPr userDrawn="1"/>
        </p:nvGrpSpPr>
        <p:grpSpPr>
          <a:xfrm>
            <a:off x="7216063" y="1888958"/>
            <a:ext cx="300778" cy="1394108"/>
            <a:chOff x="493294" y="1888958"/>
            <a:chExt cx="300778" cy="139410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B9126C8-C7F2-4E57-9E28-2764B26E642E}"/>
                </a:ext>
              </a:extLst>
            </p:cNvPr>
            <p:cNvSpPr/>
            <p:nvPr userDrawn="1"/>
          </p:nvSpPr>
          <p:spPr>
            <a:xfrm>
              <a:off x="493294" y="1888958"/>
              <a:ext cx="300778" cy="1094874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6" name="Right Triangle 25">
              <a:extLst>
                <a:ext uri="{FF2B5EF4-FFF2-40B4-BE49-F238E27FC236}">
                  <a16:creationId xmlns:a16="http://schemas.microsoft.com/office/drawing/2014/main" id="{3230A573-600F-44D4-8794-9A4C485718C9}"/>
                </a:ext>
              </a:extLst>
            </p:cNvPr>
            <p:cNvSpPr/>
            <p:nvPr userDrawn="1"/>
          </p:nvSpPr>
          <p:spPr>
            <a:xfrm flipV="1">
              <a:off x="493294" y="2982288"/>
              <a:ext cx="300778" cy="300778"/>
            </a:xfrm>
            <a:prstGeom prst="rtTriangle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24C252D-A014-4D1C-A589-1E8366AAF492}"/>
              </a:ext>
            </a:extLst>
          </p:cNvPr>
          <p:cNvCxnSpPr/>
          <p:nvPr userDrawn="1"/>
        </p:nvCxnSpPr>
        <p:spPr>
          <a:xfrm flipV="1">
            <a:off x="9456188" y="1888958"/>
            <a:ext cx="0" cy="4078706"/>
          </a:xfrm>
          <a:prstGeom prst="line">
            <a:avLst/>
          </a:prstGeom>
          <a:ln>
            <a:solidFill>
              <a:srgbClr val="0979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78FEF24-D267-41BF-9C66-78A873C5B3EC}"/>
              </a:ext>
            </a:extLst>
          </p:cNvPr>
          <p:cNvGrpSpPr/>
          <p:nvPr userDrawn="1"/>
        </p:nvGrpSpPr>
        <p:grpSpPr>
          <a:xfrm>
            <a:off x="9456188" y="1888958"/>
            <a:ext cx="300778" cy="1394108"/>
            <a:chOff x="493294" y="1888958"/>
            <a:chExt cx="300778" cy="1394108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91193D2-1341-4087-88C8-0CC3CE52E908}"/>
                </a:ext>
              </a:extLst>
            </p:cNvPr>
            <p:cNvSpPr/>
            <p:nvPr userDrawn="1"/>
          </p:nvSpPr>
          <p:spPr>
            <a:xfrm>
              <a:off x="493294" y="1888958"/>
              <a:ext cx="300778" cy="10948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0" name="Right Triangle 29">
              <a:extLst>
                <a:ext uri="{FF2B5EF4-FFF2-40B4-BE49-F238E27FC236}">
                  <a16:creationId xmlns:a16="http://schemas.microsoft.com/office/drawing/2014/main" id="{DE4F97C2-9B30-4103-9896-4C37F1B1D4F1}"/>
                </a:ext>
              </a:extLst>
            </p:cNvPr>
            <p:cNvSpPr/>
            <p:nvPr userDrawn="1"/>
          </p:nvSpPr>
          <p:spPr>
            <a:xfrm flipV="1">
              <a:off x="493294" y="2982288"/>
              <a:ext cx="300778" cy="300778"/>
            </a:xfrm>
            <a:prstGeom prst="rt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D6E8595-DFD4-49E6-8181-C0A4976927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13" y="3862137"/>
            <a:ext cx="2021299" cy="1938337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1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endParaRPr lang="en-IN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B6E0219-A4EE-42A3-A33A-61E38FBBE2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3613" y="3362700"/>
            <a:ext cx="2021637" cy="361032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BD47B2B-CAE7-4633-AF08-6FB2EC7132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44235" y="3362325"/>
            <a:ext cx="2020887" cy="36195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20DF0699-5B80-4FE6-B3E1-9A4E640EF9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9811" y="3862388"/>
            <a:ext cx="2024029" cy="1938337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10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2B42F75-3903-43E6-AC81-E28D503AF1A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86755" y="3362325"/>
            <a:ext cx="2028825" cy="36195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BBDF245C-115B-48F4-9FC3-2FA406C1A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422" y="3862388"/>
            <a:ext cx="2028825" cy="1957387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10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E27D5830-6F39-45E6-8C3F-A2BFC44FDD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33620" y="3362325"/>
            <a:ext cx="2020888" cy="361950"/>
          </a:xfrm>
        </p:spPr>
        <p:txBody>
          <a:bodyPr anchor="ctr"/>
          <a:lstStyle>
            <a:lvl1pPr>
              <a:defRPr lang="en-US" sz="1400" b="1" kern="1200" smtClean="0">
                <a:solidFill>
                  <a:srgbClr val="0979BF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A322CDF2-74DB-449B-8A69-7CF75A9142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22" y="3862388"/>
            <a:ext cx="2104167" cy="1957387"/>
          </a:xfrm>
        </p:spPr>
        <p:txBody>
          <a:bodyPr/>
          <a:lstStyle>
            <a:lvl1pPr>
              <a:lnSpc>
                <a:spcPct val="150000"/>
              </a:lnSpc>
              <a:defRPr lang="en-US" sz="110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8BA44C2D-3D4D-4B3A-BEC5-46631B929BE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580486" y="3362325"/>
            <a:ext cx="2012950" cy="361950"/>
          </a:xfrm>
        </p:spPr>
        <p:txBody>
          <a:bodyPr anchor="ctr"/>
          <a:lstStyle>
            <a:lvl1pPr>
              <a:defRPr lang="en-US" sz="1400" b="1" kern="1200" dirty="0" smtClean="0">
                <a:solidFill>
                  <a:srgbClr val="0979BF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EB778F74-39C1-4610-B401-5FF0292134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80486" y="3862388"/>
            <a:ext cx="2035175" cy="19573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1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>
              <a:lnSpc>
                <a:spcPct val="150000"/>
              </a:lnSpc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AE0E0430-0F22-4EFE-9F45-3C8DBBE9CE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rot="16200000">
            <a:off x="156524" y="2285209"/>
            <a:ext cx="986503" cy="288590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AN 0000</a:t>
            </a:r>
            <a:endParaRPr lang="en-IN" dirty="0"/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E122DA8A-875A-4122-8EBC-96D30A9C35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2383267" y="2285210"/>
            <a:ext cx="986503" cy="288590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EB 0000</a:t>
            </a:r>
            <a:endParaRPr lang="en-IN" dirty="0"/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ADBD5C67-27F6-402E-BE38-EE68E4D8E5C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4645263" y="2285211"/>
            <a:ext cx="986503" cy="288590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MAR 0000</a:t>
            </a:r>
            <a:endParaRPr lang="en-IN" dirty="0"/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0A00043B-0F4F-487E-BD9E-63C470FCC74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rot="16200000">
            <a:off x="6885388" y="2285211"/>
            <a:ext cx="986503" cy="288590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PR 0000</a:t>
            </a:r>
            <a:endParaRPr lang="en-IN" dirty="0"/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4B640772-1F57-4366-BA06-B00DE05CBC7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rot="16200000">
            <a:off x="9125513" y="2285211"/>
            <a:ext cx="986503" cy="288590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AY 0000</a:t>
            </a:r>
            <a:endParaRPr lang="en-IN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77F162A6-8C20-4A67-8B59-239BB9AB9DC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93750" y="1309887"/>
            <a:ext cx="1804988" cy="167302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3F2F3459-6A7A-480A-8FFA-21A08131585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035885" y="1309688"/>
            <a:ext cx="1820863" cy="16732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IN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B5387CF7-5233-4AF8-851A-F043135A38E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282810" y="1309688"/>
            <a:ext cx="1838325" cy="16859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19D2E1FE-D6F4-430A-9889-9A2F28710B5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526123" y="1309688"/>
            <a:ext cx="1846263" cy="16859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071C4F4C-1DB4-4D88-8B46-A0EB9373147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775246" y="1309688"/>
            <a:ext cx="1865312" cy="16859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8A431315-FDE7-41E5-AF9D-04DE76C585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B54DDD2-84D2-4D59-9B57-E37C195E8D6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301180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897B1-89F8-44B9-BA35-168BB2E99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568A82-E209-49EA-9FC9-8CF3264173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9E39FF7-5C7B-4AA3-8C1E-1878959262DA}"/>
              </a:ext>
            </a:extLst>
          </p:cNvPr>
          <p:cNvSpPr/>
          <p:nvPr userDrawn="1"/>
        </p:nvSpPr>
        <p:spPr>
          <a:xfrm>
            <a:off x="639679" y="3834861"/>
            <a:ext cx="1664640" cy="120316"/>
          </a:xfrm>
          <a:prstGeom prst="parallelogram">
            <a:avLst/>
          </a:prstGeom>
          <a:solidFill>
            <a:srgbClr val="09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ED87A302-F5D5-4D69-8AA8-D95E1665EF56}"/>
              </a:ext>
            </a:extLst>
          </p:cNvPr>
          <p:cNvSpPr/>
          <p:nvPr userDrawn="1"/>
        </p:nvSpPr>
        <p:spPr>
          <a:xfrm>
            <a:off x="2489279" y="3834861"/>
            <a:ext cx="1664640" cy="120316"/>
          </a:xfrm>
          <a:prstGeom prst="parallelogram">
            <a:avLst/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45416FE7-B8BE-423F-B885-D6514AA3AF2C}"/>
              </a:ext>
            </a:extLst>
          </p:cNvPr>
          <p:cNvSpPr/>
          <p:nvPr userDrawn="1"/>
        </p:nvSpPr>
        <p:spPr>
          <a:xfrm>
            <a:off x="4338880" y="3834861"/>
            <a:ext cx="1664640" cy="120316"/>
          </a:xfrm>
          <a:prstGeom prst="parallelogram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482C24D8-FFA0-49C3-A1BA-5EF22A462DA9}"/>
              </a:ext>
            </a:extLst>
          </p:cNvPr>
          <p:cNvSpPr/>
          <p:nvPr userDrawn="1"/>
        </p:nvSpPr>
        <p:spPr>
          <a:xfrm>
            <a:off x="6188480" y="3834861"/>
            <a:ext cx="1664640" cy="120316"/>
          </a:xfrm>
          <a:prstGeom prst="parallelogram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15DF4424-0251-49E7-B82D-1990C6374010}"/>
              </a:ext>
            </a:extLst>
          </p:cNvPr>
          <p:cNvSpPr/>
          <p:nvPr userDrawn="1"/>
        </p:nvSpPr>
        <p:spPr>
          <a:xfrm>
            <a:off x="8038080" y="3834861"/>
            <a:ext cx="1664640" cy="120316"/>
          </a:xfrm>
          <a:prstGeom prst="parallelogram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32225223-B41B-4908-A03F-8F1D4C22E7D6}"/>
              </a:ext>
            </a:extLst>
          </p:cNvPr>
          <p:cNvSpPr/>
          <p:nvPr userDrawn="1"/>
        </p:nvSpPr>
        <p:spPr>
          <a:xfrm>
            <a:off x="9887681" y="3834861"/>
            <a:ext cx="1664640" cy="120316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12D8CA-7B6A-4D49-9052-354E6F57A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680" y="4232320"/>
            <a:ext cx="1664640" cy="2290762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5953887-9FAA-4874-B36E-3F58D87DF9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89279" y="4231819"/>
            <a:ext cx="1665287" cy="2290762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770BD33-65DD-4DF2-8EC1-77FFD35861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8232" y="4231819"/>
            <a:ext cx="1665288" cy="2290762"/>
          </a:xfrm>
        </p:spPr>
        <p:txBody>
          <a:bodyPr>
            <a:normAutofit/>
          </a:bodyPr>
          <a:lstStyle>
            <a:lvl1pPr>
              <a:defRPr lang="en-I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endParaRPr lang="en-IN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3E6F96C-E10E-44CA-89EA-0C12BDFA9E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9420" y="4231819"/>
            <a:ext cx="1663700" cy="2290762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endParaRPr lang="en-IN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AF653BC-DD40-4C57-AB1D-5EC4A248DE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39020" y="4231819"/>
            <a:ext cx="1663700" cy="2290762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endParaRPr lang="en-IN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FD16226-6688-4950-BFFF-83D5C691A0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88620" y="4231819"/>
            <a:ext cx="1663700" cy="229076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03BFB308-5E36-4567-8D48-14DE8CBF1B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3" y="3318916"/>
            <a:ext cx="1663700" cy="337383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2BCCA93-938F-4C07-9354-1FDD4CF629B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89279" y="3319162"/>
            <a:ext cx="1663700" cy="336550"/>
          </a:xfrm>
        </p:spPr>
        <p:txBody>
          <a:bodyPr anchor="ctr"/>
          <a:lstStyle>
            <a:lvl1pPr>
              <a:defRPr b="1">
                <a:solidFill>
                  <a:srgbClr val="062E58"/>
                </a:solidFill>
              </a:defRPr>
            </a:lvl1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2DB26707-41BC-4AA1-A46C-0793C3B79A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820" y="3319162"/>
            <a:ext cx="1663700" cy="336550"/>
          </a:xfrm>
        </p:spPr>
        <p:txBody>
          <a:bodyPr anchor="ctr">
            <a:normAutofit/>
          </a:bodyPr>
          <a:lstStyle>
            <a:lvl1pPr>
              <a:defRPr lang="en-IN" sz="1400" b="1" kern="1200" dirty="0"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DA1D03E1-7328-4FF6-8017-81E649FF82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89420" y="3319162"/>
            <a:ext cx="1663700" cy="336550"/>
          </a:xfrm>
        </p:spPr>
        <p:txBody>
          <a:bodyPr anchor="ctr"/>
          <a:lstStyle>
            <a:lvl1pPr>
              <a:defRPr b="1">
                <a:solidFill>
                  <a:srgbClr val="D9D9D9"/>
                </a:solidFill>
              </a:defRPr>
            </a:lvl1pPr>
          </a:lstStyle>
          <a:p>
            <a:pPr lvl="0"/>
            <a:r>
              <a:rPr lang="en-US" dirty="0"/>
              <a:t>Edit Master text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9BB27E9-9718-429F-9E54-52E1D6389B6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39020" y="3319162"/>
            <a:ext cx="1663700" cy="336550"/>
          </a:xfrm>
        </p:spPr>
        <p:txBody>
          <a:bodyPr anchor="ctr">
            <a:noAutofit/>
          </a:bodyPr>
          <a:lstStyle>
            <a:lvl1pPr>
              <a:defRPr lang="en-US" sz="1400" b="1" kern="1200" dirty="0" smtClean="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 text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0AABD052-A0F5-40FF-B110-24D99D844B7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885606" y="3319162"/>
            <a:ext cx="1663700" cy="336550"/>
          </a:xfrm>
        </p:spPr>
        <p:txBody>
          <a:bodyPr anchor="ctr"/>
          <a:lstStyle>
            <a:lvl1pPr>
              <a:defRPr lang="en-US" sz="1400" b="1" kern="1200" dirty="0" smtClean="0">
                <a:solidFill>
                  <a:srgbClr val="0079C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CBE98A1E-1679-42A5-A180-781ABB0CFE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9763" y="2710905"/>
            <a:ext cx="1662112" cy="469440"/>
          </a:xfrm>
        </p:spPr>
        <p:txBody>
          <a:bodyPr>
            <a:normAutofit/>
          </a:bodyPr>
          <a:lstStyle>
            <a:lvl1pPr>
              <a:defRPr sz="3600" b="1"/>
            </a:lvl1pPr>
          </a:lstStyle>
          <a:p>
            <a:pPr lvl="0"/>
            <a:r>
              <a:rPr lang="en-US" dirty="0"/>
              <a:t>0000</a:t>
            </a:r>
            <a:endParaRPr lang="en-IN" dirty="0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DA023151-317C-4E04-9BA3-F522ECCFB67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89279" y="2711609"/>
            <a:ext cx="1662112" cy="468313"/>
          </a:xfrm>
        </p:spPr>
        <p:txBody>
          <a:bodyPr>
            <a:noAutofit/>
          </a:bodyPr>
          <a:lstStyle>
            <a:lvl1pPr>
              <a:defRPr lang="en-IN" sz="3600" b="1" kern="1200" dirty="0">
                <a:solidFill>
                  <a:srgbClr val="062E58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0000</a:t>
            </a:r>
            <a:endParaRPr lang="en-IN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5D8AC348-7119-41F6-A361-C7CD2ED801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38232" y="2711609"/>
            <a:ext cx="1662113" cy="468313"/>
          </a:xfrm>
        </p:spPr>
        <p:txBody>
          <a:bodyPr/>
          <a:lstStyle>
            <a:lvl1pPr>
              <a:defRPr lang="en-IN" sz="3600" b="1" kern="1200" dirty="0"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0000</a:t>
            </a:r>
            <a:endParaRPr lang="en-IN" dirty="0"/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858BEC65-AA25-4802-84E8-8DC706B318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7186" y="2711609"/>
            <a:ext cx="1662112" cy="468313"/>
          </a:xfrm>
        </p:spPr>
        <p:txBody>
          <a:bodyPr>
            <a:noAutofit/>
          </a:bodyPr>
          <a:lstStyle>
            <a:lvl1pPr>
              <a:defRPr lang="en-IN" sz="3600" b="1" kern="1200" dirty="0">
                <a:solidFill>
                  <a:srgbClr val="D9D9D9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0000</a:t>
            </a:r>
            <a:endParaRPr lang="en-IN" dirty="0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8E822187-6B47-4AB7-BD68-54BC72062B4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34743" y="2711609"/>
            <a:ext cx="1662112" cy="468313"/>
          </a:xfrm>
        </p:spPr>
        <p:txBody>
          <a:bodyPr>
            <a:noAutofit/>
          </a:bodyPr>
          <a:lstStyle>
            <a:lvl1pPr>
              <a:defRPr lang="en-IN" sz="3600" b="1" kern="1200" dirty="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0000</a:t>
            </a:r>
            <a:endParaRPr lang="en-IN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582AE23-15E1-4A3A-978B-C43F7CCFB5F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881490" y="2711609"/>
            <a:ext cx="1662112" cy="468313"/>
          </a:xfrm>
        </p:spPr>
        <p:txBody>
          <a:bodyPr>
            <a:noAutofit/>
          </a:bodyPr>
          <a:lstStyle>
            <a:lvl1pPr>
              <a:defRPr sz="36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D752B16-F6CA-4497-847B-56A0D2E3265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9763" y="1091895"/>
            <a:ext cx="1662112" cy="14446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51616EC-1652-4047-A78A-42114D8BC57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2489279" y="1092200"/>
            <a:ext cx="1662112" cy="143986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00280D5-C13C-4F7A-AABD-8C0FF9BBE69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38231" y="1092200"/>
            <a:ext cx="1662113" cy="143351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B14961F-F252-4BC9-8F6B-84B3815A1A6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87184" y="1092200"/>
            <a:ext cx="1662112" cy="143351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4ACADFA-83E9-4C62-A755-D3C8176DD1E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034743" y="1092200"/>
            <a:ext cx="1662112" cy="143986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07C0B10C-4CCA-4F80-B020-330BA6F3C4A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881490" y="1092200"/>
            <a:ext cx="1662112" cy="143986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0D61E914-F33B-4770-8C8C-1AB17DC3B2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E8B9306E-8F14-4163-B1D2-42CEE0184C2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70596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D4C04-5C1E-43EA-AE45-7507819D36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6B363C-4587-4946-85CB-1310565F49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1AFC7BE0-3FA0-47D6-A21D-248E61BCACED}"/>
              </a:ext>
            </a:extLst>
          </p:cNvPr>
          <p:cNvGrpSpPr/>
          <p:nvPr userDrawn="1"/>
        </p:nvGrpSpPr>
        <p:grpSpPr>
          <a:xfrm>
            <a:off x="1307092" y="1519568"/>
            <a:ext cx="9733431" cy="4812809"/>
            <a:chOff x="1307092" y="1717562"/>
            <a:chExt cx="9733431" cy="4812809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462C9565-3AC7-4C6C-9492-9E853458F2C1}"/>
                </a:ext>
              </a:extLst>
            </p:cNvPr>
            <p:cNvGrpSpPr/>
            <p:nvPr userDrawn="1"/>
          </p:nvGrpSpPr>
          <p:grpSpPr>
            <a:xfrm>
              <a:off x="1307092" y="1717562"/>
              <a:ext cx="9733431" cy="4812809"/>
              <a:chOff x="15793010" y="1450997"/>
              <a:chExt cx="10523950" cy="5203690"/>
            </a:xfrm>
            <a:solidFill>
              <a:srgbClr val="D9D9D9"/>
            </a:solidFill>
          </p:grpSpPr>
          <p:grpSp>
            <p:nvGrpSpPr>
              <p:cNvPr id="154" name="Group 153">
                <a:extLst>
                  <a:ext uri="{FF2B5EF4-FFF2-40B4-BE49-F238E27FC236}">
                    <a16:creationId xmlns:a16="http://schemas.microsoft.com/office/drawing/2014/main" id="{1AA452EF-28C0-4245-8706-C8D8F32B7C05}"/>
                  </a:ext>
                </a:extLst>
              </p:cNvPr>
              <p:cNvGrpSpPr/>
              <p:nvPr/>
            </p:nvGrpSpPr>
            <p:grpSpPr>
              <a:xfrm>
                <a:off x="15793010" y="1450997"/>
                <a:ext cx="10523950" cy="5203690"/>
                <a:chOff x="-19432366" y="-14195247"/>
                <a:chExt cx="17860360" cy="8831264"/>
              </a:xfrm>
              <a:grpFill/>
            </p:grpSpPr>
            <p:sp>
              <p:nvSpPr>
                <p:cNvPr id="174" name="Freeform 56">
                  <a:extLst>
                    <a:ext uri="{FF2B5EF4-FFF2-40B4-BE49-F238E27FC236}">
                      <a16:creationId xmlns:a16="http://schemas.microsoft.com/office/drawing/2014/main" id="{EFF770A4-E044-45D2-A953-93D2895BCC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303819" y="-10309880"/>
                  <a:ext cx="74595" cy="90810"/>
                </a:xfrm>
                <a:custGeom>
                  <a:avLst/>
                  <a:gdLst>
                    <a:gd name="T0" fmla="*/ 10 w 12"/>
                    <a:gd name="T1" fmla="*/ 6 h 15"/>
                    <a:gd name="T2" fmla="*/ 6 w 12"/>
                    <a:gd name="T3" fmla="*/ 0 h 15"/>
                    <a:gd name="T4" fmla="*/ 6 w 12"/>
                    <a:gd name="T5" fmla="*/ 1 h 15"/>
                    <a:gd name="T6" fmla="*/ 0 w 12"/>
                    <a:gd name="T7" fmla="*/ 13 h 15"/>
                    <a:gd name="T8" fmla="*/ 4 w 12"/>
                    <a:gd name="T9" fmla="*/ 15 h 15"/>
                    <a:gd name="T10" fmla="*/ 10 w 12"/>
                    <a:gd name="T11" fmla="*/ 6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15">
                      <a:moveTo>
                        <a:pt x="10" y="6"/>
                      </a:moveTo>
                      <a:cubicBezTo>
                        <a:pt x="11" y="5"/>
                        <a:pt x="12" y="0"/>
                        <a:pt x="6" y="0"/>
                      </a:cubicBezTo>
                      <a:cubicBezTo>
                        <a:pt x="6" y="0"/>
                        <a:pt x="6" y="1"/>
                        <a:pt x="6" y="1"/>
                      </a:cubicBezTo>
                      <a:cubicBezTo>
                        <a:pt x="6" y="3"/>
                        <a:pt x="2" y="9"/>
                        <a:pt x="0" y="13"/>
                      </a:cubicBezTo>
                      <a:cubicBezTo>
                        <a:pt x="4" y="15"/>
                        <a:pt x="4" y="15"/>
                        <a:pt x="4" y="15"/>
                      </a:cubicBezTo>
                      <a:cubicBezTo>
                        <a:pt x="6" y="11"/>
                        <a:pt x="9" y="7"/>
                        <a:pt x="10" y="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75" name="Freeform 57">
                  <a:extLst>
                    <a:ext uri="{FF2B5EF4-FFF2-40B4-BE49-F238E27FC236}">
                      <a16:creationId xmlns:a16="http://schemas.microsoft.com/office/drawing/2014/main" id="{01D6940C-217F-4ADA-9F9A-FBB35495B3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277874" y="-10452582"/>
                  <a:ext cx="340538" cy="278916"/>
                </a:xfrm>
                <a:custGeom>
                  <a:avLst/>
                  <a:gdLst>
                    <a:gd name="T0" fmla="*/ 6 w 55"/>
                    <a:gd name="T1" fmla="*/ 29 h 45"/>
                    <a:gd name="T2" fmla="*/ 0 w 55"/>
                    <a:gd name="T3" fmla="*/ 38 h 45"/>
                    <a:gd name="T4" fmla="*/ 0 w 55"/>
                    <a:gd name="T5" fmla="*/ 38 h 45"/>
                    <a:gd name="T6" fmla="*/ 1 w 55"/>
                    <a:gd name="T7" fmla="*/ 41 h 45"/>
                    <a:gd name="T8" fmla="*/ 8 w 55"/>
                    <a:gd name="T9" fmla="*/ 45 h 45"/>
                    <a:gd name="T10" fmla="*/ 16 w 55"/>
                    <a:gd name="T11" fmla="*/ 40 h 45"/>
                    <a:gd name="T12" fmla="*/ 43 w 55"/>
                    <a:gd name="T13" fmla="*/ 26 h 45"/>
                    <a:gd name="T14" fmla="*/ 45 w 55"/>
                    <a:gd name="T15" fmla="*/ 22 h 45"/>
                    <a:gd name="T16" fmla="*/ 46 w 55"/>
                    <a:gd name="T17" fmla="*/ 15 h 45"/>
                    <a:gd name="T18" fmla="*/ 45 w 55"/>
                    <a:gd name="T19" fmla="*/ 9 h 45"/>
                    <a:gd name="T20" fmla="*/ 50 w 55"/>
                    <a:gd name="T21" fmla="*/ 5 h 45"/>
                    <a:gd name="T22" fmla="*/ 55 w 55"/>
                    <a:gd name="T23" fmla="*/ 1 h 45"/>
                    <a:gd name="T24" fmla="*/ 52 w 55"/>
                    <a:gd name="T25" fmla="*/ 0 h 45"/>
                    <a:gd name="T26" fmla="*/ 43 w 55"/>
                    <a:gd name="T27" fmla="*/ 2 h 45"/>
                    <a:gd name="T28" fmla="*/ 32 w 55"/>
                    <a:gd name="T29" fmla="*/ 5 h 45"/>
                    <a:gd name="T30" fmla="*/ 23 w 55"/>
                    <a:gd name="T31" fmla="*/ 5 h 45"/>
                    <a:gd name="T32" fmla="*/ 18 w 55"/>
                    <a:gd name="T33" fmla="*/ 6 h 45"/>
                    <a:gd name="T34" fmla="*/ 11 w 55"/>
                    <a:gd name="T35" fmla="*/ 6 h 45"/>
                    <a:gd name="T36" fmla="*/ 7 w 55"/>
                    <a:gd name="T37" fmla="*/ 7 h 45"/>
                    <a:gd name="T38" fmla="*/ 3 w 55"/>
                    <a:gd name="T39" fmla="*/ 13 h 45"/>
                    <a:gd name="T40" fmla="*/ 3 w 55"/>
                    <a:gd name="T41" fmla="*/ 17 h 45"/>
                    <a:gd name="T42" fmla="*/ 2 w 55"/>
                    <a:gd name="T43" fmla="*/ 23 h 45"/>
                    <a:gd name="T44" fmla="*/ 6 w 55"/>
                    <a:gd name="T45" fmla="*/ 29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5" h="45">
                      <a:moveTo>
                        <a:pt x="6" y="29"/>
                      </a:moveTo>
                      <a:cubicBezTo>
                        <a:pt x="5" y="30"/>
                        <a:pt x="2" y="34"/>
                        <a:pt x="0" y="38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1" y="41"/>
                        <a:pt x="1" y="41"/>
                        <a:pt x="1" y="41"/>
                      </a:cubicBezTo>
                      <a:cubicBezTo>
                        <a:pt x="8" y="45"/>
                        <a:pt x="8" y="45"/>
                        <a:pt x="8" y="45"/>
                      </a:cubicBezTo>
                      <a:cubicBezTo>
                        <a:pt x="8" y="45"/>
                        <a:pt x="13" y="41"/>
                        <a:pt x="16" y="40"/>
                      </a:cubicBezTo>
                      <a:cubicBezTo>
                        <a:pt x="18" y="40"/>
                        <a:pt x="43" y="26"/>
                        <a:pt x="43" y="26"/>
                      </a:cubicBezTo>
                      <a:cubicBezTo>
                        <a:pt x="43" y="26"/>
                        <a:pt x="45" y="23"/>
                        <a:pt x="45" y="22"/>
                      </a:cubicBezTo>
                      <a:cubicBezTo>
                        <a:pt x="45" y="20"/>
                        <a:pt x="45" y="17"/>
                        <a:pt x="46" y="15"/>
                      </a:cubicBezTo>
                      <a:cubicBezTo>
                        <a:pt x="47" y="14"/>
                        <a:pt x="44" y="11"/>
                        <a:pt x="45" y="9"/>
                      </a:cubicBezTo>
                      <a:cubicBezTo>
                        <a:pt x="46" y="6"/>
                        <a:pt x="50" y="5"/>
                        <a:pt x="50" y="5"/>
                      </a:cubicBezTo>
                      <a:cubicBezTo>
                        <a:pt x="55" y="1"/>
                        <a:pt x="55" y="1"/>
                        <a:pt x="55" y="1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2" y="0"/>
                        <a:pt x="48" y="2"/>
                        <a:pt x="43" y="2"/>
                      </a:cubicBezTo>
                      <a:cubicBezTo>
                        <a:pt x="38" y="1"/>
                        <a:pt x="37" y="5"/>
                        <a:pt x="32" y="5"/>
                      </a:cubicBezTo>
                      <a:cubicBezTo>
                        <a:pt x="27" y="5"/>
                        <a:pt x="24" y="6"/>
                        <a:pt x="23" y="5"/>
                      </a:cubicBezTo>
                      <a:cubicBezTo>
                        <a:pt x="22" y="3"/>
                        <a:pt x="21" y="4"/>
                        <a:pt x="18" y="6"/>
                      </a:cubicBezTo>
                      <a:cubicBezTo>
                        <a:pt x="14" y="7"/>
                        <a:pt x="12" y="7"/>
                        <a:pt x="11" y="6"/>
                      </a:cubicBezTo>
                      <a:cubicBezTo>
                        <a:pt x="9" y="4"/>
                        <a:pt x="8" y="6"/>
                        <a:pt x="7" y="7"/>
                      </a:cubicBezTo>
                      <a:cubicBezTo>
                        <a:pt x="7" y="9"/>
                        <a:pt x="8" y="12"/>
                        <a:pt x="3" y="13"/>
                      </a:cubicBezTo>
                      <a:cubicBezTo>
                        <a:pt x="2" y="14"/>
                        <a:pt x="2" y="16"/>
                        <a:pt x="3" y="17"/>
                      </a:cubicBezTo>
                      <a:cubicBezTo>
                        <a:pt x="4" y="19"/>
                        <a:pt x="2" y="20"/>
                        <a:pt x="2" y="23"/>
                      </a:cubicBezTo>
                      <a:cubicBezTo>
                        <a:pt x="8" y="23"/>
                        <a:pt x="7" y="28"/>
                        <a:pt x="6" y="2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76" name="Freeform 58">
                  <a:extLst>
                    <a:ext uri="{FF2B5EF4-FFF2-40B4-BE49-F238E27FC236}">
                      <a16:creationId xmlns:a16="http://schemas.microsoft.com/office/drawing/2014/main" id="{286D9925-BF9F-4FD4-85E4-39E14A7F83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811974" y="-10507715"/>
                  <a:ext cx="194593" cy="233511"/>
                </a:xfrm>
                <a:custGeom>
                  <a:avLst/>
                  <a:gdLst>
                    <a:gd name="T0" fmla="*/ 8 w 31"/>
                    <a:gd name="T1" fmla="*/ 3 h 38"/>
                    <a:gd name="T2" fmla="*/ 3 w 31"/>
                    <a:gd name="T3" fmla="*/ 6 h 38"/>
                    <a:gd name="T4" fmla="*/ 6 w 31"/>
                    <a:gd name="T5" fmla="*/ 11 h 38"/>
                    <a:gd name="T6" fmla="*/ 5 w 31"/>
                    <a:gd name="T7" fmla="*/ 14 h 38"/>
                    <a:gd name="T8" fmla="*/ 5 w 31"/>
                    <a:gd name="T9" fmla="*/ 21 h 38"/>
                    <a:gd name="T10" fmla="*/ 2 w 31"/>
                    <a:gd name="T11" fmla="*/ 31 h 38"/>
                    <a:gd name="T12" fmla="*/ 4 w 31"/>
                    <a:gd name="T13" fmla="*/ 37 h 38"/>
                    <a:gd name="T14" fmla="*/ 19 w 31"/>
                    <a:gd name="T15" fmla="*/ 32 h 38"/>
                    <a:gd name="T16" fmla="*/ 27 w 31"/>
                    <a:gd name="T17" fmla="*/ 28 h 38"/>
                    <a:gd name="T18" fmla="*/ 30 w 31"/>
                    <a:gd name="T19" fmla="*/ 25 h 38"/>
                    <a:gd name="T20" fmla="*/ 28 w 31"/>
                    <a:gd name="T21" fmla="*/ 13 h 38"/>
                    <a:gd name="T22" fmla="*/ 20 w 31"/>
                    <a:gd name="T23" fmla="*/ 0 h 38"/>
                    <a:gd name="T24" fmla="*/ 15 w 31"/>
                    <a:gd name="T25" fmla="*/ 1 h 38"/>
                    <a:gd name="T26" fmla="*/ 8 w 31"/>
                    <a:gd name="T27" fmla="*/ 3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" h="38">
                      <a:moveTo>
                        <a:pt x="8" y="3"/>
                      </a:moveTo>
                      <a:cubicBezTo>
                        <a:pt x="7" y="3"/>
                        <a:pt x="5" y="5"/>
                        <a:pt x="3" y="6"/>
                      </a:cubicBezTo>
                      <a:cubicBezTo>
                        <a:pt x="4" y="8"/>
                        <a:pt x="4" y="10"/>
                        <a:pt x="6" y="11"/>
                      </a:cubicBezTo>
                      <a:cubicBezTo>
                        <a:pt x="8" y="11"/>
                        <a:pt x="8" y="15"/>
                        <a:pt x="5" y="14"/>
                      </a:cubicBezTo>
                      <a:cubicBezTo>
                        <a:pt x="3" y="13"/>
                        <a:pt x="3" y="18"/>
                        <a:pt x="5" y="21"/>
                      </a:cubicBezTo>
                      <a:cubicBezTo>
                        <a:pt x="7" y="25"/>
                        <a:pt x="0" y="29"/>
                        <a:pt x="2" y="31"/>
                      </a:cubicBezTo>
                      <a:cubicBezTo>
                        <a:pt x="4" y="33"/>
                        <a:pt x="3" y="35"/>
                        <a:pt x="4" y="37"/>
                      </a:cubicBezTo>
                      <a:cubicBezTo>
                        <a:pt x="4" y="38"/>
                        <a:pt x="14" y="36"/>
                        <a:pt x="19" y="32"/>
                      </a:cubicBezTo>
                      <a:cubicBezTo>
                        <a:pt x="23" y="27"/>
                        <a:pt x="24" y="28"/>
                        <a:pt x="27" y="28"/>
                      </a:cubicBezTo>
                      <a:cubicBezTo>
                        <a:pt x="29" y="29"/>
                        <a:pt x="31" y="27"/>
                        <a:pt x="30" y="25"/>
                      </a:cubicBezTo>
                      <a:cubicBezTo>
                        <a:pt x="29" y="23"/>
                        <a:pt x="28" y="19"/>
                        <a:pt x="28" y="13"/>
                      </a:cubicBezTo>
                      <a:cubicBezTo>
                        <a:pt x="28" y="10"/>
                        <a:pt x="24" y="4"/>
                        <a:pt x="20" y="0"/>
                      </a:cubicBezTo>
                      <a:cubicBezTo>
                        <a:pt x="18" y="1"/>
                        <a:pt x="17" y="1"/>
                        <a:pt x="15" y="1"/>
                      </a:cubicBezTo>
                      <a:cubicBezTo>
                        <a:pt x="12" y="1"/>
                        <a:pt x="9" y="1"/>
                        <a:pt x="8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77" name="Freeform 59">
                  <a:extLst>
                    <a:ext uri="{FF2B5EF4-FFF2-40B4-BE49-F238E27FC236}">
                      <a16:creationId xmlns:a16="http://schemas.microsoft.com/office/drawing/2014/main" id="{8104C36B-EA4E-4642-8E11-F69E123608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676819" y="-9849345"/>
                  <a:ext cx="223783" cy="291889"/>
                </a:xfrm>
                <a:custGeom>
                  <a:avLst/>
                  <a:gdLst>
                    <a:gd name="T0" fmla="*/ 36 w 36"/>
                    <a:gd name="T1" fmla="*/ 40 h 47"/>
                    <a:gd name="T2" fmla="*/ 33 w 36"/>
                    <a:gd name="T3" fmla="*/ 24 h 47"/>
                    <a:gd name="T4" fmla="*/ 27 w 36"/>
                    <a:gd name="T5" fmla="*/ 30 h 47"/>
                    <a:gd name="T6" fmla="*/ 27 w 36"/>
                    <a:gd name="T7" fmla="*/ 22 h 47"/>
                    <a:gd name="T8" fmla="*/ 33 w 36"/>
                    <a:gd name="T9" fmla="*/ 14 h 47"/>
                    <a:gd name="T10" fmla="*/ 28 w 36"/>
                    <a:gd name="T11" fmla="*/ 12 h 47"/>
                    <a:gd name="T12" fmla="*/ 19 w 36"/>
                    <a:gd name="T13" fmla="*/ 12 h 47"/>
                    <a:gd name="T14" fmla="*/ 15 w 36"/>
                    <a:gd name="T15" fmla="*/ 8 h 47"/>
                    <a:gd name="T16" fmla="*/ 9 w 36"/>
                    <a:gd name="T17" fmla="*/ 4 h 47"/>
                    <a:gd name="T18" fmla="*/ 3 w 36"/>
                    <a:gd name="T19" fmla="*/ 4 h 47"/>
                    <a:gd name="T20" fmla="*/ 8 w 36"/>
                    <a:gd name="T21" fmla="*/ 11 h 47"/>
                    <a:gd name="T22" fmla="*/ 4 w 36"/>
                    <a:gd name="T23" fmla="*/ 14 h 47"/>
                    <a:gd name="T24" fmla="*/ 6 w 36"/>
                    <a:gd name="T25" fmla="*/ 26 h 47"/>
                    <a:gd name="T26" fmla="*/ 8 w 36"/>
                    <a:gd name="T27" fmla="*/ 41 h 47"/>
                    <a:gd name="T28" fmla="*/ 14 w 36"/>
                    <a:gd name="T29" fmla="*/ 39 h 47"/>
                    <a:gd name="T30" fmla="*/ 20 w 36"/>
                    <a:gd name="T31" fmla="*/ 36 h 47"/>
                    <a:gd name="T32" fmla="*/ 25 w 36"/>
                    <a:gd name="T33" fmla="*/ 32 h 47"/>
                    <a:gd name="T34" fmla="*/ 29 w 36"/>
                    <a:gd name="T35" fmla="*/ 43 h 47"/>
                    <a:gd name="T36" fmla="*/ 31 w 36"/>
                    <a:gd name="T37" fmla="*/ 47 h 47"/>
                    <a:gd name="T38" fmla="*/ 33 w 36"/>
                    <a:gd name="T39" fmla="*/ 45 h 47"/>
                    <a:gd name="T40" fmla="*/ 36 w 36"/>
                    <a:gd name="T41" fmla="*/ 4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6" h="47">
                      <a:moveTo>
                        <a:pt x="36" y="40"/>
                      </a:moveTo>
                      <a:cubicBezTo>
                        <a:pt x="34" y="32"/>
                        <a:pt x="34" y="24"/>
                        <a:pt x="33" y="24"/>
                      </a:cubicBezTo>
                      <a:cubicBezTo>
                        <a:pt x="31" y="24"/>
                        <a:pt x="29" y="31"/>
                        <a:pt x="27" y="30"/>
                      </a:cubicBezTo>
                      <a:cubicBezTo>
                        <a:pt x="24" y="30"/>
                        <a:pt x="24" y="22"/>
                        <a:pt x="27" y="22"/>
                      </a:cubicBezTo>
                      <a:cubicBezTo>
                        <a:pt x="30" y="22"/>
                        <a:pt x="33" y="16"/>
                        <a:pt x="33" y="14"/>
                      </a:cubicBezTo>
                      <a:cubicBezTo>
                        <a:pt x="33" y="12"/>
                        <a:pt x="31" y="12"/>
                        <a:pt x="28" y="12"/>
                      </a:cubicBezTo>
                      <a:cubicBezTo>
                        <a:pt x="25" y="12"/>
                        <a:pt x="19" y="12"/>
                        <a:pt x="19" y="12"/>
                      </a:cubicBezTo>
                      <a:cubicBezTo>
                        <a:pt x="19" y="12"/>
                        <a:pt x="15" y="11"/>
                        <a:pt x="15" y="8"/>
                      </a:cubicBezTo>
                      <a:cubicBezTo>
                        <a:pt x="15" y="6"/>
                        <a:pt x="13" y="4"/>
                        <a:pt x="9" y="4"/>
                      </a:cubicBezTo>
                      <a:cubicBezTo>
                        <a:pt x="6" y="4"/>
                        <a:pt x="6" y="0"/>
                        <a:pt x="3" y="4"/>
                      </a:cubicBezTo>
                      <a:cubicBezTo>
                        <a:pt x="0" y="8"/>
                        <a:pt x="9" y="8"/>
                        <a:pt x="8" y="11"/>
                      </a:cubicBezTo>
                      <a:cubicBezTo>
                        <a:pt x="7" y="14"/>
                        <a:pt x="4" y="12"/>
                        <a:pt x="4" y="14"/>
                      </a:cubicBezTo>
                      <a:cubicBezTo>
                        <a:pt x="3" y="16"/>
                        <a:pt x="4" y="23"/>
                        <a:pt x="6" y="26"/>
                      </a:cubicBezTo>
                      <a:cubicBezTo>
                        <a:pt x="7" y="29"/>
                        <a:pt x="8" y="35"/>
                        <a:pt x="8" y="41"/>
                      </a:cubicBezTo>
                      <a:cubicBezTo>
                        <a:pt x="11" y="40"/>
                        <a:pt x="12" y="39"/>
                        <a:pt x="14" y="39"/>
                      </a:cubicBezTo>
                      <a:cubicBezTo>
                        <a:pt x="16" y="39"/>
                        <a:pt x="20" y="39"/>
                        <a:pt x="20" y="36"/>
                      </a:cubicBezTo>
                      <a:cubicBezTo>
                        <a:pt x="20" y="34"/>
                        <a:pt x="23" y="32"/>
                        <a:pt x="25" y="32"/>
                      </a:cubicBezTo>
                      <a:cubicBezTo>
                        <a:pt x="27" y="33"/>
                        <a:pt x="29" y="40"/>
                        <a:pt x="29" y="43"/>
                      </a:cubicBezTo>
                      <a:cubicBezTo>
                        <a:pt x="29" y="44"/>
                        <a:pt x="30" y="46"/>
                        <a:pt x="31" y="47"/>
                      </a:cubicBezTo>
                      <a:cubicBezTo>
                        <a:pt x="32" y="46"/>
                        <a:pt x="33" y="45"/>
                        <a:pt x="33" y="45"/>
                      </a:cubicBezTo>
                      <a:cubicBezTo>
                        <a:pt x="33" y="45"/>
                        <a:pt x="34" y="41"/>
                        <a:pt x="36" y="4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78" name="Freeform 61">
                  <a:extLst>
                    <a:ext uri="{FF2B5EF4-FFF2-40B4-BE49-F238E27FC236}">
                      <a16:creationId xmlns:a16="http://schemas.microsoft.com/office/drawing/2014/main" id="{679270FA-DC15-4B4A-BEB2-FFDE325B25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676819" y="-11360681"/>
                  <a:ext cx="1563227" cy="668101"/>
                </a:xfrm>
                <a:custGeom>
                  <a:avLst/>
                  <a:gdLst>
                    <a:gd name="T0" fmla="*/ 235 w 253"/>
                    <a:gd name="T1" fmla="*/ 46 h 108"/>
                    <a:gd name="T2" fmla="*/ 219 w 253"/>
                    <a:gd name="T3" fmla="*/ 45 h 108"/>
                    <a:gd name="T4" fmla="*/ 220 w 253"/>
                    <a:gd name="T5" fmla="*/ 36 h 108"/>
                    <a:gd name="T6" fmla="*/ 221 w 253"/>
                    <a:gd name="T7" fmla="*/ 23 h 108"/>
                    <a:gd name="T8" fmla="*/ 204 w 253"/>
                    <a:gd name="T9" fmla="*/ 21 h 108"/>
                    <a:gd name="T10" fmla="*/ 191 w 253"/>
                    <a:gd name="T11" fmla="*/ 28 h 108"/>
                    <a:gd name="T12" fmla="*/ 170 w 253"/>
                    <a:gd name="T13" fmla="*/ 30 h 108"/>
                    <a:gd name="T14" fmla="*/ 155 w 253"/>
                    <a:gd name="T15" fmla="*/ 24 h 108"/>
                    <a:gd name="T16" fmla="*/ 143 w 253"/>
                    <a:gd name="T17" fmla="*/ 19 h 108"/>
                    <a:gd name="T18" fmla="*/ 128 w 253"/>
                    <a:gd name="T19" fmla="*/ 18 h 108"/>
                    <a:gd name="T20" fmla="*/ 115 w 253"/>
                    <a:gd name="T21" fmla="*/ 19 h 108"/>
                    <a:gd name="T22" fmla="*/ 109 w 253"/>
                    <a:gd name="T23" fmla="*/ 8 h 108"/>
                    <a:gd name="T24" fmla="*/ 95 w 253"/>
                    <a:gd name="T25" fmla="*/ 4 h 108"/>
                    <a:gd name="T26" fmla="*/ 84 w 253"/>
                    <a:gd name="T27" fmla="*/ 0 h 108"/>
                    <a:gd name="T28" fmla="*/ 77 w 253"/>
                    <a:gd name="T29" fmla="*/ 6 h 108"/>
                    <a:gd name="T30" fmla="*/ 77 w 253"/>
                    <a:gd name="T31" fmla="*/ 16 h 108"/>
                    <a:gd name="T32" fmla="*/ 70 w 253"/>
                    <a:gd name="T33" fmla="*/ 24 h 108"/>
                    <a:gd name="T34" fmla="*/ 58 w 253"/>
                    <a:gd name="T35" fmla="*/ 23 h 108"/>
                    <a:gd name="T36" fmla="*/ 48 w 253"/>
                    <a:gd name="T37" fmla="*/ 16 h 108"/>
                    <a:gd name="T38" fmla="*/ 31 w 253"/>
                    <a:gd name="T39" fmla="*/ 15 h 108"/>
                    <a:gd name="T40" fmla="*/ 21 w 253"/>
                    <a:gd name="T41" fmla="*/ 21 h 108"/>
                    <a:gd name="T42" fmla="*/ 7 w 253"/>
                    <a:gd name="T43" fmla="*/ 28 h 108"/>
                    <a:gd name="T44" fmla="*/ 0 w 253"/>
                    <a:gd name="T45" fmla="*/ 31 h 108"/>
                    <a:gd name="T46" fmla="*/ 6 w 253"/>
                    <a:gd name="T47" fmla="*/ 39 h 108"/>
                    <a:gd name="T48" fmla="*/ 20 w 253"/>
                    <a:gd name="T49" fmla="*/ 48 h 108"/>
                    <a:gd name="T50" fmla="*/ 24 w 253"/>
                    <a:gd name="T51" fmla="*/ 63 h 108"/>
                    <a:gd name="T52" fmla="*/ 41 w 253"/>
                    <a:gd name="T53" fmla="*/ 74 h 108"/>
                    <a:gd name="T54" fmla="*/ 52 w 253"/>
                    <a:gd name="T55" fmla="*/ 81 h 108"/>
                    <a:gd name="T56" fmla="*/ 63 w 253"/>
                    <a:gd name="T57" fmla="*/ 96 h 108"/>
                    <a:gd name="T58" fmla="*/ 92 w 253"/>
                    <a:gd name="T59" fmla="*/ 97 h 108"/>
                    <a:gd name="T60" fmla="*/ 115 w 253"/>
                    <a:gd name="T61" fmla="*/ 103 h 108"/>
                    <a:gd name="T62" fmla="*/ 130 w 253"/>
                    <a:gd name="T63" fmla="*/ 108 h 108"/>
                    <a:gd name="T64" fmla="*/ 162 w 253"/>
                    <a:gd name="T65" fmla="*/ 100 h 108"/>
                    <a:gd name="T66" fmla="*/ 186 w 253"/>
                    <a:gd name="T67" fmla="*/ 86 h 108"/>
                    <a:gd name="T68" fmla="*/ 192 w 253"/>
                    <a:gd name="T69" fmla="*/ 75 h 108"/>
                    <a:gd name="T70" fmla="*/ 217 w 253"/>
                    <a:gd name="T71" fmla="*/ 70 h 108"/>
                    <a:gd name="T72" fmla="*/ 234 w 253"/>
                    <a:gd name="T73" fmla="*/ 59 h 108"/>
                    <a:gd name="T74" fmla="*/ 253 w 253"/>
                    <a:gd name="T75" fmla="*/ 56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53" h="108">
                      <a:moveTo>
                        <a:pt x="242" y="45"/>
                      </a:moveTo>
                      <a:cubicBezTo>
                        <a:pt x="240" y="42"/>
                        <a:pt x="236" y="44"/>
                        <a:pt x="235" y="46"/>
                      </a:cubicBezTo>
                      <a:cubicBezTo>
                        <a:pt x="234" y="49"/>
                        <a:pt x="232" y="45"/>
                        <a:pt x="227" y="45"/>
                      </a:cubicBezTo>
                      <a:cubicBezTo>
                        <a:pt x="222" y="45"/>
                        <a:pt x="222" y="48"/>
                        <a:pt x="219" y="45"/>
                      </a:cubicBezTo>
                      <a:cubicBezTo>
                        <a:pt x="215" y="42"/>
                        <a:pt x="220" y="40"/>
                        <a:pt x="220" y="40"/>
                      </a:cubicBezTo>
                      <a:cubicBezTo>
                        <a:pt x="220" y="36"/>
                        <a:pt x="220" y="36"/>
                        <a:pt x="220" y="36"/>
                      </a:cubicBezTo>
                      <a:cubicBezTo>
                        <a:pt x="227" y="23"/>
                        <a:pt x="227" y="23"/>
                        <a:pt x="227" y="23"/>
                      </a:cubicBezTo>
                      <a:cubicBezTo>
                        <a:pt x="225" y="23"/>
                        <a:pt x="222" y="22"/>
                        <a:pt x="221" y="23"/>
                      </a:cubicBezTo>
                      <a:cubicBezTo>
                        <a:pt x="219" y="24"/>
                        <a:pt x="214" y="23"/>
                        <a:pt x="214" y="21"/>
                      </a:cubicBezTo>
                      <a:cubicBezTo>
                        <a:pt x="213" y="20"/>
                        <a:pt x="206" y="20"/>
                        <a:pt x="204" y="21"/>
                      </a:cubicBezTo>
                      <a:cubicBezTo>
                        <a:pt x="202" y="22"/>
                        <a:pt x="198" y="24"/>
                        <a:pt x="197" y="25"/>
                      </a:cubicBezTo>
                      <a:cubicBezTo>
                        <a:pt x="197" y="27"/>
                        <a:pt x="193" y="26"/>
                        <a:pt x="191" y="28"/>
                      </a:cubicBezTo>
                      <a:cubicBezTo>
                        <a:pt x="189" y="29"/>
                        <a:pt x="181" y="29"/>
                        <a:pt x="181" y="30"/>
                      </a:cubicBezTo>
                      <a:cubicBezTo>
                        <a:pt x="180" y="31"/>
                        <a:pt x="171" y="31"/>
                        <a:pt x="170" y="30"/>
                      </a:cubicBezTo>
                      <a:cubicBezTo>
                        <a:pt x="168" y="29"/>
                        <a:pt x="161" y="30"/>
                        <a:pt x="160" y="28"/>
                      </a:cubicBezTo>
                      <a:cubicBezTo>
                        <a:pt x="159" y="26"/>
                        <a:pt x="155" y="26"/>
                        <a:pt x="155" y="24"/>
                      </a:cubicBezTo>
                      <a:cubicBezTo>
                        <a:pt x="155" y="22"/>
                        <a:pt x="149" y="22"/>
                        <a:pt x="149" y="21"/>
                      </a:cubicBezTo>
                      <a:cubicBezTo>
                        <a:pt x="148" y="19"/>
                        <a:pt x="143" y="19"/>
                        <a:pt x="143" y="19"/>
                      </a:cubicBezTo>
                      <a:cubicBezTo>
                        <a:pt x="142" y="20"/>
                        <a:pt x="137" y="18"/>
                        <a:pt x="135" y="17"/>
                      </a:cubicBezTo>
                      <a:cubicBezTo>
                        <a:pt x="134" y="17"/>
                        <a:pt x="129" y="18"/>
                        <a:pt x="128" y="18"/>
                      </a:cubicBezTo>
                      <a:cubicBezTo>
                        <a:pt x="126" y="18"/>
                        <a:pt x="124" y="21"/>
                        <a:pt x="122" y="21"/>
                      </a:cubicBezTo>
                      <a:cubicBezTo>
                        <a:pt x="120" y="21"/>
                        <a:pt x="116" y="18"/>
                        <a:pt x="115" y="19"/>
                      </a:cubicBezTo>
                      <a:cubicBezTo>
                        <a:pt x="114" y="20"/>
                        <a:pt x="111" y="17"/>
                        <a:pt x="110" y="15"/>
                      </a:cubicBezTo>
                      <a:cubicBezTo>
                        <a:pt x="109" y="14"/>
                        <a:pt x="110" y="10"/>
                        <a:pt x="109" y="8"/>
                      </a:cubicBezTo>
                      <a:cubicBezTo>
                        <a:pt x="108" y="7"/>
                        <a:pt x="103" y="7"/>
                        <a:pt x="101" y="6"/>
                      </a:cubicBezTo>
                      <a:cubicBezTo>
                        <a:pt x="99" y="5"/>
                        <a:pt x="97" y="4"/>
                        <a:pt x="95" y="4"/>
                      </a:cubicBezTo>
                      <a:cubicBezTo>
                        <a:pt x="94" y="4"/>
                        <a:pt x="91" y="3"/>
                        <a:pt x="90" y="2"/>
                      </a:cubicBezTo>
                      <a:cubicBezTo>
                        <a:pt x="89" y="2"/>
                        <a:pt x="86" y="1"/>
                        <a:pt x="84" y="0"/>
                      </a:cubicBezTo>
                      <a:cubicBezTo>
                        <a:pt x="83" y="0"/>
                        <a:pt x="82" y="2"/>
                        <a:pt x="81" y="3"/>
                      </a:cubicBezTo>
                      <a:cubicBezTo>
                        <a:pt x="80" y="4"/>
                        <a:pt x="78" y="4"/>
                        <a:pt x="77" y="6"/>
                      </a:cubicBezTo>
                      <a:cubicBezTo>
                        <a:pt x="77" y="7"/>
                        <a:pt x="73" y="8"/>
                        <a:pt x="74" y="10"/>
                      </a:cubicBezTo>
                      <a:cubicBezTo>
                        <a:pt x="74" y="11"/>
                        <a:pt x="75" y="15"/>
                        <a:pt x="77" y="16"/>
                      </a:cubicBezTo>
                      <a:cubicBezTo>
                        <a:pt x="78" y="17"/>
                        <a:pt x="77" y="20"/>
                        <a:pt x="76" y="21"/>
                      </a:cubicBezTo>
                      <a:cubicBezTo>
                        <a:pt x="76" y="22"/>
                        <a:pt x="71" y="23"/>
                        <a:pt x="70" y="24"/>
                      </a:cubicBezTo>
                      <a:cubicBezTo>
                        <a:pt x="69" y="26"/>
                        <a:pt x="66" y="24"/>
                        <a:pt x="64" y="23"/>
                      </a:cubicBezTo>
                      <a:cubicBezTo>
                        <a:pt x="62" y="21"/>
                        <a:pt x="59" y="22"/>
                        <a:pt x="58" y="23"/>
                      </a:cubicBezTo>
                      <a:cubicBezTo>
                        <a:pt x="56" y="24"/>
                        <a:pt x="52" y="21"/>
                        <a:pt x="51" y="21"/>
                      </a:cubicBezTo>
                      <a:cubicBezTo>
                        <a:pt x="50" y="20"/>
                        <a:pt x="50" y="16"/>
                        <a:pt x="48" y="16"/>
                      </a:cubicBezTo>
                      <a:cubicBezTo>
                        <a:pt x="47" y="16"/>
                        <a:pt x="39" y="15"/>
                        <a:pt x="37" y="14"/>
                      </a:cubicBezTo>
                      <a:cubicBezTo>
                        <a:pt x="35" y="14"/>
                        <a:pt x="32" y="14"/>
                        <a:pt x="31" y="15"/>
                      </a:cubicBezTo>
                      <a:cubicBezTo>
                        <a:pt x="31" y="16"/>
                        <a:pt x="27" y="16"/>
                        <a:pt x="26" y="17"/>
                      </a:cubicBezTo>
                      <a:cubicBezTo>
                        <a:pt x="25" y="19"/>
                        <a:pt x="22" y="20"/>
                        <a:pt x="21" y="21"/>
                      </a:cubicBezTo>
                      <a:cubicBezTo>
                        <a:pt x="20" y="22"/>
                        <a:pt x="16" y="22"/>
                        <a:pt x="15" y="25"/>
                      </a:cubicBezTo>
                      <a:cubicBezTo>
                        <a:pt x="14" y="27"/>
                        <a:pt x="9" y="28"/>
                        <a:pt x="7" y="28"/>
                      </a:cubicBezTo>
                      <a:cubicBezTo>
                        <a:pt x="6" y="28"/>
                        <a:pt x="2" y="29"/>
                        <a:pt x="2" y="30"/>
                      </a:cubicBezTo>
                      <a:cubicBezTo>
                        <a:pt x="2" y="31"/>
                        <a:pt x="1" y="31"/>
                        <a:pt x="0" y="31"/>
                      </a:cubicBezTo>
                      <a:cubicBezTo>
                        <a:pt x="0" y="31"/>
                        <a:pt x="0" y="31"/>
                        <a:pt x="1" y="31"/>
                      </a:cubicBezTo>
                      <a:cubicBezTo>
                        <a:pt x="2" y="37"/>
                        <a:pt x="4" y="37"/>
                        <a:pt x="6" y="39"/>
                      </a:cubicBezTo>
                      <a:cubicBezTo>
                        <a:pt x="9" y="41"/>
                        <a:pt x="11" y="43"/>
                        <a:pt x="14" y="43"/>
                      </a:cubicBezTo>
                      <a:cubicBezTo>
                        <a:pt x="16" y="43"/>
                        <a:pt x="20" y="46"/>
                        <a:pt x="20" y="48"/>
                      </a:cubicBezTo>
                      <a:cubicBezTo>
                        <a:pt x="21" y="51"/>
                        <a:pt x="23" y="53"/>
                        <a:pt x="25" y="55"/>
                      </a:cubicBezTo>
                      <a:cubicBezTo>
                        <a:pt x="26" y="56"/>
                        <a:pt x="24" y="60"/>
                        <a:pt x="24" y="63"/>
                      </a:cubicBezTo>
                      <a:cubicBezTo>
                        <a:pt x="24" y="66"/>
                        <a:pt x="21" y="66"/>
                        <a:pt x="22" y="69"/>
                      </a:cubicBezTo>
                      <a:cubicBezTo>
                        <a:pt x="24" y="72"/>
                        <a:pt x="37" y="74"/>
                        <a:pt x="41" y="74"/>
                      </a:cubicBezTo>
                      <a:cubicBezTo>
                        <a:pt x="44" y="74"/>
                        <a:pt x="45" y="77"/>
                        <a:pt x="47" y="77"/>
                      </a:cubicBezTo>
                      <a:cubicBezTo>
                        <a:pt x="49" y="78"/>
                        <a:pt x="49" y="80"/>
                        <a:pt x="52" y="81"/>
                      </a:cubicBezTo>
                      <a:cubicBezTo>
                        <a:pt x="54" y="81"/>
                        <a:pt x="57" y="83"/>
                        <a:pt x="58" y="88"/>
                      </a:cubicBezTo>
                      <a:cubicBezTo>
                        <a:pt x="59" y="92"/>
                        <a:pt x="62" y="94"/>
                        <a:pt x="63" y="96"/>
                      </a:cubicBezTo>
                      <a:cubicBezTo>
                        <a:pt x="63" y="98"/>
                        <a:pt x="69" y="96"/>
                        <a:pt x="73" y="97"/>
                      </a:cubicBezTo>
                      <a:cubicBezTo>
                        <a:pt x="77" y="97"/>
                        <a:pt x="89" y="97"/>
                        <a:pt x="92" y="97"/>
                      </a:cubicBezTo>
                      <a:cubicBezTo>
                        <a:pt x="95" y="98"/>
                        <a:pt x="103" y="97"/>
                        <a:pt x="107" y="101"/>
                      </a:cubicBezTo>
                      <a:cubicBezTo>
                        <a:pt x="111" y="104"/>
                        <a:pt x="113" y="101"/>
                        <a:pt x="115" y="103"/>
                      </a:cubicBezTo>
                      <a:cubicBezTo>
                        <a:pt x="118" y="104"/>
                        <a:pt x="120" y="105"/>
                        <a:pt x="124" y="105"/>
                      </a:cubicBezTo>
                      <a:cubicBezTo>
                        <a:pt x="127" y="104"/>
                        <a:pt x="127" y="107"/>
                        <a:pt x="130" y="108"/>
                      </a:cubicBezTo>
                      <a:cubicBezTo>
                        <a:pt x="133" y="108"/>
                        <a:pt x="137" y="104"/>
                        <a:pt x="144" y="101"/>
                      </a:cubicBezTo>
                      <a:cubicBezTo>
                        <a:pt x="151" y="97"/>
                        <a:pt x="158" y="100"/>
                        <a:pt x="162" y="100"/>
                      </a:cubicBezTo>
                      <a:cubicBezTo>
                        <a:pt x="166" y="101"/>
                        <a:pt x="172" y="99"/>
                        <a:pt x="177" y="94"/>
                      </a:cubicBezTo>
                      <a:cubicBezTo>
                        <a:pt x="181" y="89"/>
                        <a:pt x="186" y="90"/>
                        <a:pt x="186" y="86"/>
                      </a:cubicBezTo>
                      <a:cubicBezTo>
                        <a:pt x="187" y="82"/>
                        <a:pt x="182" y="80"/>
                        <a:pt x="184" y="77"/>
                      </a:cubicBezTo>
                      <a:cubicBezTo>
                        <a:pt x="186" y="73"/>
                        <a:pt x="190" y="74"/>
                        <a:pt x="192" y="75"/>
                      </a:cubicBezTo>
                      <a:cubicBezTo>
                        <a:pt x="194" y="76"/>
                        <a:pt x="200" y="77"/>
                        <a:pt x="205" y="74"/>
                      </a:cubicBezTo>
                      <a:cubicBezTo>
                        <a:pt x="210" y="70"/>
                        <a:pt x="212" y="71"/>
                        <a:pt x="217" y="70"/>
                      </a:cubicBezTo>
                      <a:cubicBezTo>
                        <a:pt x="222" y="69"/>
                        <a:pt x="221" y="66"/>
                        <a:pt x="224" y="63"/>
                      </a:cubicBezTo>
                      <a:cubicBezTo>
                        <a:pt x="227" y="60"/>
                        <a:pt x="231" y="59"/>
                        <a:pt x="234" y="59"/>
                      </a:cubicBezTo>
                      <a:cubicBezTo>
                        <a:pt x="237" y="59"/>
                        <a:pt x="241" y="56"/>
                        <a:pt x="244" y="57"/>
                      </a:cubicBezTo>
                      <a:cubicBezTo>
                        <a:pt x="248" y="58"/>
                        <a:pt x="252" y="59"/>
                        <a:pt x="253" y="56"/>
                      </a:cubicBezTo>
                      <a:cubicBezTo>
                        <a:pt x="253" y="53"/>
                        <a:pt x="245" y="48"/>
                        <a:pt x="242" y="4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79" name="Freeform 62">
                  <a:extLst>
                    <a:ext uri="{FF2B5EF4-FFF2-40B4-BE49-F238E27FC236}">
                      <a16:creationId xmlns:a16="http://schemas.microsoft.com/office/drawing/2014/main" id="{3DAC2088-936A-4DDE-95DF-A1BFD85D90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310306" y="-10186638"/>
                  <a:ext cx="25946" cy="68108"/>
                </a:xfrm>
                <a:custGeom>
                  <a:avLst/>
                  <a:gdLst>
                    <a:gd name="T0" fmla="*/ 2 w 4"/>
                    <a:gd name="T1" fmla="*/ 0 h 11"/>
                    <a:gd name="T2" fmla="*/ 0 w 4"/>
                    <a:gd name="T3" fmla="*/ 6 h 11"/>
                    <a:gd name="T4" fmla="*/ 3 w 4"/>
                    <a:gd name="T5" fmla="*/ 11 h 11"/>
                    <a:gd name="T6" fmla="*/ 4 w 4"/>
                    <a:gd name="T7" fmla="*/ 2 h 11"/>
                    <a:gd name="T8" fmla="*/ 4 w 4"/>
                    <a:gd name="T9" fmla="*/ 0 h 11"/>
                    <a:gd name="T10" fmla="*/ 2 w 4"/>
                    <a:gd name="T11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11">
                      <a:moveTo>
                        <a:pt x="2" y="0"/>
                      </a:moveTo>
                      <a:cubicBezTo>
                        <a:pt x="1" y="1"/>
                        <a:pt x="0" y="5"/>
                        <a:pt x="0" y="6"/>
                      </a:cubicBezTo>
                      <a:cubicBezTo>
                        <a:pt x="0" y="7"/>
                        <a:pt x="1" y="9"/>
                        <a:pt x="3" y="11"/>
                      </a:cubicBezTo>
                      <a:cubicBezTo>
                        <a:pt x="4" y="8"/>
                        <a:pt x="4" y="3"/>
                        <a:pt x="4" y="2"/>
                      </a:cubicBezTo>
                      <a:cubicBezTo>
                        <a:pt x="4" y="1"/>
                        <a:pt x="4" y="1"/>
                        <a:pt x="4" y="0"/>
                      </a:cubicBezTo>
                      <a:cubicBezTo>
                        <a:pt x="3" y="0"/>
                        <a:pt x="2" y="0"/>
                        <a:pt x="2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0" name="Freeform 63">
                  <a:extLst>
                    <a:ext uri="{FF2B5EF4-FFF2-40B4-BE49-F238E27FC236}">
                      <a16:creationId xmlns:a16="http://schemas.microsoft.com/office/drawing/2014/main" id="{F254E89F-603E-439A-8964-28E337ABA1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352468" y="-10232043"/>
                  <a:ext cx="74595" cy="210810"/>
                </a:xfrm>
                <a:custGeom>
                  <a:avLst/>
                  <a:gdLst>
                    <a:gd name="T0" fmla="*/ 6 w 12"/>
                    <a:gd name="T1" fmla="*/ 33 h 34"/>
                    <a:gd name="T2" fmla="*/ 7 w 12"/>
                    <a:gd name="T3" fmla="*/ 34 h 34"/>
                    <a:gd name="T4" fmla="*/ 9 w 12"/>
                    <a:gd name="T5" fmla="*/ 22 h 34"/>
                    <a:gd name="T6" fmla="*/ 10 w 12"/>
                    <a:gd name="T7" fmla="*/ 18 h 34"/>
                    <a:gd name="T8" fmla="*/ 7 w 12"/>
                    <a:gd name="T9" fmla="*/ 13 h 34"/>
                    <a:gd name="T10" fmla="*/ 9 w 12"/>
                    <a:gd name="T11" fmla="*/ 7 h 34"/>
                    <a:gd name="T12" fmla="*/ 11 w 12"/>
                    <a:gd name="T13" fmla="*/ 7 h 34"/>
                    <a:gd name="T14" fmla="*/ 12 w 12"/>
                    <a:gd name="T15" fmla="*/ 2 h 34"/>
                    <a:gd name="T16" fmla="*/ 8 w 12"/>
                    <a:gd name="T17" fmla="*/ 0 h 34"/>
                    <a:gd name="T18" fmla="*/ 7 w 12"/>
                    <a:gd name="T19" fmla="*/ 4 h 34"/>
                    <a:gd name="T20" fmla="*/ 0 w 12"/>
                    <a:gd name="T21" fmla="*/ 18 h 34"/>
                    <a:gd name="T22" fmla="*/ 6 w 12"/>
                    <a:gd name="T23" fmla="*/ 32 h 34"/>
                    <a:gd name="T24" fmla="*/ 6 w 12"/>
                    <a:gd name="T25" fmla="*/ 3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34">
                      <a:moveTo>
                        <a:pt x="6" y="33"/>
                      </a:moveTo>
                      <a:cubicBezTo>
                        <a:pt x="6" y="33"/>
                        <a:pt x="6" y="34"/>
                        <a:pt x="7" y="34"/>
                      </a:cubicBezTo>
                      <a:cubicBezTo>
                        <a:pt x="7" y="29"/>
                        <a:pt x="8" y="23"/>
                        <a:pt x="9" y="22"/>
                      </a:cubicBezTo>
                      <a:cubicBezTo>
                        <a:pt x="10" y="21"/>
                        <a:pt x="10" y="20"/>
                        <a:pt x="10" y="18"/>
                      </a:cubicBezTo>
                      <a:cubicBezTo>
                        <a:pt x="8" y="16"/>
                        <a:pt x="7" y="14"/>
                        <a:pt x="7" y="13"/>
                      </a:cubicBezTo>
                      <a:cubicBezTo>
                        <a:pt x="7" y="12"/>
                        <a:pt x="8" y="8"/>
                        <a:pt x="9" y="7"/>
                      </a:cubicBezTo>
                      <a:cubicBezTo>
                        <a:pt x="9" y="7"/>
                        <a:pt x="10" y="7"/>
                        <a:pt x="11" y="7"/>
                      </a:cubicBezTo>
                      <a:cubicBezTo>
                        <a:pt x="11" y="6"/>
                        <a:pt x="12" y="4"/>
                        <a:pt x="12" y="2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7" y="1"/>
                        <a:pt x="7" y="3"/>
                        <a:pt x="7" y="4"/>
                      </a:cubicBezTo>
                      <a:cubicBezTo>
                        <a:pt x="6" y="8"/>
                        <a:pt x="2" y="15"/>
                        <a:pt x="0" y="18"/>
                      </a:cubicBezTo>
                      <a:cubicBezTo>
                        <a:pt x="6" y="32"/>
                        <a:pt x="6" y="32"/>
                        <a:pt x="6" y="32"/>
                      </a:cubicBezTo>
                      <a:lnTo>
                        <a:pt x="6" y="33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1" name="Freeform 64">
                  <a:extLst>
                    <a:ext uri="{FF2B5EF4-FFF2-40B4-BE49-F238E27FC236}">
                      <a16:creationId xmlns:a16="http://schemas.microsoft.com/office/drawing/2014/main" id="{0EC78701-65F5-487E-9AE9-F67329F77B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310306" y="-10232043"/>
                  <a:ext cx="204323" cy="230269"/>
                </a:xfrm>
                <a:custGeom>
                  <a:avLst/>
                  <a:gdLst>
                    <a:gd name="T0" fmla="*/ 31 w 33"/>
                    <a:gd name="T1" fmla="*/ 0 h 37"/>
                    <a:gd name="T2" fmla="*/ 21 w 33"/>
                    <a:gd name="T3" fmla="*/ 4 h 37"/>
                    <a:gd name="T4" fmla="*/ 13 w 33"/>
                    <a:gd name="T5" fmla="*/ 9 h 37"/>
                    <a:gd name="T6" fmla="*/ 6 w 33"/>
                    <a:gd name="T7" fmla="*/ 5 h 37"/>
                    <a:gd name="T8" fmla="*/ 5 w 33"/>
                    <a:gd name="T9" fmla="*/ 2 h 37"/>
                    <a:gd name="T10" fmla="*/ 5 w 33"/>
                    <a:gd name="T11" fmla="*/ 2 h 37"/>
                    <a:gd name="T12" fmla="*/ 4 w 33"/>
                    <a:gd name="T13" fmla="*/ 9 h 37"/>
                    <a:gd name="T14" fmla="*/ 2 w 33"/>
                    <a:gd name="T15" fmla="*/ 22 h 37"/>
                    <a:gd name="T16" fmla="*/ 0 w 33"/>
                    <a:gd name="T17" fmla="*/ 34 h 37"/>
                    <a:gd name="T18" fmla="*/ 7 w 33"/>
                    <a:gd name="T19" fmla="*/ 37 h 37"/>
                    <a:gd name="T20" fmla="*/ 13 w 33"/>
                    <a:gd name="T21" fmla="*/ 32 h 37"/>
                    <a:gd name="T22" fmla="*/ 18 w 33"/>
                    <a:gd name="T23" fmla="*/ 30 h 37"/>
                    <a:gd name="T24" fmla="*/ 23 w 33"/>
                    <a:gd name="T25" fmla="*/ 26 h 37"/>
                    <a:gd name="T26" fmla="*/ 17 w 33"/>
                    <a:gd name="T27" fmla="*/ 19 h 37"/>
                    <a:gd name="T28" fmla="*/ 25 w 33"/>
                    <a:gd name="T29" fmla="*/ 14 h 37"/>
                    <a:gd name="T30" fmla="*/ 33 w 33"/>
                    <a:gd name="T31" fmla="*/ 11 h 37"/>
                    <a:gd name="T32" fmla="*/ 33 w 33"/>
                    <a:gd name="T33" fmla="*/ 11 h 37"/>
                    <a:gd name="T34" fmla="*/ 32 w 33"/>
                    <a:gd name="T35" fmla="*/ 4 h 37"/>
                    <a:gd name="T36" fmla="*/ 31 w 33"/>
                    <a:gd name="T3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3" h="37">
                      <a:moveTo>
                        <a:pt x="31" y="0"/>
                      </a:moveTo>
                      <a:cubicBezTo>
                        <a:pt x="26" y="2"/>
                        <a:pt x="21" y="4"/>
                        <a:pt x="21" y="4"/>
                      </a:cubicBezTo>
                      <a:cubicBezTo>
                        <a:pt x="18" y="5"/>
                        <a:pt x="13" y="9"/>
                        <a:pt x="13" y="9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5" y="2"/>
                        <a:pt x="5" y="2"/>
                        <a:pt x="5" y="2"/>
                      </a:cubicBezTo>
                      <a:cubicBezTo>
                        <a:pt x="5" y="2"/>
                        <a:pt x="5" y="2"/>
                        <a:pt x="5" y="2"/>
                      </a:cubicBezTo>
                      <a:cubicBezTo>
                        <a:pt x="5" y="5"/>
                        <a:pt x="4" y="8"/>
                        <a:pt x="4" y="9"/>
                      </a:cubicBezTo>
                      <a:cubicBezTo>
                        <a:pt x="4" y="11"/>
                        <a:pt x="4" y="20"/>
                        <a:pt x="2" y="22"/>
                      </a:cubicBezTo>
                      <a:cubicBezTo>
                        <a:pt x="1" y="23"/>
                        <a:pt x="0" y="29"/>
                        <a:pt x="0" y="34"/>
                      </a:cubicBezTo>
                      <a:cubicBezTo>
                        <a:pt x="2" y="35"/>
                        <a:pt x="5" y="37"/>
                        <a:pt x="7" y="37"/>
                      </a:cubicBezTo>
                      <a:cubicBezTo>
                        <a:pt x="10" y="37"/>
                        <a:pt x="13" y="34"/>
                        <a:pt x="13" y="32"/>
                      </a:cubicBezTo>
                      <a:cubicBezTo>
                        <a:pt x="13" y="30"/>
                        <a:pt x="16" y="30"/>
                        <a:pt x="18" y="30"/>
                      </a:cubicBezTo>
                      <a:cubicBezTo>
                        <a:pt x="21" y="30"/>
                        <a:pt x="21" y="27"/>
                        <a:pt x="23" y="26"/>
                      </a:cubicBezTo>
                      <a:cubicBezTo>
                        <a:pt x="25" y="25"/>
                        <a:pt x="19" y="20"/>
                        <a:pt x="17" y="19"/>
                      </a:cubicBezTo>
                      <a:cubicBezTo>
                        <a:pt x="15" y="18"/>
                        <a:pt x="18" y="14"/>
                        <a:pt x="25" y="14"/>
                      </a:cubicBezTo>
                      <a:cubicBezTo>
                        <a:pt x="31" y="14"/>
                        <a:pt x="30" y="11"/>
                        <a:pt x="33" y="11"/>
                      </a:cubicBezTo>
                      <a:cubicBezTo>
                        <a:pt x="33" y="11"/>
                        <a:pt x="33" y="11"/>
                        <a:pt x="33" y="11"/>
                      </a:cubicBezTo>
                      <a:cubicBezTo>
                        <a:pt x="33" y="9"/>
                        <a:pt x="32" y="5"/>
                        <a:pt x="32" y="4"/>
                      </a:cubicBezTo>
                      <a:cubicBezTo>
                        <a:pt x="31" y="2"/>
                        <a:pt x="31" y="1"/>
                        <a:pt x="31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2" name="Freeform 65">
                  <a:extLst>
                    <a:ext uri="{FF2B5EF4-FFF2-40B4-BE49-F238E27FC236}">
                      <a16:creationId xmlns:a16="http://schemas.microsoft.com/office/drawing/2014/main" id="{8F6568EB-61C6-437F-B5E9-606D71855D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78431" y="-10799604"/>
                  <a:ext cx="541617" cy="236755"/>
                </a:xfrm>
                <a:custGeom>
                  <a:avLst/>
                  <a:gdLst>
                    <a:gd name="T0" fmla="*/ 82 w 88"/>
                    <a:gd name="T1" fmla="*/ 7 h 38"/>
                    <a:gd name="T2" fmla="*/ 74 w 88"/>
                    <a:gd name="T3" fmla="*/ 5 h 38"/>
                    <a:gd name="T4" fmla="*/ 53 w 88"/>
                    <a:gd name="T5" fmla="*/ 4 h 38"/>
                    <a:gd name="T6" fmla="*/ 43 w 88"/>
                    <a:gd name="T7" fmla="*/ 1 h 38"/>
                    <a:gd name="T8" fmla="*/ 34 w 88"/>
                    <a:gd name="T9" fmla="*/ 4 h 38"/>
                    <a:gd name="T10" fmla="*/ 27 w 88"/>
                    <a:gd name="T11" fmla="*/ 5 h 38"/>
                    <a:gd name="T12" fmla="*/ 16 w 88"/>
                    <a:gd name="T13" fmla="*/ 5 h 38"/>
                    <a:gd name="T14" fmla="*/ 11 w 88"/>
                    <a:gd name="T15" fmla="*/ 11 h 38"/>
                    <a:gd name="T16" fmla="*/ 9 w 88"/>
                    <a:gd name="T17" fmla="*/ 15 h 38"/>
                    <a:gd name="T18" fmla="*/ 12 w 88"/>
                    <a:gd name="T19" fmla="*/ 18 h 38"/>
                    <a:gd name="T20" fmla="*/ 18 w 88"/>
                    <a:gd name="T21" fmla="*/ 18 h 38"/>
                    <a:gd name="T22" fmla="*/ 29 w 88"/>
                    <a:gd name="T23" fmla="*/ 23 h 38"/>
                    <a:gd name="T24" fmla="*/ 26 w 88"/>
                    <a:gd name="T25" fmla="*/ 27 h 38"/>
                    <a:gd name="T26" fmla="*/ 18 w 88"/>
                    <a:gd name="T27" fmla="*/ 28 h 38"/>
                    <a:gd name="T28" fmla="*/ 6 w 88"/>
                    <a:gd name="T29" fmla="*/ 30 h 38"/>
                    <a:gd name="T30" fmla="*/ 1 w 88"/>
                    <a:gd name="T31" fmla="*/ 35 h 38"/>
                    <a:gd name="T32" fmla="*/ 12 w 88"/>
                    <a:gd name="T33" fmla="*/ 35 h 38"/>
                    <a:gd name="T34" fmla="*/ 19 w 88"/>
                    <a:gd name="T35" fmla="*/ 36 h 38"/>
                    <a:gd name="T36" fmla="*/ 26 w 88"/>
                    <a:gd name="T37" fmla="*/ 37 h 38"/>
                    <a:gd name="T38" fmla="*/ 37 w 88"/>
                    <a:gd name="T39" fmla="*/ 36 h 38"/>
                    <a:gd name="T40" fmla="*/ 38 w 88"/>
                    <a:gd name="T41" fmla="*/ 32 h 38"/>
                    <a:gd name="T42" fmla="*/ 41 w 88"/>
                    <a:gd name="T43" fmla="*/ 30 h 38"/>
                    <a:gd name="T44" fmla="*/ 46 w 88"/>
                    <a:gd name="T45" fmla="*/ 27 h 38"/>
                    <a:gd name="T46" fmla="*/ 51 w 88"/>
                    <a:gd name="T47" fmla="*/ 26 h 38"/>
                    <a:gd name="T48" fmla="*/ 56 w 88"/>
                    <a:gd name="T49" fmla="*/ 27 h 38"/>
                    <a:gd name="T50" fmla="*/ 61 w 88"/>
                    <a:gd name="T51" fmla="*/ 24 h 38"/>
                    <a:gd name="T52" fmla="*/ 68 w 88"/>
                    <a:gd name="T53" fmla="*/ 22 h 38"/>
                    <a:gd name="T54" fmla="*/ 74 w 88"/>
                    <a:gd name="T55" fmla="*/ 19 h 38"/>
                    <a:gd name="T56" fmla="*/ 80 w 88"/>
                    <a:gd name="T57" fmla="*/ 15 h 38"/>
                    <a:gd name="T58" fmla="*/ 88 w 88"/>
                    <a:gd name="T59" fmla="*/ 11 h 38"/>
                    <a:gd name="T60" fmla="*/ 88 w 88"/>
                    <a:gd name="T61" fmla="*/ 10 h 38"/>
                    <a:gd name="T62" fmla="*/ 82 w 88"/>
                    <a:gd name="T63" fmla="*/ 7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8" h="38">
                      <a:moveTo>
                        <a:pt x="82" y="7"/>
                      </a:moveTo>
                      <a:cubicBezTo>
                        <a:pt x="79" y="3"/>
                        <a:pt x="78" y="6"/>
                        <a:pt x="74" y="5"/>
                      </a:cubicBezTo>
                      <a:cubicBezTo>
                        <a:pt x="70" y="4"/>
                        <a:pt x="56" y="3"/>
                        <a:pt x="53" y="4"/>
                      </a:cubicBezTo>
                      <a:cubicBezTo>
                        <a:pt x="50" y="5"/>
                        <a:pt x="45" y="2"/>
                        <a:pt x="43" y="1"/>
                      </a:cubicBezTo>
                      <a:cubicBezTo>
                        <a:pt x="41" y="0"/>
                        <a:pt x="35" y="1"/>
                        <a:pt x="34" y="4"/>
                      </a:cubicBezTo>
                      <a:cubicBezTo>
                        <a:pt x="34" y="7"/>
                        <a:pt x="31" y="7"/>
                        <a:pt x="27" y="5"/>
                      </a:cubicBezTo>
                      <a:cubicBezTo>
                        <a:pt x="23" y="3"/>
                        <a:pt x="16" y="3"/>
                        <a:pt x="16" y="5"/>
                      </a:cubicBezTo>
                      <a:cubicBezTo>
                        <a:pt x="16" y="8"/>
                        <a:pt x="13" y="10"/>
                        <a:pt x="11" y="11"/>
                      </a:cubicBezTo>
                      <a:cubicBezTo>
                        <a:pt x="11" y="11"/>
                        <a:pt x="10" y="13"/>
                        <a:pt x="9" y="15"/>
                      </a:cubicBezTo>
                      <a:cubicBezTo>
                        <a:pt x="10" y="16"/>
                        <a:pt x="11" y="17"/>
                        <a:pt x="12" y="18"/>
                      </a:cubicBezTo>
                      <a:cubicBezTo>
                        <a:pt x="13" y="20"/>
                        <a:pt x="18" y="20"/>
                        <a:pt x="18" y="18"/>
                      </a:cubicBezTo>
                      <a:cubicBezTo>
                        <a:pt x="19" y="16"/>
                        <a:pt x="25" y="20"/>
                        <a:pt x="29" y="23"/>
                      </a:cubicBezTo>
                      <a:cubicBezTo>
                        <a:pt x="33" y="26"/>
                        <a:pt x="27" y="24"/>
                        <a:pt x="26" y="27"/>
                      </a:cubicBezTo>
                      <a:cubicBezTo>
                        <a:pt x="24" y="30"/>
                        <a:pt x="19" y="27"/>
                        <a:pt x="18" y="28"/>
                      </a:cubicBezTo>
                      <a:cubicBezTo>
                        <a:pt x="17" y="29"/>
                        <a:pt x="9" y="30"/>
                        <a:pt x="6" y="30"/>
                      </a:cubicBezTo>
                      <a:cubicBezTo>
                        <a:pt x="4" y="29"/>
                        <a:pt x="0" y="33"/>
                        <a:pt x="1" y="35"/>
                      </a:cubicBezTo>
                      <a:cubicBezTo>
                        <a:pt x="1" y="36"/>
                        <a:pt x="9" y="34"/>
                        <a:pt x="12" y="35"/>
                      </a:cubicBezTo>
                      <a:cubicBezTo>
                        <a:pt x="15" y="37"/>
                        <a:pt x="18" y="34"/>
                        <a:pt x="19" y="36"/>
                      </a:cubicBezTo>
                      <a:cubicBezTo>
                        <a:pt x="21" y="38"/>
                        <a:pt x="24" y="36"/>
                        <a:pt x="26" y="37"/>
                      </a:cubicBezTo>
                      <a:cubicBezTo>
                        <a:pt x="28" y="38"/>
                        <a:pt x="36" y="36"/>
                        <a:pt x="37" y="36"/>
                      </a:cubicBezTo>
                      <a:cubicBezTo>
                        <a:pt x="38" y="35"/>
                        <a:pt x="38" y="34"/>
                        <a:pt x="38" y="32"/>
                      </a:cubicBezTo>
                      <a:cubicBezTo>
                        <a:pt x="38" y="30"/>
                        <a:pt x="40" y="31"/>
                        <a:pt x="41" y="30"/>
                      </a:cubicBezTo>
                      <a:cubicBezTo>
                        <a:pt x="43" y="30"/>
                        <a:pt x="44" y="27"/>
                        <a:pt x="46" y="27"/>
                      </a:cubicBezTo>
                      <a:cubicBezTo>
                        <a:pt x="47" y="27"/>
                        <a:pt x="49" y="25"/>
                        <a:pt x="51" y="26"/>
                      </a:cubicBezTo>
                      <a:cubicBezTo>
                        <a:pt x="52" y="26"/>
                        <a:pt x="54" y="29"/>
                        <a:pt x="56" y="27"/>
                      </a:cubicBezTo>
                      <a:cubicBezTo>
                        <a:pt x="57" y="26"/>
                        <a:pt x="58" y="27"/>
                        <a:pt x="61" y="24"/>
                      </a:cubicBezTo>
                      <a:cubicBezTo>
                        <a:pt x="63" y="21"/>
                        <a:pt x="65" y="22"/>
                        <a:pt x="68" y="22"/>
                      </a:cubicBezTo>
                      <a:cubicBezTo>
                        <a:pt x="72" y="23"/>
                        <a:pt x="73" y="21"/>
                        <a:pt x="74" y="19"/>
                      </a:cubicBezTo>
                      <a:cubicBezTo>
                        <a:pt x="75" y="16"/>
                        <a:pt x="79" y="16"/>
                        <a:pt x="80" y="15"/>
                      </a:cubicBezTo>
                      <a:cubicBezTo>
                        <a:pt x="82" y="14"/>
                        <a:pt x="86" y="12"/>
                        <a:pt x="88" y="11"/>
                      </a:cubicBezTo>
                      <a:cubicBezTo>
                        <a:pt x="88" y="11"/>
                        <a:pt x="88" y="11"/>
                        <a:pt x="88" y="10"/>
                      </a:cubicBezTo>
                      <a:cubicBezTo>
                        <a:pt x="85" y="7"/>
                        <a:pt x="84" y="10"/>
                        <a:pt x="82" y="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3" name="Freeform 66">
                  <a:extLst>
                    <a:ext uri="{FF2B5EF4-FFF2-40B4-BE49-F238E27FC236}">
                      <a16:creationId xmlns:a16="http://schemas.microsoft.com/office/drawing/2014/main" id="{03923AD2-BAF4-480B-9DFC-CA4BC16B02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067066" y="-10828794"/>
                  <a:ext cx="343780" cy="152432"/>
                </a:xfrm>
                <a:custGeom>
                  <a:avLst/>
                  <a:gdLst>
                    <a:gd name="T0" fmla="*/ 23 w 56"/>
                    <a:gd name="T1" fmla="*/ 20 h 25"/>
                    <a:gd name="T2" fmla="*/ 28 w 56"/>
                    <a:gd name="T3" fmla="*/ 24 h 25"/>
                    <a:gd name="T4" fmla="*/ 29 w 56"/>
                    <a:gd name="T5" fmla="*/ 25 h 25"/>
                    <a:gd name="T6" fmla="*/ 37 w 56"/>
                    <a:gd name="T7" fmla="*/ 23 h 25"/>
                    <a:gd name="T8" fmla="*/ 44 w 56"/>
                    <a:gd name="T9" fmla="*/ 24 h 25"/>
                    <a:gd name="T10" fmla="*/ 43 w 56"/>
                    <a:gd name="T11" fmla="*/ 22 h 25"/>
                    <a:gd name="T12" fmla="*/ 49 w 56"/>
                    <a:gd name="T13" fmla="*/ 24 h 25"/>
                    <a:gd name="T14" fmla="*/ 55 w 56"/>
                    <a:gd name="T15" fmla="*/ 24 h 25"/>
                    <a:gd name="T16" fmla="*/ 52 w 56"/>
                    <a:gd name="T17" fmla="*/ 21 h 25"/>
                    <a:gd name="T18" fmla="*/ 54 w 56"/>
                    <a:gd name="T19" fmla="*/ 18 h 25"/>
                    <a:gd name="T20" fmla="*/ 49 w 56"/>
                    <a:gd name="T21" fmla="*/ 15 h 25"/>
                    <a:gd name="T22" fmla="*/ 47 w 56"/>
                    <a:gd name="T23" fmla="*/ 10 h 25"/>
                    <a:gd name="T24" fmla="*/ 44 w 56"/>
                    <a:gd name="T25" fmla="*/ 9 h 25"/>
                    <a:gd name="T26" fmla="*/ 36 w 56"/>
                    <a:gd name="T27" fmla="*/ 10 h 25"/>
                    <a:gd name="T28" fmla="*/ 31 w 56"/>
                    <a:gd name="T29" fmla="*/ 8 h 25"/>
                    <a:gd name="T30" fmla="*/ 26 w 56"/>
                    <a:gd name="T31" fmla="*/ 4 h 25"/>
                    <a:gd name="T32" fmla="*/ 13 w 56"/>
                    <a:gd name="T33" fmla="*/ 3 h 25"/>
                    <a:gd name="T34" fmla="*/ 4 w 56"/>
                    <a:gd name="T35" fmla="*/ 1 h 25"/>
                    <a:gd name="T36" fmla="*/ 0 w 56"/>
                    <a:gd name="T37" fmla="*/ 2 h 25"/>
                    <a:gd name="T38" fmla="*/ 13 w 56"/>
                    <a:gd name="T39" fmla="*/ 9 h 25"/>
                    <a:gd name="T40" fmla="*/ 16 w 56"/>
                    <a:gd name="T41" fmla="*/ 17 h 25"/>
                    <a:gd name="T42" fmla="*/ 14 w 56"/>
                    <a:gd name="T43" fmla="*/ 20 h 25"/>
                    <a:gd name="T44" fmla="*/ 23 w 56"/>
                    <a:gd name="T45" fmla="*/ 2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6" h="25">
                      <a:moveTo>
                        <a:pt x="23" y="20"/>
                      </a:moveTo>
                      <a:cubicBezTo>
                        <a:pt x="25" y="18"/>
                        <a:pt x="26" y="21"/>
                        <a:pt x="28" y="24"/>
                      </a:cubicBezTo>
                      <a:cubicBezTo>
                        <a:pt x="28" y="24"/>
                        <a:pt x="28" y="25"/>
                        <a:pt x="29" y="25"/>
                      </a:cubicBezTo>
                      <a:cubicBezTo>
                        <a:pt x="32" y="24"/>
                        <a:pt x="34" y="23"/>
                        <a:pt x="37" y="23"/>
                      </a:cubicBezTo>
                      <a:cubicBezTo>
                        <a:pt x="39" y="23"/>
                        <a:pt x="42" y="23"/>
                        <a:pt x="44" y="24"/>
                      </a:cubicBezTo>
                      <a:cubicBezTo>
                        <a:pt x="43" y="23"/>
                        <a:pt x="43" y="22"/>
                        <a:pt x="43" y="22"/>
                      </a:cubicBezTo>
                      <a:cubicBezTo>
                        <a:pt x="44" y="21"/>
                        <a:pt x="48" y="23"/>
                        <a:pt x="49" y="24"/>
                      </a:cubicBezTo>
                      <a:cubicBezTo>
                        <a:pt x="50" y="25"/>
                        <a:pt x="54" y="25"/>
                        <a:pt x="55" y="24"/>
                      </a:cubicBezTo>
                      <a:cubicBezTo>
                        <a:pt x="56" y="23"/>
                        <a:pt x="53" y="22"/>
                        <a:pt x="52" y="21"/>
                      </a:cubicBezTo>
                      <a:cubicBezTo>
                        <a:pt x="52" y="20"/>
                        <a:pt x="53" y="19"/>
                        <a:pt x="54" y="18"/>
                      </a:cubicBezTo>
                      <a:cubicBezTo>
                        <a:pt x="52" y="17"/>
                        <a:pt x="50" y="15"/>
                        <a:pt x="49" y="15"/>
                      </a:cubicBezTo>
                      <a:cubicBezTo>
                        <a:pt x="48" y="15"/>
                        <a:pt x="48" y="10"/>
                        <a:pt x="47" y="10"/>
                      </a:cubicBezTo>
                      <a:cubicBezTo>
                        <a:pt x="45" y="10"/>
                        <a:pt x="45" y="9"/>
                        <a:pt x="44" y="9"/>
                      </a:cubicBezTo>
                      <a:cubicBezTo>
                        <a:pt x="42" y="9"/>
                        <a:pt x="37" y="9"/>
                        <a:pt x="36" y="10"/>
                      </a:cubicBezTo>
                      <a:cubicBezTo>
                        <a:pt x="34" y="11"/>
                        <a:pt x="32" y="8"/>
                        <a:pt x="31" y="8"/>
                      </a:cubicBezTo>
                      <a:cubicBezTo>
                        <a:pt x="29" y="8"/>
                        <a:pt x="27" y="6"/>
                        <a:pt x="26" y="4"/>
                      </a:cubicBezTo>
                      <a:cubicBezTo>
                        <a:pt x="25" y="3"/>
                        <a:pt x="16" y="5"/>
                        <a:pt x="13" y="3"/>
                      </a:cubicBezTo>
                      <a:cubicBezTo>
                        <a:pt x="11" y="2"/>
                        <a:pt x="6" y="0"/>
                        <a:pt x="4" y="1"/>
                      </a:cubicBezTo>
                      <a:cubicBezTo>
                        <a:pt x="3" y="1"/>
                        <a:pt x="2" y="1"/>
                        <a:pt x="0" y="2"/>
                      </a:cubicBezTo>
                      <a:cubicBezTo>
                        <a:pt x="5" y="5"/>
                        <a:pt x="12" y="4"/>
                        <a:pt x="13" y="9"/>
                      </a:cubicBezTo>
                      <a:cubicBezTo>
                        <a:pt x="14" y="15"/>
                        <a:pt x="17" y="12"/>
                        <a:pt x="16" y="17"/>
                      </a:cubicBezTo>
                      <a:cubicBezTo>
                        <a:pt x="16" y="18"/>
                        <a:pt x="15" y="19"/>
                        <a:pt x="14" y="20"/>
                      </a:cubicBezTo>
                      <a:cubicBezTo>
                        <a:pt x="18" y="20"/>
                        <a:pt x="21" y="20"/>
                        <a:pt x="23" y="2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4" name="Freeform 67">
                  <a:extLst>
                    <a:ext uri="{FF2B5EF4-FFF2-40B4-BE49-F238E27FC236}">
                      <a16:creationId xmlns:a16="http://schemas.microsoft.com/office/drawing/2014/main" id="{D227F4FA-41FF-45E6-B8F9-FB74E10AA7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9754627" y="-10744471"/>
                  <a:ext cx="934045" cy="372970"/>
                </a:xfrm>
                <a:custGeom>
                  <a:avLst/>
                  <a:gdLst>
                    <a:gd name="T0" fmla="*/ 147 w 151"/>
                    <a:gd name="T1" fmla="*/ 42 h 60"/>
                    <a:gd name="T2" fmla="*/ 147 w 151"/>
                    <a:gd name="T3" fmla="*/ 33 h 60"/>
                    <a:gd name="T4" fmla="*/ 147 w 151"/>
                    <a:gd name="T5" fmla="*/ 27 h 60"/>
                    <a:gd name="T6" fmla="*/ 149 w 151"/>
                    <a:gd name="T7" fmla="*/ 23 h 60"/>
                    <a:gd name="T8" fmla="*/ 148 w 151"/>
                    <a:gd name="T9" fmla="*/ 20 h 60"/>
                    <a:gd name="T10" fmla="*/ 141 w 151"/>
                    <a:gd name="T11" fmla="*/ 17 h 60"/>
                    <a:gd name="T12" fmla="*/ 139 w 151"/>
                    <a:gd name="T13" fmla="*/ 10 h 60"/>
                    <a:gd name="T14" fmla="*/ 134 w 151"/>
                    <a:gd name="T15" fmla="*/ 6 h 60"/>
                    <a:gd name="T16" fmla="*/ 125 w 151"/>
                    <a:gd name="T17" fmla="*/ 6 h 60"/>
                    <a:gd name="T18" fmla="*/ 110 w 151"/>
                    <a:gd name="T19" fmla="*/ 11 h 60"/>
                    <a:gd name="T20" fmla="*/ 96 w 151"/>
                    <a:gd name="T21" fmla="*/ 11 h 60"/>
                    <a:gd name="T22" fmla="*/ 87 w 151"/>
                    <a:gd name="T23" fmla="*/ 8 h 60"/>
                    <a:gd name="T24" fmla="*/ 80 w 151"/>
                    <a:gd name="T25" fmla="*/ 5 h 60"/>
                    <a:gd name="T26" fmla="*/ 68 w 151"/>
                    <a:gd name="T27" fmla="*/ 2 h 60"/>
                    <a:gd name="T28" fmla="*/ 43 w 151"/>
                    <a:gd name="T29" fmla="*/ 9 h 60"/>
                    <a:gd name="T30" fmla="*/ 26 w 151"/>
                    <a:gd name="T31" fmla="*/ 10 h 60"/>
                    <a:gd name="T32" fmla="*/ 22 w 151"/>
                    <a:gd name="T33" fmla="*/ 16 h 60"/>
                    <a:gd name="T34" fmla="*/ 5 w 151"/>
                    <a:gd name="T35" fmla="*/ 18 h 60"/>
                    <a:gd name="T36" fmla="*/ 3 w 151"/>
                    <a:gd name="T37" fmla="*/ 24 h 60"/>
                    <a:gd name="T38" fmla="*/ 6 w 151"/>
                    <a:gd name="T39" fmla="*/ 26 h 60"/>
                    <a:gd name="T40" fmla="*/ 7 w 151"/>
                    <a:gd name="T41" fmla="*/ 32 h 60"/>
                    <a:gd name="T42" fmla="*/ 7 w 151"/>
                    <a:gd name="T43" fmla="*/ 38 h 60"/>
                    <a:gd name="T44" fmla="*/ 7 w 151"/>
                    <a:gd name="T45" fmla="*/ 42 h 60"/>
                    <a:gd name="T46" fmla="*/ 11 w 151"/>
                    <a:gd name="T47" fmla="*/ 46 h 60"/>
                    <a:gd name="T48" fmla="*/ 17 w 151"/>
                    <a:gd name="T49" fmla="*/ 49 h 60"/>
                    <a:gd name="T50" fmla="*/ 21 w 151"/>
                    <a:gd name="T51" fmla="*/ 50 h 60"/>
                    <a:gd name="T52" fmla="*/ 26 w 151"/>
                    <a:gd name="T53" fmla="*/ 56 h 60"/>
                    <a:gd name="T54" fmla="*/ 36 w 151"/>
                    <a:gd name="T55" fmla="*/ 54 h 60"/>
                    <a:gd name="T56" fmla="*/ 42 w 151"/>
                    <a:gd name="T57" fmla="*/ 51 h 60"/>
                    <a:gd name="T58" fmla="*/ 53 w 151"/>
                    <a:gd name="T59" fmla="*/ 57 h 60"/>
                    <a:gd name="T60" fmla="*/ 62 w 151"/>
                    <a:gd name="T61" fmla="*/ 56 h 60"/>
                    <a:gd name="T62" fmla="*/ 69 w 151"/>
                    <a:gd name="T63" fmla="*/ 51 h 60"/>
                    <a:gd name="T64" fmla="*/ 75 w 151"/>
                    <a:gd name="T65" fmla="*/ 53 h 60"/>
                    <a:gd name="T66" fmla="*/ 82 w 151"/>
                    <a:gd name="T67" fmla="*/ 51 h 60"/>
                    <a:gd name="T68" fmla="*/ 79 w 151"/>
                    <a:gd name="T69" fmla="*/ 57 h 60"/>
                    <a:gd name="T70" fmla="*/ 80 w 151"/>
                    <a:gd name="T71" fmla="*/ 60 h 60"/>
                    <a:gd name="T72" fmla="*/ 84 w 151"/>
                    <a:gd name="T73" fmla="*/ 54 h 60"/>
                    <a:gd name="T74" fmla="*/ 88 w 151"/>
                    <a:gd name="T75" fmla="*/ 53 h 60"/>
                    <a:gd name="T76" fmla="*/ 95 w 151"/>
                    <a:gd name="T77" fmla="*/ 53 h 60"/>
                    <a:gd name="T78" fmla="*/ 100 w 151"/>
                    <a:gd name="T79" fmla="*/ 52 h 60"/>
                    <a:gd name="T80" fmla="*/ 109 w 151"/>
                    <a:gd name="T81" fmla="*/ 52 h 60"/>
                    <a:gd name="T82" fmla="*/ 120 w 151"/>
                    <a:gd name="T83" fmla="*/ 49 h 60"/>
                    <a:gd name="T84" fmla="*/ 129 w 151"/>
                    <a:gd name="T85" fmla="*/ 47 h 60"/>
                    <a:gd name="T86" fmla="*/ 132 w 151"/>
                    <a:gd name="T87" fmla="*/ 48 h 60"/>
                    <a:gd name="T88" fmla="*/ 135 w 151"/>
                    <a:gd name="T89" fmla="*/ 46 h 60"/>
                    <a:gd name="T90" fmla="*/ 143 w 151"/>
                    <a:gd name="T91" fmla="*/ 47 h 60"/>
                    <a:gd name="T92" fmla="*/ 151 w 151"/>
                    <a:gd name="T93" fmla="*/ 48 h 60"/>
                    <a:gd name="T94" fmla="*/ 147 w 151"/>
                    <a:gd name="T95" fmla="*/ 42 h 60"/>
                    <a:gd name="T96" fmla="*/ 13 w 151"/>
                    <a:gd name="T97" fmla="*/ 11 h 60"/>
                    <a:gd name="T98" fmla="*/ 24 w 151"/>
                    <a:gd name="T99" fmla="*/ 10 h 60"/>
                    <a:gd name="T100" fmla="*/ 18 w 151"/>
                    <a:gd name="T101" fmla="*/ 5 h 60"/>
                    <a:gd name="T102" fmla="*/ 16 w 151"/>
                    <a:gd name="T103" fmla="*/ 1 h 60"/>
                    <a:gd name="T104" fmla="*/ 13 w 151"/>
                    <a:gd name="T105" fmla="*/ 2 h 60"/>
                    <a:gd name="T106" fmla="*/ 5 w 151"/>
                    <a:gd name="T107" fmla="*/ 2 h 60"/>
                    <a:gd name="T108" fmla="*/ 5 w 151"/>
                    <a:gd name="T109" fmla="*/ 7 h 60"/>
                    <a:gd name="T110" fmla="*/ 3 w 151"/>
                    <a:gd name="T111" fmla="*/ 11 h 60"/>
                    <a:gd name="T112" fmla="*/ 1 w 151"/>
                    <a:gd name="T113" fmla="*/ 14 h 60"/>
                    <a:gd name="T114" fmla="*/ 6 w 151"/>
                    <a:gd name="T115" fmla="*/ 16 h 60"/>
                    <a:gd name="T116" fmla="*/ 13 w 151"/>
                    <a:gd name="T117" fmla="*/ 11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51" h="60">
                      <a:moveTo>
                        <a:pt x="147" y="42"/>
                      </a:moveTo>
                      <a:cubicBezTo>
                        <a:pt x="146" y="42"/>
                        <a:pt x="148" y="35"/>
                        <a:pt x="147" y="33"/>
                      </a:cubicBezTo>
                      <a:cubicBezTo>
                        <a:pt x="147" y="32"/>
                        <a:pt x="145" y="27"/>
                        <a:pt x="147" y="27"/>
                      </a:cubicBezTo>
                      <a:cubicBezTo>
                        <a:pt x="149" y="27"/>
                        <a:pt x="147" y="23"/>
                        <a:pt x="149" y="23"/>
                      </a:cubicBezTo>
                      <a:cubicBezTo>
                        <a:pt x="149" y="21"/>
                        <a:pt x="148" y="20"/>
                        <a:pt x="148" y="20"/>
                      </a:cubicBezTo>
                      <a:cubicBezTo>
                        <a:pt x="146" y="19"/>
                        <a:pt x="143" y="21"/>
                        <a:pt x="141" y="17"/>
                      </a:cubicBezTo>
                      <a:cubicBezTo>
                        <a:pt x="140" y="14"/>
                        <a:pt x="141" y="13"/>
                        <a:pt x="139" y="10"/>
                      </a:cubicBezTo>
                      <a:cubicBezTo>
                        <a:pt x="137" y="7"/>
                        <a:pt x="136" y="4"/>
                        <a:pt x="134" y="6"/>
                      </a:cubicBezTo>
                      <a:cubicBezTo>
                        <a:pt x="132" y="6"/>
                        <a:pt x="129" y="6"/>
                        <a:pt x="125" y="6"/>
                      </a:cubicBezTo>
                      <a:cubicBezTo>
                        <a:pt x="121" y="9"/>
                        <a:pt x="113" y="12"/>
                        <a:pt x="110" y="11"/>
                      </a:cubicBezTo>
                      <a:cubicBezTo>
                        <a:pt x="107" y="10"/>
                        <a:pt x="101" y="11"/>
                        <a:pt x="96" y="11"/>
                      </a:cubicBezTo>
                      <a:cubicBezTo>
                        <a:pt x="92" y="11"/>
                        <a:pt x="90" y="8"/>
                        <a:pt x="87" y="8"/>
                      </a:cubicBezTo>
                      <a:cubicBezTo>
                        <a:pt x="83" y="8"/>
                        <a:pt x="83" y="5"/>
                        <a:pt x="80" y="5"/>
                      </a:cubicBezTo>
                      <a:cubicBezTo>
                        <a:pt x="76" y="5"/>
                        <a:pt x="79" y="3"/>
                        <a:pt x="68" y="2"/>
                      </a:cubicBezTo>
                      <a:cubicBezTo>
                        <a:pt x="56" y="0"/>
                        <a:pt x="47" y="6"/>
                        <a:pt x="43" y="9"/>
                      </a:cubicBezTo>
                      <a:cubicBezTo>
                        <a:pt x="40" y="12"/>
                        <a:pt x="27" y="9"/>
                        <a:pt x="26" y="10"/>
                      </a:cubicBezTo>
                      <a:cubicBezTo>
                        <a:pt x="24" y="11"/>
                        <a:pt x="26" y="15"/>
                        <a:pt x="22" y="16"/>
                      </a:cubicBezTo>
                      <a:cubicBezTo>
                        <a:pt x="17" y="18"/>
                        <a:pt x="8" y="16"/>
                        <a:pt x="5" y="18"/>
                      </a:cubicBezTo>
                      <a:cubicBezTo>
                        <a:pt x="1" y="19"/>
                        <a:pt x="0" y="24"/>
                        <a:pt x="3" y="24"/>
                      </a:cubicBezTo>
                      <a:cubicBezTo>
                        <a:pt x="6" y="23"/>
                        <a:pt x="7" y="25"/>
                        <a:pt x="6" y="26"/>
                      </a:cubicBezTo>
                      <a:cubicBezTo>
                        <a:pt x="5" y="27"/>
                        <a:pt x="9" y="31"/>
                        <a:pt x="7" y="32"/>
                      </a:cubicBezTo>
                      <a:cubicBezTo>
                        <a:pt x="5" y="33"/>
                        <a:pt x="5" y="36"/>
                        <a:pt x="7" y="38"/>
                      </a:cubicBezTo>
                      <a:cubicBezTo>
                        <a:pt x="9" y="39"/>
                        <a:pt x="10" y="42"/>
                        <a:pt x="7" y="42"/>
                      </a:cubicBezTo>
                      <a:cubicBezTo>
                        <a:pt x="5" y="42"/>
                        <a:pt x="11" y="45"/>
                        <a:pt x="11" y="46"/>
                      </a:cubicBezTo>
                      <a:cubicBezTo>
                        <a:pt x="11" y="47"/>
                        <a:pt x="17" y="48"/>
                        <a:pt x="17" y="49"/>
                      </a:cubicBezTo>
                      <a:cubicBezTo>
                        <a:pt x="17" y="51"/>
                        <a:pt x="18" y="51"/>
                        <a:pt x="21" y="50"/>
                      </a:cubicBezTo>
                      <a:cubicBezTo>
                        <a:pt x="23" y="50"/>
                        <a:pt x="24" y="53"/>
                        <a:pt x="26" y="56"/>
                      </a:cubicBezTo>
                      <a:cubicBezTo>
                        <a:pt x="27" y="58"/>
                        <a:pt x="36" y="56"/>
                        <a:pt x="36" y="54"/>
                      </a:cubicBezTo>
                      <a:cubicBezTo>
                        <a:pt x="36" y="51"/>
                        <a:pt x="39" y="50"/>
                        <a:pt x="42" y="51"/>
                      </a:cubicBezTo>
                      <a:cubicBezTo>
                        <a:pt x="46" y="51"/>
                        <a:pt x="51" y="56"/>
                        <a:pt x="53" y="57"/>
                      </a:cubicBezTo>
                      <a:cubicBezTo>
                        <a:pt x="55" y="58"/>
                        <a:pt x="59" y="56"/>
                        <a:pt x="62" y="56"/>
                      </a:cubicBezTo>
                      <a:cubicBezTo>
                        <a:pt x="64" y="56"/>
                        <a:pt x="68" y="52"/>
                        <a:pt x="69" y="51"/>
                      </a:cubicBezTo>
                      <a:cubicBezTo>
                        <a:pt x="71" y="50"/>
                        <a:pt x="73" y="54"/>
                        <a:pt x="75" y="53"/>
                      </a:cubicBezTo>
                      <a:cubicBezTo>
                        <a:pt x="78" y="51"/>
                        <a:pt x="80" y="50"/>
                        <a:pt x="82" y="51"/>
                      </a:cubicBezTo>
                      <a:cubicBezTo>
                        <a:pt x="83" y="52"/>
                        <a:pt x="78" y="55"/>
                        <a:pt x="79" y="57"/>
                      </a:cubicBezTo>
                      <a:cubicBezTo>
                        <a:pt x="80" y="58"/>
                        <a:pt x="80" y="59"/>
                        <a:pt x="80" y="60"/>
                      </a:cubicBezTo>
                      <a:cubicBezTo>
                        <a:pt x="85" y="59"/>
                        <a:pt x="84" y="56"/>
                        <a:pt x="84" y="54"/>
                      </a:cubicBezTo>
                      <a:cubicBezTo>
                        <a:pt x="85" y="53"/>
                        <a:pt x="86" y="51"/>
                        <a:pt x="88" y="53"/>
                      </a:cubicBezTo>
                      <a:cubicBezTo>
                        <a:pt x="89" y="54"/>
                        <a:pt x="91" y="54"/>
                        <a:pt x="95" y="53"/>
                      </a:cubicBezTo>
                      <a:cubicBezTo>
                        <a:pt x="98" y="51"/>
                        <a:pt x="99" y="50"/>
                        <a:pt x="100" y="52"/>
                      </a:cubicBezTo>
                      <a:cubicBezTo>
                        <a:pt x="101" y="53"/>
                        <a:pt x="104" y="52"/>
                        <a:pt x="109" y="52"/>
                      </a:cubicBezTo>
                      <a:cubicBezTo>
                        <a:pt x="114" y="52"/>
                        <a:pt x="115" y="48"/>
                        <a:pt x="120" y="49"/>
                      </a:cubicBezTo>
                      <a:cubicBezTo>
                        <a:pt x="125" y="49"/>
                        <a:pt x="129" y="47"/>
                        <a:pt x="129" y="47"/>
                      </a:cubicBezTo>
                      <a:cubicBezTo>
                        <a:pt x="132" y="48"/>
                        <a:pt x="132" y="48"/>
                        <a:pt x="132" y="48"/>
                      </a:cubicBezTo>
                      <a:cubicBezTo>
                        <a:pt x="133" y="47"/>
                        <a:pt x="133" y="46"/>
                        <a:pt x="135" y="46"/>
                      </a:cubicBezTo>
                      <a:cubicBezTo>
                        <a:pt x="139" y="45"/>
                        <a:pt x="141" y="48"/>
                        <a:pt x="143" y="47"/>
                      </a:cubicBezTo>
                      <a:cubicBezTo>
                        <a:pt x="144" y="46"/>
                        <a:pt x="151" y="53"/>
                        <a:pt x="151" y="48"/>
                      </a:cubicBezTo>
                      <a:cubicBezTo>
                        <a:pt x="151" y="47"/>
                        <a:pt x="149" y="42"/>
                        <a:pt x="147" y="42"/>
                      </a:cubicBezTo>
                      <a:close/>
                      <a:moveTo>
                        <a:pt x="13" y="11"/>
                      </a:moveTo>
                      <a:cubicBezTo>
                        <a:pt x="16" y="10"/>
                        <a:pt x="23" y="12"/>
                        <a:pt x="24" y="10"/>
                      </a:cubicBezTo>
                      <a:cubicBezTo>
                        <a:pt x="26" y="9"/>
                        <a:pt x="20" y="7"/>
                        <a:pt x="18" y="5"/>
                      </a:cubicBezTo>
                      <a:cubicBezTo>
                        <a:pt x="17" y="4"/>
                        <a:pt x="16" y="3"/>
                        <a:pt x="16" y="1"/>
                      </a:cubicBezTo>
                      <a:cubicBezTo>
                        <a:pt x="15" y="2"/>
                        <a:pt x="14" y="2"/>
                        <a:pt x="13" y="2"/>
                      </a:cubicBezTo>
                      <a:cubicBezTo>
                        <a:pt x="11" y="1"/>
                        <a:pt x="6" y="1"/>
                        <a:pt x="5" y="2"/>
                      </a:cubicBezTo>
                      <a:cubicBezTo>
                        <a:pt x="4" y="2"/>
                        <a:pt x="5" y="5"/>
                        <a:pt x="5" y="7"/>
                      </a:cubicBezTo>
                      <a:cubicBezTo>
                        <a:pt x="5" y="9"/>
                        <a:pt x="3" y="10"/>
                        <a:pt x="3" y="11"/>
                      </a:cubicBezTo>
                      <a:cubicBezTo>
                        <a:pt x="3" y="12"/>
                        <a:pt x="2" y="13"/>
                        <a:pt x="1" y="14"/>
                      </a:cubicBezTo>
                      <a:cubicBezTo>
                        <a:pt x="3" y="15"/>
                        <a:pt x="4" y="16"/>
                        <a:pt x="6" y="16"/>
                      </a:cubicBezTo>
                      <a:cubicBezTo>
                        <a:pt x="9" y="16"/>
                        <a:pt x="10" y="12"/>
                        <a:pt x="13" y="1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5" name="Freeform 68">
                  <a:extLst>
                    <a:ext uri="{FF2B5EF4-FFF2-40B4-BE49-F238E27FC236}">
                      <a16:creationId xmlns:a16="http://schemas.microsoft.com/office/drawing/2014/main" id="{4882C449-0C77-49BF-A042-C33E31A0C8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47085" y="-10365014"/>
                  <a:ext cx="116756" cy="110269"/>
                </a:xfrm>
                <a:custGeom>
                  <a:avLst/>
                  <a:gdLst>
                    <a:gd name="T0" fmla="*/ 9 w 19"/>
                    <a:gd name="T1" fmla="*/ 0 h 18"/>
                    <a:gd name="T2" fmla="*/ 0 w 19"/>
                    <a:gd name="T3" fmla="*/ 5 h 18"/>
                    <a:gd name="T4" fmla="*/ 1 w 19"/>
                    <a:gd name="T5" fmla="*/ 7 h 18"/>
                    <a:gd name="T6" fmla="*/ 6 w 19"/>
                    <a:gd name="T7" fmla="*/ 13 h 18"/>
                    <a:gd name="T8" fmla="*/ 7 w 19"/>
                    <a:gd name="T9" fmla="*/ 18 h 18"/>
                    <a:gd name="T10" fmla="*/ 10 w 19"/>
                    <a:gd name="T11" fmla="*/ 17 h 18"/>
                    <a:gd name="T12" fmla="*/ 19 w 19"/>
                    <a:gd name="T13" fmla="*/ 8 h 18"/>
                    <a:gd name="T14" fmla="*/ 9 w 19"/>
                    <a:gd name="T1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" h="18">
                      <a:moveTo>
                        <a:pt x="9" y="0"/>
                      </a:moveTo>
                      <a:cubicBezTo>
                        <a:pt x="6" y="0"/>
                        <a:pt x="1" y="3"/>
                        <a:pt x="0" y="5"/>
                      </a:cubicBezTo>
                      <a:cubicBezTo>
                        <a:pt x="1" y="6"/>
                        <a:pt x="1" y="7"/>
                        <a:pt x="1" y="7"/>
                      </a:cubicBezTo>
                      <a:cubicBezTo>
                        <a:pt x="2" y="10"/>
                        <a:pt x="4" y="12"/>
                        <a:pt x="6" y="13"/>
                      </a:cubicBezTo>
                      <a:cubicBezTo>
                        <a:pt x="8" y="14"/>
                        <a:pt x="7" y="16"/>
                        <a:pt x="7" y="18"/>
                      </a:cubicBezTo>
                      <a:cubicBezTo>
                        <a:pt x="8" y="17"/>
                        <a:pt x="10" y="17"/>
                        <a:pt x="10" y="17"/>
                      </a:cubicBezTo>
                      <a:cubicBezTo>
                        <a:pt x="13" y="17"/>
                        <a:pt x="18" y="10"/>
                        <a:pt x="19" y="8"/>
                      </a:cubicBezTo>
                      <a:cubicBezTo>
                        <a:pt x="19" y="6"/>
                        <a:pt x="12" y="0"/>
                        <a:pt x="9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6" name="Freeform 69">
                  <a:extLst>
                    <a:ext uri="{FF2B5EF4-FFF2-40B4-BE49-F238E27FC236}">
                      <a16:creationId xmlns:a16="http://schemas.microsoft.com/office/drawing/2014/main" id="{C98053B2-DBDC-4EEE-9826-7D3E903401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902784" y="-10780145"/>
                  <a:ext cx="347025" cy="321079"/>
                </a:xfrm>
                <a:custGeom>
                  <a:avLst/>
                  <a:gdLst>
                    <a:gd name="T0" fmla="*/ 53 w 56"/>
                    <a:gd name="T1" fmla="*/ 2 h 52"/>
                    <a:gd name="T2" fmla="*/ 47 w 56"/>
                    <a:gd name="T3" fmla="*/ 0 h 52"/>
                    <a:gd name="T4" fmla="*/ 42 w 56"/>
                    <a:gd name="T5" fmla="*/ 6 h 52"/>
                    <a:gd name="T6" fmla="*/ 36 w 56"/>
                    <a:gd name="T7" fmla="*/ 10 h 52"/>
                    <a:gd name="T8" fmla="*/ 33 w 56"/>
                    <a:gd name="T9" fmla="*/ 13 h 52"/>
                    <a:gd name="T10" fmla="*/ 28 w 56"/>
                    <a:gd name="T11" fmla="*/ 15 h 52"/>
                    <a:gd name="T12" fmla="*/ 23 w 56"/>
                    <a:gd name="T13" fmla="*/ 13 h 52"/>
                    <a:gd name="T14" fmla="*/ 18 w 56"/>
                    <a:gd name="T15" fmla="*/ 18 h 52"/>
                    <a:gd name="T16" fmla="*/ 3 w 56"/>
                    <a:gd name="T17" fmla="*/ 27 h 52"/>
                    <a:gd name="T18" fmla="*/ 0 w 56"/>
                    <a:gd name="T19" fmla="*/ 30 h 52"/>
                    <a:gd name="T20" fmla="*/ 9 w 56"/>
                    <a:gd name="T21" fmla="*/ 35 h 52"/>
                    <a:gd name="T22" fmla="*/ 5 w 56"/>
                    <a:gd name="T23" fmla="*/ 44 h 52"/>
                    <a:gd name="T24" fmla="*/ 6 w 56"/>
                    <a:gd name="T25" fmla="*/ 48 h 52"/>
                    <a:gd name="T26" fmla="*/ 10 w 56"/>
                    <a:gd name="T27" fmla="*/ 50 h 52"/>
                    <a:gd name="T28" fmla="*/ 16 w 56"/>
                    <a:gd name="T29" fmla="*/ 49 h 52"/>
                    <a:gd name="T30" fmla="*/ 18 w 56"/>
                    <a:gd name="T31" fmla="*/ 50 h 52"/>
                    <a:gd name="T32" fmla="*/ 23 w 56"/>
                    <a:gd name="T33" fmla="*/ 47 h 52"/>
                    <a:gd name="T34" fmla="*/ 30 w 56"/>
                    <a:gd name="T35" fmla="*/ 45 h 52"/>
                    <a:gd name="T36" fmla="*/ 35 w 56"/>
                    <a:gd name="T37" fmla="*/ 44 h 52"/>
                    <a:gd name="T38" fmla="*/ 27 w 56"/>
                    <a:gd name="T39" fmla="*/ 37 h 52"/>
                    <a:gd name="T40" fmla="*/ 30 w 56"/>
                    <a:gd name="T41" fmla="*/ 30 h 52"/>
                    <a:gd name="T42" fmla="*/ 44 w 56"/>
                    <a:gd name="T43" fmla="*/ 21 h 52"/>
                    <a:gd name="T44" fmla="*/ 47 w 56"/>
                    <a:gd name="T45" fmla="*/ 11 h 52"/>
                    <a:gd name="T46" fmla="*/ 56 w 56"/>
                    <a:gd name="T47" fmla="*/ 3 h 52"/>
                    <a:gd name="T48" fmla="*/ 53 w 56"/>
                    <a:gd name="T49" fmla="*/ 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6" h="52">
                      <a:moveTo>
                        <a:pt x="53" y="2"/>
                      </a:moveTo>
                      <a:cubicBezTo>
                        <a:pt x="50" y="3"/>
                        <a:pt x="49" y="0"/>
                        <a:pt x="47" y="0"/>
                      </a:cubicBezTo>
                      <a:cubicBezTo>
                        <a:pt x="44" y="0"/>
                        <a:pt x="45" y="6"/>
                        <a:pt x="42" y="6"/>
                      </a:cubicBezTo>
                      <a:cubicBezTo>
                        <a:pt x="39" y="6"/>
                        <a:pt x="40" y="10"/>
                        <a:pt x="36" y="10"/>
                      </a:cubicBezTo>
                      <a:cubicBezTo>
                        <a:pt x="33" y="11"/>
                        <a:pt x="32" y="11"/>
                        <a:pt x="33" y="13"/>
                      </a:cubicBezTo>
                      <a:cubicBezTo>
                        <a:pt x="35" y="16"/>
                        <a:pt x="31" y="15"/>
                        <a:pt x="28" y="15"/>
                      </a:cubicBezTo>
                      <a:cubicBezTo>
                        <a:pt x="25" y="15"/>
                        <a:pt x="25" y="13"/>
                        <a:pt x="23" y="13"/>
                      </a:cubicBezTo>
                      <a:cubicBezTo>
                        <a:pt x="21" y="13"/>
                        <a:pt x="19" y="16"/>
                        <a:pt x="18" y="18"/>
                      </a:cubicBezTo>
                      <a:cubicBezTo>
                        <a:pt x="16" y="21"/>
                        <a:pt x="6" y="25"/>
                        <a:pt x="3" y="27"/>
                      </a:cubicBezTo>
                      <a:cubicBezTo>
                        <a:pt x="2" y="27"/>
                        <a:pt x="1" y="29"/>
                        <a:pt x="0" y="30"/>
                      </a:cubicBezTo>
                      <a:cubicBezTo>
                        <a:pt x="4" y="31"/>
                        <a:pt x="8" y="33"/>
                        <a:pt x="9" y="35"/>
                      </a:cubicBezTo>
                      <a:cubicBezTo>
                        <a:pt x="12" y="38"/>
                        <a:pt x="7" y="41"/>
                        <a:pt x="5" y="44"/>
                      </a:cubicBezTo>
                      <a:cubicBezTo>
                        <a:pt x="3" y="46"/>
                        <a:pt x="6" y="46"/>
                        <a:pt x="6" y="48"/>
                      </a:cubicBezTo>
                      <a:cubicBezTo>
                        <a:pt x="6" y="51"/>
                        <a:pt x="9" y="52"/>
                        <a:pt x="10" y="50"/>
                      </a:cubicBezTo>
                      <a:cubicBezTo>
                        <a:pt x="11" y="49"/>
                        <a:pt x="13" y="49"/>
                        <a:pt x="16" y="49"/>
                      </a:cubicBezTo>
                      <a:cubicBezTo>
                        <a:pt x="17" y="49"/>
                        <a:pt x="18" y="50"/>
                        <a:pt x="18" y="50"/>
                      </a:cubicBezTo>
                      <a:cubicBezTo>
                        <a:pt x="20" y="49"/>
                        <a:pt x="22" y="47"/>
                        <a:pt x="23" y="47"/>
                      </a:cubicBezTo>
                      <a:cubicBezTo>
                        <a:pt x="24" y="45"/>
                        <a:pt x="27" y="45"/>
                        <a:pt x="30" y="45"/>
                      </a:cubicBezTo>
                      <a:cubicBezTo>
                        <a:pt x="32" y="45"/>
                        <a:pt x="33" y="45"/>
                        <a:pt x="35" y="44"/>
                      </a:cubicBezTo>
                      <a:cubicBezTo>
                        <a:pt x="32" y="40"/>
                        <a:pt x="29" y="38"/>
                        <a:pt x="27" y="37"/>
                      </a:cubicBezTo>
                      <a:cubicBezTo>
                        <a:pt x="25" y="35"/>
                        <a:pt x="26" y="31"/>
                        <a:pt x="30" y="30"/>
                      </a:cubicBezTo>
                      <a:cubicBezTo>
                        <a:pt x="33" y="29"/>
                        <a:pt x="41" y="23"/>
                        <a:pt x="44" y="21"/>
                      </a:cubicBezTo>
                      <a:cubicBezTo>
                        <a:pt x="46" y="20"/>
                        <a:pt x="45" y="15"/>
                        <a:pt x="47" y="11"/>
                      </a:cubicBezTo>
                      <a:cubicBezTo>
                        <a:pt x="48" y="9"/>
                        <a:pt x="52" y="6"/>
                        <a:pt x="56" y="3"/>
                      </a:cubicBezTo>
                      <a:cubicBezTo>
                        <a:pt x="55" y="2"/>
                        <a:pt x="54" y="2"/>
                        <a:pt x="53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7" name="Freeform 70">
                  <a:extLst>
                    <a:ext uri="{FF2B5EF4-FFF2-40B4-BE49-F238E27FC236}">
                      <a16:creationId xmlns:a16="http://schemas.microsoft.com/office/drawing/2014/main" id="{BFD115A9-D989-43AE-B8C9-85676DD9F2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40059" y="-10056910"/>
                  <a:ext cx="382699" cy="220538"/>
                </a:xfrm>
                <a:custGeom>
                  <a:avLst/>
                  <a:gdLst>
                    <a:gd name="T0" fmla="*/ 61 w 62"/>
                    <a:gd name="T1" fmla="*/ 23 h 36"/>
                    <a:gd name="T2" fmla="*/ 59 w 62"/>
                    <a:gd name="T3" fmla="*/ 23 h 36"/>
                    <a:gd name="T4" fmla="*/ 48 w 62"/>
                    <a:gd name="T5" fmla="*/ 21 h 36"/>
                    <a:gd name="T6" fmla="*/ 33 w 62"/>
                    <a:gd name="T7" fmla="*/ 15 h 36"/>
                    <a:gd name="T8" fmla="*/ 16 w 62"/>
                    <a:gd name="T9" fmla="*/ 3 h 36"/>
                    <a:gd name="T10" fmla="*/ 10 w 62"/>
                    <a:gd name="T11" fmla="*/ 1 h 36"/>
                    <a:gd name="T12" fmla="*/ 5 w 62"/>
                    <a:gd name="T13" fmla="*/ 3 h 36"/>
                    <a:gd name="T14" fmla="*/ 1 w 62"/>
                    <a:gd name="T15" fmla="*/ 8 h 36"/>
                    <a:gd name="T16" fmla="*/ 0 w 62"/>
                    <a:gd name="T17" fmla="*/ 14 h 36"/>
                    <a:gd name="T18" fmla="*/ 4 w 62"/>
                    <a:gd name="T19" fmla="*/ 17 h 36"/>
                    <a:gd name="T20" fmla="*/ 11 w 62"/>
                    <a:gd name="T21" fmla="*/ 20 h 36"/>
                    <a:gd name="T22" fmla="*/ 17 w 62"/>
                    <a:gd name="T23" fmla="*/ 23 h 36"/>
                    <a:gd name="T24" fmla="*/ 23 w 62"/>
                    <a:gd name="T25" fmla="*/ 27 h 36"/>
                    <a:gd name="T26" fmla="*/ 31 w 62"/>
                    <a:gd name="T27" fmla="*/ 26 h 36"/>
                    <a:gd name="T28" fmla="*/ 35 w 62"/>
                    <a:gd name="T29" fmla="*/ 30 h 36"/>
                    <a:gd name="T30" fmla="*/ 46 w 62"/>
                    <a:gd name="T31" fmla="*/ 34 h 36"/>
                    <a:gd name="T32" fmla="*/ 60 w 62"/>
                    <a:gd name="T33" fmla="*/ 33 h 36"/>
                    <a:gd name="T34" fmla="*/ 60 w 62"/>
                    <a:gd name="T35" fmla="*/ 25 h 36"/>
                    <a:gd name="T36" fmla="*/ 61 w 62"/>
                    <a:gd name="T37" fmla="*/ 23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2" h="36">
                      <a:moveTo>
                        <a:pt x="61" y="23"/>
                      </a:moveTo>
                      <a:cubicBezTo>
                        <a:pt x="60" y="23"/>
                        <a:pt x="59" y="23"/>
                        <a:pt x="59" y="23"/>
                      </a:cubicBezTo>
                      <a:cubicBezTo>
                        <a:pt x="54" y="23"/>
                        <a:pt x="51" y="21"/>
                        <a:pt x="48" y="21"/>
                      </a:cubicBezTo>
                      <a:cubicBezTo>
                        <a:pt x="45" y="21"/>
                        <a:pt x="36" y="18"/>
                        <a:pt x="33" y="15"/>
                      </a:cubicBezTo>
                      <a:cubicBezTo>
                        <a:pt x="29" y="12"/>
                        <a:pt x="19" y="5"/>
                        <a:pt x="16" y="3"/>
                      </a:cubicBezTo>
                      <a:cubicBezTo>
                        <a:pt x="14" y="0"/>
                        <a:pt x="10" y="0"/>
                        <a:pt x="10" y="1"/>
                      </a:cubicBezTo>
                      <a:cubicBezTo>
                        <a:pt x="10" y="3"/>
                        <a:pt x="8" y="3"/>
                        <a:pt x="5" y="3"/>
                      </a:cubicBezTo>
                      <a:cubicBezTo>
                        <a:pt x="4" y="4"/>
                        <a:pt x="1" y="6"/>
                        <a:pt x="1" y="8"/>
                      </a:cubicBezTo>
                      <a:cubicBezTo>
                        <a:pt x="1" y="9"/>
                        <a:pt x="0" y="12"/>
                        <a:pt x="0" y="14"/>
                      </a:cubicBezTo>
                      <a:cubicBezTo>
                        <a:pt x="0" y="15"/>
                        <a:pt x="3" y="15"/>
                        <a:pt x="4" y="17"/>
                      </a:cubicBezTo>
                      <a:cubicBezTo>
                        <a:pt x="5" y="18"/>
                        <a:pt x="10" y="19"/>
                        <a:pt x="11" y="20"/>
                      </a:cubicBezTo>
                      <a:cubicBezTo>
                        <a:pt x="11" y="21"/>
                        <a:pt x="14" y="23"/>
                        <a:pt x="17" y="23"/>
                      </a:cubicBezTo>
                      <a:cubicBezTo>
                        <a:pt x="19" y="23"/>
                        <a:pt x="22" y="26"/>
                        <a:pt x="23" y="27"/>
                      </a:cubicBezTo>
                      <a:cubicBezTo>
                        <a:pt x="24" y="28"/>
                        <a:pt x="29" y="26"/>
                        <a:pt x="31" y="26"/>
                      </a:cubicBezTo>
                      <a:cubicBezTo>
                        <a:pt x="32" y="26"/>
                        <a:pt x="35" y="29"/>
                        <a:pt x="35" y="30"/>
                      </a:cubicBezTo>
                      <a:cubicBezTo>
                        <a:pt x="36" y="32"/>
                        <a:pt x="44" y="33"/>
                        <a:pt x="46" y="34"/>
                      </a:cubicBezTo>
                      <a:cubicBezTo>
                        <a:pt x="48" y="36"/>
                        <a:pt x="58" y="35"/>
                        <a:pt x="60" y="33"/>
                      </a:cubicBezTo>
                      <a:cubicBezTo>
                        <a:pt x="62" y="31"/>
                        <a:pt x="60" y="28"/>
                        <a:pt x="60" y="25"/>
                      </a:cubicBezTo>
                      <a:cubicBezTo>
                        <a:pt x="60" y="24"/>
                        <a:pt x="60" y="23"/>
                        <a:pt x="61" y="2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8" name="Freeform 71">
                  <a:extLst>
                    <a:ext uri="{FF2B5EF4-FFF2-40B4-BE49-F238E27FC236}">
                      <a16:creationId xmlns:a16="http://schemas.microsoft.com/office/drawing/2014/main" id="{F05223B5-5596-486B-8DD4-E8E024D7CA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634658" y="-9940154"/>
                  <a:ext cx="155674" cy="90810"/>
                </a:xfrm>
                <a:custGeom>
                  <a:avLst/>
                  <a:gdLst>
                    <a:gd name="T0" fmla="*/ 24 w 25"/>
                    <a:gd name="T1" fmla="*/ 5 h 15"/>
                    <a:gd name="T2" fmla="*/ 14 w 25"/>
                    <a:gd name="T3" fmla="*/ 2 h 15"/>
                    <a:gd name="T4" fmla="*/ 8 w 25"/>
                    <a:gd name="T5" fmla="*/ 1 h 15"/>
                    <a:gd name="T6" fmla="*/ 2 w 25"/>
                    <a:gd name="T7" fmla="*/ 6 h 15"/>
                    <a:gd name="T8" fmla="*/ 0 w 25"/>
                    <a:gd name="T9" fmla="*/ 10 h 15"/>
                    <a:gd name="T10" fmla="*/ 2 w 25"/>
                    <a:gd name="T11" fmla="*/ 11 h 15"/>
                    <a:gd name="T12" fmla="*/ 8 w 25"/>
                    <a:gd name="T13" fmla="*/ 13 h 15"/>
                    <a:gd name="T14" fmla="*/ 15 w 25"/>
                    <a:gd name="T15" fmla="*/ 13 h 15"/>
                    <a:gd name="T16" fmla="*/ 23 w 25"/>
                    <a:gd name="T17" fmla="*/ 12 h 15"/>
                    <a:gd name="T18" fmla="*/ 22 w 25"/>
                    <a:gd name="T19" fmla="*/ 5 h 15"/>
                    <a:gd name="T20" fmla="*/ 24 w 25"/>
                    <a:gd name="T21" fmla="*/ 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5">
                      <a:moveTo>
                        <a:pt x="24" y="5"/>
                      </a:moveTo>
                      <a:cubicBezTo>
                        <a:pt x="19" y="0"/>
                        <a:pt x="18" y="4"/>
                        <a:pt x="14" y="2"/>
                      </a:cubicBezTo>
                      <a:cubicBezTo>
                        <a:pt x="11" y="0"/>
                        <a:pt x="9" y="0"/>
                        <a:pt x="8" y="1"/>
                      </a:cubicBezTo>
                      <a:cubicBezTo>
                        <a:pt x="6" y="2"/>
                        <a:pt x="4" y="2"/>
                        <a:pt x="2" y="6"/>
                      </a:cubicBezTo>
                      <a:cubicBezTo>
                        <a:pt x="2" y="7"/>
                        <a:pt x="1" y="9"/>
                        <a:pt x="0" y="10"/>
                      </a:cubicBezTo>
                      <a:cubicBezTo>
                        <a:pt x="1" y="11"/>
                        <a:pt x="2" y="12"/>
                        <a:pt x="2" y="11"/>
                      </a:cubicBezTo>
                      <a:cubicBezTo>
                        <a:pt x="4" y="11"/>
                        <a:pt x="5" y="13"/>
                        <a:pt x="8" y="13"/>
                      </a:cubicBezTo>
                      <a:cubicBezTo>
                        <a:pt x="10" y="12"/>
                        <a:pt x="12" y="14"/>
                        <a:pt x="15" y="13"/>
                      </a:cubicBezTo>
                      <a:cubicBezTo>
                        <a:pt x="19" y="12"/>
                        <a:pt x="22" y="15"/>
                        <a:pt x="23" y="12"/>
                      </a:cubicBezTo>
                      <a:cubicBezTo>
                        <a:pt x="25" y="10"/>
                        <a:pt x="22" y="5"/>
                        <a:pt x="22" y="5"/>
                      </a:cubicBezTo>
                      <a:cubicBezTo>
                        <a:pt x="22" y="5"/>
                        <a:pt x="23" y="5"/>
                        <a:pt x="24" y="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9" name="Freeform 72">
                  <a:extLst>
                    <a:ext uri="{FF2B5EF4-FFF2-40B4-BE49-F238E27FC236}">
                      <a16:creationId xmlns:a16="http://schemas.microsoft.com/office/drawing/2014/main" id="{275788A8-D971-454E-83B4-B215791A2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322187" y="-11571488"/>
                  <a:ext cx="479995" cy="395672"/>
                </a:xfrm>
                <a:custGeom>
                  <a:avLst/>
                  <a:gdLst>
                    <a:gd name="T0" fmla="*/ 2 w 78"/>
                    <a:gd name="T1" fmla="*/ 14 h 64"/>
                    <a:gd name="T2" fmla="*/ 2 w 78"/>
                    <a:gd name="T3" fmla="*/ 22 h 64"/>
                    <a:gd name="T4" fmla="*/ 2 w 78"/>
                    <a:gd name="T5" fmla="*/ 25 h 64"/>
                    <a:gd name="T6" fmla="*/ 4 w 78"/>
                    <a:gd name="T7" fmla="*/ 29 h 64"/>
                    <a:gd name="T8" fmla="*/ 5 w 78"/>
                    <a:gd name="T9" fmla="*/ 33 h 64"/>
                    <a:gd name="T10" fmla="*/ 7 w 78"/>
                    <a:gd name="T11" fmla="*/ 40 h 64"/>
                    <a:gd name="T12" fmla="*/ 7 w 78"/>
                    <a:gd name="T13" fmla="*/ 44 h 64"/>
                    <a:gd name="T14" fmla="*/ 12 w 78"/>
                    <a:gd name="T15" fmla="*/ 46 h 64"/>
                    <a:gd name="T16" fmla="*/ 17 w 78"/>
                    <a:gd name="T17" fmla="*/ 50 h 64"/>
                    <a:gd name="T18" fmla="*/ 21 w 78"/>
                    <a:gd name="T19" fmla="*/ 52 h 64"/>
                    <a:gd name="T20" fmla="*/ 26 w 78"/>
                    <a:gd name="T21" fmla="*/ 51 h 64"/>
                    <a:gd name="T22" fmla="*/ 28 w 78"/>
                    <a:gd name="T23" fmla="*/ 54 h 64"/>
                    <a:gd name="T24" fmla="*/ 33 w 78"/>
                    <a:gd name="T25" fmla="*/ 55 h 64"/>
                    <a:gd name="T26" fmla="*/ 37 w 78"/>
                    <a:gd name="T27" fmla="*/ 60 h 64"/>
                    <a:gd name="T28" fmla="*/ 42 w 78"/>
                    <a:gd name="T29" fmla="*/ 59 h 64"/>
                    <a:gd name="T30" fmla="*/ 49 w 78"/>
                    <a:gd name="T31" fmla="*/ 60 h 64"/>
                    <a:gd name="T32" fmla="*/ 55 w 78"/>
                    <a:gd name="T33" fmla="*/ 61 h 64"/>
                    <a:gd name="T34" fmla="*/ 62 w 78"/>
                    <a:gd name="T35" fmla="*/ 62 h 64"/>
                    <a:gd name="T36" fmla="*/ 66 w 78"/>
                    <a:gd name="T37" fmla="*/ 64 h 64"/>
                    <a:gd name="T38" fmla="*/ 66 w 78"/>
                    <a:gd name="T39" fmla="*/ 58 h 64"/>
                    <a:gd name="T40" fmla="*/ 74 w 78"/>
                    <a:gd name="T41" fmla="*/ 51 h 64"/>
                    <a:gd name="T42" fmla="*/ 77 w 78"/>
                    <a:gd name="T43" fmla="*/ 48 h 64"/>
                    <a:gd name="T44" fmla="*/ 74 w 78"/>
                    <a:gd name="T45" fmla="*/ 40 h 64"/>
                    <a:gd name="T46" fmla="*/ 73 w 78"/>
                    <a:gd name="T47" fmla="*/ 33 h 64"/>
                    <a:gd name="T48" fmla="*/ 71 w 78"/>
                    <a:gd name="T49" fmla="*/ 29 h 64"/>
                    <a:gd name="T50" fmla="*/ 75 w 78"/>
                    <a:gd name="T51" fmla="*/ 25 h 64"/>
                    <a:gd name="T52" fmla="*/ 75 w 78"/>
                    <a:gd name="T53" fmla="*/ 18 h 64"/>
                    <a:gd name="T54" fmla="*/ 74 w 78"/>
                    <a:gd name="T55" fmla="*/ 12 h 64"/>
                    <a:gd name="T56" fmla="*/ 68 w 78"/>
                    <a:gd name="T57" fmla="*/ 7 h 64"/>
                    <a:gd name="T58" fmla="*/ 67 w 78"/>
                    <a:gd name="T59" fmla="*/ 7 h 64"/>
                    <a:gd name="T60" fmla="*/ 46 w 78"/>
                    <a:gd name="T61" fmla="*/ 6 h 64"/>
                    <a:gd name="T62" fmla="*/ 42 w 78"/>
                    <a:gd name="T63" fmla="*/ 4 h 64"/>
                    <a:gd name="T64" fmla="*/ 38 w 78"/>
                    <a:gd name="T65" fmla="*/ 7 h 64"/>
                    <a:gd name="T66" fmla="*/ 34 w 78"/>
                    <a:gd name="T67" fmla="*/ 2 h 64"/>
                    <a:gd name="T68" fmla="*/ 17 w 78"/>
                    <a:gd name="T69" fmla="*/ 7 h 64"/>
                    <a:gd name="T70" fmla="*/ 4 w 78"/>
                    <a:gd name="T71" fmla="*/ 11 h 64"/>
                    <a:gd name="T72" fmla="*/ 2 w 78"/>
                    <a:gd name="T73" fmla="*/ 13 h 64"/>
                    <a:gd name="T74" fmla="*/ 2 w 78"/>
                    <a:gd name="T75" fmla="*/ 1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78" h="64">
                      <a:moveTo>
                        <a:pt x="2" y="14"/>
                      </a:moveTo>
                      <a:cubicBezTo>
                        <a:pt x="2" y="15"/>
                        <a:pt x="3" y="20"/>
                        <a:pt x="2" y="22"/>
                      </a:cubicBezTo>
                      <a:cubicBezTo>
                        <a:pt x="0" y="24"/>
                        <a:pt x="1" y="25"/>
                        <a:pt x="2" y="25"/>
                      </a:cubicBezTo>
                      <a:cubicBezTo>
                        <a:pt x="3" y="26"/>
                        <a:pt x="4" y="28"/>
                        <a:pt x="4" y="29"/>
                      </a:cubicBezTo>
                      <a:cubicBezTo>
                        <a:pt x="4" y="31"/>
                        <a:pt x="5" y="30"/>
                        <a:pt x="5" y="33"/>
                      </a:cubicBezTo>
                      <a:cubicBezTo>
                        <a:pt x="5" y="37"/>
                        <a:pt x="6" y="39"/>
                        <a:pt x="7" y="40"/>
                      </a:cubicBezTo>
                      <a:cubicBezTo>
                        <a:pt x="8" y="41"/>
                        <a:pt x="8" y="42"/>
                        <a:pt x="7" y="44"/>
                      </a:cubicBezTo>
                      <a:cubicBezTo>
                        <a:pt x="9" y="45"/>
                        <a:pt x="10" y="46"/>
                        <a:pt x="12" y="46"/>
                      </a:cubicBezTo>
                      <a:cubicBezTo>
                        <a:pt x="16" y="48"/>
                        <a:pt x="17" y="49"/>
                        <a:pt x="17" y="50"/>
                      </a:cubicBezTo>
                      <a:cubicBezTo>
                        <a:pt x="17" y="51"/>
                        <a:pt x="21" y="54"/>
                        <a:pt x="21" y="52"/>
                      </a:cubicBezTo>
                      <a:cubicBezTo>
                        <a:pt x="22" y="50"/>
                        <a:pt x="24" y="51"/>
                        <a:pt x="26" y="51"/>
                      </a:cubicBezTo>
                      <a:cubicBezTo>
                        <a:pt x="28" y="51"/>
                        <a:pt x="28" y="53"/>
                        <a:pt x="28" y="54"/>
                      </a:cubicBezTo>
                      <a:cubicBezTo>
                        <a:pt x="28" y="55"/>
                        <a:pt x="32" y="54"/>
                        <a:pt x="33" y="55"/>
                      </a:cubicBezTo>
                      <a:cubicBezTo>
                        <a:pt x="35" y="56"/>
                        <a:pt x="35" y="59"/>
                        <a:pt x="37" y="60"/>
                      </a:cubicBezTo>
                      <a:cubicBezTo>
                        <a:pt x="39" y="61"/>
                        <a:pt x="41" y="59"/>
                        <a:pt x="42" y="59"/>
                      </a:cubicBezTo>
                      <a:cubicBezTo>
                        <a:pt x="43" y="60"/>
                        <a:pt x="47" y="61"/>
                        <a:pt x="49" y="60"/>
                      </a:cubicBezTo>
                      <a:cubicBezTo>
                        <a:pt x="51" y="59"/>
                        <a:pt x="52" y="61"/>
                        <a:pt x="55" y="61"/>
                      </a:cubicBezTo>
                      <a:cubicBezTo>
                        <a:pt x="58" y="61"/>
                        <a:pt x="61" y="62"/>
                        <a:pt x="62" y="62"/>
                      </a:cubicBezTo>
                      <a:cubicBezTo>
                        <a:pt x="62" y="63"/>
                        <a:pt x="64" y="63"/>
                        <a:pt x="66" y="64"/>
                      </a:cubicBezTo>
                      <a:cubicBezTo>
                        <a:pt x="67" y="62"/>
                        <a:pt x="66" y="59"/>
                        <a:pt x="66" y="58"/>
                      </a:cubicBezTo>
                      <a:cubicBezTo>
                        <a:pt x="66" y="57"/>
                        <a:pt x="73" y="52"/>
                        <a:pt x="74" y="51"/>
                      </a:cubicBezTo>
                      <a:cubicBezTo>
                        <a:pt x="75" y="49"/>
                        <a:pt x="76" y="49"/>
                        <a:pt x="77" y="48"/>
                      </a:cubicBezTo>
                      <a:cubicBezTo>
                        <a:pt x="78" y="46"/>
                        <a:pt x="75" y="41"/>
                        <a:pt x="74" y="40"/>
                      </a:cubicBezTo>
                      <a:cubicBezTo>
                        <a:pt x="73" y="39"/>
                        <a:pt x="73" y="35"/>
                        <a:pt x="73" y="33"/>
                      </a:cubicBezTo>
                      <a:cubicBezTo>
                        <a:pt x="74" y="31"/>
                        <a:pt x="71" y="30"/>
                        <a:pt x="71" y="29"/>
                      </a:cubicBezTo>
                      <a:cubicBezTo>
                        <a:pt x="71" y="27"/>
                        <a:pt x="74" y="25"/>
                        <a:pt x="75" y="25"/>
                      </a:cubicBezTo>
                      <a:cubicBezTo>
                        <a:pt x="77" y="24"/>
                        <a:pt x="76" y="19"/>
                        <a:pt x="75" y="18"/>
                      </a:cubicBezTo>
                      <a:cubicBezTo>
                        <a:pt x="74" y="16"/>
                        <a:pt x="73" y="14"/>
                        <a:pt x="74" y="12"/>
                      </a:cubicBezTo>
                      <a:cubicBezTo>
                        <a:pt x="75" y="9"/>
                        <a:pt x="68" y="7"/>
                        <a:pt x="68" y="7"/>
                      </a:cubicBezTo>
                      <a:cubicBezTo>
                        <a:pt x="67" y="7"/>
                        <a:pt x="67" y="7"/>
                        <a:pt x="67" y="7"/>
                      </a:cubicBezTo>
                      <a:cubicBezTo>
                        <a:pt x="62" y="8"/>
                        <a:pt x="47" y="6"/>
                        <a:pt x="46" y="6"/>
                      </a:cubicBezTo>
                      <a:cubicBezTo>
                        <a:pt x="46" y="6"/>
                        <a:pt x="44" y="5"/>
                        <a:pt x="42" y="4"/>
                      </a:cubicBezTo>
                      <a:cubicBezTo>
                        <a:pt x="42" y="6"/>
                        <a:pt x="40" y="7"/>
                        <a:pt x="38" y="7"/>
                      </a:cubicBezTo>
                      <a:cubicBezTo>
                        <a:pt x="34" y="7"/>
                        <a:pt x="34" y="3"/>
                        <a:pt x="34" y="2"/>
                      </a:cubicBezTo>
                      <a:cubicBezTo>
                        <a:pt x="34" y="0"/>
                        <a:pt x="20" y="3"/>
                        <a:pt x="17" y="7"/>
                      </a:cubicBezTo>
                      <a:cubicBezTo>
                        <a:pt x="13" y="10"/>
                        <a:pt x="4" y="9"/>
                        <a:pt x="4" y="11"/>
                      </a:cubicBezTo>
                      <a:cubicBezTo>
                        <a:pt x="4" y="12"/>
                        <a:pt x="3" y="13"/>
                        <a:pt x="2" y="13"/>
                      </a:cubicBezTo>
                      <a:cubicBezTo>
                        <a:pt x="2" y="13"/>
                        <a:pt x="2" y="13"/>
                        <a:pt x="2" y="1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0" name="Freeform 73">
                  <a:extLst>
                    <a:ext uri="{FF2B5EF4-FFF2-40B4-BE49-F238E27FC236}">
                      <a16:creationId xmlns:a16="http://schemas.microsoft.com/office/drawing/2014/main" id="{99CAFACA-A088-4566-A5CC-75545A44DC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247595" y="-10935819"/>
                  <a:ext cx="178378" cy="175133"/>
                </a:xfrm>
                <a:custGeom>
                  <a:avLst/>
                  <a:gdLst>
                    <a:gd name="T0" fmla="*/ 21 w 29"/>
                    <a:gd name="T1" fmla="*/ 25 h 28"/>
                    <a:gd name="T2" fmla="*/ 27 w 29"/>
                    <a:gd name="T3" fmla="*/ 16 h 28"/>
                    <a:gd name="T4" fmla="*/ 28 w 29"/>
                    <a:gd name="T5" fmla="*/ 6 h 28"/>
                    <a:gd name="T6" fmla="*/ 21 w 29"/>
                    <a:gd name="T7" fmla="*/ 2 h 28"/>
                    <a:gd name="T8" fmla="*/ 9 w 29"/>
                    <a:gd name="T9" fmla="*/ 1 h 28"/>
                    <a:gd name="T10" fmla="*/ 4 w 29"/>
                    <a:gd name="T11" fmla="*/ 2 h 28"/>
                    <a:gd name="T12" fmla="*/ 0 w 29"/>
                    <a:gd name="T13" fmla="*/ 4 h 28"/>
                    <a:gd name="T14" fmla="*/ 4 w 29"/>
                    <a:gd name="T15" fmla="*/ 10 h 28"/>
                    <a:gd name="T16" fmla="*/ 10 w 29"/>
                    <a:gd name="T17" fmla="*/ 18 h 28"/>
                    <a:gd name="T18" fmla="*/ 17 w 29"/>
                    <a:gd name="T19" fmla="*/ 25 h 28"/>
                    <a:gd name="T20" fmla="*/ 21 w 29"/>
                    <a:gd name="T21" fmla="*/ 28 h 28"/>
                    <a:gd name="T22" fmla="*/ 21 w 29"/>
                    <a:gd name="T23" fmla="*/ 25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9" h="28">
                      <a:moveTo>
                        <a:pt x="21" y="25"/>
                      </a:moveTo>
                      <a:cubicBezTo>
                        <a:pt x="21" y="24"/>
                        <a:pt x="26" y="16"/>
                        <a:pt x="27" y="16"/>
                      </a:cubicBezTo>
                      <a:cubicBezTo>
                        <a:pt x="28" y="16"/>
                        <a:pt x="29" y="9"/>
                        <a:pt x="28" y="6"/>
                      </a:cubicBezTo>
                      <a:cubicBezTo>
                        <a:pt x="24" y="3"/>
                        <a:pt x="21" y="2"/>
                        <a:pt x="21" y="2"/>
                      </a:cubicBezTo>
                      <a:cubicBezTo>
                        <a:pt x="21" y="2"/>
                        <a:pt x="10" y="2"/>
                        <a:pt x="9" y="1"/>
                      </a:cubicBezTo>
                      <a:cubicBezTo>
                        <a:pt x="7" y="0"/>
                        <a:pt x="5" y="3"/>
                        <a:pt x="4" y="2"/>
                      </a:cubicBezTo>
                      <a:cubicBezTo>
                        <a:pt x="2" y="1"/>
                        <a:pt x="0" y="2"/>
                        <a:pt x="0" y="4"/>
                      </a:cubicBezTo>
                      <a:cubicBezTo>
                        <a:pt x="0" y="6"/>
                        <a:pt x="4" y="7"/>
                        <a:pt x="4" y="10"/>
                      </a:cubicBezTo>
                      <a:cubicBezTo>
                        <a:pt x="4" y="12"/>
                        <a:pt x="10" y="16"/>
                        <a:pt x="10" y="18"/>
                      </a:cubicBezTo>
                      <a:cubicBezTo>
                        <a:pt x="10" y="19"/>
                        <a:pt x="14" y="21"/>
                        <a:pt x="17" y="25"/>
                      </a:cubicBezTo>
                      <a:cubicBezTo>
                        <a:pt x="18" y="26"/>
                        <a:pt x="20" y="27"/>
                        <a:pt x="21" y="28"/>
                      </a:cubicBezTo>
                      <a:cubicBezTo>
                        <a:pt x="21" y="27"/>
                        <a:pt x="21" y="26"/>
                        <a:pt x="21" y="2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1" name="Freeform 74">
                  <a:extLst>
                    <a:ext uri="{FF2B5EF4-FFF2-40B4-BE49-F238E27FC236}">
                      <a16:creationId xmlns:a16="http://schemas.microsoft.com/office/drawing/2014/main" id="{7D59A80C-D2E0-4D88-9F09-4167EEC41C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341647" y="-11013656"/>
                  <a:ext cx="265943" cy="233511"/>
                </a:xfrm>
                <a:custGeom>
                  <a:avLst/>
                  <a:gdLst>
                    <a:gd name="T0" fmla="*/ 25 w 43"/>
                    <a:gd name="T1" fmla="*/ 31 h 38"/>
                    <a:gd name="T2" fmla="*/ 19 w 43"/>
                    <a:gd name="T3" fmla="*/ 23 h 38"/>
                    <a:gd name="T4" fmla="*/ 15 w 43"/>
                    <a:gd name="T5" fmla="*/ 17 h 38"/>
                    <a:gd name="T6" fmla="*/ 19 w 43"/>
                    <a:gd name="T7" fmla="*/ 15 h 38"/>
                    <a:gd name="T8" fmla="*/ 24 w 43"/>
                    <a:gd name="T9" fmla="*/ 14 h 38"/>
                    <a:gd name="T10" fmla="*/ 36 w 43"/>
                    <a:gd name="T11" fmla="*/ 15 h 38"/>
                    <a:gd name="T12" fmla="*/ 43 w 43"/>
                    <a:gd name="T13" fmla="*/ 19 h 38"/>
                    <a:gd name="T14" fmla="*/ 43 w 43"/>
                    <a:gd name="T15" fmla="*/ 17 h 38"/>
                    <a:gd name="T16" fmla="*/ 40 w 43"/>
                    <a:gd name="T17" fmla="*/ 11 h 38"/>
                    <a:gd name="T18" fmla="*/ 38 w 43"/>
                    <a:gd name="T19" fmla="*/ 6 h 38"/>
                    <a:gd name="T20" fmla="*/ 36 w 43"/>
                    <a:gd name="T21" fmla="*/ 7 h 38"/>
                    <a:gd name="T22" fmla="*/ 27 w 43"/>
                    <a:gd name="T23" fmla="*/ 5 h 38"/>
                    <a:gd name="T24" fmla="*/ 21 w 43"/>
                    <a:gd name="T25" fmla="*/ 0 h 38"/>
                    <a:gd name="T26" fmla="*/ 16 w 43"/>
                    <a:gd name="T27" fmla="*/ 4 h 38"/>
                    <a:gd name="T28" fmla="*/ 14 w 43"/>
                    <a:gd name="T29" fmla="*/ 8 h 38"/>
                    <a:gd name="T30" fmla="*/ 11 w 43"/>
                    <a:gd name="T31" fmla="*/ 11 h 38"/>
                    <a:gd name="T32" fmla="*/ 6 w 43"/>
                    <a:gd name="T33" fmla="*/ 11 h 38"/>
                    <a:gd name="T34" fmla="*/ 0 w 43"/>
                    <a:gd name="T35" fmla="*/ 12 h 38"/>
                    <a:gd name="T36" fmla="*/ 2 w 43"/>
                    <a:gd name="T37" fmla="*/ 15 h 38"/>
                    <a:gd name="T38" fmla="*/ 8 w 43"/>
                    <a:gd name="T39" fmla="*/ 18 h 38"/>
                    <a:gd name="T40" fmla="*/ 15 w 43"/>
                    <a:gd name="T41" fmla="*/ 29 h 38"/>
                    <a:gd name="T42" fmla="*/ 22 w 43"/>
                    <a:gd name="T43" fmla="*/ 33 h 38"/>
                    <a:gd name="T44" fmla="*/ 28 w 43"/>
                    <a:gd name="T45" fmla="*/ 36 h 38"/>
                    <a:gd name="T46" fmla="*/ 32 w 43"/>
                    <a:gd name="T47" fmla="*/ 38 h 38"/>
                    <a:gd name="T48" fmla="*/ 25 w 43"/>
                    <a:gd name="T49" fmla="*/ 31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3" h="38">
                      <a:moveTo>
                        <a:pt x="25" y="31"/>
                      </a:moveTo>
                      <a:cubicBezTo>
                        <a:pt x="25" y="29"/>
                        <a:pt x="19" y="25"/>
                        <a:pt x="19" y="23"/>
                      </a:cubicBezTo>
                      <a:cubicBezTo>
                        <a:pt x="19" y="20"/>
                        <a:pt x="15" y="19"/>
                        <a:pt x="15" y="17"/>
                      </a:cubicBezTo>
                      <a:cubicBezTo>
                        <a:pt x="15" y="15"/>
                        <a:pt x="17" y="14"/>
                        <a:pt x="19" y="15"/>
                      </a:cubicBezTo>
                      <a:cubicBezTo>
                        <a:pt x="20" y="16"/>
                        <a:pt x="22" y="13"/>
                        <a:pt x="24" y="14"/>
                      </a:cubicBezTo>
                      <a:cubicBezTo>
                        <a:pt x="25" y="15"/>
                        <a:pt x="36" y="15"/>
                        <a:pt x="36" y="15"/>
                      </a:cubicBezTo>
                      <a:cubicBezTo>
                        <a:pt x="36" y="15"/>
                        <a:pt x="39" y="16"/>
                        <a:pt x="43" y="19"/>
                      </a:cubicBezTo>
                      <a:cubicBezTo>
                        <a:pt x="43" y="18"/>
                        <a:pt x="43" y="17"/>
                        <a:pt x="43" y="17"/>
                      </a:cubicBezTo>
                      <a:cubicBezTo>
                        <a:pt x="42" y="15"/>
                        <a:pt x="43" y="12"/>
                        <a:pt x="40" y="11"/>
                      </a:cubicBezTo>
                      <a:cubicBezTo>
                        <a:pt x="39" y="11"/>
                        <a:pt x="39" y="8"/>
                        <a:pt x="38" y="6"/>
                      </a:cubicBezTo>
                      <a:cubicBezTo>
                        <a:pt x="37" y="7"/>
                        <a:pt x="36" y="7"/>
                        <a:pt x="36" y="7"/>
                      </a:cubicBezTo>
                      <a:cubicBezTo>
                        <a:pt x="33" y="8"/>
                        <a:pt x="29" y="7"/>
                        <a:pt x="27" y="5"/>
                      </a:cubicBezTo>
                      <a:cubicBezTo>
                        <a:pt x="26" y="4"/>
                        <a:pt x="22" y="1"/>
                        <a:pt x="21" y="0"/>
                      </a:cubicBezTo>
                      <a:cubicBezTo>
                        <a:pt x="20" y="1"/>
                        <a:pt x="17" y="3"/>
                        <a:pt x="16" y="4"/>
                      </a:cubicBezTo>
                      <a:cubicBezTo>
                        <a:pt x="14" y="4"/>
                        <a:pt x="15" y="8"/>
                        <a:pt x="14" y="8"/>
                      </a:cubicBezTo>
                      <a:cubicBezTo>
                        <a:pt x="12" y="8"/>
                        <a:pt x="11" y="10"/>
                        <a:pt x="11" y="11"/>
                      </a:cubicBezTo>
                      <a:cubicBezTo>
                        <a:pt x="11" y="12"/>
                        <a:pt x="7" y="10"/>
                        <a:pt x="6" y="11"/>
                      </a:cubicBezTo>
                      <a:cubicBezTo>
                        <a:pt x="5" y="11"/>
                        <a:pt x="2" y="12"/>
                        <a:pt x="0" y="12"/>
                      </a:cubicBezTo>
                      <a:cubicBezTo>
                        <a:pt x="1" y="14"/>
                        <a:pt x="0" y="15"/>
                        <a:pt x="2" y="15"/>
                      </a:cubicBezTo>
                      <a:cubicBezTo>
                        <a:pt x="4" y="15"/>
                        <a:pt x="8" y="15"/>
                        <a:pt x="8" y="18"/>
                      </a:cubicBezTo>
                      <a:cubicBezTo>
                        <a:pt x="8" y="21"/>
                        <a:pt x="13" y="27"/>
                        <a:pt x="15" y="29"/>
                      </a:cubicBezTo>
                      <a:cubicBezTo>
                        <a:pt x="17" y="31"/>
                        <a:pt x="21" y="31"/>
                        <a:pt x="22" y="33"/>
                      </a:cubicBezTo>
                      <a:cubicBezTo>
                        <a:pt x="22" y="35"/>
                        <a:pt x="25" y="36"/>
                        <a:pt x="28" y="36"/>
                      </a:cubicBezTo>
                      <a:cubicBezTo>
                        <a:pt x="29" y="37"/>
                        <a:pt x="31" y="37"/>
                        <a:pt x="32" y="38"/>
                      </a:cubicBezTo>
                      <a:cubicBezTo>
                        <a:pt x="29" y="34"/>
                        <a:pt x="25" y="32"/>
                        <a:pt x="25" y="3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2" name="Freeform 75">
                  <a:extLst>
                    <a:ext uri="{FF2B5EF4-FFF2-40B4-BE49-F238E27FC236}">
                      <a16:creationId xmlns:a16="http://schemas.microsoft.com/office/drawing/2014/main" id="{D0A40E36-E6C4-4CE3-8278-0F101CBA4D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082190" y="-10767172"/>
                  <a:ext cx="94054" cy="178378"/>
                </a:xfrm>
                <a:custGeom>
                  <a:avLst/>
                  <a:gdLst>
                    <a:gd name="T0" fmla="*/ 10 w 15"/>
                    <a:gd name="T1" fmla="*/ 25 h 29"/>
                    <a:gd name="T2" fmla="*/ 12 w 15"/>
                    <a:gd name="T3" fmla="*/ 22 h 29"/>
                    <a:gd name="T4" fmla="*/ 14 w 15"/>
                    <a:gd name="T5" fmla="*/ 17 h 29"/>
                    <a:gd name="T6" fmla="*/ 15 w 15"/>
                    <a:gd name="T7" fmla="*/ 17 h 29"/>
                    <a:gd name="T8" fmla="*/ 10 w 15"/>
                    <a:gd name="T9" fmla="*/ 12 h 29"/>
                    <a:gd name="T10" fmla="*/ 11 w 15"/>
                    <a:gd name="T11" fmla="*/ 4 h 29"/>
                    <a:gd name="T12" fmla="*/ 4 w 15"/>
                    <a:gd name="T13" fmla="*/ 0 h 29"/>
                    <a:gd name="T14" fmla="*/ 0 w 15"/>
                    <a:gd name="T15" fmla="*/ 5 h 29"/>
                    <a:gd name="T16" fmla="*/ 2 w 15"/>
                    <a:gd name="T17" fmla="*/ 10 h 29"/>
                    <a:gd name="T18" fmla="*/ 2 w 15"/>
                    <a:gd name="T19" fmla="*/ 22 h 29"/>
                    <a:gd name="T20" fmla="*/ 7 w 15"/>
                    <a:gd name="T21" fmla="*/ 29 h 29"/>
                    <a:gd name="T22" fmla="*/ 10 w 15"/>
                    <a:gd name="T23" fmla="*/ 25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" h="29">
                      <a:moveTo>
                        <a:pt x="10" y="25"/>
                      </a:moveTo>
                      <a:cubicBezTo>
                        <a:pt x="11" y="24"/>
                        <a:pt x="10" y="23"/>
                        <a:pt x="12" y="22"/>
                      </a:cubicBezTo>
                      <a:cubicBezTo>
                        <a:pt x="13" y="20"/>
                        <a:pt x="14" y="18"/>
                        <a:pt x="14" y="17"/>
                      </a:cubicBezTo>
                      <a:cubicBezTo>
                        <a:pt x="15" y="17"/>
                        <a:pt x="15" y="17"/>
                        <a:pt x="15" y="17"/>
                      </a:cubicBezTo>
                      <a:cubicBezTo>
                        <a:pt x="12" y="15"/>
                        <a:pt x="11" y="14"/>
                        <a:pt x="10" y="12"/>
                      </a:cubicBezTo>
                      <a:cubicBezTo>
                        <a:pt x="9" y="10"/>
                        <a:pt x="10" y="6"/>
                        <a:pt x="11" y="4"/>
                      </a:cubicBezTo>
                      <a:cubicBezTo>
                        <a:pt x="9" y="3"/>
                        <a:pt x="5" y="0"/>
                        <a:pt x="4" y="0"/>
                      </a:cubicBezTo>
                      <a:cubicBezTo>
                        <a:pt x="3" y="0"/>
                        <a:pt x="1" y="3"/>
                        <a:pt x="0" y="5"/>
                      </a:cubicBezTo>
                      <a:cubicBezTo>
                        <a:pt x="3" y="7"/>
                        <a:pt x="4" y="8"/>
                        <a:pt x="2" y="10"/>
                      </a:cubicBezTo>
                      <a:cubicBezTo>
                        <a:pt x="0" y="13"/>
                        <a:pt x="0" y="20"/>
                        <a:pt x="2" y="22"/>
                      </a:cubicBezTo>
                      <a:cubicBezTo>
                        <a:pt x="4" y="24"/>
                        <a:pt x="5" y="28"/>
                        <a:pt x="7" y="29"/>
                      </a:cubicBezTo>
                      <a:cubicBezTo>
                        <a:pt x="8" y="27"/>
                        <a:pt x="8" y="25"/>
                        <a:pt x="10" y="2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3" name="Freeform 76">
                  <a:extLst>
                    <a:ext uri="{FF2B5EF4-FFF2-40B4-BE49-F238E27FC236}">
                      <a16:creationId xmlns:a16="http://schemas.microsoft.com/office/drawing/2014/main" id="{9F19C163-1725-49D1-A75D-14B43D4B03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545970" y="-11169330"/>
                  <a:ext cx="369726" cy="162161"/>
                </a:xfrm>
                <a:custGeom>
                  <a:avLst/>
                  <a:gdLst>
                    <a:gd name="T0" fmla="*/ 51 w 60"/>
                    <a:gd name="T1" fmla="*/ 2 h 26"/>
                    <a:gd name="T2" fmla="*/ 43 w 60"/>
                    <a:gd name="T3" fmla="*/ 0 h 26"/>
                    <a:gd name="T4" fmla="*/ 42 w 60"/>
                    <a:gd name="T5" fmla="*/ 3 h 26"/>
                    <a:gd name="T6" fmla="*/ 35 w 60"/>
                    <a:gd name="T7" fmla="*/ 4 h 26"/>
                    <a:gd name="T8" fmla="*/ 31 w 60"/>
                    <a:gd name="T9" fmla="*/ 7 h 26"/>
                    <a:gd name="T10" fmla="*/ 27 w 60"/>
                    <a:gd name="T11" fmla="*/ 12 h 26"/>
                    <a:gd name="T12" fmla="*/ 24 w 60"/>
                    <a:gd name="T13" fmla="*/ 14 h 26"/>
                    <a:gd name="T14" fmla="*/ 16 w 60"/>
                    <a:gd name="T15" fmla="*/ 16 h 26"/>
                    <a:gd name="T16" fmla="*/ 11 w 60"/>
                    <a:gd name="T17" fmla="*/ 16 h 26"/>
                    <a:gd name="T18" fmla="*/ 7 w 60"/>
                    <a:gd name="T19" fmla="*/ 17 h 26"/>
                    <a:gd name="T20" fmla="*/ 2 w 60"/>
                    <a:gd name="T21" fmla="*/ 15 h 26"/>
                    <a:gd name="T22" fmla="*/ 1 w 60"/>
                    <a:gd name="T23" fmla="*/ 20 h 26"/>
                    <a:gd name="T24" fmla="*/ 5 w 60"/>
                    <a:gd name="T25" fmla="*/ 22 h 26"/>
                    <a:gd name="T26" fmla="*/ 10 w 60"/>
                    <a:gd name="T27" fmla="*/ 23 h 26"/>
                    <a:gd name="T28" fmla="*/ 15 w 60"/>
                    <a:gd name="T29" fmla="*/ 21 h 26"/>
                    <a:gd name="T30" fmla="*/ 22 w 60"/>
                    <a:gd name="T31" fmla="*/ 20 h 26"/>
                    <a:gd name="T32" fmla="*/ 23 w 60"/>
                    <a:gd name="T33" fmla="*/ 24 h 26"/>
                    <a:gd name="T34" fmla="*/ 30 w 60"/>
                    <a:gd name="T35" fmla="*/ 25 h 26"/>
                    <a:gd name="T36" fmla="*/ 39 w 60"/>
                    <a:gd name="T37" fmla="*/ 26 h 26"/>
                    <a:gd name="T38" fmla="*/ 46 w 60"/>
                    <a:gd name="T39" fmla="*/ 24 h 26"/>
                    <a:gd name="T40" fmla="*/ 52 w 60"/>
                    <a:gd name="T41" fmla="*/ 22 h 26"/>
                    <a:gd name="T42" fmla="*/ 52 w 60"/>
                    <a:gd name="T43" fmla="*/ 22 h 26"/>
                    <a:gd name="T44" fmla="*/ 53 w 60"/>
                    <a:gd name="T45" fmla="*/ 20 h 26"/>
                    <a:gd name="T46" fmla="*/ 54 w 60"/>
                    <a:gd name="T47" fmla="*/ 17 h 26"/>
                    <a:gd name="T48" fmla="*/ 55 w 60"/>
                    <a:gd name="T49" fmla="*/ 14 h 26"/>
                    <a:gd name="T50" fmla="*/ 59 w 60"/>
                    <a:gd name="T51" fmla="*/ 12 h 26"/>
                    <a:gd name="T52" fmla="*/ 60 w 60"/>
                    <a:gd name="T53" fmla="*/ 9 h 26"/>
                    <a:gd name="T54" fmla="*/ 57 w 60"/>
                    <a:gd name="T55" fmla="*/ 3 h 26"/>
                    <a:gd name="T56" fmla="*/ 51 w 60"/>
                    <a:gd name="T57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0" h="26">
                      <a:moveTo>
                        <a:pt x="51" y="2"/>
                      </a:moveTo>
                      <a:cubicBezTo>
                        <a:pt x="49" y="0"/>
                        <a:pt x="43" y="0"/>
                        <a:pt x="43" y="0"/>
                      </a:cubicBezTo>
                      <a:cubicBezTo>
                        <a:pt x="43" y="0"/>
                        <a:pt x="43" y="2"/>
                        <a:pt x="42" y="3"/>
                      </a:cubicBezTo>
                      <a:cubicBezTo>
                        <a:pt x="41" y="4"/>
                        <a:pt x="37" y="4"/>
                        <a:pt x="35" y="4"/>
                      </a:cubicBezTo>
                      <a:cubicBezTo>
                        <a:pt x="34" y="5"/>
                        <a:pt x="31" y="5"/>
                        <a:pt x="31" y="7"/>
                      </a:cubicBezTo>
                      <a:cubicBezTo>
                        <a:pt x="30" y="8"/>
                        <a:pt x="26" y="7"/>
                        <a:pt x="27" y="12"/>
                      </a:cubicBezTo>
                      <a:cubicBezTo>
                        <a:pt x="29" y="16"/>
                        <a:pt x="25" y="14"/>
                        <a:pt x="24" y="14"/>
                      </a:cubicBezTo>
                      <a:cubicBezTo>
                        <a:pt x="23" y="13"/>
                        <a:pt x="17" y="14"/>
                        <a:pt x="16" y="16"/>
                      </a:cubicBezTo>
                      <a:cubicBezTo>
                        <a:pt x="15" y="17"/>
                        <a:pt x="13" y="17"/>
                        <a:pt x="11" y="16"/>
                      </a:cubicBezTo>
                      <a:cubicBezTo>
                        <a:pt x="10" y="15"/>
                        <a:pt x="8" y="15"/>
                        <a:pt x="7" y="17"/>
                      </a:cubicBezTo>
                      <a:cubicBezTo>
                        <a:pt x="5" y="18"/>
                        <a:pt x="4" y="15"/>
                        <a:pt x="2" y="15"/>
                      </a:cubicBezTo>
                      <a:cubicBezTo>
                        <a:pt x="0" y="16"/>
                        <a:pt x="1" y="19"/>
                        <a:pt x="1" y="20"/>
                      </a:cubicBezTo>
                      <a:cubicBezTo>
                        <a:pt x="1" y="20"/>
                        <a:pt x="4" y="23"/>
                        <a:pt x="5" y="22"/>
                      </a:cubicBezTo>
                      <a:cubicBezTo>
                        <a:pt x="7" y="21"/>
                        <a:pt x="9" y="22"/>
                        <a:pt x="10" y="23"/>
                      </a:cubicBezTo>
                      <a:cubicBezTo>
                        <a:pt x="12" y="24"/>
                        <a:pt x="14" y="22"/>
                        <a:pt x="15" y="21"/>
                      </a:cubicBezTo>
                      <a:cubicBezTo>
                        <a:pt x="16" y="20"/>
                        <a:pt x="21" y="20"/>
                        <a:pt x="22" y="20"/>
                      </a:cubicBezTo>
                      <a:cubicBezTo>
                        <a:pt x="22" y="20"/>
                        <a:pt x="22" y="23"/>
                        <a:pt x="23" y="24"/>
                      </a:cubicBezTo>
                      <a:cubicBezTo>
                        <a:pt x="24" y="24"/>
                        <a:pt x="27" y="25"/>
                        <a:pt x="30" y="25"/>
                      </a:cubicBezTo>
                      <a:cubicBezTo>
                        <a:pt x="33" y="25"/>
                        <a:pt x="38" y="26"/>
                        <a:pt x="39" y="26"/>
                      </a:cubicBezTo>
                      <a:cubicBezTo>
                        <a:pt x="41" y="26"/>
                        <a:pt x="43" y="24"/>
                        <a:pt x="46" y="24"/>
                      </a:cubicBezTo>
                      <a:cubicBezTo>
                        <a:pt x="50" y="24"/>
                        <a:pt x="51" y="22"/>
                        <a:pt x="52" y="22"/>
                      </a:cubicBezTo>
                      <a:cubicBezTo>
                        <a:pt x="52" y="22"/>
                        <a:pt x="52" y="22"/>
                        <a:pt x="52" y="22"/>
                      </a:cubicBezTo>
                      <a:cubicBezTo>
                        <a:pt x="52" y="21"/>
                        <a:pt x="52" y="20"/>
                        <a:pt x="53" y="20"/>
                      </a:cubicBezTo>
                      <a:cubicBezTo>
                        <a:pt x="54" y="20"/>
                        <a:pt x="54" y="18"/>
                        <a:pt x="54" y="17"/>
                      </a:cubicBezTo>
                      <a:cubicBezTo>
                        <a:pt x="55" y="16"/>
                        <a:pt x="54" y="13"/>
                        <a:pt x="55" y="14"/>
                      </a:cubicBezTo>
                      <a:cubicBezTo>
                        <a:pt x="57" y="14"/>
                        <a:pt x="59" y="14"/>
                        <a:pt x="59" y="12"/>
                      </a:cubicBezTo>
                      <a:cubicBezTo>
                        <a:pt x="59" y="11"/>
                        <a:pt x="59" y="10"/>
                        <a:pt x="60" y="9"/>
                      </a:cubicBezTo>
                      <a:cubicBezTo>
                        <a:pt x="58" y="7"/>
                        <a:pt x="57" y="3"/>
                        <a:pt x="57" y="3"/>
                      </a:cubicBezTo>
                      <a:cubicBezTo>
                        <a:pt x="57" y="3"/>
                        <a:pt x="53" y="4"/>
                        <a:pt x="51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4" name="Freeform 77">
                  <a:extLst>
                    <a:ext uri="{FF2B5EF4-FFF2-40B4-BE49-F238E27FC236}">
                      <a16:creationId xmlns:a16="http://schemas.microsoft.com/office/drawing/2014/main" id="{A0858B20-55C5-4D30-B92A-98447AC48E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224891" y="-11149871"/>
                  <a:ext cx="321079" cy="184864"/>
                </a:xfrm>
                <a:custGeom>
                  <a:avLst/>
                  <a:gdLst>
                    <a:gd name="T0" fmla="*/ 50 w 52"/>
                    <a:gd name="T1" fmla="*/ 6 h 30"/>
                    <a:gd name="T2" fmla="*/ 48 w 52"/>
                    <a:gd name="T3" fmla="*/ 4 h 30"/>
                    <a:gd name="T4" fmla="*/ 43 w 52"/>
                    <a:gd name="T5" fmla="*/ 3 h 30"/>
                    <a:gd name="T6" fmla="*/ 36 w 52"/>
                    <a:gd name="T7" fmla="*/ 0 h 30"/>
                    <a:gd name="T8" fmla="*/ 29 w 52"/>
                    <a:gd name="T9" fmla="*/ 5 h 30"/>
                    <a:gd name="T10" fmla="*/ 20 w 52"/>
                    <a:gd name="T11" fmla="*/ 8 h 30"/>
                    <a:gd name="T12" fmla="*/ 9 w 52"/>
                    <a:gd name="T13" fmla="*/ 8 h 30"/>
                    <a:gd name="T14" fmla="*/ 8 w 52"/>
                    <a:gd name="T15" fmla="*/ 6 h 30"/>
                    <a:gd name="T16" fmla="*/ 7 w 52"/>
                    <a:gd name="T17" fmla="*/ 9 h 30"/>
                    <a:gd name="T18" fmla="*/ 3 w 52"/>
                    <a:gd name="T19" fmla="*/ 11 h 30"/>
                    <a:gd name="T20" fmla="*/ 2 w 52"/>
                    <a:gd name="T21" fmla="*/ 14 h 30"/>
                    <a:gd name="T22" fmla="*/ 1 w 52"/>
                    <a:gd name="T23" fmla="*/ 17 h 30"/>
                    <a:gd name="T24" fmla="*/ 0 w 52"/>
                    <a:gd name="T25" fmla="*/ 19 h 30"/>
                    <a:gd name="T26" fmla="*/ 2 w 52"/>
                    <a:gd name="T27" fmla="*/ 22 h 30"/>
                    <a:gd name="T28" fmla="*/ 2 w 52"/>
                    <a:gd name="T29" fmla="*/ 22 h 30"/>
                    <a:gd name="T30" fmla="*/ 8 w 52"/>
                    <a:gd name="T31" fmla="*/ 27 h 30"/>
                    <a:gd name="T32" fmla="*/ 17 w 52"/>
                    <a:gd name="T33" fmla="*/ 29 h 30"/>
                    <a:gd name="T34" fmla="*/ 28 w 52"/>
                    <a:gd name="T35" fmla="*/ 26 h 30"/>
                    <a:gd name="T36" fmla="*/ 31 w 52"/>
                    <a:gd name="T37" fmla="*/ 27 h 30"/>
                    <a:gd name="T38" fmla="*/ 33 w 52"/>
                    <a:gd name="T39" fmla="*/ 27 h 30"/>
                    <a:gd name="T40" fmla="*/ 38 w 52"/>
                    <a:gd name="T41" fmla="*/ 24 h 30"/>
                    <a:gd name="T42" fmla="*/ 46 w 52"/>
                    <a:gd name="T43" fmla="*/ 12 h 30"/>
                    <a:gd name="T44" fmla="*/ 51 w 52"/>
                    <a:gd name="T45" fmla="*/ 8 h 30"/>
                    <a:gd name="T46" fmla="*/ 50 w 52"/>
                    <a:gd name="T47" fmla="*/ 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2" h="30">
                      <a:moveTo>
                        <a:pt x="50" y="6"/>
                      </a:moveTo>
                      <a:cubicBezTo>
                        <a:pt x="50" y="5"/>
                        <a:pt x="49" y="5"/>
                        <a:pt x="48" y="4"/>
                      </a:cubicBezTo>
                      <a:cubicBezTo>
                        <a:pt x="46" y="4"/>
                        <a:pt x="44" y="3"/>
                        <a:pt x="43" y="3"/>
                      </a:cubicBezTo>
                      <a:cubicBezTo>
                        <a:pt x="42" y="1"/>
                        <a:pt x="37" y="1"/>
                        <a:pt x="36" y="0"/>
                      </a:cubicBezTo>
                      <a:cubicBezTo>
                        <a:pt x="35" y="0"/>
                        <a:pt x="30" y="5"/>
                        <a:pt x="29" y="5"/>
                      </a:cubicBezTo>
                      <a:cubicBezTo>
                        <a:pt x="27" y="5"/>
                        <a:pt x="20" y="6"/>
                        <a:pt x="20" y="8"/>
                      </a:cubicBezTo>
                      <a:cubicBezTo>
                        <a:pt x="20" y="10"/>
                        <a:pt x="12" y="10"/>
                        <a:pt x="9" y="8"/>
                      </a:cubicBezTo>
                      <a:cubicBezTo>
                        <a:pt x="9" y="7"/>
                        <a:pt x="8" y="7"/>
                        <a:pt x="8" y="6"/>
                      </a:cubicBezTo>
                      <a:cubicBezTo>
                        <a:pt x="7" y="7"/>
                        <a:pt x="7" y="8"/>
                        <a:pt x="7" y="9"/>
                      </a:cubicBezTo>
                      <a:cubicBezTo>
                        <a:pt x="7" y="11"/>
                        <a:pt x="5" y="11"/>
                        <a:pt x="3" y="11"/>
                      </a:cubicBezTo>
                      <a:cubicBezTo>
                        <a:pt x="2" y="10"/>
                        <a:pt x="3" y="13"/>
                        <a:pt x="2" y="14"/>
                      </a:cubicBezTo>
                      <a:cubicBezTo>
                        <a:pt x="2" y="15"/>
                        <a:pt x="2" y="17"/>
                        <a:pt x="1" y="17"/>
                      </a:cubicBezTo>
                      <a:cubicBezTo>
                        <a:pt x="0" y="17"/>
                        <a:pt x="0" y="18"/>
                        <a:pt x="0" y="19"/>
                      </a:cubicBezTo>
                      <a:cubicBezTo>
                        <a:pt x="0" y="19"/>
                        <a:pt x="2" y="22"/>
                        <a:pt x="2" y="22"/>
                      </a:cubicBezTo>
                      <a:cubicBezTo>
                        <a:pt x="2" y="22"/>
                        <a:pt x="2" y="22"/>
                        <a:pt x="2" y="22"/>
                      </a:cubicBezTo>
                      <a:cubicBezTo>
                        <a:pt x="3" y="23"/>
                        <a:pt x="7" y="26"/>
                        <a:pt x="8" y="27"/>
                      </a:cubicBezTo>
                      <a:cubicBezTo>
                        <a:pt x="10" y="29"/>
                        <a:pt x="14" y="30"/>
                        <a:pt x="17" y="29"/>
                      </a:cubicBezTo>
                      <a:cubicBezTo>
                        <a:pt x="19" y="29"/>
                        <a:pt x="28" y="26"/>
                        <a:pt x="28" y="26"/>
                      </a:cubicBezTo>
                      <a:cubicBezTo>
                        <a:pt x="28" y="26"/>
                        <a:pt x="30" y="27"/>
                        <a:pt x="31" y="27"/>
                      </a:cubicBezTo>
                      <a:cubicBezTo>
                        <a:pt x="31" y="27"/>
                        <a:pt x="32" y="27"/>
                        <a:pt x="33" y="27"/>
                      </a:cubicBezTo>
                      <a:cubicBezTo>
                        <a:pt x="34" y="27"/>
                        <a:pt x="36" y="26"/>
                        <a:pt x="38" y="24"/>
                      </a:cubicBezTo>
                      <a:cubicBezTo>
                        <a:pt x="41" y="21"/>
                        <a:pt x="44" y="12"/>
                        <a:pt x="46" y="12"/>
                      </a:cubicBezTo>
                      <a:cubicBezTo>
                        <a:pt x="47" y="11"/>
                        <a:pt x="49" y="9"/>
                        <a:pt x="51" y="8"/>
                      </a:cubicBezTo>
                      <a:cubicBezTo>
                        <a:pt x="52" y="7"/>
                        <a:pt x="52" y="6"/>
                        <a:pt x="50" y="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5" name="Freeform 78">
                  <a:extLst>
                    <a:ext uri="{FF2B5EF4-FFF2-40B4-BE49-F238E27FC236}">
                      <a16:creationId xmlns:a16="http://schemas.microsoft.com/office/drawing/2014/main" id="{64E0E162-5091-4076-805C-4C0D966E4C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416241" y="-11305545"/>
                  <a:ext cx="314592" cy="162161"/>
                </a:xfrm>
                <a:custGeom>
                  <a:avLst/>
                  <a:gdLst>
                    <a:gd name="T0" fmla="*/ 48 w 51"/>
                    <a:gd name="T1" fmla="*/ 12 h 26"/>
                    <a:gd name="T2" fmla="*/ 43 w 51"/>
                    <a:gd name="T3" fmla="*/ 11 h 26"/>
                    <a:gd name="T4" fmla="*/ 41 w 51"/>
                    <a:gd name="T5" fmla="*/ 8 h 26"/>
                    <a:gd name="T6" fmla="*/ 36 w 51"/>
                    <a:gd name="T7" fmla="*/ 9 h 26"/>
                    <a:gd name="T8" fmla="*/ 32 w 51"/>
                    <a:gd name="T9" fmla="*/ 7 h 26"/>
                    <a:gd name="T10" fmla="*/ 27 w 51"/>
                    <a:gd name="T11" fmla="*/ 3 h 26"/>
                    <a:gd name="T12" fmla="*/ 22 w 51"/>
                    <a:gd name="T13" fmla="*/ 1 h 26"/>
                    <a:gd name="T14" fmla="*/ 22 w 51"/>
                    <a:gd name="T15" fmla="*/ 1 h 26"/>
                    <a:gd name="T16" fmla="*/ 17 w 51"/>
                    <a:gd name="T17" fmla="*/ 2 h 26"/>
                    <a:gd name="T18" fmla="*/ 11 w 51"/>
                    <a:gd name="T19" fmla="*/ 5 h 26"/>
                    <a:gd name="T20" fmla="*/ 2 w 51"/>
                    <a:gd name="T21" fmla="*/ 8 h 26"/>
                    <a:gd name="T22" fmla="*/ 3 w 51"/>
                    <a:gd name="T23" fmla="*/ 12 h 26"/>
                    <a:gd name="T24" fmla="*/ 6 w 51"/>
                    <a:gd name="T25" fmla="*/ 19 h 26"/>
                    <a:gd name="T26" fmla="*/ 14 w 51"/>
                    <a:gd name="T27" fmla="*/ 25 h 26"/>
                    <a:gd name="T28" fmla="*/ 14 w 51"/>
                    <a:gd name="T29" fmla="*/ 26 h 26"/>
                    <a:gd name="T30" fmla="*/ 21 w 51"/>
                    <a:gd name="T31" fmla="*/ 25 h 26"/>
                    <a:gd name="T32" fmla="*/ 22 w 51"/>
                    <a:gd name="T33" fmla="*/ 22 h 26"/>
                    <a:gd name="T34" fmla="*/ 30 w 51"/>
                    <a:gd name="T35" fmla="*/ 24 h 26"/>
                    <a:gd name="T36" fmla="*/ 36 w 51"/>
                    <a:gd name="T37" fmla="*/ 25 h 26"/>
                    <a:gd name="T38" fmla="*/ 36 w 51"/>
                    <a:gd name="T39" fmla="*/ 26 h 26"/>
                    <a:gd name="T40" fmla="*/ 39 w 51"/>
                    <a:gd name="T41" fmla="*/ 24 h 26"/>
                    <a:gd name="T42" fmla="*/ 46 w 51"/>
                    <a:gd name="T43" fmla="*/ 20 h 26"/>
                    <a:gd name="T44" fmla="*/ 51 w 51"/>
                    <a:gd name="T45" fmla="*/ 16 h 26"/>
                    <a:gd name="T46" fmla="*/ 48 w 51"/>
                    <a:gd name="T47" fmla="*/ 1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1" h="26">
                      <a:moveTo>
                        <a:pt x="48" y="12"/>
                      </a:moveTo>
                      <a:cubicBezTo>
                        <a:pt x="47" y="11"/>
                        <a:pt x="43" y="12"/>
                        <a:pt x="43" y="11"/>
                      </a:cubicBezTo>
                      <a:cubicBezTo>
                        <a:pt x="43" y="10"/>
                        <a:pt x="43" y="8"/>
                        <a:pt x="41" y="8"/>
                      </a:cubicBezTo>
                      <a:cubicBezTo>
                        <a:pt x="39" y="8"/>
                        <a:pt x="37" y="7"/>
                        <a:pt x="36" y="9"/>
                      </a:cubicBezTo>
                      <a:cubicBezTo>
                        <a:pt x="36" y="11"/>
                        <a:pt x="32" y="8"/>
                        <a:pt x="32" y="7"/>
                      </a:cubicBezTo>
                      <a:cubicBezTo>
                        <a:pt x="32" y="6"/>
                        <a:pt x="31" y="5"/>
                        <a:pt x="27" y="3"/>
                      </a:cubicBezTo>
                      <a:cubicBezTo>
                        <a:pt x="25" y="3"/>
                        <a:pt x="24" y="2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1" y="2"/>
                        <a:pt x="19" y="0"/>
                        <a:pt x="17" y="2"/>
                      </a:cubicBezTo>
                      <a:cubicBezTo>
                        <a:pt x="16" y="3"/>
                        <a:pt x="13" y="3"/>
                        <a:pt x="11" y="5"/>
                      </a:cubicBezTo>
                      <a:cubicBezTo>
                        <a:pt x="9" y="6"/>
                        <a:pt x="5" y="7"/>
                        <a:pt x="2" y="8"/>
                      </a:cubicBezTo>
                      <a:cubicBezTo>
                        <a:pt x="0" y="8"/>
                        <a:pt x="2" y="10"/>
                        <a:pt x="3" y="12"/>
                      </a:cubicBezTo>
                      <a:cubicBezTo>
                        <a:pt x="4" y="14"/>
                        <a:pt x="4" y="18"/>
                        <a:pt x="6" y="19"/>
                      </a:cubicBezTo>
                      <a:cubicBezTo>
                        <a:pt x="7" y="20"/>
                        <a:pt x="13" y="24"/>
                        <a:pt x="14" y="25"/>
                      </a:cubicBezTo>
                      <a:cubicBezTo>
                        <a:pt x="14" y="25"/>
                        <a:pt x="14" y="25"/>
                        <a:pt x="14" y="26"/>
                      </a:cubicBezTo>
                      <a:cubicBezTo>
                        <a:pt x="16" y="26"/>
                        <a:pt x="20" y="26"/>
                        <a:pt x="21" y="25"/>
                      </a:cubicBezTo>
                      <a:cubicBezTo>
                        <a:pt x="22" y="24"/>
                        <a:pt x="22" y="22"/>
                        <a:pt x="22" y="22"/>
                      </a:cubicBezTo>
                      <a:cubicBezTo>
                        <a:pt x="22" y="22"/>
                        <a:pt x="28" y="22"/>
                        <a:pt x="30" y="24"/>
                      </a:cubicBezTo>
                      <a:cubicBezTo>
                        <a:pt x="32" y="26"/>
                        <a:pt x="36" y="25"/>
                        <a:pt x="36" y="25"/>
                      </a:cubicBezTo>
                      <a:cubicBezTo>
                        <a:pt x="36" y="25"/>
                        <a:pt x="36" y="25"/>
                        <a:pt x="36" y="26"/>
                      </a:cubicBezTo>
                      <a:cubicBezTo>
                        <a:pt x="37" y="25"/>
                        <a:pt x="38" y="24"/>
                        <a:pt x="39" y="24"/>
                      </a:cubicBezTo>
                      <a:cubicBezTo>
                        <a:pt x="41" y="23"/>
                        <a:pt x="44" y="23"/>
                        <a:pt x="46" y="20"/>
                      </a:cubicBezTo>
                      <a:cubicBezTo>
                        <a:pt x="48" y="18"/>
                        <a:pt x="49" y="17"/>
                        <a:pt x="51" y="16"/>
                      </a:cubicBezTo>
                      <a:cubicBezTo>
                        <a:pt x="50" y="15"/>
                        <a:pt x="49" y="13"/>
                        <a:pt x="48" y="1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6" name="Freeform 79">
                  <a:extLst>
                    <a:ext uri="{FF2B5EF4-FFF2-40B4-BE49-F238E27FC236}">
                      <a16:creationId xmlns:a16="http://schemas.microsoft.com/office/drawing/2014/main" id="{FCD27014-D83A-4E54-B260-C0B14DA4CD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192459" y="-11205007"/>
                  <a:ext cx="275674" cy="116756"/>
                </a:xfrm>
                <a:custGeom>
                  <a:avLst/>
                  <a:gdLst>
                    <a:gd name="T0" fmla="*/ 34 w 45"/>
                    <a:gd name="T1" fmla="*/ 2 h 19"/>
                    <a:gd name="T2" fmla="*/ 28 w 45"/>
                    <a:gd name="T3" fmla="*/ 1 h 19"/>
                    <a:gd name="T4" fmla="*/ 21 w 45"/>
                    <a:gd name="T5" fmla="*/ 0 h 19"/>
                    <a:gd name="T6" fmla="*/ 16 w 45"/>
                    <a:gd name="T7" fmla="*/ 1 h 19"/>
                    <a:gd name="T8" fmla="*/ 15 w 45"/>
                    <a:gd name="T9" fmla="*/ 0 h 19"/>
                    <a:gd name="T10" fmla="*/ 10 w 45"/>
                    <a:gd name="T11" fmla="*/ 4 h 19"/>
                    <a:gd name="T12" fmla="*/ 3 w 45"/>
                    <a:gd name="T13" fmla="*/ 8 h 19"/>
                    <a:gd name="T14" fmla="*/ 0 w 45"/>
                    <a:gd name="T15" fmla="*/ 10 h 19"/>
                    <a:gd name="T16" fmla="*/ 4 w 45"/>
                    <a:gd name="T17" fmla="*/ 17 h 19"/>
                    <a:gd name="T18" fmla="*/ 15 w 45"/>
                    <a:gd name="T19" fmla="*/ 17 h 19"/>
                    <a:gd name="T20" fmla="*/ 24 w 45"/>
                    <a:gd name="T21" fmla="*/ 14 h 19"/>
                    <a:gd name="T22" fmla="*/ 31 w 45"/>
                    <a:gd name="T23" fmla="*/ 9 h 19"/>
                    <a:gd name="T24" fmla="*/ 38 w 45"/>
                    <a:gd name="T25" fmla="*/ 12 h 19"/>
                    <a:gd name="T26" fmla="*/ 43 w 45"/>
                    <a:gd name="T27" fmla="*/ 13 h 19"/>
                    <a:gd name="T28" fmla="*/ 42 w 45"/>
                    <a:gd name="T29" fmla="*/ 11 h 19"/>
                    <a:gd name="T30" fmla="*/ 45 w 45"/>
                    <a:gd name="T31" fmla="*/ 5 h 19"/>
                    <a:gd name="T32" fmla="*/ 45 w 45"/>
                    <a:gd name="T33" fmla="*/ 5 h 19"/>
                    <a:gd name="T34" fmla="*/ 41 w 45"/>
                    <a:gd name="T35" fmla="*/ 3 h 19"/>
                    <a:gd name="T36" fmla="*/ 34 w 45"/>
                    <a:gd name="T37" fmla="*/ 2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5" h="19">
                      <a:moveTo>
                        <a:pt x="34" y="2"/>
                      </a:moveTo>
                      <a:cubicBezTo>
                        <a:pt x="31" y="2"/>
                        <a:pt x="30" y="0"/>
                        <a:pt x="28" y="1"/>
                      </a:cubicBezTo>
                      <a:cubicBezTo>
                        <a:pt x="26" y="2"/>
                        <a:pt x="22" y="1"/>
                        <a:pt x="21" y="0"/>
                      </a:cubicBezTo>
                      <a:cubicBezTo>
                        <a:pt x="20" y="0"/>
                        <a:pt x="18" y="2"/>
                        <a:pt x="16" y="1"/>
                      </a:cubicBezTo>
                      <a:cubicBezTo>
                        <a:pt x="16" y="1"/>
                        <a:pt x="15" y="0"/>
                        <a:pt x="15" y="0"/>
                      </a:cubicBezTo>
                      <a:cubicBezTo>
                        <a:pt x="13" y="1"/>
                        <a:pt x="12" y="2"/>
                        <a:pt x="10" y="4"/>
                      </a:cubicBezTo>
                      <a:cubicBezTo>
                        <a:pt x="8" y="7"/>
                        <a:pt x="5" y="7"/>
                        <a:pt x="3" y="8"/>
                      </a:cubicBezTo>
                      <a:cubicBezTo>
                        <a:pt x="2" y="8"/>
                        <a:pt x="1" y="9"/>
                        <a:pt x="0" y="10"/>
                      </a:cubicBezTo>
                      <a:cubicBezTo>
                        <a:pt x="1" y="12"/>
                        <a:pt x="3" y="15"/>
                        <a:pt x="4" y="17"/>
                      </a:cubicBezTo>
                      <a:cubicBezTo>
                        <a:pt x="7" y="19"/>
                        <a:pt x="15" y="19"/>
                        <a:pt x="15" y="17"/>
                      </a:cubicBezTo>
                      <a:cubicBezTo>
                        <a:pt x="15" y="15"/>
                        <a:pt x="22" y="14"/>
                        <a:pt x="24" y="14"/>
                      </a:cubicBezTo>
                      <a:cubicBezTo>
                        <a:pt x="25" y="14"/>
                        <a:pt x="30" y="9"/>
                        <a:pt x="31" y="9"/>
                      </a:cubicBezTo>
                      <a:cubicBezTo>
                        <a:pt x="32" y="10"/>
                        <a:pt x="37" y="10"/>
                        <a:pt x="38" y="12"/>
                      </a:cubicBezTo>
                      <a:cubicBezTo>
                        <a:pt x="39" y="12"/>
                        <a:pt x="41" y="13"/>
                        <a:pt x="43" y="13"/>
                      </a:cubicBezTo>
                      <a:cubicBezTo>
                        <a:pt x="42" y="13"/>
                        <a:pt x="42" y="12"/>
                        <a:pt x="42" y="11"/>
                      </a:cubicBezTo>
                      <a:cubicBezTo>
                        <a:pt x="42" y="9"/>
                        <a:pt x="44" y="6"/>
                        <a:pt x="45" y="5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3" y="4"/>
                        <a:pt x="41" y="4"/>
                        <a:pt x="41" y="3"/>
                      </a:cubicBezTo>
                      <a:cubicBezTo>
                        <a:pt x="40" y="3"/>
                        <a:pt x="37" y="2"/>
                        <a:pt x="34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7" name="Freeform 80">
                  <a:extLst>
                    <a:ext uri="{FF2B5EF4-FFF2-40B4-BE49-F238E27FC236}">
                      <a16:creationId xmlns:a16="http://schemas.microsoft.com/office/drawing/2014/main" id="{FD355C01-68EC-47EA-BAE4-FAE1C2B678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1509202" y="-10744471"/>
                  <a:ext cx="184864" cy="311348"/>
                </a:xfrm>
                <a:custGeom>
                  <a:avLst/>
                  <a:gdLst>
                    <a:gd name="T0" fmla="*/ 22 w 30"/>
                    <a:gd name="T1" fmla="*/ 41 h 50"/>
                    <a:gd name="T2" fmla="*/ 20 w 30"/>
                    <a:gd name="T3" fmla="*/ 37 h 50"/>
                    <a:gd name="T4" fmla="*/ 22 w 30"/>
                    <a:gd name="T5" fmla="*/ 32 h 50"/>
                    <a:gd name="T6" fmla="*/ 20 w 30"/>
                    <a:gd name="T7" fmla="*/ 28 h 50"/>
                    <a:gd name="T8" fmla="*/ 22 w 30"/>
                    <a:gd name="T9" fmla="*/ 25 h 50"/>
                    <a:gd name="T10" fmla="*/ 23 w 30"/>
                    <a:gd name="T11" fmla="*/ 19 h 50"/>
                    <a:gd name="T12" fmla="*/ 23 w 30"/>
                    <a:gd name="T13" fmla="*/ 12 h 50"/>
                    <a:gd name="T14" fmla="*/ 28 w 30"/>
                    <a:gd name="T15" fmla="*/ 7 h 50"/>
                    <a:gd name="T16" fmla="*/ 26 w 30"/>
                    <a:gd name="T17" fmla="*/ 4 h 50"/>
                    <a:gd name="T18" fmla="*/ 21 w 30"/>
                    <a:gd name="T19" fmla="*/ 3 h 50"/>
                    <a:gd name="T20" fmla="*/ 18 w 30"/>
                    <a:gd name="T21" fmla="*/ 3 h 50"/>
                    <a:gd name="T22" fmla="*/ 13 w 30"/>
                    <a:gd name="T23" fmla="*/ 2 h 50"/>
                    <a:gd name="T24" fmla="*/ 10 w 30"/>
                    <a:gd name="T25" fmla="*/ 2 h 50"/>
                    <a:gd name="T26" fmla="*/ 8 w 30"/>
                    <a:gd name="T27" fmla="*/ 3 h 50"/>
                    <a:gd name="T28" fmla="*/ 8 w 30"/>
                    <a:gd name="T29" fmla="*/ 8 h 50"/>
                    <a:gd name="T30" fmla="*/ 3 w 30"/>
                    <a:gd name="T31" fmla="*/ 27 h 50"/>
                    <a:gd name="T32" fmla="*/ 6 w 30"/>
                    <a:gd name="T33" fmla="*/ 34 h 50"/>
                    <a:gd name="T34" fmla="*/ 7 w 30"/>
                    <a:gd name="T35" fmla="*/ 48 h 50"/>
                    <a:gd name="T36" fmla="*/ 13 w 30"/>
                    <a:gd name="T37" fmla="*/ 50 h 50"/>
                    <a:gd name="T38" fmla="*/ 20 w 30"/>
                    <a:gd name="T39" fmla="*/ 48 h 50"/>
                    <a:gd name="T40" fmla="*/ 19 w 30"/>
                    <a:gd name="T41" fmla="*/ 46 h 50"/>
                    <a:gd name="T42" fmla="*/ 22 w 30"/>
                    <a:gd name="T43" fmla="*/ 41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0" h="50">
                      <a:moveTo>
                        <a:pt x="22" y="41"/>
                      </a:moveTo>
                      <a:cubicBezTo>
                        <a:pt x="25" y="40"/>
                        <a:pt x="21" y="38"/>
                        <a:pt x="20" y="37"/>
                      </a:cubicBezTo>
                      <a:cubicBezTo>
                        <a:pt x="19" y="36"/>
                        <a:pt x="20" y="32"/>
                        <a:pt x="22" y="32"/>
                      </a:cubicBezTo>
                      <a:cubicBezTo>
                        <a:pt x="24" y="32"/>
                        <a:pt x="22" y="30"/>
                        <a:pt x="20" y="28"/>
                      </a:cubicBezTo>
                      <a:cubicBezTo>
                        <a:pt x="17" y="26"/>
                        <a:pt x="20" y="25"/>
                        <a:pt x="22" y="25"/>
                      </a:cubicBezTo>
                      <a:cubicBezTo>
                        <a:pt x="24" y="25"/>
                        <a:pt x="21" y="21"/>
                        <a:pt x="23" y="19"/>
                      </a:cubicBezTo>
                      <a:cubicBezTo>
                        <a:pt x="25" y="17"/>
                        <a:pt x="23" y="14"/>
                        <a:pt x="23" y="12"/>
                      </a:cubicBezTo>
                      <a:cubicBezTo>
                        <a:pt x="23" y="10"/>
                        <a:pt x="25" y="10"/>
                        <a:pt x="28" y="7"/>
                      </a:cubicBezTo>
                      <a:cubicBezTo>
                        <a:pt x="30" y="5"/>
                        <a:pt x="26" y="6"/>
                        <a:pt x="26" y="4"/>
                      </a:cubicBezTo>
                      <a:cubicBezTo>
                        <a:pt x="26" y="2"/>
                        <a:pt x="23" y="2"/>
                        <a:pt x="21" y="3"/>
                      </a:cubicBezTo>
                      <a:cubicBezTo>
                        <a:pt x="19" y="5"/>
                        <a:pt x="19" y="3"/>
                        <a:pt x="18" y="3"/>
                      </a:cubicBezTo>
                      <a:cubicBezTo>
                        <a:pt x="16" y="3"/>
                        <a:pt x="13" y="4"/>
                        <a:pt x="13" y="2"/>
                      </a:cubicBezTo>
                      <a:cubicBezTo>
                        <a:pt x="13" y="0"/>
                        <a:pt x="11" y="0"/>
                        <a:pt x="10" y="2"/>
                      </a:cubicBezTo>
                      <a:cubicBezTo>
                        <a:pt x="9" y="2"/>
                        <a:pt x="9" y="3"/>
                        <a:pt x="8" y="3"/>
                      </a:cubicBezTo>
                      <a:cubicBezTo>
                        <a:pt x="7" y="5"/>
                        <a:pt x="7" y="7"/>
                        <a:pt x="8" y="8"/>
                      </a:cubicBezTo>
                      <a:cubicBezTo>
                        <a:pt x="9" y="11"/>
                        <a:pt x="6" y="24"/>
                        <a:pt x="3" y="27"/>
                      </a:cubicBezTo>
                      <a:cubicBezTo>
                        <a:pt x="0" y="31"/>
                        <a:pt x="3" y="32"/>
                        <a:pt x="6" y="34"/>
                      </a:cubicBezTo>
                      <a:cubicBezTo>
                        <a:pt x="9" y="37"/>
                        <a:pt x="7" y="46"/>
                        <a:pt x="7" y="48"/>
                      </a:cubicBezTo>
                      <a:cubicBezTo>
                        <a:pt x="7" y="50"/>
                        <a:pt x="10" y="50"/>
                        <a:pt x="13" y="50"/>
                      </a:cubicBezTo>
                      <a:cubicBezTo>
                        <a:pt x="15" y="50"/>
                        <a:pt x="18" y="49"/>
                        <a:pt x="20" y="48"/>
                      </a:cubicBezTo>
                      <a:cubicBezTo>
                        <a:pt x="19" y="47"/>
                        <a:pt x="19" y="46"/>
                        <a:pt x="19" y="46"/>
                      </a:cubicBezTo>
                      <a:cubicBezTo>
                        <a:pt x="19" y="44"/>
                        <a:pt x="19" y="41"/>
                        <a:pt x="22" y="4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8" name="Freeform 81">
                  <a:extLst>
                    <a:ext uri="{FF2B5EF4-FFF2-40B4-BE49-F238E27FC236}">
                      <a16:creationId xmlns:a16="http://schemas.microsoft.com/office/drawing/2014/main" id="{35FA721D-28CC-4625-9757-66458F566E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860560" y="-11464464"/>
                  <a:ext cx="204323" cy="178378"/>
                </a:xfrm>
                <a:custGeom>
                  <a:avLst/>
                  <a:gdLst>
                    <a:gd name="T0" fmla="*/ 10 w 33"/>
                    <a:gd name="T1" fmla="*/ 22 h 29"/>
                    <a:gd name="T2" fmla="*/ 16 w 33"/>
                    <a:gd name="T3" fmla="*/ 23 h 29"/>
                    <a:gd name="T4" fmla="*/ 21 w 33"/>
                    <a:gd name="T5" fmla="*/ 27 h 29"/>
                    <a:gd name="T6" fmla="*/ 23 w 33"/>
                    <a:gd name="T7" fmla="*/ 29 h 29"/>
                    <a:gd name="T8" fmla="*/ 24 w 33"/>
                    <a:gd name="T9" fmla="*/ 23 h 29"/>
                    <a:gd name="T10" fmla="*/ 25 w 33"/>
                    <a:gd name="T11" fmla="*/ 19 h 29"/>
                    <a:gd name="T12" fmla="*/ 29 w 33"/>
                    <a:gd name="T13" fmla="*/ 17 h 29"/>
                    <a:gd name="T14" fmla="*/ 31 w 33"/>
                    <a:gd name="T15" fmla="*/ 14 h 29"/>
                    <a:gd name="T16" fmla="*/ 28 w 33"/>
                    <a:gd name="T17" fmla="*/ 10 h 29"/>
                    <a:gd name="T18" fmla="*/ 32 w 33"/>
                    <a:gd name="T19" fmla="*/ 6 h 29"/>
                    <a:gd name="T20" fmla="*/ 32 w 33"/>
                    <a:gd name="T21" fmla="*/ 0 h 29"/>
                    <a:gd name="T22" fmla="*/ 30 w 33"/>
                    <a:gd name="T23" fmla="*/ 1 h 29"/>
                    <a:gd name="T24" fmla="*/ 22 w 33"/>
                    <a:gd name="T25" fmla="*/ 2 h 29"/>
                    <a:gd name="T26" fmla="*/ 18 w 33"/>
                    <a:gd name="T27" fmla="*/ 7 h 29"/>
                    <a:gd name="T28" fmla="*/ 15 w 33"/>
                    <a:gd name="T29" fmla="*/ 7 h 29"/>
                    <a:gd name="T30" fmla="*/ 11 w 33"/>
                    <a:gd name="T31" fmla="*/ 9 h 29"/>
                    <a:gd name="T32" fmla="*/ 7 w 33"/>
                    <a:gd name="T33" fmla="*/ 16 h 29"/>
                    <a:gd name="T34" fmla="*/ 1 w 33"/>
                    <a:gd name="T35" fmla="*/ 23 h 29"/>
                    <a:gd name="T36" fmla="*/ 0 w 33"/>
                    <a:gd name="T37" fmla="*/ 24 h 29"/>
                    <a:gd name="T38" fmla="*/ 3 w 33"/>
                    <a:gd name="T39" fmla="*/ 25 h 29"/>
                    <a:gd name="T40" fmla="*/ 10 w 33"/>
                    <a:gd name="T41" fmla="*/ 22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3" h="29">
                      <a:moveTo>
                        <a:pt x="10" y="22"/>
                      </a:moveTo>
                      <a:cubicBezTo>
                        <a:pt x="12" y="21"/>
                        <a:pt x="14" y="22"/>
                        <a:pt x="16" y="23"/>
                      </a:cubicBezTo>
                      <a:cubicBezTo>
                        <a:pt x="17" y="25"/>
                        <a:pt x="19" y="25"/>
                        <a:pt x="21" y="27"/>
                      </a:cubicBezTo>
                      <a:cubicBezTo>
                        <a:pt x="22" y="28"/>
                        <a:pt x="23" y="28"/>
                        <a:pt x="23" y="29"/>
                      </a:cubicBezTo>
                      <a:cubicBezTo>
                        <a:pt x="23" y="27"/>
                        <a:pt x="23" y="24"/>
                        <a:pt x="24" y="23"/>
                      </a:cubicBezTo>
                      <a:cubicBezTo>
                        <a:pt x="25" y="21"/>
                        <a:pt x="23" y="19"/>
                        <a:pt x="25" y="19"/>
                      </a:cubicBezTo>
                      <a:cubicBezTo>
                        <a:pt x="26" y="19"/>
                        <a:pt x="29" y="19"/>
                        <a:pt x="29" y="17"/>
                      </a:cubicBezTo>
                      <a:cubicBezTo>
                        <a:pt x="29" y="14"/>
                        <a:pt x="30" y="15"/>
                        <a:pt x="31" y="14"/>
                      </a:cubicBezTo>
                      <a:cubicBezTo>
                        <a:pt x="31" y="13"/>
                        <a:pt x="29" y="10"/>
                        <a:pt x="28" y="10"/>
                      </a:cubicBezTo>
                      <a:cubicBezTo>
                        <a:pt x="28" y="9"/>
                        <a:pt x="30" y="9"/>
                        <a:pt x="32" y="6"/>
                      </a:cubicBezTo>
                      <a:cubicBezTo>
                        <a:pt x="33" y="5"/>
                        <a:pt x="33" y="3"/>
                        <a:pt x="32" y="0"/>
                      </a:cubicBezTo>
                      <a:cubicBezTo>
                        <a:pt x="32" y="1"/>
                        <a:pt x="31" y="2"/>
                        <a:pt x="30" y="1"/>
                      </a:cubicBezTo>
                      <a:cubicBezTo>
                        <a:pt x="28" y="0"/>
                        <a:pt x="25" y="1"/>
                        <a:pt x="22" y="2"/>
                      </a:cubicBezTo>
                      <a:cubicBezTo>
                        <a:pt x="18" y="2"/>
                        <a:pt x="17" y="6"/>
                        <a:pt x="18" y="7"/>
                      </a:cubicBezTo>
                      <a:cubicBezTo>
                        <a:pt x="20" y="9"/>
                        <a:pt x="15" y="9"/>
                        <a:pt x="15" y="7"/>
                      </a:cubicBezTo>
                      <a:cubicBezTo>
                        <a:pt x="14" y="5"/>
                        <a:pt x="11" y="7"/>
                        <a:pt x="11" y="9"/>
                      </a:cubicBezTo>
                      <a:cubicBezTo>
                        <a:pt x="11" y="12"/>
                        <a:pt x="7" y="13"/>
                        <a:pt x="7" y="16"/>
                      </a:cubicBezTo>
                      <a:cubicBezTo>
                        <a:pt x="8" y="19"/>
                        <a:pt x="4" y="22"/>
                        <a:pt x="1" y="23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1" y="25"/>
                        <a:pt x="2" y="25"/>
                        <a:pt x="3" y="25"/>
                      </a:cubicBezTo>
                      <a:cubicBezTo>
                        <a:pt x="5" y="25"/>
                        <a:pt x="9" y="24"/>
                        <a:pt x="10" y="2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9" name="Freeform 82">
                  <a:extLst>
                    <a:ext uri="{FF2B5EF4-FFF2-40B4-BE49-F238E27FC236}">
                      <a16:creationId xmlns:a16="http://schemas.microsoft.com/office/drawing/2014/main" id="{F56B97A4-52F8-44DA-9727-E19858F0AB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730832" y="-11243925"/>
                  <a:ext cx="29190" cy="48649"/>
                </a:xfrm>
                <a:custGeom>
                  <a:avLst/>
                  <a:gdLst>
                    <a:gd name="T0" fmla="*/ 3 w 5"/>
                    <a:gd name="T1" fmla="*/ 0 h 8"/>
                    <a:gd name="T2" fmla="*/ 0 w 5"/>
                    <a:gd name="T3" fmla="*/ 7 h 8"/>
                    <a:gd name="T4" fmla="*/ 5 w 5"/>
                    <a:gd name="T5" fmla="*/ 8 h 8"/>
                    <a:gd name="T6" fmla="*/ 3 w 5"/>
                    <a:gd name="T7" fmla="*/ 1 h 8"/>
                    <a:gd name="T8" fmla="*/ 3 w 5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8">
                      <a:moveTo>
                        <a:pt x="3" y="0"/>
                      </a:moveTo>
                      <a:cubicBezTo>
                        <a:pt x="1" y="1"/>
                        <a:pt x="0" y="3"/>
                        <a:pt x="0" y="7"/>
                      </a:cubicBezTo>
                      <a:cubicBezTo>
                        <a:pt x="1" y="7"/>
                        <a:pt x="4" y="7"/>
                        <a:pt x="5" y="8"/>
                      </a:cubicBezTo>
                      <a:cubicBezTo>
                        <a:pt x="5" y="3"/>
                        <a:pt x="3" y="2"/>
                        <a:pt x="3" y="1"/>
                      </a:cubicBezTo>
                      <a:cubicBezTo>
                        <a:pt x="2" y="1"/>
                        <a:pt x="3" y="1"/>
                        <a:pt x="3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0" name="Freeform 83">
                  <a:extLst>
                    <a:ext uri="{FF2B5EF4-FFF2-40B4-BE49-F238E27FC236}">
                      <a16:creationId xmlns:a16="http://schemas.microsoft.com/office/drawing/2014/main" id="{9FF23F5D-EF6F-46A8-8516-4E2B5DE3AD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899479" y="-11334735"/>
                  <a:ext cx="197837" cy="139459"/>
                </a:xfrm>
                <a:custGeom>
                  <a:avLst/>
                  <a:gdLst>
                    <a:gd name="T0" fmla="*/ 1 w 32"/>
                    <a:gd name="T1" fmla="*/ 6 h 23"/>
                    <a:gd name="T2" fmla="*/ 4 w 32"/>
                    <a:gd name="T3" fmla="*/ 9 h 23"/>
                    <a:gd name="T4" fmla="*/ 8 w 32"/>
                    <a:gd name="T5" fmla="*/ 12 h 23"/>
                    <a:gd name="T6" fmla="*/ 13 w 32"/>
                    <a:gd name="T7" fmla="*/ 15 h 23"/>
                    <a:gd name="T8" fmla="*/ 16 w 32"/>
                    <a:gd name="T9" fmla="*/ 18 h 23"/>
                    <a:gd name="T10" fmla="*/ 19 w 32"/>
                    <a:gd name="T11" fmla="*/ 16 h 23"/>
                    <a:gd name="T12" fmla="*/ 21 w 32"/>
                    <a:gd name="T13" fmla="*/ 20 h 23"/>
                    <a:gd name="T14" fmla="*/ 26 w 32"/>
                    <a:gd name="T15" fmla="*/ 22 h 23"/>
                    <a:gd name="T16" fmla="*/ 27 w 32"/>
                    <a:gd name="T17" fmla="*/ 22 h 23"/>
                    <a:gd name="T18" fmla="*/ 30 w 32"/>
                    <a:gd name="T19" fmla="*/ 15 h 23"/>
                    <a:gd name="T20" fmla="*/ 31 w 32"/>
                    <a:gd name="T21" fmla="*/ 13 h 23"/>
                    <a:gd name="T22" fmla="*/ 29 w 32"/>
                    <a:gd name="T23" fmla="*/ 8 h 23"/>
                    <a:gd name="T24" fmla="*/ 29 w 32"/>
                    <a:gd name="T25" fmla="*/ 8 h 23"/>
                    <a:gd name="T26" fmla="*/ 27 w 32"/>
                    <a:gd name="T27" fmla="*/ 6 h 23"/>
                    <a:gd name="T28" fmla="*/ 22 w 32"/>
                    <a:gd name="T29" fmla="*/ 2 h 23"/>
                    <a:gd name="T30" fmla="*/ 16 w 32"/>
                    <a:gd name="T31" fmla="*/ 1 h 23"/>
                    <a:gd name="T32" fmla="*/ 9 w 32"/>
                    <a:gd name="T33" fmla="*/ 4 h 23"/>
                    <a:gd name="T34" fmla="*/ 6 w 32"/>
                    <a:gd name="T35" fmla="*/ 3 h 23"/>
                    <a:gd name="T36" fmla="*/ 0 w 32"/>
                    <a:gd name="T37" fmla="*/ 5 h 23"/>
                    <a:gd name="T38" fmla="*/ 1 w 32"/>
                    <a:gd name="T39" fmla="*/ 6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2" h="23">
                      <a:moveTo>
                        <a:pt x="1" y="6"/>
                      </a:moveTo>
                      <a:cubicBezTo>
                        <a:pt x="1" y="8"/>
                        <a:pt x="3" y="11"/>
                        <a:pt x="4" y="9"/>
                      </a:cubicBezTo>
                      <a:cubicBezTo>
                        <a:pt x="5" y="8"/>
                        <a:pt x="7" y="11"/>
                        <a:pt x="8" y="12"/>
                      </a:cubicBezTo>
                      <a:cubicBezTo>
                        <a:pt x="10" y="13"/>
                        <a:pt x="13" y="14"/>
                        <a:pt x="13" y="15"/>
                      </a:cubicBezTo>
                      <a:cubicBezTo>
                        <a:pt x="13" y="16"/>
                        <a:pt x="14" y="18"/>
                        <a:pt x="16" y="18"/>
                      </a:cubicBezTo>
                      <a:cubicBezTo>
                        <a:pt x="17" y="17"/>
                        <a:pt x="19" y="14"/>
                        <a:pt x="19" y="16"/>
                      </a:cubicBezTo>
                      <a:cubicBezTo>
                        <a:pt x="19" y="17"/>
                        <a:pt x="20" y="20"/>
                        <a:pt x="21" y="20"/>
                      </a:cubicBezTo>
                      <a:cubicBezTo>
                        <a:pt x="23" y="19"/>
                        <a:pt x="24" y="23"/>
                        <a:pt x="26" y="22"/>
                      </a:cubicBezTo>
                      <a:cubicBezTo>
                        <a:pt x="26" y="22"/>
                        <a:pt x="26" y="22"/>
                        <a:pt x="27" y="22"/>
                      </a:cubicBezTo>
                      <a:cubicBezTo>
                        <a:pt x="27" y="18"/>
                        <a:pt x="28" y="16"/>
                        <a:pt x="30" y="15"/>
                      </a:cubicBezTo>
                      <a:cubicBezTo>
                        <a:pt x="30" y="15"/>
                        <a:pt x="31" y="14"/>
                        <a:pt x="31" y="13"/>
                      </a:cubicBezTo>
                      <a:cubicBezTo>
                        <a:pt x="32" y="12"/>
                        <a:pt x="29" y="9"/>
                        <a:pt x="29" y="8"/>
                      </a:cubicBezTo>
                      <a:cubicBezTo>
                        <a:pt x="29" y="8"/>
                        <a:pt x="29" y="8"/>
                        <a:pt x="29" y="8"/>
                      </a:cubicBezTo>
                      <a:cubicBezTo>
                        <a:pt x="29" y="7"/>
                        <a:pt x="28" y="7"/>
                        <a:pt x="27" y="6"/>
                      </a:cubicBezTo>
                      <a:cubicBezTo>
                        <a:pt x="25" y="4"/>
                        <a:pt x="23" y="4"/>
                        <a:pt x="22" y="2"/>
                      </a:cubicBezTo>
                      <a:cubicBezTo>
                        <a:pt x="20" y="1"/>
                        <a:pt x="18" y="0"/>
                        <a:pt x="16" y="1"/>
                      </a:cubicBezTo>
                      <a:cubicBezTo>
                        <a:pt x="15" y="3"/>
                        <a:pt x="11" y="4"/>
                        <a:pt x="9" y="4"/>
                      </a:cubicBezTo>
                      <a:cubicBezTo>
                        <a:pt x="8" y="4"/>
                        <a:pt x="7" y="4"/>
                        <a:pt x="6" y="3"/>
                      </a:cubicBezTo>
                      <a:cubicBezTo>
                        <a:pt x="4" y="4"/>
                        <a:pt x="2" y="5"/>
                        <a:pt x="0" y="5"/>
                      </a:cubicBezTo>
                      <a:cubicBezTo>
                        <a:pt x="1" y="6"/>
                        <a:pt x="1" y="6"/>
                        <a:pt x="1" y="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1" name="Freeform 84">
                  <a:extLst>
                    <a:ext uri="{FF2B5EF4-FFF2-40B4-BE49-F238E27FC236}">
                      <a16:creationId xmlns:a16="http://schemas.microsoft.com/office/drawing/2014/main" id="{25E92B9A-5FED-4B30-8C74-59CDABD754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020570" y="-11133656"/>
                  <a:ext cx="450807" cy="298375"/>
                </a:xfrm>
                <a:custGeom>
                  <a:avLst/>
                  <a:gdLst>
                    <a:gd name="T0" fmla="*/ 65 w 73"/>
                    <a:gd name="T1" fmla="*/ 32 h 48"/>
                    <a:gd name="T2" fmla="*/ 62 w 73"/>
                    <a:gd name="T3" fmla="*/ 30 h 48"/>
                    <a:gd name="T4" fmla="*/ 62 w 73"/>
                    <a:gd name="T5" fmla="*/ 30 h 48"/>
                    <a:gd name="T6" fmla="*/ 61 w 73"/>
                    <a:gd name="T7" fmla="*/ 21 h 48"/>
                    <a:gd name="T8" fmla="*/ 56 w 73"/>
                    <a:gd name="T9" fmla="*/ 10 h 48"/>
                    <a:gd name="T10" fmla="*/ 51 w 73"/>
                    <a:gd name="T11" fmla="*/ 0 h 48"/>
                    <a:gd name="T12" fmla="*/ 47 w 73"/>
                    <a:gd name="T13" fmla="*/ 2 h 48"/>
                    <a:gd name="T14" fmla="*/ 42 w 73"/>
                    <a:gd name="T15" fmla="*/ 5 h 48"/>
                    <a:gd name="T16" fmla="*/ 38 w 73"/>
                    <a:gd name="T17" fmla="*/ 5 h 48"/>
                    <a:gd name="T18" fmla="*/ 35 w 73"/>
                    <a:gd name="T19" fmla="*/ 6 h 48"/>
                    <a:gd name="T20" fmla="*/ 30 w 73"/>
                    <a:gd name="T21" fmla="*/ 5 h 48"/>
                    <a:gd name="T22" fmla="*/ 22 w 73"/>
                    <a:gd name="T23" fmla="*/ 3 h 48"/>
                    <a:gd name="T24" fmla="*/ 19 w 73"/>
                    <a:gd name="T25" fmla="*/ 4 h 48"/>
                    <a:gd name="T26" fmla="*/ 18 w 73"/>
                    <a:gd name="T27" fmla="*/ 5 h 48"/>
                    <a:gd name="T28" fmla="*/ 13 w 73"/>
                    <a:gd name="T29" fmla="*/ 9 h 48"/>
                    <a:gd name="T30" fmla="*/ 5 w 73"/>
                    <a:gd name="T31" fmla="*/ 21 h 48"/>
                    <a:gd name="T32" fmla="*/ 0 w 73"/>
                    <a:gd name="T33" fmla="*/ 25 h 48"/>
                    <a:gd name="T34" fmla="*/ 3 w 73"/>
                    <a:gd name="T35" fmla="*/ 29 h 48"/>
                    <a:gd name="T36" fmla="*/ 6 w 73"/>
                    <a:gd name="T37" fmla="*/ 32 h 48"/>
                    <a:gd name="T38" fmla="*/ 7 w 73"/>
                    <a:gd name="T39" fmla="*/ 37 h 48"/>
                    <a:gd name="T40" fmla="*/ 16 w 73"/>
                    <a:gd name="T41" fmla="*/ 40 h 48"/>
                    <a:gd name="T42" fmla="*/ 16 w 73"/>
                    <a:gd name="T43" fmla="*/ 43 h 48"/>
                    <a:gd name="T44" fmla="*/ 21 w 73"/>
                    <a:gd name="T45" fmla="*/ 46 h 48"/>
                    <a:gd name="T46" fmla="*/ 29 w 73"/>
                    <a:gd name="T47" fmla="*/ 47 h 48"/>
                    <a:gd name="T48" fmla="*/ 38 w 73"/>
                    <a:gd name="T49" fmla="*/ 47 h 48"/>
                    <a:gd name="T50" fmla="*/ 44 w 73"/>
                    <a:gd name="T51" fmla="*/ 45 h 48"/>
                    <a:gd name="T52" fmla="*/ 53 w 73"/>
                    <a:gd name="T53" fmla="*/ 43 h 48"/>
                    <a:gd name="T54" fmla="*/ 60 w 73"/>
                    <a:gd name="T55" fmla="*/ 45 h 48"/>
                    <a:gd name="T56" fmla="*/ 64 w 73"/>
                    <a:gd name="T57" fmla="*/ 48 h 48"/>
                    <a:gd name="T58" fmla="*/ 64 w 73"/>
                    <a:gd name="T59" fmla="*/ 43 h 48"/>
                    <a:gd name="T60" fmla="*/ 68 w 73"/>
                    <a:gd name="T61" fmla="*/ 37 h 48"/>
                    <a:gd name="T62" fmla="*/ 73 w 73"/>
                    <a:gd name="T63" fmla="*/ 33 h 48"/>
                    <a:gd name="T64" fmla="*/ 73 w 73"/>
                    <a:gd name="T65" fmla="*/ 32 h 48"/>
                    <a:gd name="T66" fmla="*/ 70 w 73"/>
                    <a:gd name="T67" fmla="*/ 30 h 48"/>
                    <a:gd name="T68" fmla="*/ 65 w 73"/>
                    <a:gd name="T69" fmla="*/ 3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3" h="48">
                      <a:moveTo>
                        <a:pt x="65" y="32"/>
                      </a:moveTo>
                      <a:cubicBezTo>
                        <a:pt x="64" y="32"/>
                        <a:pt x="61" y="31"/>
                        <a:pt x="62" y="30"/>
                      </a:cubicBezTo>
                      <a:cubicBezTo>
                        <a:pt x="62" y="30"/>
                        <a:pt x="62" y="30"/>
                        <a:pt x="62" y="30"/>
                      </a:cubicBezTo>
                      <a:cubicBezTo>
                        <a:pt x="60" y="28"/>
                        <a:pt x="60" y="22"/>
                        <a:pt x="61" y="21"/>
                      </a:cubicBezTo>
                      <a:cubicBezTo>
                        <a:pt x="63" y="19"/>
                        <a:pt x="58" y="12"/>
                        <a:pt x="56" y="10"/>
                      </a:cubicBezTo>
                      <a:cubicBezTo>
                        <a:pt x="55" y="8"/>
                        <a:pt x="53" y="4"/>
                        <a:pt x="51" y="0"/>
                      </a:cubicBezTo>
                      <a:cubicBezTo>
                        <a:pt x="49" y="1"/>
                        <a:pt x="47" y="2"/>
                        <a:pt x="47" y="2"/>
                      </a:cubicBezTo>
                      <a:cubicBezTo>
                        <a:pt x="46" y="4"/>
                        <a:pt x="44" y="5"/>
                        <a:pt x="42" y="5"/>
                      </a:cubicBezTo>
                      <a:cubicBezTo>
                        <a:pt x="41" y="5"/>
                        <a:pt x="39" y="4"/>
                        <a:pt x="38" y="5"/>
                      </a:cubicBezTo>
                      <a:cubicBezTo>
                        <a:pt x="37" y="6"/>
                        <a:pt x="35" y="7"/>
                        <a:pt x="35" y="6"/>
                      </a:cubicBezTo>
                      <a:cubicBezTo>
                        <a:pt x="34" y="5"/>
                        <a:pt x="31" y="5"/>
                        <a:pt x="30" y="5"/>
                      </a:cubicBezTo>
                      <a:cubicBezTo>
                        <a:pt x="28" y="5"/>
                        <a:pt x="23" y="3"/>
                        <a:pt x="22" y="3"/>
                      </a:cubicBezTo>
                      <a:cubicBezTo>
                        <a:pt x="21" y="3"/>
                        <a:pt x="20" y="3"/>
                        <a:pt x="19" y="4"/>
                      </a:cubicBezTo>
                      <a:cubicBezTo>
                        <a:pt x="19" y="4"/>
                        <a:pt x="19" y="5"/>
                        <a:pt x="18" y="5"/>
                      </a:cubicBezTo>
                      <a:cubicBezTo>
                        <a:pt x="16" y="6"/>
                        <a:pt x="14" y="8"/>
                        <a:pt x="13" y="9"/>
                      </a:cubicBezTo>
                      <a:cubicBezTo>
                        <a:pt x="11" y="9"/>
                        <a:pt x="8" y="18"/>
                        <a:pt x="5" y="21"/>
                      </a:cubicBezTo>
                      <a:cubicBezTo>
                        <a:pt x="3" y="23"/>
                        <a:pt x="0" y="24"/>
                        <a:pt x="0" y="25"/>
                      </a:cubicBezTo>
                      <a:cubicBezTo>
                        <a:pt x="0" y="25"/>
                        <a:pt x="3" y="28"/>
                        <a:pt x="3" y="29"/>
                      </a:cubicBezTo>
                      <a:cubicBezTo>
                        <a:pt x="3" y="31"/>
                        <a:pt x="4" y="32"/>
                        <a:pt x="6" y="32"/>
                      </a:cubicBezTo>
                      <a:cubicBezTo>
                        <a:pt x="8" y="32"/>
                        <a:pt x="6" y="37"/>
                        <a:pt x="7" y="37"/>
                      </a:cubicBezTo>
                      <a:cubicBezTo>
                        <a:pt x="8" y="37"/>
                        <a:pt x="16" y="38"/>
                        <a:pt x="16" y="40"/>
                      </a:cubicBezTo>
                      <a:cubicBezTo>
                        <a:pt x="16" y="41"/>
                        <a:pt x="17" y="42"/>
                        <a:pt x="16" y="43"/>
                      </a:cubicBezTo>
                      <a:cubicBezTo>
                        <a:pt x="18" y="44"/>
                        <a:pt x="20" y="47"/>
                        <a:pt x="21" y="46"/>
                      </a:cubicBezTo>
                      <a:cubicBezTo>
                        <a:pt x="22" y="46"/>
                        <a:pt x="28" y="47"/>
                        <a:pt x="29" y="47"/>
                      </a:cubicBezTo>
                      <a:cubicBezTo>
                        <a:pt x="31" y="47"/>
                        <a:pt x="36" y="47"/>
                        <a:pt x="38" y="47"/>
                      </a:cubicBezTo>
                      <a:cubicBezTo>
                        <a:pt x="40" y="48"/>
                        <a:pt x="42" y="47"/>
                        <a:pt x="44" y="45"/>
                      </a:cubicBezTo>
                      <a:cubicBezTo>
                        <a:pt x="45" y="43"/>
                        <a:pt x="51" y="43"/>
                        <a:pt x="53" y="43"/>
                      </a:cubicBezTo>
                      <a:cubicBezTo>
                        <a:pt x="55" y="44"/>
                        <a:pt x="59" y="44"/>
                        <a:pt x="60" y="45"/>
                      </a:cubicBezTo>
                      <a:cubicBezTo>
                        <a:pt x="60" y="46"/>
                        <a:pt x="62" y="47"/>
                        <a:pt x="64" y="48"/>
                      </a:cubicBezTo>
                      <a:cubicBezTo>
                        <a:pt x="65" y="46"/>
                        <a:pt x="64" y="45"/>
                        <a:pt x="64" y="43"/>
                      </a:cubicBezTo>
                      <a:cubicBezTo>
                        <a:pt x="65" y="41"/>
                        <a:pt x="66" y="37"/>
                        <a:pt x="68" y="37"/>
                      </a:cubicBezTo>
                      <a:cubicBezTo>
                        <a:pt x="71" y="37"/>
                        <a:pt x="73" y="37"/>
                        <a:pt x="73" y="33"/>
                      </a:cubicBezTo>
                      <a:cubicBezTo>
                        <a:pt x="73" y="32"/>
                        <a:pt x="73" y="32"/>
                        <a:pt x="73" y="32"/>
                      </a:cubicBezTo>
                      <a:cubicBezTo>
                        <a:pt x="71" y="31"/>
                        <a:pt x="70" y="30"/>
                        <a:pt x="70" y="30"/>
                      </a:cubicBezTo>
                      <a:cubicBezTo>
                        <a:pt x="69" y="30"/>
                        <a:pt x="66" y="32"/>
                        <a:pt x="65" y="3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2" name="Freeform 85">
                  <a:extLst>
                    <a:ext uri="{FF2B5EF4-FFF2-40B4-BE49-F238E27FC236}">
                      <a16:creationId xmlns:a16="http://schemas.microsoft.com/office/drawing/2014/main" id="{A521BEF6-DC87-4C9A-8A85-030C30E54E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705977" y="-11136898"/>
                  <a:ext cx="149188" cy="191350"/>
                </a:xfrm>
                <a:custGeom>
                  <a:avLst/>
                  <a:gdLst>
                    <a:gd name="T0" fmla="*/ 18 w 24"/>
                    <a:gd name="T1" fmla="*/ 8 h 31"/>
                    <a:gd name="T2" fmla="*/ 12 w 24"/>
                    <a:gd name="T3" fmla="*/ 4 h 31"/>
                    <a:gd name="T4" fmla="*/ 5 w 24"/>
                    <a:gd name="T5" fmla="*/ 0 h 31"/>
                    <a:gd name="T6" fmla="*/ 0 w 24"/>
                    <a:gd name="T7" fmla="*/ 1 h 31"/>
                    <a:gd name="T8" fmla="*/ 5 w 24"/>
                    <a:gd name="T9" fmla="*/ 11 h 31"/>
                    <a:gd name="T10" fmla="*/ 10 w 24"/>
                    <a:gd name="T11" fmla="*/ 22 h 31"/>
                    <a:gd name="T12" fmla="*/ 11 w 24"/>
                    <a:gd name="T13" fmla="*/ 31 h 31"/>
                    <a:gd name="T14" fmla="*/ 16 w 24"/>
                    <a:gd name="T15" fmla="*/ 24 h 31"/>
                    <a:gd name="T16" fmla="*/ 19 w 24"/>
                    <a:gd name="T17" fmla="*/ 20 h 31"/>
                    <a:gd name="T18" fmla="*/ 24 w 24"/>
                    <a:gd name="T19" fmla="*/ 21 h 31"/>
                    <a:gd name="T20" fmla="*/ 23 w 24"/>
                    <a:gd name="T21" fmla="*/ 16 h 31"/>
                    <a:gd name="T22" fmla="*/ 18 w 24"/>
                    <a:gd name="T23" fmla="*/ 8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31">
                      <a:moveTo>
                        <a:pt x="18" y="8"/>
                      </a:moveTo>
                      <a:cubicBezTo>
                        <a:pt x="17" y="5"/>
                        <a:pt x="14" y="4"/>
                        <a:pt x="12" y="4"/>
                      </a:cubicBezTo>
                      <a:cubicBezTo>
                        <a:pt x="10" y="4"/>
                        <a:pt x="7" y="0"/>
                        <a:pt x="5" y="0"/>
                      </a:cubicBezTo>
                      <a:cubicBezTo>
                        <a:pt x="4" y="0"/>
                        <a:pt x="2" y="1"/>
                        <a:pt x="0" y="1"/>
                      </a:cubicBezTo>
                      <a:cubicBezTo>
                        <a:pt x="2" y="5"/>
                        <a:pt x="4" y="9"/>
                        <a:pt x="5" y="11"/>
                      </a:cubicBezTo>
                      <a:cubicBezTo>
                        <a:pt x="7" y="13"/>
                        <a:pt x="12" y="20"/>
                        <a:pt x="10" y="22"/>
                      </a:cubicBezTo>
                      <a:cubicBezTo>
                        <a:pt x="9" y="23"/>
                        <a:pt x="9" y="29"/>
                        <a:pt x="11" y="31"/>
                      </a:cubicBezTo>
                      <a:cubicBezTo>
                        <a:pt x="12" y="30"/>
                        <a:pt x="16" y="25"/>
                        <a:pt x="16" y="24"/>
                      </a:cubicBezTo>
                      <a:cubicBezTo>
                        <a:pt x="16" y="22"/>
                        <a:pt x="16" y="19"/>
                        <a:pt x="19" y="20"/>
                      </a:cubicBezTo>
                      <a:cubicBezTo>
                        <a:pt x="22" y="21"/>
                        <a:pt x="24" y="22"/>
                        <a:pt x="24" y="21"/>
                      </a:cubicBezTo>
                      <a:cubicBezTo>
                        <a:pt x="24" y="20"/>
                        <a:pt x="24" y="17"/>
                        <a:pt x="23" y="16"/>
                      </a:cubicBezTo>
                      <a:cubicBezTo>
                        <a:pt x="21" y="15"/>
                        <a:pt x="19" y="11"/>
                        <a:pt x="18" y="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3" name="Freeform 86">
                  <a:extLst>
                    <a:ext uri="{FF2B5EF4-FFF2-40B4-BE49-F238E27FC236}">
                      <a16:creationId xmlns:a16="http://schemas.microsoft.com/office/drawing/2014/main" id="{5C90AD58-F5C7-41C5-9D6B-AA7C809E4F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933002" y="-10867713"/>
                  <a:ext cx="308106" cy="175133"/>
                </a:xfrm>
                <a:custGeom>
                  <a:avLst/>
                  <a:gdLst>
                    <a:gd name="T0" fmla="*/ 39 w 50"/>
                    <a:gd name="T1" fmla="*/ 0 h 28"/>
                    <a:gd name="T2" fmla="*/ 30 w 50"/>
                    <a:gd name="T3" fmla="*/ 2 h 28"/>
                    <a:gd name="T4" fmla="*/ 24 w 50"/>
                    <a:gd name="T5" fmla="*/ 4 h 28"/>
                    <a:gd name="T6" fmla="*/ 15 w 50"/>
                    <a:gd name="T7" fmla="*/ 4 h 28"/>
                    <a:gd name="T8" fmla="*/ 7 w 50"/>
                    <a:gd name="T9" fmla="*/ 3 h 28"/>
                    <a:gd name="T10" fmla="*/ 2 w 50"/>
                    <a:gd name="T11" fmla="*/ 0 h 28"/>
                    <a:gd name="T12" fmla="*/ 2 w 50"/>
                    <a:gd name="T13" fmla="*/ 1 h 28"/>
                    <a:gd name="T14" fmla="*/ 2 w 50"/>
                    <a:gd name="T15" fmla="*/ 7 h 28"/>
                    <a:gd name="T16" fmla="*/ 4 w 50"/>
                    <a:gd name="T17" fmla="*/ 12 h 28"/>
                    <a:gd name="T18" fmla="*/ 1 w 50"/>
                    <a:gd name="T19" fmla="*/ 15 h 28"/>
                    <a:gd name="T20" fmla="*/ 1 w 50"/>
                    <a:gd name="T21" fmla="*/ 19 h 28"/>
                    <a:gd name="T22" fmla="*/ 6 w 50"/>
                    <a:gd name="T23" fmla="*/ 24 h 28"/>
                    <a:gd name="T24" fmla="*/ 7 w 50"/>
                    <a:gd name="T25" fmla="*/ 26 h 28"/>
                    <a:gd name="T26" fmla="*/ 18 w 50"/>
                    <a:gd name="T27" fmla="*/ 26 h 28"/>
                    <a:gd name="T28" fmla="*/ 27 w 50"/>
                    <a:gd name="T29" fmla="*/ 28 h 28"/>
                    <a:gd name="T30" fmla="*/ 30 w 50"/>
                    <a:gd name="T31" fmla="*/ 26 h 28"/>
                    <a:gd name="T32" fmla="*/ 34 w 50"/>
                    <a:gd name="T33" fmla="*/ 24 h 28"/>
                    <a:gd name="T34" fmla="*/ 34 w 50"/>
                    <a:gd name="T35" fmla="*/ 22 h 28"/>
                    <a:gd name="T36" fmla="*/ 42 w 50"/>
                    <a:gd name="T37" fmla="*/ 22 h 28"/>
                    <a:gd name="T38" fmla="*/ 45 w 50"/>
                    <a:gd name="T39" fmla="*/ 21 h 28"/>
                    <a:gd name="T40" fmla="*/ 44 w 50"/>
                    <a:gd name="T41" fmla="*/ 19 h 28"/>
                    <a:gd name="T42" fmla="*/ 42 w 50"/>
                    <a:gd name="T43" fmla="*/ 13 h 28"/>
                    <a:gd name="T44" fmla="*/ 49 w 50"/>
                    <a:gd name="T45" fmla="*/ 6 h 28"/>
                    <a:gd name="T46" fmla="*/ 50 w 50"/>
                    <a:gd name="T47" fmla="*/ 5 h 28"/>
                    <a:gd name="T48" fmla="*/ 46 w 50"/>
                    <a:gd name="T49" fmla="*/ 2 h 28"/>
                    <a:gd name="T50" fmla="*/ 39 w 50"/>
                    <a:gd name="T51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50" h="28">
                      <a:moveTo>
                        <a:pt x="39" y="0"/>
                      </a:moveTo>
                      <a:cubicBezTo>
                        <a:pt x="37" y="0"/>
                        <a:pt x="31" y="0"/>
                        <a:pt x="30" y="2"/>
                      </a:cubicBezTo>
                      <a:cubicBezTo>
                        <a:pt x="28" y="4"/>
                        <a:pt x="26" y="5"/>
                        <a:pt x="24" y="4"/>
                      </a:cubicBezTo>
                      <a:cubicBezTo>
                        <a:pt x="22" y="4"/>
                        <a:pt x="17" y="4"/>
                        <a:pt x="15" y="4"/>
                      </a:cubicBezTo>
                      <a:cubicBezTo>
                        <a:pt x="14" y="4"/>
                        <a:pt x="8" y="3"/>
                        <a:pt x="7" y="3"/>
                      </a:cubicBezTo>
                      <a:cubicBezTo>
                        <a:pt x="6" y="4"/>
                        <a:pt x="4" y="1"/>
                        <a:pt x="2" y="0"/>
                      </a:cubicBezTo>
                      <a:cubicBezTo>
                        <a:pt x="2" y="0"/>
                        <a:pt x="2" y="1"/>
                        <a:pt x="2" y="1"/>
                      </a:cubicBezTo>
                      <a:cubicBezTo>
                        <a:pt x="0" y="2"/>
                        <a:pt x="0" y="5"/>
                        <a:pt x="2" y="7"/>
                      </a:cubicBezTo>
                      <a:cubicBezTo>
                        <a:pt x="3" y="8"/>
                        <a:pt x="6" y="12"/>
                        <a:pt x="4" y="12"/>
                      </a:cubicBezTo>
                      <a:cubicBezTo>
                        <a:pt x="2" y="12"/>
                        <a:pt x="1" y="14"/>
                        <a:pt x="1" y="15"/>
                      </a:cubicBezTo>
                      <a:cubicBezTo>
                        <a:pt x="2" y="16"/>
                        <a:pt x="1" y="18"/>
                        <a:pt x="1" y="19"/>
                      </a:cubicBezTo>
                      <a:cubicBezTo>
                        <a:pt x="2" y="19"/>
                        <a:pt x="6" y="23"/>
                        <a:pt x="6" y="24"/>
                      </a:cubicBezTo>
                      <a:cubicBezTo>
                        <a:pt x="6" y="25"/>
                        <a:pt x="8" y="25"/>
                        <a:pt x="7" y="26"/>
                      </a:cubicBezTo>
                      <a:cubicBezTo>
                        <a:pt x="10" y="26"/>
                        <a:pt x="17" y="26"/>
                        <a:pt x="18" y="26"/>
                      </a:cubicBezTo>
                      <a:cubicBezTo>
                        <a:pt x="20" y="27"/>
                        <a:pt x="27" y="28"/>
                        <a:pt x="27" y="28"/>
                      </a:cubicBezTo>
                      <a:cubicBezTo>
                        <a:pt x="29" y="28"/>
                        <a:pt x="30" y="27"/>
                        <a:pt x="30" y="26"/>
                      </a:cubicBezTo>
                      <a:cubicBezTo>
                        <a:pt x="29" y="25"/>
                        <a:pt x="32" y="24"/>
                        <a:pt x="34" y="24"/>
                      </a:cubicBezTo>
                      <a:cubicBezTo>
                        <a:pt x="33" y="23"/>
                        <a:pt x="33" y="22"/>
                        <a:pt x="34" y="22"/>
                      </a:cubicBezTo>
                      <a:cubicBezTo>
                        <a:pt x="35" y="21"/>
                        <a:pt x="40" y="21"/>
                        <a:pt x="42" y="22"/>
                      </a:cubicBezTo>
                      <a:cubicBezTo>
                        <a:pt x="43" y="22"/>
                        <a:pt x="44" y="22"/>
                        <a:pt x="45" y="21"/>
                      </a:cubicBezTo>
                      <a:cubicBezTo>
                        <a:pt x="45" y="20"/>
                        <a:pt x="45" y="19"/>
                        <a:pt x="44" y="19"/>
                      </a:cubicBezTo>
                      <a:cubicBezTo>
                        <a:pt x="43" y="19"/>
                        <a:pt x="41" y="14"/>
                        <a:pt x="42" y="13"/>
                      </a:cubicBezTo>
                      <a:cubicBezTo>
                        <a:pt x="44" y="13"/>
                        <a:pt x="46" y="7"/>
                        <a:pt x="49" y="6"/>
                      </a:cubicBezTo>
                      <a:cubicBezTo>
                        <a:pt x="50" y="6"/>
                        <a:pt x="50" y="5"/>
                        <a:pt x="50" y="5"/>
                      </a:cubicBezTo>
                      <a:cubicBezTo>
                        <a:pt x="48" y="4"/>
                        <a:pt x="46" y="3"/>
                        <a:pt x="46" y="2"/>
                      </a:cubicBezTo>
                      <a:cubicBezTo>
                        <a:pt x="45" y="1"/>
                        <a:pt x="41" y="1"/>
                        <a:pt x="39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4" name="Freeform 87">
                  <a:extLst>
                    <a:ext uri="{FF2B5EF4-FFF2-40B4-BE49-F238E27FC236}">
                      <a16:creationId xmlns:a16="http://schemas.microsoft.com/office/drawing/2014/main" id="{38FD272D-FAEA-4973-933E-431FB58BD4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027056" y="-10760686"/>
                  <a:ext cx="142701" cy="97296"/>
                </a:xfrm>
                <a:custGeom>
                  <a:avLst/>
                  <a:gdLst>
                    <a:gd name="T0" fmla="*/ 6 w 23"/>
                    <a:gd name="T1" fmla="*/ 16 h 16"/>
                    <a:gd name="T2" fmla="*/ 6 w 23"/>
                    <a:gd name="T3" fmla="*/ 16 h 16"/>
                    <a:gd name="T4" fmla="*/ 6 w 23"/>
                    <a:gd name="T5" fmla="*/ 16 h 16"/>
                    <a:gd name="T6" fmla="*/ 6 w 23"/>
                    <a:gd name="T7" fmla="*/ 16 h 16"/>
                    <a:gd name="T8" fmla="*/ 6 w 23"/>
                    <a:gd name="T9" fmla="*/ 16 h 16"/>
                    <a:gd name="T10" fmla="*/ 7 w 23"/>
                    <a:gd name="T11" fmla="*/ 16 h 16"/>
                    <a:gd name="T12" fmla="*/ 9 w 23"/>
                    <a:gd name="T13" fmla="*/ 16 h 16"/>
                    <a:gd name="T14" fmla="*/ 9 w 23"/>
                    <a:gd name="T15" fmla="*/ 16 h 16"/>
                    <a:gd name="T16" fmla="*/ 10 w 23"/>
                    <a:gd name="T17" fmla="*/ 16 h 16"/>
                    <a:gd name="T18" fmla="*/ 10 w 23"/>
                    <a:gd name="T19" fmla="*/ 16 h 16"/>
                    <a:gd name="T20" fmla="*/ 11 w 23"/>
                    <a:gd name="T21" fmla="*/ 15 h 16"/>
                    <a:gd name="T22" fmla="*/ 15 w 23"/>
                    <a:gd name="T23" fmla="*/ 13 h 16"/>
                    <a:gd name="T24" fmla="*/ 22 w 23"/>
                    <a:gd name="T25" fmla="*/ 10 h 16"/>
                    <a:gd name="T26" fmla="*/ 22 w 23"/>
                    <a:gd name="T27" fmla="*/ 9 h 16"/>
                    <a:gd name="T28" fmla="*/ 21 w 23"/>
                    <a:gd name="T29" fmla="*/ 7 h 16"/>
                    <a:gd name="T30" fmla="*/ 16 w 23"/>
                    <a:gd name="T31" fmla="*/ 2 h 16"/>
                    <a:gd name="T32" fmla="*/ 16 w 23"/>
                    <a:gd name="T33" fmla="*/ 1 h 16"/>
                    <a:gd name="T34" fmla="*/ 16 w 23"/>
                    <a:gd name="T35" fmla="*/ 1 h 16"/>
                    <a:gd name="T36" fmla="*/ 16 w 23"/>
                    <a:gd name="T37" fmla="*/ 0 h 16"/>
                    <a:gd name="T38" fmla="*/ 2 w 23"/>
                    <a:gd name="T39" fmla="*/ 3 h 16"/>
                    <a:gd name="T40" fmla="*/ 2 w 23"/>
                    <a:gd name="T41" fmla="*/ 3 h 16"/>
                    <a:gd name="T42" fmla="*/ 1 w 23"/>
                    <a:gd name="T43" fmla="*/ 11 h 16"/>
                    <a:gd name="T44" fmla="*/ 6 w 23"/>
                    <a:gd name="T45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" h="16">
                      <a:moveTo>
                        <a:pt x="6" y="16"/>
                      </a:move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7" y="16"/>
                        <a:pt x="7" y="16"/>
                        <a:pt x="7" y="16"/>
                      </a:cubicBezTo>
                      <a:cubicBezTo>
                        <a:pt x="7" y="16"/>
                        <a:pt x="8" y="16"/>
                        <a:pt x="9" y="16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0" y="15"/>
                        <a:pt x="11" y="15"/>
                        <a:pt x="11" y="15"/>
                      </a:cubicBezTo>
                      <a:cubicBezTo>
                        <a:pt x="13" y="15"/>
                        <a:pt x="14" y="13"/>
                        <a:pt x="15" y="13"/>
                      </a:cubicBezTo>
                      <a:cubicBezTo>
                        <a:pt x="16" y="14"/>
                        <a:pt x="22" y="11"/>
                        <a:pt x="22" y="10"/>
                      </a:cubicBezTo>
                      <a:cubicBezTo>
                        <a:pt x="22" y="9"/>
                        <a:pt x="22" y="9"/>
                        <a:pt x="22" y="9"/>
                      </a:cubicBezTo>
                      <a:cubicBezTo>
                        <a:pt x="23" y="8"/>
                        <a:pt x="21" y="8"/>
                        <a:pt x="21" y="7"/>
                      </a:cubicBezTo>
                      <a:cubicBezTo>
                        <a:pt x="21" y="6"/>
                        <a:pt x="17" y="2"/>
                        <a:pt x="16" y="2"/>
                      </a:cubicBezTo>
                      <a:cubicBezTo>
                        <a:pt x="16" y="2"/>
                        <a:pt x="16" y="2"/>
                        <a:pt x="16" y="1"/>
                      </a:cubicBezTo>
                      <a:cubicBezTo>
                        <a:pt x="16" y="1"/>
                        <a:pt x="16" y="1"/>
                        <a:pt x="16" y="1"/>
                      </a:cubicBezTo>
                      <a:cubicBezTo>
                        <a:pt x="16" y="1"/>
                        <a:pt x="16" y="1"/>
                        <a:pt x="16" y="0"/>
                      </a:cubicBezTo>
                      <a:cubicBezTo>
                        <a:pt x="11" y="1"/>
                        <a:pt x="2" y="3"/>
                        <a:pt x="2" y="3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1" y="5"/>
                        <a:pt x="0" y="9"/>
                        <a:pt x="1" y="11"/>
                      </a:cubicBezTo>
                      <a:cubicBezTo>
                        <a:pt x="2" y="13"/>
                        <a:pt x="3" y="14"/>
                        <a:pt x="6" y="1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5" name="Freeform 88">
                  <a:extLst>
                    <a:ext uri="{FF2B5EF4-FFF2-40B4-BE49-F238E27FC236}">
                      <a16:creationId xmlns:a16="http://schemas.microsoft.com/office/drawing/2014/main" id="{8744A6F5-E66E-40C3-8158-DC0F05BA92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933002" y="-11396355"/>
                  <a:ext cx="882153" cy="518914"/>
                </a:xfrm>
                <a:custGeom>
                  <a:avLst/>
                  <a:gdLst>
                    <a:gd name="T0" fmla="*/ 134 w 143"/>
                    <a:gd name="T1" fmla="*/ 48 h 84"/>
                    <a:gd name="T2" fmla="*/ 142 w 143"/>
                    <a:gd name="T3" fmla="*/ 43 h 84"/>
                    <a:gd name="T4" fmla="*/ 143 w 143"/>
                    <a:gd name="T5" fmla="*/ 38 h 84"/>
                    <a:gd name="T6" fmla="*/ 143 w 143"/>
                    <a:gd name="T7" fmla="*/ 33 h 84"/>
                    <a:gd name="T8" fmla="*/ 132 w 143"/>
                    <a:gd name="T9" fmla="*/ 28 h 84"/>
                    <a:gd name="T10" fmla="*/ 121 w 143"/>
                    <a:gd name="T11" fmla="*/ 23 h 84"/>
                    <a:gd name="T12" fmla="*/ 113 w 143"/>
                    <a:gd name="T13" fmla="*/ 23 h 84"/>
                    <a:gd name="T14" fmla="*/ 106 w 143"/>
                    <a:gd name="T15" fmla="*/ 20 h 84"/>
                    <a:gd name="T16" fmla="*/ 96 w 143"/>
                    <a:gd name="T17" fmla="*/ 12 h 84"/>
                    <a:gd name="T18" fmla="*/ 94 w 143"/>
                    <a:gd name="T19" fmla="*/ 2 h 84"/>
                    <a:gd name="T20" fmla="*/ 82 w 143"/>
                    <a:gd name="T21" fmla="*/ 1 h 84"/>
                    <a:gd name="T22" fmla="*/ 76 w 143"/>
                    <a:gd name="T23" fmla="*/ 2 h 84"/>
                    <a:gd name="T24" fmla="*/ 66 w 143"/>
                    <a:gd name="T25" fmla="*/ 9 h 84"/>
                    <a:gd name="T26" fmla="*/ 57 w 143"/>
                    <a:gd name="T27" fmla="*/ 11 h 84"/>
                    <a:gd name="T28" fmla="*/ 46 w 143"/>
                    <a:gd name="T29" fmla="*/ 9 h 84"/>
                    <a:gd name="T30" fmla="*/ 34 w 143"/>
                    <a:gd name="T31" fmla="*/ 7 h 84"/>
                    <a:gd name="T32" fmla="*/ 15 w 143"/>
                    <a:gd name="T33" fmla="*/ 8 h 84"/>
                    <a:gd name="T34" fmla="*/ 11 w 143"/>
                    <a:gd name="T35" fmla="*/ 12 h 84"/>
                    <a:gd name="T36" fmla="*/ 11 w 143"/>
                    <a:gd name="T37" fmla="*/ 23 h 84"/>
                    <a:gd name="T38" fmla="*/ 3 w 143"/>
                    <a:gd name="T39" fmla="*/ 36 h 84"/>
                    <a:gd name="T40" fmla="*/ 3 w 143"/>
                    <a:gd name="T41" fmla="*/ 46 h 84"/>
                    <a:gd name="T42" fmla="*/ 8 w 143"/>
                    <a:gd name="T43" fmla="*/ 46 h 84"/>
                    <a:gd name="T44" fmla="*/ 21 w 143"/>
                    <a:gd name="T45" fmla="*/ 49 h 84"/>
                    <a:gd name="T46" fmla="*/ 28 w 143"/>
                    <a:gd name="T47" fmla="*/ 48 h 84"/>
                    <a:gd name="T48" fmla="*/ 42 w 143"/>
                    <a:gd name="T49" fmla="*/ 42 h 84"/>
                    <a:gd name="T50" fmla="*/ 55 w 143"/>
                    <a:gd name="T51" fmla="*/ 50 h 84"/>
                    <a:gd name="T52" fmla="*/ 61 w 143"/>
                    <a:gd name="T53" fmla="*/ 63 h 84"/>
                    <a:gd name="T54" fmla="*/ 53 w 143"/>
                    <a:gd name="T55" fmla="*/ 66 h 84"/>
                    <a:gd name="T56" fmla="*/ 51 w 143"/>
                    <a:gd name="T57" fmla="*/ 75 h 84"/>
                    <a:gd name="T58" fmla="*/ 59 w 143"/>
                    <a:gd name="T59" fmla="*/ 75 h 84"/>
                    <a:gd name="T60" fmla="*/ 69 w 143"/>
                    <a:gd name="T61" fmla="*/ 61 h 84"/>
                    <a:gd name="T62" fmla="*/ 79 w 143"/>
                    <a:gd name="T63" fmla="*/ 65 h 84"/>
                    <a:gd name="T64" fmla="*/ 81 w 143"/>
                    <a:gd name="T65" fmla="*/ 73 h 84"/>
                    <a:gd name="T66" fmla="*/ 90 w 143"/>
                    <a:gd name="T67" fmla="*/ 83 h 84"/>
                    <a:gd name="T68" fmla="*/ 104 w 143"/>
                    <a:gd name="T69" fmla="*/ 78 h 84"/>
                    <a:gd name="T70" fmla="*/ 107 w 143"/>
                    <a:gd name="T71" fmla="*/ 74 h 84"/>
                    <a:gd name="T72" fmla="*/ 110 w 143"/>
                    <a:gd name="T73" fmla="*/ 61 h 84"/>
                    <a:gd name="T74" fmla="*/ 127 w 143"/>
                    <a:gd name="T75" fmla="*/ 56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43" h="84">
                      <a:moveTo>
                        <a:pt x="127" y="52"/>
                      </a:moveTo>
                      <a:cubicBezTo>
                        <a:pt x="129" y="52"/>
                        <a:pt x="132" y="48"/>
                        <a:pt x="134" y="48"/>
                      </a:cubicBezTo>
                      <a:cubicBezTo>
                        <a:pt x="135" y="48"/>
                        <a:pt x="140" y="49"/>
                        <a:pt x="140" y="48"/>
                      </a:cubicBezTo>
                      <a:cubicBezTo>
                        <a:pt x="140" y="47"/>
                        <a:pt x="142" y="44"/>
                        <a:pt x="142" y="43"/>
                      </a:cubicBezTo>
                      <a:cubicBezTo>
                        <a:pt x="141" y="43"/>
                        <a:pt x="139" y="41"/>
                        <a:pt x="140" y="40"/>
                      </a:cubicBezTo>
                      <a:cubicBezTo>
                        <a:pt x="140" y="40"/>
                        <a:pt x="143" y="40"/>
                        <a:pt x="143" y="38"/>
                      </a:cubicBezTo>
                      <a:cubicBezTo>
                        <a:pt x="143" y="37"/>
                        <a:pt x="141" y="37"/>
                        <a:pt x="141" y="36"/>
                      </a:cubicBezTo>
                      <a:cubicBezTo>
                        <a:pt x="141" y="35"/>
                        <a:pt x="143" y="34"/>
                        <a:pt x="143" y="33"/>
                      </a:cubicBezTo>
                      <a:cubicBezTo>
                        <a:pt x="143" y="31"/>
                        <a:pt x="141" y="31"/>
                        <a:pt x="138" y="30"/>
                      </a:cubicBezTo>
                      <a:cubicBezTo>
                        <a:pt x="136" y="29"/>
                        <a:pt x="134" y="29"/>
                        <a:pt x="132" y="28"/>
                      </a:cubicBezTo>
                      <a:cubicBezTo>
                        <a:pt x="129" y="27"/>
                        <a:pt x="125" y="28"/>
                        <a:pt x="125" y="27"/>
                      </a:cubicBezTo>
                      <a:cubicBezTo>
                        <a:pt x="125" y="26"/>
                        <a:pt x="122" y="24"/>
                        <a:pt x="121" y="23"/>
                      </a:cubicBezTo>
                      <a:cubicBezTo>
                        <a:pt x="121" y="22"/>
                        <a:pt x="118" y="22"/>
                        <a:pt x="117" y="23"/>
                      </a:cubicBezTo>
                      <a:cubicBezTo>
                        <a:pt x="116" y="24"/>
                        <a:pt x="114" y="24"/>
                        <a:pt x="113" y="23"/>
                      </a:cubicBezTo>
                      <a:cubicBezTo>
                        <a:pt x="111" y="23"/>
                        <a:pt x="110" y="21"/>
                        <a:pt x="109" y="22"/>
                      </a:cubicBezTo>
                      <a:cubicBezTo>
                        <a:pt x="108" y="22"/>
                        <a:pt x="105" y="22"/>
                        <a:pt x="106" y="20"/>
                      </a:cubicBezTo>
                      <a:cubicBezTo>
                        <a:pt x="106" y="18"/>
                        <a:pt x="104" y="14"/>
                        <a:pt x="102" y="14"/>
                      </a:cubicBezTo>
                      <a:cubicBezTo>
                        <a:pt x="101" y="13"/>
                        <a:pt x="97" y="14"/>
                        <a:pt x="96" y="12"/>
                      </a:cubicBezTo>
                      <a:cubicBezTo>
                        <a:pt x="96" y="11"/>
                        <a:pt x="94" y="9"/>
                        <a:pt x="95" y="8"/>
                      </a:cubicBezTo>
                      <a:cubicBezTo>
                        <a:pt x="95" y="7"/>
                        <a:pt x="94" y="3"/>
                        <a:pt x="94" y="2"/>
                      </a:cubicBezTo>
                      <a:cubicBezTo>
                        <a:pt x="93" y="0"/>
                        <a:pt x="88" y="1"/>
                        <a:pt x="87" y="1"/>
                      </a:cubicBezTo>
                      <a:cubicBezTo>
                        <a:pt x="86" y="2"/>
                        <a:pt x="83" y="1"/>
                        <a:pt x="82" y="1"/>
                      </a:cubicBezTo>
                      <a:cubicBezTo>
                        <a:pt x="80" y="2"/>
                        <a:pt x="80" y="3"/>
                        <a:pt x="78" y="3"/>
                      </a:cubicBezTo>
                      <a:cubicBezTo>
                        <a:pt x="77" y="3"/>
                        <a:pt x="76" y="3"/>
                        <a:pt x="76" y="2"/>
                      </a:cubicBezTo>
                      <a:cubicBezTo>
                        <a:pt x="74" y="3"/>
                        <a:pt x="71" y="3"/>
                        <a:pt x="71" y="3"/>
                      </a:cubicBezTo>
                      <a:cubicBezTo>
                        <a:pt x="71" y="3"/>
                        <a:pt x="66" y="7"/>
                        <a:pt x="66" y="9"/>
                      </a:cubicBezTo>
                      <a:cubicBezTo>
                        <a:pt x="66" y="10"/>
                        <a:pt x="66" y="13"/>
                        <a:pt x="64" y="11"/>
                      </a:cubicBezTo>
                      <a:cubicBezTo>
                        <a:pt x="63" y="10"/>
                        <a:pt x="58" y="10"/>
                        <a:pt x="57" y="11"/>
                      </a:cubicBezTo>
                      <a:cubicBezTo>
                        <a:pt x="56" y="12"/>
                        <a:pt x="54" y="8"/>
                        <a:pt x="52" y="9"/>
                      </a:cubicBezTo>
                      <a:cubicBezTo>
                        <a:pt x="50" y="10"/>
                        <a:pt x="47" y="8"/>
                        <a:pt x="46" y="9"/>
                      </a:cubicBezTo>
                      <a:cubicBezTo>
                        <a:pt x="46" y="10"/>
                        <a:pt x="43" y="9"/>
                        <a:pt x="41" y="8"/>
                      </a:cubicBezTo>
                      <a:cubicBezTo>
                        <a:pt x="39" y="7"/>
                        <a:pt x="35" y="8"/>
                        <a:pt x="34" y="7"/>
                      </a:cubicBezTo>
                      <a:cubicBezTo>
                        <a:pt x="32" y="5"/>
                        <a:pt x="23" y="5"/>
                        <a:pt x="20" y="5"/>
                      </a:cubicBezTo>
                      <a:cubicBezTo>
                        <a:pt x="17" y="5"/>
                        <a:pt x="16" y="7"/>
                        <a:pt x="15" y="8"/>
                      </a:cubicBezTo>
                      <a:cubicBezTo>
                        <a:pt x="13" y="10"/>
                        <a:pt x="12" y="9"/>
                        <a:pt x="10" y="9"/>
                      </a:cubicBezTo>
                      <a:cubicBezTo>
                        <a:pt x="10" y="10"/>
                        <a:pt x="11" y="11"/>
                        <a:pt x="11" y="12"/>
                      </a:cubicBezTo>
                      <a:cubicBezTo>
                        <a:pt x="12" y="13"/>
                        <a:pt x="15" y="18"/>
                        <a:pt x="14" y="20"/>
                      </a:cubicBezTo>
                      <a:cubicBezTo>
                        <a:pt x="13" y="21"/>
                        <a:pt x="12" y="21"/>
                        <a:pt x="11" y="23"/>
                      </a:cubicBezTo>
                      <a:cubicBezTo>
                        <a:pt x="10" y="24"/>
                        <a:pt x="3" y="29"/>
                        <a:pt x="3" y="30"/>
                      </a:cubicBezTo>
                      <a:cubicBezTo>
                        <a:pt x="3" y="31"/>
                        <a:pt x="4" y="35"/>
                        <a:pt x="3" y="36"/>
                      </a:cubicBezTo>
                      <a:cubicBezTo>
                        <a:pt x="2" y="37"/>
                        <a:pt x="0" y="40"/>
                        <a:pt x="0" y="42"/>
                      </a:cubicBezTo>
                      <a:cubicBezTo>
                        <a:pt x="0" y="43"/>
                        <a:pt x="2" y="45"/>
                        <a:pt x="3" y="46"/>
                      </a:cubicBezTo>
                      <a:cubicBezTo>
                        <a:pt x="4" y="46"/>
                        <a:pt x="4" y="46"/>
                        <a:pt x="5" y="47"/>
                      </a:cubicBezTo>
                      <a:cubicBezTo>
                        <a:pt x="6" y="46"/>
                        <a:pt x="7" y="46"/>
                        <a:pt x="8" y="46"/>
                      </a:cubicBezTo>
                      <a:cubicBezTo>
                        <a:pt x="9" y="46"/>
                        <a:pt x="14" y="48"/>
                        <a:pt x="16" y="48"/>
                      </a:cubicBezTo>
                      <a:cubicBezTo>
                        <a:pt x="17" y="48"/>
                        <a:pt x="20" y="48"/>
                        <a:pt x="21" y="49"/>
                      </a:cubicBezTo>
                      <a:cubicBezTo>
                        <a:pt x="21" y="50"/>
                        <a:pt x="23" y="49"/>
                        <a:pt x="24" y="48"/>
                      </a:cubicBezTo>
                      <a:cubicBezTo>
                        <a:pt x="25" y="47"/>
                        <a:pt x="27" y="48"/>
                        <a:pt x="28" y="48"/>
                      </a:cubicBezTo>
                      <a:cubicBezTo>
                        <a:pt x="30" y="48"/>
                        <a:pt x="32" y="47"/>
                        <a:pt x="33" y="45"/>
                      </a:cubicBezTo>
                      <a:cubicBezTo>
                        <a:pt x="33" y="44"/>
                        <a:pt x="41" y="42"/>
                        <a:pt x="42" y="42"/>
                      </a:cubicBezTo>
                      <a:cubicBezTo>
                        <a:pt x="44" y="42"/>
                        <a:pt x="47" y="46"/>
                        <a:pt x="49" y="46"/>
                      </a:cubicBezTo>
                      <a:cubicBezTo>
                        <a:pt x="51" y="46"/>
                        <a:pt x="54" y="47"/>
                        <a:pt x="55" y="50"/>
                      </a:cubicBezTo>
                      <a:cubicBezTo>
                        <a:pt x="56" y="53"/>
                        <a:pt x="58" y="57"/>
                        <a:pt x="60" y="58"/>
                      </a:cubicBezTo>
                      <a:cubicBezTo>
                        <a:pt x="61" y="59"/>
                        <a:pt x="61" y="62"/>
                        <a:pt x="61" y="63"/>
                      </a:cubicBezTo>
                      <a:cubicBezTo>
                        <a:pt x="61" y="64"/>
                        <a:pt x="59" y="63"/>
                        <a:pt x="56" y="62"/>
                      </a:cubicBezTo>
                      <a:cubicBezTo>
                        <a:pt x="53" y="61"/>
                        <a:pt x="53" y="64"/>
                        <a:pt x="53" y="66"/>
                      </a:cubicBezTo>
                      <a:cubicBezTo>
                        <a:pt x="53" y="67"/>
                        <a:pt x="49" y="72"/>
                        <a:pt x="48" y="73"/>
                      </a:cubicBezTo>
                      <a:cubicBezTo>
                        <a:pt x="47" y="74"/>
                        <a:pt x="50" y="75"/>
                        <a:pt x="51" y="75"/>
                      </a:cubicBezTo>
                      <a:cubicBezTo>
                        <a:pt x="52" y="75"/>
                        <a:pt x="55" y="73"/>
                        <a:pt x="56" y="73"/>
                      </a:cubicBezTo>
                      <a:cubicBezTo>
                        <a:pt x="56" y="73"/>
                        <a:pt x="57" y="74"/>
                        <a:pt x="59" y="75"/>
                      </a:cubicBezTo>
                      <a:cubicBezTo>
                        <a:pt x="58" y="71"/>
                        <a:pt x="59" y="72"/>
                        <a:pt x="62" y="69"/>
                      </a:cubicBezTo>
                      <a:cubicBezTo>
                        <a:pt x="66" y="66"/>
                        <a:pt x="66" y="62"/>
                        <a:pt x="69" y="61"/>
                      </a:cubicBezTo>
                      <a:cubicBezTo>
                        <a:pt x="72" y="60"/>
                        <a:pt x="74" y="59"/>
                        <a:pt x="78" y="60"/>
                      </a:cubicBezTo>
                      <a:cubicBezTo>
                        <a:pt x="83" y="60"/>
                        <a:pt x="76" y="63"/>
                        <a:pt x="79" y="65"/>
                      </a:cubicBezTo>
                      <a:cubicBezTo>
                        <a:pt x="82" y="67"/>
                        <a:pt x="92" y="64"/>
                        <a:pt x="92" y="67"/>
                      </a:cubicBezTo>
                      <a:cubicBezTo>
                        <a:pt x="93" y="69"/>
                        <a:pt x="81" y="72"/>
                        <a:pt x="81" y="73"/>
                      </a:cubicBezTo>
                      <a:cubicBezTo>
                        <a:pt x="82" y="74"/>
                        <a:pt x="88" y="75"/>
                        <a:pt x="90" y="76"/>
                      </a:cubicBezTo>
                      <a:cubicBezTo>
                        <a:pt x="92" y="78"/>
                        <a:pt x="89" y="81"/>
                        <a:pt x="90" y="83"/>
                      </a:cubicBezTo>
                      <a:cubicBezTo>
                        <a:pt x="91" y="84"/>
                        <a:pt x="94" y="83"/>
                        <a:pt x="96" y="81"/>
                      </a:cubicBezTo>
                      <a:cubicBezTo>
                        <a:pt x="99" y="79"/>
                        <a:pt x="101" y="80"/>
                        <a:pt x="104" y="78"/>
                      </a:cubicBezTo>
                      <a:cubicBezTo>
                        <a:pt x="107" y="76"/>
                        <a:pt x="114" y="78"/>
                        <a:pt x="115" y="76"/>
                      </a:cubicBezTo>
                      <a:cubicBezTo>
                        <a:pt x="116" y="75"/>
                        <a:pt x="113" y="74"/>
                        <a:pt x="107" y="74"/>
                      </a:cubicBezTo>
                      <a:cubicBezTo>
                        <a:pt x="101" y="75"/>
                        <a:pt x="100" y="69"/>
                        <a:pt x="100" y="68"/>
                      </a:cubicBezTo>
                      <a:cubicBezTo>
                        <a:pt x="100" y="66"/>
                        <a:pt x="107" y="61"/>
                        <a:pt x="110" y="61"/>
                      </a:cubicBezTo>
                      <a:cubicBezTo>
                        <a:pt x="114" y="61"/>
                        <a:pt x="117" y="60"/>
                        <a:pt x="121" y="58"/>
                      </a:cubicBezTo>
                      <a:cubicBezTo>
                        <a:pt x="122" y="57"/>
                        <a:pt x="125" y="57"/>
                        <a:pt x="127" y="56"/>
                      </a:cubicBezTo>
                      <a:cubicBezTo>
                        <a:pt x="127" y="55"/>
                        <a:pt x="126" y="53"/>
                        <a:pt x="127" y="5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6" name="Freeform 89">
                  <a:extLst>
                    <a:ext uri="{FF2B5EF4-FFF2-40B4-BE49-F238E27FC236}">
                      <a16:creationId xmlns:a16="http://schemas.microsoft.com/office/drawing/2014/main" id="{349C7C21-90A1-49B3-BA85-F127231C0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884355" y="-11655812"/>
                  <a:ext cx="463780" cy="337294"/>
                </a:xfrm>
                <a:custGeom>
                  <a:avLst/>
                  <a:gdLst>
                    <a:gd name="T0" fmla="*/ 71 w 75"/>
                    <a:gd name="T1" fmla="*/ 27 h 55"/>
                    <a:gd name="T2" fmla="*/ 66 w 75"/>
                    <a:gd name="T3" fmla="*/ 22 h 55"/>
                    <a:gd name="T4" fmla="*/ 62 w 75"/>
                    <a:gd name="T5" fmla="*/ 17 h 55"/>
                    <a:gd name="T6" fmla="*/ 61 w 75"/>
                    <a:gd name="T7" fmla="*/ 11 h 55"/>
                    <a:gd name="T8" fmla="*/ 61 w 75"/>
                    <a:gd name="T9" fmla="*/ 6 h 55"/>
                    <a:gd name="T10" fmla="*/ 53 w 75"/>
                    <a:gd name="T11" fmla="*/ 4 h 55"/>
                    <a:gd name="T12" fmla="*/ 49 w 75"/>
                    <a:gd name="T13" fmla="*/ 4 h 55"/>
                    <a:gd name="T14" fmla="*/ 45 w 75"/>
                    <a:gd name="T15" fmla="*/ 2 h 55"/>
                    <a:gd name="T16" fmla="*/ 40 w 75"/>
                    <a:gd name="T17" fmla="*/ 1 h 55"/>
                    <a:gd name="T18" fmla="*/ 40 w 75"/>
                    <a:gd name="T19" fmla="*/ 0 h 55"/>
                    <a:gd name="T20" fmla="*/ 38 w 75"/>
                    <a:gd name="T21" fmla="*/ 1 h 55"/>
                    <a:gd name="T22" fmla="*/ 34 w 75"/>
                    <a:gd name="T23" fmla="*/ 4 h 55"/>
                    <a:gd name="T24" fmla="*/ 29 w 75"/>
                    <a:gd name="T25" fmla="*/ 5 h 55"/>
                    <a:gd name="T26" fmla="*/ 27 w 75"/>
                    <a:gd name="T27" fmla="*/ 9 h 55"/>
                    <a:gd name="T28" fmla="*/ 26 w 75"/>
                    <a:gd name="T29" fmla="*/ 12 h 55"/>
                    <a:gd name="T30" fmla="*/ 23 w 75"/>
                    <a:gd name="T31" fmla="*/ 14 h 55"/>
                    <a:gd name="T32" fmla="*/ 19 w 75"/>
                    <a:gd name="T33" fmla="*/ 18 h 55"/>
                    <a:gd name="T34" fmla="*/ 18 w 75"/>
                    <a:gd name="T35" fmla="*/ 22 h 55"/>
                    <a:gd name="T36" fmla="*/ 13 w 75"/>
                    <a:gd name="T37" fmla="*/ 23 h 55"/>
                    <a:gd name="T38" fmla="*/ 9 w 75"/>
                    <a:gd name="T39" fmla="*/ 25 h 55"/>
                    <a:gd name="T40" fmla="*/ 3 w 75"/>
                    <a:gd name="T41" fmla="*/ 25 h 55"/>
                    <a:gd name="T42" fmla="*/ 3 w 75"/>
                    <a:gd name="T43" fmla="*/ 26 h 55"/>
                    <a:gd name="T44" fmla="*/ 4 w 75"/>
                    <a:gd name="T45" fmla="*/ 32 h 55"/>
                    <a:gd name="T46" fmla="*/ 4 w 75"/>
                    <a:gd name="T47" fmla="*/ 39 h 55"/>
                    <a:gd name="T48" fmla="*/ 0 w 75"/>
                    <a:gd name="T49" fmla="*/ 43 h 55"/>
                    <a:gd name="T50" fmla="*/ 2 w 75"/>
                    <a:gd name="T51" fmla="*/ 47 h 55"/>
                    <a:gd name="T52" fmla="*/ 2 w 75"/>
                    <a:gd name="T53" fmla="*/ 51 h 55"/>
                    <a:gd name="T54" fmla="*/ 7 w 75"/>
                    <a:gd name="T55" fmla="*/ 50 h 55"/>
                    <a:gd name="T56" fmla="*/ 12 w 75"/>
                    <a:gd name="T57" fmla="*/ 47 h 55"/>
                    <a:gd name="T58" fmla="*/ 26 w 75"/>
                    <a:gd name="T59" fmla="*/ 49 h 55"/>
                    <a:gd name="T60" fmla="*/ 33 w 75"/>
                    <a:gd name="T61" fmla="*/ 50 h 55"/>
                    <a:gd name="T62" fmla="*/ 38 w 75"/>
                    <a:gd name="T63" fmla="*/ 51 h 55"/>
                    <a:gd name="T64" fmla="*/ 44 w 75"/>
                    <a:gd name="T65" fmla="*/ 51 h 55"/>
                    <a:gd name="T66" fmla="*/ 49 w 75"/>
                    <a:gd name="T67" fmla="*/ 53 h 55"/>
                    <a:gd name="T68" fmla="*/ 56 w 75"/>
                    <a:gd name="T69" fmla="*/ 53 h 55"/>
                    <a:gd name="T70" fmla="*/ 58 w 75"/>
                    <a:gd name="T71" fmla="*/ 51 h 55"/>
                    <a:gd name="T72" fmla="*/ 63 w 75"/>
                    <a:gd name="T73" fmla="*/ 45 h 55"/>
                    <a:gd name="T74" fmla="*/ 68 w 75"/>
                    <a:gd name="T75" fmla="*/ 44 h 55"/>
                    <a:gd name="T76" fmla="*/ 66 w 75"/>
                    <a:gd name="T77" fmla="*/ 41 h 55"/>
                    <a:gd name="T78" fmla="*/ 65 w 75"/>
                    <a:gd name="T79" fmla="*/ 34 h 55"/>
                    <a:gd name="T80" fmla="*/ 71 w 75"/>
                    <a:gd name="T81" fmla="*/ 34 h 55"/>
                    <a:gd name="T82" fmla="*/ 75 w 75"/>
                    <a:gd name="T83" fmla="*/ 31 h 55"/>
                    <a:gd name="T84" fmla="*/ 71 w 75"/>
                    <a:gd name="T85" fmla="*/ 27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75" h="55">
                      <a:moveTo>
                        <a:pt x="71" y="27"/>
                      </a:moveTo>
                      <a:cubicBezTo>
                        <a:pt x="69" y="26"/>
                        <a:pt x="68" y="23"/>
                        <a:pt x="66" y="22"/>
                      </a:cubicBezTo>
                      <a:cubicBezTo>
                        <a:pt x="64" y="21"/>
                        <a:pt x="64" y="18"/>
                        <a:pt x="62" y="17"/>
                      </a:cubicBezTo>
                      <a:cubicBezTo>
                        <a:pt x="60" y="16"/>
                        <a:pt x="61" y="13"/>
                        <a:pt x="61" y="11"/>
                      </a:cubicBezTo>
                      <a:cubicBezTo>
                        <a:pt x="61" y="9"/>
                        <a:pt x="62" y="6"/>
                        <a:pt x="61" y="6"/>
                      </a:cubicBezTo>
                      <a:cubicBezTo>
                        <a:pt x="60" y="5"/>
                        <a:pt x="55" y="3"/>
                        <a:pt x="53" y="4"/>
                      </a:cubicBezTo>
                      <a:cubicBezTo>
                        <a:pt x="51" y="5"/>
                        <a:pt x="50" y="5"/>
                        <a:pt x="49" y="4"/>
                      </a:cubicBezTo>
                      <a:cubicBezTo>
                        <a:pt x="48" y="2"/>
                        <a:pt x="47" y="1"/>
                        <a:pt x="45" y="2"/>
                      </a:cubicBezTo>
                      <a:cubicBezTo>
                        <a:pt x="43" y="2"/>
                        <a:pt x="42" y="1"/>
                        <a:pt x="40" y="1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9" y="0"/>
                        <a:pt x="38" y="0"/>
                        <a:pt x="38" y="1"/>
                      </a:cubicBezTo>
                      <a:cubicBezTo>
                        <a:pt x="36" y="2"/>
                        <a:pt x="36" y="4"/>
                        <a:pt x="34" y="4"/>
                      </a:cubicBezTo>
                      <a:cubicBezTo>
                        <a:pt x="33" y="4"/>
                        <a:pt x="31" y="3"/>
                        <a:pt x="29" y="5"/>
                      </a:cubicBezTo>
                      <a:cubicBezTo>
                        <a:pt x="27" y="6"/>
                        <a:pt x="27" y="8"/>
                        <a:pt x="27" y="9"/>
                      </a:cubicBezTo>
                      <a:cubicBezTo>
                        <a:pt x="27" y="10"/>
                        <a:pt x="27" y="12"/>
                        <a:pt x="26" y="12"/>
                      </a:cubicBezTo>
                      <a:cubicBezTo>
                        <a:pt x="24" y="12"/>
                        <a:pt x="25" y="14"/>
                        <a:pt x="23" y="14"/>
                      </a:cubicBezTo>
                      <a:cubicBezTo>
                        <a:pt x="22" y="15"/>
                        <a:pt x="19" y="17"/>
                        <a:pt x="19" y="18"/>
                      </a:cubicBezTo>
                      <a:cubicBezTo>
                        <a:pt x="19" y="19"/>
                        <a:pt x="19" y="22"/>
                        <a:pt x="18" y="22"/>
                      </a:cubicBezTo>
                      <a:cubicBezTo>
                        <a:pt x="17" y="22"/>
                        <a:pt x="14" y="22"/>
                        <a:pt x="13" y="23"/>
                      </a:cubicBezTo>
                      <a:cubicBezTo>
                        <a:pt x="12" y="25"/>
                        <a:pt x="11" y="26"/>
                        <a:pt x="9" y="25"/>
                      </a:cubicBezTo>
                      <a:cubicBezTo>
                        <a:pt x="8" y="25"/>
                        <a:pt x="5" y="25"/>
                        <a:pt x="3" y="25"/>
                      </a:cubicBezTo>
                      <a:cubicBezTo>
                        <a:pt x="3" y="25"/>
                        <a:pt x="3" y="25"/>
                        <a:pt x="3" y="26"/>
                      </a:cubicBezTo>
                      <a:cubicBezTo>
                        <a:pt x="2" y="28"/>
                        <a:pt x="3" y="30"/>
                        <a:pt x="4" y="32"/>
                      </a:cubicBezTo>
                      <a:cubicBezTo>
                        <a:pt x="5" y="33"/>
                        <a:pt x="6" y="38"/>
                        <a:pt x="4" y="39"/>
                      </a:cubicBezTo>
                      <a:cubicBezTo>
                        <a:pt x="3" y="39"/>
                        <a:pt x="0" y="41"/>
                        <a:pt x="0" y="43"/>
                      </a:cubicBezTo>
                      <a:cubicBezTo>
                        <a:pt x="0" y="44"/>
                        <a:pt x="3" y="45"/>
                        <a:pt x="2" y="47"/>
                      </a:cubicBezTo>
                      <a:cubicBezTo>
                        <a:pt x="2" y="48"/>
                        <a:pt x="2" y="50"/>
                        <a:pt x="2" y="51"/>
                      </a:cubicBezTo>
                      <a:cubicBezTo>
                        <a:pt x="4" y="51"/>
                        <a:pt x="5" y="52"/>
                        <a:pt x="7" y="50"/>
                      </a:cubicBezTo>
                      <a:cubicBezTo>
                        <a:pt x="8" y="49"/>
                        <a:pt x="9" y="47"/>
                        <a:pt x="12" y="47"/>
                      </a:cubicBezTo>
                      <a:cubicBezTo>
                        <a:pt x="15" y="47"/>
                        <a:pt x="24" y="47"/>
                        <a:pt x="26" y="49"/>
                      </a:cubicBezTo>
                      <a:cubicBezTo>
                        <a:pt x="27" y="50"/>
                        <a:pt x="31" y="49"/>
                        <a:pt x="33" y="50"/>
                      </a:cubicBezTo>
                      <a:cubicBezTo>
                        <a:pt x="35" y="51"/>
                        <a:pt x="38" y="52"/>
                        <a:pt x="38" y="51"/>
                      </a:cubicBezTo>
                      <a:cubicBezTo>
                        <a:pt x="39" y="50"/>
                        <a:pt x="42" y="52"/>
                        <a:pt x="44" y="51"/>
                      </a:cubicBezTo>
                      <a:cubicBezTo>
                        <a:pt x="46" y="50"/>
                        <a:pt x="48" y="54"/>
                        <a:pt x="49" y="53"/>
                      </a:cubicBezTo>
                      <a:cubicBezTo>
                        <a:pt x="50" y="52"/>
                        <a:pt x="55" y="52"/>
                        <a:pt x="56" y="53"/>
                      </a:cubicBezTo>
                      <a:cubicBezTo>
                        <a:pt x="58" y="55"/>
                        <a:pt x="58" y="52"/>
                        <a:pt x="58" y="51"/>
                      </a:cubicBezTo>
                      <a:cubicBezTo>
                        <a:pt x="58" y="49"/>
                        <a:pt x="63" y="45"/>
                        <a:pt x="63" y="45"/>
                      </a:cubicBezTo>
                      <a:cubicBezTo>
                        <a:pt x="63" y="45"/>
                        <a:pt x="66" y="45"/>
                        <a:pt x="68" y="44"/>
                      </a:cubicBezTo>
                      <a:cubicBezTo>
                        <a:pt x="67" y="44"/>
                        <a:pt x="67" y="43"/>
                        <a:pt x="66" y="41"/>
                      </a:cubicBezTo>
                      <a:cubicBezTo>
                        <a:pt x="66" y="37"/>
                        <a:pt x="64" y="35"/>
                        <a:pt x="65" y="34"/>
                      </a:cubicBezTo>
                      <a:cubicBezTo>
                        <a:pt x="66" y="32"/>
                        <a:pt x="69" y="35"/>
                        <a:pt x="71" y="34"/>
                      </a:cubicBezTo>
                      <a:cubicBezTo>
                        <a:pt x="73" y="34"/>
                        <a:pt x="75" y="32"/>
                        <a:pt x="75" y="31"/>
                      </a:cubicBezTo>
                      <a:cubicBezTo>
                        <a:pt x="75" y="29"/>
                        <a:pt x="72" y="27"/>
                        <a:pt x="71" y="2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7" name="Freeform 90">
                  <a:extLst>
                    <a:ext uri="{FF2B5EF4-FFF2-40B4-BE49-F238E27FC236}">
                      <a16:creationId xmlns:a16="http://schemas.microsoft.com/office/drawing/2014/main" id="{03D5AA00-C19F-4675-85B4-4ADD656A8F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001111" y="-11792027"/>
                  <a:ext cx="363240" cy="171891"/>
                </a:xfrm>
                <a:custGeom>
                  <a:avLst/>
                  <a:gdLst>
                    <a:gd name="T0" fmla="*/ 20 w 59"/>
                    <a:gd name="T1" fmla="*/ 20 h 28"/>
                    <a:gd name="T2" fmla="*/ 30 w 59"/>
                    <a:gd name="T3" fmla="*/ 20 h 28"/>
                    <a:gd name="T4" fmla="*/ 35 w 59"/>
                    <a:gd name="T5" fmla="*/ 22 h 28"/>
                    <a:gd name="T6" fmla="*/ 42 w 59"/>
                    <a:gd name="T7" fmla="*/ 26 h 28"/>
                    <a:gd name="T8" fmla="*/ 46 w 59"/>
                    <a:gd name="T9" fmla="*/ 28 h 28"/>
                    <a:gd name="T10" fmla="*/ 48 w 59"/>
                    <a:gd name="T11" fmla="*/ 27 h 28"/>
                    <a:gd name="T12" fmla="*/ 53 w 59"/>
                    <a:gd name="T13" fmla="*/ 26 h 28"/>
                    <a:gd name="T14" fmla="*/ 57 w 59"/>
                    <a:gd name="T15" fmla="*/ 23 h 28"/>
                    <a:gd name="T16" fmla="*/ 59 w 59"/>
                    <a:gd name="T17" fmla="*/ 22 h 28"/>
                    <a:gd name="T18" fmla="*/ 57 w 59"/>
                    <a:gd name="T19" fmla="*/ 17 h 28"/>
                    <a:gd name="T20" fmla="*/ 55 w 59"/>
                    <a:gd name="T21" fmla="*/ 12 h 28"/>
                    <a:gd name="T22" fmla="*/ 54 w 59"/>
                    <a:gd name="T23" fmla="*/ 8 h 28"/>
                    <a:gd name="T24" fmla="*/ 53 w 59"/>
                    <a:gd name="T25" fmla="*/ 6 h 28"/>
                    <a:gd name="T26" fmla="*/ 45 w 59"/>
                    <a:gd name="T27" fmla="*/ 5 h 28"/>
                    <a:gd name="T28" fmla="*/ 37 w 59"/>
                    <a:gd name="T29" fmla="*/ 1 h 28"/>
                    <a:gd name="T30" fmla="*/ 28 w 59"/>
                    <a:gd name="T31" fmla="*/ 1 h 28"/>
                    <a:gd name="T32" fmla="*/ 27 w 59"/>
                    <a:gd name="T33" fmla="*/ 9 h 28"/>
                    <a:gd name="T34" fmla="*/ 21 w 59"/>
                    <a:gd name="T35" fmla="*/ 12 h 28"/>
                    <a:gd name="T36" fmla="*/ 14 w 59"/>
                    <a:gd name="T37" fmla="*/ 3 h 28"/>
                    <a:gd name="T38" fmla="*/ 6 w 59"/>
                    <a:gd name="T39" fmla="*/ 7 h 28"/>
                    <a:gd name="T40" fmla="*/ 3 w 59"/>
                    <a:gd name="T41" fmla="*/ 13 h 28"/>
                    <a:gd name="T42" fmla="*/ 2 w 59"/>
                    <a:gd name="T43" fmla="*/ 21 h 28"/>
                    <a:gd name="T44" fmla="*/ 2 w 59"/>
                    <a:gd name="T45" fmla="*/ 22 h 28"/>
                    <a:gd name="T46" fmla="*/ 8 w 59"/>
                    <a:gd name="T47" fmla="*/ 20 h 28"/>
                    <a:gd name="T48" fmla="*/ 20 w 59"/>
                    <a:gd name="T49" fmla="*/ 2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9" h="28">
                      <a:moveTo>
                        <a:pt x="20" y="20"/>
                      </a:moveTo>
                      <a:cubicBezTo>
                        <a:pt x="22" y="20"/>
                        <a:pt x="27" y="21"/>
                        <a:pt x="30" y="20"/>
                      </a:cubicBezTo>
                      <a:cubicBezTo>
                        <a:pt x="33" y="19"/>
                        <a:pt x="33" y="22"/>
                        <a:pt x="35" y="22"/>
                      </a:cubicBezTo>
                      <a:cubicBezTo>
                        <a:pt x="37" y="21"/>
                        <a:pt x="40" y="24"/>
                        <a:pt x="42" y="26"/>
                      </a:cubicBezTo>
                      <a:cubicBezTo>
                        <a:pt x="44" y="27"/>
                        <a:pt x="45" y="27"/>
                        <a:pt x="46" y="28"/>
                      </a:cubicBezTo>
                      <a:cubicBezTo>
                        <a:pt x="47" y="28"/>
                        <a:pt x="47" y="27"/>
                        <a:pt x="48" y="27"/>
                      </a:cubicBezTo>
                      <a:cubicBezTo>
                        <a:pt x="50" y="25"/>
                        <a:pt x="52" y="26"/>
                        <a:pt x="53" y="26"/>
                      </a:cubicBezTo>
                      <a:cubicBezTo>
                        <a:pt x="55" y="26"/>
                        <a:pt x="55" y="24"/>
                        <a:pt x="57" y="23"/>
                      </a:cubicBezTo>
                      <a:cubicBezTo>
                        <a:pt x="57" y="22"/>
                        <a:pt x="58" y="22"/>
                        <a:pt x="59" y="22"/>
                      </a:cubicBezTo>
                      <a:cubicBezTo>
                        <a:pt x="58" y="21"/>
                        <a:pt x="58" y="18"/>
                        <a:pt x="57" y="17"/>
                      </a:cubicBezTo>
                      <a:cubicBezTo>
                        <a:pt x="56" y="16"/>
                        <a:pt x="54" y="14"/>
                        <a:pt x="55" y="12"/>
                      </a:cubicBezTo>
                      <a:cubicBezTo>
                        <a:pt x="55" y="11"/>
                        <a:pt x="55" y="9"/>
                        <a:pt x="54" y="8"/>
                      </a:cubicBezTo>
                      <a:cubicBezTo>
                        <a:pt x="53" y="7"/>
                        <a:pt x="53" y="7"/>
                        <a:pt x="53" y="6"/>
                      </a:cubicBezTo>
                      <a:cubicBezTo>
                        <a:pt x="50" y="6"/>
                        <a:pt x="46" y="5"/>
                        <a:pt x="45" y="5"/>
                      </a:cubicBezTo>
                      <a:cubicBezTo>
                        <a:pt x="43" y="6"/>
                        <a:pt x="38" y="1"/>
                        <a:pt x="37" y="1"/>
                      </a:cubicBezTo>
                      <a:cubicBezTo>
                        <a:pt x="36" y="0"/>
                        <a:pt x="32" y="0"/>
                        <a:pt x="28" y="1"/>
                      </a:cubicBezTo>
                      <a:cubicBezTo>
                        <a:pt x="26" y="3"/>
                        <a:pt x="28" y="5"/>
                        <a:pt x="27" y="9"/>
                      </a:cubicBezTo>
                      <a:cubicBezTo>
                        <a:pt x="27" y="13"/>
                        <a:pt x="23" y="12"/>
                        <a:pt x="21" y="12"/>
                      </a:cubicBezTo>
                      <a:cubicBezTo>
                        <a:pt x="19" y="12"/>
                        <a:pt x="15" y="5"/>
                        <a:pt x="14" y="3"/>
                      </a:cubicBezTo>
                      <a:cubicBezTo>
                        <a:pt x="13" y="2"/>
                        <a:pt x="9" y="5"/>
                        <a:pt x="6" y="7"/>
                      </a:cubicBezTo>
                      <a:cubicBezTo>
                        <a:pt x="3" y="9"/>
                        <a:pt x="5" y="12"/>
                        <a:pt x="3" y="13"/>
                      </a:cubicBezTo>
                      <a:cubicBezTo>
                        <a:pt x="1" y="15"/>
                        <a:pt x="0" y="18"/>
                        <a:pt x="2" y="21"/>
                      </a:cubicBezTo>
                      <a:cubicBezTo>
                        <a:pt x="2" y="21"/>
                        <a:pt x="2" y="21"/>
                        <a:pt x="2" y="22"/>
                      </a:cubicBezTo>
                      <a:cubicBezTo>
                        <a:pt x="4" y="21"/>
                        <a:pt x="7" y="21"/>
                        <a:pt x="8" y="20"/>
                      </a:cubicBezTo>
                      <a:cubicBezTo>
                        <a:pt x="11" y="18"/>
                        <a:pt x="18" y="20"/>
                        <a:pt x="20" y="2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8" name="Freeform 91">
                  <a:extLst>
                    <a:ext uri="{FF2B5EF4-FFF2-40B4-BE49-F238E27FC236}">
                      <a16:creationId xmlns:a16="http://schemas.microsoft.com/office/drawing/2014/main" id="{434C4BBE-25C0-4E1E-B34F-8D4945395E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001111" y="-11681758"/>
                  <a:ext cx="282160" cy="184864"/>
                </a:xfrm>
                <a:custGeom>
                  <a:avLst/>
                  <a:gdLst>
                    <a:gd name="T0" fmla="*/ 6 w 46"/>
                    <a:gd name="T1" fmla="*/ 15 h 30"/>
                    <a:gd name="T2" fmla="*/ 11 w 46"/>
                    <a:gd name="T3" fmla="*/ 17 h 30"/>
                    <a:gd name="T4" fmla="*/ 16 w 46"/>
                    <a:gd name="T5" fmla="*/ 19 h 30"/>
                    <a:gd name="T6" fmla="*/ 16 w 46"/>
                    <a:gd name="T7" fmla="*/ 25 h 30"/>
                    <a:gd name="T8" fmla="*/ 22 w 46"/>
                    <a:gd name="T9" fmla="*/ 29 h 30"/>
                    <a:gd name="T10" fmla="*/ 28 w 46"/>
                    <a:gd name="T11" fmla="*/ 29 h 30"/>
                    <a:gd name="T12" fmla="*/ 32 w 46"/>
                    <a:gd name="T13" fmla="*/ 27 h 30"/>
                    <a:gd name="T14" fmla="*/ 37 w 46"/>
                    <a:gd name="T15" fmla="*/ 26 h 30"/>
                    <a:gd name="T16" fmla="*/ 38 w 46"/>
                    <a:gd name="T17" fmla="*/ 22 h 30"/>
                    <a:gd name="T18" fmla="*/ 42 w 46"/>
                    <a:gd name="T19" fmla="*/ 18 h 30"/>
                    <a:gd name="T20" fmla="*/ 45 w 46"/>
                    <a:gd name="T21" fmla="*/ 16 h 30"/>
                    <a:gd name="T22" fmla="*/ 46 w 46"/>
                    <a:gd name="T23" fmla="*/ 13 h 30"/>
                    <a:gd name="T24" fmla="*/ 46 w 46"/>
                    <a:gd name="T25" fmla="*/ 10 h 30"/>
                    <a:gd name="T26" fmla="*/ 42 w 46"/>
                    <a:gd name="T27" fmla="*/ 8 h 30"/>
                    <a:gd name="T28" fmla="*/ 35 w 46"/>
                    <a:gd name="T29" fmla="*/ 4 h 30"/>
                    <a:gd name="T30" fmla="*/ 30 w 46"/>
                    <a:gd name="T31" fmla="*/ 2 h 30"/>
                    <a:gd name="T32" fmla="*/ 20 w 46"/>
                    <a:gd name="T33" fmla="*/ 2 h 30"/>
                    <a:gd name="T34" fmla="*/ 8 w 46"/>
                    <a:gd name="T35" fmla="*/ 2 h 30"/>
                    <a:gd name="T36" fmla="*/ 2 w 46"/>
                    <a:gd name="T37" fmla="*/ 4 h 30"/>
                    <a:gd name="T38" fmla="*/ 1 w 46"/>
                    <a:gd name="T39" fmla="*/ 12 h 30"/>
                    <a:gd name="T40" fmla="*/ 1 w 46"/>
                    <a:gd name="T41" fmla="*/ 14 h 30"/>
                    <a:gd name="T42" fmla="*/ 6 w 46"/>
                    <a:gd name="T43" fmla="*/ 15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6" h="30">
                      <a:moveTo>
                        <a:pt x="6" y="15"/>
                      </a:moveTo>
                      <a:cubicBezTo>
                        <a:pt x="7" y="16"/>
                        <a:pt x="10" y="17"/>
                        <a:pt x="11" y="17"/>
                      </a:cubicBezTo>
                      <a:cubicBezTo>
                        <a:pt x="12" y="16"/>
                        <a:pt x="16" y="18"/>
                        <a:pt x="16" y="19"/>
                      </a:cubicBezTo>
                      <a:cubicBezTo>
                        <a:pt x="16" y="21"/>
                        <a:pt x="15" y="25"/>
                        <a:pt x="16" y="25"/>
                      </a:cubicBezTo>
                      <a:cubicBezTo>
                        <a:pt x="16" y="25"/>
                        <a:pt x="22" y="27"/>
                        <a:pt x="22" y="29"/>
                      </a:cubicBezTo>
                      <a:cubicBezTo>
                        <a:pt x="24" y="29"/>
                        <a:pt x="27" y="29"/>
                        <a:pt x="28" y="29"/>
                      </a:cubicBezTo>
                      <a:cubicBezTo>
                        <a:pt x="30" y="30"/>
                        <a:pt x="31" y="29"/>
                        <a:pt x="32" y="27"/>
                      </a:cubicBezTo>
                      <a:cubicBezTo>
                        <a:pt x="33" y="26"/>
                        <a:pt x="36" y="26"/>
                        <a:pt x="37" y="26"/>
                      </a:cubicBezTo>
                      <a:cubicBezTo>
                        <a:pt x="38" y="26"/>
                        <a:pt x="38" y="23"/>
                        <a:pt x="38" y="22"/>
                      </a:cubicBezTo>
                      <a:cubicBezTo>
                        <a:pt x="38" y="21"/>
                        <a:pt x="41" y="19"/>
                        <a:pt x="42" y="18"/>
                      </a:cubicBezTo>
                      <a:cubicBezTo>
                        <a:pt x="44" y="18"/>
                        <a:pt x="43" y="16"/>
                        <a:pt x="45" y="16"/>
                      </a:cubicBezTo>
                      <a:cubicBezTo>
                        <a:pt x="46" y="16"/>
                        <a:pt x="46" y="14"/>
                        <a:pt x="46" y="13"/>
                      </a:cubicBezTo>
                      <a:cubicBezTo>
                        <a:pt x="46" y="12"/>
                        <a:pt x="46" y="11"/>
                        <a:pt x="46" y="10"/>
                      </a:cubicBezTo>
                      <a:cubicBezTo>
                        <a:pt x="45" y="9"/>
                        <a:pt x="44" y="9"/>
                        <a:pt x="42" y="8"/>
                      </a:cubicBezTo>
                      <a:cubicBezTo>
                        <a:pt x="40" y="6"/>
                        <a:pt x="37" y="3"/>
                        <a:pt x="35" y="4"/>
                      </a:cubicBezTo>
                      <a:cubicBezTo>
                        <a:pt x="33" y="4"/>
                        <a:pt x="33" y="1"/>
                        <a:pt x="30" y="2"/>
                      </a:cubicBezTo>
                      <a:cubicBezTo>
                        <a:pt x="27" y="3"/>
                        <a:pt x="22" y="2"/>
                        <a:pt x="20" y="2"/>
                      </a:cubicBezTo>
                      <a:cubicBezTo>
                        <a:pt x="18" y="2"/>
                        <a:pt x="11" y="0"/>
                        <a:pt x="8" y="2"/>
                      </a:cubicBezTo>
                      <a:cubicBezTo>
                        <a:pt x="7" y="3"/>
                        <a:pt x="4" y="3"/>
                        <a:pt x="2" y="4"/>
                      </a:cubicBezTo>
                      <a:cubicBezTo>
                        <a:pt x="3" y="7"/>
                        <a:pt x="3" y="10"/>
                        <a:pt x="1" y="12"/>
                      </a:cubicBezTo>
                      <a:cubicBezTo>
                        <a:pt x="0" y="14"/>
                        <a:pt x="0" y="14"/>
                        <a:pt x="1" y="14"/>
                      </a:cubicBezTo>
                      <a:cubicBezTo>
                        <a:pt x="3" y="14"/>
                        <a:pt x="6" y="14"/>
                        <a:pt x="6" y="1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9" name="Freeform 92">
                  <a:extLst>
                    <a:ext uri="{FF2B5EF4-FFF2-40B4-BE49-F238E27FC236}">
                      <a16:creationId xmlns:a16="http://schemas.microsoft.com/office/drawing/2014/main" id="{2D5CA6CB-DF9A-422F-B435-52BD9C8B56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711373" y="-11081765"/>
                  <a:ext cx="220538" cy="123242"/>
                </a:xfrm>
                <a:custGeom>
                  <a:avLst/>
                  <a:gdLst>
                    <a:gd name="T0" fmla="*/ 32 w 36"/>
                    <a:gd name="T1" fmla="*/ 8 h 20"/>
                    <a:gd name="T2" fmla="*/ 28 w 36"/>
                    <a:gd name="T3" fmla="*/ 6 h 20"/>
                    <a:gd name="T4" fmla="*/ 28 w 36"/>
                    <a:gd name="T5" fmla="*/ 2 h 20"/>
                    <a:gd name="T6" fmla="*/ 23 w 36"/>
                    <a:gd name="T7" fmla="*/ 0 h 20"/>
                    <a:gd name="T8" fmla="*/ 18 w 36"/>
                    <a:gd name="T9" fmla="*/ 0 h 20"/>
                    <a:gd name="T10" fmla="*/ 11 w 36"/>
                    <a:gd name="T11" fmla="*/ 1 h 20"/>
                    <a:gd name="T12" fmla="*/ 10 w 36"/>
                    <a:gd name="T13" fmla="*/ 2 h 20"/>
                    <a:gd name="T14" fmla="*/ 6 w 36"/>
                    <a:gd name="T15" fmla="*/ 5 h 20"/>
                    <a:gd name="T16" fmla="*/ 1 w 36"/>
                    <a:gd name="T17" fmla="*/ 12 h 20"/>
                    <a:gd name="T18" fmla="*/ 2 w 36"/>
                    <a:gd name="T19" fmla="*/ 14 h 20"/>
                    <a:gd name="T20" fmla="*/ 5 w 36"/>
                    <a:gd name="T21" fmla="*/ 15 h 20"/>
                    <a:gd name="T22" fmla="*/ 7 w 36"/>
                    <a:gd name="T23" fmla="*/ 19 h 20"/>
                    <a:gd name="T24" fmla="*/ 7 w 36"/>
                    <a:gd name="T25" fmla="*/ 19 h 20"/>
                    <a:gd name="T26" fmla="*/ 14 w 36"/>
                    <a:gd name="T27" fmla="*/ 18 h 20"/>
                    <a:gd name="T28" fmla="*/ 18 w 36"/>
                    <a:gd name="T29" fmla="*/ 13 h 20"/>
                    <a:gd name="T30" fmla="*/ 22 w 36"/>
                    <a:gd name="T31" fmla="*/ 18 h 20"/>
                    <a:gd name="T32" fmla="*/ 24 w 36"/>
                    <a:gd name="T33" fmla="*/ 15 h 20"/>
                    <a:gd name="T34" fmla="*/ 27 w 36"/>
                    <a:gd name="T35" fmla="*/ 14 h 20"/>
                    <a:gd name="T36" fmla="*/ 31 w 36"/>
                    <a:gd name="T37" fmla="*/ 13 h 20"/>
                    <a:gd name="T38" fmla="*/ 33 w 36"/>
                    <a:gd name="T39" fmla="*/ 12 h 20"/>
                    <a:gd name="T40" fmla="*/ 35 w 36"/>
                    <a:gd name="T41" fmla="*/ 10 h 20"/>
                    <a:gd name="T42" fmla="*/ 36 w 36"/>
                    <a:gd name="T43" fmla="*/ 8 h 20"/>
                    <a:gd name="T44" fmla="*/ 32 w 36"/>
                    <a:gd name="T45" fmla="*/ 8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6" h="20">
                      <a:moveTo>
                        <a:pt x="32" y="8"/>
                      </a:moveTo>
                      <a:cubicBezTo>
                        <a:pt x="31" y="9"/>
                        <a:pt x="28" y="6"/>
                        <a:pt x="28" y="6"/>
                      </a:cubicBezTo>
                      <a:cubicBezTo>
                        <a:pt x="28" y="5"/>
                        <a:pt x="28" y="3"/>
                        <a:pt x="28" y="2"/>
                      </a:cubicBezTo>
                      <a:cubicBezTo>
                        <a:pt x="27" y="2"/>
                        <a:pt x="25" y="1"/>
                        <a:pt x="23" y="0"/>
                      </a:cubicBezTo>
                      <a:cubicBezTo>
                        <a:pt x="21" y="0"/>
                        <a:pt x="20" y="0"/>
                        <a:pt x="18" y="0"/>
                      </a:cubicBezTo>
                      <a:cubicBezTo>
                        <a:pt x="17" y="1"/>
                        <a:pt x="13" y="1"/>
                        <a:pt x="11" y="1"/>
                      </a:cubicBezTo>
                      <a:cubicBezTo>
                        <a:pt x="11" y="1"/>
                        <a:pt x="11" y="2"/>
                        <a:pt x="10" y="2"/>
                      </a:cubicBezTo>
                      <a:cubicBezTo>
                        <a:pt x="8" y="2"/>
                        <a:pt x="6" y="4"/>
                        <a:pt x="6" y="5"/>
                      </a:cubicBezTo>
                      <a:cubicBezTo>
                        <a:pt x="6" y="7"/>
                        <a:pt x="2" y="9"/>
                        <a:pt x="1" y="12"/>
                      </a:cubicBezTo>
                      <a:cubicBezTo>
                        <a:pt x="0" y="15"/>
                        <a:pt x="0" y="16"/>
                        <a:pt x="2" y="14"/>
                      </a:cubicBezTo>
                      <a:cubicBezTo>
                        <a:pt x="3" y="12"/>
                        <a:pt x="5" y="13"/>
                        <a:pt x="5" y="15"/>
                      </a:cubicBezTo>
                      <a:cubicBezTo>
                        <a:pt x="5" y="16"/>
                        <a:pt x="8" y="17"/>
                        <a:pt x="7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9" y="19"/>
                        <a:pt x="13" y="18"/>
                        <a:pt x="14" y="18"/>
                      </a:cubicBezTo>
                      <a:cubicBezTo>
                        <a:pt x="15" y="18"/>
                        <a:pt x="17" y="13"/>
                        <a:pt x="18" y="13"/>
                      </a:cubicBezTo>
                      <a:cubicBezTo>
                        <a:pt x="18" y="12"/>
                        <a:pt x="20" y="16"/>
                        <a:pt x="22" y="18"/>
                      </a:cubicBezTo>
                      <a:cubicBezTo>
                        <a:pt x="24" y="20"/>
                        <a:pt x="24" y="17"/>
                        <a:pt x="24" y="15"/>
                      </a:cubicBezTo>
                      <a:cubicBezTo>
                        <a:pt x="24" y="14"/>
                        <a:pt x="26" y="13"/>
                        <a:pt x="27" y="14"/>
                      </a:cubicBezTo>
                      <a:cubicBezTo>
                        <a:pt x="28" y="14"/>
                        <a:pt x="31" y="14"/>
                        <a:pt x="31" y="13"/>
                      </a:cubicBezTo>
                      <a:cubicBezTo>
                        <a:pt x="31" y="11"/>
                        <a:pt x="32" y="12"/>
                        <a:pt x="33" y="12"/>
                      </a:cubicBezTo>
                      <a:cubicBezTo>
                        <a:pt x="34" y="12"/>
                        <a:pt x="35" y="10"/>
                        <a:pt x="35" y="10"/>
                      </a:cubicBezTo>
                      <a:cubicBezTo>
                        <a:pt x="36" y="8"/>
                        <a:pt x="36" y="8"/>
                        <a:pt x="36" y="8"/>
                      </a:cubicBezTo>
                      <a:cubicBezTo>
                        <a:pt x="35" y="8"/>
                        <a:pt x="33" y="7"/>
                        <a:pt x="32" y="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0" name="Freeform 93">
                  <a:extLst>
                    <a:ext uri="{FF2B5EF4-FFF2-40B4-BE49-F238E27FC236}">
                      <a16:creationId xmlns:a16="http://schemas.microsoft.com/office/drawing/2014/main" id="{C865414E-C320-4579-B501-EB21521744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717859" y="-11558516"/>
                  <a:ext cx="444321" cy="499454"/>
                </a:xfrm>
                <a:custGeom>
                  <a:avLst/>
                  <a:gdLst>
                    <a:gd name="T0" fmla="*/ 9 w 72"/>
                    <a:gd name="T1" fmla="*/ 21 h 81"/>
                    <a:gd name="T2" fmla="*/ 5 w 72"/>
                    <a:gd name="T3" fmla="*/ 25 h 81"/>
                    <a:gd name="T4" fmla="*/ 8 w 72"/>
                    <a:gd name="T5" fmla="*/ 29 h 81"/>
                    <a:gd name="T6" fmla="*/ 6 w 72"/>
                    <a:gd name="T7" fmla="*/ 32 h 81"/>
                    <a:gd name="T8" fmla="*/ 2 w 72"/>
                    <a:gd name="T9" fmla="*/ 34 h 81"/>
                    <a:gd name="T10" fmla="*/ 1 w 72"/>
                    <a:gd name="T11" fmla="*/ 38 h 81"/>
                    <a:gd name="T12" fmla="*/ 0 w 72"/>
                    <a:gd name="T13" fmla="*/ 44 h 81"/>
                    <a:gd name="T14" fmla="*/ 2 w 72"/>
                    <a:gd name="T15" fmla="*/ 49 h 81"/>
                    <a:gd name="T16" fmla="*/ 1 w 72"/>
                    <a:gd name="T17" fmla="*/ 52 h 81"/>
                    <a:gd name="T18" fmla="*/ 3 w 72"/>
                    <a:gd name="T19" fmla="*/ 59 h 81"/>
                    <a:gd name="T20" fmla="*/ 5 w 72"/>
                    <a:gd name="T21" fmla="*/ 60 h 81"/>
                    <a:gd name="T22" fmla="*/ 10 w 72"/>
                    <a:gd name="T23" fmla="*/ 62 h 81"/>
                    <a:gd name="T24" fmla="*/ 14 w 72"/>
                    <a:gd name="T25" fmla="*/ 64 h 81"/>
                    <a:gd name="T26" fmla="*/ 16 w 72"/>
                    <a:gd name="T27" fmla="*/ 66 h 81"/>
                    <a:gd name="T28" fmla="*/ 13 w 72"/>
                    <a:gd name="T29" fmla="*/ 73 h 81"/>
                    <a:gd name="T30" fmla="*/ 12 w 72"/>
                    <a:gd name="T31" fmla="*/ 78 h 81"/>
                    <a:gd name="T32" fmla="*/ 19 w 72"/>
                    <a:gd name="T33" fmla="*/ 77 h 81"/>
                    <a:gd name="T34" fmla="*/ 24 w 72"/>
                    <a:gd name="T35" fmla="*/ 77 h 81"/>
                    <a:gd name="T36" fmla="*/ 29 w 72"/>
                    <a:gd name="T37" fmla="*/ 79 h 81"/>
                    <a:gd name="T38" fmla="*/ 30 w 72"/>
                    <a:gd name="T39" fmla="*/ 78 h 81"/>
                    <a:gd name="T40" fmla="*/ 35 w 72"/>
                    <a:gd name="T41" fmla="*/ 80 h 81"/>
                    <a:gd name="T42" fmla="*/ 39 w 72"/>
                    <a:gd name="T43" fmla="*/ 79 h 81"/>
                    <a:gd name="T44" fmla="*/ 44 w 72"/>
                    <a:gd name="T45" fmla="*/ 79 h 81"/>
                    <a:gd name="T46" fmla="*/ 52 w 72"/>
                    <a:gd name="T47" fmla="*/ 77 h 81"/>
                    <a:gd name="T48" fmla="*/ 55 w 72"/>
                    <a:gd name="T49" fmla="*/ 75 h 81"/>
                    <a:gd name="T50" fmla="*/ 59 w 72"/>
                    <a:gd name="T51" fmla="*/ 70 h 81"/>
                    <a:gd name="T52" fmla="*/ 63 w 72"/>
                    <a:gd name="T53" fmla="*/ 66 h 81"/>
                    <a:gd name="T54" fmla="*/ 55 w 72"/>
                    <a:gd name="T55" fmla="*/ 60 h 81"/>
                    <a:gd name="T56" fmla="*/ 52 w 72"/>
                    <a:gd name="T57" fmla="*/ 53 h 81"/>
                    <a:gd name="T58" fmla="*/ 51 w 72"/>
                    <a:gd name="T59" fmla="*/ 49 h 81"/>
                    <a:gd name="T60" fmla="*/ 60 w 72"/>
                    <a:gd name="T61" fmla="*/ 46 h 81"/>
                    <a:gd name="T62" fmla="*/ 66 w 72"/>
                    <a:gd name="T63" fmla="*/ 43 h 81"/>
                    <a:gd name="T64" fmla="*/ 71 w 72"/>
                    <a:gd name="T65" fmla="*/ 42 h 81"/>
                    <a:gd name="T66" fmla="*/ 71 w 72"/>
                    <a:gd name="T67" fmla="*/ 38 h 81"/>
                    <a:gd name="T68" fmla="*/ 69 w 72"/>
                    <a:gd name="T69" fmla="*/ 31 h 81"/>
                    <a:gd name="T70" fmla="*/ 68 w 72"/>
                    <a:gd name="T71" fmla="*/ 27 h 81"/>
                    <a:gd name="T72" fmla="*/ 66 w 72"/>
                    <a:gd name="T73" fmla="*/ 23 h 81"/>
                    <a:gd name="T74" fmla="*/ 66 w 72"/>
                    <a:gd name="T75" fmla="*/ 20 h 81"/>
                    <a:gd name="T76" fmla="*/ 66 w 72"/>
                    <a:gd name="T77" fmla="*/ 12 h 81"/>
                    <a:gd name="T78" fmla="*/ 66 w 72"/>
                    <a:gd name="T79" fmla="*/ 11 h 81"/>
                    <a:gd name="T80" fmla="*/ 65 w 72"/>
                    <a:gd name="T81" fmla="*/ 10 h 81"/>
                    <a:gd name="T82" fmla="*/ 60 w 72"/>
                    <a:gd name="T83" fmla="*/ 7 h 81"/>
                    <a:gd name="T84" fmla="*/ 61 w 72"/>
                    <a:gd name="T85" fmla="*/ 2 h 81"/>
                    <a:gd name="T86" fmla="*/ 54 w 72"/>
                    <a:gd name="T87" fmla="*/ 4 h 81"/>
                    <a:gd name="T88" fmla="*/ 45 w 72"/>
                    <a:gd name="T89" fmla="*/ 10 h 81"/>
                    <a:gd name="T90" fmla="*/ 41 w 72"/>
                    <a:gd name="T91" fmla="*/ 7 h 81"/>
                    <a:gd name="T92" fmla="*/ 38 w 72"/>
                    <a:gd name="T93" fmla="*/ 5 h 81"/>
                    <a:gd name="T94" fmla="*/ 32 w 72"/>
                    <a:gd name="T95" fmla="*/ 2 h 81"/>
                    <a:gd name="T96" fmla="*/ 31 w 72"/>
                    <a:gd name="T97" fmla="*/ 0 h 81"/>
                    <a:gd name="T98" fmla="*/ 28 w 72"/>
                    <a:gd name="T99" fmla="*/ 0 h 81"/>
                    <a:gd name="T100" fmla="*/ 21 w 72"/>
                    <a:gd name="T101" fmla="*/ 0 h 81"/>
                    <a:gd name="T102" fmla="*/ 22 w 72"/>
                    <a:gd name="T103" fmla="*/ 4 h 81"/>
                    <a:gd name="T104" fmla="*/ 25 w 72"/>
                    <a:gd name="T105" fmla="*/ 10 h 81"/>
                    <a:gd name="T106" fmla="*/ 21 w 72"/>
                    <a:gd name="T107" fmla="*/ 14 h 81"/>
                    <a:gd name="T108" fmla="*/ 15 w 72"/>
                    <a:gd name="T109" fmla="*/ 13 h 81"/>
                    <a:gd name="T110" fmla="*/ 9 w 72"/>
                    <a:gd name="T111" fmla="*/ 14 h 81"/>
                    <a:gd name="T112" fmla="*/ 9 w 72"/>
                    <a:gd name="T113" fmla="*/ 15 h 81"/>
                    <a:gd name="T114" fmla="*/ 9 w 72"/>
                    <a:gd name="T115" fmla="*/ 21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72" h="81">
                      <a:moveTo>
                        <a:pt x="9" y="21"/>
                      </a:moveTo>
                      <a:cubicBezTo>
                        <a:pt x="7" y="24"/>
                        <a:pt x="5" y="24"/>
                        <a:pt x="5" y="25"/>
                      </a:cubicBezTo>
                      <a:cubicBezTo>
                        <a:pt x="6" y="25"/>
                        <a:pt x="8" y="28"/>
                        <a:pt x="8" y="29"/>
                      </a:cubicBezTo>
                      <a:cubicBezTo>
                        <a:pt x="7" y="30"/>
                        <a:pt x="6" y="29"/>
                        <a:pt x="6" y="32"/>
                      </a:cubicBezTo>
                      <a:cubicBezTo>
                        <a:pt x="6" y="34"/>
                        <a:pt x="3" y="34"/>
                        <a:pt x="2" y="34"/>
                      </a:cubicBezTo>
                      <a:cubicBezTo>
                        <a:pt x="0" y="34"/>
                        <a:pt x="2" y="36"/>
                        <a:pt x="1" y="38"/>
                      </a:cubicBezTo>
                      <a:cubicBezTo>
                        <a:pt x="0" y="39"/>
                        <a:pt x="0" y="43"/>
                        <a:pt x="0" y="44"/>
                      </a:cubicBezTo>
                      <a:cubicBezTo>
                        <a:pt x="0" y="45"/>
                        <a:pt x="3" y="48"/>
                        <a:pt x="2" y="49"/>
                      </a:cubicBezTo>
                      <a:cubicBezTo>
                        <a:pt x="2" y="50"/>
                        <a:pt x="0" y="51"/>
                        <a:pt x="1" y="52"/>
                      </a:cubicBezTo>
                      <a:cubicBezTo>
                        <a:pt x="1" y="53"/>
                        <a:pt x="3" y="54"/>
                        <a:pt x="3" y="59"/>
                      </a:cubicBezTo>
                      <a:cubicBezTo>
                        <a:pt x="4" y="59"/>
                        <a:pt x="5" y="59"/>
                        <a:pt x="5" y="60"/>
                      </a:cubicBezTo>
                      <a:cubicBezTo>
                        <a:pt x="6" y="61"/>
                        <a:pt x="8" y="62"/>
                        <a:pt x="10" y="62"/>
                      </a:cubicBezTo>
                      <a:cubicBezTo>
                        <a:pt x="12" y="62"/>
                        <a:pt x="13" y="64"/>
                        <a:pt x="14" y="64"/>
                      </a:cubicBezTo>
                      <a:cubicBezTo>
                        <a:pt x="15" y="63"/>
                        <a:pt x="18" y="64"/>
                        <a:pt x="16" y="66"/>
                      </a:cubicBezTo>
                      <a:cubicBezTo>
                        <a:pt x="14" y="68"/>
                        <a:pt x="13" y="71"/>
                        <a:pt x="13" y="73"/>
                      </a:cubicBezTo>
                      <a:cubicBezTo>
                        <a:pt x="12" y="74"/>
                        <a:pt x="12" y="76"/>
                        <a:pt x="12" y="78"/>
                      </a:cubicBezTo>
                      <a:cubicBezTo>
                        <a:pt x="14" y="78"/>
                        <a:pt x="18" y="78"/>
                        <a:pt x="19" y="77"/>
                      </a:cubicBezTo>
                      <a:cubicBezTo>
                        <a:pt x="21" y="77"/>
                        <a:pt x="22" y="77"/>
                        <a:pt x="24" y="77"/>
                      </a:cubicBezTo>
                      <a:cubicBezTo>
                        <a:pt x="26" y="78"/>
                        <a:pt x="28" y="79"/>
                        <a:pt x="29" y="79"/>
                      </a:cubicBezTo>
                      <a:cubicBezTo>
                        <a:pt x="29" y="79"/>
                        <a:pt x="29" y="78"/>
                        <a:pt x="30" y="78"/>
                      </a:cubicBezTo>
                      <a:cubicBezTo>
                        <a:pt x="32" y="78"/>
                        <a:pt x="33" y="81"/>
                        <a:pt x="35" y="80"/>
                      </a:cubicBezTo>
                      <a:cubicBezTo>
                        <a:pt x="36" y="78"/>
                        <a:pt x="38" y="78"/>
                        <a:pt x="39" y="79"/>
                      </a:cubicBezTo>
                      <a:cubicBezTo>
                        <a:pt x="41" y="80"/>
                        <a:pt x="43" y="80"/>
                        <a:pt x="44" y="79"/>
                      </a:cubicBezTo>
                      <a:cubicBezTo>
                        <a:pt x="45" y="77"/>
                        <a:pt x="51" y="76"/>
                        <a:pt x="52" y="77"/>
                      </a:cubicBezTo>
                      <a:cubicBezTo>
                        <a:pt x="53" y="77"/>
                        <a:pt x="57" y="79"/>
                        <a:pt x="55" y="75"/>
                      </a:cubicBezTo>
                      <a:cubicBezTo>
                        <a:pt x="54" y="70"/>
                        <a:pt x="58" y="71"/>
                        <a:pt x="59" y="70"/>
                      </a:cubicBezTo>
                      <a:cubicBezTo>
                        <a:pt x="59" y="68"/>
                        <a:pt x="64" y="67"/>
                        <a:pt x="63" y="66"/>
                      </a:cubicBezTo>
                      <a:cubicBezTo>
                        <a:pt x="62" y="65"/>
                        <a:pt x="56" y="61"/>
                        <a:pt x="55" y="60"/>
                      </a:cubicBezTo>
                      <a:cubicBezTo>
                        <a:pt x="53" y="59"/>
                        <a:pt x="53" y="55"/>
                        <a:pt x="52" y="53"/>
                      </a:cubicBezTo>
                      <a:cubicBezTo>
                        <a:pt x="51" y="51"/>
                        <a:pt x="49" y="49"/>
                        <a:pt x="51" y="49"/>
                      </a:cubicBezTo>
                      <a:cubicBezTo>
                        <a:pt x="54" y="48"/>
                        <a:pt x="58" y="47"/>
                        <a:pt x="60" y="46"/>
                      </a:cubicBezTo>
                      <a:cubicBezTo>
                        <a:pt x="62" y="44"/>
                        <a:pt x="65" y="44"/>
                        <a:pt x="66" y="43"/>
                      </a:cubicBezTo>
                      <a:cubicBezTo>
                        <a:pt x="68" y="41"/>
                        <a:pt x="70" y="43"/>
                        <a:pt x="71" y="42"/>
                      </a:cubicBezTo>
                      <a:cubicBezTo>
                        <a:pt x="71" y="41"/>
                        <a:pt x="72" y="39"/>
                        <a:pt x="71" y="38"/>
                      </a:cubicBezTo>
                      <a:cubicBezTo>
                        <a:pt x="70" y="37"/>
                        <a:pt x="69" y="35"/>
                        <a:pt x="69" y="31"/>
                      </a:cubicBezTo>
                      <a:cubicBezTo>
                        <a:pt x="69" y="28"/>
                        <a:pt x="68" y="29"/>
                        <a:pt x="68" y="27"/>
                      </a:cubicBezTo>
                      <a:cubicBezTo>
                        <a:pt x="68" y="26"/>
                        <a:pt x="67" y="24"/>
                        <a:pt x="66" y="23"/>
                      </a:cubicBezTo>
                      <a:cubicBezTo>
                        <a:pt x="65" y="23"/>
                        <a:pt x="64" y="22"/>
                        <a:pt x="66" y="20"/>
                      </a:cubicBezTo>
                      <a:cubicBezTo>
                        <a:pt x="67" y="18"/>
                        <a:pt x="66" y="13"/>
                        <a:pt x="66" y="12"/>
                      </a:cubicBezTo>
                      <a:cubicBezTo>
                        <a:pt x="66" y="11"/>
                        <a:pt x="66" y="11"/>
                        <a:pt x="66" y="11"/>
                      </a:cubicBezTo>
                      <a:cubicBezTo>
                        <a:pt x="65" y="11"/>
                        <a:pt x="65" y="10"/>
                        <a:pt x="65" y="10"/>
                      </a:cubicBezTo>
                      <a:cubicBezTo>
                        <a:pt x="65" y="8"/>
                        <a:pt x="63" y="7"/>
                        <a:pt x="60" y="7"/>
                      </a:cubicBezTo>
                      <a:cubicBezTo>
                        <a:pt x="57" y="7"/>
                        <a:pt x="62" y="4"/>
                        <a:pt x="61" y="2"/>
                      </a:cubicBezTo>
                      <a:cubicBezTo>
                        <a:pt x="60" y="1"/>
                        <a:pt x="57" y="5"/>
                        <a:pt x="54" y="4"/>
                      </a:cubicBezTo>
                      <a:cubicBezTo>
                        <a:pt x="51" y="3"/>
                        <a:pt x="47" y="8"/>
                        <a:pt x="45" y="10"/>
                      </a:cubicBezTo>
                      <a:cubicBezTo>
                        <a:pt x="42" y="12"/>
                        <a:pt x="39" y="9"/>
                        <a:pt x="41" y="7"/>
                      </a:cubicBezTo>
                      <a:cubicBezTo>
                        <a:pt x="43" y="4"/>
                        <a:pt x="41" y="4"/>
                        <a:pt x="38" y="5"/>
                      </a:cubicBezTo>
                      <a:cubicBezTo>
                        <a:pt x="35" y="6"/>
                        <a:pt x="32" y="5"/>
                        <a:pt x="32" y="2"/>
                      </a:cubicBezTo>
                      <a:cubicBezTo>
                        <a:pt x="32" y="2"/>
                        <a:pt x="32" y="1"/>
                        <a:pt x="31" y="0"/>
                      </a:cubicBezTo>
                      <a:cubicBezTo>
                        <a:pt x="30" y="1"/>
                        <a:pt x="29" y="1"/>
                        <a:pt x="28" y="0"/>
                      </a:cubicBezTo>
                      <a:cubicBezTo>
                        <a:pt x="27" y="0"/>
                        <a:pt x="24" y="0"/>
                        <a:pt x="21" y="0"/>
                      </a:cubicBezTo>
                      <a:cubicBezTo>
                        <a:pt x="22" y="1"/>
                        <a:pt x="23" y="2"/>
                        <a:pt x="22" y="4"/>
                      </a:cubicBezTo>
                      <a:cubicBezTo>
                        <a:pt x="21" y="6"/>
                        <a:pt x="23" y="7"/>
                        <a:pt x="25" y="10"/>
                      </a:cubicBezTo>
                      <a:cubicBezTo>
                        <a:pt x="26" y="13"/>
                        <a:pt x="21" y="12"/>
                        <a:pt x="21" y="14"/>
                      </a:cubicBezTo>
                      <a:cubicBezTo>
                        <a:pt x="21" y="16"/>
                        <a:pt x="17" y="14"/>
                        <a:pt x="15" y="13"/>
                      </a:cubicBezTo>
                      <a:cubicBezTo>
                        <a:pt x="14" y="12"/>
                        <a:pt x="9" y="13"/>
                        <a:pt x="9" y="14"/>
                      </a:cubicBezTo>
                      <a:cubicBezTo>
                        <a:pt x="9" y="14"/>
                        <a:pt x="9" y="15"/>
                        <a:pt x="9" y="15"/>
                      </a:cubicBezTo>
                      <a:cubicBezTo>
                        <a:pt x="10" y="18"/>
                        <a:pt x="10" y="20"/>
                        <a:pt x="9" y="2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1" name="Freeform 94">
                  <a:extLst>
                    <a:ext uri="{FF2B5EF4-FFF2-40B4-BE49-F238E27FC236}">
                      <a16:creationId xmlns:a16="http://schemas.microsoft.com/office/drawing/2014/main" id="{062FF4B8-5EB5-4920-88AA-74CE070E43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994624" y="-12768234"/>
                  <a:ext cx="525400" cy="833506"/>
                </a:xfrm>
                <a:custGeom>
                  <a:avLst/>
                  <a:gdLst>
                    <a:gd name="T0" fmla="*/ 72 w 85"/>
                    <a:gd name="T1" fmla="*/ 113 h 135"/>
                    <a:gd name="T2" fmla="*/ 84 w 85"/>
                    <a:gd name="T3" fmla="*/ 102 h 135"/>
                    <a:gd name="T4" fmla="*/ 82 w 85"/>
                    <a:gd name="T5" fmla="*/ 96 h 135"/>
                    <a:gd name="T6" fmla="*/ 72 w 85"/>
                    <a:gd name="T7" fmla="*/ 88 h 135"/>
                    <a:gd name="T8" fmla="*/ 77 w 85"/>
                    <a:gd name="T9" fmla="*/ 83 h 135"/>
                    <a:gd name="T10" fmla="*/ 72 w 85"/>
                    <a:gd name="T11" fmla="*/ 79 h 135"/>
                    <a:gd name="T12" fmla="*/ 74 w 85"/>
                    <a:gd name="T13" fmla="*/ 75 h 135"/>
                    <a:gd name="T14" fmla="*/ 70 w 85"/>
                    <a:gd name="T15" fmla="*/ 72 h 135"/>
                    <a:gd name="T16" fmla="*/ 71 w 85"/>
                    <a:gd name="T17" fmla="*/ 70 h 135"/>
                    <a:gd name="T18" fmla="*/ 70 w 85"/>
                    <a:gd name="T19" fmla="*/ 64 h 135"/>
                    <a:gd name="T20" fmla="*/ 73 w 85"/>
                    <a:gd name="T21" fmla="*/ 59 h 135"/>
                    <a:gd name="T22" fmla="*/ 65 w 85"/>
                    <a:gd name="T23" fmla="*/ 47 h 135"/>
                    <a:gd name="T24" fmla="*/ 68 w 85"/>
                    <a:gd name="T25" fmla="*/ 42 h 135"/>
                    <a:gd name="T26" fmla="*/ 73 w 85"/>
                    <a:gd name="T27" fmla="*/ 36 h 135"/>
                    <a:gd name="T28" fmla="*/ 67 w 85"/>
                    <a:gd name="T29" fmla="*/ 30 h 135"/>
                    <a:gd name="T30" fmla="*/ 62 w 85"/>
                    <a:gd name="T31" fmla="*/ 27 h 135"/>
                    <a:gd name="T32" fmla="*/ 61 w 85"/>
                    <a:gd name="T33" fmla="*/ 23 h 135"/>
                    <a:gd name="T34" fmla="*/ 62 w 85"/>
                    <a:gd name="T35" fmla="*/ 19 h 135"/>
                    <a:gd name="T36" fmla="*/ 65 w 85"/>
                    <a:gd name="T37" fmla="*/ 16 h 135"/>
                    <a:gd name="T38" fmla="*/ 67 w 85"/>
                    <a:gd name="T39" fmla="*/ 13 h 135"/>
                    <a:gd name="T40" fmla="*/ 67 w 85"/>
                    <a:gd name="T41" fmla="*/ 9 h 135"/>
                    <a:gd name="T42" fmla="*/ 58 w 85"/>
                    <a:gd name="T43" fmla="*/ 3 h 135"/>
                    <a:gd name="T44" fmla="*/ 52 w 85"/>
                    <a:gd name="T45" fmla="*/ 3 h 135"/>
                    <a:gd name="T46" fmla="*/ 44 w 85"/>
                    <a:gd name="T47" fmla="*/ 5 h 135"/>
                    <a:gd name="T48" fmla="*/ 39 w 85"/>
                    <a:gd name="T49" fmla="*/ 10 h 135"/>
                    <a:gd name="T50" fmla="*/ 37 w 85"/>
                    <a:gd name="T51" fmla="*/ 17 h 135"/>
                    <a:gd name="T52" fmla="*/ 34 w 85"/>
                    <a:gd name="T53" fmla="*/ 22 h 135"/>
                    <a:gd name="T54" fmla="*/ 29 w 85"/>
                    <a:gd name="T55" fmla="*/ 21 h 135"/>
                    <a:gd name="T56" fmla="*/ 23 w 85"/>
                    <a:gd name="T57" fmla="*/ 20 h 135"/>
                    <a:gd name="T58" fmla="*/ 14 w 85"/>
                    <a:gd name="T59" fmla="*/ 20 h 135"/>
                    <a:gd name="T60" fmla="*/ 6 w 85"/>
                    <a:gd name="T61" fmla="*/ 13 h 135"/>
                    <a:gd name="T62" fmla="*/ 0 w 85"/>
                    <a:gd name="T63" fmla="*/ 17 h 135"/>
                    <a:gd name="T64" fmla="*/ 9 w 85"/>
                    <a:gd name="T65" fmla="*/ 24 h 135"/>
                    <a:gd name="T66" fmla="*/ 21 w 85"/>
                    <a:gd name="T67" fmla="*/ 31 h 135"/>
                    <a:gd name="T68" fmla="*/ 21 w 85"/>
                    <a:gd name="T69" fmla="*/ 38 h 135"/>
                    <a:gd name="T70" fmla="*/ 23 w 85"/>
                    <a:gd name="T71" fmla="*/ 45 h 135"/>
                    <a:gd name="T72" fmla="*/ 23 w 85"/>
                    <a:gd name="T73" fmla="*/ 52 h 135"/>
                    <a:gd name="T74" fmla="*/ 24 w 85"/>
                    <a:gd name="T75" fmla="*/ 57 h 135"/>
                    <a:gd name="T76" fmla="*/ 25 w 85"/>
                    <a:gd name="T77" fmla="*/ 61 h 135"/>
                    <a:gd name="T78" fmla="*/ 32 w 85"/>
                    <a:gd name="T79" fmla="*/ 63 h 135"/>
                    <a:gd name="T80" fmla="*/ 34 w 85"/>
                    <a:gd name="T81" fmla="*/ 69 h 135"/>
                    <a:gd name="T82" fmla="*/ 33 w 85"/>
                    <a:gd name="T83" fmla="*/ 72 h 135"/>
                    <a:gd name="T84" fmla="*/ 29 w 85"/>
                    <a:gd name="T85" fmla="*/ 76 h 135"/>
                    <a:gd name="T86" fmla="*/ 20 w 85"/>
                    <a:gd name="T87" fmla="*/ 84 h 135"/>
                    <a:gd name="T88" fmla="*/ 16 w 85"/>
                    <a:gd name="T89" fmla="*/ 88 h 135"/>
                    <a:gd name="T90" fmla="*/ 11 w 85"/>
                    <a:gd name="T91" fmla="*/ 92 h 135"/>
                    <a:gd name="T92" fmla="*/ 6 w 85"/>
                    <a:gd name="T93" fmla="*/ 95 h 135"/>
                    <a:gd name="T94" fmla="*/ 2 w 85"/>
                    <a:gd name="T95" fmla="*/ 100 h 135"/>
                    <a:gd name="T96" fmla="*/ 3 w 85"/>
                    <a:gd name="T97" fmla="*/ 104 h 135"/>
                    <a:gd name="T98" fmla="*/ 3 w 85"/>
                    <a:gd name="T99" fmla="*/ 110 h 135"/>
                    <a:gd name="T100" fmla="*/ 5 w 85"/>
                    <a:gd name="T101" fmla="*/ 119 h 135"/>
                    <a:gd name="T102" fmla="*/ 3 w 85"/>
                    <a:gd name="T103" fmla="*/ 127 h 135"/>
                    <a:gd name="T104" fmla="*/ 10 w 85"/>
                    <a:gd name="T105" fmla="*/ 130 h 135"/>
                    <a:gd name="T106" fmla="*/ 15 w 85"/>
                    <a:gd name="T107" fmla="*/ 133 h 135"/>
                    <a:gd name="T108" fmla="*/ 24 w 85"/>
                    <a:gd name="T109" fmla="*/ 135 h 135"/>
                    <a:gd name="T110" fmla="*/ 49 w 85"/>
                    <a:gd name="T111" fmla="*/ 129 h 135"/>
                    <a:gd name="T112" fmla="*/ 56 w 85"/>
                    <a:gd name="T113" fmla="*/ 128 h 135"/>
                    <a:gd name="T114" fmla="*/ 60 w 85"/>
                    <a:gd name="T115" fmla="*/ 123 h 135"/>
                    <a:gd name="T116" fmla="*/ 72 w 85"/>
                    <a:gd name="T117" fmla="*/ 113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5" h="135">
                      <a:moveTo>
                        <a:pt x="72" y="113"/>
                      </a:moveTo>
                      <a:cubicBezTo>
                        <a:pt x="74" y="109"/>
                        <a:pt x="83" y="106"/>
                        <a:pt x="84" y="102"/>
                      </a:cubicBezTo>
                      <a:cubicBezTo>
                        <a:pt x="85" y="100"/>
                        <a:pt x="85" y="99"/>
                        <a:pt x="82" y="96"/>
                      </a:cubicBezTo>
                      <a:cubicBezTo>
                        <a:pt x="79" y="92"/>
                        <a:pt x="72" y="90"/>
                        <a:pt x="72" y="88"/>
                      </a:cubicBezTo>
                      <a:cubicBezTo>
                        <a:pt x="71" y="86"/>
                        <a:pt x="77" y="86"/>
                        <a:pt x="77" y="83"/>
                      </a:cubicBezTo>
                      <a:cubicBezTo>
                        <a:pt x="76" y="81"/>
                        <a:pt x="74" y="81"/>
                        <a:pt x="72" y="79"/>
                      </a:cubicBezTo>
                      <a:cubicBezTo>
                        <a:pt x="71" y="77"/>
                        <a:pt x="74" y="76"/>
                        <a:pt x="74" y="75"/>
                      </a:cubicBezTo>
                      <a:cubicBezTo>
                        <a:pt x="73" y="74"/>
                        <a:pt x="70" y="74"/>
                        <a:pt x="70" y="72"/>
                      </a:cubicBezTo>
                      <a:cubicBezTo>
                        <a:pt x="69" y="71"/>
                        <a:pt x="72" y="71"/>
                        <a:pt x="71" y="70"/>
                      </a:cubicBezTo>
                      <a:cubicBezTo>
                        <a:pt x="71" y="69"/>
                        <a:pt x="69" y="66"/>
                        <a:pt x="70" y="64"/>
                      </a:cubicBezTo>
                      <a:cubicBezTo>
                        <a:pt x="72" y="62"/>
                        <a:pt x="76" y="64"/>
                        <a:pt x="73" y="59"/>
                      </a:cubicBezTo>
                      <a:cubicBezTo>
                        <a:pt x="70" y="54"/>
                        <a:pt x="66" y="48"/>
                        <a:pt x="65" y="47"/>
                      </a:cubicBezTo>
                      <a:cubicBezTo>
                        <a:pt x="64" y="45"/>
                        <a:pt x="66" y="43"/>
                        <a:pt x="68" y="42"/>
                      </a:cubicBezTo>
                      <a:cubicBezTo>
                        <a:pt x="69" y="41"/>
                        <a:pt x="73" y="38"/>
                        <a:pt x="73" y="36"/>
                      </a:cubicBezTo>
                      <a:cubicBezTo>
                        <a:pt x="73" y="35"/>
                        <a:pt x="68" y="31"/>
                        <a:pt x="67" y="30"/>
                      </a:cubicBezTo>
                      <a:cubicBezTo>
                        <a:pt x="66" y="30"/>
                        <a:pt x="63" y="30"/>
                        <a:pt x="62" y="27"/>
                      </a:cubicBezTo>
                      <a:cubicBezTo>
                        <a:pt x="61" y="25"/>
                        <a:pt x="60" y="24"/>
                        <a:pt x="61" y="23"/>
                      </a:cubicBezTo>
                      <a:cubicBezTo>
                        <a:pt x="62" y="21"/>
                        <a:pt x="62" y="20"/>
                        <a:pt x="62" y="19"/>
                      </a:cubicBezTo>
                      <a:cubicBezTo>
                        <a:pt x="62" y="17"/>
                        <a:pt x="65" y="18"/>
                        <a:pt x="65" y="16"/>
                      </a:cubicBezTo>
                      <a:cubicBezTo>
                        <a:pt x="65" y="15"/>
                        <a:pt x="66" y="14"/>
                        <a:pt x="67" y="13"/>
                      </a:cubicBezTo>
                      <a:cubicBezTo>
                        <a:pt x="67" y="12"/>
                        <a:pt x="67" y="10"/>
                        <a:pt x="67" y="9"/>
                      </a:cubicBezTo>
                      <a:cubicBezTo>
                        <a:pt x="66" y="7"/>
                        <a:pt x="60" y="6"/>
                        <a:pt x="58" y="3"/>
                      </a:cubicBezTo>
                      <a:cubicBezTo>
                        <a:pt x="57" y="0"/>
                        <a:pt x="53" y="2"/>
                        <a:pt x="52" y="3"/>
                      </a:cubicBezTo>
                      <a:cubicBezTo>
                        <a:pt x="51" y="5"/>
                        <a:pt x="44" y="3"/>
                        <a:pt x="44" y="5"/>
                      </a:cubicBezTo>
                      <a:cubicBezTo>
                        <a:pt x="44" y="7"/>
                        <a:pt x="39" y="8"/>
                        <a:pt x="39" y="10"/>
                      </a:cubicBezTo>
                      <a:cubicBezTo>
                        <a:pt x="39" y="13"/>
                        <a:pt x="41" y="18"/>
                        <a:pt x="37" y="17"/>
                      </a:cubicBezTo>
                      <a:cubicBezTo>
                        <a:pt x="34" y="17"/>
                        <a:pt x="36" y="19"/>
                        <a:pt x="34" y="22"/>
                      </a:cubicBezTo>
                      <a:cubicBezTo>
                        <a:pt x="32" y="25"/>
                        <a:pt x="32" y="20"/>
                        <a:pt x="29" y="21"/>
                      </a:cubicBezTo>
                      <a:cubicBezTo>
                        <a:pt x="27" y="21"/>
                        <a:pt x="24" y="18"/>
                        <a:pt x="23" y="20"/>
                      </a:cubicBezTo>
                      <a:cubicBezTo>
                        <a:pt x="22" y="22"/>
                        <a:pt x="18" y="21"/>
                        <a:pt x="14" y="20"/>
                      </a:cubicBezTo>
                      <a:cubicBezTo>
                        <a:pt x="11" y="19"/>
                        <a:pt x="9" y="14"/>
                        <a:pt x="6" y="13"/>
                      </a:cubicBezTo>
                      <a:cubicBezTo>
                        <a:pt x="4" y="13"/>
                        <a:pt x="1" y="15"/>
                        <a:pt x="0" y="17"/>
                      </a:cubicBezTo>
                      <a:cubicBezTo>
                        <a:pt x="3" y="19"/>
                        <a:pt x="5" y="22"/>
                        <a:pt x="9" y="24"/>
                      </a:cubicBezTo>
                      <a:cubicBezTo>
                        <a:pt x="13" y="26"/>
                        <a:pt x="21" y="28"/>
                        <a:pt x="21" y="31"/>
                      </a:cubicBezTo>
                      <a:cubicBezTo>
                        <a:pt x="20" y="33"/>
                        <a:pt x="19" y="37"/>
                        <a:pt x="21" y="38"/>
                      </a:cubicBezTo>
                      <a:cubicBezTo>
                        <a:pt x="23" y="39"/>
                        <a:pt x="21" y="44"/>
                        <a:pt x="23" y="45"/>
                      </a:cubicBezTo>
                      <a:cubicBezTo>
                        <a:pt x="25" y="47"/>
                        <a:pt x="24" y="52"/>
                        <a:pt x="23" y="52"/>
                      </a:cubicBezTo>
                      <a:cubicBezTo>
                        <a:pt x="21" y="52"/>
                        <a:pt x="23" y="55"/>
                        <a:pt x="24" y="57"/>
                      </a:cubicBezTo>
                      <a:cubicBezTo>
                        <a:pt x="25" y="57"/>
                        <a:pt x="25" y="59"/>
                        <a:pt x="25" y="61"/>
                      </a:cubicBezTo>
                      <a:cubicBezTo>
                        <a:pt x="28" y="61"/>
                        <a:pt x="30" y="62"/>
                        <a:pt x="32" y="63"/>
                      </a:cubicBezTo>
                      <a:cubicBezTo>
                        <a:pt x="35" y="65"/>
                        <a:pt x="34" y="67"/>
                        <a:pt x="34" y="69"/>
                      </a:cubicBezTo>
                      <a:cubicBezTo>
                        <a:pt x="35" y="72"/>
                        <a:pt x="35" y="73"/>
                        <a:pt x="33" y="72"/>
                      </a:cubicBezTo>
                      <a:cubicBezTo>
                        <a:pt x="31" y="71"/>
                        <a:pt x="30" y="72"/>
                        <a:pt x="29" y="76"/>
                      </a:cubicBezTo>
                      <a:cubicBezTo>
                        <a:pt x="28" y="79"/>
                        <a:pt x="23" y="84"/>
                        <a:pt x="20" y="84"/>
                      </a:cubicBezTo>
                      <a:cubicBezTo>
                        <a:pt x="18" y="84"/>
                        <a:pt x="18" y="87"/>
                        <a:pt x="16" y="88"/>
                      </a:cubicBezTo>
                      <a:cubicBezTo>
                        <a:pt x="13" y="88"/>
                        <a:pt x="11" y="89"/>
                        <a:pt x="11" y="92"/>
                      </a:cubicBezTo>
                      <a:cubicBezTo>
                        <a:pt x="12" y="94"/>
                        <a:pt x="8" y="95"/>
                        <a:pt x="6" y="95"/>
                      </a:cubicBezTo>
                      <a:cubicBezTo>
                        <a:pt x="4" y="95"/>
                        <a:pt x="4" y="99"/>
                        <a:pt x="2" y="100"/>
                      </a:cubicBezTo>
                      <a:cubicBezTo>
                        <a:pt x="0" y="101"/>
                        <a:pt x="1" y="102"/>
                        <a:pt x="3" y="104"/>
                      </a:cubicBezTo>
                      <a:cubicBezTo>
                        <a:pt x="4" y="107"/>
                        <a:pt x="3" y="108"/>
                        <a:pt x="3" y="110"/>
                      </a:cubicBezTo>
                      <a:cubicBezTo>
                        <a:pt x="4" y="112"/>
                        <a:pt x="7" y="115"/>
                        <a:pt x="5" y="119"/>
                      </a:cubicBezTo>
                      <a:cubicBezTo>
                        <a:pt x="3" y="123"/>
                        <a:pt x="1" y="128"/>
                        <a:pt x="3" y="127"/>
                      </a:cubicBezTo>
                      <a:cubicBezTo>
                        <a:pt x="4" y="127"/>
                        <a:pt x="8" y="131"/>
                        <a:pt x="10" y="130"/>
                      </a:cubicBezTo>
                      <a:cubicBezTo>
                        <a:pt x="12" y="130"/>
                        <a:pt x="13" y="134"/>
                        <a:pt x="15" y="133"/>
                      </a:cubicBezTo>
                      <a:cubicBezTo>
                        <a:pt x="17" y="132"/>
                        <a:pt x="17" y="135"/>
                        <a:pt x="24" y="135"/>
                      </a:cubicBezTo>
                      <a:cubicBezTo>
                        <a:pt x="30" y="135"/>
                        <a:pt x="44" y="129"/>
                        <a:pt x="49" y="129"/>
                      </a:cubicBezTo>
                      <a:cubicBezTo>
                        <a:pt x="52" y="129"/>
                        <a:pt x="54" y="129"/>
                        <a:pt x="56" y="128"/>
                      </a:cubicBezTo>
                      <a:cubicBezTo>
                        <a:pt x="57" y="127"/>
                        <a:pt x="58" y="125"/>
                        <a:pt x="60" y="123"/>
                      </a:cubicBezTo>
                      <a:cubicBezTo>
                        <a:pt x="63" y="120"/>
                        <a:pt x="70" y="118"/>
                        <a:pt x="72" y="1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2" name="Freeform 95">
                  <a:extLst>
                    <a:ext uri="{FF2B5EF4-FFF2-40B4-BE49-F238E27FC236}">
                      <a16:creationId xmlns:a16="http://schemas.microsoft.com/office/drawing/2014/main" id="{998234DD-DF8B-440B-A4B6-C557792190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329765" y="-10163935"/>
                  <a:ext cx="1050800" cy="839993"/>
                </a:xfrm>
                <a:custGeom>
                  <a:avLst/>
                  <a:gdLst>
                    <a:gd name="T0" fmla="*/ 102 w 170"/>
                    <a:gd name="T1" fmla="*/ 29 h 136"/>
                    <a:gd name="T2" fmla="*/ 87 w 170"/>
                    <a:gd name="T3" fmla="*/ 27 h 136"/>
                    <a:gd name="T4" fmla="*/ 78 w 170"/>
                    <a:gd name="T5" fmla="*/ 24 h 136"/>
                    <a:gd name="T6" fmla="*/ 59 w 170"/>
                    <a:gd name="T7" fmla="*/ 10 h 136"/>
                    <a:gd name="T8" fmla="*/ 43 w 170"/>
                    <a:gd name="T9" fmla="*/ 0 h 136"/>
                    <a:gd name="T10" fmla="*/ 36 w 170"/>
                    <a:gd name="T11" fmla="*/ 0 h 136"/>
                    <a:gd name="T12" fmla="*/ 28 w 170"/>
                    <a:gd name="T13" fmla="*/ 3 h 136"/>
                    <a:gd name="T14" fmla="*/ 20 w 170"/>
                    <a:gd name="T15" fmla="*/ 8 h 136"/>
                    <a:gd name="T16" fmla="*/ 26 w 170"/>
                    <a:gd name="T17" fmla="*/ 15 h 136"/>
                    <a:gd name="T18" fmla="*/ 21 w 170"/>
                    <a:gd name="T19" fmla="*/ 19 h 136"/>
                    <a:gd name="T20" fmla="*/ 16 w 170"/>
                    <a:gd name="T21" fmla="*/ 21 h 136"/>
                    <a:gd name="T22" fmla="*/ 10 w 170"/>
                    <a:gd name="T23" fmla="*/ 26 h 136"/>
                    <a:gd name="T24" fmla="*/ 2 w 170"/>
                    <a:gd name="T25" fmla="*/ 22 h 136"/>
                    <a:gd name="T26" fmla="*/ 1 w 170"/>
                    <a:gd name="T27" fmla="*/ 25 h 136"/>
                    <a:gd name="T28" fmla="*/ 1 w 170"/>
                    <a:gd name="T29" fmla="*/ 27 h 136"/>
                    <a:gd name="T30" fmla="*/ 2 w 170"/>
                    <a:gd name="T31" fmla="*/ 36 h 136"/>
                    <a:gd name="T32" fmla="*/ 8 w 170"/>
                    <a:gd name="T33" fmla="*/ 44 h 136"/>
                    <a:gd name="T34" fmla="*/ 20 w 170"/>
                    <a:gd name="T35" fmla="*/ 62 h 136"/>
                    <a:gd name="T36" fmla="*/ 26 w 170"/>
                    <a:gd name="T37" fmla="*/ 71 h 136"/>
                    <a:gd name="T38" fmla="*/ 33 w 170"/>
                    <a:gd name="T39" fmla="*/ 80 h 136"/>
                    <a:gd name="T40" fmla="*/ 36 w 170"/>
                    <a:gd name="T41" fmla="*/ 89 h 136"/>
                    <a:gd name="T42" fmla="*/ 42 w 170"/>
                    <a:gd name="T43" fmla="*/ 102 h 136"/>
                    <a:gd name="T44" fmla="*/ 51 w 170"/>
                    <a:gd name="T45" fmla="*/ 113 h 136"/>
                    <a:gd name="T46" fmla="*/ 59 w 170"/>
                    <a:gd name="T47" fmla="*/ 125 h 136"/>
                    <a:gd name="T48" fmla="*/ 61 w 170"/>
                    <a:gd name="T49" fmla="*/ 131 h 136"/>
                    <a:gd name="T50" fmla="*/ 64 w 170"/>
                    <a:gd name="T51" fmla="*/ 136 h 136"/>
                    <a:gd name="T52" fmla="*/ 68 w 170"/>
                    <a:gd name="T53" fmla="*/ 134 h 136"/>
                    <a:gd name="T54" fmla="*/ 68 w 170"/>
                    <a:gd name="T55" fmla="*/ 130 h 136"/>
                    <a:gd name="T56" fmla="*/ 71 w 170"/>
                    <a:gd name="T57" fmla="*/ 127 h 136"/>
                    <a:gd name="T58" fmla="*/ 77 w 170"/>
                    <a:gd name="T59" fmla="*/ 128 h 136"/>
                    <a:gd name="T60" fmla="*/ 87 w 170"/>
                    <a:gd name="T61" fmla="*/ 129 h 136"/>
                    <a:gd name="T62" fmla="*/ 98 w 170"/>
                    <a:gd name="T63" fmla="*/ 130 h 136"/>
                    <a:gd name="T64" fmla="*/ 104 w 170"/>
                    <a:gd name="T65" fmla="*/ 128 h 136"/>
                    <a:gd name="T66" fmla="*/ 116 w 170"/>
                    <a:gd name="T67" fmla="*/ 117 h 136"/>
                    <a:gd name="T68" fmla="*/ 132 w 170"/>
                    <a:gd name="T69" fmla="*/ 117 h 136"/>
                    <a:gd name="T70" fmla="*/ 164 w 170"/>
                    <a:gd name="T71" fmla="*/ 106 h 136"/>
                    <a:gd name="T72" fmla="*/ 170 w 170"/>
                    <a:gd name="T73" fmla="*/ 89 h 136"/>
                    <a:gd name="T74" fmla="*/ 166 w 170"/>
                    <a:gd name="T75" fmla="*/ 83 h 136"/>
                    <a:gd name="T76" fmla="*/ 145 w 170"/>
                    <a:gd name="T77" fmla="*/ 81 h 136"/>
                    <a:gd name="T78" fmla="*/ 139 w 170"/>
                    <a:gd name="T79" fmla="*/ 73 h 136"/>
                    <a:gd name="T80" fmla="*/ 136 w 170"/>
                    <a:gd name="T81" fmla="*/ 67 h 136"/>
                    <a:gd name="T82" fmla="*/ 129 w 170"/>
                    <a:gd name="T83" fmla="*/ 63 h 136"/>
                    <a:gd name="T84" fmla="*/ 125 w 170"/>
                    <a:gd name="T85" fmla="*/ 54 h 136"/>
                    <a:gd name="T86" fmla="*/ 121 w 170"/>
                    <a:gd name="T87" fmla="*/ 45 h 136"/>
                    <a:gd name="T88" fmla="*/ 113 w 170"/>
                    <a:gd name="T89" fmla="*/ 36 h 136"/>
                    <a:gd name="T90" fmla="*/ 112 w 170"/>
                    <a:gd name="T91" fmla="*/ 32 h 136"/>
                    <a:gd name="T92" fmla="*/ 106 w 170"/>
                    <a:gd name="T93" fmla="*/ 32 h 136"/>
                    <a:gd name="T94" fmla="*/ 102 w 170"/>
                    <a:gd name="T95" fmla="*/ 29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70" h="136">
                      <a:moveTo>
                        <a:pt x="102" y="29"/>
                      </a:moveTo>
                      <a:cubicBezTo>
                        <a:pt x="102" y="29"/>
                        <a:pt x="89" y="27"/>
                        <a:pt x="87" y="27"/>
                      </a:cubicBezTo>
                      <a:cubicBezTo>
                        <a:pt x="86" y="27"/>
                        <a:pt x="81" y="26"/>
                        <a:pt x="78" y="24"/>
                      </a:cubicBezTo>
                      <a:cubicBezTo>
                        <a:pt x="75" y="21"/>
                        <a:pt x="61" y="11"/>
                        <a:pt x="59" y="10"/>
                      </a:cubicBezTo>
                      <a:cubicBezTo>
                        <a:pt x="56" y="8"/>
                        <a:pt x="46" y="1"/>
                        <a:pt x="43" y="0"/>
                      </a:cubicBezTo>
                      <a:cubicBezTo>
                        <a:pt x="40" y="0"/>
                        <a:pt x="40" y="0"/>
                        <a:pt x="36" y="0"/>
                      </a:cubicBezTo>
                      <a:cubicBezTo>
                        <a:pt x="33" y="0"/>
                        <a:pt x="34" y="3"/>
                        <a:pt x="28" y="3"/>
                      </a:cubicBezTo>
                      <a:cubicBezTo>
                        <a:pt x="21" y="3"/>
                        <a:pt x="18" y="7"/>
                        <a:pt x="20" y="8"/>
                      </a:cubicBezTo>
                      <a:cubicBezTo>
                        <a:pt x="22" y="9"/>
                        <a:pt x="28" y="14"/>
                        <a:pt x="26" y="15"/>
                      </a:cubicBezTo>
                      <a:cubicBezTo>
                        <a:pt x="24" y="16"/>
                        <a:pt x="24" y="19"/>
                        <a:pt x="21" y="19"/>
                      </a:cubicBezTo>
                      <a:cubicBezTo>
                        <a:pt x="19" y="19"/>
                        <a:pt x="16" y="19"/>
                        <a:pt x="16" y="21"/>
                      </a:cubicBezTo>
                      <a:cubicBezTo>
                        <a:pt x="16" y="23"/>
                        <a:pt x="13" y="26"/>
                        <a:pt x="10" y="26"/>
                      </a:cubicBezTo>
                      <a:cubicBezTo>
                        <a:pt x="8" y="26"/>
                        <a:pt x="4" y="24"/>
                        <a:pt x="2" y="22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1" y="27"/>
                        <a:pt x="1" y="27"/>
                        <a:pt x="1" y="27"/>
                      </a:cubicBezTo>
                      <a:cubicBezTo>
                        <a:pt x="1" y="28"/>
                        <a:pt x="0" y="35"/>
                        <a:pt x="2" y="36"/>
                      </a:cubicBezTo>
                      <a:cubicBezTo>
                        <a:pt x="4" y="37"/>
                        <a:pt x="5" y="40"/>
                        <a:pt x="8" y="44"/>
                      </a:cubicBezTo>
                      <a:cubicBezTo>
                        <a:pt x="12" y="48"/>
                        <a:pt x="20" y="59"/>
                        <a:pt x="20" y="62"/>
                      </a:cubicBezTo>
                      <a:cubicBezTo>
                        <a:pt x="20" y="65"/>
                        <a:pt x="21" y="68"/>
                        <a:pt x="26" y="71"/>
                      </a:cubicBezTo>
                      <a:cubicBezTo>
                        <a:pt x="31" y="74"/>
                        <a:pt x="31" y="78"/>
                        <a:pt x="33" y="80"/>
                      </a:cubicBezTo>
                      <a:cubicBezTo>
                        <a:pt x="36" y="82"/>
                        <a:pt x="35" y="84"/>
                        <a:pt x="36" y="89"/>
                      </a:cubicBezTo>
                      <a:cubicBezTo>
                        <a:pt x="36" y="94"/>
                        <a:pt x="38" y="100"/>
                        <a:pt x="42" y="102"/>
                      </a:cubicBezTo>
                      <a:cubicBezTo>
                        <a:pt x="46" y="105"/>
                        <a:pt x="49" y="108"/>
                        <a:pt x="51" y="113"/>
                      </a:cubicBezTo>
                      <a:cubicBezTo>
                        <a:pt x="53" y="118"/>
                        <a:pt x="56" y="122"/>
                        <a:pt x="59" y="125"/>
                      </a:cubicBezTo>
                      <a:cubicBezTo>
                        <a:pt x="61" y="128"/>
                        <a:pt x="60" y="129"/>
                        <a:pt x="61" y="131"/>
                      </a:cubicBezTo>
                      <a:cubicBezTo>
                        <a:pt x="62" y="132"/>
                        <a:pt x="63" y="134"/>
                        <a:pt x="64" y="136"/>
                      </a:cubicBezTo>
                      <a:cubicBezTo>
                        <a:pt x="66" y="135"/>
                        <a:pt x="68" y="134"/>
                        <a:pt x="68" y="134"/>
                      </a:cubicBezTo>
                      <a:cubicBezTo>
                        <a:pt x="68" y="133"/>
                        <a:pt x="67" y="131"/>
                        <a:pt x="68" y="130"/>
                      </a:cubicBezTo>
                      <a:cubicBezTo>
                        <a:pt x="68" y="129"/>
                        <a:pt x="70" y="127"/>
                        <a:pt x="71" y="127"/>
                      </a:cubicBezTo>
                      <a:cubicBezTo>
                        <a:pt x="72" y="126"/>
                        <a:pt x="74" y="128"/>
                        <a:pt x="77" y="128"/>
                      </a:cubicBezTo>
                      <a:cubicBezTo>
                        <a:pt x="80" y="127"/>
                        <a:pt x="86" y="128"/>
                        <a:pt x="87" y="129"/>
                      </a:cubicBezTo>
                      <a:cubicBezTo>
                        <a:pt x="88" y="129"/>
                        <a:pt x="96" y="129"/>
                        <a:pt x="98" y="130"/>
                      </a:cubicBezTo>
                      <a:cubicBezTo>
                        <a:pt x="100" y="132"/>
                        <a:pt x="102" y="131"/>
                        <a:pt x="104" y="128"/>
                      </a:cubicBezTo>
                      <a:cubicBezTo>
                        <a:pt x="105" y="125"/>
                        <a:pt x="115" y="118"/>
                        <a:pt x="116" y="117"/>
                      </a:cubicBezTo>
                      <a:cubicBezTo>
                        <a:pt x="117" y="117"/>
                        <a:pt x="128" y="117"/>
                        <a:pt x="132" y="117"/>
                      </a:cubicBezTo>
                      <a:cubicBezTo>
                        <a:pt x="136" y="116"/>
                        <a:pt x="163" y="107"/>
                        <a:pt x="164" y="106"/>
                      </a:cubicBezTo>
                      <a:cubicBezTo>
                        <a:pt x="165" y="105"/>
                        <a:pt x="170" y="91"/>
                        <a:pt x="170" y="89"/>
                      </a:cubicBezTo>
                      <a:cubicBezTo>
                        <a:pt x="170" y="88"/>
                        <a:pt x="168" y="83"/>
                        <a:pt x="166" y="83"/>
                      </a:cubicBezTo>
                      <a:cubicBezTo>
                        <a:pt x="164" y="84"/>
                        <a:pt x="147" y="82"/>
                        <a:pt x="145" y="81"/>
                      </a:cubicBezTo>
                      <a:cubicBezTo>
                        <a:pt x="145" y="81"/>
                        <a:pt x="140" y="77"/>
                        <a:pt x="139" y="73"/>
                      </a:cubicBezTo>
                      <a:cubicBezTo>
                        <a:pt x="138" y="72"/>
                        <a:pt x="137" y="69"/>
                        <a:pt x="136" y="67"/>
                      </a:cubicBezTo>
                      <a:cubicBezTo>
                        <a:pt x="134" y="68"/>
                        <a:pt x="131" y="67"/>
                        <a:pt x="129" y="63"/>
                      </a:cubicBezTo>
                      <a:cubicBezTo>
                        <a:pt x="128" y="62"/>
                        <a:pt x="124" y="56"/>
                        <a:pt x="125" y="54"/>
                      </a:cubicBezTo>
                      <a:cubicBezTo>
                        <a:pt x="127" y="52"/>
                        <a:pt x="124" y="48"/>
                        <a:pt x="121" y="45"/>
                      </a:cubicBezTo>
                      <a:cubicBezTo>
                        <a:pt x="119" y="43"/>
                        <a:pt x="114" y="39"/>
                        <a:pt x="113" y="36"/>
                      </a:cubicBezTo>
                      <a:cubicBezTo>
                        <a:pt x="113" y="35"/>
                        <a:pt x="113" y="34"/>
                        <a:pt x="112" y="32"/>
                      </a:cubicBezTo>
                      <a:cubicBezTo>
                        <a:pt x="106" y="32"/>
                        <a:pt x="106" y="32"/>
                        <a:pt x="106" y="32"/>
                      </a:cubicBezTo>
                      <a:lnTo>
                        <a:pt x="102" y="2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3" name="Freeform 96">
                  <a:extLst>
                    <a:ext uri="{FF2B5EF4-FFF2-40B4-BE49-F238E27FC236}">
                      <a16:creationId xmlns:a16="http://schemas.microsoft.com/office/drawing/2014/main" id="{7F1C08D2-EF48-4170-A3F8-BDE3288590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463829" y="-9774750"/>
                  <a:ext cx="395672" cy="444321"/>
                </a:xfrm>
                <a:custGeom>
                  <a:avLst/>
                  <a:gdLst>
                    <a:gd name="T0" fmla="*/ 32 w 64"/>
                    <a:gd name="T1" fmla="*/ 1 h 72"/>
                    <a:gd name="T2" fmla="*/ 32 w 64"/>
                    <a:gd name="T3" fmla="*/ 7 h 72"/>
                    <a:gd name="T4" fmla="*/ 27 w 64"/>
                    <a:gd name="T5" fmla="*/ 14 h 72"/>
                    <a:gd name="T6" fmla="*/ 24 w 64"/>
                    <a:gd name="T7" fmla="*/ 20 h 72"/>
                    <a:gd name="T8" fmla="*/ 26 w 64"/>
                    <a:gd name="T9" fmla="*/ 20 h 72"/>
                    <a:gd name="T10" fmla="*/ 30 w 64"/>
                    <a:gd name="T11" fmla="*/ 26 h 72"/>
                    <a:gd name="T12" fmla="*/ 24 w 64"/>
                    <a:gd name="T13" fmla="*/ 43 h 72"/>
                    <a:gd name="T14" fmla="*/ 0 w 64"/>
                    <a:gd name="T15" fmla="*/ 51 h 72"/>
                    <a:gd name="T16" fmla="*/ 10 w 64"/>
                    <a:gd name="T17" fmla="*/ 72 h 72"/>
                    <a:gd name="T18" fmla="*/ 12 w 64"/>
                    <a:gd name="T19" fmla="*/ 71 h 72"/>
                    <a:gd name="T20" fmla="*/ 25 w 64"/>
                    <a:gd name="T21" fmla="*/ 68 h 72"/>
                    <a:gd name="T22" fmla="*/ 28 w 64"/>
                    <a:gd name="T23" fmla="*/ 62 h 72"/>
                    <a:gd name="T24" fmla="*/ 37 w 64"/>
                    <a:gd name="T25" fmla="*/ 61 h 72"/>
                    <a:gd name="T26" fmla="*/ 42 w 64"/>
                    <a:gd name="T27" fmla="*/ 53 h 72"/>
                    <a:gd name="T28" fmla="*/ 47 w 64"/>
                    <a:gd name="T29" fmla="*/ 51 h 72"/>
                    <a:gd name="T30" fmla="*/ 50 w 64"/>
                    <a:gd name="T31" fmla="*/ 40 h 72"/>
                    <a:gd name="T32" fmla="*/ 56 w 64"/>
                    <a:gd name="T33" fmla="*/ 35 h 72"/>
                    <a:gd name="T34" fmla="*/ 63 w 64"/>
                    <a:gd name="T35" fmla="*/ 26 h 72"/>
                    <a:gd name="T36" fmla="*/ 62 w 64"/>
                    <a:gd name="T37" fmla="*/ 22 h 72"/>
                    <a:gd name="T38" fmla="*/ 55 w 64"/>
                    <a:gd name="T39" fmla="*/ 13 h 72"/>
                    <a:gd name="T40" fmla="*/ 42 w 64"/>
                    <a:gd name="T41" fmla="*/ 8 h 72"/>
                    <a:gd name="T42" fmla="*/ 38 w 64"/>
                    <a:gd name="T43" fmla="*/ 0 h 72"/>
                    <a:gd name="T44" fmla="*/ 35 w 64"/>
                    <a:gd name="T45" fmla="*/ 1 h 72"/>
                    <a:gd name="T46" fmla="*/ 32 w 64"/>
                    <a:gd name="T47" fmla="*/ 1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4" h="72">
                      <a:moveTo>
                        <a:pt x="32" y="1"/>
                      </a:moveTo>
                      <a:cubicBezTo>
                        <a:pt x="32" y="7"/>
                        <a:pt x="32" y="7"/>
                        <a:pt x="32" y="7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5" y="20"/>
                        <a:pt x="25" y="21"/>
                        <a:pt x="26" y="20"/>
                      </a:cubicBezTo>
                      <a:cubicBezTo>
                        <a:pt x="28" y="20"/>
                        <a:pt x="30" y="25"/>
                        <a:pt x="30" y="26"/>
                      </a:cubicBezTo>
                      <a:cubicBezTo>
                        <a:pt x="30" y="28"/>
                        <a:pt x="25" y="42"/>
                        <a:pt x="24" y="43"/>
                      </a:cubicBezTo>
                      <a:cubicBezTo>
                        <a:pt x="23" y="44"/>
                        <a:pt x="9" y="48"/>
                        <a:pt x="0" y="51"/>
                      </a:cubicBezTo>
                      <a:cubicBezTo>
                        <a:pt x="2" y="56"/>
                        <a:pt x="6" y="64"/>
                        <a:pt x="10" y="72"/>
                      </a:cubicBezTo>
                      <a:cubicBezTo>
                        <a:pt x="10" y="71"/>
                        <a:pt x="11" y="71"/>
                        <a:pt x="12" y="71"/>
                      </a:cubicBezTo>
                      <a:cubicBezTo>
                        <a:pt x="16" y="68"/>
                        <a:pt x="21" y="69"/>
                        <a:pt x="25" y="68"/>
                      </a:cubicBezTo>
                      <a:cubicBezTo>
                        <a:pt x="28" y="67"/>
                        <a:pt x="25" y="65"/>
                        <a:pt x="28" y="62"/>
                      </a:cubicBezTo>
                      <a:cubicBezTo>
                        <a:pt x="31" y="60"/>
                        <a:pt x="35" y="61"/>
                        <a:pt x="37" y="61"/>
                      </a:cubicBezTo>
                      <a:cubicBezTo>
                        <a:pt x="38" y="60"/>
                        <a:pt x="39" y="54"/>
                        <a:pt x="42" y="53"/>
                      </a:cubicBezTo>
                      <a:cubicBezTo>
                        <a:pt x="44" y="52"/>
                        <a:pt x="47" y="53"/>
                        <a:pt x="47" y="51"/>
                      </a:cubicBezTo>
                      <a:cubicBezTo>
                        <a:pt x="47" y="48"/>
                        <a:pt x="47" y="40"/>
                        <a:pt x="50" y="40"/>
                      </a:cubicBezTo>
                      <a:cubicBezTo>
                        <a:pt x="52" y="39"/>
                        <a:pt x="56" y="37"/>
                        <a:pt x="56" y="35"/>
                      </a:cubicBezTo>
                      <a:cubicBezTo>
                        <a:pt x="56" y="34"/>
                        <a:pt x="61" y="29"/>
                        <a:pt x="63" y="26"/>
                      </a:cubicBezTo>
                      <a:cubicBezTo>
                        <a:pt x="64" y="23"/>
                        <a:pt x="64" y="22"/>
                        <a:pt x="62" y="22"/>
                      </a:cubicBezTo>
                      <a:cubicBezTo>
                        <a:pt x="60" y="21"/>
                        <a:pt x="56" y="15"/>
                        <a:pt x="55" y="13"/>
                      </a:cubicBezTo>
                      <a:cubicBezTo>
                        <a:pt x="54" y="11"/>
                        <a:pt x="48" y="12"/>
                        <a:pt x="42" y="8"/>
                      </a:cubicBezTo>
                      <a:cubicBezTo>
                        <a:pt x="40" y="6"/>
                        <a:pt x="38" y="3"/>
                        <a:pt x="38" y="0"/>
                      </a:cubicBezTo>
                      <a:cubicBezTo>
                        <a:pt x="35" y="1"/>
                        <a:pt x="35" y="1"/>
                        <a:pt x="35" y="1"/>
                      </a:cubicBezTo>
                      <a:lnTo>
                        <a:pt x="32" y="1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4" name="Freeform 97">
                  <a:extLst>
                    <a:ext uri="{FF2B5EF4-FFF2-40B4-BE49-F238E27FC236}">
                      <a16:creationId xmlns:a16="http://schemas.microsoft.com/office/drawing/2014/main" id="{E363F813-4455-420E-ACFA-FD27C49DD5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531935" y="-9829885"/>
                  <a:ext cx="61622" cy="87568"/>
                </a:xfrm>
                <a:custGeom>
                  <a:avLst/>
                  <a:gdLst>
                    <a:gd name="T0" fmla="*/ 7 w 10"/>
                    <a:gd name="T1" fmla="*/ 13 h 14"/>
                    <a:gd name="T2" fmla="*/ 7 w 10"/>
                    <a:gd name="T3" fmla="*/ 11 h 14"/>
                    <a:gd name="T4" fmla="*/ 6 w 10"/>
                    <a:gd name="T5" fmla="*/ 1 h 14"/>
                    <a:gd name="T6" fmla="*/ 1 w 10"/>
                    <a:gd name="T7" fmla="*/ 9 h 14"/>
                    <a:gd name="T8" fmla="*/ 0 w 10"/>
                    <a:gd name="T9" fmla="*/ 9 h 14"/>
                    <a:gd name="T10" fmla="*/ 7 w 10"/>
                    <a:gd name="T11" fmla="*/ 13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4">
                      <a:moveTo>
                        <a:pt x="7" y="13"/>
                      </a:moveTo>
                      <a:cubicBezTo>
                        <a:pt x="7" y="13"/>
                        <a:pt x="7" y="12"/>
                        <a:pt x="7" y="11"/>
                      </a:cubicBezTo>
                      <a:cubicBezTo>
                        <a:pt x="9" y="9"/>
                        <a:pt x="10" y="2"/>
                        <a:pt x="6" y="1"/>
                      </a:cubicBezTo>
                      <a:cubicBezTo>
                        <a:pt x="3" y="0"/>
                        <a:pt x="1" y="7"/>
                        <a:pt x="1" y="9"/>
                      </a:cubicBezTo>
                      <a:cubicBezTo>
                        <a:pt x="1" y="9"/>
                        <a:pt x="1" y="9"/>
                        <a:pt x="0" y="9"/>
                      </a:cubicBezTo>
                      <a:cubicBezTo>
                        <a:pt x="2" y="13"/>
                        <a:pt x="5" y="14"/>
                        <a:pt x="7" y="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5" name="Freeform 98">
                  <a:extLst>
                    <a:ext uri="{FF2B5EF4-FFF2-40B4-BE49-F238E27FC236}">
                      <a16:creationId xmlns:a16="http://schemas.microsoft.com/office/drawing/2014/main" id="{384767EE-E499-4A7D-B743-689244ACD0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470315" y="-9842858"/>
                  <a:ext cx="243242" cy="191350"/>
                </a:xfrm>
                <a:custGeom>
                  <a:avLst/>
                  <a:gdLst>
                    <a:gd name="T0" fmla="*/ 6 w 39"/>
                    <a:gd name="T1" fmla="*/ 29 h 31"/>
                    <a:gd name="T2" fmla="*/ 25 w 39"/>
                    <a:gd name="T3" fmla="*/ 31 h 31"/>
                    <a:gd name="T4" fmla="*/ 28 w 39"/>
                    <a:gd name="T5" fmla="*/ 25 h 31"/>
                    <a:gd name="T6" fmla="*/ 33 w 39"/>
                    <a:gd name="T7" fmla="*/ 18 h 31"/>
                    <a:gd name="T8" fmla="*/ 33 w 39"/>
                    <a:gd name="T9" fmla="*/ 12 h 31"/>
                    <a:gd name="T10" fmla="*/ 36 w 39"/>
                    <a:gd name="T11" fmla="*/ 12 h 31"/>
                    <a:gd name="T12" fmla="*/ 39 w 39"/>
                    <a:gd name="T13" fmla="*/ 11 h 31"/>
                    <a:gd name="T14" fmla="*/ 36 w 39"/>
                    <a:gd name="T15" fmla="*/ 1 h 31"/>
                    <a:gd name="T16" fmla="*/ 27 w 39"/>
                    <a:gd name="T17" fmla="*/ 11 h 31"/>
                    <a:gd name="T18" fmla="*/ 12 w 39"/>
                    <a:gd name="T19" fmla="*/ 19 h 31"/>
                    <a:gd name="T20" fmla="*/ 2 w 39"/>
                    <a:gd name="T21" fmla="*/ 21 h 31"/>
                    <a:gd name="T22" fmla="*/ 0 w 39"/>
                    <a:gd name="T23" fmla="*/ 21 h 31"/>
                    <a:gd name="T24" fmla="*/ 6 w 39"/>
                    <a:gd name="T25" fmla="*/ 29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9" h="31">
                      <a:moveTo>
                        <a:pt x="6" y="29"/>
                      </a:moveTo>
                      <a:cubicBezTo>
                        <a:pt x="7" y="30"/>
                        <a:pt x="20" y="31"/>
                        <a:pt x="25" y="31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3" y="12"/>
                        <a:pt x="33" y="12"/>
                        <a:pt x="33" y="12"/>
                      </a:cubicBezTo>
                      <a:cubicBezTo>
                        <a:pt x="36" y="12"/>
                        <a:pt x="36" y="12"/>
                        <a:pt x="36" y="12"/>
                      </a:cubicBezTo>
                      <a:cubicBezTo>
                        <a:pt x="39" y="11"/>
                        <a:pt x="39" y="11"/>
                        <a:pt x="39" y="11"/>
                      </a:cubicBezTo>
                      <a:cubicBezTo>
                        <a:pt x="37" y="6"/>
                        <a:pt x="37" y="1"/>
                        <a:pt x="36" y="1"/>
                      </a:cubicBezTo>
                      <a:cubicBezTo>
                        <a:pt x="35" y="0"/>
                        <a:pt x="29" y="7"/>
                        <a:pt x="27" y="11"/>
                      </a:cubicBezTo>
                      <a:cubicBezTo>
                        <a:pt x="24" y="16"/>
                        <a:pt x="18" y="20"/>
                        <a:pt x="12" y="19"/>
                      </a:cubicBezTo>
                      <a:cubicBezTo>
                        <a:pt x="6" y="17"/>
                        <a:pt x="4" y="20"/>
                        <a:pt x="2" y="21"/>
                      </a:cubicBezTo>
                      <a:cubicBezTo>
                        <a:pt x="2" y="21"/>
                        <a:pt x="1" y="21"/>
                        <a:pt x="0" y="21"/>
                      </a:cubicBezTo>
                      <a:cubicBezTo>
                        <a:pt x="1" y="25"/>
                        <a:pt x="6" y="29"/>
                        <a:pt x="6" y="2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6" name="Freeform 99">
                  <a:extLst>
                    <a:ext uri="{FF2B5EF4-FFF2-40B4-BE49-F238E27FC236}">
                      <a16:creationId xmlns:a16="http://schemas.microsoft.com/office/drawing/2014/main" id="{EA803046-3EA4-4D9D-85A7-50BDDDBA5C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118957" y="-10465555"/>
                  <a:ext cx="489726" cy="476753"/>
                </a:xfrm>
                <a:custGeom>
                  <a:avLst/>
                  <a:gdLst>
                    <a:gd name="T0" fmla="*/ 66 w 79"/>
                    <a:gd name="T1" fmla="*/ 70 h 77"/>
                    <a:gd name="T2" fmla="*/ 70 w 79"/>
                    <a:gd name="T3" fmla="*/ 67 h 77"/>
                    <a:gd name="T4" fmla="*/ 75 w 79"/>
                    <a:gd name="T5" fmla="*/ 70 h 77"/>
                    <a:gd name="T6" fmla="*/ 79 w 79"/>
                    <a:gd name="T7" fmla="*/ 68 h 77"/>
                    <a:gd name="T8" fmla="*/ 74 w 79"/>
                    <a:gd name="T9" fmla="*/ 62 h 77"/>
                    <a:gd name="T10" fmla="*/ 71 w 79"/>
                    <a:gd name="T11" fmla="*/ 56 h 77"/>
                    <a:gd name="T12" fmla="*/ 72 w 79"/>
                    <a:gd name="T13" fmla="*/ 51 h 77"/>
                    <a:gd name="T14" fmla="*/ 68 w 79"/>
                    <a:gd name="T15" fmla="*/ 46 h 77"/>
                    <a:gd name="T16" fmla="*/ 59 w 79"/>
                    <a:gd name="T17" fmla="*/ 40 h 77"/>
                    <a:gd name="T18" fmla="*/ 55 w 79"/>
                    <a:gd name="T19" fmla="*/ 36 h 77"/>
                    <a:gd name="T20" fmla="*/ 54 w 79"/>
                    <a:gd name="T21" fmla="*/ 28 h 77"/>
                    <a:gd name="T22" fmla="*/ 58 w 79"/>
                    <a:gd name="T23" fmla="*/ 22 h 77"/>
                    <a:gd name="T24" fmla="*/ 59 w 79"/>
                    <a:gd name="T25" fmla="*/ 17 h 77"/>
                    <a:gd name="T26" fmla="*/ 55 w 79"/>
                    <a:gd name="T27" fmla="*/ 14 h 77"/>
                    <a:gd name="T28" fmla="*/ 51 w 79"/>
                    <a:gd name="T29" fmla="*/ 10 h 77"/>
                    <a:gd name="T30" fmla="*/ 48 w 79"/>
                    <a:gd name="T31" fmla="*/ 3 h 77"/>
                    <a:gd name="T32" fmla="*/ 40 w 79"/>
                    <a:gd name="T33" fmla="*/ 2 h 77"/>
                    <a:gd name="T34" fmla="*/ 32 w 79"/>
                    <a:gd name="T35" fmla="*/ 1 h 77"/>
                    <a:gd name="T36" fmla="*/ 29 w 79"/>
                    <a:gd name="T37" fmla="*/ 3 h 77"/>
                    <a:gd name="T38" fmla="*/ 29 w 79"/>
                    <a:gd name="T39" fmla="*/ 3 h 77"/>
                    <a:gd name="T40" fmla="*/ 24 w 79"/>
                    <a:gd name="T41" fmla="*/ 7 h 77"/>
                    <a:gd name="T42" fmla="*/ 19 w 79"/>
                    <a:gd name="T43" fmla="*/ 11 h 77"/>
                    <a:gd name="T44" fmla="*/ 20 w 79"/>
                    <a:gd name="T45" fmla="*/ 17 h 77"/>
                    <a:gd name="T46" fmla="*/ 19 w 79"/>
                    <a:gd name="T47" fmla="*/ 24 h 77"/>
                    <a:gd name="T48" fmla="*/ 17 w 79"/>
                    <a:gd name="T49" fmla="*/ 28 h 77"/>
                    <a:gd name="T50" fmla="*/ 0 w 79"/>
                    <a:gd name="T51" fmla="*/ 38 h 77"/>
                    <a:gd name="T52" fmla="*/ 1 w 79"/>
                    <a:gd name="T53" fmla="*/ 42 h 77"/>
                    <a:gd name="T54" fmla="*/ 2 w 79"/>
                    <a:gd name="T55" fmla="*/ 49 h 77"/>
                    <a:gd name="T56" fmla="*/ 9 w 79"/>
                    <a:gd name="T57" fmla="*/ 49 h 77"/>
                    <a:gd name="T58" fmla="*/ 25 w 79"/>
                    <a:gd name="T59" fmla="*/ 59 h 77"/>
                    <a:gd name="T60" fmla="*/ 44 w 79"/>
                    <a:gd name="T61" fmla="*/ 73 h 77"/>
                    <a:gd name="T62" fmla="*/ 53 w 79"/>
                    <a:gd name="T63" fmla="*/ 76 h 77"/>
                    <a:gd name="T64" fmla="*/ 63 w 79"/>
                    <a:gd name="T65" fmla="*/ 77 h 77"/>
                    <a:gd name="T66" fmla="*/ 66 w 79"/>
                    <a:gd name="T67" fmla="*/ 70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79" h="77">
                      <a:moveTo>
                        <a:pt x="66" y="70"/>
                      </a:moveTo>
                      <a:cubicBezTo>
                        <a:pt x="67" y="69"/>
                        <a:pt x="67" y="67"/>
                        <a:pt x="70" y="67"/>
                      </a:cubicBezTo>
                      <a:cubicBezTo>
                        <a:pt x="72" y="67"/>
                        <a:pt x="73" y="68"/>
                        <a:pt x="75" y="70"/>
                      </a:cubicBezTo>
                      <a:cubicBezTo>
                        <a:pt x="76" y="69"/>
                        <a:pt x="77" y="69"/>
                        <a:pt x="79" y="68"/>
                      </a:cubicBezTo>
                      <a:cubicBezTo>
                        <a:pt x="76" y="66"/>
                        <a:pt x="74" y="63"/>
                        <a:pt x="74" y="62"/>
                      </a:cubicBezTo>
                      <a:cubicBezTo>
                        <a:pt x="74" y="59"/>
                        <a:pt x="72" y="58"/>
                        <a:pt x="71" y="56"/>
                      </a:cubicBezTo>
                      <a:cubicBezTo>
                        <a:pt x="71" y="55"/>
                        <a:pt x="73" y="52"/>
                        <a:pt x="72" y="51"/>
                      </a:cubicBezTo>
                      <a:cubicBezTo>
                        <a:pt x="71" y="50"/>
                        <a:pt x="70" y="47"/>
                        <a:pt x="68" y="46"/>
                      </a:cubicBezTo>
                      <a:cubicBezTo>
                        <a:pt x="66" y="46"/>
                        <a:pt x="59" y="42"/>
                        <a:pt x="59" y="40"/>
                      </a:cubicBezTo>
                      <a:cubicBezTo>
                        <a:pt x="59" y="38"/>
                        <a:pt x="57" y="36"/>
                        <a:pt x="55" y="36"/>
                      </a:cubicBezTo>
                      <a:cubicBezTo>
                        <a:pt x="54" y="35"/>
                        <a:pt x="53" y="29"/>
                        <a:pt x="54" y="28"/>
                      </a:cubicBezTo>
                      <a:cubicBezTo>
                        <a:pt x="56" y="28"/>
                        <a:pt x="56" y="22"/>
                        <a:pt x="58" y="22"/>
                      </a:cubicBezTo>
                      <a:cubicBezTo>
                        <a:pt x="59" y="22"/>
                        <a:pt x="58" y="19"/>
                        <a:pt x="59" y="17"/>
                      </a:cubicBezTo>
                      <a:cubicBezTo>
                        <a:pt x="59" y="15"/>
                        <a:pt x="57" y="14"/>
                        <a:pt x="55" y="14"/>
                      </a:cubicBezTo>
                      <a:cubicBezTo>
                        <a:pt x="54" y="14"/>
                        <a:pt x="51" y="12"/>
                        <a:pt x="51" y="10"/>
                      </a:cubicBezTo>
                      <a:cubicBezTo>
                        <a:pt x="51" y="8"/>
                        <a:pt x="48" y="4"/>
                        <a:pt x="48" y="3"/>
                      </a:cubicBezTo>
                      <a:cubicBezTo>
                        <a:pt x="48" y="8"/>
                        <a:pt x="41" y="1"/>
                        <a:pt x="40" y="2"/>
                      </a:cubicBezTo>
                      <a:cubicBezTo>
                        <a:pt x="38" y="3"/>
                        <a:pt x="36" y="0"/>
                        <a:pt x="32" y="1"/>
                      </a:cubicBezTo>
                      <a:cubicBezTo>
                        <a:pt x="30" y="1"/>
                        <a:pt x="30" y="2"/>
                        <a:pt x="29" y="3"/>
                      </a:cubicBezTo>
                      <a:cubicBezTo>
                        <a:pt x="29" y="3"/>
                        <a:pt x="29" y="3"/>
                        <a:pt x="29" y="3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24" y="7"/>
                        <a:pt x="20" y="8"/>
                        <a:pt x="19" y="11"/>
                      </a:cubicBezTo>
                      <a:cubicBezTo>
                        <a:pt x="18" y="13"/>
                        <a:pt x="21" y="16"/>
                        <a:pt x="20" y="17"/>
                      </a:cubicBezTo>
                      <a:cubicBezTo>
                        <a:pt x="19" y="19"/>
                        <a:pt x="19" y="22"/>
                        <a:pt x="19" y="24"/>
                      </a:cubicBezTo>
                      <a:cubicBezTo>
                        <a:pt x="19" y="25"/>
                        <a:pt x="17" y="28"/>
                        <a:pt x="17" y="28"/>
                      </a:cubicBezTo>
                      <a:cubicBezTo>
                        <a:pt x="17" y="28"/>
                        <a:pt x="8" y="34"/>
                        <a:pt x="0" y="38"/>
                      </a:cubicBezTo>
                      <a:cubicBezTo>
                        <a:pt x="0" y="39"/>
                        <a:pt x="0" y="40"/>
                        <a:pt x="1" y="42"/>
                      </a:cubicBezTo>
                      <a:cubicBezTo>
                        <a:pt x="1" y="43"/>
                        <a:pt x="2" y="47"/>
                        <a:pt x="2" y="49"/>
                      </a:cubicBezTo>
                      <a:cubicBezTo>
                        <a:pt x="6" y="49"/>
                        <a:pt x="6" y="49"/>
                        <a:pt x="9" y="49"/>
                      </a:cubicBezTo>
                      <a:cubicBezTo>
                        <a:pt x="12" y="50"/>
                        <a:pt x="22" y="57"/>
                        <a:pt x="25" y="59"/>
                      </a:cubicBezTo>
                      <a:cubicBezTo>
                        <a:pt x="27" y="60"/>
                        <a:pt x="41" y="70"/>
                        <a:pt x="44" y="73"/>
                      </a:cubicBezTo>
                      <a:cubicBezTo>
                        <a:pt x="47" y="75"/>
                        <a:pt x="52" y="76"/>
                        <a:pt x="53" y="76"/>
                      </a:cubicBezTo>
                      <a:cubicBezTo>
                        <a:pt x="55" y="76"/>
                        <a:pt x="59" y="77"/>
                        <a:pt x="63" y="77"/>
                      </a:cubicBezTo>
                      <a:cubicBezTo>
                        <a:pt x="64" y="74"/>
                        <a:pt x="65" y="71"/>
                        <a:pt x="66" y="7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7" name="Freeform 100">
                  <a:extLst>
                    <a:ext uri="{FF2B5EF4-FFF2-40B4-BE49-F238E27FC236}">
                      <a16:creationId xmlns:a16="http://schemas.microsoft.com/office/drawing/2014/main" id="{645195DC-A3B1-4670-8E70-ECB33A370A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729772" y="-10050424"/>
                  <a:ext cx="94054" cy="84323"/>
                </a:xfrm>
                <a:custGeom>
                  <a:avLst/>
                  <a:gdLst>
                    <a:gd name="T0" fmla="*/ 5 w 15"/>
                    <a:gd name="T1" fmla="*/ 11 h 14"/>
                    <a:gd name="T2" fmla="*/ 9 w 15"/>
                    <a:gd name="T3" fmla="*/ 14 h 14"/>
                    <a:gd name="T4" fmla="*/ 15 w 15"/>
                    <a:gd name="T5" fmla="*/ 14 h 14"/>
                    <a:gd name="T6" fmla="*/ 11 w 15"/>
                    <a:gd name="T7" fmla="*/ 4 h 14"/>
                    <a:gd name="T8" fmla="*/ 12 w 15"/>
                    <a:gd name="T9" fmla="*/ 3 h 14"/>
                    <a:gd name="T10" fmla="*/ 7 w 15"/>
                    <a:gd name="T11" fmla="*/ 0 h 14"/>
                    <a:gd name="T12" fmla="*/ 3 w 15"/>
                    <a:gd name="T13" fmla="*/ 3 h 14"/>
                    <a:gd name="T14" fmla="*/ 0 w 15"/>
                    <a:gd name="T15" fmla="*/ 10 h 14"/>
                    <a:gd name="T16" fmla="*/ 5 w 15"/>
                    <a:gd name="T17" fmla="*/ 1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4">
                      <a:moveTo>
                        <a:pt x="5" y="11"/>
                      </a:moveTo>
                      <a:cubicBezTo>
                        <a:pt x="9" y="14"/>
                        <a:pt x="9" y="14"/>
                        <a:pt x="9" y="14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4" y="11"/>
                        <a:pt x="11" y="6"/>
                        <a:pt x="11" y="4"/>
                      </a:cubicBezTo>
                      <a:cubicBezTo>
                        <a:pt x="11" y="4"/>
                        <a:pt x="12" y="3"/>
                        <a:pt x="12" y="3"/>
                      </a:cubicBezTo>
                      <a:cubicBezTo>
                        <a:pt x="10" y="1"/>
                        <a:pt x="9" y="0"/>
                        <a:pt x="7" y="0"/>
                      </a:cubicBezTo>
                      <a:cubicBezTo>
                        <a:pt x="4" y="0"/>
                        <a:pt x="4" y="2"/>
                        <a:pt x="3" y="3"/>
                      </a:cubicBezTo>
                      <a:cubicBezTo>
                        <a:pt x="2" y="4"/>
                        <a:pt x="1" y="7"/>
                        <a:pt x="0" y="10"/>
                      </a:cubicBezTo>
                      <a:cubicBezTo>
                        <a:pt x="2" y="10"/>
                        <a:pt x="5" y="11"/>
                        <a:pt x="5" y="1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8" name="Freeform 101">
                  <a:extLst>
                    <a:ext uri="{FF2B5EF4-FFF2-40B4-BE49-F238E27FC236}">
                      <a16:creationId xmlns:a16="http://schemas.microsoft.com/office/drawing/2014/main" id="{F06DFC10-7D6C-4FFD-B371-16378B41AC4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269205" y="-11305545"/>
                  <a:ext cx="729723" cy="612968"/>
                </a:xfrm>
                <a:custGeom>
                  <a:avLst/>
                  <a:gdLst>
                    <a:gd name="T0" fmla="*/ 103 w 118"/>
                    <a:gd name="T1" fmla="*/ 23 h 99"/>
                    <a:gd name="T2" fmla="*/ 99 w 118"/>
                    <a:gd name="T3" fmla="*/ 21 h 99"/>
                    <a:gd name="T4" fmla="*/ 94 w 118"/>
                    <a:gd name="T5" fmla="*/ 19 h 99"/>
                    <a:gd name="T6" fmla="*/ 86 w 118"/>
                    <a:gd name="T7" fmla="*/ 17 h 99"/>
                    <a:gd name="T8" fmla="*/ 81 w 118"/>
                    <a:gd name="T9" fmla="*/ 15 h 99"/>
                    <a:gd name="T10" fmla="*/ 79 w 118"/>
                    <a:gd name="T11" fmla="*/ 11 h 99"/>
                    <a:gd name="T12" fmla="*/ 76 w 118"/>
                    <a:gd name="T13" fmla="*/ 13 h 99"/>
                    <a:gd name="T14" fmla="*/ 73 w 118"/>
                    <a:gd name="T15" fmla="*/ 10 h 99"/>
                    <a:gd name="T16" fmla="*/ 68 w 118"/>
                    <a:gd name="T17" fmla="*/ 7 h 99"/>
                    <a:gd name="T18" fmla="*/ 64 w 118"/>
                    <a:gd name="T19" fmla="*/ 4 h 99"/>
                    <a:gd name="T20" fmla="*/ 61 w 118"/>
                    <a:gd name="T21" fmla="*/ 1 h 99"/>
                    <a:gd name="T22" fmla="*/ 60 w 118"/>
                    <a:gd name="T23" fmla="*/ 0 h 99"/>
                    <a:gd name="T24" fmla="*/ 58 w 118"/>
                    <a:gd name="T25" fmla="*/ 0 h 99"/>
                    <a:gd name="T26" fmla="*/ 54 w 118"/>
                    <a:gd name="T27" fmla="*/ 7 h 99"/>
                    <a:gd name="T28" fmla="*/ 45 w 118"/>
                    <a:gd name="T29" fmla="*/ 13 h 99"/>
                    <a:gd name="T30" fmla="*/ 40 w 118"/>
                    <a:gd name="T31" fmla="*/ 19 h 99"/>
                    <a:gd name="T32" fmla="*/ 30 w 118"/>
                    <a:gd name="T33" fmla="*/ 15 h 99"/>
                    <a:gd name="T34" fmla="*/ 25 w 118"/>
                    <a:gd name="T35" fmla="*/ 18 h 99"/>
                    <a:gd name="T36" fmla="*/ 26 w 118"/>
                    <a:gd name="T37" fmla="*/ 27 h 99"/>
                    <a:gd name="T38" fmla="*/ 19 w 118"/>
                    <a:gd name="T39" fmla="*/ 27 h 99"/>
                    <a:gd name="T40" fmla="*/ 14 w 118"/>
                    <a:gd name="T41" fmla="*/ 24 h 99"/>
                    <a:gd name="T42" fmla="*/ 7 w 118"/>
                    <a:gd name="T43" fmla="*/ 25 h 99"/>
                    <a:gd name="T44" fmla="*/ 2 w 118"/>
                    <a:gd name="T45" fmla="*/ 29 h 99"/>
                    <a:gd name="T46" fmla="*/ 3 w 118"/>
                    <a:gd name="T47" fmla="*/ 34 h 99"/>
                    <a:gd name="T48" fmla="*/ 13 w 118"/>
                    <a:gd name="T49" fmla="*/ 37 h 99"/>
                    <a:gd name="T50" fmla="*/ 20 w 118"/>
                    <a:gd name="T51" fmla="*/ 39 h 99"/>
                    <a:gd name="T52" fmla="*/ 23 w 118"/>
                    <a:gd name="T53" fmla="*/ 43 h 99"/>
                    <a:gd name="T54" fmla="*/ 29 w 118"/>
                    <a:gd name="T55" fmla="*/ 50 h 99"/>
                    <a:gd name="T56" fmla="*/ 31 w 118"/>
                    <a:gd name="T57" fmla="*/ 56 h 99"/>
                    <a:gd name="T58" fmla="*/ 30 w 118"/>
                    <a:gd name="T59" fmla="*/ 66 h 99"/>
                    <a:gd name="T60" fmla="*/ 26 w 118"/>
                    <a:gd name="T61" fmla="*/ 80 h 99"/>
                    <a:gd name="T62" fmla="*/ 26 w 118"/>
                    <a:gd name="T63" fmla="*/ 80 h 99"/>
                    <a:gd name="T64" fmla="*/ 30 w 118"/>
                    <a:gd name="T65" fmla="*/ 82 h 99"/>
                    <a:gd name="T66" fmla="*/ 38 w 118"/>
                    <a:gd name="T67" fmla="*/ 86 h 99"/>
                    <a:gd name="T68" fmla="*/ 45 w 118"/>
                    <a:gd name="T69" fmla="*/ 86 h 99"/>
                    <a:gd name="T70" fmla="*/ 48 w 118"/>
                    <a:gd name="T71" fmla="*/ 86 h 99"/>
                    <a:gd name="T72" fmla="*/ 58 w 118"/>
                    <a:gd name="T73" fmla="*/ 89 h 99"/>
                    <a:gd name="T74" fmla="*/ 66 w 118"/>
                    <a:gd name="T75" fmla="*/ 89 h 99"/>
                    <a:gd name="T76" fmla="*/ 66 w 118"/>
                    <a:gd name="T77" fmla="*/ 87 h 99"/>
                    <a:gd name="T78" fmla="*/ 72 w 118"/>
                    <a:gd name="T79" fmla="*/ 79 h 99"/>
                    <a:gd name="T80" fmla="*/ 87 w 118"/>
                    <a:gd name="T81" fmla="*/ 82 h 99"/>
                    <a:gd name="T82" fmla="*/ 96 w 118"/>
                    <a:gd name="T83" fmla="*/ 79 h 99"/>
                    <a:gd name="T84" fmla="*/ 101 w 118"/>
                    <a:gd name="T85" fmla="*/ 76 h 99"/>
                    <a:gd name="T86" fmla="*/ 102 w 118"/>
                    <a:gd name="T87" fmla="*/ 73 h 99"/>
                    <a:gd name="T88" fmla="*/ 99 w 118"/>
                    <a:gd name="T89" fmla="*/ 72 h 99"/>
                    <a:gd name="T90" fmla="*/ 97 w 118"/>
                    <a:gd name="T91" fmla="*/ 68 h 99"/>
                    <a:gd name="T92" fmla="*/ 94 w 118"/>
                    <a:gd name="T93" fmla="*/ 64 h 99"/>
                    <a:gd name="T94" fmla="*/ 96 w 118"/>
                    <a:gd name="T95" fmla="*/ 62 h 99"/>
                    <a:gd name="T96" fmla="*/ 98 w 118"/>
                    <a:gd name="T97" fmla="*/ 59 h 99"/>
                    <a:gd name="T98" fmla="*/ 97 w 118"/>
                    <a:gd name="T99" fmla="*/ 55 h 99"/>
                    <a:gd name="T100" fmla="*/ 95 w 118"/>
                    <a:gd name="T101" fmla="*/ 51 h 99"/>
                    <a:gd name="T102" fmla="*/ 92 w 118"/>
                    <a:gd name="T103" fmla="*/ 50 h 99"/>
                    <a:gd name="T104" fmla="*/ 91 w 118"/>
                    <a:gd name="T105" fmla="*/ 48 h 99"/>
                    <a:gd name="T106" fmla="*/ 96 w 118"/>
                    <a:gd name="T107" fmla="*/ 41 h 99"/>
                    <a:gd name="T108" fmla="*/ 100 w 118"/>
                    <a:gd name="T109" fmla="*/ 38 h 99"/>
                    <a:gd name="T110" fmla="*/ 102 w 118"/>
                    <a:gd name="T111" fmla="*/ 32 h 99"/>
                    <a:gd name="T112" fmla="*/ 105 w 118"/>
                    <a:gd name="T113" fmla="*/ 25 h 99"/>
                    <a:gd name="T114" fmla="*/ 103 w 118"/>
                    <a:gd name="T115" fmla="*/ 23 h 99"/>
                    <a:gd name="T116" fmla="*/ 116 w 118"/>
                    <a:gd name="T117" fmla="*/ 83 h 99"/>
                    <a:gd name="T118" fmla="*/ 111 w 118"/>
                    <a:gd name="T119" fmla="*/ 87 h 99"/>
                    <a:gd name="T120" fmla="*/ 114 w 118"/>
                    <a:gd name="T121" fmla="*/ 98 h 99"/>
                    <a:gd name="T122" fmla="*/ 116 w 118"/>
                    <a:gd name="T123" fmla="*/ 83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8" h="99">
                      <a:moveTo>
                        <a:pt x="103" y="23"/>
                      </a:moveTo>
                      <a:cubicBezTo>
                        <a:pt x="102" y="23"/>
                        <a:pt x="101" y="21"/>
                        <a:pt x="99" y="21"/>
                      </a:cubicBezTo>
                      <a:cubicBezTo>
                        <a:pt x="97" y="21"/>
                        <a:pt x="95" y="20"/>
                        <a:pt x="94" y="19"/>
                      </a:cubicBezTo>
                      <a:cubicBezTo>
                        <a:pt x="93" y="17"/>
                        <a:pt x="87" y="17"/>
                        <a:pt x="86" y="17"/>
                      </a:cubicBezTo>
                      <a:cubicBezTo>
                        <a:pt x="84" y="18"/>
                        <a:pt x="83" y="14"/>
                        <a:pt x="81" y="15"/>
                      </a:cubicBezTo>
                      <a:cubicBezTo>
                        <a:pt x="80" y="15"/>
                        <a:pt x="79" y="12"/>
                        <a:pt x="79" y="11"/>
                      </a:cubicBezTo>
                      <a:cubicBezTo>
                        <a:pt x="79" y="9"/>
                        <a:pt x="77" y="12"/>
                        <a:pt x="76" y="13"/>
                      </a:cubicBezTo>
                      <a:cubicBezTo>
                        <a:pt x="74" y="13"/>
                        <a:pt x="73" y="11"/>
                        <a:pt x="73" y="10"/>
                      </a:cubicBezTo>
                      <a:cubicBezTo>
                        <a:pt x="73" y="9"/>
                        <a:pt x="70" y="8"/>
                        <a:pt x="68" y="7"/>
                      </a:cubicBezTo>
                      <a:cubicBezTo>
                        <a:pt x="67" y="6"/>
                        <a:pt x="65" y="3"/>
                        <a:pt x="64" y="4"/>
                      </a:cubicBezTo>
                      <a:cubicBezTo>
                        <a:pt x="63" y="6"/>
                        <a:pt x="61" y="3"/>
                        <a:pt x="61" y="1"/>
                      </a:cubicBezTo>
                      <a:cubicBezTo>
                        <a:pt x="61" y="1"/>
                        <a:pt x="61" y="1"/>
                        <a:pt x="60" y="0"/>
                      </a:cubicBezTo>
                      <a:cubicBezTo>
                        <a:pt x="60" y="0"/>
                        <a:pt x="59" y="0"/>
                        <a:pt x="58" y="0"/>
                      </a:cubicBezTo>
                      <a:cubicBezTo>
                        <a:pt x="56" y="0"/>
                        <a:pt x="53" y="3"/>
                        <a:pt x="54" y="7"/>
                      </a:cubicBezTo>
                      <a:cubicBezTo>
                        <a:pt x="54" y="12"/>
                        <a:pt x="50" y="13"/>
                        <a:pt x="45" y="13"/>
                      </a:cubicBezTo>
                      <a:cubicBezTo>
                        <a:pt x="40" y="13"/>
                        <a:pt x="42" y="17"/>
                        <a:pt x="40" y="19"/>
                      </a:cubicBezTo>
                      <a:cubicBezTo>
                        <a:pt x="38" y="20"/>
                        <a:pt x="31" y="18"/>
                        <a:pt x="30" y="15"/>
                      </a:cubicBezTo>
                      <a:cubicBezTo>
                        <a:pt x="29" y="13"/>
                        <a:pt x="23" y="15"/>
                        <a:pt x="25" y="18"/>
                      </a:cubicBezTo>
                      <a:cubicBezTo>
                        <a:pt x="28" y="21"/>
                        <a:pt x="28" y="26"/>
                        <a:pt x="26" y="27"/>
                      </a:cubicBezTo>
                      <a:cubicBezTo>
                        <a:pt x="25" y="28"/>
                        <a:pt x="21" y="25"/>
                        <a:pt x="19" y="27"/>
                      </a:cubicBezTo>
                      <a:cubicBezTo>
                        <a:pt x="17" y="28"/>
                        <a:pt x="17" y="25"/>
                        <a:pt x="14" y="24"/>
                      </a:cubicBezTo>
                      <a:cubicBezTo>
                        <a:pt x="12" y="23"/>
                        <a:pt x="11" y="25"/>
                        <a:pt x="7" y="25"/>
                      </a:cubicBezTo>
                      <a:cubicBezTo>
                        <a:pt x="2" y="25"/>
                        <a:pt x="0" y="27"/>
                        <a:pt x="2" y="29"/>
                      </a:cubicBezTo>
                      <a:cubicBezTo>
                        <a:pt x="3" y="31"/>
                        <a:pt x="1" y="32"/>
                        <a:pt x="3" y="34"/>
                      </a:cubicBezTo>
                      <a:cubicBezTo>
                        <a:pt x="4" y="35"/>
                        <a:pt x="9" y="35"/>
                        <a:pt x="13" y="37"/>
                      </a:cubicBezTo>
                      <a:cubicBezTo>
                        <a:pt x="17" y="39"/>
                        <a:pt x="18" y="38"/>
                        <a:pt x="20" y="39"/>
                      </a:cubicBezTo>
                      <a:cubicBezTo>
                        <a:pt x="22" y="41"/>
                        <a:pt x="23" y="40"/>
                        <a:pt x="23" y="43"/>
                      </a:cubicBezTo>
                      <a:cubicBezTo>
                        <a:pt x="23" y="46"/>
                        <a:pt x="25" y="49"/>
                        <a:pt x="29" y="50"/>
                      </a:cubicBezTo>
                      <a:cubicBezTo>
                        <a:pt x="33" y="51"/>
                        <a:pt x="30" y="53"/>
                        <a:pt x="31" y="56"/>
                      </a:cubicBezTo>
                      <a:cubicBezTo>
                        <a:pt x="33" y="58"/>
                        <a:pt x="30" y="62"/>
                        <a:pt x="30" y="66"/>
                      </a:cubicBezTo>
                      <a:cubicBezTo>
                        <a:pt x="31" y="69"/>
                        <a:pt x="28" y="79"/>
                        <a:pt x="26" y="80"/>
                      </a:cubicBezTo>
                      <a:cubicBezTo>
                        <a:pt x="26" y="80"/>
                        <a:pt x="26" y="80"/>
                        <a:pt x="26" y="80"/>
                      </a:cubicBezTo>
                      <a:cubicBezTo>
                        <a:pt x="28" y="81"/>
                        <a:pt x="30" y="82"/>
                        <a:pt x="30" y="82"/>
                      </a:cubicBezTo>
                      <a:cubicBezTo>
                        <a:pt x="32" y="84"/>
                        <a:pt x="36" y="85"/>
                        <a:pt x="38" y="86"/>
                      </a:cubicBezTo>
                      <a:cubicBezTo>
                        <a:pt x="41" y="88"/>
                        <a:pt x="45" y="87"/>
                        <a:pt x="45" y="86"/>
                      </a:cubicBezTo>
                      <a:cubicBezTo>
                        <a:pt x="45" y="84"/>
                        <a:pt x="47" y="85"/>
                        <a:pt x="48" y="86"/>
                      </a:cubicBezTo>
                      <a:cubicBezTo>
                        <a:pt x="50" y="88"/>
                        <a:pt x="55" y="88"/>
                        <a:pt x="58" y="89"/>
                      </a:cubicBezTo>
                      <a:cubicBezTo>
                        <a:pt x="60" y="89"/>
                        <a:pt x="63" y="89"/>
                        <a:pt x="66" y="89"/>
                      </a:cubicBezTo>
                      <a:cubicBezTo>
                        <a:pt x="66" y="88"/>
                        <a:pt x="66" y="88"/>
                        <a:pt x="66" y="87"/>
                      </a:cubicBezTo>
                      <a:cubicBezTo>
                        <a:pt x="64" y="82"/>
                        <a:pt x="68" y="80"/>
                        <a:pt x="72" y="79"/>
                      </a:cubicBezTo>
                      <a:cubicBezTo>
                        <a:pt x="76" y="78"/>
                        <a:pt x="85" y="81"/>
                        <a:pt x="87" y="82"/>
                      </a:cubicBezTo>
                      <a:cubicBezTo>
                        <a:pt x="89" y="84"/>
                        <a:pt x="92" y="83"/>
                        <a:pt x="96" y="79"/>
                      </a:cubicBezTo>
                      <a:cubicBezTo>
                        <a:pt x="98" y="77"/>
                        <a:pt x="100" y="76"/>
                        <a:pt x="101" y="76"/>
                      </a:cubicBezTo>
                      <a:cubicBezTo>
                        <a:pt x="102" y="75"/>
                        <a:pt x="102" y="74"/>
                        <a:pt x="102" y="73"/>
                      </a:cubicBezTo>
                      <a:cubicBezTo>
                        <a:pt x="103" y="72"/>
                        <a:pt x="100" y="72"/>
                        <a:pt x="99" y="72"/>
                      </a:cubicBezTo>
                      <a:cubicBezTo>
                        <a:pt x="97" y="72"/>
                        <a:pt x="96" y="70"/>
                        <a:pt x="97" y="68"/>
                      </a:cubicBezTo>
                      <a:cubicBezTo>
                        <a:pt x="98" y="66"/>
                        <a:pt x="96" y="66"/>
                        <a:pt x="94" y="64"/>
                      </a:cubicBezTo>
                      <a:cubicBezTo>
                        <a:pt x="93" y="62"/>
                        <a:pt x="95" y="62"/>
                        <a:pt x="96" y="62"/>
                      </a:cubicBezTo>
                      <a:cubicBezTo>
                        <a:pt x="97" y="61"/>
                        <a:pt x="99" y="59"/>
                        <a:pt x="98" y="59"/>
                      </a:cubicBezTo>
                      <a:cubicBezTo>
                        <a:pt x="97" y="58"/>
                        <a:pt x="96" y="57"/>
                        <a:pt x="97" y="55"/>
                      </a:cubicBezTo>
                      <a:cubicBezTo>
                        <a:pt x="98" y="53"/>
                        <a:pt x="95" y="52"/>
                        <a:pt x="95" y="51"/>
                      </a:cubicBezTo>
                      <a:cubicBezTo>
                        <a:pt x="95" y="49"/>
                        <a:pt x="93" y="48"/>
                        <a:pt x="92" y="50"/>
                      </a:cubicBezTo>
                      <a:cubicBezTo>
                        <a:pt x="90" y="52"/>
                        <a:pt x="90" y="51"/>
                        <a:pt x="91" y="48"/>
                      </a:cubicBezTo>
                      <a:cubicBezTo>
                        <a:pt x="92" y="45"/>
                        <a:pt x="96" y="43"/>
                        <a:pt x="96" y="41"/>
                      </a:cubicBezTo>
                      <a:cubicBezTo>
                        <a:pt x="96" y="40"/>
                        <a:pt x="98" y="38"/>
                        <a:pt x="100" y="38"/>
                      </a:cubicBezTo>
                      <a:cubicBezTo>
                        <a:pt x="102" y="38"/>
                        <a:pt x="101" y="34"/>
                        <a:pt x="102" y="32"/>
                      </a:cubicBezTo>
                      <a:cubicBezTo>
                        <a:pt x="102" y="30"/>
                        <a:pt x="103" y="27"/>
                        <a:pt x="105" y="25"/>
                      </a:cubicBezTo>
                      <a:cubicBezTo>
                        <a:pt x="107" y="23"/>
                        <a:pt x="104" y="22"/>
                        <a:pt x="103" y="23"/>
                      </a:cubicBezTo>
                      <a:close/>
                      <a:moveTo>
                        <a:pt x="116" y="83"/>
                      </a:moveTo>
                      <a:cubicBezTo>
                        <a:pt x="115" y="83"/>
                        <a:pt x="114" y="85"/>
                        <a:pt x="111" y="87"/>
                      </a:cubicBezTo>
                      <a:cubicBezTo>
                        <a:pt x="108" y="89"/>
                        <a:pt x="111" y="99"/>
                        <a:pt x="114" y="98"/>
                      </a:cubicBezTo>
                      <a:cubicBezTo>
                        <a:pt x="118" y="98"/>
                        <a:pt x="117" y="83"/>
                        <a:pt x="116" y="8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9" name="Freeform 102">
                  <a:extLst>
                    <a:ext uri="{FF2B5EF4-FFF2-40B4-BE49-F238E27FC236}">
                      <a16:creationId xmlns:a16="http://schemas.microsoft.com/office/drawing/2014/main" id="{19B7F31D-3C87-4ABF-A6DF-6FCB88CC3B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540514" y="-9216917"/>
                  <a:ext cx="120000" cy="61622"/>
                </a:xfrm>
                <a:custGeom>
                  <a:avLst/>
                  <a:gdLst>
                    <a:gd name="T0" fmla="*/ 19 w 19"/>
                    <a:gd name="T1" fmla="*/ 4 h 10"/>
                    <a:gd name="T2" fmla="*/ 10 w 19"/>
                    <a:gd name="T3" fmla="*/ 2 h 10"/>
                    <a:gd name="T4" fmla="*/ 6 w 19"/>
                    <a:gd name="T5" fmla="*/ 0 h 10"/>
                    <a:gd name="T6" fmla="*/ 6 w 19"/>
                    <a:gd name="T7" fmla="*/ 0 h 10"/>
                    <a:gd name="T8" fmla="*/ 0 w 19"/>
                    <a:gd name="T9" fmla="*/ 5 h 10"/>
                    <a:gd name="T10" fmla="*/ 16 w 19"/>
                    <a:gd name="T11" fmla="*/ 10 h 10"/>
                    <a:gd name="T12" fmla="*/ 19 w 19"/>
                    <a:gd name="T13" fmla="*/ 9 h 10"/>
                    <a:gd name="T14" fmla="*/ 19 w 19"/>
                    <a:gd name="T15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" h="10">
                      <a:moveTo>
                        <a:pt x="19" y="4"/>
                      </a:moveTo>
                      <a:cubicBezTo>
                        <a:pt x="17" y="2"/>
                        <a:pt x="14" y="4"/>
                        <a:pt x="10" y="2"/>
                      </a:cubicBezTo>
                      <a:cubicBezTo>
                        <a:pt x="9" y="1"/>
                        <a:pt x="8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0"/>
                        <a:pt x="3" y="2"/>
                        <a:pt x="0" y="5"/>
                      </a:cubicBezTo>
                      <a:cubicBezTo>
                        <a:pt x="3" y="7"/>
                        <a:pt x="13" y="10"/>
                        <a:pt x="16" y="10"/>
                      </a:cubicBezTo>
                      <a:cubicBezTo>
                        <a:pt x="17" y="10"/>
                        <a:pt x="18" y="9"/>
                        <a:pt x="19" y="9"/>
                      </a:cubicBezTo>
                      <a:cubicBezTo>
                        <a:pt x="19" y="6"/>
                        <a:pt x="19" y="4"/>
                        <a:pt x="19" y="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0" name="Freeform 103">
                  <a:extLst>
                    <a:ext uri="{FF2B5EF4-FFF2-40B4-BE49-F238E27FC236}">
                      <a16:creationId xmlns:a16="http://schemas.microsoft.com/office/drawing/2014/main" id="{9C391C77-1D49-47A5-9428-D64A09B90B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501595" y="-9310972"/>
                  <a:ext cx="308106" cy="168647"/>
                </a:xfrm>
                <a:custGeom>
                  <a:avLst/>
                  <a:gdLst>
                    <a:gd name="T0" fmla="*/ 21 w 50"/>
                    <a:gd name="T1" fmla="*/ 24 h 27"/>
                    <a:gd name="T2" fmla="*/ 24 w 50"/>
                    <a:gd name="T3" fmla="*/ 19 h 27"/>
                    <a:gd name="T4" fmla="*/ 32 w 50"/>
                    <a:gd name="T5" fmla="*/ 15 h 27"/>
                    <a:gd name="T6" fmla="*/ 40 w 50"/>
                    <a:gd name="T7" fmla="*/ 14 h 27"/>
                    <a:gd name="T8" fmla="*/ 50 w 50"/>
                    <a:gd name="T9" fmla="*/ 10 h 27"/>
                    <a:gd name="T10" fmla="*/ 41 w 50"/>
                    <a:gd name="T11" fmla="*/ 3 h 27"/>
                    <a:gd name="T12" fmla="*/ 23 w 50"/>
                    <a:gd name="T13" fmla="*/ 3 h 27"/>
                    <a:gd name="T14" fmla="*/ 8 w 50"/>
                    <a:gd name="T15" fmla="*/ 4 h 27"/>
                    <a:gd name="T16" fmla="*/ 8 w 50"/>
                    <a:gd name="T17" fmla="*/ 4 h 27"/>
                    <a:gd name="T18" fmla="*/ 4 w 50"/>
                    <a:gd name="T19" fmla="*/ 9 h 27"/>
                    <a:gd name="T20" fmla="*/ 0 w 50"/>
                    <a:gd name="T21" fmla="*/ 15 h 27"/>
                    <a:gd name="T22" fmla="*/ 4 w 50"/>
                    <a:gd name="T23" fmla="*/ 17 h 27"/>
                    <a:gd name="T24" fmla="*/ 13 w 50"/>
                    <a:gd name="T25" fmla="*/ 19 h 27"/>
                    <a:gd name="T26" fmla="*/ 13 w 50"/>
                    <a:gd name="T27" fmla="*/ 24 h 27"/>
                    <a:gd name="T28" fmla="*/ 15 w 50"/>
                    <a:gd name="T29" fmla="*/ 24 h 27"/>
                    <a:gd name="T30" fmla="*/ 16 w 50"/>
                    <a:gd name="T31" fmla="*/ 27 h 27"/>
                    <a:gd name="T32" fmla="*/ 19 w 50"/>
                    <a:gd name="T33" fmla="*/ 26 h 27"/>
                    <a:gd name="T34" fmla="*/ 21 w 50"/>
                    <a:gd name="T35" fmla="*/ 2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0" h="27">
                      <a:moveTo>
                        <a:pt x="21" y="24"/>
                      </a:moveTo>
                      <a:cubicBezTo>
                        <a:pt x="21" y="23"/>
                        <a:pt x="19" y="19"/>
                        <a:pt x="24" y="19"/>
                      </a:cubicBezTo>
                      <a:cubicBezTo>
                        <a:pt x="28" y="19"/>
                        <a:pt x="32" y="18"/>
                        <a:pt x="32" y="15"/>
                      </a:cubicBezTo>
                      <a:cubicBezTo>
                        <a:pt x="33" y="12"/>
                        <a:pt x="39" y="14"/>
                        <a:pt x="40" y="14"/>
                      </a:cubicBezTo>
                      <a:cubicBezTo>
                        <a:pt x="41" y="13"/>
                        <a:pt x="46" y="10"/>
                        <a:pt x="50" y="10"/>
                      </a:cubicBezTo>
                      <a:cubicBezTo>
                        <a:pt x="50" y="6"/>
                        <a:pt x="44" y="7"/>
                        <a:pt x="41" y="3"/>
                      </a:cubicBezTo>
                      <a:cubicBezTo>
                        <a:pt x="37" y="0"/>
                        <a:pt x="28" y="1"/>
                        <a:pt x="23" y="3"/>
                      </a:cubicBezTo>
                      <a:cubicBezTo>
                        <a:pt x="19" y="5"/>
                        <a:pt x="13" y="1"/>
                        <a:pt x="8" y="4"/>
                      </a:cubicBezTo>
                      <a:cubicBezTo>
                        <a:pt x="8" y="4"/>
                        <a:pt x="8" y="4"/>
                        <a:pt x="8" y="4"/>
                      </a:cubicBezTo>
                      <a:cubicBezTo>
                        <a:pt x="7" y="5"/>
                        <a:pt x="6" y="7"/>
                        <a:pt x="4" y="9"/>
                      </a:cubicBezTo>
                      <a:cubicBezTo>
                        <a:pt x="1" y="11"/>
                        <a:pt x="2" y="14"/>
                        <a:pt x="0" y="15"/>
                      </a:cubicBezTo>
                      <a:cubicBezTo>
                        <a:pt x="2" y="15"/>
                        <a:pt x="3" y="16"/>
                        <a:pt x="4" y="17"/>
                      </a:cubicBezTo>
                      <a:cubicBezTo>
                        <a:pt x="8" y="19"/>
                        <a:pt x="11" y="17"/>
                        <a:pt x="13" y="19"/>
                      </a:cubicBezTo>
                      <a:cubicBezTo>
                        <a:pt x="13" y="19"/>
                        <a:pt x="13" y="21"/>
                        <a:pt x="13" y="24"/>
                      </a:cubicBezTo>
                      <a:cubicBezTo>
                        <a:pt x="13" y="23"/>
                        <a:pt x="14" y="23"/>
                        <a:pt x="15" y="24"/>
                      </a:cubicBezTo>
                      <a:cubicBezTo>
                        <a:pt x="16" y="25"/>
                        <a:pt x="16" y="26"/>
                        <a:pt x="16" y="27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19" y="26"/>
                        <a:pt x="21" y="25"/>
                        <a:pt x="21" y="2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1" name="Freeform 104">
                  <a:extLst>
                    <a:ext uri="{FF2B5EF4-FFF2-40B4-BE49-F238E27FC236}">
                      <a16:creationId xmlns:a16="http://schemas.microsoft.com/office/drawing/2014/main" id="{B38DC8A6-722B-4D16-B046-1B8181DFF7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879959" y="-10186637"/>
                  <a:ext cx="1514579" cy="937289"/>
                </a:xfrm>
                <a:custGeom>
                  <a:avLst/>
                  <a:gdLst>
                    <a:gd name="T0" fmla="*/ 214 w 245"/>
                    <a:gd name="T1" fmla="*/ 142 h 152"/>
                    <a:gd name="T2" fmla="*/ 211 w 245"/>
                    <a:gd name="T3" fmla="*/ 128 h 152"/>
                    <a:gd name="T4" fmla="*/ 231 w 245"/>
                    <a:gd name="T5" fmla="*/ 123 h 152"/>
                    <a:gd name="T6" fmla="*/ 238 w 245"/>
                    <a:gd name="T7" fmla="*/ 115 h 152"/>
                    <a:gd name="T8" fmla="*/ 244 w 245"/>
                    <a:gd name="T9" fmla="*/ 99 h 152"/>
                    <a:gd name="T10" fmla="*/ 224 w 245"/>
                    <a:gd name="T11" fmla="*/ 98 h 152"/>
                    <a:gd name="T12" fmla="*/ 212 w 245"/>
                    <a:gd name="T13" fmla="*/ 114 h 152"/>
                    <a:gd name="T14" fmla="*/ 200 w 245"/>
                    <a:gd name="T15" fmla="*/ 121 h 152"/>
                    <a:gd name="T16" fmla="*/ 172 w 245"/>
                    <a:gd name="T17" fmla="*/ 121 h 152"/>
                    <a:gd name="T18" fmla="*/ 159 w 245"/>
                    <a:gd name="T19" fmla="*/ 102 h 152"/>
                    <a:gd name="T20" fmla="*/ 159 w 245"/>
                    <a:gd name="T21" fmla="*/ 64 h 152"/>
                    <a:gd name="T22" fmla="*/ 156 w 245"/>
                    <a:gd name="T23" fmla="*/ 59 h 152"/>
                    <a:gd name="T24" fmla="*/ 143 w 245"/>
                    <a:gd name="T25" fmla="*/ 50 h 152"/>
                    <a:gd name="T26" fmla="*/ 133 w 245"/>
                    <a:gd name="T27" fmla="*/ 33 h 152"/>
                    <a:gd name="T28" fmla="*/ 112 w 245"/>
                    <a:gd name="T29" fmla="*/ 33 h 152"/>
                    <a:gd name="T30" fmla="*/ 100 w 245"/>
                    <a:gd name="T31" fmla="*/ 23 h 152"/>
                    <a:gd name="T32" fmla="*/ 86 w 245"/>
                    <a:gd name="T33" fmla="*/ 8 h 152"/>
                    <a:gd name="T34" fmla="*/ 71 w 245"/>
                    <a:gd name="T35" fmla="*/ 12 h 152"/>
                    <a:gd name="T36" fmla="*/ 27 w 245"/>
                    <a:gd name="T37" fmla="*/ 5 h 152"/>
                    <a:gd name="T38" fmla="*/ 0 w 245"/>
                    <a:gd name="T39" fmla="*/ 2 h 152"/>
                    <a:gd name="T40" fmla="*/ 11 w 245"/>
                    <a:gd name="T41" fmla="*/ 25 h 152"/>
                    <a:gd name="T42" fmla="*/ 25 w 245"/>
                    <a:gd name="T43" fmla="*/ 43 h 152"/>
                    <a:gd name="T44" fmla="*/ 28 w 245"/>
                    <a:gd name="T45" fmla="*/ 51 h 152"/>
                    <a:gd name="T46" fmla="*/ 39 w 245"/>
                    <a:gd name="T47" fmla="*/ 67 h 152"/>
                    <a:gd name="T48" fmla="*/ 57 w 245"/>
                    <a:gd name="T49" fmla="*/ 85 h 152"/>
                    <a:gd name="T50" fmla="*/ 59 w 245"/>
                    <a:gd name="T51" fmla="*/ 76 h 152"/>
                    <a:gd name="T52" fmla="*/ 50 w 245"/>
                    <a:gd name="T53" fmla="*/ 66 h 152"/>
                    <a:gd name="T54" fmla="*/ 36 w 245"/>
                    <a:gd name="T55" fmla="*/ 43 h 152"/>
                    <a:gd name="T56" fmla="*/ 31 w 245"/>
                    <a:gd name="T57" fmla="*/ 30 h 152"/>
                    <a:gd name="T58" fmla="*/ 20 w 245"/>
                    <a:gd name="T59" fmla="*/ 21 h 152"/>
                    <a:gd name="T60" fmla="*/ 20 w 245"/>
                    <a:gd name="T61" fmla="*/ 8 h 152"/>
                    <a:gd name="T62" fmla="*/ 27 w 245"/>
                    <a:gd name="T63" fmla="*/ 11 h 152"/>
                    <a:gd name="T64" fmla="*/ 34 w 245"/>
                    <a:gd name="T65" fmla="*/ 22 h 152"/>
                    <a:gd name="T66" fmla="*/ 39 w 245"/>
                    <a:gd name="T67" fmla="*/ 34 h 152"/>
                    <a:gd name="T68" fmla="*/ 52 w 245"/>
                    <a:gd name="T69" fmla="*/ 43 h 152"/>
                    <a:gd name="T70" fmla="*/ 61 w 245"/>
                    <a:gd name="T71" fmla="*/ 53 h 152"/>
                    <a:gd name="T72" fmla="*/ 68 w 245"/>
                    <a:gd name="T73" fmla="*/ 64 h 152"/>
                    <a:gd name="T74" fmla="*/ 91 w 245"/>
                    <a:gd name="T75" fmla="*/ 89 h 152"/>
                    <a:gd name="T76" fmla="*/ 95 w 245"/>
                    <a:gd name="T77" fmla="*/ 104 h 152"/>
                    <a:gd name="T78" fmla="*/ 99 w 245"/>
                    <a:gd name="T79" fmla="*/ 116 h 152"/>
                    <a:gd name="T80" fmla="*/ 123 w 245"/>
                    <a:gd name="T81" fmla="*/ 128 h 152"/>
                    <a:gd name="T82" fmla="*/ 157 w 245"/>
                    <a:gd name="T83" fmla="*/ 144 h 152"/>
                    <a:gd name="T84" fmla="*/ 188 w 245"/>
                    <a:gd name="T85" fmla="*/ 145 h 152"/>
                    <a:gd name="T86" fmla="*/ 204 w 245"/>
                    <a:gd name="T87" fmla="*/ 143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45" h="152">
                      <a:moveTo>
                        <a:pt x="204" y="143"/>
                      </a:moveTo>
                      <a:cubicBezTo>
                        <a:pt x="204" y="143"/>
                        <a:pt x="213" y="144"/>
                        <a:pt x="214" y="142"/>
                      </a:cubicBezTo>
                      <a:cubicBezTo>
                        <a:pt x="215" y="140"/>
                        <a:pt x="208" y="135"/>
                        <a:pt x="208" y="134"/>
                      </a:cubicBezTo>
                      <a:cubicBezTo>
                        <a:pt x="209" y="134"/>
                        <a:pt x="210" y="128"/>
                        <a:pt x="211" y="128"/>
                      </a:cubicBezTo>
                      <a:cubicBezTo>
                        <a:pt x="212" y="128"/>
                        <a:pt x="225" y="129"/>
                        <a:pt x="226" y="128"/>
                      </a:cubicBezTo>
                      <a:cubicBezTo>
                        <a:pt x="226" y="128"/>
                        <a:pt x="229" y="124"/>
                        <a:pt x="231" y="123"/>
                      </a:cubicBezTo>
                      <a:cubicBezTo>
                        <a:pt x="232" y="123"/>
                        <a:pt x="233" y="124"/>
                        <a:pt x="235" y="126"/>
                      </a:cubicBezTo>
                      <a:cubicBezTo>
                        <a:pt x="237" y="124"/>
                        <a:pt x="238" y="119"/>
                        <a:pt x="238" y="115"/>
                      </a:cubicBezTo>
                      <a:cubicBezTo>
                        <a:pt x="239" y="110"/>
                        <a:pt x="237" y="108"/>
                        <a:pt x="240" y="106"/>
                      </a:cubicBezTo>
                      <a:cubicBezTo>
                        <a:pt x="242" y="103"/>
                        <a:pt x="245" y="103"/>
                        <a:pt x="244" y="99"/>
                      </a:cubicBezTo>
                      <a:cubicBezTo>
                        <a:pt x="243" y="95"/>
                        <a:pt x="240" y="99"/>
                        <a:pt x="237" y="97"/>
                      </a:cubicBezTo>
                      <a:cubicBezTo>
                        <a:pt x="234" y="96"/>
                        <a:pt x="232" y="97"/>
                        <a:pt x="224" y="98"/>
                      </a:cubicBezTo>
                      <a:cubicBezTo>
                        <a:pt x="217" y="99"/>
                        <a:pt x="214" y="102"/>
                        <a:pt x="214" y="107"/>
                      </a:cubicBezTo>
                      <a:cubicBezTo>
                        <a:pt x="214" y="112"/>
                        <a:pt x="212" y="110"/>
                        <a:pt x="212" y="114"/>
                      </a:cubicBezTo>
                      <a:cubicBezTo>
                        <a:pt x="212" y="119"/>
                        <a:pt x="206" y="119"/>
                        <a:pt x="206" y="122"/>
                      </a:cubicBezTo>
                      <a:cubicBezTo>
                        <a:pt x="207" y="124"/>
                        <a:pt x="202" y="122"/>
                        <a:pt x="200" y="121"/>
                      </a:cubicBezTo>
                      <a:cubicBezTo>
                        <a:pt x="199" y="120"/>
                        <a:pt x="184" y="125"/>
                        <a:pt x="181" y="125"/>
                      </a:cubicBezTo>
                      <a:cubicBezTo>
                        <a:pt x="179" y="125"/>
                        <a:pt x="175" y="121"/>
                        <a:pt x="172" y="121"/>
                      </a:cubicBezTo>
                      <a:cubicBezTo>
                        <a:pt x="169" y="121"/>
                        <a:pt x="168" y="116"/>
                        <a:pt x="168" y="112"/>
                      </a:cubicBezTo>
                      <a:cubicBezTo>
                        <a:pt x="167" y="109"/>
                        <a:pt x="162" y="105"/>
                        <a:pt x="159" y="102"/>
                      </a:cubicBezTo>
                      <a:cubicBezTo>
                        <a:pt x="157" y="99"/>
                        <a:pt x="156" y="91"/>
                        <a:pt x="156" y="86"/>
                      </a:cubicBezTo>
                      <a:cubicBezTo>
                        <a:pt x="156" y="81"/>
                        <a:pt x="155" y="73"/>
                        <a:pt x="159" y="64"/>
                      </a:cubicBezTo>
                      <a:cubicBezTo>
                        <a:pt x="159" y="63"/>
                        <a:pt x="159" y="61"/>
                        <a:pt x="159" y="60"/>
                      </a:cubicBezTo>
                      <a:cubicBezTo>
                        <a:pt x="158" y="60"/>
                        <a:pt x="157" y="59"/>
                        <a:pt x="156" y="59"/>
                      </a:cubicBezTo>
                      <a:cubicBezTo>
                        <a:pt x="153" y="59"/>
                        <a:pt x="146" y="55"/>
                        <a:pt x="145" y="55"/>
                      </a:cubicBezTo>
                      <a:cubicBezTo>
                        <a:pt x="144" y="55"/>
                        <a:pt x="144" y="52"/>
                        <a:pt x="143" y="50"/>
                      </a:cubicBezTo>
                      <a:cubicBezTo>
                        <a:pt x="141" y="49"/>
                        <a:pt x="142" y="45"/>
                        <a:pt x="141" y="44"/>
                      </a:cubicBezTo>
                      <a:cubicBezTo>
                        <a:pt x="139" y="43"/>
                        <a:pt x="135" y="39"/>
                        <a:pt x="133" y="33"/>
                      </a:cubicBezTo>
                      <a:cubicBezTo>
                        <a:pt x="132" y="28"/>
                        <a:pt x="122" y="25"/>
                        <a:pt x="119" y="25"/>
                      </a:cubicBezTo>
                      <a:cubicBezTo>
                        <a:pt x="115" y="25"/>
                        <a:pt x="113" y="32"/>
                        <a:pt x="112" y="33"/>
                      </a:cubicBezTo>
                      <a:cubicBezTo>
                        <a:pt x="112" y="33"/>
                        <a:pt x="105" y="29"/>
                        <a:pt x="103" y="28"/>
                      </a:cubicBezTo>
                      <a:cubicBezTo>
                        <a:pt x="101" y="27"/>
                        <a:pt x="100" y="25"/>
                        <a:pt x="100" y="23"/>
                      </a:cubicBezTo>
                      <a:cubicBezTo>
                        <a:pt x="100" y="20"/>
                        <a:pt x="96" y="17"/>
                        <a:pt x="95" y="16"/>
                      </a:cubicBezTo>
                      <a:cubicBezTo>
                        <a:pt x="94" y="16"/>
                        <a:pt x="86" y="8"/>
                        <a:pt x="86" y="8"/>
                      </a:cubicBezTo>
                      <a:cubicBezTo>
                        <a:pt x="73" y="8"/>
                        <a:pt x="73" y="8"/>
                        <a:pt x="73" y="8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48" y="12"/>
                        <a:pt x="30" y="5"/>
                        <a:pt x="27" y="5"/>
                      </a:cubicBezTo>
                      <a:cubicBezTo>
                        <a:pt x="24" y="4"/>
                        <a:pt x="18" y="0"/>
                        <a:pt x="18" y="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1" y="4"/>
                        <a:pt x="2" y="6"/>
                        <a:pt x="4" y="9"/>
                      </a:cubicBezTo>
                      <a:cubicBezTo>
                        <a:pt x="8" y="14"/>
                        <a:pt x="10" y="22"/>
                        <a:pt x="11" y="25"/>
                      </a:cubicBezTo>
                      <a:cubicBezTo>
                        <a:pt x="11" y="27"/>
                        <a:pt x="16" y="30"/>
                        <a:pt x="21" y="33"/>
                      </a:cubicBezTo>
                      <a:cubicBezTo>
                        <a:pt x="25" y="35"/>
                        <a:pt x="25" y="42"/>
                        <a:pt x="25" y="43"/>
                      </a:cubicBezTo>
                      <a:cubicBezTo>
                        <a:pt x="24" y="45"/>
                        <a:pt x="19" y="42"/>
                        <a:pt x="18" y="44"/>
                      </a:cubicBezTo>
                      <a:cubicBezTo>
                        <a:pt x="18" y="45"/>
                        <a:pt x="25" y="52"/>
                        <a:pt x="28" y="51"/>
                      </a:cubicBezTo>
                      <a:cubicBezTo>
                        <a:pt x="31" y="51"/>
                        <a:pt x="32" y="53"/>
                        <a:pt x="37" y="57"/>
                      </a:cubicBezTo>
                      <a:cubicBezTo>
                        <a:pt x="41" y="61"/>
                        <a:pt x="41" y="65"/>
                        <a:pt x="39" y="67"/>
                      </a:cubicBezTo>
                      <a:cubicBezTo>
                        <a:pt x="37" y="68"/>
                        <a:pt x="43" y="71"/>
                        <a:pt x="49" y="75"/>
                      </a:cubicBezTo>
                      <a:cubicBezTo>
                        <a:pt x="54" y="79"/>
                        <a:pt x="57" y="83"/>
                        <a:pt x="57" y="85"/>
                      </a:cubicBezTo>
                      <a:cubicBezTo>
                        <a:pt x="58" y="87"/>
                        <a:pt x="60" y="85"/>
                        <a:pt x="61" y="83"/>
                      </a:cubicBezTo>
                      <a:cubicBezTo>
                        <a:pt x="62" y="80"/>
                        <a:pt x="59" y="79"/>
                        <a:pt x="59" y="76"/>
                      </a:cubicBezTo>
                      <a:cubicBezTo>
                        <a:pt x="59" y="73"/>
                        <a:pt x="55" y="74"/>
                        <a:pt x="52" y="73"/>
                      </a:cubicBezTo>
                      <a:cubicBezTo>
                        <a:pt x="50" y="73"/>
                        <a:pt x="53" y="68"/>
                        <a:pt x="50" y="66"/>
                      </a:cubicBezTo>
                      <a:cubicBezTo>
                        <a:pt x="48" y="64"/>
                        <a:pt x="46" y="59"/>
                        <a:pt x="45" y="55"/>
                      </a:cubicBezTo>
                      <a:cubicBezTo>
                        <a:pt x="44" y="51"/>
                        <a:pt x="39" y="47"/>
                        <a:pt x="36" y="43"/>
                      </a:cubicBezTo>
                      <a:cubicBezTo>
                        <a:pt x="34" y="38"/>
                        <a:pt x="32" y="35"/>
                        <a:pt x="30" y="34"/>
                      </a:cubicBezTo>
                      <a:cubicBezTo>
                        <a:pt x="28" y="33"/>
                        <a:pt x="32" y="31"/>
                        <a:pt x="31" y="30"/>
                      </a:cubicBezTo>
                      <a:cubicBezTo>
                        <a:pt x="29" y="28"/>
                        <a:pt x="27" y="28"/>
                        <a:pt x="25" y="27"/>
                      </a:cubicBezTo>
                      <a:cubicBezTo>
                        <a:pt x="22" y="26"/>
                        <a:pt x="20" y="24"/>
                        <a:pt x="20" y="21"/>
                      </a:cubicBezTo>
                      <a:cubicBezTo>
                        <a:pt x="20" y="18"/>
                        <a:pt x="18" y="11"/>
                        <a:pt x="17" y="9"/>
                      </a:cubicBezTo>
                      <a:cubicBezTo>
                        <a:pt x="17" y="7"/>
                        <a:pt x="19" y="7"/>
                        <a:pt x="20" y="8"/>
                      </a:cubicBezTo>
                      <a:cubicBezTo>
                        <a:pt x="21" y="9"/>
                        <a:pt x="22" y="10"/>
                        <a:pt x="23" y="9"/>
                      </a:cubicBezTo>
                      <a:cubicBezTo>
                        <a:pt x="24" y="9"/>
                        <a:pt x="27" y="9"/>
                        <a:pt x="27" y="11"/>
                      </a:cubicBezTo>
                      <a:cubicBezTo>
                        <a:pt x="28" y="13"/>
                        <a:pt x="31" y="11"/>
                        <a:pt x="33" y="12"/>
                      </a:cubicBezTo>
                      <a:cubicBezTo>
                        <a:pt x="34" y="13"/>
                        <a:pt x="30" y="14"/>
                        <a:pt x="34" y="22"/>
                      </a:cubicBezTo>
                      <a:cubicBezTo>
                        <a:pt x="39" y="31"/>
                        <a:pt x="36" y="26"/>
                        <a:pt x="36" y="32"/>
                      </a:cubicBezTo>
                      <a:cubicBezTo>
                        <a:pt x="36" y="37"/>
                        <a:pt x="39" y="35"/>
                        <a:pt x="39" y="34"/>
                      </a:cubicBezTo>
                      <a:cubicBezTo>
                        <a:pt x="40" y="33"/>
                        <a:pt x="43" y="35"/>
                        <a:pt x="45" y="38"/>
                      </a:cubicBezTo>
                      <a:cubicBezTo>
                        <a:pt x="47" y="41"/>
                        <a:pt x="52" y="41"/>
                        <a:pt x="52" y="43"/>
                      </a:cubicBezTo>
                      <a:cubicBezTo>
                        <a:pt x="52" y="45"/>
                        <a:pt x="53" y="48"/>
                        <a:pt x="56" y="48"/>
                      </a:cubicBezTo>
                      <a:cubicBezTo>
                        <a:pt x="59" y="49"/>
                        <a:pt x="59" y="52"/>
                        <a:pt x="61" y="53"/>
                      </a:cubicBezTo>
                      <a:cubicBezTo>
                        <a:pt x="63" y="53"/>
                        <a:pt x="64" y="55"/>
                        <a:pt x="63" y="57"/>
                      </a:cubicBezTo>
                      <a:cubicBezTo>
                        <a:pt x="62" y="60"/>
                        <a:pt x="63" y="62"/>
                        <a:pt x="68" y="64"/>
                      </a:cubicBezTo>
                      <a:cubicBezTo>
                        <a:pt x="73" y="66"/>
                        <a:pt x="70" y="66"/>
                        <a:pt x="74" y="70"/>
                      </a:cubicBezTo>
                      <a:cubicBezTo>
                        <a:pt x="78" y="73"/>
                        <a:pt x="89" y="86"/>
                        <a:pt x="91" y="89"/>
                      </a:cubicBezTo>
                      <a:cubicBezTo>
                        <a:pt x="94" y="92"/>
                        <a:pt x="95" y="95"/>
                        <a:pt x="95" y="98"/>
                      </a:cubicBezTo>
                      <a:cubicBezTo>
                        <a:pt x="96" y="100"/>
                        <a:pt x="94" y="101"/>
                        <a:pt x="95" y="104"/>
                      </a:cubicBezTo>
                      <a:cubicBezTo>
                        <a:pt x="96" y="106"/>
                        <a:pt x="92" y="105"/>
                        <a:pt x="93" y="106"/>
                      </a:cubicBezTo>
                      <a:cubicBezTo>
                        <a:pt x="93" y="108"/>
                        <a:pt x="95" y="116"/>
                        <a:pt x="99" y="116"/>
                      </a:cubicBezTo>
                      <a:cubicBezTo>
                        <a:pt x="103" y="117"/>
                        <a:pt x="107" y="122"/>
                        <a:pt x="111" y="124"/>
                      </a:cubicBezTo>
                      <a:cubicBezTo>
                        <a:pt x="114" y="127"/>
                        <a:pt x="119" y="126"/>
                        <a:pt x="123" y="128"/>
                      </a:cubicBezTo>
                      <a:cubicBezTo>
                        <a:pt x="128" y="130"/>
                        <a:pt x="132" y="134"/>
                        <a:pt x="139" y="136"/>
                      </a:cubicBezTo>
                      <a:cubicBezTo>
                        <a:pt x="146" y="138"/>
                        <a:pt x="153" y="141"/>
                        <a:pt x="157" y="144"/>
                      </a:cubicBezTo>
                      <a:cubicBezTo>
                        <a:pt x="162" y="147"/>
                        <a:pt x="167" y="146"/>
                        <a:pt x="174" y="143"/>
                      </a:cubicBezTo>
                      <a:cubicBezTo>
                        <a:pt x="180" y="141"/>
                        <a:pt x="185" y="144"/>
                        <a:pt x="188" y="145"/>
                      </a:cubicBezTo>
                      <a:cubicBezTo>
                        <a:pt x="190" y="146"/>
                        <a:pt x="194" y="149"/>
                        <a:pt x="197" y="152"/>
                      </a:cubicBezTo>
                      <a:cubicBezTo>
                        <a:pt x="200" y="148"/>
                        <a:pt x="203" y="143"/>
                        <a:pt x="204" y="14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2" name="Freeform 105">
                  <a:extLst>
                    <a:ext uri="{FF2B5EF4-FFF2-40B4-BE49-F238E27FC236}">
                      <a16:creationId xmlns:a16="http://schemas.microsoft.com/office/drawing/2014/main" id="{EC17CCCF-304A-4276-8140-C34FE85B2D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663756" y="-9398537"/>
                  <a:ext cx="210810" cy="210810"/>
                </a:xfrm>
                <a:custGeom>
                  <a:avLst/>
                  <a:gdLst>
                    <a:gd name="T0" fmla="*/ 30 w 34"/>
                    <a:gd name="T1" fmla="*/ 23 h 34"/>
                    <a:gd name="T2" fmla="*/ 34 w 34"/>
                    <a:gd name="T3" fmla="*/ 18 h 34"/>
                    <a:gd name="T4" fmla="*/ 31 w 34"/>
                    <a:gd name="T5" fmla="*/ 16 h 34"/>
                    <a:gd name="T6" fmla="*/ 27 w 34"/>
                    <a:gd name="T7" fmla="*/ 17 h 34"/>
                    <a:gd name="T8" fmla="*/ 27 w 34"/>
                    <a:gd name="T9" fmla="*/ 0 h 34"/>
                    <a:gd name="T10" fmla="*/ 14 w 34"/>
                    <a:gd name="T11" fmla="*/ 0 h 34"/>
                    <a:gd name="T12" fmla="*/ 11 w 34"/>
                    <a:gd name="T13" fmla="*/ 6 h 34"/>
                    <a:gd name="T14" fmla="*/ 17 w 34"/>
                    <a:gd name="T15" fmla="*/ 14 h 34"/>
                    <a:gd name="T16" fmla="*/ 7 w 34"/>
                    <a:gd name="T17" fmla="*/ 15 h 34"/>
                    <a:gd name="T18" fmla="*/ 0 w 34"/>
                    <a:gd name="T19" fmla="*/ 24 h 34"/>
                    <a:gd name="T20" fmla="*/ 9 w 34"/>
                    <a:gd name="T21" fmla="*/ 32 h 34"/>
                    <a:gd name="T22" fmla="*/ 20 w 34"/>
                    <a:gd name="T23" fmla="*/ 34 h 34"/>
                    <a:gd name="T24" fmla="*/ 20 w 34"/>
                    <a:gd name="T25" fmla="*/ 34 h 34"/>
                    <a:gd name="T26" fmla="*/ 26 w 34"/>
                    <a:gd name="T27" fmla="*/ 29 h 34"/>
                    <a:gd name="T28" fmla="*/ 30 w 34"/>
                    <a:gd name="T29" fmla="*/ 2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" h="34">
                      <a:moveTo>
                        <a:pt x="30" y="23"/>
                      </a:moveTo>
                      <a:cubicBezTo>
                        <a:pt x="32" y="21"/>
                        <a:pt x="33" y="19"/>
                        <a:pt x="34" y="18"/>
                      </a:cubicBezTo>
                      <a:cubicBezTo>
                        <a:pt x="32" y="20"/>
                        <a:pt x="31" y="18"/>
                        <a:pt x="31" y="16"/>
                      </a:cubicBezTo>
                      <a:cubicBezTo>
                        <a:pt x="27" y="17"/>
                        <a:pt x="27" y="17"/>
                        <a:pt x="27" y="17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4" y="1"/>
                        <a:pt x="15" y="0"/>
                        <a:pt x="14" y="0"/>
                      </a:cubicBezTo>
                      <a:cubicBezTo>
                        <a:pt x="13" y="0"/>
                        <a:pt x="12" y="6"/>
                        <a:pt x="11" y="6"/>
                      </a:cubicBezTo>
                      <a:cubicBezTo>
                        <a:pt x="11" y="7"/>
                        <a:pt x="18" y="12"/>
                        <a:pt x="17" y="14"/>
                      </a:cubicBezTo>
                      <a:cubicBezTo>
                        <a:pt x="16" y="16"/>
                        <a:pt x="7" y="15"/>
                        <a:pt x="7" y="15"/>
                      </a:cubicBezTo>
                      <a:cubicBezTo>
                        <a:pt x="6" y="15"/>
                        <a:pt x="3" y="20"/>
                        <a:pt x="0" y="24"/>
                      </a:cubicBezTo>
                      <a:cubicBezTo>
                        <a:pt x="4" y="27"/>
                        <a:pt x="7" y="30"/>
                        <a:pt x="9" y="32"/>
                      </a:cubicBezTo>
                      <a:cubicBezTo>
                        <a:pt x="12" y="34"/>
                        <a:pt x="18" y="31"/>
                        <a:pt x="20" y="34"/>
                      </a:cubicBezTo>
                      <a:cubicBezTo>
                        <a:pt x="20" y="34"/>
                        <a:pt x="20" y="34"/>
                        <a:pt x="20" y="34"/>
                      </a:cubicBezTo>
                      <a:cubicBezTo>
                        <a:pt x="23" y="31"/>
                        <a:pt x="25" y="29"/>
                        <a:pt x="26" y="29"/>
                      </a:cubicBezTo>
                      <a:cubicBezTo>
                        <a:pt x="28" y="28"/>
                        <a:pt x="26" y="26"/>
                        <a:pt x="30" y="2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3" name="Freeform 106">
                  <a:extLst>
                    <a:ext uri="{FF2B5EF4-FFF2-40B4-BE49-F238E27FC236}">
                      <a16:creationId xmlns:a16="http://schemas.microsoft.com/office/drawing/2014/main" id="{CDC78F4A-6A31-4258-9119-D4F557B923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495109" y="-9427727"/>
                  <a:ext cx="68108" cy="136215"/>
                </a:xfrm>
                <a:custGeom>
                  <a:avLst/>
                  <a:gdLst>
                    <a:gd name="T0" fmla="*/ 2 w 11"/>
                    <a:gd name="T1" fmla="*/ 5 h 22"/>
                    <a:gd name="T2" fmla="*/ 0 w 11"/>
                    <a:gd name="T3" fmla="*/ 5 h 22"/>
                    <a:gd name="T4" fmla="*/ 0 w 11"/>
                    <a:gd name="T5" fmla="*/ 22 h 22"/>
                    <a:gd name="T6" fmla="*/ 4 w 11"/>
                    <a:gd name="T7" fmla="*/ 21 h 22"/>
                    <a:gd name="T8" fmla="*/ 7 w 11"/>
                    <a:gd name="T9" fmla="*/ 17 h 22"/>
                    <a:gd name="T10" fmla="*/ 9 w 11"/>
                    <a:gd name="T11" fmla="*/ 4 h 22"/>
                    <a:gd name="T12" fmla="*/ 11 w 11"/>
                    <a:gd name="T13" fmla="*/ 3 h 22"/>
                    <a:gd name="T14" fmla="*/ 7 w 11"/>
                    <a:gd name="T15" fmla="*/ 0 h 22"/>
                    <a:gd name="T16" fmla="*/ 2 w 11"/>
                    <a:gd name="T17" fmla="*/ 5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22">
                      <a:moveTo>
                        <a:pt x="2" y="5"/>
                      </a:moveTo>
                      <a:cubicBezTo>
                        <a:pt x="1" y="5"/>
                        <a:pt x="1" y="5"/>
                        <a:pt x="0" y="5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4" y="20"/>
                        <a:pt x="5" y="18"/>
                        <a:pt x="7" y="17"/>
                      </a:cubicBezTo>
                      <a:cubicBezTo>
                        <a:pt x="10" y="15"/>
                        <a:pt x="5" y="5"/>
                        <a:pt x="9" y="4"/>
                      </a:cubicBezTo>
                      <a:cubicBezTo>
                        <a:pt x="9" y="4"/>
                        <a:pt x="10" y="3"/>
                        <a:pt x="11" y="3"/>
                      </a:cubicBezTo>
                      <a:cubicBezTo>
                        <a:pt x="9" y="1"/>
                        <a:pt x="8" y="0"/>
                        <a:pt x="7" y="0"/>
                      </a:cubicBezTo>
                      <a:cubicBezTo>
                        <a:pt x="5" y="1"/>
                        <a:pt x="2" y="5"/>
                        <a:pt x="2" y="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4" name="Freeform 107">
                  <a:extLst>
                    <a:ext uri="{FF2B5EF4-FFF2-40B4-BE49-F238E27FC236}">
                      <a16:creationId xmlns:a16="http://schemas.microsoft.com/office/drawing/2014/main" id="{383D06BB-865D-4F95-87E2-6D9EAC2612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765385" y="-9521779"/>
                  <a:ext cx="145945" cy="123242"/>
                </a:xfrm>
                <a:custGeom>
                  <a:avLst/>
                  <a:gdLst>
                    <a:gd name="T0" fmla="*/ 11 w 24"/>
                    <a:gd name="T1" fmla="*/ 2 h 20"/>
                    <a:gd name="T2" fmla="*/ 17 w 24"/>
                    <a:gd name="T3" fmla="*/ 13 h 20"/>
                    <a:gd name="T4" fmla="*/ 1 w 24"/>
                    <a:gd name="T5" fmla="*/ 16 h 20"/>
                    <a:gd name="T6" fmla="*/ 11 w 24"/>
                    <a:gd name="T7" fmla="*/ 18 h 20"/>
                    <a:gd name="T8" fmla="*/ 22 w 24"/>
                    <a:gd name="T9" fmla="*/ 20 h 20"/>
                    <a:gd name="T10" fmla="*/ 24 w 24"/>
                    <a:gd name="T11" fmla="*/ 4 h 20"/>
                    <a:gd name="T12" fmla="*/ 11 w 24"/>
                    <a:gd name="T13" fmla="*/ 2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4" h="20">
                      <a:moveTo>
                        <a:pt x="11" y="2"/>
                      </a:moveTo>
                      <a:cubicBezTo>
                        <a:pt x="8" y="4"/>
                        <a:pt x="17" y="10"/>
                        <a:pt x="17" y="13"/>
                      </a:cubicBezTo>
                      <a:cubicBezTo>
                        <a:pt x="17" y="16"/>
                        <a:pt x="2" y="12"/>
                        <a:pt x="1" y="16"/>
                      </a:cubicBezTo>
                      <a:cubicBezTo>
                        <a:pt x="0" y="18"/>
                        <a:pt x="6" y="20"/>
                        <a:pt x="11" y="18"/>
                      </a:cubicBezTo>
                      <a:cubicBezTo>
                        <a:pt x="16" y="17"/>
                        <a:pt x="20" y="18"/>
                        <a:pt x="22" y="20"/>
                      </a:cubicBezTo>
                      <a:cubicBezTo>
                        <a:pt x="23" y="14"/>
                        <a:pt x="23" y="8"/>
                        <a:pt x="24" y="4"/>
                      </a:cubicBezTo>
                      <a:cubicBezTo>
                        <a:pt x="20" y="3"/>
                        <a:pt x="14" y="0"/>
                        <a:pt x="11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5" name="Freeform 108">
                  <a:extLst>
                    <a:ext uri="{FF2B5EF4-FFF2-40B4-BE49-F238E27FC236}">
                      <a16:creationId xmlns:a16="http://schemas.microsoft.com/office/drawing/2014/main" id="{5FBA39A4-5BD2-483D-87FE-75CA2D7264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632415" y="-9502320"/>
                  <a:ext cx="175133" cy="110269"/>
                </a:xfrm>
                <a:custGeom>
                  <a:avLst/>
                  <a:gdLst>
                    <a:gd name="T0" fmla="*/ 11 w 28"/>
                    <a:gd name="T1" fmla="*/ 13 h 18"/>
                    <a:gd name="T2" fmla="*/ 28 w 28"/>
                    <a:gd name="T3" fmla="*/ 10 h 18"/>
                    <a:gd name="T4" fmla="*/ 6 w 28"/>
                    <a:gd name="T5" fmla="*/ 1 h 18"/>
                    <a:gd name="T6" fmla="*/ 2 w 28"/>
                    <a:gd name="T7" fmla="*/ 1 h 18"/>
                    <a:gd name="T8" fmla="*/ 0 w 28"/>
                    <a:gd name="T9" fmla="*/ 17 h 18"/>
                    <a:gd name="T10" fmla="*/ 1 w 28"/>
                    <a:gd name="T11" fmla="*/ 17 h 18"/>
                    <a:gd name="T12" fmla="*/ 11 w 28"/>
                    <a:gd name="T13" fmla="*/ 1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18">
                      <a:moveTo>
                        <a:pt x="11" y="13"/>
                      </a:moveTo>
                      <a:cubicBezTo>
                        <a:pt x="17" y="11"/>
                        <a:pt x="28" y="15"/>
                        <a:pt x="28" y="10"/>
                      </a:cubicBezTo>
                      <a:cubicBezTo>
                        <a:pt x="28" y="5"/>
                        <a:pt x="11" y="0"/>
                        <a:pt x="6" y="1"/>
                      </a:cubicBezTo>
                      <a:cubicBezTo>
                        <a:pt x="5" y="2"/>
                        <a:pt x="4" y="2"/>
                        <a:pt x="2" y="1"/>
                      </a:cubicBezTo>
                      <a:cubicBezTo>
                        <a:pt x="1" y="5"/>
                        <a:pt x="1" y="11"/>
                        <a:pt x="0" y="17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4" y="18"/>
                        <a:pt x="5" y="16"/>
                        <a:pt x="11" y="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6" name="Freeform 109">
                  <a:extLst>
                    <a:ext uri="{FF2B5EF4-FFF2-40B4-BE49-F238E27FC236}">
                      <a16:creationId xmlns:a16="http://schemas.microsoft.com/office/drawing/2014/main" id="{2E3B1538-C12E-4E88-B596-E962C0E5AC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410785" y="-9249350"/>
                  <a:ext cx="217296" cy="217296"/>
                </a:xfrm>
                <a:custGeom>
                  <a:avLst/>
                  <a:gdLst>
                    <a:gd name="T0" fmla="*/ 19 w 35"/>
                    <a:gd name="T1" fmla="*/ 33 h 35"/>
                    <a:gd name="T2" fmla="*/ 27 w 35"/>
                    <a:gd name="T3" fmla="*/ 34 h 35"/>
                    <a:gd name="T4" fmla="*/ 31 w 35"/>
                    <a:gd name="T5" fmla="*/ 35 h 35"/>
                    <a:gd name="T6" fmla="*/ 30 w 35"/>
                    <a:gd name="T7" fmla="*/ 33 h 35"/>
                    <a:gd name="T8" fmla="*/ 32 w 35"/>
                    <a:gd name="T9" fmla="*/ 23 h 35"/>
                    <a:gd name="T10" fmla="*/ 33 w 35"/>
                    <a:gd name="T11" fmla="*/ 9 h 35"/>
                    <a:gd name="T12" fmla="*/ 35 w 35"/>
                    <a:gd name="T13" fmla="*/ 1 h 35"/>
                    <a:gd name="T14" fmla="*/ 35 w 35"/>
                    <a:gd name="T15" fmla="*/ 0 h 35"/>
                    <a:gd name="T16" fmla="*/ 25 w 35"/>
                    <a:gd name="T17" fmla="*/ 4 h 35"/>
                    <a:gd name="T18" fmla="*/ 17 w 35"/>
                    <a:gd name="T19" fmla="*/ 5 h 35"/>
                    <a:gd name="T20" fmla="*/ 9 w 35"/>
                    <a:gd name="T21" fmla="*/ 9 h 35"/>
                    <a:gd name="T22" fmla="*/ 6 w 35"/>
                    <a:gd name="T23" fmla="*/ 14 h 35"/>
                    <a:gd name="T24" fmla="*/ 4 w 35"/>
                    <a:gd name="T25" fmla="*/ 16 h 35"/>
                    <a:gd name="T26" fmla="*/ 1 w 35"/>
                    <a:gd name="T27" fmla="*/ 17 h 35"/>
                    <a:gd name="T28" fmla="*/ 2 w 35"/>
                    <a:gd name="T29" fmla="*/ 20 h 35"/>
                    <a:gd name="T30" fmla="*/ 12 w 35"/>
                    <a:gd name="T31" fmla="*/ 30 h 35"/>
                    <a:gd name="T32" fmla="*/ 14 w 35"/>
                    <a:gd name="T33" fmla="*/ 33 h 35"/>
                    <a:gd name="T34" fmla="*/ 19 w 35"/>
                    <a:gd name="T35" fmla="*/ 33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5" h="35">
                      <a:moveTo>
                        <a:pt x="19" y="33"/>
                      </a:moveTo>
                      <a:cubicBezTo>
                        <a:pt x="21" y="34"/>
                        <a:pt x="25" y="33"/>
                        <a:pt x="27" y="34"/>
                      </a:cubicBezTo>
                      <a:cubicBezTo>
                        <a:pt x="28" y="35"/>
                        <a:pt x="29" y="35"/>
                        <a:pt x="31" y="35"/>
                      </a:cubicBezTo>
                      <a:cubicBezTo>
                        <a:pt x="30" y="34"/>
                        <a:pt x="30" y="33"/>
                        <a:pt x="30" y="33"/>
                      </a:cubicBezTo>
                      <a:cubicBezTo>
                        <a:pt x="28" y="31"/>
                        <a:pt x="31" y="26"/>
                        <a:pt x="32" y="23"/>
                      </a:cubicBezTo>
                      <a:cubicBezTo>
                        <a:pt x="33" y="19"/>
                        <a:pt x="31" y="11"/>
                        <a:pt x="33" y="9"/>
                      </a:cubicBezTo>
                      <a:cubicBezTo>
                        <a:pt x="35" y="7"/>
                        <a:pt x="34" y="6"/>
                        <a:pt x="35" y="1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1" y="0"/>
                        <a:pt x="26" y="3"/>
                        <a:pt x="25" y="4"/>
                      </a:cubicBezTo>
                      <a:cubicBezTo>
                        <a:pt x="24" y="4"/>
                        <a:pt x="18" y="2"/>
                        <a:pt x="17" y="5"/>
                      </a:cubicBezTo>
                      <a:cubicBezTo>
                        <a:pt x="17" y="8"/>
                        <a:pt x="13" y="9"/>
                        <a:pt x="9" y="9"/>
                      </a:cubicBezTo>
                      <a:cubicBezTo>
                        <a:pt x="4" y="9"/>
                        <a:pt x="6" y="13"/>
                        <a:pt x="6" y="14"/>
                      </a:cubicBezTo>
                      <a:cubicBezTo>
                        <a:pt x="6" y="15"/>
                        <a:pt x="4" y="16"/>
                        <a:pt x="4" y="16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0" y="18"/>
                        <a:pt x="0" y="19"/>
                        <a:pt x="2" y="20"/>
                      </a:cubicBezTo>
                      <a:cubicBezTo>
                        <a:pt x="5" y="22"/>
                        <a:pt x="9" y="28"/>
                        <a:pt x="12" y="30"/>
                      </a:cubicBezTo>
                      <a:cubicBezTo>
                        <a:pt x="13" y="30"/>
                        <a:pt x="14" y="32"/>
                        <a:pt x="14" y="33"/>
                      </a:cubicBezTo>
                      <a:cubicBezTo>
                        <a:pt x="16" y="33"/>
                        <a:pt x="18" y="33"/>
                        <a:pt x="19" y="3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7" name="Freeform 110">
                  <a:extLst>
                    <a:ext uri="{FF2B5EF4-FFF2-40B4-BE49-F238E27FC236}">
                      <a16:creationId xmlns:a16="http://schemas.microsoft.com/office/drawing/2014/main" id="{7DADD7D7-7038-4D6A-BF4D-30EDC6779E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336190" y="-9045028"/>
                  <a:ext cx="168647" cy="129728"/>
                </a:xfrm>
                <a:custGeom>
                  <a:avLst/>
                  <a:gdLst>
                    <a:gd name="T0" fmla="*/ 26 w 27"/>
                    <a:gd name="T1" fmla="*/ 17 h 21"/>
                    <a:gd name="T2" fmla="*/ 27 w 27"/>
                    <a:gd name="T3" fmla="*/ 12 h 21"/>
                    <a:gd name="T4" fmla="*/ 19 w 27"/>
                    <a:gd name="T5" fmla="*/ 2 h 21"/>
                    <a:gd name="T6" fmla="*/ 15 w 27"/>
                    <a:gd name="T7" fmla="*/ 1 h 21"/>
                    <a:gd name="T8" fmla="*/ 7 w 27"/>
                    <a:gd name="T9" fmla="*/ 0 h 21"/>
                    <a:gd name="T10" fmla="*/ 2 w 27"/>
                    <a:gd name="T11" fmla="*/ 0 h 21"/>
                    <a:gd name="T12" fmla="*/ 2 w 27"/>
                    <a:gd name="T13" fmla="*/ 3 h 21"/>
                    <a:gd name="T14" fmla="*/ 4 w 27"/>
                    <a:gd name="T15" fmla="*/ 10 h 21"/>
                    <a:gd name="T16" fmla="*/ 9 w 27"/>
                    <a:gd name="T17" fmla="*/ 9 h 21"/>
                    <a:gd name="T18" fmla="*/ 12 w 27"/>
                    <a:gd name="T19" fmla="*/ 12 h 21"/>
                    <a:gd name="T20" fmla="*/ 18 w 27"/>
                    <a:gd name="T21" fmla="*/ 17 h 21"/>
                    <a:gd name="T22" fmla="*/ 23 w 27"/>
                    <a:gd name="T23" fmla="*/ 21 h 21"/>
                    <a:gd name="T24" fmla="*/ 24 w 27"/>
                    <a:gd name="T25" fmla="*/ 21 h 21"/>
                    <a:gd name="T26" fmla="*/ 26 w 27"/>
                    <a:gd name="T27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7" h="21">
                      <a:moveTo>
                        <a:pt x="26" y="17"/>
                      </a:moveTo>
                      <a:cubicBezTo>
                        <a:pt x="25" y="16"/>
                        <a:pt x="25" y="14"/>
                        <a:pt x="27" y="12"/>
                      </a:cubicBezTo>
                      <a:cubicBezTo>
                        <a:pt x="24" y="9"/>
                        <a:pt x="21" y="4"/>
                        <a:pt x="19" y="2"/>
                      </a:cubicBezTo>
                      <a:cubicBezTo>
                        <a:pt x="17" y="2"/>
                        <a:pt x="16" y="2"/>
                        <a:pt x="15" y="1"/>
                      </a:cubicBezTo>
                      <a:cubicBezTo>
                        <a:pt x="13" y="0"/>
                        <a:pt x="9" y="1"/>
                        <a:pt x="7" y="0"/>
                      </a:cubicBezTo>
                      <a:cubicBezTo>
                        <a:pt x="6" y="0"/>
                        <a:pt x="4" y="0"/>
                        <a:pt x="2" y="0"/>
                      </a:cubicBezTo>
                      <a:cubicBezTo>
                        <a:pt x="3" y="1"/>
                        <a:pt x="3" y="2"/>
                        <a:pt x="2" y="3"/>
                      </a:cubicBezTo>
                      <a:cubicBezTo>
                        <a:pt x="0" y="4"/>
                        <a:pt x="0" y="8"/>
                        <a:pt x="4" y="10"/>
                      </a:cubicBezTo>
                      <a:cubicBezTo>
                        <a:pt x="8" y="11"/>
                        <a:pt x="7" y="9"/>
                        <a:pt x="9" y="9"/>
                      </a:cubicBezTo>
                      <a:cubicBezTo>
                        <a:pt x="11" y="9"/>
                        <a:pt x="10" y="12"/>
                        <a:pt x="12" y="12"/>
                      </a:cubicBezTo>
                      <a:cubicBezTo>
                        <a:pt x="14" y="12"/>
                        <a:pt x="18" y="14"/>
                        <a:pt x="18" y="17"/>
                      </a:cubicBezTo>
                      <a:cubicBezTo>
                        <a:pt x="18" y="20"/>
                        <a:pt x="19" y="21"/>
                        <a:pt x="23" y="21"/>
                      </a:cubicBezTo>
                      <a:cubicBezTo>
                        <a:pt x="23" y="21"/>
                        <a:pt x="24" y="21"/>
                        <a:pt x="24" y="21"/>
                      </a:cubicBezTo>
                      <a:cubicBezTo>
                        <a:pt x="25" y="19"/>
                        <a:pt x="26" y="18"/>
                        <a:pt x="26" y="1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8" name="Freeform 111">
                  <a:extLst>
                    <a:ext uri="{FF2B5EF4-FFF2-40B4-BE49-F238E27FC236}">
                      <a16:creationId xmlns:a16="http://schemas.microsoft.com/office/drawing/2014/main" id="{7401193F-EB8E-4014-A95E-C4697F9812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187003" y="-8983406"/>
                  <a:ext cx="291889" cy="142701"/>
                </a:xfrm>
                <a:custGeom>
                  <a:avLst/>
                  <a:gdLst>
                    <a:gd name="T0" fmla="*/ 42 w 47"/>
                    <a:gd name="T1" fmla="*/ 7 h 23"/>
                    <a:gd name="T2" fmla="*/ 31 w 47"/>
                    <a:gd name="T3" fmla="*/ 1 h 23"/>
                    <a:gd name="T4" fmla="*/ 20 w 47"/>
                    <a:gd name="T5" fmla="*/ 6 h 23"/>
                    <a:gd name="T6" fmla="*/ 7 w 47"/>
                    <a:gd name="T7" fmla="*/ 5 h 23"/>
                    <a:gd name="T8" fmla="*/ 3 w 47"/>
                    <a:gd name="T9" fmla="*/ 2 h 23"/>
                    <a:gd name="T10" fmla="*/ 2 w 47"/>
                    <a:gd name="T11" fmla="*/ 7 h 23"/>
                    <a:gd name="T12" fmla="*/ 0 w 47"/>
                    <a:gd name="T13" fmla="*/ 11 h 23"/>
                    <a:gd name="T14" fmla="*/ 11 w 47"/>
                    <a:gd name="T15" fmla="*/ 16 h 23"/>
                    <a:gd name="T16" fmla="*/ 17 w 47"/>
                    <a:gd name="T17" fmla="*/ 20 h 23"/>
                    <a:gd name="T18" fmla="*/ 23 w 47"/>
                    <a:gd name="T19" fmla="*/ 18 h 23"/>
                    <a:gd name="T20" fmla="*/ 21 w 47"/>
                    <a:gd name="T21" fmla="*/ 14 h 23"/>
                    <a:gd name="T22" fmla="*/ 25 w 47"/>
                    <a:gd name="T23" fmla="*/ 10 h 23"/>
                    <a:gd name="T24" fmla="*/ 34 w 47"/>
                    <a:gd name="T25" fmla="*/ 7 h 23"/>
                    <a:gd name="T26" fmla="*/ 36 w 47"/>
                    <a:gd name="T27" fmla="*/ 13 h 23"/>
                    <a:gd name="T28" fmla="*/ 41 w 47"/>
                    <a:gd name="T29" fmla="*/ 21 h 23"/>
                    <a:gd name="T30" fmla="*/ 46 w 47"/>
                    <a:gd name="T31" fmla="*/ 16 h 23"/>
                    <a:gd name="T32" fmla="*/ 47 w 47"/>
                    <a:gd name="T33" fmla="*/ 13 h 23"/>
                    <a:gd name="T34" fmla="*/ 42 w 47"/>
                    <a:gd name="T35" fmla="*/ 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7" h="23">
                      <a:moveTo>
                        <a:pt x="42" y="7"/>
                      </a:moveTo>
                      <a:cubicBezTo>
                        <a:pt x="40" y="3"/>
                        <a:pt x="34" y="3"/>
                        <a:pt x="31" y="1"/>
                      </a:cubicBezTo>
                      <a:cubicBezTo>
                        <a:pt x="28" y="0"/>
                        <a:pt x="24" y="2"/>
                        <a:pt x="20" y="6"/>
                      </a:cubicBezTo>
                      <a:cubicBezTo>
                        <a:pt x="16" y="10"/>
                        <a:pt x="10" y="7"/>
                        <a:pt x="7" y="5"/>
                      </a:cubicBezTo>
                      <a:cubicBezTo>
                        <a:pt x="6" y="5"/>
                        <a:pt x="4" y="3"/>
                        <a:pt x="3" y="2"/>
                      </a:cubicBezTo>
                      <a:cubicBezTo>
                        <a:pt x="1" y="4"/>
                        <a:pt x="1" y="6"/>
                        <a:pt x="2" y="7"/>
                      </a:cubicBezTo>
                      <a:cubicBezTo>
                        <a:pt x="2" y="8"/>
                        <a:pt x="1" y="9"/>
                        <a:pt x="0" y="11"/>
                      </a:cubicBezTo>
                      <a:cubicBezTo>
                        <a:pt x="4" y="12"/>
                        <a:pt x="9" y="13"/>
                        <a:pt x="11" y="16"/>
                      </a:cubicBezTo>
                      <a:cubicBezTo>
                        <a:pt x="13" y="19"/>
                        <a:pt x="15" y="17"/>
                        <a:pt x="17" y="20"/>
                      </a:cubicBezTo>
                      <a:cubicBezTo>
                        <a:pt x="18" y="23"/>
                        <a:pt x="22" y="20"/>
                        <a:pt x="23" y="18"/>
                      </a:cubicBezTo>
                      <a:cubicBezTo>
                        <a:pt x="24" y="16"/>
                        <a:pt x="21" y="16"/>
                        <a:pt x="21" y="14"/>
                      </a:cubicBezTo>
                      <a:cubicBezTo>
                        <a:pt x="20" y="12"/>
                        <a:pt x="24" y="13"/>
                        <a:pt x="25" y="10"/>
                      </a:cubicBezTo>
                      <a:cubicBezTo>
                        <a:pt x="26" y="7"/>
                        <a:pt x="31" y="6"/>
                        <a:pt x="34" y="7"/>
                      </a:cubicBezTo>
                      <a:cubicBezTo>
                        <a:pt x="36" y="8"/>
                        <a:pt x="38" y="10"/>
                        <a:pt x="36" y="13"/>
                      </a:cubicBezTo>
                      <a:cubicBezTo>
                        <a:pt x="34" y="15"/>
                        <a:pt x="38" y="18"/>
                        <a:pt x="41" y="21"/>
                      </a:cubicBezTo>
                      <a:cubicBezTo>
                        <a:pt x="43" y="19"/>
                        <a:pt x="45" y="16"/>
                        <a:pt x="46" y="16"/>
                      </a:cubicBezTo>
                      <a:cubicBezTo>
                        <a:pt x="47" y="15"/>
                        <a:pt x="47" y="14"/>
                        <a:pt x="47" y="13"/>
                      </a:cubicBezTo>
                      <a:cubicBezTo>
                        <a:pt x="46" y="12"/>
                        <a:pt x="44" y="10"/>
                        <a:pt x="42" y="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9" name="Freeform 112">
                  <a:extLst>
                    <a:ext uri="{FF2B5EF4-FFF2-40B4-BE49-F238E27FC236}">
                      <a16:creationId xmlns:a16="http://schemas.microsoft.com/office/drawing/2014/main" id="{F52B1185-3760-43CB-BF5A-03C307EE88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274570" y="-9687184"/>
                  <a:ext cx="531886" cy="184864"/>
                </a:xfrm>
                <a:custGeom>
                  <a:avLst/>
                  <a:gdLst>
                    <a:gd name="T0" fmla="*/ 69 w 86"/>
                    <a:gd name="T1" fmla="*/ 19 h 30"/>
                    <a:gd name="T2" fmla="*/ 31 w 86"/>
                    <a:gd name="T3" fmla="*/ 3 h 30"/>
                    <a:gd name="T4" fmla="*/ 2 w 86"/>
                    <a:gd name="T5" fmla="*/ 13 h 30"/>
                    <a:gd name="T6" fmla="*/ 16 w 86"/>
                    <a:gd name="T7" fmla="*/ 7 h 30"/>
                    <a:gd name="T8" fmla="*/ 24 w 86"/>
                    <a:gd name="T9" fmla="*/ 10 h 30"/>
                    <a:gd name="T10" fmla="*/ 37 w 86"/>
                    <a:gd name="T11" fmla="*/ 13 h 30"/>
                    <a:gd name="T12" fmla="*/ 54 w 86"/>
                    <a:gd name="T13" fmla="*/ 22 h 30"/>
                    <a:gd name="T14" fmla="*/ 58 w 86"/>
                    <a:gd name="T15" fmla="*/ 28 h 30"/>
                    <a:gd name="T16" fmla="*/ 84 w 86"/>
                    <a:gd name="T17" fmla="*/ 28 h 30"/>
                    <a:gd name="T18" fmla="*/ 69 w 86"/>
                    <a:gd name="T19" fmla="*/ 19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6" h="30">
                      <a:moveTo>
                        <a:pt x="69" y="19"/>
                      </a:moveTo>
                      <a:cubicBezTo>
                        <a:pt x="64" y="19"/>
                        <a:pt x="47" y="7"/>
                        <a:pt x="31" y="3"/>
                      </a:cubicBezTo>
                      <a:cubicBezTo>
                        <a:pt x="14" y="0"/>
                        <a:pt x="0" y="11"/>
                        <a:pt x="2" y="13"/>
                      </a:cubicBezTo>
                      <a:cubicBezTo>
                        <a:pt x="4" y="16"/>
                        <a:pt x="12" y="10"/>
                        <a:pt x="16" y="7"/>
                      </a:cubicBezTo>
                      <a:cubicBezTo>
                        <a:pt x="20" y="4"/>
                        <a:pt x="23" y="8"/>
                        <a:pt x="24" y="10"/>
                      </a:cubicBezTo>
                      <a:cubicBezTo>
                        <a:pt x="24" y="12"/>
                        <a:pt x="29" y="13"/>
                        <a:pt x="37" y="13"/>
                      </a:cubicBezTo>
                      <a:cubicBezTo>
                        <a:pt x="46" y="13"/>
                        <a:pt x="47" y="20"/>
                        <a:pt x="54" y="22"/>
                      </a:cubicBezTo>
                      <a:cubicBezTo>
                        <a:pt x="62" y="24"/>
                        <a:pt x="54" y="27"/>
                        <a:pt x="58" y="28"/>
                      </a:cubicBezTo>
                      <a:cubicBezTo>
                        <a:pt x="62" y="30"/>
                        <a:pt x="83" y="30"/>
                        <a:pt x="84" y="28"/>
                      </a:cubicBezTo>
                      <a:cubicBezTo>
                        <a:pt x="86" y="26"/>
                        <a:pt x="75" y="19"/>
                        <a:pt x="69" y="1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0" name="Freeform 113">
                  <a:extLst>
                    <a:ext uri="{FF2B5EF4-FFF2-40B4-BE49-F238E27FC236}">
                      <a16:creationId xmlns:a16="http://schemas.microsoft.com/office/drawing/2014/main" id="{F29FFC1F-2406-4769-95E9-4B6789A51F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69709" y="-9440700"/>
                  <a:ext cx="123242" cy="61622"/>
                </a:xfrm>
                <a:custGeom>
                  <a:avLst/>
                  <a:gdLst>
                    <a:gd name="T0" fmla="*/ 2 w 20"/>
                    <a:gd name="T1" fmla="*/ 3 h 10"/>
                    <a:gd name="T2" fmla="*/ 19 w 20"/>
                    <a:gd name="T3" fmla="*/ 6 h 10"/>
                    <a:gd name="T4" fmla="*/ 2 w 20"/>
                    <a:gd name="T5" fmla="*/ 3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" h="10">
                      <a:moveTo>
                        <a:pt x="2" y="3"/>
                      </a:moveTo>
                      <a:cubicBezTo>
                        <a:pt x="4" y="6"/>
                        <a:pt x="17" y="10"/>
                        <a:pt x="19" y="6"/>
                      </a:cubicBezTo>
                      <a:cubicBezTo>
                        <a:pt x="20" y="3"/>
                        <a:pt x="0" y="0"/>
                        <a:pt x="2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1" name="Freeform 114">
                  <a:extLst>
                    <a:ext uri="{FF2B5EF4-FFF2-40B4-BE49-F238E27FC236}">
                      <a16:creationId xmlns:a16="http://schemas.microsoft.com/office/drawing/2014/main" id="{43541696-A6D9-454E-893C-FDBCC97C51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408632" y="-9447186"/>
                  <a:ext cx="110269" cy="61622"/>
                </a:xfrm>
                <a:custGeom>
                  <a:avLst/>
                  <a:gdLst>
                    <a:gd name="T0" fmla="*/ 3 w 18"/>
                    <a:gd name="T1" fmla="*/ 5 h 10"/>
                    <a:gd name="T2" fmla="*/ 16 w 18"/>
                    <a:gd name="T3" fmla="*/ 5 h 10"/>
                    <a:gd name="T4" fmla="*/ 3 w 18"/>
                    <a:gd name="T5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8" h="10">
                      <a:moveTo>
                        <a:pt x="3" y="5"/>
                      </a:moveTo>
                      <a:cubicBezTo>
                        <a:pt x="6" y="10"/>
                        <a:pt x="15" y="7"/>
                        <a:pt x="16" y="5"/>
                      </a:cubicBezTo>
                      <a:cubicBezTo>
                        <a:pt x="18" y="2"/>
                        <a:pt x="0" y="0"/>
                        <a:pt x="3" y="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2" name="Freeform 115">
                  <a:extLst>
                    <a:ext uri="{FF2B5EF4-FFF2-40B4-BE49-F238E27FC236}">
                      <a16:creationId xmlns:a16="http://schemas.microsoft.com/office/drawing/2014/main" id="{A06FC725-E600-4890-90C9-3BCCD700BD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5112410" y="-9126108"/>
                  <a:ext cx="2361057" cy="3762125"/>
                </a:xfrm>
                <a:custGeom>
                  <a:avLst/>
                  <a:gdLst>
                    <a:gd name="T0" fmla="*/ 283 w 382"/>
                    <a:gd name="T1" fmla="*/ 109 h 609"/>
                    <a:gd name="T2" fmla="*/ 257 w 382"/>
                    <a:gd name="T3" fmla="*/ 93 h 609"/>
                    <a:gd name="T4" fmla="*/ 200 w 382"/>
                    <a:gd name="T5" fmla="*/ 54 h 609"/>
                    <a:gd name="T6" fmla="*/ 155 w 382"/>
                    <a:gd name="T7" fmla="*/ 22 h 609"/>
                    <a:gd name="T8" fmla="*/ 93 w 382"/>
                    <a:gd name="T9" fmla="*/ 9 h 609"/>
                    <a:gd name="T10" fmla="*/ 74 w 382"/>
                    <a:gd name="T11" fmla="*/ 6 h 609"/>
                    <a:gd name="T12" fmla="*/ 34 w 382"/>
                    <a:gd name="T13" fmla="*/ 39 h 609"/>
                    <a:gd name="T14" fmla="*/ 22 w 382"/>
                    <a:gd name="T15" fmla="*/ 87 h 609"/>
                    <a:gd name="T16" fmla="*/ 4 w 382"/>
                    <a:gd name="T17" fmla="*/ 120 h 609"/>
                    <a:gd name="T18" fmla="*/ 11 w 382"/>
                    <a:gd name="T19" fmla="*/ 158 h 609"/>
                    <a:gd name="T20" fmla="*/ 91 w 382"/>
                    <a:gd name="T21" fmla="*/ 253 h 609"/>
                    <a:gd name="T22" fmla="*/ 83 w 382"/>
                    <a:gd name="T23" fmla="*/ 336 h 609"/>
                    <a:gd name="T24" fmla="*/ 65 w 382"/>
                    <a:gd name="T25" fmla="*/ 418 h 609"/>
                    <a:gd name="T26" fmla="*/ 61 w 382"/>
                    <a:gd name="T27" fmla="*/ 478 h 609"/>
                    <a:gd name="T28" fmla="*/ 67 w 382"/>
                    <a:gd name="T29" fmla="*/ 489 h 609"/>
                    <a:gd name="T30" fmla="*/ 60 w 382"/>
                    <a:gd name="T31" fmla="*/ 498 h 609"/>
                    <a:gd name="T32" fmla="*/ 58 w 382"/>
                    <a:gd name="T33" fmla="*/ 517 h 609"/>
                    <a:gd name="T34" fmla="*/ 54 w 382"/>
                    <a:gd name="T35" fmla="*/ 531 h 609"/>
                    <a:gd name="T36" fmla="*/ 58 w 382"/>
                    <a:gd name="T37" fmla="*/ 544 h 609"/>
                    <a:gd name="T38" fmla="*/ 58 w 382"/>
                    <a:gd name="T39" fmla="*/ 565 h 609"/>
                    <a:gd name="T40" fmla="*/ 74 w 382"/>
                    <a:gd name="T41" fmla="*/ 575 h 609"/>
                    <a:gd name="T42" fmla="*/ 63 w 382"/>
                    <a:gd name="T43" fmla="*/ 583 h 609"/>
                    <a:gd name="T44" fmla="*/ 90 w 382"/>
                    <a:gd name="T45" fmla="*/ 578 h 609"/>
                    <a:gd name="T46" fmla="*/ 81 w 382"/>
                    <a:gd name="T47" fmla="*/ 592 h 609"/>
                    <a:gd name="T48" fmla="*/ 105 w 382"/>
                    <a:gd name="T49" fmla="*/ 603 h 609"/>
                    <a:gd name="T50" fmla="*/ 105 w 382"/>
                    <a:gd name="T51" fmla="*/ 582 h 609"/>
                    <a:gd name="T52" fmla="*/ 100 w 382"/>
                    <a:gd name="T53" fmla="*/ 564 h 609"/>
                    <a:gd name="T54" fmla="*/ 119 w 382"/>
                    <a:gd name="T55" fmla="*/ 514 h 609"/>
                    <a:gd name="T56" fmla="*/ 141 w 382"/>
                    <a:gd name="T57" fmla="*/ 473 h 609"/>
                    <a:gd name="T58" fmla="*/ 155 w 382"/>
                    <a:gd name="T59" fmla="*/ 444 h 609"/>
                    <a:gd name="T60" fmla="*/ 192 w 382"/>
                    <a:gd name="T61" fmla="*/ 399 h 609"/>
                    <a:gd name="T62" fmla="*/ 231 w 382"/>
                    <a:gd name="T63" fmla="*/ 384 h 609"/>
                    <a:gd name="T64" fmla="*/ 267 w 382"/>
                    <a:gd name="T65" fmla="*/ 330 h 609"/>
                    <a:gd name="T66" fmla="*/ 322 w 382"/>
                    <a:gd name="T67" fmla="*/ 290 h 609"/>
                    <a:gd name="T68" fmla="*/ 345 w 382"/>
                    <a:gd name="T69" fmla="*/ 238 h 609"/>
                    <a:gd name="T70" fmla="*/ 378 w 382"/>
                    <a:gd name="T71" fmla="*/ 172 h 609"/>
                    <a:gd name="T72" fmla="*/ 111 w 382"/>
                    <a:gd name="T73" fmla="*/ 88 h 609"/>
                    <a:gd name="T74" fmla="*/ 96 w 382"/>
                    <a:gd name="T75" fmla="*/ 192 h 609"/>
                    <a:gd name="T76" fmla="*/ 93 w 382"/>
                    <a:gd name="T77" fmla="*/ 137 h 609"/>
                    <a:gd name="T78" fmla="*/ 97 w 382"/>
                    <a:gd name="T79" fmla="*/ 248 h 609"/>
                    <a:gd name="T80" fmla="*/ 114 w 382"/>
                    <a:gd name="T81" fmla="*/ 291 h 609"/>
                    <a:gd name="T82" fmla="*/ 223 w 382"/>
                    <a:gd name="T83" fmla="*/ 86 h 609"/>
                    <a:gd name="T84" fmla="*/ 193 w 382"/>
                    <a:gd name="T85" fmla="*/ 260 h 609"/>
                    <a:gd name="T86" fmla="*/ 219 w 382"/>
                    <a:gd name="T87" fmla="*/ 311 h 609"/>
                    <a:gd name="T88" fmla="*/ 220 w 382"/>
                    <a:gd name="T89" fmla="*/ 305 h 609"/>
                    <a:gd name="T90" fmla="*/ 219 w 382"/>
                    <a:gd name="T91" fmla="*/ 300 h 609"/>
                    <a:gd name="T92" fmla="*/ 200 w 382"/>
                    <a:gd name="T93" fmla="*/ 87 h 609"/>
                    <a:gd name="T94" fmla="*/ 169 w 382"/>
                    <a:gd name="T95" fmla="*/ 64 h 609"/>
                    <a:gd name="T96" fmla="*/ 171 w 382"/>
                    <a:gd name="T97" fmla="*/ 61 h 609"/>
                    <a:gd name="T98" fmla="*/ 153 w 382"/>
                    <a:gd name="T99" fmla="*/ 284 h 609"/>
                    <a:gd name="T100" fmla="*/ 145 w 382"/>
                    <a:gd name="T101" fmla="*/ 284 h 609"/>
                    <a:gd name="T102" fmla="*/ 195 w 382"/>
                    <a:gd name="T103" fmla="*/ 356 h 609"/>
                    <a:gd name="T104" fmla="*/ 199 w 382"/>
                    <a:gd name="T105" fmla="*/ 350 h 609"/>
                    <a:gd name="T106" fmla="*/ 220 w 382"/>
                    <a:gd name="T107" fmla="*/ 84 h 609"/>
                    <a:gd name="T108" fmla="*/ 48 w 382"/>
                    <a:gd name="T109" fmla="*/ 105 h 609"/>
                    <a:gd name="T110" fmla="*/ 49 w 382"/>
                    <a:gd name="T111" fmla="*/ 106 h 609"/>
                    <a:gd name="T112" fmla="*/ 50 w 382"/>
                    <a:gd name="T113" fmla="*/ 109 h 609"/>
                    <a:gd name="T114" fmla="*/ 90 w 382"/>
                    <a:gd name="T115" fmla="*/ 193 h 609"/>
                    <a:gd name="T116" fmla="*/ 193 w 382"/>
                    <a:gd name="T117" fmla="*/ 357 h 6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82" h="609">
                      <a:moveTo>
                        <a:pt x="377" y="149"/>
                      </a:moveTo>
                      <a:cubicBezTo>
                        <a:pt x="375" y="143"/>
                        <a:pt x="373" y="144"/>
                        <a:pt x="370" y="144"/>
                      </a:cubicBezTo>
                      <a:cubicBezTo>
                        <a:pt x="366" y="145"/>
                        <a:pt x="359" y="144"/>
                        <a:pt x="351" y="134"/>
                      </a:cubicBezTo>
                      <a:cubicBezTo>
                        <a:pt x="342" y="124"/>
                        <a:pt x="333" y="125"/>
                        <a:pt x="327" y="127"/>
                      </a:cubicBezTo>
                      <a:cubicBezTo>
                        <a:pt x="321" y="128"/>
                        <a:pt x="315" y="124"/>
                        <a:pt x="311" y="123"/>
                      </a:cubicBezTo>
                      <a:cubicBezTo>
                        <a:pt x="307" y="122"/>
                        <a:pt x="303" y="127"/>
                        <a:pt x="301" y="128"/>
                      </a:cubicBezTo>
                      <a:cubicBezTo>
                        <a:pt x="298" y="129"/>
                        <a:pt x="302" y="124"/>
                        <a:pt x="302" y="120"/>
                      </a:cubicBezTo>
                      <a:cubicBezTo>
                        <a:pt x="302" y="117"/>
                        <a:pt x="291" y="112"/>
                        <a:pt x="283" y="109"/>
                      </a:cubicBezTo>
                      <a:cubicBezTo>
                        <a:pt x="275" y="106"/>
                        <a:pt x="272" y="107"/>
                        <a:pt x="272" y="113"/>
                      </a:cubicBezTo>
                      <a:cubicBezTo>
                        <a:pt x="272" y="118"/>
                        <a:pt x="268" y="111"/>
                        <a:pt x="266" y="117"/>
                      </a:cubicBezTo>
                      <a:cubicBezTo>
                        <a:pt x="263" y="122"/>
                        <a:pt x="259" y="118"/>
                        <a:pt x="262" y="117"/>
                      </a:cubicBezTo>
                      <a:cubicBezTo>
                        <a:pt x="265" y="115"/>
                        <a:pt x="268" y="111"/>
                        <a:pt x="269" y="107"/>
                      </a:cubicBezTo>
                      <a:cubicBezTo>
                        <a:pt x="270" y="104"/>
                        <a:pt x="257" y="101"/>
                        <a:pt x="252" y="103"/>
                      </a:cubicBezTo>
                      <a:cubicBezTo>
                        <a:pt x="248" y="105"/>
                        <a:pt x="251" y="111"/>
                        <a:pt x="247" y="109"/>
                      </a:cubicBezTo>
                      <a:cubicBezTo>
                        <a:pt x="244" y="107"/>
                        <a:pt x="247" y="103"/>
                        <a:pt x="249" y="103"/>
                      </a:cubicBezTo>
                      <a:cubicBezTo>
                        <a:pt x="252" y="103"/>
                        <a:pt x="255" y="97"/>
                        <a:pt x="257" y="93"/>
                      </a:cubicBezTo>
                      <a:cubicBezTo>
                        <a:pt x="259" y="89"/>
                        <a:pt x="254" y="88"/>
                        <a:pt x="251" y="84"/>
                      </a:cubicBezTo>
                      <a:cubicBezTo>
                        <a:pt x="248" y="81"/>
                        <a:pt x="248" y="70"/>
                        <a:pt x="245" y="69"/>
                      </a:cubicBezTo>
                      <a:cubicBezTo>
                        <a:pt x="245" y="69"/>
                        <a:pt x="245" y="69"/>
                        <a:pt x="245" y="69"/>
                      </a:cubicBezTo>
                      <a:cubicBezTo>
                        <a:pt x="242" y="67"/>
                        <a:pt x="236" y="59"/>
                        <a:pt x="231" y="58"/>
                      </a:cubicBezTo>
                      <a:cubicBezTo>
                        <a:pt x="229" y="58"/>
                        <a:pt x="227" y="57"/>
                        <a:pt x="224" y="56"/>
                      </a:cubicBezTo>
                      <a:cubicBezTo>
                        <a:pt x="222" y="55"/>
                        <a:pt x="219" y="54"/>
                        <a:pt x="216" y="54"/>
                      </a:cubicBezTo>
                      <a:cubicBezTo>
                        <a:pt x="212" y="54"/>
                        <a:pt x="208" y="56"/>
                        <a:pt x="206" y="54"/>
                      </a:cubicBezTo>
                      <a:cubicBezTo>
                        <a:pt x="204" y="52"/>
                        <a:pt x="202" y="52"/>
                        <a:pt x="200" y="54"/>
                      </a:cubicBezTo>
                      <a:cubicBezTo>
                        <a:pt x="200" y="54"/>
                        <a:pt x="199" y="54"/>
                        <a:pt x="199" y="54"/>
                      </a:cubicBezTo>
                      <a:cubicBezTo>
                        <a:pt x="197" y="54"/>
                        <a:pt x="194" y="48"/>
                        <a:pt x="192" y="48"/>
                      </a:cubicBezTo>
                      <a:cubicBezTo>
                        <a:pt x="190" y="48"/>
                        <a:pt x="187" y="46"/>
                        <a:pt x="188" y="43"/>
                      </a:cubicBezTo>
                      <a:cubicBezTo>
                        <a:pt x="188" y="40"/>
                        <a:pt x="183" y="39"/>
                        <a:pt x="180" y="36"/>
                      </a:cubicBezTo>
                      <a:cubicBezTo>
                        <a:pt x="179" y="35"/>
                        <a:pt x="178" y="35"/>
                        <a:pt x="177" y="34"/>
                      </a:cubicBezTo>
                      <a:cubicBezTo>
                        <a:pt x="173" y="33"/>
                        <a:pt x="167" y="33"/>
                        <a:pt x="165" y="33"/>
                      </a:cubicBezTo>
                      <a:cubicBezTo>
                        <a:pt x="162" y="33"/>
                        <a:pt x="167" y="29"/>
                        <a:pt x="167" y="26"/>
                      </a:cubicBezTo>
                      <a:cubicBezTo>
                        <a:pt x="167" y="23"/>
                        <a:pt x="159" y="23"/>
                        <a:pt x="155" y="22"/>
                      </a:cubicBezTo>
                      <a:cubicBezTo>
                        <a:pt x="152" y="21"/>
                        <a:pt x="153" y="18"/>
                        <a:pt x="156" y="17"/>
                      </a:cubicBezTo>
                      <a:cubicBezTo>
                        <a:pt x="160" y="17"/>
                        <a:pt x="154" y="15"/>
                        <a:pt x="150" y="15"/>
                      </a:cubicBezTo>
                      <a:cubicBezTo>
                        <a:pt x="145" y="16"/>
                        <a:pt x="138" y="19"/>
                        <a:pt x="134" y="21"/>
                      </a:cubicBezTo>
                      <a:cubicBezTo>
                        <a:pt x="130" y="23"/>
                        <a:pt x="123" y="15"/>
                        <a:pt x="119" y="16"/>
                      </a:cubicBezTo>
                      <a:cubicBezTo>
                        <a:pt x="114" y="18"/>
                        <a:pt x="108" y="18"/>
                        <a:pt x="108" y="15"/>
                      </a:cubicBezTo>
                      <a:cubicBezTo>
                        <a:pt x="109" y="11"/>
                        <a:pt x="107" y="8"/>
                        <a:pt x="102" y="8"/>
                      </a:cubicBezTo>
                      <a:cubicBezTo>
                        <a:pt x="98" y="9"/>
                        <a:pt x="99" y="4"/>
                        <a:pt x="95" y="4"/>
                      </a:cubicBezTo>
                      <a:cubicBezTo>
                        <a:pt x="92" y="4"/>
                        <a:pt x="95" y="8"/>
                        <a:pt x="93" y="9"/>
                      </a:cubicBezTo>
                      <a:cubicBezTo>
                        <a:pt x="91" y="10"/>
                        <a:pt x="83" y="12"/>
                        <a:pt x="82" y="15"/>
                      </a:cubicBezTo>
                      <a:cubicBezTo>
                        <a:pt x="82" y="19"/>
                        <a:pt x="86" y="24"/>
                        <a:pt x="85" y="27"/>
                      </a:cubicBezTo>
                      <a:cubicBezTo>
                        <a:pt x="83" y="30"/>
                        <a:pt x="78" y="28"/>
                        <a:pt x="76" y="24"/>
                      </a:cubicBezTo>
                      <a:cubicBezTo>
                        <a:pt x="75" y="21"/>
                        <a:pt x="81" y="16"/>
                        <a:pt x="80" y="14"/>
                      </a:cubicBezTo>
                      <a:cubicBezTo>
                        <a:pt x="79" y="12"/>
                        <a:pt x="78" y="10"/>
                        <a:pt x="79" y="8"/>
                      </a:cubicBezTo>
                      <a:cubicBezTo>
                        <a:pt x="79" y="7"/>
                        <a:pt x="80" y="7"/>
                        <a:pt x="81" y="7"/>
                      </a:cubicBezTo>
                      <a:cubicBezTo>
                        <a:pt x="84" y="6"/>
                        <a:pt x="86" y="4"/>
                        <a:pt x="83" y="2"/>
                      </a:cubicBezTo>
                      <a:cubicBezTo>
                        <a:pt x="79" y="0"/>
                        <a:pt x="77" y="5"/>
                        <a:pt x="74" y="6"/>
                      </a:cubicBezTo>
                      <a:cubicBezTo>
                        <a:pt x="70" y="6"/>
                        <a:pt x="69" y="9"/>
                        <a:pt x="67" y="10"/>
                      </a:cubicBezTo>
                      <a:cubicBezTo>
                        <a:pt x="64" y="11"/>
                        <a:pt x="59" y="10"/>
                        <a:pt x="59" y="12"/>
                      </a:cubicBezTo>
                      <a:cubicBezTo>
                        <a:pt x="59" y="15"/>
                        <a:pt x="58" y="12"/>
                        <a:pt x="56" y="12"/>
                      </a:cubicBezTo>
                      <a:cubicBezTo>
                        <a:pt x="53" y="11"/>
                        <a:pt x="48" y="16"/>
                        <a:pt x="48" y="19"/>
                      </a:cubicBezTo>
                      <a:cubicBezTo>
                        <a:pt x="48" y="21"/>
                        <a:pt x="49" y="24"/>
                        <a:pt x="45" y="26"/>
                      </a:cubicBezTo>
                      <a:cubicBezTo>
                        <a:pt x="41" y="29"/>
                        <a:pt x="39" y="34"/>
                        <a:pt x="37" y="36"/>
                      </a:cubicBezTo>
                      <a:cubicBezTo>
                        <a:pt x="37" y="36"/>
                        <a:pt x="36" y="36"/>
                        <a:pt x="35" y="36"/>
                      </a:cubicBezTo>
                      <a:cubicBezTo>
                        <a:pt x="35" y="37"/>
                        <a:pt x="35" y="38"/>
                        <a:pt x="34" y="39"/>
                      </a:cubicBezTo>
                      <a:cubicBezTo>
                        <a:pt x="33" y="39"/>
                        <a:pt x="31" y="42"/>
                        <a:pt x="29" y="44"/>
                      </a:cubicBezTo>
                      <a:cubicBezTo>
                        <a:pt x="30" y="45"/>
                        <a:pt x="31" y="46"/>
                        <a:pt x="31" y="46"/>
                      </a:cubicBezTo>
                      <a:cubicBezTo>
                        <a:pt x="34" y="49"/>
                        <a:pt x="32" y="51"/>
                        <a:pt x="33" y="53"/>
                      </a:cubicBezTo>
                      <a:cubicBezTo>
                        <a:pt x="34" y="54"/>
                        <a:pt x="34" y="56"/>
                        <a:pt x="33" y="57"/>
                      </a:cubicBezTo>
                      <a:cubicBezTo>
                        <a:pt x="32" y="58"/>
                        <a:pt x="33" y="68"/>
                        <a:pt x="34" y="70"/>
                      </a:cubicBezTo>
                      <a:cubicBezTo>
                        <a:pt x="36" y="71"/>
                        <a:pt x="34" y="73"/>
                        <a:pt x="33" y="77"/>
                      </a:cubicBezTo>
                      <a:cubicBezTo>
                        <a:pt x="31" y="80"/>
                        <a:pt x="29" y="82"/>
                        <a:pt x="26" y="82"/>
                      </a:cubicBezTo>
                      <a:cubicBezTo>
                        <a:pt x="23" y="82"/>
                        <a:pt x="23" y="87"/>
                        <a:pt x="22" y="87"/>
                      </a:cubicBezTo>
                      <a:cubicBezTo>
                        <a:pt x="21" y="87"/>
                        <a:pt x="21" y="89"/>
                        <a:pt x="20" y="90"/>
                      </a:cubicBezTo>
                      <a:cubicBezTo>
                        <a:pt x="20" y="91"/>
                        <a:pt x="20" y="91"/>
                        <a:pt x="20" y="92"/>
                      </a:cubicBezTo>
                      <a:cubicBezTo>
                        <a:pt x="21" y="93"/>
                        <a:pt x="18" y="94"/>
                        <a:pt x="15" y="94"/>
                      </a:cubicBezTo>
                      <a:cubicBezTo>
                        <a:pt x="12" y="95"/>
                        <a:pt x="12" y="98"/>
                        <a:pt x="12" y="100"/>
                      </a:cubicBezTo>
                      <a:cubicBezTo>
                        <a:pt x="12" y="103"/>
                        <a:pt x="10" y="103"/>
                        <a:pt x="9" y="105"/>
                      </a:cubicBezTo>
                      <a:cubicBezTo>
                        <a:pt x="8" y="108"/>
                        <a:pt x="9" y="108"/>
                        <a:pt x="6" y="109"/>
                      </a:cubicBezTo>
                      <a:cubicBezTo>
                        <a:pt x="4" y="111"/>
                        <a:pt x="3" y="113"/>
                        <a:pt x="5" y="115"/>
                      </a:cubicBezTo>
                      <a:cubicBezTo>
                        <a:pt x="6" y="117"/>
                        <a:pt x="5" y="119"/>
                        <a:pt x="4" y="120"/>
                      </a:cubicBezTo>
                      <a:cubicBezTo>
                        <a:pt x="4" y="122"/>
                        <a:pt x="6" y="122"/>
                        <a:pt x="9" y="124"/>
                      </a:cubicBezTo>
                      <a:cubicBezTo>
                        <a:pt x="11" y="127"/>
                        <a:pt x="12" y="123"/>
                        <a:pt x="13" y="125"/>
                      </a:cubicBezTo>
                      <a:cubicBezTo>
                        <a:pt x="14" y="127"/>
                        <a:pt x="12" y="130"/>
                        <a:pt x="9" y="130"/>
                      </a:cubicBezTo>
                      <a:cubicBezTo>
                        <a:pt x="9" y="130"/>
                        <a:pt x="9" y="130"/>
                        <a:pt x="9" y="130"/>
                      </a:cubicBezTo>
                      <a:cubicBezTo>
                        <a:pt x="6" y="131"/>
                        <a:pt x="3" y="135"/>
                        <a:pt x="2" y="137"/>
                      </a:cubicBezTo>
                      <a:cubicBezTo>
                        <a:pt x="0" y="140"/>
                        <a:pt x="4" y="146"/>
                        <a:pt x="5" y="148"/>
                      </a:cubicBezTo>
                      <a:cubicBezTo>
                        <a:pt x="5" y="151"/>
                        <a:pt x="3" y="149"/>
                        <a:pt x="2" y="151"/>
                      </a:cubicBezTo>
                      <a:cubicBezTo>
                        <a:pt x="2" y="153"/>
                        <a:pt x="8" y="155"/>
                        <a:pt x="11" y="158"/>
                      </a:cubicBezTo>
                      <a:cubicBezTo>
                        <a:pt x="14" y="160"/>
                        <a:pt x="16" y="166"/>
                        <a:pt x="19" y="169"/>
                      </a:cubicBezTo>
                      <a:cubicBezTo>
                        <a:pt x="22" y="171"/>
                        <a:pt x="22" y="174"/>
                        <a:pt x="25" y="181"/>
                      </a:cubicBezTo>
                      <a:cubicBezTo>
                        <a:pt x="28" y="188"/>
                        <a:pt x="33" y="200"/>
                        <a:pt x="37" y="205"/>
                      </a:cubicBezTo>
                      <a:cubicBezTo>
                        <a:pt x="41" y="210"/>
                        <a:pt x="43" y="214"/>
                        <a:pt x="42" y="215"/>
                      </a:cubicBezTo>
                      <a:cubicBezTo>
                        <a:pt x="41" y="216"/>
                        <a:pt x="42" y="220"/>
                        <a:pt x="45" y="222"/>
                      </a:cubicBezTo>
                      <a:cubicBezTo>
                        <a:pt x="48" y="224"/>
                        <a:pt x="50" y="227"/>
                        <a:pt x="58" y="231"/>
                      </a:cubicBezTo>
                      <a:cubicBezTo>
                        <a:pt x="65" y="235"/>
                        <a:pt x="79" y="242"/>
                        <a:pt x="81" y="245"/>
                      </a:cubicBezTo>
                      <a:cubicBezTo>
                        <a:pt x="83" y="249"/>
                        <a:pt x="89" y="252"/>
                        <a:pt x="91" y="253"/>
                      </a:cubicBezTo>
                      <a:cubicBezTo>
                        <a:pt x="91" y="253"/>
                        <a:pt x="91" y="254"/>
                        <a:pt x="91" y="254"/>
                      </a:cubicBezTo>
                      <a:cubicBezTo>
                        <a:pt x="91" y="256"/>
                        <a:pt x="90" y="260"/>
                        <a:pt x="91" y="262"/>
                      </a:cubicBezTo>
                      <a:cubicBezTo>
                        <a:pt x="92" y="264"/>
                        <a:pt x="93" y="277"/>
                        <a:pt x="92" y="282"/>
                      </a:cubicBezTo>
                      <a:cubicBezTo>
                        <a:pt x="91" y="287"/>
                        <a:pt x="90" y="291"/>
                        <a:pt x="89" y="294"/>
                      </a:cubicBezTo>
                      <a:cubicBezTo>
                        <a:pt x="87" y="297"/>
                        <a:pt x="91" y="298"/>
                        <a:pt x="90" y="299"/>
                      </a:cubicBezTo>
                      <a:cubicBezTo>
                        <a:pt x="88" y="300"/>
                        <a:pt x="89" y="304"/>
                        <a:pt x="89" y="310"/>
                      </a:cubicBezTo>
                      <a:cubicBezTo>
                        <a:pt x="89" y="315"/>
                        <a:pt x="85" y="325"/>
                        <a:pt x="85" y="328"/>
                      </a:cubicBezTo>
                      <a:cubicBezTo>
                        <a:pt x="85" y="331"/>
                        <a:pt x="83" y="333"/>
                        <a:pt x="83" y="336"/>
                      </a:cubicBezTo>
                      <a:cubicBezTo>
                        <a:pt x="83" y="340"/>
                        <a:pt x="81" y="342"/>
                        <a:pt x="79" y="343"/>
                      </a:cubicBezTo>
                      <a:cubicBezTo>
                        <a:pt x="77" y="345"/>
                        <a:pt x="83" y="350"/>
                        <a:pt x="82" y="353"/>
                      </a:cubicBezTo>
                      <a:cubicBezTo>
                        <a:pt x="82" y="356"/>
                        <a:pt x="79" y="357"/>
                        <a:pt x="79" y="362"/>
                      </a:cubicBezTo>
                      <a:cubicBezTo>
                        <a:pt x="81" y="368"/>
                        <a:pt x="79" y="377"/>
                        <a:pt x="79" y="379"/>
                      </a:cubicBezTo>
                      <a:cubicBezTo>
                        <a:pt x="79" y="381"/>
                        <a:pt x="77" y="381"/>
                        <a:pt x="78" y="385"/>
                      </a:cubicBezTo>
                      <a:cubicBezTo>
                        <a:pt x="78" y="389"/>
                        <a:pt x="75" y="390"/>
                        <a:pt x="75" y="395"/>
                      </a:cubicBezTo>
                      <a:cubicBezTo>
                        <a:pt x="74" y="400"/>
                        <a:pt x="70" y="408"/>
                        <a:pt x="69" y="412"/>
                      </a:cubicBezTo>
                      <a:cubicBezTo>
                        <a:pt x="67" y="416"/>
                        <a:pt x="67" y="418"/>
                        <a:pt x="65" y="418"/>
                      </a:cubicBezTo>
                      <a:cubicBezTo>
                        <a:pt x="63" y="418"/>
                        <a:pt x="62" y="421"/>
                        <a:pt x="64" y="424"/>
                      </a:cubicBezTo>
                      <a:cubicBezTo>
                        <a:pt x="65" y="428"/>
                        <a:pt x="63" y="431"/>
                        <a:pt x="65" y="435"/>
                      </a:cubicBezTo>
                      <a:cubicBezTo>
                        <a:pt x="67" y="438"/>
                        <a:pt x="66" y="439"/>
                        <a:pt x="65" y="443"/>
                      </a:cubicBezTo>
                      <a:cubicBezTo>
                        <a:pt x="64" y="446"/>
                        <a:pt x="63" y="446"/>
                        <a:pt x="63" y="449"/>
                      </a:cubicBezTo>
                      <a:cubicBezTo>
                        <a:pt x="63" y="453"/>
                        <a:pt x="60" y="455"/>
                        <a:pt x="62" y="459"/>
                      </a:cubicBezTo>
                      <a:cubicBezTo>
                        <a:pt x="63" y="463"/>
                        <a:pt x="63" y="464"/>
                        <a:pt x="61" y="464"/>
                      </a:cubicBezTo>
                      <a:cubicBezTo>
                        <a:pt x="59" y="464"/>
                        <a:pt x="58" y="467"/>
                        <a:pt x="57" y="473"/>
                      </a:cubicBezTo>
                      <a:cubicBezTo>
                        <a:pt x="57" y="478"/>
                        <a:pt x="57" y="478"/>
                        <a:pt x="61" y="478"/>
                      </a:cubicBezTo>
                      <a:cubicBezTo>
                        <a:pt x="66" y="478"/>
                        <a:pt x="62" y="463"/>
                        <a:pt x="65" y="463"/>
                      </a:cubicBezTo>
                      <a:cubicBezTo>
                        <a:pt x="67" y="463"/>
                        <a:pt x="65" y="461"/>
                        <a:pt x="68" y="460"/>
                      </a:cubicBezTo>
                      <a:cubicBezTo>
                        <a:pt x="71" y="460"/>
                        <a:pt x="68" y="463"/>
                        <a:pt x="70" y="463"/>
                      </a:cubicBezTo>
                      <a:cubicBezTo>
                        <a:pt x="72" y="464"/>
                        <a:pt x="73" y="465"/>
                        <a:pt x="71" y="467"/>
                      </a:cubicBezTo>
                      <a:cubicBezTo>
                        <a:pt x="68" y="469"/>
                        <a:pt x="71" y="472"/>
                        <a:pt x="70" y="474"/>
                      </a:cubicBezTo>
                      <a:cubicBezTo>
                        <a:pt x="69" y="476"/>
                        <a:pt x="67" y="478"/>
                        <a:pt x="68" y="480"/>
                      </a:cubicBezTo>
                      <a:cubicBezTo>
                        <a:pt x="69" y="482"/>
                        <a:pt x="67" y="482"/>
                        <a:pt x="66" y="485"/>
                      </a:cubicBezTo>
                      <a:cubicBezTo>
                        <a:pt x="66" y="488"/>
                        <a:pt x="68" y="489"/>
                        <a:pt x="67" y="489"/>
                      </a:cubicBezTo>
                      <a:cubicBezTo>
                        <a:pt x="66" y="490"/>
                        <a:pt x="68" y="492"/>
                        <a:pt x="67" y="493"/>
                      </a:cubicBezTo>
                      <a:cubicBezTo>
                        <a:pt x="65" y="493"/>
                        <a:pt x="66" y="495"/>
                        <a:pt x="67" y="497"/>
                      </a:cubicBezTo>
                      <a:cubicBezTo>
                        <a:pt x="68" y="500"/>
                        <a:pt x="65" y="498"/>
                        <a:pt x="63" y="500"/>
                      </a:cubicBezTo>
                      <a:cubicBezTo>
                        <a:pt x="61" y="501"/>
                        <a:pt x="65" y="503"/>
                        <a:pt x="64" y="505"/>
                      </a:cubicBezTo>
                      <a:cubicBezTo>
                        <a:pt x="62" y="507"/>
                        <a:pt x="60" y="504"/>
                        <a:pt x="58" y="503"/>
                      </a:cubicBezTo>
                      <a:cubicBezTo>
                        <a:pt x="57" y="502"/>
                        <a:pt x="60" y="500"/>
                        <a:pt x="62" y="498"/>
                      </a:cubicBezTo>
                      <a:cubicBezTo>
                        <a:pt x="64" y="496"/>
                        <a:pt x="60" y="491"/>
                        <a:pt x="58" y="492"/>
                      </a:cubicBezTo>
                      <a:cubicBezTo>
                        <a:pt x="55" y="493"/>
                        <a:pt x="60" y="496"/>
                        <a:pt x="60" y="498"/>
                      </a:cubicBezTo>
                      <a:cubicBezTo>
                        <a:pt x="60" y="501"/>
                        <a:pt x="56" y="498"/>
                        <a:pt x="56" y="500"/>
                      </a:cubicBezTo>
                      <a:cubicBezTo>
                        <a:pt x="56" y="503"/>
                        <a:pt x="53" y="502"/>
                        <a:pt x="51" y="504"/>
                      </a:cubicBezTo>
                      <a:cubicBezTo>
                        <a:pt x="50" y="505"/>
                        <a:pt x="54" y="507"/>
                        <a:pt x="52" y="507"/>
                      </a:cubicBezTo>
                      <a:cubicBezTo>
                        <a:pt x="50" y="508"/>
                        <a:pt x="47" y="510"/>
                        <a:pt x="47" y="512"/>
                      </a:cubicBezTo>
                      <a:cubicBezTo>
                        <a:pt x="47" y="514"/>
                        <a:pt x="49" y="514"/>
                        <a:pt x="49" y="513"/>
                      </a:cubicBezTo>
                      <a:cubicBezTo>
                        <a:pt x="49" y="511"/>
                        <a:pt x="52" y="510"/>
                        <a:pt x="53" y="513"/>
                      </a:cubicBezTo>
                      <a:cubicBezTo>
                        <a:pt x="53" y="515"/>
                        <a:pt x="55" y="513"/>
                        <a:pt x="57" y="513"/>
                      </a:cubicBezTo>
                      <a:cubicBezTo>
                        <a:pt x="60" y="514"/>
                        <a:pt x="59" y="517"/>
                        <a:pt x="58" y="517"/>
                      </a:cubicBezTo>
                      <a:cubicBezTo>
                        <a:pt x="56" y="517"/>
                        <a:pt x="55" y="520"/>
                        <a:pt x="55" y="522"/>
                      </a:cubicBezTo>
                      <a:cubicBezTo>
                        <a:pt x="56" y="525"/>
                        <a:pt x="61" y="522"/>
                        <a:pt x="63" y="523"/>
                      </a:cubicBezTo>
                      <a:cubicBezTo>
                        <a:pt x="65" y="524"/>
                        <a:pt x="64" y="527"/>
                        <a:pt x="63" y="526"/>
                      </a:cubicBezTo>
                      <a:cubicBezTo>
                        <a:pt x="62" y="525"/>
                        <a:pt x="59" y="523"/>
                        <a:pt x="58" y="525"/>
                      </a:cubicBezTo>
                      <a:cubicBezTo>
                        <a:pt x="56" y="527"/>
                        <a:pt x="54" y="526"/>
                        <a:pt x="53" y="525"/>
                      </a:cubicBezTo>
                      <a:cubicBezTo>
                        <a:pt x="51" y="525"/>
                        <a:pt x="46" y="528"/>
                        <a:pt x="48" y="530"/>
                      </a:cubicBezTo>
                      <a:cubicBezTo>
                        <a:pt x="49" y="531"/>
                        <a:pt x="49" y="533"/>
                        <a:pt x="51" y="533"/>
                      </a:cubicBezTo>
                      <a:cubicBezTo>
                        <a:pt x="52" y="533"/>
                        <a:pt x="54" y="532"/>
                        <a:pt x="54" y="531"/>
                      </a:cubicBezTo>
                      <a:cubicBezTo>
                        <a:pt x="55" y="529"/>
                        <a:pt x="58" y="528"/>
                        <a:pt x="58" y="531"/>
                      </a:cubicBezTo>
                      <a:cubicBezTo>
                        <a:pt x="58" y="534"/>
                        <a:pt x="54" y="533"/>
                        <a:pt x="54" y="535"/>
                      </a:cubicBezTo>
                      <a:cubicBezTo>
                        <a:pt x="53" y="536"/>
                        <a:pt x="52" y="538"/>
                        <a:pt x="49" y="539"/>
                      </a:cubicBezTo>
                      <a:cubicBezTo>
                        <a:pt x="47" y="541"/>
                        <a:pt x="49" y="544"/>
                        <a:pt x="51" y="543"/>
                      </a:cubicBezTo>
                      <a:cubicBezTo>
                        <a:pt x="53" y="542"/>
                        <a:pt x="51" y="545"/>
                        <a:pt x="53" y="545"/>
                      </a:cubicBezTo>
                      <a:cubicBezTo>
                        <a:pt x="56" y="546"/>
                        <a:pt x="56" y="544"/>
                        <a:pt x="56" y="542"/>
                      </a:cubicBezTo>
                      <a:cubicBezTo>
                        <a:pt x="55" y="540"/>
                        <a:pt x="57" y="536"/>
                        <a:pt x="59" y="538"/>
                      </a:cubicBezTo>
                      <a:cubicBezTo>
                        <a:pt x="61" y="540"/>
                        <a:pt x="58" y="542"/>
                        <a:pt x="58" y="544"/>
                      </a:cubicBezTo>
                      <a:cubicBezTo>
                        <a:pt x="58" y="546"/>
                        <a:pt x="57" y="548"/>
                        <a:pt x="57" y="550"/>
                      </a:cubicBezTo>
                      <a:cubicBezTo>
                        <a:pt x="57" y="552"/>
                        <a:pt x="54" y="551"/>
                        <a:pt x="55" y="553"/>
                      </a:cubicBezTo>
                      <a:cubicBezTo>
                        <a:pt x="55" y="555"/>
                        <a:pt x="50" y="554"/>
                        <a:pt x="52" y="555"/>
                      </a:cubicBezTo>
                      <a:cubicBezTo>
                        <a:pt x="54" y="557"/>
                        <a:pt x="51" y="559"/>
                        <a:pt x="52" y="560"/>
                      </a:cubicBezTo>
                      <a:cubicBezTo>
                        <a:pt x="53" y="561"/>
                        <a:pt x="54" y="558"/>
                        <a:pt x="56" y="559"/>
                      </a:cubicBezTo>
                      <a:cubicBezTo>
                        <a:pt x="58" y="560"/>
                        <a:pt x="58" y="560"/>
                        <a:pt x="60" y="559"/>
                      </a:cubicBezTo>
                      <a:cubicBezTo>
                        <a:pt x="63" y="558"/>
                        <a:pt x="64" y="561"/>
                        <a:pt x="62" y="562"/>
                      </a:cubicBezTo>
                      <a:cubicBezTo>
                        <a:pt x="59" y="562"/>
                        <a:pt x="57" y="565"/>
                        <a:pt x="58" y="565"/>
                      </a:cubicBezTo>
                      <a:cubicBezTo>
                        <a:pt x="59" y="566"/>
                        <a:pt x="62" y="564"/>
                        <a:pt x="63" y="566"/>
                      </a:cubicBezTo>
                      <a:cubicBezTo>
                        <a:pt x="64" y="568"/>
                        <a:pt x="65" y="568"/>
                        <a:pt x="66" y="565"/>
                      </a:cubicBezTo>
                      <a:cubicBezTo>
                        <a:pt x="66" y="563"/>
                        <a:pt x="70" y="565"/>
                        <a:pt x="71" y="567"/>
                      </a:cubicBezTo>
                      <a:cubicBezTo>
                        <a:pt x="71" y="569"/>
                        <a:pt x="66" y="570"/>
                        <a:pt x="64" y="570"/>
                      </a:cubicBezTo>
                      <a:cubicBezTo>
                        <a:pt x="61" y="569"/>
                        <a:pt x="59" y="572"/>
                        <a:pt x="61" y="575"/>
                      </a:cubicBezTo>
                      <a:cubicBezTo>
                        <a:pt x="63" y="577"/>
                        <a:pt x="65" y="575"/>
                        <a:pt x="67" y="573"/>
                      </a:cubicBezTo>
                      <a:cubicBezTo>
                        <a:pt x="69" y="571"/>
                        <a:pt x="79" y="571"/>
                        <a:pt x="79" y="573"/>
                      </a:cubicBezTo>
                      <a:cubicBezTo>
                        <a:pt x="80" y="575"/>
                        <a:pt x="75" y="574"/>
                        <a:pt x="74" y="575"/>
                      </a:cubicBezTo>
                      <a:cubicBezTo>
                        <a:pt x="74" y="576"/>
                        <a:pt x="70" y="577"/>
                        <a:pt x="69" y="576"/>
                      </a:cubicBezTo>
                      <a:cubicBezTo>
                        <a:pt x="69" y="574"/>
                        <a:pt x="65" y="576"/>
                        <a:pt x="65" y="579"/>
                      </a:cubicBezTo>
                      <a:cubicBezTo>
                        <a:pt x="65" y="581"/>
                        <a:pt x="62" y="581"/>
                        <a:pt x="65" y="582"/>
                      </a:cubicBezTo>
                      <a:cubicBezTo>
                        <a:pt x="68" y="583"/>
                        <a:pt x="67" y="578"/>
                        <a:pt x="72" y="579"/>
                      </a:cubicBezTo>
                      <a:cubicBezTo>
                        <a:pt x="77" y="579"/>
                        <a:pt x="80" y="574"/>
                        <a:pt x="82" y="577"/>
                      </a:cubicBezTo>
                      <a:cubicBezTo>
                        <a:pt x="83" y="580"/>
                        <a:pt x="77" y="582"/>
                        <a:pt x="76" y="580"/>
                      </a:cubicBezTo>
                      <a:cubicBezTo>
                        <a:pt x="74" y="579"/>
                        <a:pt x="71" y="582"/>
                        <a:pt x="71" y="584"/>
                      </a:cubicBezTo>
                      <a:cubicBezTo>
                        <a:pt x="72" y="587"/>
                        <a:pt x="66" y="584"/>
                        <a:pt x="63" y="583"/>
                      </a:cubicBezTo>
                      <a:cubicBezTo>
                        <a:pt x="60" y="583"/>
                        <a:pt x="61" y="586"/>
                        <a:pt x="64" y="589"/>
                      </a:cubicBezTo>
                      <a:cubicBezTo>
                        <a:pt x="66" y="591"/>
                        <a:pt x="68" y="588"/>
                        <a:pt x="71" y="590"/>
                      </a:cubicBezTo>
                      <a:cubicBezTo>
                        <a:pt x="74" y="592"/>
                        <a:pt x="74" y="594"/>
                        <a:pt x="76" y="592"/>
                      </a:cubicBezTo>
                      <a:cubicBezTo>
                        <a:pt x="78" y="590"/>
                        <a:pt x="76" y="591"/>
                        <a:pt x="74" y="590"/>
                      </a:cubicBezTo>
                      <a:cubicBezTo>
                        <a:pt x="73" y="589"/>
                        <a:pt x="74" y="586"/>
                        <a:pt x="78" y="587"/>
                      </a:cubicBezTo>
                      <a:cubicBezTo>
                        <a:pt x="81" y="589"/>
                        <a:pt x="85" y="586"/>
                        <a:pt x="84" y="582"/>
                      </a:cubicBezTo>
                      <a:cubicBezTo>
                        <a:pt x="83" y="577"/>
                        <a:pt x="87" y="575"/>
                        <a:pt x="91" y="574"/>
                      </a:cubicBezTo>
                      <a:cubicBezTo>
                        <a:pt x="95" y="573"/>
                        <a:pt x="93" y="577"/>
                        <a:pt x="90" y="578"/>
                      </a:cubicBezTo>
                      <a:cubicBezTo>
                        <a:pt x="87" y="579"/>
                        <a:pt x="86" y="580"/>
                        <a:pt x="89" y="583"/>
                      </a:cubicBezTo>
                      <a:cubicBezTo>
                        <a:pt x="91" y="585"/>
                        <a:pt x="94" y="581"/>
                        <a:pt x="96" y="583"/>
                      </a:cubicBezTo>
                      <a:cubicBezTo>
                        <a:pt x="98" y="585"/>
                        <a:pt x="92" y="585"/>
                        <a:pt x="92" y="586"/>
                      </a:cubicBezTo>
                      <a:cubicBezTo>
                        <a:pt x="91" y="588"/>
                        <a:pt x="95" y="591"/>
                        <a:pt x="92" y="592"/>
                      </a:cubicBezTo>
                      <a:cubicBezTo>
                        <a:pt x="89" y="594"/>
                        <a:pt x="90" y="586"/>
                        <a:pt x="89" y="586"/>
                      </a:cubicBezTo>
                      <a:cubicBezTo>
                        <a:pt x="87" y="585"/>
                        <a:pt x="85" y="586"/>
                        <a:pt x="87" y="591"/>
                      </a:cubicBezTo>
                      <a:cubicBezTo>
                        <a:pt x="89" y="595"/>
                        <a:pt x="85" y="591"/>
                        <a:pt x="83" y="589"/>
                      </a:cubicBezTo>
                      <a:cubicBezTo>
                        <a:pt x="81" y="587"/>
                        <a:pt x="79" y="590"/>
                        <a:pt x="81" y="592"/>
                      </a:cubicBezTo>
                      <a:cubicBezTo>
                        <a:pt x="83" y="594"/>
                        <a:pt x="77" y="592"/>
                        <a:pt x="77" y="595"/>
                      </a:cubicBezTo>
                      <a:cubicBezTo>
                        <a:pt x="77" y="599"/>
                        <a:pt x="79" y="596"/>
                        <a:pt x="83" y="597"/>
                      </a:cubicBezTo>
                      <a:cubicBezTo>
                        <a:pt x="86" y="597"/>
                        <a:pt x="84" y="602"/>
                        <a:pt x="87" y="604"/>
                      </a:cubicBezTo>
                      <a:cubicBezTo>
                        <a:pt x="89" y="606"/>
                        <a:pt x="87" y="598"/>
                        <a:pt x="90" y="598"/>
                      </a:cubicBezTo>
                      <a:cubicBezTo>
                        <a:pt x="92" y="597"/>
                        <a:pt x="90" y="603"/>
                        <a:pt x="95" y="605"/>
                      </a:cubicBezTo>
                      <a:cubicBezTo>
                        <a:pt x="101" y="607"/>
                        <a:pt x="96" y="604"/>
                        <a:pt x="98" y="602"/>
                      </a:cubicBezTo>
                      <a:cubicBezTo>
                        <a:pt x="101" y="600"/>
                        <a:pt x="104" y="608"/>
                        <a:pt x="107" y="608"/>
                      </a:cubicBezTo>
                      <a:cubicBezTo>
                        <a:pt x="109" y="609"/>
                        <a:pt x="107" y="605"/>
                        <a:pt x="105" y="603"/>
                      </a:cubicBezTo>
                      <a:cubicBezTo>
                        <a:pt x="104" y="601"/>
                        <a:pt x="107" y="602"/>
                        <a:pt x="110" y="603"/>
                      </a:cubicBezTo>
                      <a:cubicBezTo>
                        <a:pt x="113" y="604"/>
                        <a:pt x="115" y="604"/>
                        <a:pt x="115" y="602"/>
                      </a:cubicBezTo>
                      <a:cubicBezTo>
                        <a:pt x="116" y="601"/>
                        <a:pt x="116" y="601"/>
                        <a:pt x="117" y="602"/>
                      </a:cubicBezTo>
                      <a:cubicBezTo>
                        <a:pt x="118" y="602"/>
                        <a:pt x="119" y="603"/>
                        <a:pt x="120" y="602"/>
                      </a:cubicBezTo>
                      <a:cubicBezTo>
                        <a:pt x="122" y="600"/>
                        <a:pt x="128" y="601"/>
                        <a:pt x="130" y="599"/>
                      </a:cubicBezTo>
                      <a:cubicBezTo>
                        <a:pt x="133" y="597"/>
                        <a:pt x="130" y="597"/>
                        <a:pt x="125" y="596"/>
                      </a:cubicBezTo>
                      <a:cubicBezTo>
                        <a:pt x="121" y="596"/>
                        <a:pt x="112" y="588"/>
                        <a:pt x="109" y="586"/>
                      </a:cubicBezTo>
                      <a:cubicBezTo>
                        <a:pt x="107" y="584"/>
                        <a:pt x="109" y="582"/>
                        <a:pt x="105" y="582"/>
                      </a:cubicBezTo>
                      <a:cubicBezTo>
                        <a:pt x="102" y="583"/>
                        <a:pt x="104" y="580"/>
                        <a:pt x="106" y="579"/>
                      </a:cubicBezTo>
                      <a:cubicBezTo>
                        <a:pt x="108" y="578"/>
                        <a:pt x="105" y="575"/>
                        <a:pt x="103" y="574"/>
                      </a:cubicBezTo>
                      <a:cubicBezTo>
                        <a:pt x="103" y="574"/>
                        <a:pt x="103" y="574"/>
                        <a:pt x="103" y="574"/>
                      </a:cubicBezTo>
                      <a:cubicBezTo>
                        <a:pt x="103" y="574"/>
                        <a:pt x="103" y="574"/>
                        <a:pt x="103" y="574"/>
                      </a:cubicBezTo>
                      <a:cubicBezTo>
                        <a:pt x="100" y="574"/>
                        <a:pt x="95" y="575"/>
                        <a:pt x="96" y="571"/>
                      </a:cubicBezTo>
                      <a:cubicBezTo>
                        <a:pt x="96" y="571"/>
                        <a:pt x="97" y="570"/>
                        <a:pt x="97" y="570"/>
                      </a:cubicBezTo>
                      <a:cubicBezTo>
                        <a:pt x="99" y="569"/>
                        <a:pt x="104" y="572"/>
                        <a:pt x="105" y="571"/>
                      </a:cubicBezTo>
                      <a:cubicBezTo>
                        <a:pt x="106" y="570"/>
                        <a:pt x="100" y="565"/>
                        <a:pt x="100" y="564"/>
                      </a:cubicBezTo>
                      <a:cubicBezTo>
                        <a:pt x="100" y="562"/>
                        <a:pt x="99" y="559"/>
                        <a:pt x="99" y="558"/>
                      </a:cubicBezTo>
                      <a:cubicBezTo>
                        <a:pt x="99" y="556"/>
                        <a:pt x="99" y="552"/>
                        <a:pt x="101" y="550"/>
                      </a:cubicBezTo>
                      <a:cubicBezTo>
                        <a:pt x="104" y="548"/>
                        <a:pt x="104" y="547"/>
                        <a:pt x="105" y="547"/>
                      </a:cubicBezTo>
                      <a:cubicBezTo>
                        <a:pt x="107" y="547"/>
                        <a:pt x="110" y="545"/>
                        <a:pt x="110" y="541"/>
                      </a:cubicBezTo>
                      <a:cubicBezTo>
                        <a:pt x="110" y="537"/>
                        <a:pt x="112" y="535"/>
                        <a:pt x="116" y="532"/>
                      </a:cubicBezTo>
                      <a:cubicBezTo>
                        <a:pt x="120" y="529"/>
                        <a:pt x="126" y="526"/>
                        <a:pt x="125" y="524"/>
                      </a:cubicBezTo>
                      <a:cubicBezTo>
                        <a:pt x="125" y="523"/>
                        <a:pt x="127" y="518"/>
                        <a:pt x="127" y="517"/>
                      </a:cubicBezTo>
                      <a:cubicBezTo>
                        <a:pt x="127" y="515"/>
                        <a:pt x="121" y="515"/>
                        <a:pt x="119" y="514"/>
                      </a:cubicBezTo>
                      <a:cubicBezTo>
                        <a:pt x="117" y="514"/>
                        <a:pt x="110" y="509"/>
                        <a:pt x="113" y="502"/>
                      </a:cubicBezTo>
                      <a:cubicBezTo>
                        <a:pt x="117" y="496"/>
                        <a:pt x="124" y="495"/>
                        <a:pt x="127" y="495"/>
                      </a:cubicBezTo>
                      <a:cubicBezTo>
                        <a:pt x="129" y="494"/>
                        <a:pt x="127" y="491"/>
                        <a:pt x="128" y="490"/>
                      </a:cubicBezTo>
                      <a:cubicBezTo>
                        <a:pt x="130" y="489"/>
                        <a:pt x="131" y="487"/>
                        <a:pt x="131" y="485"/>
                      </a:cubicBezTo>
                      <a:cubicBezTo>
                        <a:pt x="131" y="482"/>
                        <a:pt x="131" y="477"/>
                        <a:pt x="134" y="477"/>
                      </a:cubicBezTo>
                      <a:cubicBezTo>
                        <a:pt x="137" y="476"/>
                        <a:pt x="138" y="474"/>
                        <a:pt x="136" y="474"/>
                      </a:cubicBezTo>
                      <a:cubicBezTo>
                        <a:pt x="134" y="473"/>
                        <a:pt x="133" y="471"/>
                        <a:pt x="136" y="471"/>
                      </a:cubicBezTo>
                      <a:cubicBezTo>
                        <a:pt x="140" y="470"/>
                        <a:pt x="138" y="473"/>
                        <a:pt x="141" y="473"/>
                      </a:cubicBezTo>
                      <a:cubicBezTo>
                        <a:pt x="143" y="473"/>
                        <a:pt x="147" y="469"/>
                        <a:pt x="144" y="467"/>
                      </a:cubicBezTo>
                      <a:cubicBezTo>
                        <a:pt x="141" y="465"/>
                        <a:pt x="140" y="468"/>
                        <a:pt x="138" y="469"/>
                      </a:cubicBezTo>
                      <a:cubicBezTo>
                        <a:pt x="137" y="469"/>
                        <a:pt x="136" y="466"/>
                        <a:pt x="134" y="466"/>
                      </a:cubicBezTo>
                      <a:cubicBezTo>
                        <a:pt x="132" y="466"/>
                        <a:pt x="133" y="462"/>
                        <a:pt x="133" y="460"/>
                      </a:cubicBezTo>
                      <a:cubicBezTo>
                        <a:pt x="132" y="459"/>
                        <a:pt x="131" y="455"/>
                        <a:pt x="132" y="453"/>
                      </a:cubicBezTo>
                      <a:cubicBezTo>
                        <a:pt x="134" y="451"/>
                        <a:pt x="140" y="456"/>
                        <a:pt x="145" y="456"/>
                      </a:cubicBezTo>
                      <a:cubicBezTo>
                        <a:pt x="151" y="457"/>
                        <a:pt x="155" y="454"/>
                        <a:pt x="155" y="452"/>
                      </a:cubicBezTo>
                      <a:cubicBezTo>
                        <a:pt x="155" y="450"/>
                        <a:pt x="152" y="446"/>
                        <a:pt x="155" y="444"/>
                      </a:cubicBezTo>
                      <a:cubicBezTo>
                        <a:pt x="158" y="442"/>
                        <a:pt x="156" y="441"/>
                        <a:pt x="155" y="438"/>
                      </a:cubicBezTo>
                      <a:cubicBezTo>
                        <a:pt x="154" y="435"/>
                        <a:pt x="156" y="434"/>
                        <a:pt x="158" y="435"/>
                      </a:cubicBezTo>
                      <a:cubicBezTo>
                        <a:pt x="159" y="436"/>
                        <a:pt x="170" y="436"/>
                        <a:pt x="178" y="434"/>
                      </a:cubicBezTo>
                      <a:cubicBezTo>
                        <a:pt x="187" y="432"/>
                        <a:pt x="193" y="429"/>
                        <a:pt x="194" y="426"/>
                      </a:cubicBezTo>
                      <a:cubicBezTo>
                        <a:pt x="194" y="424"/>
                        <a:pt x="200" y="418"/>
                        <a:pt x="201" y="416"/>
                      </a:cubicBezTo>
                      <a:cubicBezTo>
                        <a:pt x="202" y="414"/>
                        <a:pt x="201" y="411"/>
                        <a:pt x="198" y="410"/>
                      </a:cubicBezTo>
                      <a:cubicBezTo>
                        <a:pt x="194" y="410"/>
                        <a:pt x="194" y="406"/>
                        <a:pt x="196" y="403"/>
                      </a:cubicBezTo>
                      <a:cubicBezTo>
                        <a:pt x="198" y="401"/>
                        <a:pt x="195" y="399"/>
                        <a:pt x="192" y="399"/>
                      </a:cubicBezTo>
                      <a:cubicBezTo>
                        <a:pt x="188" y="398"/>
                        <a:pt x="183" y="396"/>
                        <a:pt x="186" y="393"/>
                      </a:cubicBezTo>
                      <a:cubicBezTo>
                        <a:pt x="188" y="392"/>
                        <a:pt x="188" y="392"/>
                        <a:pt x="189" y="393"/>
                      </a:cubicBezTo>
                      <a:cubicBezTo>
                        <a:pt x="190" y="393"/>
                        <a:pt x="190" y="394"/>
                        <a:pt x="192" y="394"/>
                      </a:cubicBezTo>
                      <a:cubicBezTo>
                        <a:pt x="195" y="394"/>
                        <a:pt x="199" y="395"/>
                        <a:pt x="202" y="397"/>
                      </a:cubicBezTo>
                      <a:cubicBezTo>
                        <a:pt x="206" y="399"/>
                        <a:pt x="205" y="396"/>
                        <a:pt x="209" y="397"/>
                      </a:cubicBezTo>
                      <a:cubicBezTo>
                        <a:pt x="212" y="397"/>
                        <a:pt x="217" y="398"/>
                        <a:pt x="221" y="395"/>
                      </a:cubicBezTo>
                      <a:cubicBezTo>
                        <a:pt x="224" y="394"/>
                        <a:pt x="225" y="391"/>
                        <a:pt x="227" y="388"/>
                      </a:cubicBezTo>
                      <a:cubicBezTo>
                        <a:pt x="228" y="386"/>
                        <a:pt x="229" y="385"/>
                        <a:pt x="231" y="384"/>
                      </a:cubicBezTo>
                      <a:cubicBezTo>
                        <a:pt x="236" y="380"/>
                        <a:pt x="235" y="378"/>
                        <a:pt x="237" y="374"/>
                      </a:cubicBezTo>
                      <a:cubicBezTo>
                        <a:pt x="239" y="370"/>
                        <a:pt x="237" y="368"/>
                        <a:pt x="241" y="364"/>
                      </a:cubicBezTo>
                      <a:cubicBezTo>
                        <a:pt x="245" y="361"/>
                        <a:pt x="241" y="358"/>
                        <a:pt x="246" y="356"/>
                      </a:cubicBezTo>
                      <a:cubicBezTo>
                        <a:pt x="251" y="353"/>
                        <a:pt x="250" y="358"/>
                        <a:pt x="246" y="363"/>
                      </a:cubicBezTo>
                      <a:cubicBezTo>
                        <a:pt x="242" y="368"/>
                        <a:pt x="241" y="370"/>
                        <a:pt x="246" y="366"/>
                      </a:cubicBezTo>
                      <a:cubicBezTo>
                        <a:pt x="252" y="362"/>
                        <a:pt x="254" y="356"/>
                        <a:pt x="257" y="350"/>
                      </a:cubicBezTo>
                      <a:cubicBezTo>
                        <a:pt x="260" y="344"/>
                        <a:pt x="262" y="342"/>
                        <a:pt x="265" y="341"/>
                      </a:cubicBezTo>
                      <a:cubicBezTo>
                        <a:pt x="267" y="341"/>
                        <a:pt x="267" y="334"/>
                        <a:pt x="267" y="330"/>
                      </a:cubicBezTo>
                      <a:cubicBezTo>
                        <a:pt x="267" y="325"/>
                        <a:pt x="265" y="321"/>
                        <a:pt x="267" y="318"/>
                      </a:cubicBezTo>
                      <a:cubicBezTo>
                        <a:pt x="269" y="315"/>
                        <a:pt x="267" y="312"/>
                        <a:pt x="270" y="312"/>
                      </a:cubicBezTo>
                      <a:cubicBezTo>
                        <a:pt x="272" y="312"/>
                        <a:pt x="276" y="308"/>
                        <a:pt x="280" y="304"/>
                      </a:cubicBezTo>
                      <a:cubicBezTo>
                        <a:pt x="284" y="300"/>
                        <a:pt x="286" y="300"/>
                        <a:pt x="290" y="300"/>
                      </a:cubicBezTo>
                      <a:cubicBezTo>
                        <a:pt x="295" y="299"/>
                        <a:pt x="292" y="298"/>
                        <a:pt x="295" y="297"/>
                      </a:cubicBezTo>
                      <a:cubicBezTo>
                        <a:pt x="298" y="296"/>
                        <a:pt x="299" y="294"/>
                        <a:pt x="301" y="292"/>
                      </a:cubicBezTo>
                      <a:cubicBezTo>
                        <a:pt x="303" y="291"/>
                        <a:pt x="310" y="293"/>
                        <a:pt x="314" y="293"/>
                      </a:cubicBezTo>
                      <a:cubicBezTo>
                        <a:pt x="319" y="293"/>
                        <a:pt x="322" y="293"/>
                        <a:pt x="322" y="290"/>
                      </a:cubicBezTo>
                      <a:cubicBezTo>
                        <a:pt x="322" y="288"/>
                        <a:pt x="324" y="285"/>
                        <a:pt x="326" y="285"/>
                      </a:cubicBezTo>
                      <a:cubicBezTo>
                        <a:pt x="329" y="285"/>
                        <a:pt x="330" y="285"/>
                        <a:pt x="330" y="281"/>
                      </a:cubicBezTo>
                      <a:cubicBezTo>
                        <a:pt x="330" y="278"/>
                        <a:pt x="331" y="275"/>
                        <a:pt x="333" y="274"/>
                      </a:cubicBezTo>
                      <a:cubicBezTo>
                        <a:pt x="335" y="272"/>
                        <a:pt x="335" y="269"/>
                        <a:pt x="336" y="266"/>
                      </a:cubicBezTo>
                      <a:cubicBezTo>
                        <a:pt x="337" y="264"/>
                        <a:pt x="339" y="265"/>
                        <a:pt x="339" y="262"/>
                      </a:cubicBezTo>
                      <a:cubicBezTo>
                        <a:pt x="339" y="259"/>
                        <a:pt x="340" y="255"/>
                        <a:pt x="340" y="252"/>
                      </a:cubicBezTo>
                      <a:cubicBezTo>
                        <a:pt x="340" y="250"/>
                        <a:pt x="343" y="250"/>
                        <a:pt x="344" y="248"/>
                      </a:cubicBezTo>
                      <a:cubicBezTo>
                        <a:pt x="346" y="246"/>
                        <a:pt x="343" y="244"/>
                        <a:pt x="345" y="238"/>
                      </a:cubicBezTo>
                      <a:cubicBezTo>
                        <a:pt x="347" y="232"/>
                        <a:pt x="345" y="227"/>
                        <a:pt x="345" y="222"/>
                      </a:cubicBezTo>
                      <a:cubicBezTo>
                        <a:pt x="345" y="217"/>
                        <a:pt x="345" y="212"/>
                        <a:pt x="347" y="211"/>
                      </a:cubicBezTo>
                      <a:cubicBezTo>
                        <a:pt x="349" y="209"/>
                        <a:pt x="348" y="208"/>
                        <a:pt x="347" y="207"/>
                      </a:cubicBezTo>
                      <a:cubicBezTo>
                        <a:pt x="345" y="207"/>
                        <a:pt x="347" y="205"/>
                        <a:pt x="348" y="205"/>
                      </a:cubicBezTo>
                      <a:cubicBezTo>
                        <a:pt x="349" y="205"/>
                        <a:pt x="351" y="208"/>
                        <a:pt x="353" y="207"/>
                      </a:cubicBezTo>
                      <a:cubicBezTo>
                        <a:pt x="355" y="205"/>
                        <a:pt x="357" y="199"/>
                        <a:pt x="359" y="194"/>
                      </a:cubicBezTo>
                      <a:cubicBezTo>
                        <a:pt x="361" y="189"/>
                        <a:pt x="365" y="189"/>
                        <a:pt x="367" y="188"/>
                      </a:cubicBezTo>
                      <a:cubicBezTo>
                        <a:pt x="370" y="187"/>
                        <a:pt x="375" y="181"/>
                        <a:pt x="378" y="172"/>
                      </a:cubicBezTo>
                      <a:cubicBezTo>
                        <a:pt x="382" y="164"/>
                        <a:pt x="378" y="155"/>
                        <a:pt x="377" y="149"/>
                      </a:cubicBezTo>
                      <a:close/>
                      <a:moveTo>
                        <a:pt x="113" y="87"/>
                      </a:moveTo>
                      <a:cubicBezTo>
                        <a:pt x="113" y="87"/>
                        <a:pt x="113" y="87"/>
                        <a:pt x="113" y="87"/>
                      </a:cubicBezTo>
                      <a:cubicBezTo>
                        <a:pt x="113" y="87"/>
                        <a:pt x="113" y="87"/>
                        <a:pt x="113" y="87"/>
                      </a:cubicBezTo>
                      <a:close/>
                      <a:moveTo>
                        <a:pt x="116" y="86"/>
                      </a:moveTo>
                      <a:cubicBezTo>
                        <a:pt x="116" y="86"/>
                        <a:pt x="116" y="86"/>
                        <a:pt x="116" y="86"/>
                      </a:cubicBezTo>
                      <a:cubicBezTo>
                        <a:pt x="116" y="86"/>
                        <a:pt x="116" y="86"/>
                        <a:pt x="116" y="86"/>
                      </a:cubicBezTo>
                      <a:close/>
                      <a:moveTo>
                        <a:pt x="111" y="88"/>
                      </a:moveTo>
                      <a:cubicBezTo>
                        <a:pt x="111" y="88"/>
                        <a:pt x="111" y="88"/>
                        <a:pt x="111" y="88"/>
                      </a:cubicBezTo>
                      <a:cubicBezTo>
                        <a:pt x="111" y="88"/>
                        <a:pt x="111" y="88"/>
                        <a:pt x="111" y="88"/>
                      </a:cubicBezTo>
                      <a:close/>
                      <a:moveTo>
                        <a:pt x="101" y="193"/>
                      </a:moveTo>
                      <a:cubicBezTo>
                        <a:pt x="100" y="193"/>
                        <a:pt x="100" y="193"/>
                        <a:pt x="100" y="193"/>
                      </a:cubicBezTo>
                      <a:cubicBezTo>
                        <a:pt x="100" y="193"/>
                        <a:pt x="100" y="193"/>
                        <a:pt x="101" y="193"/>
                      </a:cubicBezTo>
                      <a:close/>
                      <a:moveTo>
                        <a:pt x="99" y="192"/>
                      </a:moveTo>
                      <a:cubicBezTo>
                        <a:pt x="99" y="192"/>
                        <a:pt x="99" y="192"/>
                        <a:pt x="98" y="192"/>
                      </a:cubicBezTo>
                      <a:cubicBezTo>
                        <a:pt x="97" y="192"/>
                        <a:pt x="97" y="192"/>
                        <a:pt x="96" y="192"/>
                      </a:cubicBezTo>
                      <a:cubicBezTo>
                        <a:pt x="97" y="192"/>
                        <a:pt x="98" y="192"/>
                        <a:pt x="99" y="192"/>
                      </a:cubicBezTo>
                      <a:close/>
                      <a:moveTo>
                        <a:pt x="88" y="137"/>
                      </a:moveTo>
                      <a:cubicBezTo>
                        <a:pt x="87" y="137"/>
                        <a:pt x="87" y="137"/>
                        <a:pt x="87" y="137"/>
                      </a:cubicBezTo>
                      <a:cubicBezTo>
                        <a:pt x="87" y="137"/>
                        <a:pt x="87" y="137"/>
                        <a:pt x="88" y="137"/>
                      </a:cubicBezTo>
                      <a:close/>
                      <a:moveTo>
                        <a:pt x="89" y="136"/>
                      </a:moveTo>
                      <a:cubicBezTo>
                        <a:pt x="88" y="136"/>
                        <a:pt x="88" y="136"/>
                        <a:pt x="88" y="136"/>
                      </a:cubicBezTo>
                      <a:cubicBezTo>
                        <a:pt x="88" y="136"/>
                        <a:pt x="88" y="136"/>
                        <a:pt x="89" y="136"/>
                      </a:cubicBezTo>
                      <a:close/>
                      <a:moveTo>
                        <a:pt x="93" y="137"/>
                      </a:moveTo>
                      <a:cubicBezTo>
                        <a:pt x="92" y="137"/>
                        <a:pt x="90" y="136"/>
                        <a:pt x="89" y="136"/>
                      </a:cubicBezTo>
                      <a:cubicBezTo>
                        <a:pt x="90" y="136"/>
                        <a:pt x="92" y="137"/>
                        <a:pt x="93" y="137"/>
                      </a:cubicBezTo>
                      <a:close/>
                      <a:moveTo>
                        <a:pt x="96" y="192"/>
                      </a:moveTo>
                      <a:cubicBezTo>
                        <a:pt x="95" y="192"/>
                        <a:pt x="93" y="192"/>
                        <a:pt x="92" y="192"/>
                      </a:cubicBezTo>
                      <a:cubicBezTo>
                        <a:pt x="93" y="192"/>
                        <a:pt x="95" y="192"/>
                        <a:pt x="96" y="192"/>
                      </a:cubicBezTo>
                      <a:close/>
                      <a:moveTo>
                        <a:pt x="97" y="248"/>
                      </a:moveTo>
                      <a:cubicBezTo>
                        <a:pt x="98" y="248"/>
                        <a:pt x="98" y="248"/>
                        <a:pt x="98" y="249"/>
                      </a:cubicBezTo>
                      <a:cubicBezTo>
                        <a:pt x="98" y="248"/>
                        <a:pt x="98" y="248"/>
                        <a:pt x="97" y="248"/>
                      </a:cubicBezTo>
                      <a:close/>
                      <a:moveTo>
                        <a:pt x="100" y="250"/>
                      </a:moveTo>
                      <a:cubicBezTo>
                        <a:pt x="99" y="250"/>
                        <a:pt x="99" y="249"/>
                        <a:pt x="98" y="249"/>
                      </a:cubicBezTo>
                      <a:cubicBezTo>
                        <a:pt x="99" y="249"/>
                        <a:pt x="99" y="250"/>
                        <a:pt x="100" y="250"/>
                      </a:cubicBezTo>
                      <a:close/>
                      <a:moveTo>
                        <a:pt x="112" y="292"/>
                      </a:moveTo>
                      <a:cubicBezTo>
                        <a:pt x="112" y="292"/>
                        <a:pt x="112" y="292"/>
                        <a:pt x="112" y="292"/>
                      </a:cubicBezTo>
                      <a:cubicBezTo>
                        <a:pt x="112" y="292"/>
                        <a:pt x="112" y="292"/>
                        <a:pt x="112" y="292"/>
                      </a:cubicBezTo>
                      <a:close/>
                      <a:moveTo>
                        <a:pt x="114" y="291"/>
                      </a:moveTo>
                      <a:cubicBezTo>
                        <a:pt x="114" y="291"/>
                        <a:pt x="114" y="291"/>
                        <a:pt x="114" y="291"/>
                      </a:cubicBezTo>
                      <a:cubicBezTo>
                        <a:pt x="114" y="291"/>
                        <a:pt x="114" y="291"/>
                        <a:pt x="114" y="291"/>
                      </a:cubicBezTo>
                      <a:close/>
                      <a:moveTo>
                        <a:pt x="113" y="292"/>
                      </a:moveTo>
                      <a:cubicBezTo>
                        <a:pt x="113" y="292"/>
                        <a:pt x="113" y="292"/>
                        <a:pt x="113" y="292"/>
                      </a:cubicBezTo>
                      <a:cubicBezTo>
                        <a:pt x="113" y="292"/>
                        <a:pt x="113" y="292"/>
                        <a:pt x="113" y="292"/>
                      </a:cubicBezTo>
                      <a:close/>
                      <a:moveTo>
                        <a:pt x="109" y="89"/>
                      </a:moveTo>
                      <a:cubicBezTo>
                        <a:pt x="109" y="89"/>
                        <a:pt x="109" y="89"/>
                        <a:pt x="109" y="89"/>
                      </a:cubicBezTo>
                      <a:cubicBezTo>
                        <a:pt x="109" y="89"/>
                        <a:pt x="109" y="89"/>
                        <a:pt x="109" y="89"/>
                      </a:cubicBezTo>
                      <a:close/>
                      <a:moveTo>
                        <a:pt x="223" y="86"/>
                      </a:moveTo>
                      <a:cubicBezTo>
                        <a:pt x="223" y="86"/>
                        <a:pt x="224" y="86"/>
                        <a:pt x="224" y="86"/>
                      </a:cubicBezTo>
                      <a:cubicBezTo>
                        <a:pt x="224" y="86"/>
                        <a:pt x="223" y="86"/>
                        <a:pt x="223" y="86"/>
                      </a:cubicBezTo>
                      <a:close/>
                      <a:moveTo>
                        <a:pt x="191" y="264"/>
                      </a:moveTo>
                      <a:cubicBezTo>
                        <a:pt x="191" y="263"/>
                        <a:pt x="191" y="263"/>
                        <a:pt x="191" y="263"/>
                      </a:cubicBezTo>
                      <a:cubicBezTo>
                        <a:pt x="191" y="263"/>
                        <a:pt x="191" y="263"/>
                        <a:pt x="191" y="264"/>
                      </a:cubicBezTo>
                      <a:close/>
                      <a:moveTo>
                        <a:pt x="193" y="260"/>
                      </a:moveTo>
                      <a:cubicBezTo>
                        <a:pt x="193" y="261"/>
                        <a:pt x="193" y="261"/>
                        <a:pt x="193" y="261"/>
                      </a:cubicBezTo>
                      <a:cubicBezTo>
                        <a:pt x="193" y="261"/>
                        <a:pt x="193" y="261"/>
                        <a:pt x="193" y="260"/>
                      </a:cubicBezTo>
                      <a:close/>
                      <a:moveTo>
                        <a:pt x="190" y="265"/>
                      </a:moveTo>
                      <a:cubicBezTo>
                        <a:pt x="189" y="265"/>
                        <a:pt x="189" y="265"/>
                        <a:pt x="189" y="265"/>
                      </a:cubicBezTo>
                      <a:cubicBezTo>
                        <a:pt x="189" y="265"/>
                        <a:pt x="189" y="265"/>
                        <a:pt x="190" y="265"/>
                      </a:cubicBezTo>
                      <a:close/>
                      <a:moveTo>
                        <a:pt x="219" y="314"/>
                      </a:moveTo>
                      <a:cubicBezTo>
                        <a:pt x="219" y="314"/>
                        <a:pt x="219" y="313"/>
                        <a:pt x="219" y="313"/>
                      </a:cubicBezTo>
                      <a:cubicBezTo>
                        <a:pt x="219" y="313"/>
                        <a:pt x="219" y="314"/>
                        <a:pt x="219" y="314"/>
                      </a:cubicBezTo>
                      <a:close/>
                      <a:moveTo>
                        <a:pt x="219" y="312"/>
                      </a:moveTo>
                      <a:cubicBezTo>
                        <a:pt x="219" y="312"/>
                        <a:pt x="219" y="311"/>
                        <a:pt x="219" y="311"/>
                      </a:cubicBezTo>
                      <a:cubicBezTo>
                        <a:pt x="219" y="311"/>
                        <a:pt x="219" y="312"/>
                        <a:pt x="219" y="312"/>
                      </a:cubicBezTo>
                      <a:close/>
                      <a:moveTo>
                        <a:pt x="219" y="310"/>
                      </a:moveTo>
                      <a:cubicBezTo>
                        <a:pt x="219" y="309"/>
                        <a:pt x="220" y="308"/>
                        <a:pt x="220" y="308"/>
                      </a:cubicBezTo>
                      <a:cubicBezTo>
                        <a:pt x="220" y="308"/>
                        <a:pt x="219" y="309"/>
                        <a:pt x="219" y="310"/>
                      </a:cubicBezTo>
                      <a:close/>
                      <a:moveTo>
                        <a:pt x="220" y="307"/>
                      </a:moveTo>
                      <a:cubicBezTo>
                        <a:pt x="220" y="306"/>
                        <a:pt x="220" y="306"/>
                        <a:pt x="220" y="305"/>
                      </a:cubicBezTo>
                      <a:cubicBezTo>
                        <a:pt x="220" y="306"/>
                        <a:pt x="220" y="306"/>
                        <a:pt x="220" y="307"/>
                      </a:cubicBezTo>
                      <a:close/>
                      <a:moveTo>
                        <a:pt x="220" y="305"/>
                      </a:moveTo>
                      <a:cubicBezTo>
                        <a:pt x="220" y="304"/>
                        <a:pt x="220" y="304"/>
                        <a:pt x="220" y="303"/>
                      </a:cubicBezTo>
                      <a:cubicBezTo>
                        <a:pt x="220" y="304"/>
                        <a:pt x="220" y="304"/>
                        <a:pt x="220" y="305"/>
                      </a:cubicBezTo>
                      <a:close/>
                      <a:moveTo>
                        <a:pt x="220" y="303"/>
                      </a:moveTo>
                      <a:cubicBezTo>
                        <a:pt x="220" y="302"/>
                        <a:pt x="220" y="302"/>
                        <a:pt x="220" y="302"/>
                      </a:cubicBezTo>
                      <a:cubicBezTo>
                        <a:pt x="220" y="302"/>
                        <a:pt x="220" y="302"/>
                        <a:pt x="220" y="303"/>
                      </a:cubicBezTo>
                      <a:close/>
                      <a:moveTo>
                        <a:pt x="219" y="300"/>
                      </a:moveTo>
                      <a:cubicBezTo>
                        <a:pt x="220" y="300"/>
                        <a:pt x="220" y="301"/>
                        <a:pt x="220" y="301"/>
                      </a:cubicBezTo>
                      <a:cubicBezTo>
                        <a:pt x="220" y="301"/>
                        <a:pt x="220" y="300"/>
                        <a:pt x="219" y="300"/>
                      </a:cubicBezTo>
                      <a:close/>
                      <a:moveTo>
                        <a:pt x="206" y="88"/>
                      </a:moveTo>
                      <a:cubicBezTo>
                        <a:pt x="206" y="88"/>
                        <a:pt x="206" y="88"/>
                        <a:pt x="206" y="88"/>
                      </a:cubicBezTo>
                      <a:cubicBezTo>
                        <a:pt x="206" y="88"/>
                        <a:pt x="206" y="88"/>
                        <a:pt x="206" y="88"/>
                      </a:cubicBezTo>
                      <a:close/>
                      <a:moveTo>
                        <a:pt x="204" y="88"/>
                      </a:moveTo>
                      <a:cubicBezTo>
                        <a:pt x="204" y="88"/>
                        <a:pt x="205" y="88"/>
                        <a:pt x="205" y="88"/>
                      </a:cubicBezTo>
                      <a:cubicBezTo>
                        <a:pt x="205" y="88"/>
                        <a:pt x="204" y="88"/>
                        <a:pt x="204" y="88"/>
                      </a:cubicBezTo>
                      <a:close/>
                      <a:moveTo>
                        <a:pt x="199" y="87"/>
                      </a:moveTo>
                      <a:cubicBezTo>
                        <a:pt x="200" y="87"/>
                        <a:pt x="200" y="87"/>
                        <a:pt x="200" y="87"/>
                      </a:cubicBezTo>
                      <a:cubicBezTo>
                        <a:pt x="200" y="87"/>
                        <a:pt x="200" y="87"/>
                        <a:pt x="199" y="87"/>
                      </a:cubicBezTo>
                      <a:close/>
                      <a:moveTo>
                        <a:pt x="201" y="87"/>
                      </a:moveTo>
                      <a:cubicBezTo>
                        <a:pt x="201" y="87"/>
                        <a:pt x="201" y="87"/>
                        <a:pt x="202" y="87"/>
                      </a:cubicBezTo>
                      <a:cubicBezTo>
                        <a:pt x="201" y="87"/>
                        <a:pt x="201" y="87"/>
                        <a:pt x="201" y="87"/>
                      </a:cubicBezTo>
                      <a:close/>
                      <a:moveTo>
                        <a:pt x="198" y="87"/>
                      </a:moveTo>
                      <a:cubicBezTo>
                        <a:pt x="198" y="87"/>
                        <a:pt x="198" y="87"/>
                        <a:pt x="199" y="87"/>
                      </a:cubicBezTo>
                      <a:cubicBezTo>
                        <a:pt x="198" y="87"/>
                        <a:pt x="198" y="87"/>
                        <a:pt x="198" y="87"/>
                      </a:cubicBezTo>
                      <a:close/>
                      <a:moveTo>
                        <a:pt x="169" y="64"/>
                      </a:moveTo>
                      <a:cubicBezTo>
                        <a:pt x="169" y="64"/>
                        <a:pt x="169" y="64"/>
                        <a:pt x="169" y="64"/>
                      </a:cubicBezTo>
                      <a:cubicBezTo>
                        <a:pt x="169" y="64"/>
                        <a:pt x="169" y="64"/>
                        <a:pt x="169" y="64"/>
                      </a:cubicBezTo>
                      <a:close/>
                      <a:moveTo>
                        <a:pt x="172" y="61"/>
                      </a:moveTo>
                      <a:cubicBezTo>
                        <a:pt x="172" y="61"/>
                        <a:pt x="173" y="61"/>
                        <a:pt x="173" y="61"/>
                      </a:cubicBezTo>
                      <a:cubicBezTo>
                        <a:pt x="173" y="61"/>
                        <a:pt x="172" y="61"/>
                        <a:pt x="172" y="61"/>
                      </a:cubicBezTo>
                      <a:close/>
                      <a:moveTo>
                        <a:pt x="171" y="61"/>
                      </a:moveTo>
                      <a:cubicBezTo>
                        <a:pt x="172" y="61"/>
                        <a:pt x="172" y="61"/>
                        <a:pt x="172" y="61"/>
                      </a:cubicBezTo>
                      <a:cubicBezTo>
                        <a:pt x="172" y="61"/>
                        <a:pt x="172" y="61"/>
                        <a:pt x="171" y="61"/>
                      </a:cubicBezTo>
                      <a:close/>
                      <a:moveTo>
                        <a:pt x="171" y="61"/>
                      </a:moveTo>
                      <a:cubicBezTo>
                        <a:pt x="171" y="61"/>
                        <a:pt x="171" y="62"/>
                        <a:pt x="171" y="62"/>
                      </a:cubicBezTo>
                      <a:cubicBezTo>
                        <a:pt x="171" y="62"/>
                        <a:pt x="171" y="61"/>
                        <a:pt x="171" y="61"/>
                      </a:cubicBezTo>
                      <a:close/>
                      <a:moveTo>
                        <a:pt x="169" y="65"/>
                      </a:moveTo>
                      <a:cubicBezTo>
                        <a:pt x="169" y="65"/>
                        <a:pt x="168" y="65"/>
                        <a:pt x="168" y="65"/>
                      </a:cubicBezTo>
                      <a:cubicBezTo>
                        <a:pt x="168" y="65"/>
                        <a:pt x="169" y="65"/>
                        <a:pt x="169" y="65"/>
                      </a:cubicBezTo>
                      <a:close/>
                      <a:moveTo>
                        <a:pt x="154" y="284"/>
                      </a:moveTo>
                      <a:cubicBezTo>
                        <a:pt x="154" y="284"/>
                        <a:pt x="153" y="284"/>
                        <a:pt x="153" y="284"/>
                      </a:cubicBezTo>
                      <a:cubicBezTo>
                        <a:pt x="153" y="284"/>
                        <a:pt x="154" y="284"/>
                        <a:pt x="154" y="284"/>
                      </a:cubicBezTo>
                      <a:close/>
                      <a:moveTo>
                        <a:pt x="153" y="284"/>
                      </a:moveTo>
                      <a:cubicBezTo>
                        <a:pt x="152" y="284"/>
                        <a:pt x="152" y="284"/>
                        <a:pt x="152" y="284"/>
                      </a:cubicBezTo>
                      <a:cubicBezTo>
                        <a:pt x="152" y="284"/>
                        <a:pt x="152" y="284"/>
                        <a:pt x="153" y="284"/>
                      </a:cubicBezTo>
                      <a:close/>
                      <a:moveTo>
                        <a:pt x="144" y="284"/>
                      </a:moveTo>
                      <a:cubicBezTo>
                        <a:pt x="144" y="284"/>
                        <a:pt x="144" y="284"/>
                        <a:pt x="144" y="284"/>
                      </a:cubicBezTo>
                      <a:cubicBezTo>
                        <a:pt x="144" y="284"/>
                        <a:pt x="144" y="284"/>
                        <a:pt x="144" y="284"/>
                      </a:cubicBezTo>
                      <a:close/>
                      <a:moveTo>
                        <a:pt x="145" y="284"/>
                      </a:moveTo>
                      <a:cubicBezTo>
                        <a:pt x="145" y="284"/>
                        <a:pt x="145" y="284"/>
                        <a:pt x="145" y="284"/>
                      </a:cubicBezTo>
                      <a:cubicBezTo>
                        <a:pt x="145" y="284"/>
                        <a:pt x="145" y="284"/>
                        <a:pt x="145" y="284"/>
                      </a:cubicBezTo>
                      <a:close/>
                      <a:moveTo>
                        <a:pt x="147" y="284"/>
                      </a:moveTo>
                      <a:cubicBezTo>
                        <a:pt x="147" y="284"/>
                        <a:pt x="147" y="284"/>
                        <a:pt x="147" y="284"/>
                      </a:cubicBezTo>
                      <a:cubicBezTo>
                        <a:pt x="147" y="284"/>
                        <a:pt x="147" y="284"/>
                        <a:pt x="147" y="284"/>
                      </a:cubicBezTo>
                      <a:close/>
                      <a:moveTo>
                        <a:pt x="195" y="356"/>
                      </a:moveTo>
                      <a:cubicBezTo>
                        <a:pt x="194" y="356"/>
                        <a:pt x="194" y="356"/>
                        <a:pt x="194" y="357"/>
                      </a:cubicBezTo>
                      <a:cubicBezTo>
                        <a:pt x="194" y="356"/>
                        <a:pt x="194" y="356"/>
                        <a:pt x="195" y="356"/>
                      </a:cubicBezTo>
                      <a:close/>
                      <a:moveTo>
                        <a:pt x="197" y="353"/>
                      </a:moveTo>
                      <a:cubicBezTo>
                        <a:pt x="196" y="354"/>
                        <a:pt x="195" y="355"/>
                        <a:pt x="195" y="356"/>
                      </a:cubicBezTo>
                      <a:cubicBezTo>
                        <a:pt x="195" y="355"/>
                        <a:pt x="196" y="354"/>
                        <a:pt x="197" y="353"/>
                      </a:cubicBezTo>
                      <a:close/>
                      <a:moveTo>
                        <a:pt x="198" y="351"/>
                      </a:moveTo>
                      <a:cubicBezTo>
                        <a:pt x="198" y="352"/>
                        <a:pt x="198" y="352"/>
                        <a:pt x="197" y="353"/>
                      </a:cubicBezTo>
                      <a:cubicBezTo>
                        <a:pt x="198" y="352"/>
                        <a:pt x="198" y="352"/>
                        <a:pt x="198" y="351"/>
                      </a:cubicBezTo>
                      <a:close/>
                      <a:moveTo>
                        <a:pt x="200" y="349"/>
                      </a:moveTo>
                      <a:cubicBezTo>
                        <a:pt x="200" y="350"/>
                        <a:pt x="200" y="350"/>
                        <a:pt x="199" y="350"/>
                      </a:cubicBezTo>
                      <a:cubicBezTo>
                        <a:pt x="200" y="350"/>
                        <a:pt x="200" y="350"/>
                        <a:pt x="200" y="349"/>
                      </a:cubicBezTo>
                      <a:close/>
                      <a:moveTo>
                        <a:pt x="225" y="86"/>
                      </a:moveTo>
                      <a:cubicBezTo>
                        <a:pt x="225" y="86"/>
                        <a:pt x="226" y="86"/>
                        <a:pt x="227" y="85"/>
                      </a:cubicBezTo>
                      <a:cubicBezTo>
                        <a:pt x="226" y="86"/>
                        <a:pt x="225" y="86"/>
                        <a:pt x="225" y="86"/>
                      </a:cubicBezTo>
                      <a:close/>
                      <a:moveTo>
                        <a:pt x="220" y="84"/>
                      </a:moveTo>
                      <a:cubicBezTo>
                        <a:pt x="221" y="85"/>
                        <a:pt x="221" y="85"/>
                        <a:pt x="222" y="85"/>
                      </a:cubicBezTo>
                      <a:cubicBezTo>
                        <a:pt x="221" y="85"/>
                        <a:pt x="220" y="84"/>
                        <a:pt x="219" y="83"/>
                      </a:cubicBezTo>
                      <a:cubicBezTo>
                        <a:pt x="219" y="83"/>
                        <a:pt x="220" y="84"/>
                        <a:pt x="220" y="84"/>
                      </a:cubicBezTo>
                      <a:close/>
                      <a:moveTo>
                        <a:pt x="204" y="88"/>
                      </a:moveTo>
                      <a:cubicBezTo>
                        <a:pt x="203" y="88"/>
                        <a:pt x="203" y="87"/>
                        <a:pt x="203" y="87"/>
                      </a:cubicBezTo>
                      <a:cubicBezTo>
                        <a:pt x="203" y="87"/>
                        <a:pt x="203" y="87"/>
                        <a:pt x="203" y="87"/>
                      </a:cubicBezTo>
                      <a:cubicBezTo>
                        <a:pt x="203" y="87"/>
                        <a:pt x="203" y="88"/>
                        <a:pt x="204" y="88"/>
                      </a:cubicBezTo>
                      <a:close/>
                      <a:moveTo>
                        <a:pt x="48" y="105"/>
                      </a:moveTo>
                      <a:cubicBezTo>
                        <a:pt x="48" y="105"/>
                        <a:pt x="48" y="105"/>
                        <a:pt x="48" y="105"/>
                      </a:cubicBezTo>
                      <a:cubicBezTo>
                        <a:pt x="48" y="105"/>
                        <a:pt x="47" y="104"/>
                        <a:pt x="47" y="104"/>
                      </a:cubicBezTo>
                      <a:cubicBezTo>
                        <a:pt x="47" y="104"/>
                        <a:pt x="47" y="104"/>
                        <a:pt x="48" y="105"/>
                      </a:cubicBezTo>
                      <a:close/>
                      <a:moveTo>
                        <a:pt x="50" y="108"/>
                      </a:moveTo>
                      <a:cubicBezTo>
                        <a:pt x="50" y="108"/>
                        <a:pt x="50" y="108"/>
                        <a:pt x="50" y="108"/>
                      </a:cubicBezTo>
                      <a:cubicBezTo>
                        <a:pt x="50" y="108"/>
                        <a:pt x="50" y="108"/>
                        <a:pt x="50" y="108"/>
                      </a:cubicBezTo>
                      <a:close/>
                      <a:moveTo>
                        <a:pt x="50" y="108"/>
                      </a:moveTo>
                      <a:cubicBezTo>
                        <a:pt x="50" y="107"/>
                        <a:pt x="50" y="107"/>
                        <a:pt x="50" y="107"/>
                      </a:cubicBezTo>
                      <a:cubicBezTo>
                        <a:pt x="50" y="107"/>
                        <a:pt x="50" y="107"/>
                        <a:pt x="50" y="108"/>
                      </a:cubicBezTo>
                      <a:close/>
                      <a:moveTo>
                        <a:pt x="49" y="107"/>
                      </a:moveTo>
                      <a:cubicBezTo>
                        <a:pt x="49" y="107"/>
                        <a:pt x="49" y="107"/>
                        <a:pt x="49" y="106"/>
                      </a:cubicBezTo>
                      <a:cubicBezTo>
                        <a:pt x="49" y="107"/>
                        <a:pt x="49" y="107"/>
                        <a:pt x="49" y="107"/>
                      </a:cubicBezTo>
                      <a:close/>
                      <a:moveTo>
                        <a:pt x="49" y="106"/>
                      </a:moveTo>
                      <a:cubicBezTo>
                        <a:pt x="49" y="106"/>
                        <a:pt x="49" y="106"/>
                        <a:pt x="48" y="106"/>
                      </a:cubicBezTo>
                      <a:cubicBezTo>
                        <a:pt x="49" y="106"/>
                        <a:pt x="49" y="106"/>
                        <a:pt x="49" y="106"/>
                      </a:cubicBezTo>
                      <a:close/>
                      <a:moveTo>
                        <a:pt x="49" y="110"/>
                      </a:moveTo>
                      <a:cubicBezTo>
                        <a:pt x="50" y="110"/>
                        <a:pt x="50" y="110"/>
                        <a:pt x="50" y="110"/>
                      </a:cubicBezTo>
                      <a:cubicBezTo>
                        <a:pt x="50" y="110"/>
                        <a:pt x="50" y="110"/>
                        <a:pt x="49" y="110"/>
                      </a:cubicBezTo>
                      <a:close/>
                      <a:moveTo>
                        <a:pt x="50" y="109"/>
                      </a:moveTo>
                      <a:cubicBezTo>
                        <a:pt x="50" y="109"/>
                        <a:pt x="50" y="109"/>
                        <a:pt x="50" y="109"/>
                      </a:cubicBezTo>
                      <a:cubicBezTo>
                        <a:pt x="50" y="109"/>
                        <a:pt x="50" y="109"/>
                        <a:pt x="50" y="109"/>
                      </a:cubicBezTo>
                      <a:close/>
                      <a:moveTo>
                        <a:pt x="50" y="109"/>
                      </a:moveTo>
                      <a:cubicBezTo>
                        <a:pt x="50" y="109"/>
                        <a:pt x="50" y="109"/>
                        <a:pt x="50" y="109"/>
                      </a:cubicBezTo>
                      <a:cubicBezTo>
                        <a:pt x="50" y="109"/>
                        <a:pt x="50" y="109"/>
                        <a:pt x="50" y="109"/>
                      </a:cubicBezTo>
                      <a:close/>
                      <a:moveTo>
                        <a:pt x="90" y="193"/>
                      </a:moveTo>
                      <a:cubicBezTo>
                        <a:pt x="91" y="192"/>
                        <a:pt x="91" y="192"/>
                        <a:pt x="92" y="192"/>
                      </a:cubicBezTo>
                      <a:cubicBezTo>
                        <a:pt x="91" y="192"/>
                        <a:pt x="91" y="192"/>
                        <a:pt x="90" y="193"/>
                      </a:cubicBezTo>
                      <a:close/>
                      <a:moveTo>
                        <a:pt x="116" y="290"/>
                      </a:moveTo>
                      <a:cubicBezTo>
                        <a:pt x="116" y="290"/>
                        <a:pt x="116" y="290"/>
                        <a:pt x="116" y="290"/>
                      </a:cubicBezTo>
                      <a:cubicBezTo>
                        <a:pt x="116" y="290"/>
                        <a:pt x="116" y="290"/>
                        <a:pt x="116" y="290"/>
                      </a:cubicBezTo>
                      <a:cubicBezTo>
                        <a:pt x="116" y="290"/>
                        <a:pt x="116" y="290"/>
                        <a:pt x="116" y="290"/>
                      </a:cubicBezTo>
                      <a:close/>
                      <a:moveTo>
                        <a:pt x="119" y="288"/>
                      </a:moveTo>
                      <a:cubicBezTo>
                        <a:pt x="119" y="288"/>
                        <a:pt x="119" y="288"/>
                        <a:pt x="119" y="288"/>
                      </a:cubicBezTo>
                      <a:cubicBezTo>
                        <a:pt x="119" y="288"/>
                        <a:pt x="119" y="288"/>
                        <a:pt x="119" y="288"/>
                      </a:cubicBezTo>
                      <a:close/>
                      <a:moveTo>
                        <a:pt x="193" y="357"/>
                      </a:moveTo>
                      <a:cubicBezTo>
                        <a:pt x="193" y="357"/>
                        <a:pt x="193" y="358"/>
                        <a:pt x="193" y="358"/>
                      </a:cubicBezTo>
                      <a:cubicBezTo>
                        <a:pt x="193" y="358"/>
                        <a:pt x="193" y="357"/>
                        <a:pt x="193" y="357"/>
                      </a:cubicBezTo>
                      <a:close/>
                      <a:moveTo>
                        <a:pt x="193" y="359"/>
                      </a:moveTo>
                      <a:cubicBezTo>
                        <a:pt x="192" y="359"/>
                        <a:pt x="192" y="359"/>
                        <a:pt x="192" y="359"/>
                      </a:cubicBezTo>
                      <a:cubicBezTo>
                        <a:pt x="192" y="359"/>
                        <a:pt x="192" y="359"/>
                        <a:pt x="193" y="35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3" name="Freeform 116">
                  <a:extLst>
                    <a:ext uri="{FF2B5EF4-FFF2-40B4-BE49-F238E27FC236}">
                      <a16:creationId xmlns:a16="http://schemas.microsoft.com/office/drawing/2014/main" id="{04DAFDBE-862A-4490-9E58-FA4CAE9FDE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624837" y="-8526115"/>
                  <a:ext cx="61622" cy="94054"/>
                </a:xfrm>
                <a:custGeom>
                  <a:avLst/>
                  <a:gdLst>
                    <a:gd name="T0" fmla="*/ 3 w 10"/>
                    <a:gd name="T1" fmla="*/ 5 h 15"/>
                    <a:gd name="T2" fmla="*/ 8 w 10"/>
                    <a:gd name="T3" fmla="*/ 13 h 15"/>
                    <a:gd name="T4" fmla="*/ 3 w 10"/>
                    <a:gd name="T5" fmla="*/ 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5">
                      <a:moveTo>
                        <a:pt x="3" y="5"/>
                      </a:moveTo>
                      <a:cubicBezTo>
                        <a:pt x="0" y="10"/>
                        <a:pt x="7" y="15"/>
                        <a:pt x="8" y="13"/>
                      </a:cubicBezTo>
                      <a:cubicBezTo>
                        <a:pt x="10" y="10"/>
                        <a:pt x="7" y="0"/>
                        <a:pt x="3" y="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4" name="Freeform 117">
                  <a:extLst>
                    <a:ext uri="{FF2B5EF4-FFF2-40B4-BE49-F238E27FC236}">
                      <a16:creationId xmlns:a16="http://schemas.microsoft.com/office/drawing/2014/main" id="{5DFB5197-3A42-4B29-A8CA-B4BF71B055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4668089" y="-14195247"/>
                  <a:ext cx="3042131" cy="2273492"/>
                </a:xfrm>
                <a:custGeom>
                  <a:avLst/>
                  <a:gdLst>
                    <a:gd name="T0" fmla="*/ 432 w 492"/>
                    <a:gd name="T1" fmla="*/ 43 h 368"/>
                    <a:gd name="T2" fmla="*/ 396 w 492"/>
                    <a:gd name="T3" fmla="*/ 59 h 368"/>
                    <a:gd name="T4" fmla="*/ 394 w 492"/>
                    <a:gd name="T5" fmla="*/ 37 h 368"/>
                    <a:gd name="T6" fmla="*/ 352 w 492"/>
                    <a:gd name="T7" fmla="*/ 34 h 368"/>
                    <a:gd name="T8" fmla="*/ 393 w 492"/>
                    <a:gd name="T9" fmla="*/ 28 h 368"/>
                    <a:gd name="T10" fmla="*/ 389 w 492"/>
                    <a:gd name="T11" fmla="*/ 12 h 368"/>
                    <a:gd name="T12" fmla="*/ 333 w 492"/>
                    <a:gd name="T13" fmla="*/ 1 h 368"/>
                    <a:gd name="T14" fmla="*/ 280 w 492"/>
                    <a:gd name="T15" fmla="*/ 8 h 368"/>
                    <a:gd name="T16" fmla="*/ 240 w 492"/>
                    <a:gd name="T17" fmla="*/ 8 h 368"/>
                    <a:gd name="T18" fmla="*/ 207 w 492"/>
                    <a:gd name="T19" fmla="*/ 23 h 368"/>
                    <a:gd name="T20" fmla="*/ 199 w 492"/>
                    <a:gd name="T21" fmla="*/ 27 h 368"/>
                    <a:gd name="T22" fmla="*/ 176 w 492"/>
                    <a:gd name="T23" fmla="*/ 34 h 368"/>
                    <a:gd name="T24" fmla="*/ 154 w 492"/>
                    <a:gd name="T25" fmla="*/ 42 h 368"/>
                    <a:gd name="T26" fmla="*/ 116 w 492"/>
                    <a:gd name="T27" fmla="*/ 34 h 368"/>
                    <a:gd name="T28" fmla="*/ 95 w 492"/>
                    <a:gd name="T29" fmla="*/ 50 h 368"/>
                    <a:gd name="T30" fmla="*/ 62 w 492"/>
                    <a:gd name="T31" fmla="*/ 71 h 368"/>
                    <a:gd name="T32" fmla="*/ 0 w 492"/>
                    <a:gd name="T33" fmla="*/ 102 h 368"/>
                    <a:gd name="T34" fmla="*/ 40 w 492"/>
                    <a:gd name="T35" fmla="*/ 113 h 368"/>
                    <a:gd name="T36" fmla="*/ 11 w 492"/>
                    <a:gd name="T37" fmla="*/ 123 h 368"/>
                    <a:gd name="T38" fmla="*/ 35 w 492"/>
                    <a:gd name="T39" fmla="*/ 139 h 368"/>
                    <a:gd name="T40" fmla="*/ 67 w 492"/>
                    <a:gd name="T41" fmla="*/ 137 h 368"/>
                    <a:gd name="T42" fmla="*/ 116 w 492"/>
                    <a:gd name="T43" fmla="*/ 151 h 368"/>
                    <a:gd name="T44" fmla="*/ 140 w 492"/>
                    <a:gd name="T45" fmla="*/ 183 h 368"/>
                    <a:gd name="T46" fmla="*/ 144 w 492"/>
                    <a:gd name="T47" fmla="*/ 212 h 368"/>
                    <a:gd name="T48" fmla="*/ 174 w 492"/>
                    <a:gd name="T49" fmla="*/ 223 h 368"/>
                    <a:gd name="T50" fmla="*/ 171 w 492"/>
                    <a:gd name="T51" fmla="*/ 234 h 368"/>
                    <a:gd name="T52" fmla="*/ 166 w 492"/>
                    <a:gd name="T53" fmla="*/ 254 h 368"/>
                    <a:gd name="T54" fmla="*/ 161 w 492"/>
                    <a:gd name="T55" fmla="*/ 279 h 368"/>
                    <a:gd name="T56" fmla="*/ 168 w 492"/>
                    <a:gd name="T57" fmla="*/ 311 h 368"/>
                    <a:gd name="T58" fmla="*/ 183 w 492"/>
                    <a:gd name="T59" fmla="*/ 331 h 368"/>
                    <a:gd name="T60" fmla="*/ 204 w 492"/>
                    <a:gd name="T61" fmla="*/ 356 h 368"/>
                    <a:gd name="T62" fmla="*/ 236 w 492"/>
                    <a:gd name="T63" fmla="*/ 368 h 368"/>
                    <a:gd name="T64" fmla="*/ 245 w 492"/>
                    <a:gd name="T65" fmla="*/ 336 h 368"/>
                    <a:gd name="T66" fmla="*/ 259 w 492"/>
                    <a:gd name="T67" fmla="*/ 321 h 368"/>
                    <a:gd name="T68" fmla="*/ 260 w 492"/>
                    <a:gd name="T69" fmla="*/ 305 h 368"/>
                    <a:gd name="T70" fmla="*/ 274 w 492"/>
                    <a:gd name="T71" fmla="*/ 295 h 368"/>
                    <a:gd name="T72" fmla="*/ 286 w 492"/>
                    <a:gd name="T73" fmla="*/ 292 h 368"/>
                    <a:gd name="T74" fmla="*/ 329 w 492"/>
                    <a:gd name="T75" fmla="*/ 264 h 368"/>
                    <a:gd name="T76" fmla="*/ 356 w 492"/>
                    <a:gd name="T77" fmla="*/ 256 h 368"/>
                    <a:gd name="T78" fmla="*/ 411 w 492"/>
                    <a:gd name="T79" fmla="*/ 232 h 368"/>
                    <a:gd name="T80" fmla="*/ 381 w 492"/>
                    <a:gd name="T81" fmla="*/ 226 h 368"/>
                    <a:gd name="T82" fmla="*/ 412 w 492"/>
                    <a:gd name="T83" fmla="*/ 228 h 368"/>
                    <a:gd name="T84" fmla="*/ 405 w 492"/>
                    <a:gd name="T85" fmla="*/ 200 h 368"/>
                    <a:gd name="T86" fmla="*/ 390 w 492"/>
                    <a:gd name="T87" fmla="*/ 186 h 368"/>
                    <a:gd name="T88" fmla="*/ 425 w 492"/>
                    <a:gd name="T89" fmla="*/ 182 h 368"/>
                    <a:gd name="T90" fmla="*/ 434 w 492"/>
                    <a:gd name="T91" fmla="*/ 164 h 368"/>
                    <a:gd name="T92" fmla="*/ 430 w 492"/>
                    <a:gd name="T93" fmla="*/ 138 h 368"/>
                    <a:gd name="T94" fmla="*/ 420 w 492"/>
                    <a:gd name="T95" fmla="*/ 127 h 368"/>
                    <a:gd name="T96" fmla="*/ 424 w 492"/>
                    <a:gd name="T97" fmla="*/ 116 h 368"/>
                    <a:gd name="T98" fmla="*/ 412 w 492"/>
                    <a:gd name="T99" fmla="*/ 110 h 368"/>
                    <a:gd name="T100" fmla="*/ 445 w 492"/>
                    <a:gd name="T101" fmla="*/ 76 h 368"/>
                    <a:gd name="T102" fmla="*/ 437 w 492"/>
                    <a:gd name="T103" fmla="*/ 67 h 368"/>
                    <a:gd name="T104" fmla="*/ 446 w 492"/>
                    <a:gd name="T105" fmla="*/ 58 h 368"/>
                    <a:gd name="T106" fmla="*/ 492 w 492"/>
                    <a:gd name="T107" fmla="*/ 42 h 368"/>
                    <a:gd name="T108" fmla="*/ 162 w 492"/>
                    <a:gd name="T109" fmla="*/ 235 h 368"/>
                    <a:gd name="T110" fmla="*/ 154 w 492"/>
                    <a:gd name="T111" fmla="*/ 245 h 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92" h="368">
                      <a:moveTo>
                        <a:pt x="465" y="34"/>
                      </a:moveTo>
                      <a:cubicBezTo>
                        <a:pt x="456" y="34"/>
                        <a:pt x="449" y="36"/>
                        <a:pt x="448" y="42"/>
                      </a:cubicBezTo>
                      <a:cubicBezTo>
                        <a:pt x="448" y="48"/>
                        <a:pt x="437" y="41"/>
                        <a:pt x="432" y="43"/>
                      </a:cubicBezTo>
                      <a:cubicBezTo>
                        <a:pt x="427" y="45"/>
                        <a:pt x="430" y="38"/>
                        <a:pt x="425" y="40"/>
                      </a:cubicBezTo>
                      <a:cubicBezTo>
                        <a:pt x="420" y="42"/>
                        <a:pt x="415" y="48"/>
                        <a:pt x="409" y="51"/>
                      </a:cubicBezTo>
                      <a:cubicBezTo>
                        <a:pt x="403" y="53"/>
                        <a:pt x="399" y="59"/>
                        <a:pt x="396" y="59"/>
                      </a:cubicBezTo>
                      <a:cubicBezTo>
                        <a:pt x="392" y="60"/>
                        <a:pt x="403" y="48"/>
                        <a:pt x="409" y="43"/>
                      </a:cubicBezTo>
                      <a:cubicBezTo>
                        <a:pt x="415" y="37"/>
                        <a:pt x="412" y="30"/>
                        <a:pt x="404" y="31"/>
                      </a:cubicBezTo>
                      <a:cubicBezTo>
                        <a:pt x="396" y="32"/>
                        <a:pt x="398" y="37"/>
                        <a:pt x="394" y="37"/>
                      </a:cubicBezTo>
                      <a:cubicBezTo>
                        <a:pt x="389" y="38"/>
                        <a:pt x="369" y="49"/>
                        <a:pt x="368" y="46"/>
                      </a:cubicBezTo>
                      <a:cubicBezTo>
                        <a:pt x="367" y="42"/>
                        <a:pt x="385" y="37"/>
                        <a:pt x="385" y="35"/>
                      </a:cubicBezTo>
                      <a:cubicBezTo>
                        <a:pt x="384" y="33"/>
                        <a:pt x="362" y="33"/>
                        <a:pt x="352" y="34"/>
                      </a:cubicBezTo>
                      <a:cubicBezTo>
                        <a:pt x="342" y="36"/>
                        <a:pt x="325" y="41"/>
                        <a:pt x="324" y="38"/>
                      </a:cubicBezTo>
                      <a:cubicBezTo>
                        <a:pt x="324" y="36"/>
                        <a:pt x="345" y="32"/>
                        <a:pt x="355" y="30"/>
                      </a:cubicBezTo>
                      <a:cubicBezTo>
                        <a:pt x="366" y="29"/>
                        <a:pt x="385" y="31"/>
                        <a:pt x="393" y="28"/>
                      </a:cubicBezTo>
                      <a:cubicBezTo>
                        <a:pt x="401" y="24"/>
                        <a:pt x="413" y="24"/>
                        <a:pt x="415" y="22"/>
                      </a:cubicBezTo>
                      <a:cubicBezTo>
                        <a:pt x="418" y="19"/>
                        <a:pt x="406" y="15"/>
                        <a:pt x="400" y="16"/>
                      </a:cubicBezTo>
                      <a:cubicBezTo>
                        <a:pt x="395" y="16"/>
                        <a:pt x="389" y="15"/>
                        <a:pt x="389" y="12"/>
                      </a:cubicBezTo>
                      <a:cubicBezTo>
                        <a:pt x="390" y="9"/>
                        <a:pt x="381" y="9"/>
                        <a:pt x="380" y="7"/>
                      </a:cubicBezTo>
                      <a:cubicBezTo>
                        <a:pt x="379" y="4"/>
                        <a:pt x="361" y="6"/>
                        <a:pt x="357" y="4"/>
                      </a:cubicBezTo>
                      <a:cubicBezTo>
                        <a:pt x="353" y="1"/>
                        <a:pt x="342" y="0"/>
                        <a:pt x="333" y="1"/>
                      </a:cubicBezTo>
                      <a:cubicBezTo>
                        <a:pt x="323" y="2"/>
                        <a:pt x="304" y="1"/>
                        <a:pt x="299" y="2"/>
                      </a:cubicBezTo>
                      <a:cubicBezTo>
                        <a:pt x="295" y="2"/>
                        <a:pt x="292" y="4"/>
                        <a:pt x="288" y="4"/>
                      </a:cubicBezTo>
                      <a:cubicBezTo>
                        <a:pt x="284" y="3"/>
                        <a:pt x="277" y="5"/>
                        <a:pt x="280" y="8"/>
                      </a:cubicBezTo>
                      <a:cubicBezTo>
                        <a:pt x="284" y="12"/>
                        <a:pt x="273" y="14"/>
                        <a:pt x="274" y="11"/>
                      </a:cubicBezTo>
                      <a:cubicBezTo>
                        <a:pt x="275" y="7"/>
                        <a:pt x="265" y="5"/>
                        <a:pt x="262" y="8"/>
                      </a:cubicBezTo>
                      <a:cubicBezTo>
                        <a:pt x="258" y="11"/>
                        <a:pt x="242" y="5"/>
                        <a:pt x="240" y="8"/>
                      </a:cubicBezTo>
                      <a:cubicBezTo>
                        <a:pt x="237" y="11"/>
                        <a:pt x="219" y="10"/>
                        <a:pt x="213" y="11"/>
                      </a:cubicBezTo>
                      <a:cubicBezTo>
                        <a:pt x="208" y="12"/>
                        <a:pt x="222" y="16"/>
                        <a:pt x="221" y="18"/>
                      </a:cubicBezTo>
                      <a:cubicBezTo>
                        <a:pt x="221" y="21"/>
                        <a:pt x="203" y="18"/>
                        <a:pt x="207" y="23"/>
                      </a:cubicBezTo>
                      <a:cubicBezTo>
                        <a:pt x="211" y="27"/>
                        <a:pt x="222" y="30"/>
                        <a:pt x="228" y="36"/>
                      </a:cubicBezTo>
                      <a:cubicBezTo>
                        <a:pt x="233" y="41"/>
                        <a:pt x="223" y="38"/>
                        <a:pt x="217" y="34"/>
                      </a:cubicBezTo>
                      <a:cubicBezTo>
                        <a:pt x="211" y="30"/>
                        <a:pt x="203" y="31"/>
                        <a:pt x="199" y="27"/>
                      </a:cubicBezTo>
                      <a:cubicBezTo>
                        <a:pt x="195" y="23"/>
                        <a:pt x="181" y="20"/>
                        <a:pt x="178" y="22"/>
                      </a:cubicBezTo>
                      <a:cubicBezTo>
                        <a:pt x="173" y="25"/>
                        <a:pt x="187" y="30"/>
                        <a:pt x="187" y="33"/>
                      </a:cubicBezTo>
                      <a:cubicBezTo>
                        <a:pt x="187" y="37"/>
                        <a:pt x="178" y="33"/>
                        <a:pt x="176" y="34"/>
                      </a:cubicBezTo>
                      <a:cubicBezTo>
                        <a:pt x="174" y="35"/>
                        <a:pt x="166" y="26"/>
                        <a:pt x="161" y="26"/>
                      </a:cubicBezTo>
                      <a:cubicBezTo>
                        <a:pt x="157" y="26"/>
                        <a:pt x="161" y="30"/>
                        <a:pt x="161" y="36"/>
                      </a:cubicBezTo>
                      <a:cubicBezTo>
                        <a:pt x="161" y="42"/>
                        <a:pt x="151" y="46"/>
                        <a:pt x="154" y="42"/>
                      </a:cubicBezTo>
                      <a:cubicBezTo>
                        <a:pt x="157" y="37"/>
                        <a:pt x="155" y="27"/>
                        <a:pt x="150" y="25"/>
                      </a:cubicBezTo>
                      <a:cubicBezTo>
                        <a:pt x="145" y="23"/>
                        <a:pt x="132" y="29"/>
                        <a:pt x="125" y="29"/>
                      </a:cubicBezTo>
                      <a:cubicBezTo>
                        <a:pt x="119" y="29"/>
                        <a:pt x="110" y="31"/>
                        <a:pt x="116" y="34"/>
                      </a:cubicBezTo>
                      <a:cubicBezTo>
                        <a:pt x="121" y="37"/>
                        <a:pt x="115" y="39"/>
                        <a:pt x="110" y="36"/>
                      </a:cubicBezTo>
                      <a:cubicBezTo>
                        <a:pt x="105" y="32"/>
                        <a:pt x="89" y="36"/>
                        <a:pt x="92" y="38"/>
                      </a:cubicBezTo>
                      <a:cubicBezTo>
                        <a:pt x="96" y="41"/>
                        <a:pt x="97" y="47"/>
                        <a:pt x="95" y="50"/>
                      </a:cubicBezTo>
                      <a:cubicBezTo>
                        <a:pt x="92" y="53"/>
                        <a:pt x="86" y="47"/>
                        <a:pt x="79" y="48"/>
                      </a:cubicBezTo>
                      <a:cubicBezTo>
                        <a:pt x="73" y="48"/>
                        <a:pt x="41" y="64"/>
                        <a:pt x="43" y="68"/>
                      </a:cubicBezTo>
                      <a:cubicBezTo>
                        <a:pt x="45" y="72"/>
                        <a:pt x="58" y="68"/>
                        <a:pt x="62" y="71"/>
                      </a:cubicBezTo>
                      <a:cubicBezTo>
                        <a:pt x="67" y="73"/>
                        <a:pt x="61" y="82"/>
                        <a:pt x="56" y="86"/>
                      </a:cubicBezTo>
                      <a:cubicBezTo>
                        <a:pt x="51" y="89"/>
                        <a:pt x="31" y="86"/>
                        <a:pt x="31" y="90"/>
                      </a:cubicBezTo>
                      <a:cubicBezTo>
                        <a:pt x="30" y="94"/>
                        <a:pt x="0" y="95"/>
                        <a:pt x="0" y="102"/>
                      </a:cubicBezTo>
                      <a:cubicBezTo>
                        <a:pt x="0" y="105"/>
                        <a:pt x="1" y="107"/>
                        <a:pt x="5" y="108"/>
                      </a:cubicBezTo>
                      <a:cubicBezTo>
                        <a:pt x="9" y="109"/>
                        <a:pt x="14" y="107"/>
                        <a:pt x="18" y="112"/>
                      </a:cubicBezTo>
                      <a:cubicBezTo>
                        <a:pt x="22" y="116"/>
                        <a:pt x="33" y="116"/>
                        <a:pt x="40" y="113"/>
                      </a:cubicBezTo>
                      <a:cubicBezTo>
                        <a:pt x="47" y="110"/>
                        <a:pt x="53" y="114"/>
                        <a:pt x="52" y="118"/>
                      </a:cubicBezTo>
                      <a:cubicBezTo>
                        <a:pt x="52" y="122"/>
                        <a:pt x="36" y="116"/>
                        <a:pt x="31" y="120"/>
                      </a:cubicBezTo>
                      <a:cubicBezTo>
                        <a:pt x="26" y="123"/>
                        <a:pt x="10" y="120"/>
                        <a:pt x="11" y="123"/>
                      </a:cubicBezTo>
                      <a:cubicBezTo>
                        <a:pt x="12" y="127"/>
                        <a:pt x="19" y="126"/>
                        <a:pt x="26" y="127"/>
                      </a:cubicBezTo>
                      <a:cubicBezTo>
                        <a:pt x="32" y="128"/>
                        <a:pt x="26" y="131"/>
                        <a:pt x="26" y="134"/>
                      </a:cubicBezTo>
                      <a:cubicBezTo>
                        <a:pt x="26" y="136"/>
                        <a:pt x="29" y="136"/>
                        <a:pt x="35" y="139"/>
                      </a:cubicBezTo>
                      <a:cubicBezTo>
                        <a:pt x="42" y="142"/>
                        <a:pt x="52" y="144"/>
                        <a:pt x="48" y="140"/>
                      </a:cubicBezTo>
                      <a:cubicBezTo>
                        <a:pt x="45" y="137"/>
                        <a:pt x="55" y="137"/>
                        <a:pt x="57" y="139"/>
                      </a:cubicBezTo>
                      <a:cubicBezTo>
                        <a:pt x="58" y="141"/>
                        <a:pt x="63" y="136"/>
                        <a:pt x="67" y="137"/>
                      </a:cubicBezTo>
                      <a:cubicBezTo>
                        <a:pt x="72" y="139"/>
                        <a:pt x="73" y="133"/>
                        <a:pt x="77" y="135"/>
                      </a:cubicBezTo>
                      <a:cubicBezTo>
                        <a:pt x="81" y="138"/>
                        <a:pt x="97" y="139"/>
                        <a:pt x="103" y="142"/>
                      </a:cubicBezTo>
                      <a:cubicBezTo>
                        <a:pt x="109" y="145"/>
                        <a:pt x="116" y="146"/>
                        <a:pt x="116" y="151"/>
                      </a:cubicBezTo>
                      <a:cubicBezTo>
                        <a:pt x="115" y="155"/>
                        <a:pt x="121" y="159"/>
                        <a:pt x="127" y="161"/>
                      </a:cubicBezTo>
                      <a:cubicBezTo>
                        <a:pt x="133" y="164"/>
                        <a:pt x="135" y="170"/>
                        <a:pt x="134" y="174"/>
                      </a:cubicBezTo>
                      <a:cubicBezTo>
                        <a:pt x="134" y="178"/>
                        <a:pt x="141" y="181"/>
                        <a:pt x="140" y="183"/>
                      </a:cubicBezTo>
                      <a:cubicBezTo>
                        <a:pt x="139" y="185"/>
                        <a:pt x="140" y="188"/>
                        <a:pt x="144" y="192"/>
                      </a:cubicBezTo>
                      <a:cubicBezTo>
                        <a:pt x="148" y="195"/>
                        <a:pt x="137" y="198"/>
                        <a:pt x="140" y="202"/>
                      </a:cubicBezTo>
                      <a:cubicBezTo>
                        <a:pt x="143" y="205"/>
                        <a:pt x="136" y="211"/>
                        <a:pt x="144" y="212"/>
                      </a:cubicBezTo>
                      <a:cubicBezTo>
                        <a:pt x="151" y="214"/>
                        <a:pt x="150" y="207"/>
                        <a:pt x="156" y="207"/>
                      </a:cubicBezTo>
                      <a:cubicBezTo>
                        <a:pt x="162" y="207"/>
                        <a:pt x="156" y="212"/>
                        <a:pt x="159" y="215"/>
                      </a:cubicBezTo>
                      <a:cubicBezTo>
                        <a:pt x="162" y="218"/>
                        <a:pt x="168" y="218"/>
                        <a:pt x="174" y="223"/>
                      </a:cubicBezTo>
                      <a:cubicBezTo>
                        <a:pt x="180" y="228"/>
                        <a:pt x="176" y="230"/>
                        <a:pt x="171" y="226"/>
                      </a:cubicBezTo>
                      <a:cubicBezTo>
                        <a:pt x="165" y="222"/>
                        <a:pt x="150" y="223"/>
                        <a:pt x="150" y="224"/>
                      </a:cubicBezTo>
                      <a:cubicBezTo>
                        <a:pt x="150" y="226"/>
                        <a:pt x="167" y="236"/>
                        <a:pt x="171" y="234"/>
                      </a:cubicBezTo>
                      <a:cubicBezTo>
                        <a:pt x="175" y="233"/>
                        <a:pt x="181" y="240"/>
                        <a:pt x="178" y="243"/>
                      </a:cubicBezTo>
                      <a:cubicBezTo>
                        <a:pt x="176" y="245"/>
                        <a:pt x="177" y="251"/>
                        <a:pt x="177" y="254"/>
                      </a:cubicBezTo>
                      <a:cubicBezTo>
                        <a:pt x="176" y="257"/>
                        <a:pt x="170" y="254"/>
                        <a:pt x="166" y="254"/>
                      </a:cubicBezTo>
                      <a:cubicBezTo>
                        <a:pt x="163" y="255"/>
                        <a:pt x="160" y="256"/>
                        <a:pt x="160" y="260"/>
                      </a:cubicBezTo>
                      <a:cubicBezTo>
                        <a:pt x="160" y="264"/>
                        <a:pt x="154" y="267"/>
                        <a:pt x="153" y="272"/>
                      </a:cubicBezTo>
                      <a:cubicBezTo>
                        <a:pt x="153" y="277"/>
                        <a:pt x="158" y="277"/>
                        <a:pt x="161" y="279"/>
                      </a:cubicBezTo>
                      <a:cubicBezTo>
                        <a:pt x="164" y="281"/>
                        <a:pt x="155" y="282"/>
                        <a:pt x="155" y="286"/>
                      </a:cubicBezTo>
                      <a:cubicBezTo>
                        <a:pt x="155" y="290"/>
                        <a:pt x="163" y="296"/>
                        <a:pt x="166" y="298"/>
                      </a:cubicBezTo>
                      <a:cubicBezTo>
                        <a:pt x="169" y="299"/>
                        <a:pt x="166" y="307"/>
                        <a:pt x="168" y="311"/>
                      </a:cubicBezTo>
                      <a:cubicBezTo>
                        <a:pt x="169" y="315"/>
                        <a:pt x="173" y="310"/>
                        <a:pt x="172" y="316"/>
                      </a:cubicBezTo>
                      <a:cubicBezTo>
                        <a:pt x="172" y="321"/>
                        <a:pt x="176" y="321"/>
                        <a:pt x="176" y="324"/>
                      </a:cubicBezTo>
                      <a:cubicBezTo>
                        <a:pt x="177" y="327"/>
                        <a:pt x="184" y="326"/>
                        <a:pt x="183" y="331"/>
                      </a:cubicBezTo>
                      <a:cubicBezTo>
                        <a:pt x="181" y="335"/>
                        <a:pt x="185" y="338"/>
                        <a:pt x="186" y="340"/>
                      </a:cubicBezTo>
                      <a:cubicBezTo>
                        <a:pt x="188" y="343"/>
                        <a:pt x="194" y="347"/>
                        <a:pt x="195" y="350"/>
                      </a:cubicBezTo>
                      <a:cubicBezTo>
                        <a:pt x="197" y="353"/>
                        <a:pt x="200" y="357"/>
                        <a:pt x="204" y="356"/>
                      </a:cubicBezTo>
                      <a:cubicBezTo>
                        <a:pt x="209" y="355"/>
                        <a:pt x="209" y="359"/>
                        <a:pt x="212" y="358"/>
                      </a:cubicBezTo>
                      <a:cubicBezTo>
                        <a:pt x="216" y="358"/>
                        <a:pt x="221" y="360"/>
                        <a:pt x="222" y="362"/>
                      </a:cubicBezTo>
                      <a:cubicBezTo>
                        <a:pt x="223" y="365"/>
                        <a:pt x="233" y="367"/>
                        <a:pt x="236" y="368"/>
                      </a:cubicBezTo>
                      <a:cubicBezTo>
                        <a:pt x="239" y="368"/>
                        <a:pt x="239" y="363"/>
                        <a:pt x="242" y="362"/>
                      </a:cubicBezTo>
                      <a:cubicBezTo>
                        <a:pt x="244" y="360"/>
                        <a:pt x="243" y="350"/>
                        <a:pt x="246" y="349"/>
                      </a:cubicBezTo>
                      <a:cubicBezTo>
                        <a:pt x="248" y="348"/>
                        <a:pt x="247" y="337"/>
                        <a:pt x="245" y="336"/>
                      </a:cubicBezTo>
                      <a:cubicBezTo>
                        <a:pt x="243" y="335"/>
                        <a:pt x="244" y="332"/>
                        <a:pt x="249" y="332"/>
                      </a:cubicBezTo>
                      <a:cubicBezTo>
                        <a:pt x="255" y="333"/>
                        <a:pt x="253" y="328"/>
                        <a:pt x="255" y="327"/>
                      </a:cubicBezTo>
                      <a:cubicBezTo>
                        <a:pt x="258" y="326"/>
                        <a:pt x="257" y="321"/>
                        <a:pt x="259" y="321"/>
                      </a:cubicBezTo>
                      <a:cubicBezTo>
                        <a:pt x="261" y="320"/>
                        <a:pt x="260" y="317"/>
                        <a:pt x="259" y="315"/>
                      </a:cubicBezTo>
                      <a:cubicBezTo>
                        <a:pt x="257" y="313"/>
                        <a:pt x="259" y="312"/>
                        <a:pt x="262" y="311"/>
                      </a:cubicBezTo>
                      <a:cubicBezTo>
                        <a:pt x="265" y="311"/>
                        <a:pt x="264" y="307"/>
                        <a:pt x="260" y="305"/>
                      </a:cubicBezTo>
                      <a:cubicBezTo>
                        <a:pt x="257" y="304"/>
                        <a:pt x="258" y="300"/>
                        <a:pt x="262" y="302"/>
                      </a:cubicBezTo>
                      <a:cubicBezTo>
                        <a:pt x="265" y="305"/>
                        <a:pt x="268" y="303"/>
                        <a:pt x="266" y="300"/>
                      </a:cubicBezTo>
                      <a:cubicBezTo>
                        <a:pt x="264" y="297"/>
                        <a:pt x="269" y="296"/>
                        <a:pt x="274" y="295"/>
                      </a:cubicBezTo>
                      <a:cubicBezTo>
                        <a:pt x="279" y="295"/>
                        <a:pt x="281" y="292"/>
                        <a:pt x="280" y="288"/>
                      </a:cubicBezTo>
                      <a:cubicBezTo>
                        <a:pt x="279" y="285"/>
                        <a:pt x="286" y="285"/>
                        <a:pt x="284" y="288"/>
                      </a:cubicBezTo>
                      <a:cubicBezTo>
                        <a:pt x="283" y="291"/>
                        <a:pt x="284" y="295"/>
                        <a:pt x="286" y="292"/>
                      </a:cubicBezTo>
                      <a:cubicBezTo>
                        <a:pt x="288" y="290"/>
                        <a:pt x="293" y="292"/>
                        <a:pt x="301" y="289"/>
                      </a:cubicBezTo>
                      <a:cubicBezTo>
                        <a:pt x="309" y="287"/>
                        <a:pt x="317" y="280"/>
                        <a:pt x="319" y="274"/>
                      </a:cubicBezTo>
                      <a:cubicBezTo>
                        <a:pt x="321" y="267"/>
                        <a:pt x="330" y="268"/>
                        <a:pt x="329" y="264"/>
                      </a:cubicBezTo>
                      <a:cubicBezTo>
                        <a:pt x="328" y="260"/>
                        <a:pt x="330" y="258"/>
                        <a:pt x="336" y="261"/>
                      </a:cubicBezTo>
                      <a:cubicBezTo>
                        <a:pt x="342" y="264"/>
                        <a:pt x="338" y="259"/>
                        <a:pt x="344" y="259"/>
                      </a:cubicBezTo>
                      <a:cubicBezTo>
                        <a:pt x="351" y="259"/>
                        <a:pt x="350" y="256"/>
                        <a:pt x="356" y="256"/>
                      </a:cubicBezTo>
                      <a:cubicBezTo>
                        <a:pt x="363" y="256"/>
                        <a:pt x="379" y="253"/>
                        <a:pt x="385" y="248"/>
                      </a:cubicBezTo>
                      <a:cubicBezTo>
                        <a:pt x="391" y="244"/>
                        <a:pt x="403" y="240"/>
                        <a:pt x="408" y="237"/>
                      </a:cubicBezTo>
                      <a:cubicBezTo>
                        <a:pt x="413" y="233"/>
                        <a:pt x="414" y="231"/>
                        <a:pt x="411" y="232"/>
                      </a:cubicBezTo>
                      <a:cubicBezTo>
                        <a:pt x="408" y="234"/>
                        <a:pt x="401" y="234"/>
                        <a:pt x="397" y="233"/>
                      </a:cubicBezTo>
                      <a:cubicBezTo>
                        <a:pt x="392" y="232"/>
                        <a:pt x="384" y="228"/>
                        <a:pt x="379" y="231"/>
                      </a:cubicBezTo>
                      <a:cubicBezTo>
                        <a:pt x="373" y="234"/>
                        <a:pt x="377" y="227"/>
                        <a:pt x="381" y="226"/>
                      </a:cubicBezTo>
                      <a:cubicBezTo>
                        <a:pt x="386" y="225"/>
                        <a:pt x="384" y="223"/>
                        <a:pt x="383" y="218"/>
                      </a:cubicBezTo>
                      <a:cubicBezTo>
                        <a:pt x="381" y="213"/>
                        <a:pt x="390" y="217"/>
                        <a:pt x="394" y="222"/>
                      </a:cubicBezTo>
                      <a:cubicBezTo>
                        <a:pt x="398" y="227"/>
                        <a:pt x="405" y="230"/>
                        <a:pt x="412" y="228"/>
                      </a:cubicBezTo>
                      <a:cubicBezTo>
                        <a:pt x="418" y="226"/>
                        <a:pt x="412" y="221"/>
                        <a:pt x="414" y="217"/>
                      </a:cubicBezTo>
                      <a:cubicBezTo>
                        <a:pt x="417" y="214"/>
                        <a:pt x="395" y="203"/>
                        <a:pt x="393" y="199"/>
                      </a:cubicBezTo>
                      <a:cubicBezTo>
                        <a:pt x="392" y="195"/>
                        <a:pt x="399" y="198"/>
                        <a:pt x="405" y="200"/>
                      </a:cubicBezTo>
                      <a:cubicBezTo>
                        <a:pt x="412" y="203"/>
                        <a:pt x="413" y="195"/>
                        <a:pt x="413" y="192"/>
                      </a:cubicBezTo>
                      <a:cubicBezTo>
                        <a:pt x="413" y="188"/>
                        <a:pt x="400" y="188"/>
                        <a:pt x="394" y="192"/>
                      </a:cubicBezTo>
                      <a:cubicBezTo>
                        <a:pt x="388" y="195"/>
                        <a:pt x="382" y="187"/>
                        <a:pt x="390" y="186"/>
                      </a:cubicBezTo>
                      <a:cubicBezTo>
                        <a:pt x="398" y="185"/>
                        <a:pt x="391" y="182"/>
                        <a:pt x="393" y="180"/>
                      </a:cubicBezTo>
                      <a:cubicBezTo>
                        <a:pt x="396" y="177"/>
                        <a:pt x="406" y="187"/>
                        <a:pt x="411" y="185"/>
                      </a:cubicBezTo>
                      <a:cubicBezTo>
                        <a:pt x="416" y="183"/>
                        <a:pt x="420" y="185"/>
                        <a:pt x="425" y="182"/>
                      </a:cubicBezTo>
                      <a:cubicBezTo>
                        <a:pt x="429" y="178"/>
                        <a:pt x="417" y="175"/>
                        <a:pt x="414" y="172"/>
                      </a:cubicBezTo>
                      <a:cubicBezTo>
                        <a:pt x="411" y="168"/>
                        <a:pt x="427" y="170"/>
                        <a:pt x="432" y="170"/>
                      </a:cubicBezTo>
                      <a:cubicBezTo>
                        <a:pt x="437" y="170"/>
                        <a:pt x="438" y="163"/>
                        <a:pt x="434" y="164"/>
                      </a:cubicBezTo>
                      <a:cubicBezTo>
                        <a:pt x="430" y="166"/>
                        <a:pt x="417" y="160"/>
                        <a:pt x="419" y="155"/>
                      </a:cubicBezTo>
                      <a:cubicBezTo>
                        <a:pt x="422" y="151"/>
                        <a:pt x="427" y="156"/>
                        <a:pt x="433" y="153"/>
                      </a:cubicBezTo>
                      <a:cubicBezTo>
                        <a:pt x="439" y="150"/>
                        <a:pt x="434" y="138"/>
                        <a:pt x="430" y="138"/>
                      </a:cubicBezTo>
                      <a:cubicBezTo>
                        <a:pt x="425" y="138"/>
                        <a:pt x="415" y="137"/>
                        <a:pt x="415" y="135"/>
                      </a:cubicBezTo>
                      <a:cubicBezTo>
                        <a:pt x="415" y="133"/>
                        <a:pt x="407" y="131"/>
                        <a:pt x="409" y="129"/>
                      </a:cubicBezTo>
                      <a:cubicBezTo>
                        <a:pt x="412" y="126"/>
                        <a:pt x="415" y="131"/>
                        <a:pt x="420" y="127"/>
                      </a:cubicBezTo>
                      <a:cubicBezTo>
                        <a:pt x="426" y="123"/>
                        <a:pt x="437" y="128"/>
                        <a:pt x="442" y="127"/>
                      </a:cubicBezTo>
                      <a:cubicBezTo>
                        <a:pt x="447" y="126"/>
                        <a:pt x="440" y="117"/>
                        <a:pt x="437" y="119"/>
                      </a:cubicBezTo>
                      <a:cubicBezTo>
                        <a:pt x="434" y="120"/>
                        <a:pt x="425" y="121"/>
                        <a:pt x="424" y="116"/>
                      </a:cubicBezTo>
                      <a:cubicBezTo>
                        <a:pt x="423" y="111"/>
                        <a:pt x="433" y="116"/>
                        <a:pt x="435" y="113"/>
                      </a:cubicBezTo>
                      <a:cubicBezTo>
                        <a:pt x="437" y="111"/>
                        <a:pt x="421" y="105"/>
                        <a:pt x="419" y="110"/>
                      </a:cubicBezTo>
                      <a:cubicBezTo>
                        <a:pt x="416" y="115"/>
                        <a:pt x="408" y="113"/>
                        <a:pt x="412" y="110"/>
                      </a:cubicBezTo>
                      <a:cubicBezTo>
                        <a:pt x="417" y="107"/>
                        <a:pt x="418" y="99"/>
                        <a:pt x="417" y="95"/>
                      </a:cubicBezTo>
                      <a:cubicBezTo>
                        <a:pt x="417" y="91"/>
                        <a:pt x="433" y="91"/>
                        <a:pt x="432" y="84"/>
                      </a:cubicBezTo>
                      <a:cubicBezTo>
                        <a:pt x="430" y="78"/>
                        <a:pt x="439" y="76"/>
                        <a:pt x="445" y="76"/>
                      </a:cubicBezTo>
                      <a:cubicBezTo>
                        <a:pt x="450" y="76"/>
                        <a:pt x="445" y="69"/>
                        <a:pt x="439" y="70"/>
                      </a:cubicBezTo>
                      <a:cubicBezTo>
                        <a:pt x="434" y="71"/>
                        <a:pt x="429" y="76"/>
                        <a:pt x="426" y="74"/>
                      </a:cubicBezTo>
                      <a:cubicBezTo>
                        <a:pt x="423" y="72"/>
                        <a:pt x="432" y="67"/>
                        <a:pt x="437" y="67"/>
                      </a:cubicBezTo>
                      <a:cubicBezTo>
                        <a:pt x="442" y="67"/>
                        <a:pt x="453" y="67"/>
                        <a:pt x="457" y="65"/>
                      </a:cubicBezTo>
                      <a:cubicBezTo>
                        <a:pt x="461" y="62"/>
                        <a:pt x="450" y="60"/>
                        <a:pt x="442" y="61"/>
                      </a:cubicBezTo>
                      <a:cubicBezTo>
                        <a:pt x="435" y="62"/>
                        <a:pt x="435" y="59"/>
                        <a:pt x="446" y="58"/>
                      </a:cubicBezTo>
                      <a:cubicBezTo>
                        <a:pt x="458" y="58"/>
                        <a:pt x="456" y="56"/>
                        <a:pt x="464" y="55"/>
                      </a:cubicBezTo>
                      <a:cubicBezTo>
                        <a:pt x="472" y="54"/>
                        <a:pt x="469" y="51"/>
                        <a:pt x="474" y="50"/>
                      </a:cubicBezTo>
                      <a:cubicBezTo>
                        <a:pt x="479" y="50"/>
                        <a:pt x="492" y="45"/>
                        <a:pt x="492" y="42"/>
                      </a:cubicBezTo>
                      <a:cubicBezTo>
                        <a:pt x="492" y="39"/>
                        <a:pt x="474" y="34"/>
                        <a:pt x="465" y="34"/>
                      </a:cubicBezTo>
                      <a:close/>
                      <a:moveTo>
                        <a:pt x="169" y="241"/>
                      </a:moveTo>
                      <a:cubicBezTo>
                        <a:pt x="169" y="237"/>
                        <a:pt x="164" y="240"/>
                        <a:pt x="162" y="235"/>
                      </a:cubicBezTo>
                      <a:cubicBezTo>
                        <a:pt x="160" y="231"/>
                        <a:pt x="148" y="229"/>
                        <a:pt x="146" y="232"/>
                      </a:cubicBezTo>
                      <a:cubicBezTo>
                        <a:pt x="146" y="234"/>
                        <a:pt x="142" y="236"/>
                        <a:pt x="145" y="239"/>
                      </a:cubicBezTo>
                      <a:cubicBezTo>
                        <a:pt x="148" y="243"/>
                        <a:pt x="150" y="241"/>
                        <a:pt x="154" y="245"/>
                      </a:cubicBezTo>
                      <a:cubicBezTo>
                        <a:pt x="158" y="248"/>
                        <a:pt x="168" y="245"/>
                        <a:pt x="169" y="24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5" name="Freeform 118">
                  <a:extLst>
                    <a:ext uri="{FF2B5EF4-FFF2-40B4-BE49-F238E27FC236}">
                      <a16:creationId xmlns:a16="http://schemas.microsoft.com/office/drawing/2014/main" id="{421A4708-FF3F-4B25-9024-CE8D8C6ECB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8086433" y="-14153084"/>
                  <a:ext cx="4433469" cy="3408616"/>
                </a:xfrm>
                <a:custGeom>
                  <a:avLst/>
                  <a:gdLst>
                    <a:gd name="T0" fmla="*/ 146 w 717"/>
                    <a:gd name="T1" fmla="*/ 487 h 552"/>
                    <a:gd name="T2" fmla="*/ 135 w 717"/>
                    <a:gd name="T3" fmla="*/ 162 h 552"/>
                    <a:gd name="T4" fmla="*/ 276 w 717"/>
                    <a:gd name="T5" fmla="*/ 179 h 552"/>
                    <a:gd name="T6" fmla="*/ 183 w 717"/>
                    <a:gd name="T7" fmla="*/ 191 h 552"/>
                    <a:gd name="T8" fmla="*/ 275 w 717"/>
                    <a:gd name="T9" fmla="*/ 238 h 552"/>
                    <a:gd name="T10" fmla="*/ 169 w 717"/>
                    <a:gd name="T11" fmla="*/ 138 h 552"/>
                    <a:gd name="T12" fmla="*/ 148 w 717"/>
                    <a:gd name="T13" fmla="*/ 132 h 552"/>
                    <a:gd name="T14" fmla="*/ 263 w 717"/>
                    <a:gd name="T15" fmla="*/ 152 h 552"/>
                    <a:gd name="T16" fmla="*/ 212 w 717"/>
                    <a:gd name="T17" fmla="*/ 102 h 552"/>
                    <a:gd name="T18" fmla="*/ 294 w 717"/>
                    <a:gd name="T19" fmla="*/ 85 h 552"/>
                    <a:gd name="T20" fmla="*/ 297 w 717"/>
                    <a:gd name="T21" fmla="*/ 115 h 552"/>
                    <a:gd name="T22" fmla="*/ 299 w 717"/>
                    <a:gd name="T23" fmla="*/ 132 h 552"/>
                    <a:gd name="T24" fmla="*/ 387 w 717"/>
                    <a:gd name="T25" fmla="*/ 105 h 552"/>
                    <a:gd name="T26" fmla="*/ 351 w 717"/>
                    <a:gd name="T27" fmla="*/ 165 h 552"/>
                    <a:gd name="T28" fmla="*/ 490 w 717"/>
                    <a:gd name="T29" fmla="*/ 156 h 552"/>
                    <a:gd name="T30" fmla="*/ 414 w 717"/>
                    <a:gd name="T31" fmla="*/ 108 h 552"/>
                    <a:gd name="T32" fmla="*/ 426 w 717"/>
                    <a:gd name="T33" fmla="*/ 59 h 552"/>
                    <a:gd name="T34" fmla="*/ 418 w 717"/>
                    <a:gd name="T35" fmla="*/ 47 h 552"/>
                    <a:gd name="T36" fmla="*/ 452 w 717"/>
                    <a:gd name="T37" fmla="*/ 86 h 552"/>
                    <a:gd name="T38" fmla="*/ 498 w 717"/>
                    <a:gd name="T39" fmla="*/ 128 h 552"/>
                    <a:gd name="T40" fmla="*/ 567 w 717"/>
                    <a:gd name="T41" fmla="*/ 62 h 552"/>
                    <a:gd name="T42" fmla="*/ 542 w 717"/>
                    <a:gd name="T43" fmla="*/ 6 h 552"/>
                    <a:gd name="T44" fmla="*/ 406 w 717"/>
                    <a:gd name="T45" fmla="*/ 32 h 552"/>
                    <a:gd name="T46" fmla="*/ 445 w 717"/>
                    <a:gd name="T47" fmla="*/ 314 h 552"/>
                    <a:gd name="T48" fmla="*/ 590 w 717"/>
                    <a:gd name="T49" fmla="*/ 242 h 552"/>
                    <a:gd name="T50" fmla="*/ 532 w 717"/>
                    <a:gd name="T51" fmla="*/ 194 h 552"/>
                    <a:gd name="T52" fmla="*/ 445 w 717"/>
                    <a:gd name="T53" fmla="*/ 178 h 552"/>
                    <a:gd name="T54" fmla="*/ 502 w 717"/>
                    <a:gd name="T55" fmla="*/ 220 h 552"/>
                    <a:gd name="T56" fmla="*/ 525 w 717"/>
                    <a:gd name="T57" fmla="*/ 292 h 552"/>
                    <a:gd name="T58" fmla="*/ 606 w 717"/>
                    <a:gd name="T59" fmla="*/ 298 h 552"/>
                    <a:gd name="T60" fmla="*/ 487 w 717"/>
                    <a:gd name="T61" fmla="*/ 171 h 552"/>
                    <a:gd name="T62" fmla="*/ 687 w 717"/>
                    <a:gd name="T63" fmla="*/ 457 h 552"/>
                    <a:gd name="T64" fmla="*/ 78 w 717"/>
                    <a:gd name="T65" fmla="*/ 448 h 552"/>
                    <a:gd name="T66" fmla="*/ 585 w 717"/>
                    <a:gd name="T67" fmla="*/ 489 h 552"/>
                    <a:gd name="T68" fmla="*/ 687 w 717"/>
                    <a:gd name="T69" fmla="*/ 434 h 552"/>
                    <a:gd name="T70" fmla="*/ 638 w 717"/>
                    <a:gd name="T71" fmla="*/ 399 h 552"/>
                    <a:gd name="T72" fmla="*/ 602 w 717"/>
                    <a:gd name="T73" fmla="*/ 376 h 552"/>
                    <a:gd name="T74" fmla="*/ 544 w 717"/>
                    <a:gd name="T75" fmla="*/ 330 h 552"/>
                    <a:gd name="T76" fmla="*/ 519 w 717"/>
                    <a:gd name="T77" fmla="*/ 387 h 552"/>
                    <a:gd name="T78" fmla="*/ 475 w 717"/>
                    <a:gd name="T79" fmla="*/ 440 h 552"/>
                    <a:gd name="T80" fmla="*/ 384 w 717"/>
                    <a:gd name="T81" fmla="*/ 375 h 552"/>
                    <a:gd name="T82" fmla="*/ 413 w 717"/>
                    <a:gd name="T83" fmla="*/ 307 h 552"/>
                    <a:gd name="T84" fmla="*/ 463 w 717"/>
                    <a:gd name="T85" fmla="*/ 276 h 552"/>
                    <a:gd name="T86" fmla="*/ 454 w 717"/>
                    <a:gd name="T87" fmla="*/ 242 h 552"/>
                    <a:gd name="T88" fmla="*/ 413 w 717"/>
                    <a:gd name="T89" fmla="*/ 245 h 552"/>
                    <a:gd name="T90" fmla="*/ 383 w 717"/>
                    <a:gd name="T91" fmla="*/ 193 h 552"/>
                    <a:gd name="T92" fmla="*/ 369 w 717"/>
                    <a:gd name="T93" fmla="*/ 208 h 552"/>
                    <a:gd name="T94" fmla="*/ 362 w 717"/>
                    <a:gd name="T95" fmla="*/ 259 h 552"/>
                    <a:gd name="T96" fmla="*/ 351 w 717"/>
                    <a:gd name="T97" fmla="*/ 248 h 552"/>
                    <a:gd name="T98" fmla="*/ 285 w 717"/>
                    <a:gd name="T99" fmla="*/ 248 h 552"/>
                    <a:gd name="T100" fmla="*/ 191 w 717"/>
                    <a:gd name="T101" fmla="*/ 242 h 552"/>
                    <a:gd name="T102" fmla="*/ 69 w 717"/>
                    <a:gd name="T103" fmla="*/ 243 h 552"/>
                    <a:gd name="T104" fmla="*/ 33 w 717"/>
                    <a:gd name="T105" fmla="*/ 243 h 552"/>
                    <a:gd name="T106" fmla="*/ 90 w 717"/>
                    <a:gd name="T107" fmla="*/ 419 h 552"/>
                    <a:gd name="T108" fmla="*/ 129 w 717"/>
                    <a:gd name="T109" fmla="*/ 469 h 552"/>
                    <a:gd name="T110" fmla="*/ 444 w 717"/>
                    <a:gd name="T111" fmla="*/ 491 h 552"/>
                    <a:gd name="T112" fmla="*/ 500 w 717"/>
                    <a:gd name="T113" fmla="*/ 546 h 552"/>
                    <a:gd name="T114" fmla="*/ 617 w 717"/>
                    <a:gd name="T115" fmla="*/ 515 h 552"/>
                    <a:gd name="T116" fmla="*/ 173 w 717"/>
                    <a:gd name="T117" fmla="*/ 290 h 552"/>
                    <a:gd name="T118" fmla="*/ 172 w 717"/>
                    <a:gd name="T119" fmla="*/ 279 h 552"/>
                    <a:gd name="T120" fmla="*/ 359 w 717"/>
                    <a:gd name="T121" fmla="*/ 468 h 5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717" h="552">
                      <a:moveTo>
                        <a:pt x="141" y="484"/>
                      </a:moveTo>
                      <a:cubicBezTo>
                        <a:pt x="139" y="481"/>
                        <a:pt x="133" y="482"/>
                        <a:pt x="132" y="479"/>
                      </a:cubicBezTo>
                      <a:cubicBezTo>
                        <a:pt x="131" y="477"/>
                        <a:pt x="126" y="469"/>
                        <a:pt x="123" y="469"/>
                      </a:cubicBezTo>
                      <a:cubicBezTo>
                        <a:pt x="120" y="469"/>
                        <a:pt x="116" y="469"/>
                        <a:pt x="112" y="467"/>
                      </a:cubicBezTo>
                      <a:cubicBezTo>
                        <a:pt x="109" y="464"/>
                        <a:pt x="106" y="464"/>
                        <a:pt x="104" y="465"/>
                      </a:cubicBezTo>
                      <a:cubicBezTo>
                        <a:pt x="101" y="467"/>
                        <a:pt x="106" y="467"/>
                        <a:pt x="106" y="469"/>
                      </a:cubicBezTo>
                      <a:cubicBezTo>
                        <a:pt x="106" y="471"/>
                        <a:pt x="108" y="472"/>
                        <a:pt x="110" y="472"/>
                      </a:cubicBezTo>
                      <a:cubicBezTo>
                        <a:pt x="112" y="471"/>
                        <a:pt x="113" y="476"/>
                        <a:pt x="115" y="476"/>
                      </a:cubicBezTo>
                      <a:cubicBezTo>
                        <a:pt x="118" y="476"/>
                        <a:pt x="118" y="479"/>
                        <a:pt x="121" y="479"/>
                      </a:cubicBezTo>
                      <a:cubicBezTo>
                        <a:pt x="123" y="479"/>
                        <a:pt x="124" y="482"/>
                        <a:pt x="125" y="484"/>
                      </a:cubicBezTo>
                      <a:cubicBezTo>
                        <a:pt x="126" y="486"/>
                        <a:pt x="129" y="484"/>
                        <a:pt x="129" y="486"/>
                      </a:cubicBezTo>
                      <a:cubicBezTo>
                        <a:pt x="129" y="487"/>
                        <a:pt x="132" y="488"/>
                        <a:pt x="133" y="490"/>
                      </a:cubicBezTo>
                      <a:cubicBezTo>
                        <a:pt x="138" y="491"/>
                        <a:pt x="142" y="491"/>
                        <a:pt x="145" y="490"/>
                      </a:cubicBezTo>
                      <a:cubicBezTo>
                        <a:pt x="146" y="489"/>
                        <a:pt x="146" y="488"/>
                        <a:pt x="146" y="487"/>
                      </a:cubicBezTo>
                      <a:cubicBezTo>
                        <a:pt x="148" y="485"/>
                        <a:pt x="144" y="486"/>
                        <a:pt x="141" y="484"/>
                      </a:cubicBezTo>
                      <a:close/>
                      <a:moveTo>
                        <a:pt x="135" y="200"/>
                      </a:moveTo>
                      <a:cubicBezTo>
                        <a:pt x="142" y="202"/>
                        <a:pt x="142" y="213"/>
                        <a:pt x="147" y="213"/>
                      </a:cubicBezTo>
                      <a:cubicBezTo>
                        <a:pt x="150" y="213"/>
                        <a:pt x="147" y="210"/>
                        <a:pt x="152" y="210"/>
                      </a:cubicBezTo>
                      <a:cubicBezTo>
                        <a:pt x="157" y="210"/>
                        <a:pt x="156" y="207"/>
                        <a:pt x="160" y="208"/>
                      </a:cubicBezTo>
                      <a:cubicBezTo>
                        <a:pt x="164" y="208"/>
                        <a:pt x="168" y="206"/>
                        <a:pt x="168" y="201"/>
                      </a:cubicBezTo>
                      <a:cubicBezTo>
                        <a:pt x="168" y="196"/>
                        <a:pt x="171" y="195"/>
                        <a:pt x="175" y="194"/>
                      </a:cubicBezTo>
                      <a:cubicBezTo>
                        <a:pt x="179" y="193"/>
                        <a:pt x="176" y="187"/>
                        <a:pt x="182" y="186"/>
                      </a:cubicBezTo>
                      <a:cubicBezTo>
                        <a:pt x="188" y="184"/>
                        <a:pt x="204" y="177"/>
                        <a:pt x="207" y="175"/>
                      </a:cubicBezTo>
                      <a:cubicBezTo>
                        <a:pt x="210" y="173"/>
                        <a:pt x="204" y="170"/>
                        <a:pt x="197" y="166"/>
                      </a:cubicBezTo>
                      <a:cubicBezTo>
                        <a:pt x="191" y="162"/>
                        <a:pt x="186" y="161"/>
                        <a:pt x="181" y="164"/>
                      </a:cubicBezTo>
                      <a:cubicBezTo>
                        <a:pt x="176" y="168"/>
                        <a:pt x="180" y="161"/>
                        <a:pt x="176" y="163"/>
                      </a:cubicBezTo>
                      <a:cubicBezTo>
                        <a:pt x="172" y="164"/>
                        <a:pt x="161" y="160"/>
                        <a:pt x="160" y="158"/>
                      </a:cubicBezTo>
                      <a:cubicBezTo>
                        <a:pt x="158" y="156"/>
                        <a:pt x="139" y="162"/>
                        <a:pt x="135" y="162"/>
                      </a:cubicBezTo>
                      <a:cubicBezTo>
                        <a:pt x="130" y="162"/>
                        <a:pt x="135" y="167"/>
                        <a:pt x="138" y="169"/>
                      </a:cubicBezTo>
                      <a:cubicBezTo>
                        <a:pt x="141" y="172"/>
                        <a:pt x="130" y="180"/>
                        <a:pt x="132" y="181"/>
                      </a:cubicBezTo>
                      <a:cubicBezTo>
                        <a:pt x="135" y="183"/>
                        <a:pt x="130" y="188"/>
                        <a:pt x="125" y="194"/>
                      </a:cubicBezTo>
                      <a:cubicBezTo>
                        <a:pt x="120" y="199"/>
                        <a:pt x="129" y="199"/>
                        <a:pt x="135" y="200"/>
                      </a:cubicBezTo>
                      <a:close/>
                      <a:moveTo>
                        <a:pt x="314" y="230"/>
                      </a:moveTo>
                      <a:cubicBezTo>
                        <a:pt x="316" y="227"/>
                        <a:pt x="325" y="235"/>
                        <a:pt x="325" y="229"/>
                      </a:cubicBezTo>
                      <a:cubicBezTo>
                        <a:pt x="325" y="224"/>
                        <a:pt x="315" y="221"/>
                        <a:pt x="311" y="219"/>
                      </a:cubicBezTo>
                      <a:cubicBezTo>
                        <a:pt x="306" y="216"/>
                        <a:pt x="305" y="217"/>
                        <a:pt x="298" y="212"/>
                      </a:cubicBezTo>
                      <a:cubicBezTo>
                        <a:pt x="291" y="207"/>
                        <a:pt x="300" y="205"/>
                        <a:pt x="295" y="201"/>
                      </a:cubicBezTo>
                      <a:cubicBezTo>
                        <a:pt x="290" y="197"/>
                        <a:pt x="288" y="186"/>
                        <a:pt x="291" y="183"/>
                      </a:cubicBezTo>
                      <a:cubicBezTo>
                        <a:pt x="295" y="179"/>
                        <a:pt x="299" y="174"/>
                        <a:pt x="293" y="171"/>
                      </a:cubicBezTo>
                      <a:cubicBezTo>
                        <a:pt x="286" y="169"/>
                        <a:pt x="276" y="173"/>
                        <a:pt x="277" y="175"/>
                      </a:cubicBezTo>
                      <a:cubicBezTo>
                        <a:pt x="278" y="176"/>
                        <a:pt x="287" y="181"/>
                        <a:pt x="287" y="183"/>
                      </a:cubicBezTo>
                      <a:cubicBezTo>
                        <a:pt x="287" y="185"/>
                        <a:pt x="279" y="177"/>
                        <a:pt x="276" y="179"/>
                      </a:cubicBezTo>
                      <a:cubicBezTo>
                        <a:pt x="273" y="181"/>
                        <a:pt x="270" y="175"/>
                        <a:pt x="267" y="179"/>
                      </a:cubicBezTo>
                      <a:cubicBezTo>
                        <a:pt x="265" y="183"/>
                        <a:pt x="270" y="195"/>
                        <a:pt x="273" y="199"/>
                      </a:cubicBezTo>
                      <a:cubicBezTo>
                        <a:pt x="275" y="202"/>
                        <a:pt x="270" y="202"/>
                        <a:pt x="268" y="203"/>
                      </a:cubicBezTo>
                      <a:cubicBezTo>
                        <a:pt x="265" y="204"/>
                        <a:pt x="264" y="193"/>
                        <a:pt x="262" y="189"/>
                      </a:cubicBezTo>
                      <a:cubicBezTo>
                        <a:pt x="259" y="185"/>
                        <a:pt x="247" y="180"/>
                        <a:pt x="247" y="183"/>
                      </a:cubicBezTo>
                      <a:cubicBezTo>
                        <a:pt x="246" y="186"/>
                        <a:pt x="254" y="186"/>
                        <a:pt x="253" y="190"/>
                      </a:cubicBezTo>
                      <a:cubicBezTo>
                        <a:pt x="252" y="194"/>
                        <a:pt x="247" y="188"/>
                        <a:pt x="243" y="191"/>
                      </a:cubicBezTo>
                      <a:cubicBezTo>
                        <a:pt x="239" y="194"/>
                        <a:pt x="240" y="192"/>
                        <a:pt x="241" y="189"/>
                      </a:cubicBezTo>
                      <a:cubicBezTo>
                        <a:pt x="242" y="185"/>
                        <a:pt x="235" y="182"/>
                        <a:pt x="228" y="183"/>
                      </a:cubicBezTo>
                      <a:cubicBezTo>
                        <a:pt x="221" y="183"/>
                        <a:pt x="225" y="188"/>
                        <a:pt x="223" y="190"/>
                      </a:cubicBezTo>
                      <a:cubicBezTo>
                        <a:pt x="221" y="192"/>
                        <a:pt x="210" y="189"/>
                        <a:pt x="217" y="188"/>
                      </a:cubicBezTo>
                      <a:cubicBezTo>
                        <a:pt x="223" y="186"/>
                        <a:pt x="221" y="182"/>
                        <a:pt x="218" y="178"/>
                      </a:cubicBezTo>
                      <a:cubicBezTo>
                        <a:pt x="216" y="174"/>
                        <a:pt x="209" y="179"/>
                        <a:pt x="198" y="183"/>
                      </a:cubicBezTo>
                      <a:cubicBezTo>
                        <a:pt x="187" y="187"/>
                        <a:pt x="182" y="191"/>
                        <a:pt x="183" y="191"/>
                      </a:cubicBezTo>
                      <a:cubicBezTo>
                        <a:pt x="184" y="192"/>
                        <a:pt x="185" y="194"/>
                        <a:pt x="181" y="197"/>
                      </a:cubicBezTo>
                      <a:cubicBezTo>
                        <a:pt x="176" y="201"/>
                        <a:pt x="181" y="204"/>
                        <a:pt x="184" y="204"/>
                      </a:cubicBezTo>
                      <a:cubicBezTo>
                        <a:pt x="188" y="204"/>
                        <a:pt x="185" y="207"/>
                        <a:pt x="188" y="208"/>
                      </a:cubicBezTo>
                      <a:cubicBezTo>
                        <a:pt x="190" y="209"/>
                        <a:pt x="203" y="203"/>
                        <a:pt x="207" y="205"/>
                      </a:cubicBezTo>
                      <a:cubicBezTo>
                        <a:pt x="210" y="208"/>
                        <a:pt x="186" y="209"/>
                        <a:pt x="186" y="214"/>
                      </a:cubicBezTo>
                      <a:cubicBezTo>
                        <a:pt x="186" y="218"/>
                        <a:pt x="199" y="220"/>
                        <a:pt x="209" y="219"/>
                      </a:cubicBezTo>
                      <a:cubicBezTo>
                        <a:pt x="219" y="217"/>
                        <a:pt x="237" y="220"/>
                        <a:pt x="237" y="222"/>
                      </a:cubicBezTo>
                      <a:cubicBezTo>
                        <a:pt x="237" y="225"/>
                        <a:pt x="225" y="224"/>
                        <a:pt x="216" y="224"/>
                      </a:cubicBezTo>
                      <a:cubicBezTo>
                        <a:pt x="207" y="224"/>
                        <a:pt x="192" y="226"/>
                        <a:pt x="192" y="229"/>
                      </a:cubicBezTo>
                      <a:cubicBezTo>
                        <a:pt x="193" y="232"/>
                        <a:pt x="194" y="232"/>
                        <a:pt x="203" y="237"/>
                      </a:cubicBezTo>
                      <a:cubicBezTo>
                        <a:pt x="213" y="241"/>
                        <a:pt x="222" y="235"/>
                        <a:pt x="222" y="241"/>
                      </a:cubicBezTo>
                      <a:cubicBezTo>
                        <a:pt x="222" y="247"/>
                        <a:pt x="227" y="248"/>
                        <a:pt x="239" y="249"/>
                      </a:cubicBezTo>
                      <a:cubicBezTo>
                        <a:pt x="252" y="249"/>
                        <a:pt x="258" y="243"/>
                        <a:pt x="264" y="243"/>
                      </a:cubicBezTo>
                      <a:cubicBezTo>
                        <a:pt x="270" y="244"/>
                        <a:pt x="273" y="242"/>
                        <a:pt x="275" y="238"/>
                      </a:cubicBezTo>
                      <a:cubicBezTo>
                        <a:pt x="278" y="234"/>
                        <a:pt x="281" y="236"/>
                        <a:pt x="281" y="239"/>
                      </a:cubicBezTo>
                      <a:cubicBezTo>
                        <a:pt x="282" y="241"/>
                        <a:pt x="290" y="240"/>
                        <a:pt x="292" y="242"/>
                      </a:cubicBezTo>
                      <a:cubicBezTo>
                        <a:pt x="296" y="247"/>
                        <a:pt x="311" y="245"/>
                        <a:pt x="317" y="242"/>
                      </a:cubicBezTo>
                      <a:cubicBezTo>
                        <a:pt x="323" y="240"/>
                        <a:pt x="315" y="232"/>
                        <a:pt x="312" y="235"/>
                      </a:cubicBezTo>
                      <a:cubicBezTo>
                        <a:pt x="309" y="239"/>
                        <a:pt x="306" y="237"/>
                        <a:pt x="306" y="235"/>
                      </a:cubicBezTo>
                      <a:cubicBezTo>
                        <a:pt x="305" y="233"/>
                        <a:pt x="311" y="232"/>
                        <a:pt x="314" y="230"/>
                      </a:cubicBezTo>
                      <a:close/>
                      <a:moveTo>
                        <a:pt x="178" y="142"/>
                      </a:moveTo>
                      <a:cubicBezTo>
                        <a:pt x="184" y="143"/>
                        <a:pt x="191" y="137"/>
                        <a:pt x="191" y="134"/>
                      </a:cubicBezTo>
                      <a:cubicBezTo>
                        <a:pt x="190" y="130"/>
                        <a:pt x="175" y="142"/>
                        <a:pt x="178" y="142"/>
                      </a:cubicBezTo>
                      <a:close/>
                      <a:moveTo>
                        <a:pt x="148" y="132"/>
                      </a:moveTo>
                      <a:cubicBezTo>
                        <a:pt x="151" y="133"/>
                        <a:pt x="148" y="138"/>
                        <a:pt x="151" y="137"/>
                      </a:cubicBezTo>
                      <a:cubicBezTo>
                        <a:pt x="154" y="135"/>
                        <a:pt x="155" y="135"/>
                        <a:pt x="157" y="135"/>
                      </a:cubicBezTo>
                      <a:cubicBezTo>
                        <a:pt x="161" y="137"/>
                        <a:pt x="162" y="133"/>
                        <a:pt x="163" y="132"/>
                      </a:cubicBezTo>
                      <a:cubicBezTo>
                        <a:pt x="165" y="130"/>
                        <a:pt x="165" y="138"/>
                        <a:pt x="169" y="138"/>
                      </a:cubicBezTo>
                      <a:cubicBezTo>
                        <a:pt x="173" y="138"/>
                        <a:pt x="172" y="129"/>
                        <a:pt x="176" y="132"/>
                      </a:cubicBezTo>
                      <a:cubicBezTo>
                        <a:pt x="179" y="134"/>
                        <a:pt x="181" y="131"/>
                        <a:pt x="181" y="128"/>
                      </a:cubicBezTo>
                      <a:cubicBezTo>
                        <a:pt x="182" y="126"/>
                        <a:pt x="182" y="122"/>
                        <a:pt x="186" y="121"/>
                      </a:cubicBezTo>
                      <a:cubicBezTo>
                        <a:pt x="190" y="120"/>
                        <a:pt x="187" y="125"/>
                        <a:pt x="188" y="128"/>
                      </a:cubicBezTo>
                      <a:cubicBezTo>
                        <a:pt x="191" y="133"/>
                        <a:pt x="196" y="128"/>
                        <a:pt x="196" y="126"/>
                      </a:cubicBezTo>
                      <a:cubicBezTo>
                        <a:pt x="196" y="124"/>
                        <a:pt x="203" y="125"/>
                        <a:pt x="202" y="123"/>
                      </a:cubicBezTo>
                      <a:cubicBezTo>
                        <a:pt x="202" y="120"/>
                        <a:pt x="204" y="120"/>
                        <a:pt x="202" y="117"/>
                      </a:cubicBezTo>
                      <a:cubicBezTo>
                        <a:pt x="201" y="114"/>
                        <a:pt x="205" y="115"/>
                        <a:pt x="207" y="113"/>
                      </a:cubicBezTo>
                      <a:cubicBezTo>
                        <a:pt x="209" y="110"/>
                        <a:pt x="204" y="112"/>
                        <a:pt x="201" y="109"/>
                      </a:cubicBezTo>
                      <a:cubicBezTo>
                        <a:pt x="197" y="106"/>
                        <a:pt x="196" y="110"/>
                        <a:pt x="196" y="112"/>
                      </a:cubicBezTo>
                      <a:cubicBezTo>
                        <a:pt x="196" y="114"/>
                        <a:pt x="189" y="113"/>
                        <a:pt x="185" y="111"/>
                      </a:cubicBezTo>
                      <a:cubicBezTo>
                        <a:pt x="181" y="110"/>
                        <a:pt x="176" y="116"/>
                        <a:pt x="171" y="119"/>
                      </a:cubicBezTo>
                      <a:cubicBezTo>
                        <a:pt x="165" y="122"/>
                        <a:pt x="165" y="127"/>
                        <a:pt x="159" y="126"/>
                      </a:cubicBezTo>
                      <a:cubicBezTo>
                        <a:pt x="154" y="126"/>
                        <a:pt x="146" y="131"/>
                        <a:pt x="148" y="132"/>
                      </a:cubicBezTo>
                      <a:close/>
                      <a:moveTo>
                        <a:pt x="204" y="130"/>
                      </a:moveTo>
                      <a:cubicBezTo>
                        <a:pt x="199" y="130"/>
                        <a:pt x="199" y="135"/>
                        <a:pt x="205" y="135"/>
                      </a:cubicBezTo>
                      <a:cubicBezTo>
                        <a:pt x="211" y="135"/>
                        <a:pt x="213" y="137"/>
                        <a:pt x="204" y="137"/>
                      </a:cubicBezTo>
                      <a:cubicBezTo>
                        <a:pt x="196" y="137"/>
                        <a:pt x="193" y="144"/>
                        <a:pt x="198" y="142"/>
                      </a:cubicBezTo>
                      <a:cubicBezTo>
                        <a:pt x="204" y="141"/>
                        <a:pt x="211" y="141"/>
                        <a:pt x="207" y="142"/>
                      </a:cubicBezTo>
                      <a:cubicBezTo>
                        <a:pt x="202" y="144"/>
                        <a:pt x="191" y="145"/>
                        <a:pt x="192" y="147"/>
                      </a:cubicBezTo>
                      <a:cubicBezTo>
                        <a:pt x="193" y="148"/>
                        <a:pt x="198" y="148"/>
                        <a:pt x="203" y="150"/>
                      </a:cubicBezTo>
                      <a:cubicBezTo>
                        <a:pt x="207" y="152"/>
                        <a:pt x="210" y="153"/>
                        <a:pt x="214" y="149"/>
                      </a:cubicBezTo>
                      <a:cubicBezTo>
                        <a:pt x="217" y="145"/>
                        <a:pt x="222" y="141"/>
                        <a:pt x="220" y="146"/>
                      </a:cubicBezTo>
                      <a:cubicBezTo>
                        <a:pt x="218" y="152"/>
                        <a:pt x="226" y="148"/>
                        <a:pt x="235" y="147"/>
                      </a:cubicBezTo>
                      <a:cubicBezTo>
                        <a:pt x="245" y="147"/>
                        <a:pt x="234" y="153"/>
                        <a:pt x="224" y="154"/>
                      </a:cubicBezTo>
                      <a:cubicBezTo>
                        <a:pt x="214" y="154"/>
                        <a:pt x="216" y="159"/>
                        <a:pt x="223" y="161"/>
                      </a:cubicBezTo>
                      <a:cubicBezTo>
                        <a:pt x="231" y="163"/>
                        <a:pt x="248" y="156"/>
                        <a:pt x="252" y="152"/>
                      </a:cubicBezTo>
                      <a:cubicBezTo>
                        <a:pt x="256" y="148"/>
                        <a:pt x="259" y="154"/>
                        <a:pt x="263" y="152"/>
                      </a:cubicBezTo>
                      <a:cubicBezTo>
                        <a:pt x="267" y="149"/>
                        <a:pt x="275" y="152"/>
                        <a:pt x="281" y="150"/>
                      </a:cubicBezTo>
                      <a:cubicBezTo>
                        <a:pt x="288" y="149"/>
                        <a:pt x="289" y="136"/>
                        <a:pt x="284" y="134"/>
                      </a:cubicBezTo>
                      <a:cubicBezTo>
                        <a:pt x="279" y="132"/>
                        <a:pt x="279" y="137"/>
                        <a:pt x="275" y="137"/>
                      </a:cubicBezTo>
                      <a:cubicBezTo>
                        <a:pt x="272" y="138"/>
                        <a:pt x="269" y="133"/>
                        <a:pt x="266" y="130"/>
                      </a:cubicBezTo>
                      <a:cubicBezTo>
                        <a:pt x="263" y="127"/>
                        <a:pt x="265" y="120"/>
                        <a:pt x="260" y="121"/>
                      </a:cubicBezTo>
                      <a:cubicBezTo>
                        <a:pt x="256" y="122"/>
                        <a:pt x="246" y="129"/>
                        <a:pt x="252" y="130"/>
                      </a:cubicBezTo>
                      <a:cubicBezTo>
                        <a:pt x="258" y="131"/>
                        <a:pt x="256" y="134"/>
                        <a:pt x="253" y="135"/>
                      </a:cubicBezTo>
                      <a:cubicBezTo>
                        <a:pt x="249" y="137"/>
                        <a:pt x="260" y="139"/>
                        <a:pt x="259" y="142"/>
                      </a:cubicBezTo>
                      <a:cubicBezTo>
                        <a:pt x="257" y="144"/>
                        <a:pt x="241" y="142"/>
                        <a:pt x="240" y="138"/>
                      </a:cubicBezTo>
                      <a:cubicBezTo>
                        <a:pt x="239" y="135"/>
                        <a:pt x="227" y="128"/>
                        <a:pt x="221" y="130"/>
                      </a:cubicBezTo>
                      <a:cubicBezTo>
                        <a:pt x="216" y="131"/>
                        <a:pt x="218" y="125"/>
                        <a:pt x="213" y="125"/>
                      </a:cubicBezTo>
                      <a:cubicBezTo>
                        <a:pt x="207" y="125"/>
                        <a:pt x="209" y="130"/>
                        <a:pt x="204" y="130"/>
                      </a:cubicBezTo>
                      <a:close/>
                      <a:moveTo>
                        <a:pt x="223" y="104"/>
                      </a:moveTo>
                      <a:cubicBezTo>
                        <a:pt x="224" y="100"/>
                        <a:pt x="211" y="101"/>
                        <a:pt x="212" y="102"/>
                      </a:cubicBezTo>
                      <a:cubicBezTo>
                        <a:pt x="214" y="105"/>
                        <a:pt x="221" y="109"/>
                        <a:pt x="223" y="104"/>
                      </a:cubicBezTo>
                      <a:close/>
                      <a:moveTo>
                        <a:pt x="252" y="103"/>
                      </a:moveTo>
                      <a:cubicBezTo>
                        <a:pt x="257" y="102"/>
                        <a:pt x="255" y="98"/>
                        <a:pt x="247" y="99"/>
                      </a:cubicBezTo>
                      <a:cubicBezTo>
                        <a:pt x="240" y="100"/>
                        <a:pt x="227" y="100"/>
                        <a:pt x="227" y="106"/>
                      </a:cubicBezTo>
                      <a:cubicBezTo>
                        <a:pt x="227" y="110"/>
                        <a:pt x="229" y="112"/>
                        <a:pt x="238" y="113"/>
                      </a:cubicBezTo>
                      <a:cubicBezTo>
                        <a:pt x="246" y="114"/>
                        <a:pt x="253" y="106"/>
                        <a:pt x="249" y="106"/>
                      </a:cubicBezTo>
                      <a:cubicBezTo>
                        <a:pt x="245" y="106"/>
                        <a:pt x="248" y="103"/>
                        <a:pt x="252" y="103"/>
                      </a:cubicBezTo>
                      <a:close/>
                      <a:moveTo>
                        <a:pt x="235" y="96"/>
                      </a:moveTo>
                      <a:cubicBezTo>
                        <a:pt x="238" y="97"/>
                        <a:pt x="242" y="93"/>
                        <a:pt x="244" y="95"/>
                      </a:cubicBezTo>
                      <a:cubicBezTo>
                        <a:pt x="247" y="97"/>
                        <a:pt x="258" y="99"/>
                        <a:pt x="258" y="93"/>
                      </a:cubicBezTo>
                      <a:cubicBezTo>
                        <a:pt x="258" y="87"/>
                        <a:pt x="244" y="87"/>
                        <a:pt x="240" y="89"/>
                      </a:cubicBezTo>
                      <a:cubicBezTo>
                        <a:pt x="237" y="91"/>
                        <a:pt x="221" y="92"/>
                        <a:pt x="225" y="95"/>
                      </a:cubicBezTo>
                      <a:cubicBezTo>
                        <a:pt x="228" y="97"/>
                        <a:pt x="231" y="94"/>
                        <a:pt x="235" y="96"/>
                      </a:cubicBezTo>
                      <a:close/>
                      <a:moveTo>
                        <a:pt x="294" y="85"/>
                      </a:moveTo>
                      <a:cubicBezTo>
                        <a:pt x="299" y="82"/>
                        <a:pt x="306" y="87"/>
                        <a:pt x="305" y="90"/>
                      </a:cubicBezTo>
                      <a:cubicBezTo>
                        <a:pt x="304" y="93"/>
                        <a:pt x="291" y="89"/>
                        <a:pt x="292" y="92"/>
                      </a:cubicBezTo>
                      <a:cubicBezTo>
                        <a:pt x="293" y="93"/>
                        <a:pt x="294" y="97"/>
                        <a:pt x="303" y="95"/>
                      </a:cubicBezTo>
                      <a:cubicBezTo>
                        <a:pt x="311" y="92"/>
                        <a:pt x="318" y="94"/>
                        <a:pt x="324" y="99"/>
                      </a:cubicBezTo>
                      <a:cubicBezTo>
                        <a:pt x="330" y="103"/>
                        <a:pt x="335" y="105"/>
                        <a:pt x="339" y="100"/>
                      </a:cubicBezTo>
                      <a:cubicBezTo>
                        <a:pt x="343" y="96"/>
                        <a:pt x="334" y="95"/>
                        <a:pt x="336" y="92"/>
                      </a:cubicBezTo>
                      <a:cubicBezTo>
                        <a:pt x="337" y="88"/>
                        <a:pt x="330" y="86"/>
                        <a:pt x="326" y="86"/>
                      </a:cubicBezTo>
                      <a:cubicBezTo>
                        <a:pt x="322" y="86"/>
                        <a:pt x="321" y="79"/>
                        <a:pt x="318" y="80"/>
                      </a:cubicBezTo>
                      <a:cubicBezTo>
                        <a:pt x="314" y="82"/>
                        <a:pt x="312" y="84"/>
                        <a:pt x="312" y="79"/>
                      </a:cubicBezTo>
                      <a:cubicBezTo>
                        <a:pt x="312" y="75"/>
                        <a:pt x="294" y="74"/>
                        <a:pt x="289" y="76"/>
                      </a:cubicBezTo>
                      <a:cubicBezTo>
                        <a:pt x="284" y="78"/>
                        <a:pt x="290" y="88"/>
                        <a:pt x="294" y="85"/>
                      </a:cubicBezTo>
                      <a:close/>
                      <a:moveTo>
                        <a:pt x="297" y="115"/>
                      </a:moveTo>
                      <a:cubicBezTo>
                        <a:pt x="300" y="111"/>
                        <a:pt x="285" y="100"/>
                        <a:pt x="285" y="105"/>
                      </a:cubicBezTo>
                      <a:cubicBezTo>
                        <a:pt x="284" y="110"/>
                        <a:pt x="294" y="119"/>
                        <a:pt x="297" y="115"/>
                      </a:cubicBezTo>
                      <a:close/>
                      <a:moveTo>
                        <a:pt x="343" y="68"/>
                      </a:moveTo>
                      <a:cubicBezTo>
                        <a:pt x="346" y="64"/>
                        <a:pt x="328" y="60"/>
                        <a:pt x="333" y="64"/>
                      </a:cubicBezTo>
                      <a:cubicBezTo>
                        <a:pt x="335" y="66"/>
                        <a:pt x="341" y="72"/>
                        <a:pt x="343" y="68"/>
                      </a:cubicBezTo>
                      <a:close/>
                      <a:moveTo>
                        <a:pt x="303" y="149"/>
                      </a:moveTo>
                      <a:cubicBezTo>
                        <a:pt x="305" y="146"/>
                        <a:pt x="298" y="140"/>
                        <a:pt x="295" y="145"/>
                      </a:cubicBezTo>
                      <a:cubicBezTo>
                        <a:pt x="293" y="150"/>
                        <a:pt x="300" y="152"/>
                        <a:pt x="303" y="149"/>
                      </a:cubicBezTo>
                      <a:close/>
                      <a:moveTo>
                        <a:pt x="343" y="124"/>
                      </a:moveTo>
                      <a:cubicBezTo>
                        <a:pt x="343" y="128"/>
                        <a:pt x="335" y="123"/>
                        <a:pt x="328" y="121"/>
                      </a:cubicBezTo>
                      <a:cubicBezTo>
                        <a:pt x="322" y="118"/>
                        <a:pt x="326" y="126"/>
                        <a:pt x="331" y="130"/>
                      </a:cubicBezTo>
                      <a:cubicBezTo>
                        <a:pt x="336" y="134"/>
                        <a:pt x="328" y="132"/>
                        <a:pt x="321" y="128"/>
                      </a:cubicBezTo>
                      <a:cubicBezTo>
                        <a:pt x="315" y="123"/>
                        <a:pt x="315" y="131"/>
                        <a:pt x="319" y="133"/>
                      </a:cubicBezTo>
                      <a:cubicBezTo>
                        <a:pt x="322" y="136"/>
                        <a:pt x="318" y="139"/>
                        <a:pt x="314" y="134"/>
                      </a:cubicBezTo>
                      <a:cubicBezTo>
                        <a:pt x="309" y="128"/>
                        <a:pt x="307" y="122"/>
                        <a:pt x="300" y="122"/>
                      </a:cubicBezTo>
                      <a:cubicBezTo>
                        <a:pt x="294" y="121"/>
                        <a:pt x="297" y="128"/>
                        <a:pt x="299" y="132"/>
                      </a:cubicBezTo>
                      <a:cubicBezTo>
                        <a:pt x="303" y="136"/>
                        <a:pt x="306" y="137"/>
                        <a:pt x="312" y="140"/>
                      </a:cubicBezTo>
                      <a:cubicBezTo>
                        <a:pt x="318" y="144"/>
                        <a:pt x="327" y="139"/>
                        <a:pt x="331" y="140"/>
                      </a:cubicBezTo>
                      <a:cubicBezTo>
                        <a:pt x="336" y="141"/>
                        <a:pt x="327" y="147"/>
                        <a:pt x="330" y="150"/>
                      </a:cubicBezTo>
                      <a:cubicBezTo>
                        <a:pt x="333" y="154"/>
                        <a:pt x="340" y="151"/>
                        <a:pt x="346" y="151"/>
                      </a:cubicBezTo>
                      <a:cubicBezTo>
                        <a:pt x="352" y="150"/>
                        <a:pt x="350" y="147"/>
                        <a:pt x="353" y="144"/>
                      </a:cubicBezTo>
                      <a:cubicBezTo>
                        <a:pt x="357" y="142"/>
                        <a:pt x="350" y="142"/>
                        <a:pt x="352" y="136"/>
                      </a:cubicBezTo>
                      <a:cubicBezTo>
                        <a:pt x="355" y="130"/>
                        <a:pt x="344" y="120"/>
                        <a:pt x="343" y="124"/>
                      </a:cubicBezTo>
                      <a:close/>
                      <a:moveTo>
                        <a:pt x="358" y="103"/>
                      </a:moveTo>
                      <a:cubicBezTo>
                        <a:pt x="364" y="103"/>
                        <a:pt x="368" y="102"/>
                        <a:pt x="372" y="100"/>
                      </a:cubicBezTo>
                      <a:cubicBezTo>
                        <a:pt x="377" y="99"/>
                        <a:pt x="370" y="99"/>
                        <a:pt x="373" y="94"/>
                      </a:cubicBezTo>
                      <a:cubicBezTo>
                        <a:pt x="376" y="90"/>
                        <a:pt x="365" y="90"/>
                        <a:pt x="365" y="91"/>
                      </a:cubicBezTo>
                      <a:cubicBezTo>
                        <a:pt x="364" y="93"/>
                        <a:pt x="350" y="83"/>
                        <a:pt x="348" y="86"/>
                      </a:cubicBezTo>
                      <a:cubicBezTo>
                        <a:pt x="346" y="89"/>
                        <a:pt x="353" y="103"/>
                        <a:pt x="358" y="103"/>
                      </a:cubicBezTo>
                      <a:close/>
                      <a:moveTo>
                        <a:pt x="387" y="105"/>
                      </a:moveTo>
                      <a:cubicBezTo>
                        <a:pt x="386" y="103"/>
                        <a:pt x="359" y="106"/>
                        <a:pt x="364" y="109"/>
                      </a:cubicBezTo>
                      <a:cubicBezTo>
                        <a:pt x="371" y="114"/>
                        <a:pt x="388" y="107"/>
                        <a:pt x="387" y="105"/>
                      </a:cubicBezTo>
                      <a:close/>
                      <a:moveTo>
                        <a:pt x="383" y="157"/>
                      </a:moveTo>
                      <a:cubicBezTo>
                        <a:pt x="390" y="156"/>
                        <a:pt x="386" y="149"/>
                        <a:pt x="379" y="143"/>
                      </a:cubicBezTo>
                      <a:cubicBezTo>
                        <a:pt x="372" y="138"/>
                        <a:pt x="356" y="149"/>
                        <a:pt x="359" y="151"/>
                      </a:cubicBezTo>
                      <a:cubicBezTo>
                        <a:pt x="362" y="154"/>
                        <a:pt x="377" y="157"/>
                        <a:pt x="383" y="157"/>
                      </a:cubicBezTo>
                      <a:close/>
                      <a:moveTo>
                        <a:pt x="337" y="207"/>
                      </a:moveTo>
                      <a:cubicBezTo>
                        <a:pt x="345" y="212"/>
                        <a:pt x="343" y="203"/>
                        <a:pt x="352" y="203"/>
                      </a:cubicBezTo>
                      <a:cubicBezTo>
                        <a:pt x="361" y="203"/>
                        <a:pt x="361" y="189"/>
                        <a:pt x="362" y="183"/>
                      </a:cubicBezTo>
                      <a:cubicBezTo>
                        <a:pt x="364" y="178"/>
                        <a:pt x="355" y="178"/>
                        <a:pt x="357" y="182"/>
                      </a:cubicBezTo>
                      <a:cubicBezTo>
                        <a:pt x="360" y="186"/>
                        <a:pt x="357" y="190"/>
                        <a:pt x="356" y="185"/>
                      </a:cubicBezTo>
                      <a:cubicBezTo>
                        <a:pt x="356" y="181"/>
                        <a:pt x="349" y="185"/>
                        <a:pt x="346" y="181"/>
                      </a:cubicBezTo>
                      <a:cubicBezTo>
                        <a:pt x="344" y="178"/>
                        <a:pt x="354" y="178"/>
                        <a:pt x="357" y="173"/>
                      </a:cubicBezTo>
                      <a:cubicBezTo>
                        <a:pt x="359" y="168"/>
                        <a:pt x="349" y="169"/>
                        <a:pt x="351" y="165"/>
                      </a:cubicBezTo>
                      <a:cubicBezTo>
                        <a:pt x="354" y="162"/>
                        <a:pt x="335" y="166"/>
                        <a:pt x="341" y="168"/>
                      </a:cubicBezTo>
                      <a:cubicBezTo>
                        <a:pt x="346" y="170"/>
                        <a:pt x="341" y="173"/>
                        <a:pt x="336" y="169"/>
                      </a:cubicBezTo>
                      <a:cubicBezTo>
                        <a:pt x="331" y="166"/>
                        <a:pt x="317" y="172"/>
                        <a:pt x="322" y="176"/>
                      </a:cubicBezTo>
                      <a:cubicBezTo>
                        <a:pt x="326" y="179"/>
                        <a:pt x="338" y="174"/>
                        <a:pt x="331" y="183"/>
                      </a:cubicBezTo>
                      <a:cubicBezTo>
                        <a:pt x="324" y="192"/>
                        <a:pt x="321" y="180"/>
                        <a:pt x="315" y="181"/>
                      </a:cubicBezTo>
                      <a:cubicBezTo>
                        <a:pt x="309" y="183"/>
                        <a:pt x="311" y="190"/>
                        <a:pt x="321" y="193"/>
                      </a:cubicBezTo>
                      <a:cubicBezTo>
                        <a:pt x="331" y="196"/>
                        <a:pt x="330" y="201"/>
                        <a:pt x="337" y="207"/>
                      </a:cubicBezTo>
                      <a:close/>
                      <a:moveTo>
                        <a:pt x="396" y="150"/>
                      </a:moveTo>
                      <a:cubicBezTo>
                        <a:pt x="398" y="157"/>
                        <a:pt x="401" y="152"/>
                        <a:pt x="405" y="155"/>
                      </a:cubicBezTo>
                      <a:cubicBezTo>
                        <a:pt x="409" y="158"/>
                        <a:pt x="415" y="159"/>
                        <a:pt x="418" y="156"/>
                      </a:cubicBezTo>
                      <a:cubicBezTo>
                        <a:pt x="421" y="154"/>
                        <a:pt x="423" y="152"/>
                        <a:pt x="424" y="154"/>
                      </a:cubicBezTo>
                      <a:cubicBezTo>
                        <a:pt x="426" y="158"/>
                        <a:pt x="433" y="159"/>
                        <a:pt x="451" y="159"/>
                      </a:cubicBezTo>
                      <a:cubicBezTo>
                        <a:pt x="468" y="159"/>
                        <a:pt x="463" y="152"/>
                        <a:pt x="468" y="155"/>
                      </a:cubicBezTo>
                      <a:cubicBezTo>
                        <a:pt x="473" y="158"/>
                        <a:pt x="485" y="158"/>
                        <a:pt x="490" y="156"/>
                      </a:cubicBezTo>
                      <a:cubicBezTo>
                        <a:pt x="495" y="155"/>
                        <a:pt x="497" y="148"/>
                        <a:pt x="497" y="144"/>
                      </a:cubicBezTo>
                      <a:cubicBezTo>
                        <a:pt x="497" y="140"/>
                        <a:pt x="458" y="137"/>
                        <a:pt x="452" y="140"/>
                      </a:cubicBezTo>
                      <a:cubicBezTo>
                        <a:pt x="445" y="144"/>
                        <a:pt x="434" y="139"/>
                        <a:pt x="429" y="142"/>
                      </a:cubicBezTo>
                      <a:cubicBezTo>
                        <a:pt x="423" y="144"/>
                        <a:pt x="425" y="138"/>
                        <a:pt x="416" y="138"/>
                      </a:cubicBezTo>
                      <a:cubicBezTo>
                        <a:pt x="406" y="137"/>
                        <a:pt x="416" y="132"/>
                        <a:pt x="418" y="130"/>
                      </a:cubicBezTo>
                      <a:cubicBezTo>
                        <a:pt x="420" y="128"/>
                        <a:pt x="403" y="122"/>
                        <a:pt x="397" y="124"/>
                      </a:cubicBezTo>
                      <a:cubicBezTo>
                        <a:pt x="390" y="125"/>
                        <a:pt x="386" y="122"/>
                        <a:pt x="380" y="119"/>
                      </a:cubicBezTo>
                      <a:cubicBezTo>
                        <a:pt x="373" y="116"/>
                        <a:pt x="356" y="117"/>
                        <a:pt x="359" y="122"/>
                      </a:cubicBezTo>
                      <a:cubicBezTo>
                        <a:pt x="362" y="125"/>
                        <a:pt x="382" y="133"/>
                        <a:pt x="385" y="129"/>
                      </a:cubicBezTo>
                      <a:cubicBezTo>
                        <a:pt x="387" y="125"/>
                        <a:pt x="392" y="133"/>
                        <a:pt x="395" y="137"/>
                      </a:cubicBezTo>
                      <a:cubicBezTo>
                        <a:pt x="398" y="141"/>
                        <a:pt x="393" y="143"/>
                        <a:pt x="396" y="150"/>
                      </a:cubicBezTo>
                      <a:close/>
                      <a:moveTo>
                        <a:pt x="414" y="108"/>
                      </a:moveTo>
                      <a:cubicBezTo>
                        <a:pt x="407" y="104"/>
                        <a:pt x="399" y="111"/>
                        <a:pt x="406" y="114"/>
                      </a:cubicBezTo>
                      <a:cubicBezTo>
                        <a:pt x="412" y="116"/>
                        <a:pt x="420" y="111"/>
                        <a:pt x="414" y="108"/>
                      </a:cubicBezTo>
                      <a:close/>
                      <a:moveTo>
                        <a:pt x="362" y="68"/>
                      </a:moveTo>
                      <a:cubicBezTo>
                        <a:pt x="368" y="70"/>
                        <a:pt x="365" y="74"/>
                        <a:pt x="370" y="76"/>
                      </a:cubicBezTo>
                      <a:cubicBezTo>
                        <a:pt x="376" y="79"/>
                        <a:pt x="392" y="73"/>
                        <a:pt x="394" y="77"/>
                      </a:cubicBezTo>
                      <a:cubicBezTo>
                        <a:pt x="395" y="81"/>
                        <a:pt x="377" y="81"/>
                        <a:pt x="380" y="84"/>
                      </a:cubicBezTo>
                      <a:cubicBezTo>
                        <a:pt x="382" y="86"/>
                        <a:pt x="392" y="90"/>
                        <a:pt x="391" y="92"/>
                      </a:cubicBezTo>
                      <a:cubicBezTo>
                        <a:pt x="390" y="94"/>
                        <a:pt x="408" y="100"/>
                        <a:pt x="410" y="98"/>
                      </a:cubicBezTo>
                      <a:cubicBezTo>
                        <a:pt x="412" y="95"/>
                        <a:pt x="417" y="96"/>
                        <a:pt x="421" y="97"/>
                      </a:cubicBezTo>
                      <a:cubicBezTo>
                        <a:pt x="426" y="99"/>
                        <a:pt x="426" y="86"/>
                        <a:pt x="430" y="88"/>
                      </a:cubicBezTo>
                      <a:cubicBezTo>
                        <a:pt x="433" y="91"/>
                        <a:pt x="432" y="84"/>
                        <a:pt x="438" y="82"/>
                      </a:cubicBezTo>
                      <a:cubicBezTo>
                        <a:pt x="443" y="79"/>
                        <a:pt x="451" y="79"/>
                        <a:pt x="451" y="77"/>
                      </a:cubicBezTo>
                      <a:cubicBezTo>
                        <a:pt x="452" y="75"/>
                        <a:pt x="450" y="73"/>
                        <a:pt x="443" y="73"/>
                      </a:cubicBezTo>
                      <a:cubicBezTo>
                        <a:pt x="437" y="74"/>
                        <a:pt x="433" y="72"/>
                        <a:pt x="436" y="68"/>
                      </a:cubicBezTo>
                      <a:cubicBezTo>
                        <a:pt x="438" y="64"/>
                        <a:pt x="428" y="63"/>
                        <a:pt x="432" y="61"/>
                      </a:cubicBezTo>
                      <a:cubicBezTo>
                        <a:pt x="436" y="58"/>
                        <a:pt x="425" y="55"/>
                        <a:pt x="426" y="59"/>
                      </a:cubicBezTo>
                      <a:cubicBezTo>
                        <a:pt x="427" y="63"/>
                        <a:pt x="420" y="59"/>
                        <a:pt x="419" y="56"/>
                      </a:cubicBezTo>
                      <a:cubicBezTo>
                        <a:pt x="418" y="52"/>
                        <a:pt x="403" y="50"/>
                        <a:pt x="394" y="42"/>
                      </a:cubicBezTo>
                      <a:cubicBezTo>
                        <a:pt x="384" y="33"/>
                        <a:pt x="374" y="39"/>
                        <a:pt x="380" y="40"/>
                      </a:cubicBezTo>
                      <a:cubicBezTo>
                        <a:pt x="385" y="41"/>
                        <a:pt x="385" y="44"/>
                        <a:pt x="380" y="43"/>
                      </a:cubicBezTo>
                      <a:cubicBezTo>
                        <a:pt x="376" y="43"/>
                        <a:pt x="367" y="44"/>
                        <a:pt x="375" y="47"/>
                      </a:cubicBezTo>
                      <a:cubicBezTo>
                        <a:pt x="382" y="49"/>
                        <a:pt x="374" y="51"/>
                        <a:pt x="368" y="51"/>
                      </a:cubicBezTo>
                      <a:cubicBezTo>
                        <a:pt x="362" y="51"/>
                        <a:pt x="362" y="58"/>
                        <a:pt x="370" y="59"/>
                      </a:cubicBezTo>
                      <a:cubicBezTo>
                        <a:pt x="377" y="61"/>
                        <a:pt x="372" y="65"/>
                        <a:pt x="365" y="63"/>
                      </a:cubicBezTo>
                      <a:cubicBezTo>
                        <a:pt x="359" y="62"/>
                        <a:pt x="357" y="65"/>
                        <a:pt x="362" y="68"/>
                      </a:cubicBezTo>
                      <a:close/>
                      <a:moveTo>
                        <a:pt x="406" y="32"/>
                      </a:moveTo>
                      <a:cubicBezTo>
                        <a:pt x="411" y="29"/>
                        <a:pt x="415" y="31"/>
                        <a:pt x="410" y="33"/>
                      </a:cubicBezTo>
                      <a:cubicBezTo>
                        <a:pt x="406" y="36"/>
                        <a:pt x="407" y="37"/>
                        <a:pt x="413" y="37"/>
                      </a:cubicBezTo>
                      <a:cubicBezTo>
                        <a:pt x="420" y="36"/>
                        <a:pt x="411" y="38"/>
                        <a:pt x="411" y="42"/>
                      </a:cubicBezTo>
                      <a:cubicBezTo>
                        <a:pt x="411" y="46"/>
                        <a:pt x="418" y="43"/>
                        <a:pt x="418" y="47"/>
                      </a:cubicBezTo>
                      <a:cubicBezTo>
                        <a:pt x="419" y="51"/>
                        <a:pt x="434" y="52"/>
                        <a:pt x="439" y="48"/>
                      </a:cubicBezTo>
                      <a:cubicBezTo>
                        <a:pt x="443" y="43"/>
                        <a:pt x="442" y="49"/>
                        <a:pt x="441" y="52"/>
                      </a:cubicBezTo>
                      <a:cubicBezTo>
                        <a:pt x="441" y="54"/>
                        <a:pt x="463" y="57"/>
                        <a:pt x="464" y="53"/>
                      </a:cubicBezTo>
                      <a:cubicBezTo>
                        <a:pt x="465" y="50"/>
                        <a:pt x="468" y="51"/>
                        <a:pt x="473" y="52"/>
                      </a:cubicBezTo>
                      <a:cubicBezTo>
                        <a:pt x="477" y="53"/>
                        <a:pt x="498" y="48"/>
                        <a:pt x="498" y="44"/>
                      </a:cubicBezTo>
                      <a:cubicBezTo>
                        <a:pt x="499" y="40"/>
                        <a:pt x="505" y="46"/>
                        <a:pt x="498" y="51"/>
                      </a:cubicBezTo>
                      <a:cubicBezTo>
                        <a:pt x="492" y="56"/>
                        <a:pt x="478" y="55"/>
                        <a:pt x="472" y="57"/>
                      </a:cubicBezTo>
                      <a:cubicBezTo>
                        <a:pt x="466" y="58"/>
                        <a:pt x="476" y="63"/>
                        <a:pt x="482" y="67"/>
                      </a:cubicBezTo>
                      <a:cubicBezTo>
                        <a:pt x="488" y="72"/>
                        <a:pt x="474" y="69"/>
                        <a:pt x="468" y="63"/>
                      </a:cubicBezTo>
                      <a:cubicBezTo>
                        <a:pt x="463" y="57"/>
                        <a:pt x="450" y="57"/>
                        <a:pt x="443" y="58"/>
                      </a:cubicBezTo>
                      <a:cubicBezTo>
                        <a:pt x="436" y="58"/>
                        <a:pt x="438" y="71"/>
                        <a:pt x="443" y="71"/>
                      </a:cubicBezTo>
                      <a:cubicBezTo>
                        <a:pt x="448" y="71"/>
                        <a:pt x="453" y="72"/>
                        <a:pt x="458" y="80"/>
                      </a:cubicBezTo>
                      <a:cubicBezTo>
                        <a:pt x="463" y="88"/>
                        <a:pt x="474" y="86"/>
                        <a:pt x="474" y="90"/>
                      </a:cubicBezTo>
                      <a:cubicBezTo>
                        <a:pt x="474" y="93"/>
                        <a:pt x="460" y="87"/>
                        <a:pt x="452" y="86"/>
                      </a:cubicBezTo>
                      <a:cubicBezTo>
                        <a:pt x="445" y="84"/>
                        <a:pt x="432" y="89"/>
                        <a:pt x="432" y="95"/>
                      </a:cubicBezTo>
                      <a:cubicBezTo>
                        <a:pt x="431" y="100"/>
                        <a:pt x="443" y="100"/>
                        <a:pt x="451" y="95"/>
                      </a:cubicBezTo>
                      <a:cubicBezTo>
                        <a:pt x="459" y="91"/>
                        <a:pt x="453" y="97"/>
                        <a:pt x="449" y="100"/>
                      </a:cubicBezTo>
                      <a:cubicBezTo>
                        <a:pt x="445" y="104"/>
                        <a:pt x="458" y="107"/>
                        <a:pt x="458" y="111"/>
                      </a:cubicBezTo>
                      <a:cubicBezTo>
                        <a:pt x="458" y="115"/>
                        <a:pt x="449" y="114"/>
                        <a:pt x="448" y="110"/>
                      </a:cubicBezTo>
                      <a:cubicBezTo>
                        <a:pt x="447" y="106"/>
                        <a:pt x="443" y="102"/>
                        <a:pt x="434" y="103"/>
                      </a:cubicBezTo>
                      <a:cubicBezTo>
                        <a:pt x="425" y="103"/>
                        <a:pt x="427" y="110"/>
                        <a:pt x="433" y="110"/>
                      </a:cubicBezTo>
                      <a:cubicBezTo>
                        <a:pt x="438" y="111"/>
                        <a:pt x="439" y="115"/>
                        <a:pt x="432" y="115"/>
                      </a:cubicBezTo>
                      <a:cubicBezTo>
                        <a:pt x="426" y="115"/>
                        <a:pt x="411" y="120"/>
                        <a:pt x="416" y="124"/>
                      </a:cubicBezTo>
                      <a:cubicBezTo>
                        <a:pt x="421" y="128"/>
                        <a:pt x="439" y="124"/>
                        <a:pt x="442" y="127"/>
                      </a:cubicBezTo>
                      <a:cubicBezTo>
                        <a:pt x="446" y="129"/>
                        <a:pt x="454" y="130"/>
                        <a:pt x="457" y="127"/>
                      </a:cubicBezTo>
                      <a:cubicBezTo>
                        <a:pt x="459" y="124"/>
                        <a:pt x="466" y="125"/>
                        <a:pt x="473" y="125"/>
                      </a:cubicBezTo>
                      <a:cubicBezTo>
                        <a:pt x="480" y="125"/>
                        <a:pt x="482" y="127"/>
                        <a:pt x="485" y="129"/>
                      </a:cubicBezTo>
                      <a:cubicBezTo>
                        <a:pt x="488" y="132"/>
                        <a:pt x="494" y="131"/>
                        <a:pt x="498" y="128"/>
                      </a:cubicBezTo>
                      <a:cubicBezTo>
                        <a:pt x="502" y="125"/>
                        <a:pt x="502" y="125"/>
                        <a:pt x="507" y="125"/>
                      </a:cubicBezTo>
                      <a:cubicBezTo>
                        <a:pt x="512" y="125"/>
                        <a:pt x="513" y="122"/>
                        <a:pt x="510" y="118"/>
                      </a:cubicBezTo>
                      <a:cubicBezTo>
                        <a:pt x="508" y="114"/>
                        <a:pt x="502" y="121"/>
                        <a:pt x="501" y="118"/>
                      </a:cubicBezTo>
                      <a:cubicBezTo>
                        <a:pt x="500" y="115"/>
                        <a:pt x="494" y="114"/>
                        <a:pt x="484" y="115"/>
                      </a:cubicBezTo>
                      <a:cubicBezTo>
                        <a:pt x="474" y="117"/>
                        <a:pt x="478" y="109"/>
                        <a:pt x="484" y="110"/>
                      </a:cubicBezTo>
                      <a:cubicBezTo>
                        <a:pt x="491" y="112"/>
                        <a:pt x="499" y="112"/>
                        <a:pt x="506" y="110"/>
                      </a:cubicBezTo>
                      <a:cubicBezTo>
                        <a:pt x="512" y="108"/>
                        <a:pt x="507" y="105"/>
                        <a:pt x="507" y="102"/>
                      </a:cubicBezTo>
                      <a:cubicBezTo>
                        <a:pt x="507" y="99"/>
                        <a:pt x="515" y="101"/>
                        <a:pt x="522" y="101"/>
                      </a:cubicBezTo>
                      <a:cubicBezTo>
                        <a:pt x="528" y="101"/>
                        <a:pt x="538" y="91"/>
                        <a:pt x="538" y="84"/>
                      </a:cubicBezTo>
                      <a:cubicBezTo>
                        <a:pt x="538" y="78"/>
                        <a:pt x="524" y="80"/>
                        <a:pt x="517" y="80"/>
                      </a:cubicBezTo>
                      <a:cubicBezTo>
                        <a:pt x="509" y="80"/>
                        <a:pt x="521" y="74"/>
                        <a:pt x="535" y="75"/>
                      </a:cubicBezTo>
                      <a:cubicBezTo>
                        <a:pt x="548" y="76"/>
                        <a:pt x="542" y="70"/>
                        <a:pt x="545" y="68"/>
                      </a:cubicBezTo>
                      <a:cubicBezTo>
                        <a:pt x="547" y="66"/>
                        <a:pt x="554" y="70"/>
                        <a:pt x="560" y="69"/>
                      </a:cubicBezTo>
                      <a:cubicBezTo>
                        <a:pt x="567" y="67"/>
                        <a:pt x="563" y="62"/>
                        <a:pt x="567" y="62"/>
                      </a:cubicBezTo>
                      <a:cubicBezTo>
                        <a:pt x="570" y="62"/>
                        <a:pt x="578" y="57"/>
                        <a:pt x="593" y="48"/>
                      </a:cubicBezTo>
                      <a:cubicBezTo>
                        <a:pt x="607" y="40"/>
                        <a:pt x="619" y="42"/>
                        <a:pt x="619" y="37"/>
                      </a:cubicBezTo>
                      <a:cubicBezTo>
                        <a:pt x="620" y="32"/>
                        <a:pt x="599" y="37"/>
                        <a:pt x="595" y="36"/>
                      </a:cubicBezTo>
                      <a:cubicBezTo>
                        <a:pt x="592" y="34"/>
                        <a:pt x="610" y="30"/>
                        <a:pt x="614" y="31"/>
                      </a:cubicBezTo>
                      <a:cubicBezTo>
                        <a:pt x="619" y="32"/>
                        <a:pt x="624" y="31"/>
                        <a:pt x="639" y="24"/>
                      </a:cubicBezTo>
                      <a:cubicBezTo>
                        <a:pt x="654" y="17"/>
                        <a:pt x="647" y="15"/>
                        <a:pt x="641" y="16"/>
                      </a:cubicBezTo>
                      <a:cubicBezTo>
                        <a:pt x="635" y="17"/>
                        <a:pt x="628" y="15"/>
                        <a:pt x="629" y="11"/>
                      </a:cubicBezTo>
                      <a:cubicBezTo>
                        <a:pt x="629" y="7"/>
                        <a:pt x="620" y="11"/>
                        <a:pt x="619" y="9"/>
                      </a:cubicBezTo>
                      <a:cubicBezTo>
                        <a:pt x="619" y="7"/>
                        <a:pt x="610" y="8"/>
                        <a:pt x="601" y="11"/>
                      </a:cubicBezTo>
                      <a:cubicBezTo>
                        <a:pt x="592" y="15"/>
                        <a:pt x="600" y="8"/>
                        <a:pt x="604" y="6"/>
                      </a:cubicBezTo>
                      <a:cubicBezTo>
                        <a:pt x="608" y="5"/>
                        <a:pt x="581" y="6"/>
                        <a:pt x="576" y="3"/>
                      </a:cubicBezTo>
                      <a:cubicBezTo>
                        <a:pt x="571" y="0"/>
                        <a:pt x="566" y="8"/>
                        <a:pt x="562" y="4"/>
                      </a:cubicBezTo>
                      <a:cubicBezTo>
                        <a:pt x="558" y="0"/>
                        <a:pt x="547" y="3"/>
                        <a:pt x="548" y="7"/>
                      </a:cubicBezTo>
                      <a:cubicBezTo>
                        <a:pt x="549" y="10"/>
                        <a:pt x="546" y="10"/>
                        <a:pt x="542" y="6"/>
                      </a:cubicBezTo>
                      <a:cubicBezTo>
                        <a:pt x="538" y="3"/>
                        <a:pt x="529" y="7"/>
                        <a:pt x="522" y="6"/>
                      </a:cubicBezTo>
                      <a:cubicBezTo>
                        <a:pt x="514" y="5"/>
                        <a:pt x="518" y="12"/>
                        <a:pt x="509" y="8"/>
                      </a:cubicBezTo>
                      <a:cubicBezTo>
                        <a:pt x="501" y="5"/>
                        <a:pt x="492" y="6"/>
                        <a:pt x="495" y="7"/>
                      </a:cubicBezTo>
                      <a:cubicBezTo>
                        <a:pt x="497" y="8"/>
                        <a:pt x="494" y="11"/>
                        <a:pt x="491" y="10"/>
                      </a:cubicBezTo>
                      <a:cubicBezTo>
                        <a:pt x="487" y="8"/>
                        <a:pt x="484" y="10"/>
                        <a:pt x="486" y="13"/>
                      </a:cubicBezTo>
                      <a:cubicBezTo>
                        <a:pt x="487" y="17"/>
                        <a:pt x="472" y="12"/>
                        <a:pt x="472" y="16"/>
                      </a:cubicBezTo>
                      <a:cubicBezTo>
                        <a:pt x="472" y="20"/>
                        <a:pt x="467" y="22"/>
                        <a:pt x="463" y="19"/>
                      </a:cubicBezTo>
                      <a:cubicBezTo>
                        <a:pt x="458" y="15"/>
                        <a:pt x="445" y="14"/>
                        <a:pt x="449" y="17"/>
                      </a:cubicBezTo>
                      <a:cubicBezTo>
                        <a:pt x="453" y="21"/>
                        <a:pt x="437" y="19"/>
                        <a:pt x="441" y="22"/>
                      </a:cubicBezTo>
                      <a:cubicBezTo>
                        <a:pt x="445" y="25"/>
                        <a:pt x="436" y="28"/>
                        <a:pt x="436" y="26"/>
                      </a:cubicBezTo>
                      <a:cubicBezTo>
                        <a:pt x="436" y="24"/>
                        <a:pt x="427" y="21"/>
                        <a:pt x="423" y="24"/>
                      </a:cubicBezTo>
                      <a:cubicBezTo>
                        <a:pt x="420" y="27"/>
                        <a:pt x="418" y="31"/>
                        <a:pt x="417" y="29"/>
                      </a:cubicBezTo>
                      <a:cubicBezTo>
                        <a:pt x="415" y="27"/>
                        <a:pt x="407" y="28"/>
                        <a:pt x="400" y="31"/>
                      </a:cubicBezTo>
                      <a:cubicBezTo>
                        <a:pt x="392" y="33"/>
                        <a:pt x="401" y="36"/>
                        <a:pt x="406" y="32"/>
                      </a:cubicBezTo>
                      <a:close/>
                      <a:moveTo>
                        <a:pt x="496" y="340"/>
                      </a:moveTo>
                      <a:cubicBezTo>
                        <a:pt x="498" y="340"/>
                        <a:pt x="503" y="331"/>
                        <a:pt x="497" y="331"/>
                      </a:cubicBezTo>
                      <a:cubicBezTo>
                        <a:pt x="490" y="332"/>
                        <a:pt x="492" y="341"/>
                        <a:pt x="496" y="340"/>
                      </a:cubicBezTo>
                      <a:close/>
                      <a:moveTo>
                        <a:pt x="464" y="332"/>
                      </a:moveTo>
                      <a:cubicBezTo>
                        <a:pt x="470" y="336"/>
                        <a:pt x="478" y="326"/>
                        <a:pt x="478" y="323"/>
                      </a:cubicBezTo>
                      <a:cubicBezTo>
                        <a:pt x="477" y="321"/>
                        <a:pt x="457" y="328"/>
                        <a:pt x="464" y="332"/>
                      </a:cubicBezTo>
                      <a:close/>
                      <a:moveTo>
                        <a:pt x="490" y="313"/>
                      </a:moveTo>
                      <a:cubicBezTo>
                        <a:pt x="491" y="309"/>
                        <a:pt x="478" y="308"/>
                        <a:pt x="479" y="304"/>
                      </a:cubicBezTo>
                      <a:cubicBezTo>
                        <a:pt x="479" y="300"/>
                        <a:pt x="467" y="297"/>
                        <a:pt x="463" y="295"/>
                      </a:cubicBezTo>
                      <a:cubicBezTo>
                        <a:pt x="459" y="292"/>
                        <a:pt x="453" y="291"/>
                        <a:pt x="453" y="287"/>
                      </a:cubicBezTo>
                      <a:cubicBezTo>
                        <a:pt x="453" y="283"/>
                        <a:pt x="445" y="286"/>
                        <a:pt x="444" y="292"/>
                      </a:cubicBezTo>
                      <a:cubicBezTo>
                        <a:pt x="444" y="299"/>
                        <a:pt x="440" y="297"/>
                        <a:pt x="442" y="303"/>
                      </a:cubicBezTo>
                      <a:cubicBezTo>
                        <a:pt x="444" y="310"/>
                        <a:pt x="434" y="311"/>
                        <a:pt x="435" y="314"/>
                      </a:cubicBezTo>
                      <a:cubicBezTo>
                        <a:pt x="436" y="317"/>
                        <a:pt x="441" y="314"/>
                        <a:pt x="445" y="314"/>
                      </a:cubicBezTo>
                      <a:cubicBezTo>
                        <a:pt x="450" y="314"/>
                        <a:pt x="444" y="320"/>
                        <a:pt x="450" y="320"/>
                      </a:cubicBezTo>
                      <a:cubicBezTo>
                        <a:pt x="454" y="321"/>
                        <a:pt x="461" y="316"/>
                        <a:pt x="463" y="313"/>
                      </a:cubicBezTo>
                      <a:cubicBezTo>
                        <a:pt x="465" y="310"/>
                        <a:pt x="468" y="309"/>
                        <a:pt x="473" y="312"/>
                      </a:cubicBezTo>
                      <a:cubicBezTo>
                        <a:pt x="478" y="316"/>
                        <a:pt x="489" y="316"/>
                        <a:pt x="490" y="313"/>
                      </a:cubicBezTo>
                      <a:close/>
                      <a:moveTo>
                        <a:pt x="606" y="281"/>
                      </a:moveTo>
                      <a:cubicBezTo>
                        <a:pt x="611" y="282"/>
                        <a:pt x="611" y="287"/>
                        <a:pt x="618" y="293"/>
                      </a:cubicBezTo>
                      <a:cubicBezTo>
                        <a:pt x="625" y="298"/>
                        <a:pt x="626" y="295"/>
                        <a:pt x="627" y="291"/>
                      </a:cubicBezTo>
                      <a:cubicBezTo>
                        <a:pt x="628" y="287"/>
                        <a:pt x="635" y="290"/>
                        <a:pt x="635" y="286"/>
                      </a:cubicBezTo>
                      <a:cubicBezTo>
                        <a:pt x="635" y="282"/>
                        <a:pt x="641" y="277"/>
                        <a:pt x="645" y="276"/>
                      </a:cubicBezTo>
                      <a:cubicBezTo>
                        <a:pt x="650" y="274"/>
                        <a:pt x="642" y="270"/>
                        <a:pt x="636" y="270"/>
                      </a:cubicBezTo>
                      <a:cubicBezTo>
                        <a:pt x="630" y="270"/>
                        <a:pt x="629" y="266"/>
                        <a:pt x="629" y="264"/>
                      </a:cubicBezTo>
                      <a:cubicBezTo>
                        <a:pt x="629" y="261"/>
                        <a:pt x="619" y="255"/>
                        <a:pt x="615" y="256"/>
                      </a:cubicBezTo>
                      <a:cubicBezTo>
                        <a:pt x="611" y="257"/>
                        <a:pt x="605" y="252"/>
                        <a:pt x="601" y="251"/>
                      </a:cubicBezTo>
                      <a:cubicBezTo>
                        <a:pt x="596" y="251"/>
                        <a:pt x="589" y="247"/>
                        <a:pt x="590" y="242"/>
                      </a:cubicBezTo>
                      <a:cubicBezTo>
                        <a:pt x="591" y="237"/>
                        <a:pt x="599" y="244"/>
                        <a:pt x="601" y="240"/>
                      </a:cubicBezTo>
                      <a:cubicBezTo>
                        <a:pt x="603" y="236"/>
                        <a:pt x="592" y="238"/>
                        <a:pt x="592" y="235"/>
                      </a:cubicBezTo>
                      <a:cubicBezTo>
                        <a:pt x="591" y="232"/>
                        <a:pt x="594" y="234"/>
                        <a:pt x="596" y="232"/>
                      </a:cubicBezTo>
                      <a:cubicBezTo>
                        <a:pt x="599" y="230"/>
                        <a:pt x="595" y="226"/>
                        <a:pt x="592" y="225"/>
                      </a:cubicBezTo>
                      <a:cubicBezTo>
                        <a:pt x="590" y="224"/>
                        <a:pt x="589" y="228"/>
                        <a:pt x="586" y="228"/>
                      </a:cubicBezTo>
                      <a:cubicBezTo>
                        <a:pt x="584" y="228"/>
                        <a:pt x="586" y="224"/>
                        <a:pt x="588" y="221"/>
                      </a:cubicBezTo>
                      <a:cubicBezTo>
                        <a:pt x="590" y="219"/>
                        <a:pt x="580" y="216"/>
                        <a:pt x="575" y="217"/>
                      </a:cubicBezTo>
                      <a:cubicBezTo>
                        <a:pt x="571" y="219"/>
                        <a:pt x="570" y="216"/>
                        <a:pt x="570" y="214"/>
                      </a:cubicBezTo>
                      <a:cubicBezTo>
                        <a:pt x="570" y="211"/>
                        <a:pt x="562" y="214"/>
                        <a:pt x="559" y="216"/>
                      </a:cubicBezTo>
                      <a:cubicBezTo>
                        <a:pt x="557" y="218"/>
                        <a:pt x="553" y="214"/>
                        <a:pt x="557" y="213"/>
                      </a:cubicBezTo>
                      <a:cubicBezTo>
                        <a:pt x="560" y="213"/>
                        <a:pt x="564" y="210"/>
                        <a:pt x="563" y="207"/>
                      </a:cubicBezTo>
                      <a:cubicBezTo>
                        <a:pt x="562" y="204"/>
                        <a:pt x="553" y="203"/>
                        <a:pt x="551" y="207"/>
                      </a:cubicBezTo>
                      <a:cubicBezTo>
                        <a:pt x="549" y="211"/>
                        <a:pt x="542" y="203"/>
                        <a:pt x="542" y="200"/>
                      </a:cubicBezTo>
                      <a:cubicBezTo>
                        <a:pt x="542" y="196"/>
                        <a:pt x="530" y="199"/>
                        <a:pt x="532" y="194"/>
                      </a:cubicBezTo>
                      <a:cubicBezTo>
                        <a:pt x="533" y="189"/>
                        <a:pt x="519" y="187"/>
                        <a:pt x="515" y="187"/>
                      </a:cubicBezTo>
                      <a:cubicBezTo>
                        <a:pt x="511" y="187"/>
                        <a:pt x="505" y="190"/>
                        <a:pt x="506" y="194"/>
                      </a:cubicBezTo>
                      <a:cubicBezTo>
                        <a:pt x="507" y="198"/>
                        <a:pt x="502" y="196"/>
                        <a:pt x="501" y="192"/>
                      </a:cubicBezTo>
                      <a:cubicBezTo>
                        <a:pt x="500" y="188"/>
                        <a:pt x="491" y="196"/>
                        <a:pt x="488" y="196"/>
                      </a:cubicBezTo>
                      <a:cubicBezTo>
                        <a:pt x="485" y="196"/>
                        <a:pt x="489" y="186"/>
                        <a:pt x="488" y="183"/>
                      </a:cubicBezTo>
                      <a:cubicBezTo>
                        <a:pt x="487" y="180"/>
                        <a:pt x="484" y="179"/>
                        <a:pt x="482" y="173"/>
                      </a:cubicBezTo>
                      <a:cubicBezTo>
                        <a:pt x="480" y="168"/>
                        <a:pt x="469" y="170"/>
                        <a:pt x="467" y="173"/>
                      </a:cubicBezTo>
                      <a:cubicBezTo>
                        <a:pt x="464" y="176"/>
                        <a:pt x="454" y="175"/>
                        <a:pt x="450" y="180"/>
                      </a:cubicBezTo>
                      <a:cubicBezTo>
                        <a:pt x="445" y="185"/>
                        <a:pt x="450" y="190"/>
                        <a:pt x="452" y="192"/>
                      </a:cubicBezTo>
                      <a:cubicBezTo>
                        <a:pt x="454" y="194"/>
                        <a:pt x="445" y="196"/>
                        <a:pt x="448" y="199"/>
                      </a:cubicBezTo>
                      <a:cubicBezTo>
                        <a:pt x="451" y="202"/>
                        <a:pt x="456" y="201"/>
                        <a:pt x="456" y="205"/>
                      </a:cubicBezTo>
                      <a:cubicBezTo>
                        <a:pt x="457" y="210"/>
                        <a:pt x="445" y="204"/>
                        <a:pt x="443" y="200"/>
                      </a:cubicBezTo>
                      <a:cubicBezTo>
                        <a:pt x="441" y="196"/>
                        <a:pt x="443" y="193"/>
                        <a:pt x="441" y="190"/>
                      </a:cubicBezTo>
                      <a:cubicBezTo>
                        <a:pt x="438" y="187"/>
                        <a:pt x="441" y="183"/>
                        <a:pt x="445" y="178"/>
                      </a:cubicBezTo>
                      <a:cubicBezTo>
                        <a:pt x="450" y="173"/>
                        <a:pt x="453" y="174"/>
                        <a:pt x="453" y="171"/>
                      </a:cubicBezTo>
                      <a:cubicBezTo>
                        <a:pt x="453" y="168"/>
                        <a:pt x="433" y="168"/>
                        <a:pt x="422" y="179"/>
                      </a:cubicBezTo>
                      <a:cubicBezTo>
                        <a:pt x="410" y="190"/>
                        <a:pt x="413" y="204"/>
                        <a:pt x="414" y="207"/>
                      </a:cubicBezTo>
                      <a:cubicBezTo>
                        <a:pt x="415" y="210"/>
                        <a:pt x="425" y="208"/>
                        <a:pt x="431" y="210"/>
                      </a:cubicBezTo>
                      <a:cubicBezTo>
                        <a:pt x="437" y="212"/>
                        <a:pt x="434" y="214"/>
                        <a:pt x="430" y="214"/>
                      </a:cubicBezTo>
                      <a:cubicBezTo>
                        <a:pt x="425" y="213"/>
                        <a:pt x="417" y="211"/>
                        <a:pt x="417" y="215"/>
                      </a:cubicBezTo>
                      <a:cubicBezTo>
                        <a:pt x="418" y="218"/>
                        <a:pt x="427" y="224"/>
                        <a:pt x="433" y="222"/>
                      </a:cubicBezTo>
                      <a:cubicBezTo>
                        <a:pt x="439" y="221"/>
                        <a:pt x="439" y="221"/>
                        <a:pt x="441" y="224"/>
                      </a:cubicBezTo>
                      <a:cubicBezTo>
                        <a:pt x="444" y="227"/>
                        <a:pt x="451" y="226"/>
                        <a:pt x="457" y="227"/>
                      </a:cubicBezTo>
                      <a:cubicBezTo>
                        <a:pt x="464" y="227"/>
                        <a:pt x="472" y="230"/>
                        <a:pt x="475" y="230"/>
                      </a:cubicBezTo>
                      <a:cubicBezTo>
                        <a:pt x="478" y="230"/>
                        <a:pt x="482" y="228"/>
                        <a:pt x="483" y="226"/>
                      </a:cubicBezTo>
                      <a:cubicBezTo>
                        <a:pt x="484" y="225"/>
                        <a:pt x="498" y="229"/>
                        <a:pt x="502" y="229"/>
                      </a:cubicBezTo>
                      <a:cubicBezTo>
                        <a:pt x="506" y="229"/>
                        <a:pt x="503" y="225"/>
                        <a:pt x="501" y="224"/>
                      </a:cubicBezTo>
                      <a:cubicBezTo>
                        <a:pt x="498" y="223"/>
                        <a:pt x="499" y="218"/>
                        <a:pt x="502" y="220"/>
                      </a:cubicBezTo>
                      <a:cubicBezTo>
                        <a:pt x="506" y="222"/>
                        <a:pt x="511" y="223"/>
                        <a:pt x="512" y="226"/>
                      </a:cubicBezTo>
                      <a:cubicBezTo>
                        <a:pt x="513" y="229"/>
                        <a:pt x="516" y="227"/>
                        <a:pt x="516" y="230"/>
                      </a:cubicBezTo>
                      <a:cubicBezTo>
                        <a:pt x="517" y="232"/>
                        <a:pt x="528" y="235"/>
                        <a:pt x="528" y="238"/>
                      </a:cubicBezTo>
                      <a:cubicBezTo>
                        <a:pt x="529" y="241"/>
                        <a:pt x="517" y="242"/>
                        <a:pt x="520" y="245"/>
                      </a:cubicBezTo>
                      <a:cubicBezTo>
                        <a:pt x="524" y="247"/>
                        <a:pt x="529" y="242"/>
                        <a:pt x="533" y="241"/>
                      </a:cubicBezTo>
                      <a:cubicBezTo>
                        <a:pt x="537" y="241"/>
                        <a:pt x="537" y="251"/>
                        <a:pt x="540" y="249"/>
                      </a:cubicBezTo>
                      <a:cubicBezTo>
                        <a:pt x="545" y="247"/>
                        <a:pt x="548" y="251"/>
                        <a:pt x="553" y="257"/>
                      </a:cubicBezTo>
                      <a:cubicBezTo>
                        <a:pt x="557" y="263"/>
                        <a:pt x="552" y="269"/>
                        <a:pt x="553" y="271"/>
                      </a:cubicBezTo>
                      <a:cubicBezTo>
                        <a:pt x="553" y="273"/>
                        <a:pt x="561" y="272"/>
                        <a:pt x="566" y="270"/>
                      </a:cubicBezTo>
                      <a:cubicBezTo>
                        <a:pt x="570" y="267"/>
                        <a:pt x="575" y="273"/>
                        <a:pt x="578" y="276"/>
                      </a:cubicBezTo>
                      <a:cubicBezTo>
                        <a:pt x="582" y="279"/>
                        <a:pt x="565" y="285"/>
                        <a:pt x="566" y="282"/>
                      </a:cubicBezTo>
                      <a:cubicBezTo>
                        <a:pt x="568" y="279"/>
                        <a:pt x="557" y="270"/>
                        <a:pt x="546" y="274"/>
                      </a:cubicBezTo>
                      <a:cubicBezTo>
                        <a:pt x="536" y="278"/>
                        <a:pt x="543" y="284"/>
                        <a:pt x="544" y="288"/>
                      </a:cubicBezTo>
                      <a:cubicBezTo>
                        <a:pt x="545" y="291"/>
                        <a:pt x="535" y="295"/>
                        <a:pt x="525" y="292"/>
                      </a:cubicBezTo>
                      <a:cubicBezTo>
                        <a:pt x="515" y="288"/>
                        <a:pt x="518" y="294"/>
                        <a:pt x="514" y="294"/>
                      </a:cubicBezTo>
                      <a:cubicBezTo>
                        <a:pt x="510" y="294"/>
                        <a:pt x="506" y="300"/>
                        <a:pt x="510" y="304"/>
                      </a:cubicBezTo>
                      <a:cubicBezTo>
                        <a:pt x="513" y="308"/>
                        <a:pt x="521" y="304"/>
                        <a:pt x="528" y="305"/>
                      </a:cubicBezTo>
                      <a:cubicBezTo>
                        <a:pt x="534" y="305"/>
                        <a:pt x="535" y="307"/>
                        <a:pt x="535" y="303"/>
                      </a:cubicBezTo>
                      <a:cubicBezTo>
                        <a:pt x="536" y="300"/>
                        <a:pt x="543" y="301"/>
                        <a:pt x="548" y="302"/>
                      </a:cubicBezTo>
                      <a:cubicBezTo>
                        <a:pt x="552" y="303"/>
                        <a:pt x="551" y="310"/>
                        <a:pt x="557" y="311"/>
                      </a:cubicBezTo>
                      <a:cubicBezTo>
                        <a:pt x="563" y="311"/>
                        <a:pt x="558" y="317"/>
                        <a:pt x="562" y="321"/>
                      </a:cubicBezTo>
                      <a:cubicBezTo>
                        <a:pt x="565" y="325"/>
                        <a:pt x="576" y="323"/>
                        <a:pt x="581" y="327"/>
                      </a:cubicBezTo>
                      <a:cubicBezTo>
                        <a:pt x="585" y="331"/>
                        <a:pt x="603" y="340"/>
                        <a:pt x="606" y="337"/>
                      </a:cubicBezTo>
                      <a:cubicBezTo>
                        <a:pt x="609" y="333"/>
                        <a:pt x="590" y="317"/>
                        <a:pt x="585" y="315"/>
                      </a:cubicBezTo>
                      <a:cubicBezTo>
                        <a:pt x="579" y="314"/>
                        <a:pt x="590" y="312"/>
                        <a:pt x="597" y="317"/>
                      </a:cubicBezTo>
                      <a:cubicBezTo>
                        <a:pt x="604" y="323"/>
                        <a:pt x="614" y="325"/>
                        <a:pt x="619" y="319"/>
                      </a:cubicBezTo>
                      <a:cubicBezTo>
                        <a:pt x="624" y="312"/>
                        <a:pt x="614" y="314"/>
                        <a:pt x="614" y="310"/>
                      </a:cubicBezTo>
                      <a:cubicBezTo>
                        <a:pt x="614" y="305"/>
                        <a:pt x="611" y="298"/>
                        <a:pt x="606" y="298"/>
                      </a:cubicBezTo>
                      <a:cubicBezTo>
                        <a:pt x="601" y="298"/>
                        <a:pt x="588" y="288"/>
                        <a:pt x="593" y="286"/>
                      </a:cubicBezTo>
                      <a:cubicBezTo>
                        <a:pt x="598" y="284"/>
                        <a:pt x="591" y="281"/>
                        <a:pt x="595" y="277"/>
                      </a:cubicBezTo>
                      <a:cubicBezTo>
                        <a:pt x="599" y="273"/>
                        <a:pt x="602" y="281"/>
                        <a:pt x="606" y="281"/>
                      </a:cubicBezTo>
                      <a:close/>
                      <a:moveTo>
                        <a:pt x="531" y="264"/>
                      </a:moveTo>
                      <a:cubicBezTo>
                        <a:pt x="535" y="264"/>
                        <a:pt x="535" y="257"/>
                        <a:pt x="532" y="254"/>
                      </a:cubicBezTo>
                      <a:cubicBezTo>
                        <a:pt x="530" y="251"/>
                        <a:pt x="526" y="251"/>
                        <a:pt x="522" y="251"/>
                      </a:cubicBezTo>
                      <a:cubicBezTo>
                        <a:pt x="518" y="251"/>
                        <a:pt x="511" y="257"/>
                        <a:pt x="515" y="264"/>
                      </a:cubicBezTo>
                      <a:cubicBezTo>
                        <a:pt x="518" y="270"/>
                        <a:pt x="527" y="265"/>
                        <a:pt x="531" y="264"/>
                      </a:cubicBezTo>
                      <a:close/>
                      <a:moveTo>
                        <a:pt x="487" y="171"/>
                      </a:moveTo>
                      <a:cubicBezTo>
                        <a:pt x="484" y="176"/>
                        <a:pt x="491" y="176"/>
                        <a:pt x="492" y="181"/>
                      </a:cubicBezTo>
                      <a:cubicBezTo>
                        <a:pt x="492" y="187"/>
                        <a:pt x="499" y="189"/>
                        <a:pt x="504" y="185"/>
                      </a:cubicBezTo>
                      <a:cubicBezTo>
                        <a:pt x="509" y="182"/>
                        <a:pt x="523" y="186"/>
                        <a:pt x="523" y="182"/>
                      </a:cubicBezTo>
                      <a:cubicBezTo>
                        <a:pt x="523" y="178"/>
                        <a:pt x="508" y="171"/>
                        <a:pt x="503" y="172"/>
                      </a:cubicBezTo>
                      <a:cubicBezTo>
                        <a:pt x="497" y="173"/>
                        <a:pt x="489" y="167"/>
                        <a:pt x="487" y="171"/>
                      </a:cubicBezTo>
                      <a:close/>
                      <a:moveTo>
                        <a:pt x="620" y="475"/>
                      </a:moveTo>
                      <a:cubicBezTo>
                        <a:pt x="621" y="478"/>
                        <a:pt x="642" y="486"/>
                        <a:pt x="642" y="483"/>
                      </a:cubicBezTo>
                      <a:cubicBezTo>
                        <a:pt x="643" y="479"/>
                        <a:pt x="620" y="473"/>
                        <a:pt x="620" y="475"/>
                      </a:cubicBezTo>
                      <a:close/>
                      <a:moveTo>
                        <a:pt x="711" y="496"/>
                      </a:moveTo>
                      <a:cubicBezTo>
                        <a:pt x="709" y="499"/>
                        <a:pt x="707" y="494"/>
                        <a:pt x="710" y="492"/>
                      </a:cubicBezTo>
                      <a:cubicBezTo>
                        <a:pt x="713" y="490"/>
                        <a:pt x="710" y="489"/>
                        <a:pt x="707" y="490"/>
                      </a:cubicBezTo>
                      <a:cubicBezTo>
                        <a:pt x="704" y="492"/>
                        <a:pt x="705" y="484"/>
                        <a:pt x="708" y="482"/>
                      </a:cubicBezTo>
                      <a:cubicBezTo>
                        <a:pt x="710" y="481"/>
                        <a:pt x="701" y="478"/>
                        <a:pt x="701" y="481"/>
                      </a:cubicBezTo>
                      <a:cubicBezTo>
                        <a:pt x="701" y="483"/>
                        <a:pt x="695" y="482"/>
                        <a:pt x="694" y="479"/>
                      </a:cubicBezTo>
                      <a:cubicBezTo>
                        <a:pt x="693" y="477"/>
                        <a:pt x="689" y="476"/>
                        <a:pt x="690" y="474"/>
                      </a:cubicBezTo>
                      <a:cubicBezTo>
                        <a:pt x="692" y="473"/>
                        <a:pt x="685" y="472"/>
                        <a:pt x="684" y="475"/>
                      </a:cubicBezTo>
                      <a:cubicBezTo>
                        <a:pt x="683" y="478"/>
                        <a:pt x="681" y="473"/>
                        <a:pt x="685" y="469"/>
                      </a:cubicBezTo>
                      <a:cubicBezTo>
                        <a:pt x="688" y="465"/>
                        <a:pt x="687" y="462"/>
                        <a:pt x="691" y="460"/>
                      </a:cubicBezTo>
                      <a:cubicBezTo>
                        <a:pt x="694" y="458"/>
                        <a:pt x="690" y="456"/>
                        <a:pt x="687" y="457"/>
                      </a:cubicBezTo>
                      <a:cubicBezTo>
                        <a:pt x="683" y="459"/>
                        <a:pt x="674" y="472"/>
                        <a:pt x="674" y="475"/>
                      </a:cubicBezTo>
                      <a:cubicBezTo>
                        <a:pt x="674" y="479"/>
                        <a:pt x="674" y="483"/>
                        <a:pt x="670" y="483"/>
                      </a:cubicBezTo>
                      <a:cubicBezTo>
                        <a:pt x="667" y="483"/>
                        <a:pt x="663" y="486"/>
                        <a:pt x="666" y="488"/>
                      </a:cubicBezTo>
                      <a:cubicBezTo>
                        <a:pt x="668" y="490"/>
                        <a:pt x="659" y="495"/>
                        <a:pt x="663" y="498"/>
                      </a:cubicBezTo>
                      <a:cubicBezTo>
                        <a:pt x="666" y="499"/>
                        <a:pt x="671" y="497"/>
                        <a:pt x="676" y="497"/>
                      </a:cubicBezTo>
                      <a:cubicBezTo>
                        <a:pt x="680" y="498"/>
                        <a:pt x="683" y="498"/>
                        <a:pt x="687" y="495"/>
                      </a:cubicBezTo>
                      <a:cubicBezTo>
                        <a:pt x="691" y="493"/>
                        <a:pt x="691" y="498"/>
                        <a:pt x="694" y="497"/>
                      </a:cubicBezTo>
                      <a:cubicBezTo>
                        <a:pt x="698" y="497"/>
                        <a:pt x="692" y="500"/>
                        <a:pt x="693" y="503"/>
                      </a:cubicBezTo>
                      <a:cubicBezTo>
                        <a:pt x="693" y="506"/>
                        <a:pt x="697" y="502"/>
                        <a:pt x="699" y="500"/>
                      </a:cubicBezTo>
                      <a:cubicBezTo>
                        <a:pt x="702" y="499"/>
                        <a:pt x="706" y="500"/>
                        <a:pt x="704" y="502"/>
                      </a:cubicBezTo>
                      <a:cubicBezTo>
                        <a:pt x="703" y="505"/>
                        <a:pt x="712" y="507"/>
                        <a:pt x="714" y="503"/>
                      </a:cubicBezTo>
                      <a:cubicBezTo>
                        <a:pt x="717" y="500"/>
                        <a:pt x="712" y="494"/>
                        <a:pt x="711" y="496"/>
                      </a:cubicBezTo>
                      <a:close/>
                      <a:moveTo>
                        <a:pt x="66" y="431"/>
                      </a:moveTo>
                      <a:cubicBezTo>
                        <a:pt x="60" y="434"/>
                        <a:pt x="75" y="450"/>
                        <a:pt x="78" y="448"/>
                      </a:cubicBezTo>
                      <a:cubicBezTo>
                        <a:pt x="81" y="447"/>
                        <a:pt x="75" y="440"/>
                        <a:pt x="75" y="436"/>
                      </a:cubicBezTo>
                      <a:cubicBezTo>
                        <a:pt x="75" y="432"/>
                        <a:pt x="73" y="427"/>
                        <a:pt x="66" y="431"/>
                      </a:cubicBezTo>
                      <a:close/>
                      <a:moveTo>
                        <a:pt x="654" y="512"/>
                      </a:moveTo>
                      <a:cubicBezTo>
                        <a:pt x="651" y="512"/>
                        <a:pt x="653" y="509"/>
                        <a:pt x="654" y="507"/>
                      </a:cubicBezTo>
                      <a:cubicBezTo>
                        <a:pt x="654" y="505"/>
                        <a:pt x="648" y="507"/>
                        <a:pt x="648" y="510"/>
                      </a:cubicBezTo>
                      <a:cubicBezTo>
                        <a:pt x="648" y="512"/>
                        <a:pt x="644" y="513"/>
                        <a:pt x="644" y="514"/>
                      </a:cubicBezTo>
                      <a:cubicBezTo>
                        <a:pt x="644" y="519"/>
                        <a:pt x="644" y="516"/>
                        <a:pt x="641" y="518"/>
                      </a:cubicBezTo>
                      <a:cubicBezTo>
                        <a:pt x="638" y="519"/>
                        <a:pt x="627" y="518"/>
                        <a:pt x="626" y="515"/>
                      </a:cubicBezTo>
                      <a:cubicBezTo>
                        <a:pt x="626" y="513"/>
                        <a:pt x="618" y="512"/>
                        <a:pt x="618" y="508"/>
                      </a:cubicBezTo>
                      <a:cubicBezTo>
                        <a:pt x="617" y="505"/>
                        <a:pt x="613" y="504"/>
                        <a:pt x="617" y="500"/>
                      </a:cubicBezTo>
                      <a:cubicBezTo>
                        <a:pt x="620" y="496"/>
                        <a:pt x="616" y="494"/>
                        <a:pt x="613" y="497"/>
                      </a:cubicBezTo>
                      <a:cubicBezTo>
                        <a:pt x="610" y="500"/>
                        <a:pt x="608" y="496"/>
                        <a:pt x="612" y="494"/>
                      </a:cubicBezTo>
                      <a:cubicBezTo>
                        <a:pt x="616" y="493"/>
                        <a:pt x="624" y="491"/>
                        <a:pt x="620" y="484"/>
                      </a:cubicBezTo>
                      <a:cubicBezTo>
                        <a:pt x="616" y="477"/>
                        <a:pt x="592" y="486"/>
                        <a:pt x="585" y="489"/>
                      </a:cubicBezTo>
                      <a:cubicBezTo>
                        <a:pt x="579" y="493"/>
                        <a:pt x="571" y="504"/>
                        <a:pt x="568" y="504"/>
                      </a:cubicBezTo>
                      <a:cubicBezTo>
                        <a:pt x="565" y="504"/>
                        <a:pt x="574" y="498"/>
                        <a:pt x="575" y="496"/>
                      </a:cubicBezTo>
                      <a:cubicBezTo>
                        <a:pt x="577" y="494"/>
                        <a:pt x="575" y="491"/>
                        <a:pt x="577" y="492"/>
                      </a:cubicBezTo>
                      <a:cubicBezTo>
                        <a:pt x="579" y="493"/>
                        <a:pt x="584" y="485"/>
                        <a:pt x="588" y="482"/>
                      </a:cubicBezTo>
                      <a:cubicBezTo>
                        <a:pt x="592" y="479"/>
                        <a:pt x="596" y="482"/>
                        <a:pt x="596" y="479"/>
                      </a:cubicBezTo>
                      <a:cubicBezTo>
                        <a:pt x="597" y="477"/>
                        <a:pt x="599" y="475"/>
                        <a:pt x="602" y="472"/>
                      </a:cubicBezTo>
                      <a:cubicBezTo>
                        <a:pt x="606" y="469"/>
                        <a:pt x="649" y="470"/>
                        <a:pt x="653" y="470"/>
                      </a:cubicBezTo>
                      <a:cubicBezTo>
                        <a:pt x="657" y="470"/>
                        <a:pt x="665" y="464"/>
                        <a:pt x="667" y="461"/>
                      </a:cubicBezTo>
                      <a:cubicBezTo>
                        <a:pt x="669" y="457"/>
                        <a:pt x="672" y="457"/>
                        <a:pt x="678" y="458"/>
                      </a:cubicBezTo>
                      <a:cubicBezTo>
                        <a:pt x="684" y="458"/>
                        <a:pt x="687" y="453"/>
                        <a:pt x="689" y="451"/>
                      </a:cubicBezTo>
                      <a:cubicBezTo>
                        <a:pt x="692" y="449"/>
                        <a:pt x="691" y="448"/>
                        <a:pt x="689" y="447"/>
                      </a:cubicBezTo>
                      <a:cubicBezTo>
                        <a:pt x="686" y="447"/>
                        <a:pt x="684" y="445"/>
                        <a:pt x="686" y="445"/>
                      </a:cubicBezTo>
                      <a:cubicBezTo>
                        <a:pt x="689" y="445"/>
                        <a:pt x="690" y="443"/>
                        <a:pt x="691" y="440"/>
                      </a:cubicBezTo>
                      <a:cubicBezTo>
                        <a:pt x="692" y="437"/>
                        <a:pt x="690" y="438"/>
                        <a:pt x="687" y="434"/>
                      </a:cubicBezTo>
                      <a:cubicBezTo>
                        <a:pt x="683" y="430"/>
                        <a:pt x="682" y="435"/>
                        <a:pt x="678" y="435"/>
                      </a:cubicBezTo>
                      <a:cubicBezTo>
                        <a:pt x="675" y="435"/>
                        <a:pt x="681" y="430"/>
                        <a:pt x="678" y="429"/>
                      </a:cubicBezTo>
                      <a:cubicBezTo>
                        <a:pt x="675" y="427"/>
                        <a:pt x="670" y="428"/>
                        <a:pt x="665" y="432"/>
                      </a:cubicBezTo>
                      <a:cubicBezTo>
                        <a:pt x="661" y="435"/>
                        <a:pt x="661" y="432"/>
                        <a:pt x="658" y="435"/>
                      </a:cubicBezTo>
                      <a:cubicBezTo>
                        <a:pt x="654" y="439"/>
                        <a:pt x="654" y="433"/>
                        <a:pt x="656" y="432"/>
                      </a:cubicBezTo>
                      <a:cubicBezTo>
                        <a:pt x="657" y="430"/>
                        <a:pt x="659" y="432"/>
                        <a:pt x="660" y="430"/>
                      </a:cubicBezTo>
                      <a:cubicBezTo>
                        <a:pt x="662" y="428"/>
                        <a:pt x="664" y="430"/>
                        <a:pt x="668" y="427"/>
                      </a:cubicBezTo>
                      <a:cubicBezTo>
                        <a:pt x="672" y="425"/>
                        <a:pt x="675" y="426"/>
                        <a:pt x="677" y="424"/>
                      </a:cubicBezTo>
                      <a:cubicBezTo>
                        <a:pt x="678" y="422"/>
                        <a:pt x="675" y="419"/>
                        <a:pt x="671" y="420"/>
                      </a:cubicBezTo>
                      <a:cubicBezTo>
                        <a:pt x="667" y="421"/>
                        <a:pt x="664" y="415"/>
                        <a:pt x="662" y="417"/>
                      </a:cubicBezTo>
                      <a:cubicBezTo>
                        <a:pt x="659" y="418"/>
                        <a:pt x="660" y="414"/>
                        <a:pt x="657" y="416"/>
                      </a:cubicBezTo>
                      <a:cubicBezTo>
                        <a:pt x="654" y="417"/>
                        <a:pt x="652" y="415"/>
                        <a:pt x="651" y="412"/>
                      </a:cubicBezTo>
                      <a:cubicBezTo>
                        <a:pt x="650" y="408"/>
                        <a:pt x="642" y="403"/>
                        <a:pt x="637" y="401"/>
                      </a:cubicBezTo>
                      <a:cubicBezTo>
                        <a:pt x="633" y="400"/>
                        <a:pt x="636" y="397"/>
                        <a:pt x="638" y="399"/>
                      </a:cubicBezTo>
                      <a:cubicBezTo>
                        <a:pt x="641" y="401"/>
                        <a:pt x="644" y="397"/>
                        <a:pt x="645" y="396"/>
                      </a:cubicBezTo>
                      <a:cubicBezTo>
                        <a:pt x="646" y="394"/>
                        <a:pt x="643" y="392"/>
                        <a:pt x="642" y="392"/>
                      </a:cubicBezTo>
                      <a:cubicBezTo>
                        <a:pt x="640" y="392"/>
                        <a:pt x="640" y="390"/>
                        <a:pt x="641" y="388"/>
                      </a:cubicBezTo>
                      <a:cubicBezTo>
                        <a:pt x="641" y="386"/>
                        <a:pt x="636" y="384"/>
                        <a:pt x="635" y="382"/>
                      </a:cubicBezTo>
                      <a:cubicBezTo>
                        <a:pt x="635" y="380"/>
                        <a:pt x="632" y="379"/>
                        <a:pt x="632" y="377"/>
                      </a:cubicBezTo>
                      <a:cubicBezTo>
                        <a:pt x="632" y="376"/>
                        <a:pt x="629" y="373"/>
                        <a:pt x="629" y="371"/>
                      </a:cubicBezTo>
                      <a:cubicBezTo>
                        <a:pt x="629" y="369"/>
                        <a:pt x="624" y="365"/>
                        <a:pt x="624" y="362"/>
                      </a:cubicBezTo>
                      <a:cubicBezTo>
                        <a:pt x="624" y="360"/>
                        <a:pt x="621" y="358"/>
                        <a:pt x="620" y="355"/>
                      </a:cubicBezTo>
                      <a:cubicBezTo>
                        <a:pt x="619" y="352"/>
                        <a:pt x="617" y="353"/>
                        <a:pt x="616" y="358"/>
                      </a:cubicBezTo>
                      <a:cubicBezTo>
                        <a:pt x="615" y="362"/>
                        <a:pt x="611" y="362"/>
                        <a:pt x="612" y="363"/>
                      </a:cubicBezTo>
                      <a:cubicBezTo>
                        <a:pt x="615" y="366"/>
                        <a:pt x="613" y="366"/>
                        <a:pt x="611" y="368"/>
                      </a:cubicBezTo>
                      <a:cubicBezTo>
                        <a:pt x="610" y="370"/>
                        <a:pt x="612" y="372"/>
                        <a:pt x="610" y="372"/>
                      </a:cubicBezTo>
                      <a:cubicBezTo>
                        <a:pt x="607" y="372"/>
                        <a:pt x="608" y="378"/>
                        <a:pt x="607" y="376"/>
                      </a:cubicBezTo>
                      <a:cubicBezTo>
                        <a:pt x="605" y="373"/>
                        <a:pt x="602" y="374"/>
                        <a:pt x="602" y="376"/>
                      </a:cubicBezTo>
                      <a:cubicBezTo>
                        <a:pt x="602" y="379"/>
                        <a:pt x="596" y="381"/>
                        <a:pt x="594" y="381"/>
                      </a:cubicBezTo>
                      <a:cubicBezTo>
                        <a:pt x="592" y="381"/>
                        <a:pt x="592" y="376"/>
                        <a:pt x="590" y="377"/>
                      </a:cubicBezTo>
                      <a:cubicBezTo>
                        <a:pt x="588" y="379"/>
                        <a:pt x="588" y="373"/>
                        <a:pt x="585" y="373"/>
                      </a:cubicBezTo>
                      <a:cubicBezTo>
                        <a:pt x="582" y="374"/>
                        <a:pt x="580" y="373"/>
                        <a:pt x="581" y="371"/>
                      </a:cubicBezTo>
                      <a:cubicBezTo>
                        <a:pt x="582" y="368"/>
                        <a:pt x="576" y="367"/>
                        <a:pt x="578" y="365"/>
                      </a:cubicBezTo>
                      <a:cubicBezTo>
                        <a:pt x="580" y="363"/>
                        <a:pt x="577" y="361"/>
                        <a:pt x="577" y="356"/>
                      </a:cubicBezTo>
                      <a:cubicBezTo>
                        <a:pt x="576" y="351"/>
                        <a:pt x="579" y="351"/>
                        <a:pt x="579" y="349"/>
                      </a:cubicBezTo>
                      <a:cubicBezTo>
                        <a:pt x="579" y="347"/>
                        <a:pt x="577" y="347"/>
                        <a:pt x="575" y="349"/>
                      </a:cubicBezTo>
                      <a:cubicBezTo>
                        <a:pt x="573" y="350"/>
                        <a:pt x="573" y="347"/>
                        <a:pt x="571" y="347"/>
                      </a:cubicBezTo>
                      <a:cubicBezTo>
                        <a:pt x="568" y="347"/>
                        <a:pt x="561" y="347"/>
                        <a:pt x="561" y="344"/>
                      </a:cubicBezTo>
                      <a:cubicBezTo>
                        <a:pt x="561" y="340"/>
                        <a:pt x="558" y="342"/>
                        <a:pt x="557" y="339"/>
                      </a:cubicBezTo>
                      <a:cubicBezTo>
                        <a:pt x="556" y="336"/>
                        <a:pt x="553" y="338"/>
                        <a:pt x="553" y="336"/>
                      </a:cubicBezTo>
                      <a:cubicBezTo>
                        <a:pt x="553" y="334"/>
                        <a:pt x="552" y="333"/>
                        <a:pt x="550" y="333"/>
                      </a:cubicBezTo>
                      <a:cubicBezTo>
                        <a:pt x="548" y="333"/>
                        <a:pt x="547" y="330"/>
                        <a:pt x="544" y="330"/>
                      </a:cubicBezTo>
                      <a:cubicBezTo>
                        <a:pt x="541" y="330"/>
                        <a:pt x="538" y="332"/>
                        <a:pt x="536" y="333"/>
                      </a:cubicBezTo>
                      <a:cubicBezTo>
                        <a:pt x="535" y="333"/>
                        <a:pt x="530" y="330"/>
                        <a:pt x="529" y="331"/>
                      </a:cubicBezTo>
                      <a:cubicBezTo>
                        <a:pt x="527" y="333"/>
                        <a:pt x="527" y="331"/>
                        <a:pt x="522" y="329"/>
                      </a:cubicBezTo>
                      <a:cubicBezTo>
                        <a:pt x="518" y="328"/>
                        <a:pt x="512" y="328"/>
                        <a:pt x="512" y="329"/>
                      </a:cubicBezTo>
                      <a:cubicBezTo>
                        <a:pt x="511" y="331"/>
                        <a:pt x="508" y="331"/>
                        <a:pt x="508" y="335"/>
                      </a:cubicBezTo>
                      <a:cubicBezTo>
                        <a:pt x="509" y="339"/>
                        <a:pt x="513" y="338"/>
                        <a:pt x="514" y="341"/>
                      </a:cubicBezTo>
                      <a:cubicBezTo>
                        <a:pt x="514" y="343"/>
                        <a:pt x="512" y="342"/>
                        <a:pt x="512" y="345"/>
                      </a:cubicBezTo>
                      <a:cubicBezTo>
                        <a:pt x="511" y="347"/>
                        <a:pt x="509" y="347"/>
                        <a:pt x="509" y="348"/>
                      </a:cubicBezTo>
                      <a:cubicBezTo>
                        <a:pt x="509" y="350"/>
                        <a:pt x="511" y="350"/>
                        <a:pt x="512" y="353"/>
                      </a:cubicBezTo>
                      <a:cubicBezTo>
                        <a:pt x="512" y="356"/>
                        <a:pt x="514" y="356"/>
                        <a:pt x="515" y="360"/>
                      </a:cubicBezTo>
                      <a:cubicBezTo>
                        <a:pt x="515" y="364"/>
                        <a:pt x="513" y="364"/>
                        <a:pt x="512" y="364"/>
                      </a:cubicBezTo>
                      <a:cubicBezTo>
                        <a:pt x="510" y="365"/>
                        <a:pt x="512" y="367"/>
                        <a:pt x="509" y="370"/>
                      </a:cubicBezTo>
                      <a:cubicBezTo>
                        <a:pt x="507" y="372"/>
                        <a:pt x="505" y="376"/>
                        <a:pt x="507" y="377"/>
                      </a:cubicBezTo>
                      <a:cubicBezTo>
                        <a:pt x="509" y="379"/>
                        <a:pt x="516" y="382"/>
                        <a:pt x="519" y="387"/>
                      </a:cubicBezTo>
                      <a:cubicBezTo>
                        <a:pt x="522" y="392"/>
                        <a:pt x="521" y="399"/>
                        <a:pt x="520" y="405"/>
                      </a:cubicBezTo>
                      <a:cubicBezTo>
                        <a:pt x="520" y="410"/>
                        <a:pt x="514" y="411"/>
                        <a:pt x="509" y="416"/>
                      </a:cubicBezTo>
                      <a:cubicBezTo>
                        <a:pt x="505" y="420"/>
                        <a:pt x="500" y="420"/>
                        <a:pt x="498" y="420"/>
                      </a:cubicBezTo>
                      <a:cubicBezTo>
                        <a:pt x="496" y="420"/>
                        <a:pt x="497" y="424"/>
                        <a:pt x="500" y="428"/>
                      </a:cubicBezTo>
                      <a:cubicBezTo>
                        <a:pt x="503" y="431"/>
                        <a:pt x="501" y="432"/>
                        <a:pt x="502" y="436"/>
                      </a:cubicBezTo>
                      <a:cubicBezTo>
                        <a:pt x="504" y="439"/>
                        <a:pt x="502" y="442"/>
                        <a:pt x="504" y="445"/>
                      </a:cubicBezTo>
                      <a:cubicBezTo>
                        <a:pt x="507" y="449"/>
                        <a:pt x="505" y="450"/>
                        <a:pt x="503" y="452"/>
                      </a:cubicBezTo>
                      <a:cubicBezTo>
                        <a:pt x="500" y="455"/>
                        <a:pt x="504" y="453"/>
                        <a:pt x="504" y="456"/>
                      </a:cubicBezTo>
                      <a:cubicBezTo>
                        <a:pt x="504" y="459"/>
                        <a:pt x="503" y="458"/>
                        <a:pt x="500" y="456"/>
                      </a:cubicBezTo>
                      <a:cubicBezTo>
                        <a:pt x="498" y="454"/>
                        <a:pt x="496" y="459"/>
                        <a:pt x="496" y="461"/>
                      </a:cubicBezTo>
                      <a:cubicBezTo>
                        <a:pt x="496" y="463"/>
                        <a:pt x="490" y="458"/>
                        <a:pt x="489" y="458"/>
                      </a:cubicBezTo>
                      <a:cubicBezTo>
                        <a:pt x="488" y="459"/>
                        <a:pt x="489" y="455"/>
                        <a:pt x="486" y="453"/>
                      </a:cubicBezTo>
                      <a:cubicBezTo>
                        <a:pt x="483" y="450"/>
                        <a:pt x="481" y="450"/>
                        <a:pt x="481" y="447"/>
                      </a:cubicBezTo>
                      <a:cubicBezTo>
                        <a:pt x="481" y="445"/>
                        <a:pt x="475" y="443"/>
                        <a:pt x="475" y="440"/>
                      </a:cubicBezTo>
                      <a:cubicBezTo>
                        <a:pt x="475" y="437"/>
                        <a:pt x="476" y="430"/>
                        <a:pt x="474" y="428"/>
                      </a:cubicBezTo>
                      <a:cubicBezTo>
                        <a:pt x="473" y="426"/>
                        <a:pt x="474" y="423"/>
                        <a:pt x="475" y="422"/>
                      </a:cubicBezTo>
                      <a:cubicBezTo>
                        <a:pt x="476" y="420"/>
                        <a:pt x="474" y="417"/>
                        <a:pt x="471" y="417"/>
                      </a:cubicBezTo>
                      <a:cubicBezTo>
                        <a:pt x="468" y="417"/>
                        <a:pt x="463" y="415"/>
                        <a:pt x="459" y="416"/>
                      </a:cubicBezTo>
                      <a:cubicBezTo>
                        <a:pt x="454" y="416"/>
                        <a:pt x="452" y="415"/>
                        <a:pt x="450" y="414"/>
                      </a:cubicBezTo>
                      <a:cubicBezTo>
                        <a:pt x="449" y="413"/>
                        <a:pt x="445" y="410"/>
                        <a:pt x="439" y="409"/>
                      </a:cubicBezTo>
                      <a:cubicBezTo>
                        <a:pt x="434" y="407"/>
                        <a:pt x="431" y="405"/>
                        <a:pt x="431" y="403"/>
                      </a:cubicBezTo>
                      <a:cubicBezTo>
                        <a:pt x="430" y="401"/>
                        <a:pt x="425" y="400"/>
                        <a:pt x="423" y="399"/>
                      </a:cubicBezTo>
                      <a:cubicBezTo>
                        <a:pt x="422" y="397"/>
                        <a:pt x="417" y="396"/>
                        <a:pt x="415" y="396"/>
                      </a:cubicBezTo>
                      <a:cubicBezTo>
                        <a:pt x="413" y="397"/>
                        <a:pt x="407" y="392"/>
                        <a:pt x="404" y="392"/>
                      </a:cubicBezTo>
                      <a:cubicBezTo>
                        <a:pt x="401" y="392"/>
                        <a:pt x="393" y="395"/>
                        <a:pt x="392" y="396"/>
                      </a:cubicBezTo>
                      <a:cubicBezTo>
                        <a:pt x="391" y="396"/>
                        <a:pt x="392" y="393"/>
                        <a:pt x="393" y="392"/>
                      </a:cubicBezTo>
                      <a:cubicBezTo>
                        <a:pt x="394" y="390"/>
                        <a:pt x="390" y="385"/>
                        <a:pt x="390" y="382"/>
                      </a:cubicBezTo>
                      <a:cubicBezTo>
                        <a:pt x="389" y="378"/>
                        <a:pt x="387" y="374"/>
                        <a:pt x="384" y="375"/>
                      </a:cubicBezTo>
                      <a:cubicBezTo>
                        <a:pt x="380" y="375"/>
                        <a:pt x="376" y="373"/>
                        <a:pt x="375" y="372"/>
                      </a:cubicBezTo>
                      <a:cubicBezTo>
                        <a:pt x="374" y="372"/>
                        <a:pt x="374" y="362"/>
                        <a:pt x="374" y="357"/>
                      </a:cubicBezTo>
                      <a:cubicBezTo>
                        <a:pt x="375" y="353"/>
                        <a:pt x="380" y="347"/>
                        <a:pt x="380" y="344"/>
                      </a:cubicBezTo>
                      <a:cubicBezTo>
                        <a:pt x="380" y="341"/>
                        <a:pt x="383" y="340"/>
                        <a:pt x="386" y="339"/>
                      </a:cubicBezTo>
                      <a:cubicBezTo>
                        <a:pt x="388" y="339"/>
                        <a:pt x="386" y="333"/>
                        <a:pt x="389" y="333"/>
                      </a:cubicBezTo>
                      <a:cubicBezTo>
                        <a:pt x="392" y="333"/>
                        <a:pt x="392" y="332"/>
                        <a:pt x="392" y="329"/>
                      </a:cubicBezTo>
                      <a:cubicBezTo>
                        <a:pt x="393" y="327"/>
                        <a:pt x="396" y="329"/>
                        <a:pt x="394" y="327"/>
                      </a:cubicBezTo>
                      <a:cubicBezTo>
                        <a:pt x="392" y="325"/>
                        <a:pt x="394" y="325"/>
                        <a:pt x="398" y="325"/>
                      </a:cubicBezTo>
                      <a:cubicBezTo>
                        <a:pt x="402" y="325"/>
                        <a:pt x="408" y="323"/>
                        <a:pt x="407" y="319"/>
                      </a:cubicBezTo>
                      <a:cubicBezTo>
                        <a:pt x="406" y="315"/>
                        <a:pt x="396" y="318"/>
                        <a:pt x="396" y="315"/>
                      </a:cubicBezTo>
                      <a:cubicBezTo>
                        <a:pt x="396" y="311"/>
                        <a:pt x="382" y="311"/>
                        <a:pt x="383" y="309"/>
                      </a:cubicBezTo>
                      <a:cubicBezTo>
                        <a:pt x="384" y="307"/>
                        <a:pt x="397" y="311"/>
                        <a:pt x="401" y="312"/>
                      </a:cubicBezTo>
                      <a:cubicBezTo>
                        <a:pt x="406" y="314"/>
                        <a:pt x="407" y="314"/>
                        <a:pt x="411" y="314"/>
                      </a:cubicBezTo>
                      <a:cubicBezTo>
                        <a:pt x="415" y="314"/>
                        <a:pt x="412" y="309"/>
                        <a:pt x="413" y="307"/>
                      </a:cubicBezTo>
                      <a:cubicBezTo>
                        <a:pt x="413" y="305"/>
                        <a:pt x="421" y="310"/>
                        <a:pt x="425" y="309"/>
                      </a:cubicBezTo>
                      <a:cubicBezTo>
                        <a:pt x="429" y="308"/>
                        <a:pt x="433" y="299"/>
                        <a:pt x="436" y="297"/>
                      </a:cubicBezTo>
                      <a:cubicBezTo>
                        <a:pt x="440" y="295"/>
                        <a:pt x="436" y="293"/>
                        <a:pt x="430" y="293"/>
                      </a:cubicBezTo>
                      <a:cubicBezTo>
                        <a:pt x="423" y="294"/>
                        <a:pt x="420" y="291"/>
                        <a:pt x="416" y="288"/>
                      </a:cubicBezTo>
                      <a:cubicBezTo>
                        <a:pt x="412" y="286"/>
                        <a:pt x="413" y="284"/>
                        <a:pt x="417" y="284"/>
                      </a:cubicBezTo>
                      <a:cubicBezTo>
                        <a:pt x="420" y="284"/>
                        <a:pt x="429" y="292"/>
                        <a:pt x="433" y="292"/>
                      </a:cubicBezTo>
                      <a:cubicBezTo>
                        <a:pt x="436" y="292"/>
                        <a:pt x="442" y="285"/>
                        <a:pt x="445" y="283"/>
                      </a:cubicBezTo>
                      <a:cubicBezTo>
                        <a:pt x="448" y="281"/>
                        <a:pt x="442" y="280"/>
                        <a:pt x="440" y="278"/>
                      </a:cubicBezTo>
                      <a:cubicBezTo>
                        <a:pt x="438" y="277"/>
                        <a:pt x="443" y="276"/>
                        <a:pt x="446" y="276"/>
                      </a:cubicBezTo>
                      <a:cubicBezTo>
                        <a:pt x="449" y="276"/>
                        <a:pt x="450" y="278"/>
                        <a:pt x="451" y="280"/>
                      </a:cubicBezTo>
                      <a:cubicBezTo>
                        <a:pt x="453" y="281"/>
                        <a:pt x="458" y="279"/>
                        <a:pt x="460" y="279"/>
                      </a:cubicBezTo>
                      <a:cubicBezTo>
                        <a:pt x="463" y="279"/>
                        <a:pt x="460" y="275"/>
                        <a:pt x="456" y="273"/>
                      </a:cubicBezTo>
                      <a:cubicBezTo>
                        <a:pt x="451" y="271"/>
                        <a:pt x="456" y="268"/>
                        <a:pt x="457" y="271"/>
                      </a:cubicBezTo>
                      <a:cubicBezTo>
                        <a:pt x="458" y="273"/>
                        <a:pt x="461" y="273"/>
                        <a:pt x="463" y="276"/>
                      </a:cubicBezTo>
                      <a:cubicBezTo>
                        <a:pt x="465" y="280"/>
                        <a:pt x="466" y="277"/>
                        <a:pt x="469" y="276"/>
                      </a:cubicBezTo>
                      <a:cubicBezTo>
                        <a:pt x="473" y="275"/>
                        <a:pt x="475" y="272"/>
                        <a:pt x="477" y="270"/>
                      </a:cubicBezTo>
                      <a:cubicBezTo>
                        <a:pt x="479" y="268"/>
                        <a:pt x="479" y="271"/>
                        <a:pt x="481" y="267"/>
                      </a:cubicBezTo>
                      <a:cubicBezTo>
                        <a:pt x="484" y="264"/>
                        <a:pt x="480" y="261"/>
                        <a:pt x="478" y="259"/>
                      </a:cubicBezTo>
                      <a:cubicBezTo>
                        <a:pt x="475" y="256"/>
                        <a:pt x="478" y="254"/>
                        <a:pt x="475" y="253"/>
                      </a:cubicBezTo>
                      <a:cubicBezTo>
                        <a:pt x="472" y="251"/>
                        <a:pt x="471" y="249"/>
                        <a:pt x="475" y="249"/>
                      </a:cubicBezTo>
                      <a:cubicBezTo>
                        <a:pt x="479" y="250"/>
                        <a:pt x="481" y="249"/>
                        <a:pt x="483" y="247"/>
                      </a:cubicBezTo>
                      <a:cubicBezTo>
                        <a:pt x="485" y="244"/>
                        <a:pt x="478" y="244"/>
                        <a:pt x="481" y="242"/>
                      </a:cubicBezTo>
                      <a:cubicBezTo>
                        <a:pt x="484" y="240"/>
                        <a:pt x="481" y="238"/>
                        <a:pt x="478" y="238"/>
                      </a:cubicBezTo>
                      <a:cubicBezTo>
                        <a:pt x="475" y="238"/>
                        <a:pt x="472" y="237"/>
                        <a:pt x="472" y="234"/>
                      </a:cubicBezTo>
                      <a:cubicBezTo>
                        <a:pt x="472" y="231"/>
                        <a:pt x="466" y="233"/>
                        <a:pt x="463" y="231"/>
                      </a:cubicBezTo>
                      <a:cubicBezTo>
                        <a:pt x="460" y="230"/>
                        <a:pt x="452" y="230"/>
                        <a:pt x="450" y="230"/>
                      </a:cubicBezTo>
                      <a:cubicBezTo>
                        <a:pt x="449" y="231"/>
                        <a:pt x="448" y="238"/>
                        <a:pt x="451" y="238"/>
                      </a:cubicBezTo>
                      <a:cubicBezTo>
                        <a:pt x="454" y="238"/>
                        <a:pt x="456" y="241"/>
                        <a:pt x="454" y="242"/>
                      </a:cubicBezTo>
                      <a:cubicBezTo>
                        <a:pt x="451" y="243"/>
                        <a:pt x="454" y="246"/>
                        <a:pt x="452" y="245"/>
                      </a:cubicBezTo>
                      <a:cubicBezTo>
                        <a:pt x="450" y="245"/>
                        <a:pt x="448" y="244"/>
                        <a:pt x="447" y="249"/>
                      </a:cubicBezTo>
                      <a:cubicBezTo>
                        <a:pt x="446" y="254"/>
                        <a:pt x="446" y="255"/>
                        <a:pt x="443" y="257"/>
                      </a:cubicBezTo>
                      <a:cubicBezTo>
                        <a:pt x="440" y="259"/>
                        <a:pt x="442" y="252"/>
                        <a:pt x="440" y="252"/>
                      </a:cubicBezTo>
                      <a:cubicBezTo>
                        <a:pt x="437" y="252"/>
                        <a:pt x="436" y="258"/>
                        <a:pt x="438" y="258"/>
                      </a:cubicBezTo>
                      <a:cubicBezTo>
                        <a:pt x="441" y="259"/>
                        <a:pt x="441" y="261"/>
                        <a:pt x="441" y="263"/>
                      </a:cubicBezTo>
                      <a:cubicBezTo>
                        <a:pt x="442" y="266"/>
                        <a:pt x="438" y="264"/>
                        <a:pt x="436" y="267"/>
                      </a:cubicBezTo>
                      <a:cubicBezTo>
                        <a:pt x="434" y="270"/>
                        <a:pt x="434" y="266"/>
                        <a:pt x="431" y="264"/>
                      </a:cubicBezTo>
                      <a:cubicBezTo>
                        <a:pt x="429" y="262"/>
                        <a:pt x="426" y="258"/>
                        <a:pt x="426" y="255"/>
                      </a:cubicBezTo>
                      <a:cubicBezTo>
                        <a:pt x="426" y="253"/>
                        <a:pt x="427" y="252"/>
                        <a:pt x="429" y="252"/>
                      </a:cubicBezTo>
                      <a:cubicBezTo>
                        <a:pt x="431" y="251"/>
                        <a:pt x="429" y="250"/>
                        <a:pt x="429" y="246"/>
                      </a:cubicBezTo>
                      <a:cubicBezTo>
                        <a:pt x="429" y="243"/>
                        <a:pt x="427" y="244"/>
                        <a:pt x="424" y="241"/>
                      </a:cubicBezTo>
                      <a:cubicBezTo>
                        <a:pt x="421" y="237"/>
                        <a:pt x="418" y="237"/>
                        <a:pt x="416" y="239"/>
                      </a:cubicBezTo>
                      <a:cubicBezTo>
                        <a:pt x="415" y="241"/>
                        <a:pt x="416" y="244"/>
                        <a:pt x="413" y="245"/>
                      </a:cubicBezTo>
                      <a:cubicBezTo>
                        <a:pt x="411" y="246"/>
                        <a:pt x="412" y="251"/>
                        <a:pt x="410" y="251"/>
                      </a:cubicBezTo>
                      <a:cubicBezTo>
                        <a:pt x="408" y="252"/>
                        <a:pt x="409" y="242"/>
                        <a:pt x="407" y="242"/>
                      </a:cubicBezTo>
                      <a:cubicBezTo>
                        <a:pt x="405" y="241"/>
                        <a:pt x="405" y="239"/>
                        <a:pt x="408" y="238"/>
                      </a:cubicBezTo>
                      <a:cubicBezTo>
                        <a:pt x="411" y="238"/>
                        <a:pt x="412" y="235"/>
                        <a:pt x="410" y="235"/>
                      </a:cubicBezTo>
                      <a:cubicBezTo>
                        <a:pt x="408" y="235"/>
                        <a:pt x="404" y="232"/>
                        <a:pt x="402" y="232"/>
                      </a:cubicBezTo>
                      <a:cubicBezTo>
                        <a:pt x="400" y="231"/>
                        <a:pt x="398" y="235"/>
                        <a:pt x="396" y="233"/>
                      </a:cubicBezTo>
                      <a:cubicBezTo>
                        <a:pt x="394" y="232"/>
                        <a:pt x="396" y="228"/>
                        <a:pt x="396" y="226"/>
                      </a:cubicBezTo>
                      <a:cubicBezTo>
                        <a:pt x="397" y="224"/>
                        <a:pt x="399" y="227"/>
                        <a:pt x="401" y="225"/>
                      </a:cubicBezTo>
                      <a:cubicBezTo>
                        <a:pt x="403" y="222"/>
                        <a:pt x="396" y="222"/>
                        <a:pt x="396" y="220"/>
                      </a:cubicBezTo>
                      <a:cubicBezTo>
                        <a:pt x="396" y="217"/>
                        <a:pt x="391" y="216"/>
                        <a:pt x="389" y="215"/>
                      </a:cubicBezTo>
                      <a:cubicBezTo>
                        <a:pt x="387" y="214"/>
                        <a:pt x="390" y="210"/>
                        <a:pt x="389" y="208"/>
                      </a:cubicBezTo>
                      <a:cubicBezTo>
                        <a:pt x="388" y="206"/>
                        <a:pt x="382" y="201"/>
                        <a:pt x="379" y="201"/>
                      </a:cubicBezTo>
                      <a:cubicBezTo>
                        <a:pt x="376" y="202"/>
                        <a:pt x="375" y="197"/>
                        <a:pt x="377" y="198"/>
                      </a:cubicBezTo>
                      <a:cubicBezTo>
                        <a:pt x="379" y="198"/>
                        <a:pt x="380" y="197"/>
                        <a:pt x="383" y="193"/>
                      </a:cubicBezTo>
                      <a:cubicBezTo>
                        <a:pt x="386" y="190"/>
                        <a:pt x="386" y="189"/>
                        <a:pt x="384" y="188"/>
                      </a:cubicBezTo>
                      <a:cubicBezTo>
                        <a:pt x="382" y="187"/>
                        <a:pt x="381" y="185"/>
                        <a:pt x="385" y="185"/>
                      </a:cubicBezTo>
                      <a:cubicBezTo>
                        <a:pt x="388" y="186"/>
                        <a:pt x="395" y="188"/>
                        <a:pt x="397" y="186"/>
                      </a:cubicBezTo>
                      <a:cubicBezTo>
                        <a:pt x="399" y="185"/>
                        <a:pt x="406" y="174"/>
                        <a:pt x="409" y="171"/>
                      </a:cubicBezTo>
                      <a:cubicBezTo>
                        <a:pt x="411" y="167"/>
                        <a:pt x="407" y="166"/>
                        <a:pt x="400" y="167"/>
                      </a:cubicBezTo>
                      <a:cubicBezTo>
                        <a:pt x="394" y="168"/>
                        <a:pt x="392" y="165"/>
                        <a:pt x="387" y="164"/>
                      </a:cubicBezTo>
                      <a:cubicBezTo>
                        <a:pt x="382" y="164"/>
                        <a:pt x="372" y="165"/>
                        <a:pt x="370" y="167"/>
                      </a:cubicBezTo>
                      <a:cubicBezTo>
                        <a:pt x="369" y="168"/>
                        <a:pt x="373" y="170"/>
                        <a:pt x="372" y="172"/>
                      </a:cubicBezTo>
                      <a:cubicBezTo>
                        <a:pt x="372" y="173"/>
                        <a:pt x="369" y="170"/>
                        <a:pt x="367" y="171"/>
                      </a:cubicBezTo>
                      <a:cubicBezTo>
                        <a:pt x="366" y="172"/>
                        <a:pt x="368" y="174"/>
                        <a:pt x="367" y="180"/>
                      </a:cubicBezTo>
                      <a:cubicBezTo>
                        <a:pt x="367" y="187"/>
                        <a:pt x="369" y="187"/>
                        <a:pt x="370" y="189"/>
                      </a:cubicBezTo>
                      <a:cubicBezTo>
                        <a:pt x="372" y="192"/>
                        <a:pt x="372" y="195"/>
                        <a:pt x="372" y="199"/>
                      </a:cubicBezTo>
                      <a:cubicBezTo>
                        <a:pt x="372" y="203"/>
                        <a:pt x="368" y="202"/>
                        <a:pt x="367" y="203"/>
                      </a:cubicBezTo>
                      <a:cubicBezTo>
                        <a:pt x="366" y="204"/>
                        <a:pt x="370" y="206"/>
                        <a:pt x="369" y="208"/>
                      </a:cubicBezTo>
                      <a:cubicBezTo>
                        <a:pt x="369" y="211"/>
                        <a:pt x="365" y="207"/>
                        <a:pt x="363" y="207"/>
                      </a:cubicBezTo>
                      <a:cubicBezTo>
                        <a:pt x="361" y="208"/>
                        <a:pt x="359" y="214"/>
                        <a:pt x="361" y="216"/>
                      </a:cubicBezTo>
                      <a:cubicBezTo>
                        <a:pt x="363" y="218"/>
                        <a:pt x="364" y="218"/>
                        <a:pt x="362" y="220"/>
                      </a:cubicBezTo>
                      <a:cubicBezTo>
                        <a:pt x="361" y="222"/>
                        <a:pt x="359" y="226"/>
                        <a:pt x="363" y="229"/>
                      </a:cubicBezTo>
                      <a:cubicBezTo>
                        <a:pt x="367" y="232"/>
                        <a:pt x="375" y="232"/>
                        <a:pt x="379" y="235"/>
                      </a:cubicBezTo>
                      <a:cubicBezTo>
                        <a:pt x="383" y="237"/>
                        <a:pt x="377" y="236"/>
                        <a:pt x="379" y="239"/>
                      </a:cubicBezTo>
                      <a:cubicBezTo>
                        <a:pt x="381" y="242"/>
                        <a:pt x="376" y="243"/>
                        <a:pt x="377" y="245"/>
                      </a:cubicBezTo>
                      <a:cubicBezTo>
                        <a:pt x="377" y="248"/>
                        <a:pt x="378" y="246"/>
                        <a:pt x="380" y="242"/>
                      </a:cubicBezTo>
                      <a:cubicBezTo>
                        <a:pt x="383" y="239"/>
                        <a:pt x="384" y="244"/>
                        <a:pt x="384" y="247"/>
                      </a:cubicBezTo>
                      <a:cubicBezTo>
                        <a:pt x="384" y="250"/>
                        <a:pt x="381" y="248"/>
                        <a:pt x="379" y="252"/>
                      </a:cubicBezTo>
                      <a:cubicBezTo>
                        <a:pt x="376" y="255"/>
                        <a:pt x="374" y="256"/>
                        <a:pt x="371" y="255"/>
                      </a:cubicBezTo>
                      <a:cubicBezTo>
                        <a:pt x="367" y="254"/>
                        <a:pt x="369" y="260"/>
                        <a:pt x="371" y="263"/>
                      </a:cubicBezTo>
                      <a:cubicBezTo>
                        <a:pt x="372" y="266"/>
                        <a:pt x="370" y="267"/>
                        <a:pt x="366" y="266"/>
                      </a:cubicBezTo>
                      <a:cubicBezTo>
                        <a:pt x="362" y="265"/>
                        <a:pt x="360" y="262"/>
                        <a:pt x="362" y="259"/>
                      </a:cubicBezTo>
                      <a:cubicBezTo>
                        <a:pt x="364" y="256"/>
                        <a:pt x="366" y="253"/>
                        <a:pt x="363" y="253"/>
                      </a:cubicBezTo>
                      <a:cubicBezTo>
                        <a:pt x="361" y="253"/>
                        <a:pt x="356" y="253"/>
                        <a:pt x="354" y="250"/>
                      </a:cubicBezTo>
                      <a:cubicBezTo>
                        <a:pt x="352" y="248"/>
                        <a:pt x="355" y="249"/>
                        <a:pt x="360" y="249"/>
                      </a:cubicBezTo>
                      <a:cubicBezTo>
                        <a:pt x="365" y="250"/>
                        <a:pt x="361" y="246"/>
                        <a:pt x="364" y="246"/>
                      </a:cubicBezTo>
                      <a:cubicBezTo>
                        <a:pt x="368" y="246"/>
                        <a:pt x="370" y="248"/>
                        <a:pt x="373" y="245"/>
                      </a:cubicBezTo>
                      <a:cubicBezTo>
                        <a:pt x="376" y="243"/>
                        <a:pt x="371" y="238"/>
                        <a:pt x="369" y="239"/>
                      </a:cubicBezTo>
                      <a:cubicBezTo>
                        <a:pt x="366" y="239"/>
                        <a:pt x="362" y="241"/>
                        <a:pt x="362" y="238"/>
                      </a:cubicBezTo>
                      <a:cubicBezTo>
                        <a:pt x="362" y="236"/>
                        <a:pt x="367" y="237"/>
                        <a:pt x="369" y="237"/>
                      </a:cubicBezTo>
                      <a:cubicBezTo>
                        <a:pt x="371" y="236"/>
                        <a:pt x="368" y="233"/>
                        <a:pt x="364" y="234"/>
                      </a:cubicBezTo>
                      <a:cubicBezTo>
                        <a:pt x="361" y="235"/>
                        <a:pt x="358" y="235"/>
                        <a:pt x="355" y="232"/>
                      </a:cubicBezTo>
                      <a:cubicBezTo>
                        <a:pt x="352" y="229"/>
                        <a:pt x="347" y="227"/>
                        <a:pt x="346" y="234"/>
                      </a:cubicBezTo>
                      <a:cubicBezTo>
                        <a:pt x="345" y="241"/>
                        <a:pt x="340" y="237"/>
                        <a:pt x="338" y="240"/>
                      </a:cubicBezTo>
                      <a:cubicBezTo>
                        <a:pt x="336" y="242"/>
                        <a:pt x="340" y="244"/>
                        <a:pt x="345" y="244"/>
                      </a:cubicBezTo>
                      <a:cubicBezTo>
                        <a:pt x="350" y="244"/>
                        <a:pt x="353" y="248"/>
                        <a:pt x="351" y="248"/>
                      </a:cubicBezTo>
                      <a:cubicBezTo>
                        <a:pt x="349" y="248"/>
                        <a:pt x="350" y="252"/>
                        <a:pt x="347" y="250"/>
                      </a:cubicBezTo>
                      <a:cubicBezTo>
                        <a:pt x="345" y="249"/>
                        <a:pt x="342" y="250"/>
                        <a:pt x="344" y="253"/>
                      </a:cubicBezTo>
                      <a:cubicBezTo>
                        <a:pt x="346" y="255"/>
                        <a:pt x="343" y="256"/>
                        <a:pt x="344" y="258"/>
                      </a:cubicBezTo>
                      <a:cubicBezTo>
                        <a:pt x="344" y="260"/>
                        <a:pt x="340" y="258"/>
                        <a:pt x="336" y="258"/>
                      </a:cubicBezTo>
                      <a:cubicBezTo>
                        <a:pt x="332" y="257"/>
                        <a:pt x="325" y="259"/>
                        <a:pt x="320" y="260"/>
                      </a:cubicBezTo>
                      <a:cubicBezTo>
                        <a:pt x="315" y="261"/>
                        <a:pt x="310" y="259"/>
                        <a:pt x="308" y="257"/>
                      </a:cubicBezTo>
                      <a:cubicBezTo>
                        <a:pt x="306" y="254"/>
                        <a:pt x="303" y="255"/>
                        <a:pt x="299" y="255"/>
                      </a:cubicBezTo>
                      <a:cubicBezTo>
                        <a:pt x="296" y="255"/>
                        <a:pt x="297" y="251"/>
                        <a:pt x="292" y="251"/>
                      </a:cubicBezTo>
                      <a:cubicBezTo>
                        <a:pt x="287" y="251"/>
                        <a:pt x="288" y="247"/>
                        <a:pt x="288" y="245"/>
                      </a:cubicBezTo>
                      <a:cubicBezTo>
                        <a:pt x="287" y="242"/>
                        <a:pt x="278" y="243"/>
                        <a:pt x="275" y="245"/>
                      </a:cubicBezTo>
                      <a:cubicBezTo>
                        <a:pt x="271" y="247"/>
                        <a:pt x="265" y="246"/>
                        <a:pt x="263" y="250"/>
                      </a:cubicBezTo>
                      <a:cubicBezTo>
                        <a:pt x="261" y="254"/>
                        <a:pt x="265" y="254"/>
                        <a:pt x="267" y="254"/>
                      </a:cubicBezTo>
                      <a:cubicBezTo>
                        <a:pt x="269" y="254"/>
                        <a:pt x="269" y="250"/>
                        <a:pt x="274" y="251"/>
                      </a:cubicBezTo>
                      <a:cubicBezTo>
                        <a:pt x="279" y="252"/>
                        <a:pt x="283" y="246"/>
                        <a:pt x="285" y="248"/>
                      </a:cubicBezTo>
                      <a:cubicBezTo>
                        <a:pt x="287" y="250"/>
                        <a:pt x="276" y="254"/>
                        <a:pt x="272" y="255"/>
                      </a:cubicBezTo>
                      <a:cubicBezTo>
                        <a:pt x="267" y="256"/>
                        <a:pt x="268" y="260"/>
                        <a:pt x="272" y="266"/>
                      </a:cubicBezTo>
                      <a:cubicBezTo>
                        <a:pt x="277" y="273"/>
                        <a:pt x="270" y="269"/>
                        <a:pt x="270" y="272"/>
                      </a:cubicBezTo>
                      <a:cubicBezTo>
                        <a:pt x="270" y="275"/>
                        <a:pt x="262" y="271"/>
                        <a:pt x="265" y="270"/>
                      </a:cubicBezTo>
                      <a:cubicBezTo>
                        <a:pt x="269" y="269"/>
                        <a:pt x="267" y="266"/>
                        <a:pt x="265" y="264"/>
                      </a:cubicBezTo>
                      <a:cubicBezTo>
                        <a:pt x="262" y="261"/>
                        <a:pt x="260" y="264"/>
                        <a:pt x="260" y="261"/>
                      </a:cubicBezTo>
                      <a:cubicBezTo>
                        <a:pt x="261" y="259"/>
                        <a:pt x="258" y="261"/>
                        <a:pt x="255" y="259"/>
                      </a:cubicBezTo>
                      <a:cubicBezTo>
                        <a:pt x="253" y="257"/>
                        <a:pt x="251" y="256"/>
                        <a:pt x="248" y="258"/>
                      </a:cubicBezTo>
                      <a:cubicBezTo>
                        <a:pt x="245" y="259"/>
                        <a:pt x="241" y="259"/>
                        <a:pt x="233" y="260"/>
                      </a:cubicBezTo>
                      <a:cubicBezTo>
                        <a:pt x="226" y="261"/>
                        <a:pt x="212" y="261"/>
                        <a:pt x="209" y="259"/>
                      </a:cubicBezTo>
                      <a:cubicBezTo>
                        <a:pt x="207" y="256"/>
                        <a:pt x="216" y="252"/>
                        <a:pt x="219" y="252"/>
                      </a:cubicBezTo>
                      <a:cubicBezTo>
                        <a:pt x="221" y="253"/>
                        <a:pt x="220" y="249"/>
                        <a:pt x="216" y="246"/>
                      </a:cubicBezTo>
                      <a:cubicBezTo>
                        <a:pt x="211" y="243"/>
                        <a:pt x="202" y="241"/>
                        <a:pt x="202" y="243"/>
                      </a:cubicBezTo>
                      <a:cubicBezTo>
                        <a:pt x="203" y="245"/>
                        <a:pt x="197" y="243"/>
                        <a:pt x="191" y="242"/>
                      </a:cubicBezTo>
                      <a:cubicBezTo>
                        <a:pt x="184" y="241"/>
                        <a:pt x="183" y="238"/>
                        <a:pt x="179" y="238"/>
                      </a:cubicBezTo>
                      <a:cubicBezTo>
                        <a:pt x="175" y="238"/>
                        <a:pt x="168" y="237"/>
                        <a:pt x="163" y="233"/>
                      </a:cubicBezTo>
                      <a:cubicBezTo>
                        <a:pt x="158" y="229"/>
                        <a:pt x="146" y="230"/>
                        <a:pt x="145" y="234"/>
                      </a:cubicBezTo>
                      <a:cubicBezTo>
                        <a:pt x="144" y="237"/>
                        <a:pt x="140" y="237"/>
                        <a:pt x="136" y="237"/>
                      </a:cubicBezTo>
                      <a:cubicBezTo>
                        <a:pt x="132" y="237"/>
                        <a:pt x="138" y="233"/>
                        <a:pt x="136" y="232"/>
                      </a:cubicBezTo>
                      <a:cubicBezTo>
                        <a:pt x="134" y="231"/>
                        <a:pt x="136" y="226"/>
                        <a:pt x="133" y="226"/>
                      </a:cubicBezTo>
                      <a:cubicBezTo>
                        <a:pt x="131" y="225"/>
                        <a:pt x="128" y="237"/>
                        <a:pt x="123" y="237"/>
                      </a:cubicBezTo>
                      <a:cubicBezTo>
                        <a:pt x="117" y="237"/>
                        <a:pt x="115" y="224"/>
                        <a:pt x="110" y="221"/>
                      </a:cubicBezTo>
                      <a:cubicBezTo>
                        <a:pt x="106" y="218"/>
                        <a:pt x="102" y="217"/>
                        <a:pt x="106" y="222"/>
                      </a:cubicBezTo>
                      <a:cubicBezTo>
                        <a:pt x="109" y="227"/>
                        <a:pt x="102" y="224"/>
                        <a:pt x="103" y="227"/>
                      </a:cubicBezTo>
                      <a:cubicBezTo>
                        <a:pt x="103" y="230"/>
                        <a:pt x="97" y="234"/>
                        <a:pt x="97" y="232"/>
                      </a:cubicBezTo>
                      <a:cubicBezTo>
                        <a:pt x="97" y="230"/>
                        <a:pt x="93" y="228"/>
                        <a:pt x="89" y="233"/>
                      </a:cubicBezTo>
                      <a:cubicBezTo>
                        <a:pt x="85" y="238"/>
                        <a:pt x="82" y="238"/>
                        <a:pt x="81" y="236"/>
                      </a:cubicBezTo>
                      <a:cubicBezTo>
                        <a:pt x="81" y="234"/>
                        <a:pt x="68" y="241"/>
                        <a:pt x="69" y="243"/>
                      </a:cubicBezTo>
                      <a:cubicBezTo>
                        <a:pt x="69" y="245"/>
                        <a:pt x="67" y="246"/>
                        <a:pt x="64" y="246"/>
                      </a:cubicBezTo>
                      <a:cubicBezTo>
                        <a:pt x="60" y="246"/>
                        <a:pt x="63" y="243"/>
                        <a:pt x="66" y="242"/>
                      </a:cubicBezTo>
                      <a:cubicBezTo>
                        <a:pt x="69" y="240"/>
                        <a:pt x="77" y="234"/>
                        <a:pt x="81" y="233"/>
                      </a:cubicBezTo>
                      <a:cubicBezTo>
                        <a:pt x="85" y="232"/>
                        <a:pt x="94" y="229"/>
                        <a:pt x="94" y="227"/>
                      </a:cubicBezTo>
                      <a:cubicBezTo>
                        <a:pt x="94" y="225"/>
                        <a:pt x="90" y="226"/>
                        <a:pt x="87" y="226"/>
                      </a:cubicBezTo>
                      <a:cubicBezTo>
                        <a:pt x="84" y="225"/>
                        <a:pt x="79" y="229"/>
                        <a:pt x="74" y="231"/>
                      </a:cubicBezTo>
                      <a:cubicBezTo>
                        <a:pt x="69" y="233"/>
                        <a:pt x="64" y="232"/>
                        <a:pt x="65" y="235"/>
                      </a:cubicBezTo>
                      <a:cubicBezTo>
                        <a:pt x="67" y="238"/>
                        <a:pt x="61" y="235"/>
                        <a:pt x="59" y="237"/>
                      </a:cubicBezTo>
                      <a:cubicBezTo>
                        <a:pt x="58" y="239"/>
                        <a:pt x="56" y="236"/>
                        <a:pt x="58" y="235"/>
                      </a:cubicBezTo>
                      <a:cubicBezTo>
                        <a:pt x="59" y="234"/>
                        <a:pt x="53" y="232"/>
                        <a:pt x="53" y="234"/>
                      </a:cubicBezTo>
                      <a:cubicBezTo>
                        <a:pt x="53" y="235"/>
                        <a:pt x="52" y="236"/>
                        <a:pt x="48" y="236"/>
                      </a:cubicBezTo>
                      <a:cubicBezTo>
                        <a:pt x="44" y="236"/>
                        <a:pt x="39" y="239"/>
                        <a:pt x="42" y="242"/>
                      </a:cubicBezTo>
                      <a:cubicBezTo>
                        <a:pt x="45" y="244"/>
                        <a:pt x="47" y="245"/>
                        <a:pt x="46" y="246"/>
                      </a:cubicBezTo>
                      <a:cubicBezTo>
                        <a:pt x="44" y="248"/>
                        <a:pt x="40" y="242"/>
                        <a:pt x="33" y="243"/>
                      </a:cubicBezTo>
                      <a:cubicBezTo>
                        <a:pt x="27" y="244"/>
                        <a:pt x="15" y="236"/>
                        <a:pt x="15" y="234"/>
                      </a:cubicBezTo>
                      <a:cubicBezTo>
                        <a:pt x="15" y="233"/>
                        <a:pt x="6" y="234"/>
                        <a:pt x="0" y="233"/>
                      </a:cubicBezTo>
                      <a:cubicBezTo>
                        <a:pt x="0" y="356"/>
                        <a:pt x="0" y="356"/>
                        <a:pt x="0" y="356"/>
                      </a:cubicBezTo>
                      <a:cubicBezTo>
                        <a:pt x="0" y="356"/>
                        <a:pt x="3" y="359"/>
                        <a:pt x="4" y="357"/>
                      </a:cubicBezTo>
                      <a:cubicBezTo>
                        <a:pt x="5" y="356"/>
                        <a:pt x="7" y="358"/>
                        <a:pt x="11" y="356"/>
                      </a:cubicBezTo>
                      <a:cubicBezTo>
                        <a:pt x="16" y="354"/>
                        <a:pt x="17" y="358"/>
                        <a:pt x="17" y="360"/>
                      </a:cubicBezTo>
                      <a:cubicBezTo>
                        <a:pt x="17" y="362"/>
                        <a:pt x="23" y="365"/>
                        <a:pt x="25" y="368"/>
                      </a:cubicBezTo>
                      <a:cubicBezTo>
                        <a:pt x="27" y="371"/>
                        <a:pt x="29" y="374"/>
                        <a:pt x="31" y="372"/>
                      </a:cubicBezTo>
                      <a:cubicBezTo>
                        <a:pt x="34" y="370"/>
                        <a:pt x="39" y="369"/>
                        <a:pt x="39" y="366"/>
                      </a:cubicBezTo>
                      <a:cubicBezTo>
                        <a:pt x="39" y="363"/>
                        <a:pt x="50" y="363"/>
                        <a:pt x="50" y="367"/>
                      </a:cubicBezTo>
                      <a:cubicBezTo>
                        <a:pt x="50" y="371"/>
                        <a:pt x="61" y="376"/>
                        <a:pt x="67" y="386"/>
                      </a:cubicBezTo>
                      <a:cubicBezTo>
                        <a:pt x="73" y="397"/>
                        <a:pt x="72" y="400"/>
                        <a:pt x="81" y="403"/>
                      </a:cubicBezTo>
                      <a:cubicBezTo>
                        <a:pt x="90" y="407"/>
                        <a:pt x="90" y="409"/>
                        <a:pt x="89" y="412"/>
                      </a:cubicBezTo>
                      <a:cubicBezTo>
                        <a:pt x="88" y="415"/>
                        <a:pt x="94" y="417"/>
                        <a:pt x="90" y="419"/>
                      </a:cubicBezTo>
                      <a:cubicBezTo>
                        <a:pt x="89" y="420"/>
                        <a:pt x="87" y="422"/>
                        <a:pt x="85" y="423"/>
                      </a:cubicBezTo>
                      <a:cubicBezTo>
                        <a:pt x="85" y="425"/>
                        <a:pt x="87" y="426"/>
                        <a:pt x="88" y="427"/>
                      </a:cubicBezTo>
                      <a:cubicBezTo>
                        <a:pt x="90" y="429"/>
                        <a:pt x="84" y="429"/>
                        <a:pt x="86" y="431"/>
                      </a:cubicBezTo>
                      <a:cubicBezTo>
                        <a:pt x="88" y="432"/>
                        <a:pt x="86" y="435"/>
                        <a:pt x="88" y="437"/>
                      </a:cubicBezTo>
                      <a:cubicBezTo>
                        <a:pt x="89" y="439"/>
                        <a:pt x="93" y="438"/>
                        <a:pt x="95" y="436"/>
                      </a:cubicBezTo>
                      <a:cubicBezTo>
                        <a:pt x="97" y="435"/>
                        <a:pt x="98" y="438"/>
                        <a:pt x="96" y="441"/>
                      </a:cubicBezTo>
                      <a:cubicBezTo>
                        <a:pt x="95" y="444"/>
                        <a:pt x="98" y="446"/>
                        <a:pt x="100" y="444"/>
                      </a:cubicBezTo>
                      <a:cubicBezTo>
                        <a:pt x="101" y="442"/>
                        <a:pt x="105" y="447"/>
                        <a:pt x="106" y="448"/>
                      </a:cubicBezTo>
                      <a:cubicBezTo>
                        <a:pt x="108" y="449"/>
                        <a:pt x="110" y="451"/>
                        <a:pt x="107" y="451"/>
                      </a:cubicBezTo>
                      <a:cubicBezTo>
                        <a:pt x="104" y="451"/>
                        <a:pt x="105" y="456"/>
                        <a:pt x="107" y="456"/>
                      </a:cubicBezTo>
                      <a:cubicBezTo>
                        <a:pt x="109" y="456"/>
                        <a:pt x="108" y="459"/>
                        <a:pt x="108" y="460"/>
                      </a:cubicBezTo>
                      <a:cubicBezTo>
                        <a:pt x="108" y="462"/>
                        <a:pt x="115" y="464"/>
                        <a:pt x="117" y="464"/>
                      </a:cubicBezTo>
                      <a:cubicBezTo>
                        <a:pt x="119" y="463"/>
                        <a:pt x="121" y="465"/>
                        <a:pt x="122" y="467"/>
                      </a:cubicBezTo>
                      <a:cubicBezTo>
                        <a:pt x="123" y="469"/>
                        <a:pt x="128" y="470"/>
                        <a:pt x="129" y="469"/>
                      </a:cubicBezTo>
                      <a:cubicBezTo>
                        <a:pt x="131" y="468"/>
                        <a:pt x="132" y="471"/>
                        <a:pt x="132" y="474"/>
                      </a:cubicBezTo>
                      <a:cubicBezTo>
                        <a:pt x="133" y="476"/>
                        <a:pt x="136" y="475"/>
                        <a:pt x="138" y="475"/>
                      </a:cubicBezTo>
                      <a:cubicBezTo>
                        <a:pt x="141" y="475"/>
                        <a:pt x="142" y="478"/>
                        <a:pt x="143" y="477"/>
                      </a:cubicBezTo>
                      <a:cubicBezTo>
                        <a:pt x="146" y="476"/>
                        <a:pt x="147" y="481"/>
                        <a:pt x="149" y="485"/>
                      </a:cubicBezTo>
                      <a:cubicBezTo>
                        <a:pt x="371" y="484"/>
                        <a:pt x="371" y="484"/>
                        <a:pt x="371" y="484"/>
                      </a:cubicBezTo>
                      <a:cubicBezTo>
                        <a:pt x="371" y="484"/>
                        <a:pt x="371" y="478"/>
                        <a:pt x="374" y="480"/>
                      </a:cubicBezTo>
                      <a:cubicBezTo>
                        <a:pt x="376" y="482"/>
                        <a:pt x="374" y="485"/>
                        <a:pt x="377" y="486"/>
                      </a:cubicBezTo>
                      <a:cubicBezTo>
                        <a:pt x="380" y="487"/>
                        <a:pt x="382" y="489"/>
                        <a:pt x="384" y="488"/>
                      </a:cubicBezTo>
                      <a:cubicBezTo>
                        <a:pt x="386" y="488"/>
                        <a:pt x="389" y="485"/>
                        <a:pt x="391" y="489"/>
                      </a:cubicBezTo>
                      <a:cubicBezTo>
                        <a:pt x="394" y="492"/>
                        <a:pt x="396" y="489"/>
                        <a:pt x="398" y="491"/>
                      </a:cubicBezTo>
                      <a:cubicBezTo>
                        <a:pt x="400" y="493"/>
                        <a:pt x="403" y="495"/>
                        <a:pt x="405" y="493"/>
                      </a:cubicBezTo>
                      <a:cubicBezTo>
                        <a:pt x="407" y="490"/>
                        <a:pt x="413" y="493"/>
                        <a:pt x="417" y="494"/>
                      </a:cubicBezTo>
                      <a:cubicBezTo>
                        <a:pt x="420" y="491"/>
                        <a:pt x="424" y="484"/>
                        <a:pt x="427" y="484"/>
                      </a:cubicBezTo>
                      <a:cubicBezTo>
                        <a:pt x="432" y="484"/>
                        <a:pt x="443" y="485"/>
                        <a:pt x="444" y="491"/>
                      </a:cubicBezTo>
                      <a:cubicBezTo>
                        <a:pt x="445" y="498"/>
                        <a:pt x="452" y="492"/>
                        <a:pt x="453" y="498"/>
                      </a:cubicBezTo>
                      <a:cubicBezTo>
                        <a:pt x="453" y="502"/>
                        <a:pt x="458" y="506"/>
                        <a:pt x="457" y="509"/>
                      </a:cubicBezTo>
                      <a:cubicBezTo>
                        <a:pt x="459" y="510"/>
                        <a:pt x="460" y="511"/>
                        <a:pt x="462" y="512"/>
                      </a:cubicBezTo>
                      <a:cubicBezTo>
                        <a:pt x="464" y="511"/>
                        <a:pt x="470" y="512"/>
                        <a:pt x="474" y="514"/>
                      </a:cubicBezTo>
                      <a:cubicBezTo>
                        <a:pt x="479" y="515"/>
                        <a:pt x="487" y="511"/>
                        <a:pt x="489" y="517"/>
                      </a:cubicBezTo>
                      <a:cubicBezTo>
                        <a:pt x="492" y="524"/>
                        <a:pt x="497" y="528"/>
                        <a:pt x="492" y="529"/>
                      </a:cubicBezTo>
                      <a:cubicBezTo>
                        <a:pt x="487" y="529"/>
                        <a:pt x="481" y="522"/>
                        <a:pt x="482" y="526"/>
                      </a:cubicBezTo>
                      <a:cubicBezTo>
                        <a:pt x="482" y="530"/>
                        <a:pt x="479" y="528"/>
                        <a:pt x="479" y="533"/>
                      </a:cubicBezTo>
                      <a:cubicBezTo>
                        <a:pt x="479" y="539"/>
                        <a:pt x="476" y="546"/>
                        <a:pt x="473" y="546"/>
                      </a:cubicBezTo>
                      <a:cubicBezTo>
                        <a:pt x="473" y="546"/>
                        <a:pt x="473" y="546"/>
                        <a:pt x="473" y="546"/>
                      </a:cubicBezTo>
                      <a:cubicBezTo>
                        <a:pt x="473" y="548"/>
                        <a:pt x="473" y="550"/>
                        <a:pt x="474" y="552"/>
                      </a:cubicBezTo>
                      <a:cubicBezTo>
                        <a:pt x="477" y="550"/>
                        <a:pt x="481" y="547"/>
                        <a:pt x="484" y="547"/>
                      </a:cubicBezTo>
                      <a:cubicBezTo>
                        <a:pt x="490" y="547"/>
                        <a:pt x="491" y="550"/>
                        <a:pt x="495" y="548"/>
                      </a:cubicBezTo>
                      <a:cubicBezTo>
                        <a:pt x="498" y="545"/>
                        <a:pt x="499" y="544"/>
                        <a:pt x="500" y="546"/>
                      </a:cubicBezTo>
                      <a:cubicBezTo>
                        <a:pt x="500" y="546"/>
                        <a:pt x="500" y="547"/>
                        <a:pt x="500" y="547"/>
                      </a:cubicBezTo>
                      <a:cubicBezTo>
                        <a:pt x="501" y="546"/>
                        <a:pt x="502" y="545"/>
                        <a:pt x="502" y="545"/>
                      </a:cubicBezTo>
                      <a:cubicBezTo>
                        <a:pt x="502" y="544"/>
                        <a:pt x="502" y="543"/>
                        <a:pt x="502" y="542"/>
                      </a:cubicBezTo>
                      <a:cubicBezTo>
                        <a:pt x="498" y="542"/>
                        <a:pt x="497" y="542"/>
                        <a:pt x="496" y="540"/>
                      </a:cubicBezTo>
                      <a:cubicBezTo>
                        <a:pt x="494" y="536"/>
                        <a:pt x="507" y="533"/>
                        <a:pt x="512" y="534"/>
                      </a:cubicBezTo>
                      <a:cubicBezTo>
                        <a:pt x="518" y="534"/>
                        <a:pt x="521" y="530"/>
                        <a:pt x="523" y="533"/>
                      </a:cubicBezTo>
                      <a:cubicBezTo>
                        <a:pt x="527" y="530"/>
                        <a:pt x="533" y="525"/>
                        <a:pt x="534" y="525"/>
                      </a:cubicBezTo>
                      <a:cubicBezTo>
                        <a:pt x="536" y="525"/>
                        <a:pt x="562" y="524"/>
                        <a:pt x="562" y="524"/>
                      </a:cubicBezTo>
                      <a:cubicBezTo>
                        <a:pt x="562" y="524"/>
                        <a:pt x="571" y="519"/>
                        <a:pt x="572" y="514"/>
                      </a:cubicBezTo>
                      <a:cubicBezTo>
                        <a:pt x="573" y="509"/>
                        <a:pt x="579" y="497"/>
                        <a:pt x="582" y="500"/>
                      </a:cubicBezTo>
                      <a:cubicBezTo>
                        <a:pt x="585" y="502"/>
                        <a:pt x="592" y="500"/>
                        <a:pt x="593" y="503"/>
                      </a:cubicBezTo>
                      <a:cubicBezTo>
                        <a:pt x="593" y="505"/>
                        <a:pt x="590" y="513"/>
                        <a:pt x="599" y="525"/>
                      </a:cubicBezTo>
                      <a:cubicBezTo>
                        <a:pt x="603" y="523"/>
                        <a:pt x="606" y="521"/>
                        <a:pt x="608" y="522"/>
                      </a:cubicBezTo>
                      <a:cubicBezTo>
                        <a:pt x="611" y="522"/>
                        <a:pt x="616" y="517"/>
                        <a:pt x="617" y="515"/>
                      </a:cubicBezTo>
                      <a:cubicBezTo>
                        <a:pt x="619" y="512"/>
                        <a:pt x="621" y="517"/>
                        <a:pt x="618" y="518"/>
                      </a:cubicBezTo>
                      <a:cubicBezTo>
                        <a:pt x="615" y="519"/>
                        <a:pt x="620" y="521"/>
                        <a:pt x="625" y="521"/>
                      </a:cubicBezTo>
                      <a:cubicBezTo>
                        <a:pt x="630" y="521"/>
                        <a:pt x="623" y="523"/>
                        <a:pt x="619" y="523"/>
                      </a:cubicBezTo>
                      <a:cubicBezTo>
                        <a:pt x="615" y="522"/>
                        <a:pt x="614" y="523"/>
                        <a:pt x="609" y="528"/>
                      </a:cubicBezTo>
                      <a:cubicBezTo>
                        <a:pt x="604" y="533"/>
                        <a:pt x="605" y="534"/>
                        <a:pt x="608" y="537"/>
                      </a:cubicBezTo>
                      <a:cubicBezTo>
                        <a:pt x="611" y="539"/>
                        <a:pt x="614" y="538"/>
                        <a:pt x="618" y="535"/>
                      </a:cubicBezTo>
                      <a:cubicBezTo>
                        <a:pt x="622" y="532"/>
                        <a:pt x="622" y="528"/>
                        <a:pt x="626" y="528"/>
                      </a:cubicBezTo>
                      <a:cubicBezTo>
                        <a:pt x="630" y="529"/>
                        <a:pt x="640" y="525"/>
                        <a:pt x="645" y="523"/>
                      </a:cubicBezTo>
                      <a:cubicBezTo>
                        <a:pt x="649" y="522"/>
                        <a:pt x="646" y="521"/>
                        <a:pt x="646" y="519"/>
                      </a:cubicBezTo>
                      <a:cubicBezTo>
                        <a:pt x="646" y="517"/>
                        <a:pt x="654" y="517"/>
                        <a:pt x="657" y="515"/>
                      </a:cubicBezTo>
                      <a:cubicBezTo>
                        <a:pt x="660" y="513"/>
                        <a:pt x="656" y="512"/>
                        <a:pt x="654" y="512"/>
                      </a:cubicBezTo>
                      <a:close/>
                      <a:moveTo>
                        <a:pt x="190" y="281"/>
                      </a:moveTo>
                      <a:cubicBezTo>
                        <a:pt x="185" y="287"/>
                        <a:pt x="183" y="288"/>
                        <a:pt x="179" y="287"/>
                      </a:cubicBezTo>
                      <a:cubicBezTo>
                        <a:pt x="174" y="286"/>
                        <a:pt x="171" y="288"/>
                        <a:pt x="173" y="290"/>
                      </a:cubicBezTo>
                      <a:cubicBezTo>
                        <a:pt x="176" y="292"/>
                        <a:pt x="176" y="293"/>
                        <a:pt x="171" y="294"/>
                      </a:cubicBezTo>
                      <a:cubicBezTo>
                        <a:pt x="166" y="295"/>
                        <a:pt x="163" y="299"/>
                        <a:pt x="161" y="299"/>
                      </a:cubicBezTo>
                      <a:cubicBezTo>
                        <a:pt x="159" y="298"/>
                        <a:pt x="169" y="291"/>
                        <a:pt x="166" y="289"/>
                      </a:cubicBezTo>
                      <a:cubicBezTo>
                        <a:pt x="164" y="287"/>
                        <a:pt x="157" y="292"/>
                        <a:pt x="157" y="295"/>
                      </a:cubicBezTo>
                      <a:cubicBezTo>
                        <a:pt x="157" y="297"/>
                        <a:pt x="152" y="297"/>
                        <a:pt x="150" y="297"/>
                      </a:cubicBezTo>
                      <a:cubicBezTo>
                        <a:pt x="147" y="297"/>
                        <a:pt x="143" y="294"/>
                        <a:pt x="146" y="294"/>
                      </a:cubicBezTo>
                      <a:cubicBezTo>
                        <a:pt x="149" y="294"/>
                        <a:pt x="147" y="291"/>
                        <a:pt x="151" y="289"/>
                      </a:cubicBezTo>
                      <a:cubicBezTo>
                        <a:pt x="154" y="288"/>
                        <a:pt x="150" y="286"/>
                        <a:pt x="151" y="284"/>
                      </a:cubicBezTo>
                      <a:cubicBezTo>
                        <a:pt x="152" y="283"/>
                        <a:pt x="160" y="286"/>
                        <a:pt x="160" y="283"/>
                      </a:cubicBezTo>
                      <a:cubicBezTo>
                        <a:pt x="160" y="280"/>
                        <a:pt x="152" y="278"/>
                        <a:pt x="150" y="280"/>
                      </a:cubicBezTo>
                      <a:cubicBezTo>
                        <a:pt x="147" y="281"/>
                        <a:pt x="141" y="285"/>
                        <a:pt x="134" y="282"/>
                      </a:cubicBezTo>
                      <a:cubicBezTo>
                        <a:pt x="132" y="281"/>
                        <a:pt x="152" y="279"/>
                        <a:pt x="156" y="276"/>
                      </a:cubicBezTo>
                      <a:cubicBezTo>
                        <a:pt x="159" y="273"/>
                        <a:pt x="174" y="269"/>
                        <a:pt x="175" y="272"/>
                      </a:cubicBezTo>
                      <a:cubicBezTo>
                        <a:pt x="177" y="275"/>
                        <a:pt x="167" y="277"/>
                        <a:pt x="172" y="279"/>
                      </a:cubicBezTo>
                      <a:cubicBezTo>
                        <a:pt x="176" y="282"/>
                        <a:pt x="184" y="280"/>
                        <a:pt x="185" y="277"/>
                      </a:cubicBezTo>
                      <a:cubicBezTo>
                        <a:pt x="187" y="275"/>
                        <a:pt x="194" y="275"/>
                        <a:pt x="190" y="281"/>
                      </a:cubicBezTo>
                      <a:close/>
                      <a:moveTo>
                        <a:pt x="235" y="338"/>
                      </a:moveTo>
                      <a:cubicBezTo>
                        <a:pt x="229" y="343"/>
                        <a:pt x="230" y="342"/>
                        <a:pt x="225" y="343"/>
                      </a:cubicBezTo>
                      <a:cubicBezTo>
                        <a:pt x="220" y="343"/>
                        <a:pt x="224" y="348"/>
                        <a:pt x="218" y="349"/>
                      </a:cubicBezTo>
                      <a:cubicBezTo>
                        <a:pt x="212" y="349"/>
                        <a:pt x="198" y="350"/>
                        <a:pt x="196" y="346"/>
                      </a:cubicBezTo>
                      <a:cubicBezTo>
                        <a:pt x="196" y="345"/>
                        <a:pt x="204" y="346"/>
                        <a:pt x="204" y="344"/>
                      </a:cubicBezTo>
                      <a:cubicBezTo>
                        <a:pt x="205" y="341"/>
                        <a:pt x="207" y="338"/>
                        <a:pt x="211" y="338"/>
                      </a:cubicBezTo>
                      <a:cubicBezTo>
                        <a:pt x="214" y="338"/>
                        <a:pt x="214" y="333"/>
                        <a:pt x="208" y="330"/>
                      </a:cubicBezTo>
                      <a:cubicBezTo>
                        <a:pt x="202" y="327"/>
                        <a:pt x="217" y="325"/>
                        <a:pt x="220" y="330"/>
                      </a:cubicBezTo>
                      <a:cubicBezTo>
                        <a:pt x="223" y="334"/>
                        <a:pt x="229" y="338"/>
                        <a:pt x="232" y="334"/>
                      </a:cubicBezTo>
                      <a:cubicBezTo>
                        <a:pt x="235" y="331"/>
                        <a:pt x="254" y="322"/>
                        <a:pt x="254" y="326"/>
                      </a:cubicBezTo>
                      <a:cubicBezTo>
                        <a:pt x="254" y="331"/>
                        <a:pt x="240" y="333"/>
                        <a:pt x="235" y="338"/>
                      </a:cubicBezTo>
                      <a:close/>
                      <a:moveTo>
                        <a:pt x="359" y="468"/>
                      </a:moveTo>
                      <a:cubicBezTo>
                        <a:pt x="355" y="468"/>
                        <a:pt x="359" y="458"/>
                        <a:pt x="352" y="454"/>
                      </a:cubicBezTo>
                      <a:cubicBezTo>
                        <a:pt x="344" y="449"/>
                        <a:pt x="340" y="440"/>
                        <a:pt x="340" y="436"/>
                      </a:cubicBezTo>
                      <a:cubicBezTo>
                        <a:pt x="340" y="431"/>
                        <a:pt x="347" y="429"/>
                        <a:pt x="350" y="433"/>
                      </a:cubicBezTo>
                      <a:cubicBezTo>
                        <a:pt x="353" y="436"/>
                        <a:pt x="357" y="451"/>
                        <a:pt x="360" y="455"/>
                      </a:cubicBezTo>
                      <a:cubicBezTo>
                        <a:pt x="362" y="460"/>
                        <a:pt x="362" y="468"/>
                        <a:pt x="359" y="46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6" name="Freeform 119">
                  <a:extLst>
                    <a:ext uri="{FF2B5EF4-FFF2-40B4-BE49-F238E27FC236}">
                      <a16:creationId xmlns:a16="http://schemas.microsoft.com/office/drawing/2014/main" id="{E8272E27-2228-4648-811B-A8379A76CC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9432366" y="-12868773"/>
                  <a:ext cx="5049679" cy="3434561"/>
                </a:xfrm>
                <a:custGeom>
                  <a:avLst/>
                  <a:gdLst>
                    <a:gd name="T0" fmla="*/ 249 w 817"/>
                    <a:gd name="T1" fmla="*/ 164 h 556"/>
                    <a:gd name="T2" fmla="*/ 218 w 817"/>
                    <a:gd name="T3" fmla="*/ 25 h 556"/>
                    <a:gd name="T4" fmla="*/ 132 w 817"/>
                    <a:gd name="T5" fmla="*/ 15 h 556"/>
                    <a:gd name="T6" fmla="*/ 96 w 817"/>
                    <a:gd name="T7" fmla="*/ 8 h 556"/>
                    <a:gd name="T8" fmla="*/ 66 w 817"/>
                    <a:gd name="T9" fmla="*/ 15 h 556"/>
                    <a:gd name="T10" fmla="*/ 13 w 817"/>
                    <a:gd name="T11" fmla="*/ 42 h 556"/>
                    <a:gd name="T12" fmla="*/ 50 w 817"/>
                    <a:gd name="T13" fmla="*/ 74 h 556"/>
                    <a:gd name="T14" fmla="*/ 12 w 817"/>
                    <a:gd name="T15" fmla="*/ 76 h 556"/>
                    <a:gd name="T16" fmla="*/ 42 w 817"/>
                    <a:gd name="T17" fmla="*/ 97 h 556"/>
                    <a:gd name="T18" fmla="*/ 30 w 817"/>
                    <a:gd name="T19" fmla="*/ 113 h 556"/>
                    <a:gd name="T20" fmla="*/ 32 w 817"/>
                    <a:gd name="T21" fmla="*/ 156 h 556"/>
                    <a:gd name="T22" fmla="*/ 68 w 817"/>
                    <a:gd name="T23" fmla="*/ 168 h 556"/>
                    <a:gd name="T24" fmla="*/ 72 w 817"/>
                    <a:gd name="T25" fmla="*/ 192 h 556"/>
                    <a:gd name="T26" fmla="*/ 60 w 817"/>
                    <a:gd name="T27" fmla="*/ 205 h 556"/>
                    <a:gd name="T28" fmla="*/ 104 w 817"/>
                    <a:gd name="T29" fmla="*/ 178 h 556"/>
                    <a:gd name="T30" fmla="*/ 123 w 817"/>
                    <a:gd name="T31" fmla="*/ 152 h 556"/>
                    <a:gd name="T32" fmla="*/ 136 w 817"/>
                    <a:gd name="T33" fmla="*/ 143 h 556"/>
                    <a:gd name="T34" fmla="*/ 161 w 817"/>
                    <a:gd name="T35" fmla="*/ 154 h 556"/>
                    <a:gd name="T36" fmla="*/ 177 w 817"/>
                    <a:gd name="T37" fmla="*/ 144 h 556"/>
                    <a:gd name="T38" fmla="*/ 196 w 817"/>
                    <a:gd name="T39" fmla="*/ 152 h 556"/>
                    <a:gd name="T40" fmla="*/ 242 w 817"/>
                    <a:gd name="T41" fmla="*/ 166 h 556"/>
                    <a:gd name="T42" fmla="*/ 267 w 817"/>
                    <a:gd name="T43" fmla="*/ 177 h 556"/>
                    <a:gd name="T44" fmla="*/ 268 w 817"/>
                    <a:gd name="T45" fmla="*/ 187 h 556"/>
                    <a:gd name="T46" fmla="*/ 277 w 817"/>
                    <a:gd name="T47" fmla="*/ 188 h 556"/>
                    <a:gd name="T48" fmla="*/ 285 w 817"/>
                    <a:gd name="T49" fmla="*/ 196 h 556"/>
                    <a:gd name="T50" fmla="*/ 282 w 817"/>
                    <a:gd name="T51" fmla="*/ 214 h 556"/>
                    <a:gd name="T52" fmla="*/ 300 w 817"/>
                    <a:gd name="T53" fmla="*/ 214 h 556"/>
                    <a:gd name="T54" fmla="*/ 10 w 817"/>
                    <a:gd name="T55" fmla="*/ 223 h 556"/>
                    <a:gd name="T56" fmla="*/ 127 w 817"/>
                    <a:gd name="T57" fmla="*/ 171 h 556"/>
                    <a:gd name="T58" fmla="*/ 126 w 817"/>
                    <a:gd name="T59" fmla="*/ 183 h 556"/>
                    <a:gd name="T60" fmla="*/ 17 w 817"/>
                    <a:gd name="T61" fmla="*/ 156 h 556"/>
                    <a:gd name="T62" fmla="*/ 100 w 817"/>
                    <a:gd name="T63" fmla="*/ 544 h 556"/>
                    <a:gd name="T64" fmla="*/ 66 w 817"/>
                    <a:gd name="T65" fmla="*/ 528 h 556"/>
                    <a:gd name="T66" fmla="*/ 790 w 817"/>
                    <a:gd name="T67" fmla="*/ 306 h 556"/>
                    <a:gd name="T68" fmla="*/ 720 w 817"/>
                    <a:gd name="T69" fmla="*/ 334 h 556"/>
                    <a:gd name="T70" fmla="*/ 692 w 817"/>
                    <a:gd name="T71" fmla="*/ 344 h 556"/>
                    <a:gd name="T72" fmla="*/ 662 w 817"/>
                    <a:gd name="T73" fmla="*/ 319 h 556"/>
                    <a:gd name="T74" fmla="*/ 679 w 817"/>
                    <a:gd name="T75" fmla="*/ 305 h 556"/>
                    <a:gd name="T76" fmla="*/ 646 w 817"/>
                    <a:gd name="T77" fmla="*/ 297 h 556"/>
                    <a:gd name="T78" fmla="*/ 623 w 817"/>
                    <a:gd name="T79" fmla="*/ 285 h 556"/>
                    <a:gd name="T80" fmla="*/ 589 w 817"/>
                    <a:gd name="T81" fmla="*/ 276 h 556"/>
                    <a:gd name="T82" fmla="*/ 365 w 817"/>
                    <a:gd name="T83" fmla="*/ 285 h 556"/>
                    <a:gd name="T84" fmla="*/ 359 w 817"/>
                    <a:gd name="T85" fmla="*/ 304 h 556"/>
                    <a:gd name="T86" fmla="*/ 360 w 817"/>
                    <a:gd name="T87" fmla="*/ 377 h 556"/>
                    <a:gd name="T88" fmla="*/ 387 w 817"/>
                    <a:gd name="T89" fmla="*/ 417 h 556"/>
                    <a:gd name="T90" fmla="*/ 440 w 817"/>
                    <a:gd name="T91" fmla="*/ 439 h 556"/>
                    <a:gd name="T92" fmla="*/ 513 w 817"/>
                    <a:gd name="T93" fmla="*/ 457 h 556"/>
                    <a:gd name="T94" fmla="*/ 556 w 817"/>
                    <a:gd name="T95" fmla="*/ 484 h 556"/>
                    <a:gd name="T96" fmla="*/ 578 w 817"/>
                    <a:gd name="T97" fmla="*/ 471 h 556"/>
                    <a:gd name="T98" fmla="*/ 608 w 817"/>
                    <a:gd name="T99" fmla="*/ 459 h 556"/>
                    <a:gd name="T100" fmla="*/ 635 w 817"/>
                    <a:gd name="T101" fmla="*/ 462 h 556"/>
                    <a:gd name="T102" fmla="*/ 668 w 817"/>
                    <a:gd name="T103" fmla="*/ 459 h 556"/>
                    <a:gd name="T104" fmla="*/ 696 w 817"/>
                    <a:gd name="T105" fmla="*/ 492 h 556"/>
                    <a:gd name="T106" fmla="*/ 699 w 817"/>
                    <a:gd name="T107" fmla="*/ 451 h 556"/>
                    <a:gd name="T108" fmla="*/ 737 w 817"/>
                    <a:gd name="T109" fmla="*/ 411 h 556"/>
                    <a:gd name="T110" fmla="*/ 741 w 817"/>
                    <a:gd name="T111" fmla="*/ 391 h 556"/>
                    <a:gd name="T112" fmla="*/ 744 w 817"/>
                    <a:gd name="T113" fmla="*/ 388 h 556"/>
                    <a:gd name="T114" fmla="*/ 764 w 817"/>
                    <a:gd name="T115" fmla="*/ 360 h 556"/>
                    <a:gd name="T116" fmla="*/ 785 w 817"/>
                    <a:gd name="T117" fmla="*/ 343 h 556"/>
                    <a:gd name="T118" fmla="*/ 817 w 817"/>
                    <a:gd name="T119" fmla="*/ 317 h 5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17" h="556">
                      <a:moveTo>
                        <a:pt x="307" y="204"/>
                      </a:moveTo>
                      <a:cubicBezTo>
                        <a:pt x="308" y="201"/>
                        <a:pt x="308" y="199"/>
                        <a:pt x="299" y="195"/>
                      </a:cubicBezTo>
                      <a:cubicBezTo>
                        <a:pt x="290" y="192"/>
                        <a:pt x="291" y="189"/>
                        <a:pt x="285" y="178"/>
                      </a:cubicBezTo>
                      <a:cubicBezTo>
                        <a:pt x="279" y="168"/>
                        <a:pt x="268" y="163"/>
                        <a:pt x="268" y="159"/>
                      </a:cubicBezTo>
                      <a:cubicBezTo>
                        <a:pt x="268" y="155"/>
                        <a:pt x="257" y="155"/>
                        <a:pt x="257" y="158"/>
                      </a:cubicBezTo>
                      <a:cubicBezTo>
                        <a:pt x="257" y="161"/>
                        <a:pt x="252" y="162"/>
                        <a:pt x="249" y="164"/>
                      </a:cubicBezTo>
                      <a:cubicBezTo>
                        <a:pt x="247" y="166"/>
                        <a:pt x="245" y="163"/>
                        <a:pt x="243" y="160"/>
                      </a:cubicBezTo>
                      <a:cubicBezTo>
                        <a:pt x="241" y="157"/>
                        <a:pt x="235" y="154"/>
                        <a:pt x="235" y="152"/>
                      </a:cubicBezTo>
                      <a:cubicBezTo>
                        <a:pt x="235" y="150"/>
                        <a:pt x="234" y="146"/>
                        <a:pt x="229" y="148"/>
                      </a:cubicBezTo>
                      <a:cubicBezTo>
                        <a:pt x="225" y="150"/>
                        <a:pt x="223" y="148"/>
                        <a:pt x="222" y="149"/>
                      </a:cubicBezTo>
                      <a:cubicBezTo>
                        <a:pt x="221" y="151"/>
                        <a:pt x="218" y="148"/>
                        <a:pt x="218" y="148"/>
                      </a:cubicBezTo>
                      <a:cubicBezTo>
                        <a:pt x="218" y="25"/>
                        <a:pt x="218" y="25"/>
                        <a:pt x="218" y="25"/>
                      </a:cubicBezTo>
                      <a:cubicBezTo>
                        <a:pt x="216" y="25"/>
                        <a:pt x="215" y="25"/>
                        <a:pt x="214" y="24"/>
                      </a:cubicBezTo>
                      <a:cubicBezTo>
                        <a:pt x="209" y="22"/>
                        <a:pt x="201" y="19"/>
                        <a:pt x="197" y="20"/>
                      </a:cubicBezTo>
                      <a:cubicBezTo>
                        <a:pt x="193" y="21"/>
                        <a:pt x="185" y="22"/>
                        <a:pt x="182" y="20"/>
                      </a:cubicBezTo>
                      <a:cubicBezTo>
                        <a:pt x="179" y="19"/>
                        <a:pt x="175" y="18"/>
                        <a:pt x="169" y="18"/>
                      </a:cubicBezTo>
                      <a:cubicBezTo>
                        <a:pt x="163" y="19"/>
                        <a:pt x="160" y="15"/>
                        <a:pt x="152" y="13"/>
                      </a:cubicBezTo>
                      <a:cubicBezTo>
                        <a:pt x="145" y="12"/>
                        <a:pt x="134" y="14"/>
                        <a:pt x="132" y="15"/>
                      </a:cubicBezTo>
                      <a:cubicBezTo>
                        <a:pt x="129" y="16"/>
                        <a:pt x="130" y="12"/>
                        <a:pt x="127" y="13"/>
                      </a:cubicBezTo>
                      <a:cubicBezTo>
                        <a:pt x="123" y="13"/>
                        <a:pt x="126" y="11"/>
                        <a:pt x="124" y="8"/>
                      </a:cubicBezTo>
                      <a:cubicBezTo>
                        <a:pt x="122" y="6"/>
                        <a:pt x="113" y="8"/>
                        <a:pt x="110" y="9"/>
                      </a:cubicBezTo>
                      <a:cubicBezTo>
                        <a:pt x="107" y="9"/>
                        <a:pt x="106" y="7"/>
                        <a:pt x="106" y="5"/>
                      </a:cubicBezTo>
                      <a:cubicBezTo>
                        <a:pt x="106" y="4"/>
                        <a:pt x="103" y="4"/>
                        <a:pt x="102" y="6"/>
                      </a:cubicBezTo>
                      <a:cubicBezTo>
                        <a:pt x="101" y="9"/>
                        <a:pt x="97" y="9"/>
                        <a:pt x="96" y="8"/>
                      </a:cubicBezTo>
                      <a:cubicBezTo>
                        <a:pt x="94" y="6"/>
                        <a:pt x="99" y="6"/>
                        <a:pt x="99" y="4"/>
                      </a:cubicBezTo>
                      <a:cubicBezTo>
                        <a:pt x="99" y="2"/>
                        <a:pt x="94" y="1"/>
                        <a:pt x="93" y="1"/>
                      </a:cubicBezTo>
                      <a:cubicBezTo>
                        <a:pt x="91" y="0"/>
                        <a:pt x="88" y="3"/>
                        <a:pt x="84" y="6"/>
                      </a:cubicBezTo>
                      <a:cubicBezTo>
                        <a:pt x="81" y="9"/>
                        <a:pt x="75" y="9"/>
                        <a:pt x="72" y="9"/>
                      </a:cubicBezTo>
                      <a:cubicBezTo>
                        <a:pt x="68" y="8"/>
                        <a:pt x="64" y="9"/>
                        <a:pt x="64" y="11"/>
                      </a:cubicBezTo>
                      <a:cubicBezTo>
                        <a:pt x="64" y="13"/>
                        <a:pt x="68" y="13"/>
                        <a:pt x="66" y="15"/>
                      </a:cubicBezTo>
                      <a:cubicBezTo>
                        <a:pt x="63" y="18"/>
                        <a:pt x="63" y="12"/>
                        <a:pt x="60" y="15"/>
                      </a:cubicBezTo>
                      <a:cubicBezTo>
                        <a:pt x="58" y="17"/>
                        <a:pt x="50" y="17"/>
                        <a:pt x="48" y="17"/>
                      </a:cubicBezTo>
                      <a:cubicBezTo>
                        <a:pt x="47" y="16"/>
                        <a:pt x="41" y="23"/>
                        <a:pt x="39" y="25"/>
                      </a:cubicBezTo>
                      <a:cubicBezTo>
                        <a:pt x="37" y="26"/>
                        <a:pt x="40" y="28"/>
                        <a:pt x="35" y="33"/>
                      </a:cubicBezTo>
                      <a:cubicBezTo>
                        <a:pt x="31" y="38"/>
                        <a:pt x="18" y="37"/>
                        <a:pt x="15" y="37"/>
                      </a:cubicBezTo>
                      <a:cubicBezTo>
                        <a:pt x="12" y="37"/>
                        <a:pt x="14" y="40"/>
                        <a:pt x="13" y="42"/>
                      </a:cubicBezTo>
                      <a:cubicBezTo>
                        <a:pt x="12" y="44"/>
                        <a:pt x="15" y="46"/>
                        <a:pt x="22" y="48"/>
                      </a:cubicBezTo>
                      <a:cubicBezTo>
                        <a:pt x="29" y="50"/>
                        <a:pt x="34" y="60"/>
                        <a:pt x="35" y="62"/>
                      </a:cubicBezTo>
                      <a:cubicBezTo>
                        <a:pt x="36" y="64"/>
                        <a:pt x="45" y="62"/>
                        <a:pt x="49" y="62"/>
                      </a:cubicBezTo>
                      <a:cubicBezTo>
                        <a:pt x="52" y="63"/>
                        <a:pt x="48" y="68"/>
                        <a:pt x="51" y="69"/>
                      </a:cubicBezTo>
                      <a:cubicBezTo>
                        <a:pt x="54" y="71"/>
                        <a:pt x="59" y="69"/>
                        <a:pt x="60" y="71"/>
                      </a:cubicBezTo>
                      <a:cubicBezTo>
                        <a:pt x="61" y="74"/>
                        <a:pt x="54" y="71"/>
                        <a:pt x="50" y="74"/>
                      </a:cubicBezTo>
                      <a:cubicBezTo>
                        <a:pt x="47" y="76"/>
                        <a:pt x="45" y="78"/>
                        <a:pt x="43" y="76"/>
                      </a:cubicBezTo>
                      <a:cubicBezTo>
                        <a:pt x="42" y="74"/>
                        <a:pt x="36" y="75"/>
                        <a:pt x="33" y="75"/>
                      </a:cubicBezTo>
                      <a:cubicBezTo>
                        <a:pt x="30" y="76"/>
                        <a:pt x="33" y="72"/>
                        <a:pt x="33" y="70"/>
                      </a:cubicBezTo>
                      <a:cubicBezTo>
                        <a:pt x="33" y="68"/>
                        <a:pt x="29" y="67"/>
                        <a:pt x="23" y="70"/>
                      </a:cubicBezTo>
                      <a:cubicBezTo>
                        <a:pt x="17" y="74"/>
                        <a:pt x="19" y="72"/>
                        <a:pt x="19" y="75"/>
                      </a:cubicBezTo>
                      <a:cubicBezTo>
                        <a:pt x="18" y="78"/>
                        <a:pt x="15" y="73"/>
                        <a:pt x="12" y="76"/>
                      </a:cubicBezTo>
                      <a:cubicBezTo>
                        <a:pt x="8" y="78"/>
                        <a:pt x="2" y="80"/>
                        <a:pt x="1" y="82"/>
                      </a:cubicBezTo>
                      <a:cubicBezTo>
                        <a:pt x="0" y="84"/>
                        <a:pt x="9" y="86"/>
                        <a:pt x="12" y="87"/>
                      </a:cubicBezTo>
                      <a:cubicBezTo>
                        <a:pt x="16" y="87"/>
                        <a:pt x="8" y="90"/>
                        <a:pt x="11" y="90"/>
                      </a:cubicBezTo>
                      <a:cubicBezTo>
                        <a:pt x="14" y="91"/>
                        <a:pt x="13" y="94"/>
                        <a:pt x="17" y="96"/>
                      </a:cubicBezTo>
                      <a:cubicBezTo>
                        <a:pt x="22" y="99"/>
                        <a:pt x="32" y="96"/>
                        <a:pt x="34" y="96"/>
                      </a:cubicBezTo>
                      <a:cubicBezTo>
                        <a:pt x="37" y="96"/>
                        <a:pt x="39" y="100"/>
                        <a:pt x="42" y="97"/>
                      </a:cubicBezTo>
                      <a:cubicBezTo>
                        <a:pt x="44" y="95"/>
                        <a:pt x="52" y="89"/>
                        <a:pt x="56" y="92"/>
                      </a:cubicBezTo>
                      <a:cubicBezTo>
                        <a:pt x="60" y="96"/>
                        <a:pt x="51" y="95"/>
                        <a:pt x="53" y="98"/>
                      </a:cubicBezTo>
                      <a:cubicBezTo>
                        <a:pt x="56" y="100"/>
                        <a:pt x="58" y="106"/>
                        <a:pt x="54" y="108"/>
                      </a:cubicBezTo>
                      <a:cubicBezTo>
                        <a:pt x="50" y="111"/>
                        <a:pt x="47" y="109"/>
                        <a:pt x="45" y="109"/>
                      </a:cubicBezTo>
                      <a:cubicBezTo>
                        <a:pt x="42" y="109"/>
                        <a:pt x="44" y="113"/>
                        <a:pt x="40" y="116"/>
                      </a:cubicBezTo>
                      <a:cubicBezTo>
                        <a:pt x="37" y="118"/>
                        <a:pt x="34" y="113"/>
                        <a:pt x="30" y="113"/>
                      </a:cubicBezTo>
                      <a:cubicBezTo>
                        <a:pt x="26" y="113"/>
                        <a:pt x="27" y="118"/>
                        <a:pt x="27" y="121"/>
                      </a:cubicBezTo>
                      <a:cubicBezTo>
                        <a:pt x="27" y="124"/>
                        <a:pt x="20" y="121"/>
                        <a:pt x="19" y="127"/>
                      </a:cubicBezTo>
                      <a:cubicBezTo>
                        <a:pt x="17" y="133"/>
                        <a:pt x="10" y="128"/>
                        <a:pt x="15" y="134"/>
                      </a:cubicBezTo>
                      <a:cubicBezTo>
                        <a:pt x="19" y="140"/>
                        <a:pt x="19" y="136"/>
                        <a:pt x="22" y="139"/>
                      </a:cubicBezTo>
                      <a:cubicBezTo>
                        <a:pt x="26" y="141"/>
                        <a:pt x="18" y="146"/>
                        <a:pt x="22" y="147"/>
                      </a:cubicBezTo>
                      <a:cubicBezTo>
                        <a:pt x="25" y="147"/>
                        <a:pt x="29" y="154"/>
                        <a:pt x="32" y="156"/>
                      </a:cubicBezTo>
                      <a:cubicBezTo>
                        <a:pt x="34" y="158"/>
                        <a:pt x="38" y="155"/>
                        <a:pt x="41" y="155"/>
                      </a:cubicBezTo>
                      <a:cubicBezTo>
                        <a:pt x="45" y="154"/>
                        <a:pt x="43" y="149"/>
                        <a:pt x="45" y="151"/>
                      </a:cubicBezTo>
                      <a:cubicBezTo>
                        <a:pt x="48" y="153"/>
                        <a:pt x="51" y="159"/>
                        <a:pt x="49" y="160"/>
                      </a:cubicBezTo>
                      <a:cubicBezTo>
                        <a:pt x="47" y="162"/>
                        <a:pt x="48" y="166"/>
                        <a:pt x="48" y="168"/>
                      </a:cubicBezTo>
                      <a:cubicBezTo>
                        <a:pt x="48" y="171"/>
                        <a:pt x="56" y="170"/>
                        <a:pt x="57" y="167"/>
                      </a:cubicBezTo>
                      <a:cubicBezTo>
                        <a:pt x="57" y="165"/>
                        <a:pt x="64" y="164"/>
                        <a:pt x="68" y="168"/>
                      </a:cubicBezTo>
                      <a:cubicBezTo>
                        <a:pt x="71" y="172"/>
                        <a:pt x="73" y="173"/>
                        <a:pt x="73" y="170"/>
                      </a:cubicBezTo>
                      <a:cubicBezTo>
                        <a:pt x="73" y="167"/>
                        <a:pt x="76" y="163"/>
                        <a:pt x="76" y="166"/>
                      </a:cubicBezTo>
                      <a:cubicBezTo>
                        <a:pt x="76" y="168"/>
                        <a:pt x="79" y="169"/>
                        <a:pt x="85" y="167"/>
                      </a:cubicBezTo>
                      <a:cubicBezTo>
                        <a:pt x="90" y="164"/>
                        <a:pt x="88" y="167"/>
                        <a:pt x="85" y="170"/>
                      </a:cubicBezTo>
                      <a:cubicBezTo>
                        <a:pt x="81" y="175"/>
                        <a:pt x="85" y="182"/>
                        <a:pt x="82" y="183"/>
                      </a:cubicBezTo>
                      <a:cubicBezTo>
                        <a:pt x="79" y="184"/>
                        <a:pt x="77" y="191"/>
                        <a:pt x="72" y="192"/>
                      </a:cubicBezTo>
                      <a:cubicBezTo>
                        <a:pt x="68" y="192"/>
                        <a:pt x="60" y="201"/>
                        <a:pt x="59" y="202"/>
                      </a:cubicBezTo>
                      <a:cubicBezTo>
                        <a:pt x="58" y="204"/>
                        <a:pt x="48" y="200"/>
                        <a:pt x="46" y="204"/>
                      </a:cubicBezTo>
                      <a:cubicBezTo>
                        <a:pt x="45" y="208"/>
                        <a:pt x="39" y="211"/>
                        <a:pt x="40" y="212"/>
                      </a:cubicBezTo>
                      <a:cubicBezTo>
                        <a:pt x="42" y="214"/>
                        <a:pt x="50" y="209"/>
                        <a:pt x="50" y="207"/>
                      </a:cubicBezTo>
                      <a:cubicBezTo>
                        <a:pt x="50" y="205"/>
                        <a:pt x="51" y="206"/>
                        <a:pt x="53" y="207"/>
                      </a:cubicBezTo>
                      <a:cubicBezTo>
                        <a:pt x="54" y="209"/>
                        <a:pt x="58" y="206"/>
                        <a:pt x="60" y="205"/>
                      </a:cubicBezTo>
                      <a:cubicBezTo>
                        <a:pt x="61" y="204"/>
                        <a:pt x="64" y="204"/>
                        <a:pt x="65" y="204"/>
                      </a:cubicBezTo>
                      <a:cubicBezTo>
                        <a:pt x="67" y="204"/>
                        <a:pt x="68" y="202"/>
                        <a:pt x="73" y="201"/>
                      </a:cubicBezTo>
                      <a:cubicBezTo>
                        <a:pt x="77" y="201"/>
                        <a:pt x="76" y="199"/>
                        <a:pt x="77" y="197"/>
                      </a:cubicBezTo>
                      <a:cubicBezTo>
                        <a:pt x="78" y="194"/>
                        <a:pt x="90" y="189"/>
                        <a:pt x="92" y="188"/>
                      </a:cubicBezTo>
                      <a:cubicBezTo>
                        <a:pt x="94" y="188"/>
                        <a:pt x="93" y="184"/>
                        <a:pt x="95" y="184"/>
                      </a:cubicBezTo>
                      <a:cubicBezTo>
                        <a:pt x="98" y="184"/>
                        <a:pt x="101" y="181"/>
                        <a:pt x="104" y="178"/>
                      </a:cubicBezTo>
                      <a:cubicBezTo>
                        <a:pt x="107" y="176"/>
                        <a:pt x="108" y="177"/>
                        <a:pt x="110" y="176"/>
                      </a:cubicBezTo>
                      <a:cubicBezTo>
                        <a:pt x="112" y="175"/>
                        <a:pt x="111" y="171"/>
                        <a:pt x="113" y="170"/>
                      </a:cubicBezTo>
                      <a:cubicBezTo>
                        <a:pt x="115" y="170"/>
                        <a:pt x="117" y="168"/>
                        <a:pt x="117" y="166"/>
                      </a:cubicBezTo>
                      <a:cubicBezTo>
                        <a:pt x="117" y="164"/>
                        <a:pt x="111" y="164"/>
                        <a:pt x="111" y="163"/>
                      </a:cubicBezTo>
                      <a:cubicBezTo>
                        <a:pt x="110" y="162"/>
                        <a:pt x="115" y="157"/>
                        <a:pt x="117" y="157"/>
                      </a:cubicBezTo>
                      <a:cubicBezTo>
                        <a:pt x="119" y="157"/>
                        <a:pt x="122" y="155"/>
                        <a:pt x="123" y="152"/>
                      </a:cubicBezTo>
                      <a:cubicBezTo>
                        <a:pt x="123" y="149"/>
                        <a:pt x="126" y="149"/>
                        <a:pt x="128" y="146"/>
                      </a:cubicBezTo>
                      <a:cubicBezTo>
                        <a:pt x="130" y="144"/>
                        <a:pt x="130" y="142"/>
                        <a:pt x="132" y="142"/>
                      </a:cubicBezTo>
                      <a:cubicBezTo>
                        <a:pt x="134" y="141"/>
                        <a:pt x="137" y="138"/>
                        <a:pt x="139" y="137"/>
                      </a:cubicBezTo>
                      <a:cubicBezTo>
                        <a:pt x="142" y="135"/>
                        <a:pt x="139" y="139"/>
                        <a:pt x="144" y="139"/>
                      </a:cubicBezTo>
                      <a:cubicBezTo>
                        <a:pt x="149" y="139"/>
                        <a:pt x="148" y="143"/>
                        <a:pt x="144" y="142"/>
                      </a:cubicBezTo>
                      <a:cubicBezTo>
                        <a:pt x="140" y="140"/>
                        <a:pt x="139" y="140"/>
                        <a:pt x="136" y="143"/>
                      </a:cubicBezTo>
                      <a:cubicBezTo>
                        <a:pt x="132" y="146"/>
                        <a:pt x="135" y="147"/>
                        <a:pt x="132" y="151"/>
                      </a:cubicBezTo>
                      <a:cubicBezTo>
                        <a:pt x="130" y="154"/>
                        <a:pt x="130" y="156"/>
                        <a:pt x="133" y="157"/>
                      </a:cubicBezTo>
                      <a:cubicBezTo>
                        <a:pt x="136" y="157"/>
                        <a:pt x="133" y="159"/>
                        <a:pt x="130" y="160"/>
                      </a:cubicBezTo>
                      <a:cubicBezTo>
                        <a:pt x="127" y="161"/>
                        <a:pt x="129" y="163"/>
                        <a:pt x="133" y="163"/>
                      </a:cubicBezTo>
                      <a:cubicBezTo>
                        <a:pt x="137" y="163"/>
                        <a:pt x="144" y="157"/>
                        <a:pt x="149" y="154"/>
                      </a:cubicBezTo>
                      <a:cubicBezTo>
                        <a:pt x="155" y="151"/>
                        <a:pt x="159" y="154"/>
                        <a:pt x="161" y="154"/>
                      </a:cubicBezTo>
                      <a:cubicBezTo>
                        <a:pt x="162" y="153"/>
                        <a:pt x="159" y="150"/>
                        <a:pt x="161" y="149"/>
                      </a:cubicBezTo>
                      <a:cubicBezTo>
                        <a:pt x="163" y="149"/>
                        <a:pt x="159" y="148"/>
                        <a:pt x="157" y="145"/>
                      </a:cubicBezTo>
                      <a:cubicBezTo>
                        <a:pt x="156" y="141"/>
                        <a:pt x="159" y="143"/>
                        <a:pt x="160" y="141"/>
                      </a:cubicBezTo>
                      <a:cubicBezTo>
                        <a:pt x="161" y="138"/>
                        <a:pt x="163" y="139"/>
                        <a:pt x="165" y="140"/>
                      </a:cubicBezTo>
                      <a:cubicBezTo>
                        <a:pt x="166" y="142"/>
                        <a:pt x="169" y="139"/>
                        <a:pt x="170" y="143"/>
                      </a:cubicBezTo>
                      <a:cubicBezTo>
                        <a:pt x="172" y="146"/>
                        <a:pt x="174" y="142"/>
                        <a:pt x="177" y="144"/>
                      </a:cubicBezTo>
                      <a:cubicBezTo>
                        <a:pt x="180" y="146"/>
                        <a:pt x="176" y="146"/>
                        <a:pt x="173" y="147"/>
                      </a:cubicBezTo>
                      <a:cubicBezTo>
                        <a:pt x="170" y="147"/>
                        <a:pt x="172" y="151"/>
                        <a:pt x="174" y="149"/>
                      </a:cubicBezTo>
                      <a:cubicBezTo>
                        <a:pt x="176" y="148"/>
                        <a:pt x="178" y="146"/>
                        <a:pt x="180" y="148"/>
                      </a:cubicBezTo>
                      <a:cubicBezTo>
                        <a:pt x="183" y="150"/>
                        <a:pt x="183" y="149"/>
                        <a:pt x="185" y="148"/>
                      </a:cubicBezTo>
                      <a:cubicBezTo>
                        <a:pt x="187" y="146"/>
                        <a:pt x="187" y="148"/>
                        <a:pt x="187" y="149"/>
                      </a:cubicBezTo>
                      <a:cubicBezTo>
                        <a:pt x="187" y="151"/>
                        <a:pt x="191" y="151"/>
                        <a:pt x="196" y="152"/>
                      </a:cubicBezTo>
                      <a:cubicBezTo>
                        <a:pt x="201" y="153"/>
                        <a:pt x="211" y="152"/>
                        <a:pt x="214" y="151"/>
                      </a:cubicBezTo>
                      <a:cubicBezTo>
                        <a:pt x="216" y="151"/>
                        <a:pt x="215" y="155"/>
                        <a:pt x="221" y="156"/>
                      </a:cubicBezTo>
                      <a:cubicBezTo>
                        <a:pt x="226" y="157"/>
                        <a:pt x="228" y="151"/>
                        <a:pt x="231" y="153"/>
                      </a:cubicBezTo>
                      <a:cubicBezTo>
                        <a:pt x="233" y="155"/>
                        <a:pt x="231" y="156"/>
                        <a:pt x="229" y="158"/>
                      </a:cubicBezTo>
                      <a:cubicBezTo>
                        <a:pt x="227" y="160"/>
                        <a:pt x="231" y="160"/>
                        <a:pt x="233" y="161"/>
                      </a:cubicBezTo>
                      <a:cubicBezTo>
                        <a:pt x="235" y="162"/>
                        <a:pt x="240" y="163"/>
                        <a:pt x="242" y="166"/>
                      </a:cubicBezTo>
                      <a:cubicBezTo>
                        <a:pt x="245" y="168"/>
                        <a:pt x="246" y="170"/>
                        <a:pt x="252" y="173"/>
                      </a:cubicBezTo>
                      <a:cubicBezTo>
                        <a:pt x="257" y="176"/>
                        <a:pt x="252" y="166"/>
                        <a:pt x="256" y="169"/>
                      </a:cubicBezTo>
                      <a:cubicBezTo>
                        <a:pt x="261" y="173"/>
                        <a:pt x="259" y="169"/>
                        <a:pt x="263" y="173"/>
                      </a:cubicBezTo>
                      <a:cubicBezTo>
                        <a:pt x="266" y="176"/>
                        <a:pt x="265" y="171"/>
                        <a:pt x="264" y="166"/>
                      </a:cubicBezTo>
                      <a:cubicBezTo>
                        <a:pt x="262" y="161"/>
                        <a:pt x="265" y="164"/>
                        <a:pt x="267" y="167"/>
                      </a:cubicBezTo>
                      <a:cubicBezTo>
                        <a:pt x="268" y="169"/>
                        <a:pt x="268" y="174"/>
                        <a:pt x="267" y="177"/>
                      </a:cubicBezTo>
                      <a:cubicBezTo>
                        <a:pt x="266" y="180"/>
                        <a:pt x="261" y="178"/>
                        <a:pt x="261" y="176"/>
                      </a:cubicBezTo>
                      <a:cubicBezTo>
                        <a:pt x="262" y="174"/>
                        <a:pt x="256" y="175"/>
                        <a:pt x="256" y="177"/>
                      </a:cubicBezTo>
                      <a:cubicBezTo>
                        <a:pt x="256" y="180"/>
                        <a:pt x="260" y="185"/>
                        <a:pt x="262" y="185"/>
                      </a:cubicBezTo>
                      <a:cubicBezTo>
                        <a:pt x="265" y="186"/>
                        <a:pt x="263" y="190"/>
                        <a:pt x="265" y="191"/>
                      </a:cubicBezTo>
                      <a:cubicBezTo>
                        <a:pt x="267" y="191"/>
                        <a:pt x="267" y="196"/>
                        <a:pt x="269" y="195"/>
                      </a:cubicBezTo>
                      <a:cubicBezTo>
                        <a:pt x="270" y="195"/>
                        <a:pt x="270" y="189"/>
                        <a:pt x="268" y="187"/>
                      </a:cubicBezTo>
                      <a:cubicBezTo>
                        <a:pt x="266" y="184"/>
                        <a:pt x="267" y="181"/>
                        <a:pt x="269" y="181"/>
                      </a:cubicBezTo>
                      <a:cubicBezTo>
                        <a:pt x="271" y="182"/>
                        <a:pt x="269" y="186"/>
                        <a:pt x="270" y="187"/>
                      </a:cubicBezTo>
                      <a:cubicBezTo>
                        <a:pt x="271" y="188"/>
                        <a:pt x="273" y="186"/>
                        <a:pt x="275" y="184"/>
                      </a:cubicBezTo>
                      <a:cubicBezTo>
                        <a:pt x="278" y="183"/>
                        <a:pt x="274" y="179"/>
                        <a:pt x="275" y="177"/>
                      </a:cubicBezTo>
                      <a:cubicBezTo>
                        <a:pt x="276" y="174"/>
                        <a:pt x="279" y="178"/>
                        <a:pt x="280" y="182"/>
                      </a:cubicBezTo>
                      <a:cubicBezTo>
                        <a:pt x="281" y="186"/>
                        <a:pt x="277" y="186"/>
                        <a:pt x="277" y="188"/>
                      </a:cubicBezTo>
                      <a:cubicBezTo>
                        <a:pt x="277" y="190"/>
                        <a:pt x="274" y="189"/>
                        <a:pt x="273" y="190"/>
                      </a:cubicBezTo>
                      <a:cubicBezTo>
                        <a:pt x="272" y="191"/>
                        <a:pt x="272" y="198"/>
                        <a:pt x="274" y="198"/>
                      </a:cubicBezTo>
                      <a:cubicBezTo>
                        <a:pt x="275" y="198"/>
                        <a:pt x="276" y="192"/>
                        <a:pt x="277" y="195"/>
                      </a:cubicBezTo>
                      <a:cubicBezTo>
                        <a:pt x="278" y="198"/>
                        <a:pt x="281" y="191"/>
                        <a:pt x="282" y="194"/>
                      </a:cubicBezTo>
                      <a:cubicBezTo>
                        <a:pt x="283" y="197"/>
                        <a:pt x="287" y="200"/>
                        <a:pt x="289" y="200"/>
                      </a:cubicBezTo>
                      <a:cubicBezTo>
                        <a:pt x="290" y="199"/>
                        <a:pt x="288" y="196"/>
                        <a:pt x="285" y="196"/>
                      </a:cubicBezTo>
                      <a:cubicBezTo>
                        <a:pt x="283" y="196"/>
                        <a:pt x="283" y="191"/>
                        <a:pt x="286" y="191"/>
                      </a:cubicBezTo>
                      <a:cubicBezTo>
                        <a:pt x="288" y="191"/>
                        <a:pt x="292" y="197"/>
                        <a:pt x="292" y="199"/>
                      </a:cubicBezTo>
                      <a:cubicBezTo>
                        <a:pt x="292" y="201"/>
                        <a:pt x="290" y="201"/>
                        <a:pt x="288" y="203"/>
                      </a:cubicBezTo>
                      <a:cubicBezTo>
                        <a:pt x="286" y="206"/>
                        <a:pt x="283" y="200"/>
                        <a:pt x="281" y="200"/>
                      </a:cubicBezTo>
                      <a:cubicBezTo>
                        <a:pt x="279" y="200"/>
                        <a:pt x="281" y="204"/>
                        <a:pt x="282" y="206"/>
                      </a:cubicBezTo>
                      <a:cubicBezTo>
                        <a:pt x="283" y="209"/>
                        <a:pt x="279" y="212"/>
                        <a:pt x="282" y="214"/>
                      </a:cubicBezTo>
                      <a:cubicBezTo>
                        <a:pt x="285" y="216"/>
                        <a:pt x="284" y="213"/>
                        <a:pt x="285" y="211"/>
                      </a:cubicBezTo>
                      <a:cubicBezTo>
                        <a:pt x="285" y="210"/>
                        <a:pt x="288" y="212"/>
                        <a:pt x="289" y="213"/>
                      </a:cubicBezTo>
                      <a:cubicBezTo>
                        <a:pt x="291" y="214"/>
                        <a:pt x="291" y="210"/>
                        <a:pt x="291" y="209"/>
                      </a:cubicBezTo>
                      <a:cubicBezTo>
                        <a:pt x="291" y="207"/>
                        <a:pt x="294" y="208"/>
                        <a:pt x="295" y="210"/>
                      </a:cubicBezTo>
                      <a:cubicBezTo>
                        <a:pt x="297" y="212"/>
                        <a:pt x="297" y="208"/>
                        <a:pt x="299" y="208"/>
                      </a:cubicBezTo>
                      <a:cubicBezTo>
                        <a:pt x="301" y="208"/>
                        <a:pt x="300" y="212"/>
                        <a:pt x="300" y="214"/>
                      </a:cubicBezTo>
                      <a:cubicBezTo>
                        <a:pt x="300" y="216"/>
                        <a:pt x="303" y="212"/>
                        <a:pt x="303" y="214"/>
                      </a:cubicBezTo>
                      <a:cubicBezTo>
                        <a:pt x="303" y="215"/>
                        <a:pt x="303" y="215"/>
                        <a:pt x="303" y="215"/>
                      </a:cubicBezTo>
                      <a:cubicBezTo>
                        <a:pt x="305" y="214"/>
                        <a:pt x="307" y="212"/>
                        <a:pt x="308" y="211"/>
                      </a:cubicBezTo>
                      <a:cubicBezTo>
                        <a:pt x="312" y="209"/>
                        <a:pt x="306" y="207"/>
                        <a:pt x="307" y="204"/>
                      </a:cubicBezTo>
                      <a:close/>
                      <a:moveTo>
                        <a:pt x="6" y="229"/>
                      </a:moveTo>
                      <a:cubicBezTo>
                        <a:pt x="10" y="227"/>
                        <a:pt x="12" y="225"/>
                        <a:pt x="10" y="223"/>
                      </a:cubicBezTo>
                      <a:cubicBezTo>
                        <a:pt x="8" y="221"/>
                        <a:pt x="3" y="231"/>
                        <a:pt x="6" y="229"/>
                      </a:cubicBezTo>
                      <a:close/>
                      <a:moveTo>
                        <a:pt x="36" y="213"/>
                      </a:moveTo>
                      <a:cubicBezTo>
                        <a:pt x="32" y="212"/>
                        <a:pt x="22" y="218"/>
                        <a:pt x="25" y="219"/>
                      </a:cubicBezTo>
                      <a:cubicBezTo>
                        <a:pt x="28" y="219"/>
                        <a:pt x="29" y="216"/>
                        <a:pt x="32" y="216"/>
                      </a:cubicBezTo>
                      <a:cubicBezTo>
                        <a:pt x="35" y="216"/>
                        <a:pt x="40" y="215"/>
                        <a:pt x="36" y="213"/>
                      </a:cubicBezTo>
                      <a:close/>
                      <a:moveTo>
                        <a:pt x="127" y="171"/>
                      </a:moveTo>
                      <a:cubicBezTo>
                        <a:pt x="127" y="169"/>
                        <a:pt x="124" y="169"/>
                        <a:pt x="120" y="174"/>
                      </a:cubicBezTo>
                      <a:cubicBezTo>
                        <a:pt x="117" y="178"/>
                        <a:pt x="114" y="180"/>
                        <a:pt x="113" y="182"/>
                      </a:cubicBezTo>
                      <a:cubicBezTo>
                        <a:pt x="113" y="184"/>
                        <a:pt x="109" y="181"/>
                        <a:pt x="107" y="184"/>
                      </a:cubicBezTo>
                      <a:cubicBezTo>
                        <a:pt x="106" y="186"/>
                        <a:pt x="108" y="192"/>
                        <a:pt x="111" y="190"/>
                      </a:cubicBezTo>
                      <a:cubicBezTo>
                        <a:pt x="113" y="188"/>
                        <a:pt x="113" y="190"/>
                        <a:pt x="115" y="190"/>
                      </a:cubicBezTo>
                      <a:cubicBezTo>
                        <a:pt x="117" y="190"/>
                        <a:pt x="124" y="185"/>
                        <a:pt x="126" y="183"/>
                      </a:cubicBezTo>
                      <a:cubicBezTo>
                        <a:pt x="127" y="180"/>
                        <a:pt x="123" y="179"/>
                        <a:pt x="122" y="178"/>
                      </a:cubicBezTo>
                      <a:cubicBezTo>
                        <a:pt x="122" y="176"/>
                        <a:pt x="126" y="176"/>
                        <a:pt x="128" y="175"/>
                      </a:cubicBezTo>
                      <a:cubicBezTo>
                        <a:pt x="130" y="174"/>
                        <a:pt x="126" y="173"/>
                        <a:pt x="127" y="171"/>
                      </a:cubicBezTo>
                      <a:close/>
                      <a:moveTo>
                        <a:pt x="13" y="150"/>
                      </a:moveTo>
                      <a:cubicBezTo>
                        <a:pt x="13" y="147"/>
                        <a:pt x="5" y="150"/>
                        <a:pt x="6" y="153"/>
                      </a:cubicBezTo>
                      <a:cubicBezTo>
                        <a:pt x="7" y="155"/>
                        <a:pt x="14" y="157"/>
                        <a:pt x="17" y="156"/>
                      </a:cubicBezTo>
                      <a:cubicBezTo>
                        <a:pt x="20" y="155"/>
                        <a:pt x="21" y="152"/>
                        <a:pt x="19" y="151"/>
                      </a:cubicBezTo>
                      <a:cubicBezTo>
                        <a:pt x="17" y="149"/>
                        <a:pt x="13" y="153"/>
                        <a:pt x="13" y="150"/>
                      </a:cubicBezTo>
                      <a:close/>
                      <a:moveTo>
                        <a:pt x="100" y="544"/>
                      </a:moveTo>
                      <a:cubicBezTo>
                        <a:pt x="95" y="545"/>
                        <a:pt x="98" y="556"/>
                        <a:pt x="100" y="554"/>
                      </a:cubicBezTo>
                      <a:cubicBezTo>
                        <a:pt x="102" y="553"/>
                        <a:pt x="105" y="552"/>
                        <a:pt x="106" y="551"/>
                      </a:cubicBezTo>
                      <a:cubicBezTo>
                        <a:pt x="107" y="548"/>
                        <a:pt x="104" y="543"/>
                        <a:pt x="100" y="544"/>
                      </a:cubicBezTo>
                      <a:close/>
                      <a:moveTo>
                        <a:pt x="94" y="537"/>
                      </a:moveTo>
                      <a:cubicBezTo>
                        <a:pt x="91" y="538"/>
                        <a:pt x="93" y="542"/>
                        <a:pt x="95" y="541"/>
                      </a:cubicBezTo>
                      <a:cubicBezTo>
                        <a:pt x="98" y="539"/>
                        <a:pt x="97" y="537"/>
                        <a:pt x="94" y="537"/>
                      </a:cubicBezTo>
                      <a:close/>
                      <a:moveTo>
                        <a:pt x="66" y="528"/>
                      </a:moveTo>
                      <a:cubicBezTo>
                        <a:pt x="69" y="531"/>
                        <a:pt x="70" y="530"/>
                        <a:pt x="71" y="528"/>
                      </a:cubicBezTo>
                      <a:cubicBezTo>
                        <a:pt x="72" y="526"/>
                        <a:pt x="64" y="525"/>
                        <a:pt x="66" y="528"/>
                      </a:cubicBezTo>
                      <a:close/>
                      <a:moveTo>
                        <a:pt x="79" y="534"/>
                      </a:moveTo>
                      <a:cubicBezTo>
                        <a:pt x="80" y="536"/>
                        <a:pt x="82" y="537"/>
                        <a:pt x="84" y="534"/>
                      </a:cubicBezTo>
                      <a:cubicBezTo>
                        <a:pt x="85" y="532"/>
                        <a:pt x="77" y="530"/>
                        <a:pt x="79" y="534"/>
                      </a:cubicBezTo>
                      <a:close/>
                      <a:moveTo>
                        <a:pt x="811" y="295"/>
                      </a:moveTo>
                      <a:cubicBezTo>
                        <a:pt x="810" y="292"/>
                        <a:pt x="803" y="294"/>
                        <a:pt x="800" y="292"/>
                      </a:cubicBezTo>
                      <a:cubicBezTo>
                        <a:pt x="797" y="289"/>
                        <a:pt x="791" y="301"/>
                        <a:pt x="790" y="306"/>
                      </a:cubicBezTo>
                      <a:cubicBezTo>
                        <a:pt x="789" y="311"/>
                        <a:pt x="780" y="316"/>
                        <a:pt x="780" y="316"/>
                      </a:cubicBezTo>
                      <a:cubicBezTo>
                        <a:pt x="780" y="316"/>
                        <a:pt x="754" y="317"/>
                        <a:pt x="752" y="317"/>
                      </a:cubicBezTo>
                      <a:cubicBezTo>
                        <a:pt x="751" y="317"/>
                        <a:pt x="745" y="322"/>
                        <a:pt x="741" y="325"/>
                      </a:cubicBezTo>
                      <a:cubicBezTo>
                        <a:pt x="741" y="325"/>
                        <a:pt x="742" y="325"/>
                        <a:pt x="742" y="325"/>
                      </a:cubicBezTo>
                      <a:cubicBezTo>
                        <a:pt x="744" y="330"/>
                        <a:pt x="735" y="333"/>
                        <a:pt x="726" y="333"/>
                      </a:cubicBezTo>
                      <a:cubicBezTo>
                        <a:pt x="723" y="333"/>
                        <a:pt x="721" y="333"/>
                        <a:pt x="720" y="334"/>
                      </a:cubicBezTo>
                      <a:cubicBezTo>
                        <a:pt x="720" y="335"/>
                        <a:pt x="720" y="336"/>
                        <a:pt x="720" y="337"/>
                      </a:cubicBezTo>
                      <a:cubicBezTo>
                        <a:pt x="720" y="337"/>
                        <a:pt x="719" y="338"/>
                        <a:pt x="718" y="339"/>
                      </a:cubicBezTo>
                      <a:cubicBezTo>
                        <a:pt x="716" y="342"/>
                        <a:pt x="705" y="347"/>
                        <a:pt x="699" y="350"/>
                      </a:cubicBezTo>
                      <a:cubicBezTo>
                        <a:pt x="692" y="354"/>
                        <a:pt x="683" y="352"/>
                        <a:pt x="683" y="347"/>
                      </a:cubicBezTo>
                      <a:cubicBezTo>
                        <a:pt x="683" y="341"/>
                        <a:pt x="688" y="342"/>
                        <a:pt x="689" y="345"/>
                      </a:cubicBezTo>
                      <a:cubicBezTo>
                        <a:pt x="690" y="346"/>
                        <a:pt x="691" y="345"/>
                        <a:pt x="692" y="344"/>
                      </a:cubicBezTo>
                      <a:cubicBezTo>
                        <a:pt x="691" y="342"/>
                        <a:pt x="691" y="340"/>
                        <a:pt x="691" y="338"/>
                      </a:cubicBezTo>
                      <a:cubicBezTo>
                        <a:pt x="689" y="337"/>
                        <a:pt x="692" y="329"/>
                        <a:pt x="688" y="327"/>
                      </a:cubicBezTo>
                      <a:cubicBezTo>
                        <a:pt x="684" y="326"/>
                        <a:pt x="679" y="333"/>
                        <a:pt x="680" y="329"/>
                      </a:cubicBezTo>
                      <a:cubicBezTo>
                        <a:pt x="680" y="324"/>
                        <a:pt x="687" y="320"/>
                        <a:pt x="683" y="314"/>
                      </a:cubicBezTo>
                      <a:cubicBezTo>
                        <a:pt x="679" y="308"/>
                        <a:pt x="672" y="308"/>
                        <a:pt x="670" y="313"/>
                      </a:cubicBezTo>
                      <a:cubicBezTo>
                        <a:pt x="669" y="317"/>
                        <a:pt x="664" y="315"/>
                        <a:pt x="662" y="319"/>
                      </a:cubicBezTo>
                      <a:cubicBezTo>
                        <a:pt x="660" y="322"/>
                        <a:pt x="659" y="330"/>
                        <a:pt x="660" y="336"/>
                      </a:cubicBezTo>
                      <a:cubicBezTo>
                        <a:pt x="661" y="342"/>
                        <a:pt x="660" y="344"/>
                        <a:pt x="654" y="348"/>
                      </a:cubicBezTo>
                      <a:cubicBezTo>
                        <a:pt x="649" y="351"/>
                        <a:pt x="646" y="343"/>
                        <a:pt x="648" y="332"/>
                      </a:cubicBezTo>
                      <a:cubicBezTo>
                        <a:pt x="650" y="325"/>
                        <a:pt x="654" y="318"/>
                        <a:pt x="650" y="318"/>
                      </a:cubicBezTo>
                      <a:cubicBezTo>
                        <a:pt x="646" y="318"/>
                        <a:pt x="655" y="310"/>
                        <a:pt x="662" y="308"/>
                      </a:cubicBezTo>
                      <a:cubicBezTo>
                        <a:pt x="670" y="306"/>
                        <a:pt x="679" y="307"/>
                        <a:pt x="679" y="305"/>
                      </a:cubicBezTo>
                      <a:cubicBezTo>
                        <a:pt x="679" y="304"/>
                        <a:pt x="679" y="304"/>
                        <a:pt x="680" y="304"/>
                      </a:cubicBezTo>
                      <a:cubicBezTo>
                        <a:pt x="678" y="303"/>
                        <a:pt x="677" y="302"/>
                        <a:pt x="675" y="301"/>
                      </a:cubicBezTo>
                      <a:cubicBezTo>
                        <a:pt x="675" y="301"/>
                        <a:pt x="675" y="302"/>
                        <a:pt x="674" y="302"/>
                      </a:cubicBezTo>
                      <a:cubicBezTo>
                        <a:pt x="671" y="304"/>
                        <a:pt x="672" y="299"/>
                        <a:pt x="667" y="299"/>
                      </a:cubicBezTo>
                      <a:cubicBezTo>
                        <a:pt x="661" y="299"/>
                        <a:pt x="656" y="304"/>
                        <a:pt x="652" y="302"/>
                      </a:cubicBezTo>
                      <a:cubicBezTo>
                        <a:pt x="648" y="299"/>
                        <a:pt x="650" y="297"/>
                        <a:pt x="646" y="297"/>
                      </a:cubicBezTo>
                      <a:cubicBezTo>
                        <a:pt x="642" y="297"/>
                        <a:pt x="649" y="289"/>
                        <a:pt x="643" y="292"/>
                      </a:cubicBezTo>
                      <a:cubicBezTo>
                        <a:pt x="637" y="296"/>
                        <a:pt x="629" y="303"/>
                        <a:pt x="625" y="300"/>
                      </a:cubicBezTo>
                      <a:cubicBezTo>
                        <a:pt x="621" y="296"/>
                        <a:pt x="617" y="301"/>
                        <a:pt x="614" y="298"/>
                      </a:cubicBezTo>
                      <a:cubicBezTo>
                        <a:pt x="612" y="295"/>
                        <a:pt x="624" y="287"/>
                        <a:pt x="630" y="288"/>
                      </a:cubicBezTo>
                      <a:cubicBezTo>
                        <a:pt x="632" y="288"/>
                        <a:pt x="633" y="287"/>
                        <a:pt x="635" y="286"/>
                      </a:cubicBezTo>
                      <a:cubicBezTo>
                        <a:pt x="631" y="285"/>
                        <a:pt x="625" y="282"/>
                        <a:pt x="623" y="285"/>
                      </a:cubicBezTo>
                      <a:cubicBezTo>
                        <a:pt x="621" y="287"/>
                        <a:pt x="618" y="285"/>
                        <a:pt x="616" y="283"/>
                      </a:cubicBezTo>
                      <a:cubicBezTo>
                        <a:pt x="614" y="281"/>
                        <a:pt x="612" y="284"/>
                        <a:pt x="609" y="281"/>
                      </a:cubicBezTo>
                      <a:cubicBezTo>
                        <a:pt x="607" y="277"/>
                        <a:pt x="604" y="280"/>
                        <a:pt x="602" y="280"/>
                      </a:cubicBezTo>
                      <a:cubicBezTo>
                        <a:pt x="600" y="281"/>
                        <a:pt x="598" y="279"/>
                        <a:pt x="595" y="278"/>
                      </a:cubicBezTo>
                      <a:cubicBezTo>
                        <a:pt x="592" y="277"/>
                        <a:pt x="594" y="274"/>
                        <a:pt x="592" y="272"/>
                      </a:cubicBezTo>
                      <a:cubicBezTo>
                        <a:pt x="589" y="270"/>
                        <a:pt x="589" y="276"/>
                        <a:pt x="589" y="276"/>
                      </a:cubicBezTo>
                      <a:cubicBezTo>
                        <a:pt x="367" y="277"/>
                        <a:pt x="367" y="277"/>
                        <a:pt x="367" y="277"/>
                      </a:cubicBezTo>
                      <a:cubicBezTo>
                        <a:pt x="368" y="277"/>
                        <a:pt x="368" y="277"/>
                        <a:pt x="368" y="278"/>
                      </a:cubicBezTo>
                      <a:cubicBezTo>
                        <a:pt x="371" y="281"/>
                        <a:pt x="369" y="283"/>
                        <a:pt x="370" y="286"/>
                      </a:cubicBezTo>
                      <a:cubicBezTo>
                        <a:pt x="371" y="290"/>
                        <a:pt x="370" y="294"/>
                        <a:pt x="367" y="294"/>
                      </a:cubicBezTo>
                      <a:cubicBezTo>
                        <a:pt x="364" y="294"/>
                        <a:pt x="364" y="291"/>
                        <a:pt x="366" y="290"/>
                      </a:cubicBezTo>
                      <a:cubicBezTo>
                        <a:pt x="368" y="289"/>
                        <a:pt x="367" y="285"/>
                        <a:pt x="365" y="285"/>
                      </a:cubicBezTo>
                      <a:cubicBezTo>
                        <a:pt x="364" y="285"/>
                        <a:pt x="363" y="284"/>
                        <a:pt x="363" y="282"/>
                      </a:cubicBezTo>
                      <a:cubicBezTo>
                        <a:pt x="360" y="283"/>
                        <a:pt x="356" y="283"/>
                        <a:pt x="351" y="282"/>
                      </a:cubicBezTo>
                      <a:cubicBezTo>
                        <a:pt x="351" y="282"/>
                        <a:pt x="351" y="283"/>
                        <a:pt x="351" y="283"/>
                      </a:cubicBezTo>
                      <a:cubicBezTo>
                        <a:pt x="351" y="285"/>
                        <a:pt x="352" y="290"/>
                        <a:pt x="355" y="294"/>
                      </a:cubicBezTo>
                      <a:cubicBezTo>
                        <a:pt x="358" y="297"/>
                        <a:pt x="356" y="300"/>
                        <a:pt x="359" y="301"/>
                      </a:cubicBezTo>
                      <a:cubicBezTo>
                        <a:pt x="361" y="303"/>
                        <a:pt x="361" y="304"/>
                        <a:pt x="359" y="304"/>
                      </a:cubicBezTo>
                      <a:cubicBezTo>
                        <a:pt x="356" y="303"/>
                        <a:pt x="358" y="306"/>
                        <a:pt x="357" y="311"/>
                      </a:cubicBezTo>
                      <a:cubicBezTo>
                        <a:pt x="356" y="316"/>
                        <a:pt x="356" y="327"/>
                        <a:pt x="356" y="331"/>
                      </a:cubicBezTo>
                      <a:cubicBezTo>
                        <a:pt x="355" y="334"/>
                        <a:pt x="351" y="340"/>
                        <a:pt x="354" y="343"/>
                      </a:cubicBezTo>
                      <a:cubicBezTo>
                        <a:pt x="356" y="347"/>
                        <a:pt x="358" y="352"/>
                        <a:pt x="356" y="356"/>
                      </a:cubicBezTo>
                      <a:cubicBezTo>
                        <a:pt x="355" y="361"/>
                        <a:pt x="355" y="364"/>
                        <a:pt x="357" y="367"/>
                      </a:cubicBezTo>
                      <a:cubicBezTo>
                        <a:pt x="359" y="370"/>
                        <a:pt x="358" y="376"/>
                        <a:pt x="360" y="377"/>
                      </a:cubicBezTo>
                      <a:cubicBezTo>
                        <a:pt x="362" y="379"/>
                        <a:pt x="364" y="381"/>
                        <a:pt x="366" y="384"/>
                      </a:cubicBezTo>
                      <a:cubicBezTo>
                        <a:pt x="368" y="388"/>
                        <a:pt x="369" y="386"/>
                        <a:pt x="370" y="389"/>
                      </a:cubicBezTo>
                      <a:cubicBezTo>
                        <a:pt x="370" y="392"/>
                        <a:pt x="370" y="393"/>
                        <a:pt x="373" y="394"/>
                      </a:cubicBezTo>
                      <a:cubicBezTo>
                        <a:pt x="376" y="395"/>
                        <a:pt x="374" y="398"/>
                        <a:pt x="374" y="400"/>
                      </a:cubicBezTo>
                      <a:cubicBezTo>
                        <a:pt x="374" y="402"/>
                        <a:pt x="378" y="405"/>
                        <a:pt x="383" y="409"/>
                      </a:cubicBezTo>
                      <a:cubicBezTo>
                        <a:pt x="387" y="413"/>
                        <a:pt x="383" y="417"/>
                        <a:pt x="387" y="417"/>
                      </a:cubicBezTo>
                      <a:cubicBezTo>
                        <a:pt x="390" y="417"/>
                        <a:pt x="393" y="419"/>
                        <a:pt x="397" y="421"/>
                      </a:cubicBezTo>
                      <a:cubicBezTo>
                        <a:pt x="400" y="423"/>
                        <a:pt x="401" y="422"/>
                        <a:pt x="403" y="422"/>
                      </a:cubicBezTo>
                      <a:cubicBezTo>
                        <a:pt x="406" y="423"/>
                        <a:pt x="410" y="428"/>
                        <a:pt x="411" y="431"/>
                      </a:cubicBezTo>
                      <a:cubicBezTo>
                        <a:pt x="411" y="433"/>
                        <a:pt x="412" y="434"/>
                        <a:pt x="413" y="436"/>
                      </a:cubicBezTo>
                      <a:cubicBezTo>
                        <a:pt x="431" y="434"/>
                        <a:pt x="431" y="434"/>
                        <a:pt x="431" y="434"/>
                      </a:cubicBezTo>
                      <a:cubicBezTo>
                        <a:pt x="431" y="434"/>
                        <a:pt x="437" y="438"/>
                        <a:pt x="440" y="439"/>
                      </a:cubicBezTo>
                      <a:cubicBezTo>
                        <a:pt x="443" y="439"/>
                        <a:pt x="461" y="446"/>
                        <a:pt x="461" y="446"/>
                      </a:cubicBezTo>
                      <a:cubicBezTo>
                        <a:pt x="484" y="446"/>
                        <a:pt x="484" y="446"/>
                        <a:pt x="484" y="446"/>
                      </a:cubicBezTo>
                      <a:cubicBezTo>
                        <a:pt x="486" y="442"/>
                        <a:pt x="486" y="442"/>
                        <a:pt x="486" y="442"/>
                      </a:cubicBezTo>
                      <a:cubicBezTo>
                        <a:pt x="499" y="442"/>
                        <a:pt x="499" y="442"/>
                        <a:pt x="499" y="442"/>
                      </a:cubicBezTo>
                      <a:cubicBezTo>
                        <a:pt x="499" y="442"/>
                        <a:pt x="507" y="450"/>
                        <a:pt x="508" y="450"/>
                      </a:cubicBezTo>
                      <a:cubicBezTo>
                        <a:pt x="509" y="451"/>
                        <a:pt x="513" y="454"/>
                        <a:pt x="513" y="457"/>
                      </a:cubicBezTo>
                      <a:cubicBezTo>
                        <a:pt x="513" y="459"/>
                        <a:pt x="514" y="461"/>
                        <a:pt x="516" y="462"/>
                      </a:cubicBezTo>
                      <a:cubicBezTo>
                        <a:pt x="518" y="463"/>
                        <a:pt x="525" y="467"/>
                        <a:pt x="525" y="467"/>
                      </a:cubicBezTo>
                      <a:cubicBezTo>
                        <a:pt x="526" y="466"/>
                        <a:pt x="528" y="459"/>
                        <a:pt x="532" y="459"/>
                      </a:cubicBezTo>
                      <a:cubicBezTo>
                        <a:pt x="535" y="459"/>
                        <a:pt x="545" y="462"/>
                        <a:pt x="546" y="467"/>
                      </a:cubicBezTo>
                      <a:cubicBezTo>
                        <a:pt x="548" y="473"/>
                        <a:pt x="552" y="477"/>
                        <a:pt x="554" y="478"/>
                      </a:cubicBezTo>
                      <a:cubicBezTo>
                        <a:pt x="555" y="479"/>
                        <a:pt x="554" y="483"/>
                        <a:pt x="556" y="484"/>
                      </a:cubicBezTo>
                      <a:cubicBezTo>
                        <a:pt x="557" y="486"/>
                        <a:pt x="557" y="489"/>
                        <a:pt x="558" y="489"/>
                      </a:cubicBezTo>
                      <a:cubicBezTo>
                        <a:pt x="559" y="489"/>
                        <a:pt x="566" y="493"/>
                        <a:pt x="569" y="493"/>
                      </a:cubicBezTo>
                      <a:cubicBezTo>
                        <a:pt x="570" y="493"/>
                        <a:pt x="571" y="494"/>
                        <a:pt x="572" y="494"/>
                      </a:cubicBezTo>
                      <a:cubicBezTo>
                        <a:pt x="573" y="488"/>
                        <a:pt x="566" y="487"/>
                        <a:pt x="570" y="484"/>
                      </a:cubicBezTo>
                      <a:cubicBezTo>
                        <a:pt x="575" y="481"/>
                        <a:pt x="570" y="478"/>
                        <a:pt x="572" y="476"/>
                      </a:cubicBezTo>
                      <a:cubicBezTo>
                        <a:pt x="574" y="475"/>
                        <a:pt x="578" y="474"/>
                        <a:pt x="578" y="471"/>
                      </a:cubicBezTo>
                      <a:cubicBezTo>
                        <a:pt x="578" y="469"/>
                        <a:pt x="580" y="469"/>
                        <a:pt x="583" y="470"/>
                      </a:cubicBezTo>
                      <a:cubicBezTo>
                        <a:pt x="586" y="470"/>
                        <a:pt x="591" y="465"/>
                        <a:pt x="591" y="463"/>
                      </a:cubicBezTo>
                      <a:cubicBezTo>
                        <a:pt x="590" y="461"/>
                        <a:pt x="591" y="461"/>
                        <a:pt x="595" y="461"/>
                      </a:cubicBezTo>
                      <a:cubicBezTo>
                        <a:pt x="598" y="462"/>
                        <a:pt x="597" y="458"/>
                        <a:pt x="600" y="458"/>
                      </a:cubicBezTo>
                      <a:cubicBezTo>
                        <a:pt x="602" y="459"/>
                        <a:pt x="603" y="460"/>
                        <a:pt x="604" y="459"/>
                      </a:cubicBezTo>
                      <a:cubicBezTo>
                        <a:pt x="604" y="457"/>
                        <a:pt x="606" y="457"/>
                        <a:pt x="608" y="459"/>
                      </a:cubicBezTo>
                      <a:cubicBezTo>
                        <a:pt x="609" y="462"/>
                        <a:pt x="614" y="462"/>
                        <a:pt x="614" y="460"/>
                      </a:cubicBezTo>
                      <a:cubicBezTo>
                        <a:pt x="615" y="457"/>
                        <a:pt x="617" y="460"/>
                        <a:pt x="620" y="462"/>
                      </a:cubicBezTo>
                      <a:cubicBezTo>
                        <a:pt x="622" y="465"/>
                        <a:pt x="623" y="464"/>
                        <a:pt x="626" y="464"/>
                      </a:cubicBezTo>
                      <a:cubicBezTo>
                        <a:pt x="630" y="464"/>
                        <a:pt x="630" y="463"/>
                        <a:pt x="630" y="461"/>
                      </a:cubicBezTo>
                      <a:cubicBezTo>
                        <a:pt x="630" y="459"/>
                        <a:pt x="634" y="466"/>
                        <a:pt x="637" y="466"/>
                      </a:cubicBezTo>
                      <a:cubicBezTo>
                        <a:pt x="640" y="467"/>
                        <a:pt x="638" y="464"/>
                        <a:pt x="635" y="462"/>
                      </a:cubicBezTo>
                      <a:cubicBezTo>
                        <a:pt x="633" y="460"/>
                        <a:pt x="636" y="459"/>
                        <a:pt x="634" y="458"/>
                      </a:cubicBezTo>
                      <a:cubicBezTo>
                        <a:pt x="631" y="456"/>
                        <a:pt x="636" y="454"/>
                        <a:pt x="641" y="454"/>
                      </a:cubicBezTo>
                      <a:cubicBezTo>
                        <a:pt x="645" y="454"/>
                        <a:pt x="645" y="455"/>
                        <a:pt x="646" y="453"/>
                      </a:cubicBezTo>
                      <a:cubicBezTo>
                        <a:pt x="648" y="450"/>
                        <a:pt x="649" y="453"/>
                        <a:pt x="649" y="455"/>
                      </a:cubicBezTo>
                      <a:cubicBezTo>
                        <a:pt x="649" y="457"/>
                        <a:pt x="656" y="454"/>
                        <a:pt x="660" y="454"/>
                      </a:cubicBezTo>
                      <a:cubicBezTo>
                        <a:pt x="664" y="454"/>
                        <a:pt x="667" y="457"/>
                        <a:pt x="668" y="459"/>
                      </a:cubicBezTo>
                      <a:cubicBezTo>
                        <a:pt x="668" y="461"/>
                        <a:pt x="671" y="462"/>
                        <a:pt x="673" y="460"/>
                      </a:cubicBezTo>
                      <a:cubicBezTo>
                        <a:pt x="676" y="458"/>
                        <a:pt x="678" y="455"/>
                        <a:pt x="681" y="458"/>
                      </a:cubicBezTo>
                      <a:cubicBezTo>
                        <a:pt x="683" y="460"/>
                        <a:pt x="686" y="463"/>
                        <a:pt x="689" y="466"/>
                      </a:cubicBezTo>
                      <a:cubicBezTo>
                        <a:pt x="692" y="469"/>
                        <a:pt x="687" y="473"/>
                        <a:pt x="689" y="476"/>
                      </a:cubicBezTo>
                      <a:cubicBezTo>
                        <a:pt x="691" y="478"/>
                        <a:pt x="689" y="481"/>
                        <a:pt x="692" y="484"/>
                      </a:cubicBezTo>
                      <a:cubicBezTo>
                        <a:pt x="696" y="486"/>
                        <a:pt x="693" y="491"/>
                        <a:pt x="696" y="492"/>
                      </a:cubicBezTo>
                      <a:cubicBezTo>
                        <a:pt x="698" y="493"/>
                        <a:pt x="701" y="497"/>
                        <a:pt x="701" y="499"/>
                      </a:cubicBezTo>
                      <a:cubicBezTo>
                        <a:pt x="701" y="501"/>
                        <a:pt x="707" y="503"/>
                        <a:pt x="707" y="500"/>
                      </a:cubicBezTo>
                      <a:cubicBezTo>
                        <a:pt x="707" y="497"/>
                        <a:pt x="710" y="493"/>
                        <a:pt x="711" y="490"/>
                      </a:cubicBezTo>
                      <a:cubicBezTo>
                        <a:pt x="711" y="488"/>
                        <a:pt x="709" y="477"/>
                        <a:pt x="706" y="474"/>
                      </a:cubicBezTo>
                      <a:cubicBezTo>
                        <a:pt x="704" y="471"/>
                        <a:pt x="707" y="470"/>
                        <a:pt x="704" y="467"/>
                      </a:cubicBezTo>
                      <a:cubicBezTo>
                        <a:pt x="701" y="463"/>
                        <a:pt x="699" y="456"/>
                        <a:pt x="699" y="451"/>
                      </a:cubicBezTo>
                      <a:cubicBezTo>
                        <a:pt x="700" y="446"/>
                        <a:pt x="706" y="437"/>
                        <a:pt x="709" y="434"/>
                      </a:cubicBezTo>
                      <a:cubicBezTo>
                        <a:pt x="712" y="431"/>
                        <a:pt x="715" y="433"/>
                        <a:pt x="716" y="430"/>
                      </a:cubicBezTo>
                      <a:cubicBezTo>
                        <a:pt x="717" y="427"/>
                        <a:pt x="720" y="424"/>
                        <a:pt x="723" y="424"/>
                      </a:cubicBezTo>
                      <a:cubicBezTo>
                        <a:pt x="725" y="424"/>
                        <a:pt x="727" y="424"/>
                        <a:pt x="727" y="422"/>
                      </a:cubicBezTo>
                      <a:cubicBezTo>
                        <a:pt x="728" y="420"/>
                        <a:pt x="731" y="417"/>
                        <a:pt x="736" y="416"/>
                      </a:cubicBezTo>
                      <a:cubicBezTo>
                        <a:pt x="741" y="415"/>
                        <a:pt x="738" y="413"/>
                        <a:pt x="737" y="411"/>
                      </a:cubicBezTo>
                      <a:cubicBezTo>
                        <a:pt x="735" y="408"/>
                        <a:pt x="738" y="406"/>
                        <a:pt x="739" y="408"/>
                      </a:cubicBezTo>
                      <a:cubicBezTo>
                        <a:pt x="740" y="409"/>
                        <a:pt x="742" y="409"/>
                        <a:pt x="744" y="408"/>
                      </a:cubicBezTo>
                      <a:cubicBezTo>
                        <a:pt x="746" y="407"/>
                        <a:pt x="750" y="403"/>
                        <a:pt x="746" y="403"/>
                      </a:cubicBezTo>
                      <a:cubicBezTo>
                        <a:pt x="742" y="403"/>
                        <a:pt x="741" y="402"/>
                        <a:pt x="744" y="401"/>
                      </a:cubicBezTo>
                      <a:cubicBezTo>
                        <a:pt x="746" y="400"/>
                        <a:pt x="744" y="395"/>
                        <a:pt x="741" y="395"/>
                      </a:cubicBezTo>
                      <a:cubicBezTo>
                        <a:pt x="738" y="395"/>
                        <a:pt x="739" y="393"/>
                        <a:pt x="741" y="391"/>
                      </a:cubicBezTo>
                      <a:cubicBezTo>
                        <a:pt x="743" y="389"/>
                        <a:pt x="738" y="386"/>
                        <a:pt x="735" y="384"/>
                      </a:cubicBezTo>
                      <a:cubicBezTo>
                        <a:pt x="733" y="383"/>
                        <a:pt x="737" y="382"/>
                        <a:pt x="739" y="382"/>
                      </a:cubicBezTo>
                      <a:cubicBezTo>
                        <a:pt x="740" y="381"/>
                        <a:pt x="739" y="373"/>
                        <a:pt x="740" y="371"/>
                      </a:cubicBezTo>
                      <a:cubicBezTo>
                        <a:pt x="741" y="369"/>
                        <a:pt x="744" y="369"/>
                        <a:pt x="743" y="371"/>
                      </a:cubicBezTo>
                      <a:cubicBezTo>
                        <a:pt x="741" y="373"/>
                        <a:pt x="740" y="376"/>
                        <a:pt x="742" y="379"/>
                      </a:cubicBezTo>
                      <a:cubicBezTo>
                        <a:pt x="744" y="382"/>
                        <a:pt x="745" y="384"/>
                        <a:pt x="744" y="388"/>
                      </a:cubicBezTo>
                      <a:cubicBezTo>
                        <a:pt x="743" y="393"/>
                        <a:pt x="745" y="392"/>
                        <a:pt x="748" y="386"/>
                      </a:cubicBezTo>
                      <a:cubicBezTo>
                        <a:pt x="750" y="381"/>
                        <a:pt x="751" y="376"/>
                        <a:pt x="749" y="376"/>
                      </a:cubicBezTo>
                      <a:cubicBezTo>
                        <a:pt x="747" y="375"/>
                        <a:pt x="747" y="370"/>
                        <a:pt x="749" y="372"/>
                      </a:cubicBezTo>
                      <a:cubicBezTo>
                        <a:pt x="751" y="375"/>
                        <a:pt x="752" y="375"/>
                        <a:pt x="755" y="372"/>
                      </a:cubicBezTo>
                      <a:cubicBezTo>
                        <a:pt x="758" y="369"/>
                        <a:pt x="761" y="363"/>
                        <a:pt x="759" y="362"/>
                      </a:cubicBezTo>
                      <a:cubicBezTo>
                        <a:pt x="757" y="361"/>
                        <a:pt x="760" y="359"/>
                        <a:pt x="764" y="360"/>
                      </a:cubicBezTo>
                      <a:cubicBezTo>
                        <a:pt x="767" y="360"/>
                        <a:pt x="775" y="357"/>
                        <a:pt x="775" y="356"/>
                      </a:cubicBezTo>
                      <a:cubicBezTo>
                        <a:pt x="777" y="353"/>
                        <a:pt x="763" y="358"/>
                        <a:pt x="763" y="356"/>
                      </a:cubicBezTo>
                      <a:cubicBezTo>
                        <a:pt x="763" y="354"/>
                        <a:pt x="772" y="352"/>
                        <a:pt x="776" y="352"/>
                      </a:cubicBezTo>
                      <a:cubicBezTo>
                        <a:pt x="780" y="352"/>
                        <a:pt x="778" y="346"/>
                        <a:pt x="780" y="349"/>
                      </a:cubicBezTo>
                      <a:cubicBezTo>
                        <a:pt x="782" y="351"/>
                        <a:pt x="784" y="350"/>
                        <a:pt x="787" y="349"/>
                      </a:cubicBezTo>
                      <a:cubicBezTo>
                        <a:pt x="789" y="348"/>
                        <a:pt x="787" y="344"/>
                        <a:pt x="785" y="343"/>
                      </a:cubicBezTo>
                      <a:cubicBezTo>
                        <a:pt x="782" y="342"/>
                        <a:pt x="787" y="340"/>
                        <a:pt x="786" y="339"/>
                      </a:cubicBezTo>
                      <a:cubicBezTo>
                        <a:pt x="785" y="337"/>
                        <a:pt x="788" y="331"/>
                        <a:pt x="791" y="330"/>
                      </a:cubicBezTo>
                      <a:cubicBezTo>
                        <a:pt x="794" y="329"/>
                        <a:pt x="793" y="327"/>
                        <a:pt x="796" y="327"/>
                      </a:cubicBezTo>
                      <a:cubicBezTo>
                        <a:pt x="798" y="327"/>
                        <a:pt x="799" y="324"/>
                        <a:pt x="801" y="321"/>
                      </a:cubicBezTo>
                      <a:cubicBezTo>
                        <a:pt x="804" y="319"/>
                        <a:pt x="808" y="325"/>
                        <a:pt x="811" y="322"/>
                      </a:cubicBezTo>
                      <a:cubicBezTo>
                        <a:pt x="813" y="320"/>
                        <a:pt x="815" y="319"/>
                        <a:pt x="817" y="317"/>
                      </a:cubicBezTo>
                      <a:cubicBezTo>
                        <a:pt x="808" y="305"/>
                        <a:pt x="811" y="297"/>
                        <a:pt x="811" y="29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7" name="Freeform 120">
                  <a:extLst>
                    <a:ext uri="{FF2B5EF4-FFF2-40B4-BE49-F238E27FC236}">
                      <a16:creationId xmlns:a16="http://schemas.microsoft.com/office/drawing/2014/main" id="{C2121C21-4932-42B3-AD35-3E30E6528A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489743" y="-10835281"/>
                  <a:ext cx="635669" cy="457294"/>
                </a:xfrm>
                <a:custGeom>
                  <a:avLst/>
                  <a:gdLst>
                    <a:gd name="T0" fmla="*/ 102 w 103"/>
                    <a:gd name="T1" fmla="*/ 13 h 74"/>
                    <a:gd name="T2" fmla="*/ 94 w 103"/>
                    <a:gd name="T3" fmla="*/ 13 h 74"/>
                    <a:gd name="T4" fmla="*/ 84 w 103"/>
                    <a:gd name="T5" fmla="*/ 10 h 74"/>
                    <a:gd name="T6" fmla="*/ 81 w 103"/>
                    <a:gd name="T7" fmla="*/ 10 h 74"/>
                    <a:gd name="T8" fmla="*/ 74 w 103"/>
                    <a:gd name="T9" fmla="*/ 10 h 74"/>
                    <a:gd name="T10" fmla="*/ 66 w 103"/>
                    <a:gd name="T11" fmla="*/ 6 h 74"/>
                    <a:gd name="T12" fmla="*/ 62 w 103"/>
                    <a:gd name="T13" fmla="*/ 4 h 74"/>
                    <a:gd name="T14" fmla="*/ 48 w 103"/>
                    <a:gd name="T15" fmla="*/ 3 h 74"/>
                    <a:gd name="T16" fmla="*/ 21 w 103"/>
                    <a:gd name="T17" fmla="*/ 2 h 74"/>
                    <a:gd name="T18" fmla="*/ 12 w 103"/>
                    <a:gd name="T19" fmla="*/ 0 h 74"/>
                    <a:gd name="T20" fmla="*/ 5 w 103"/>
                    <a:gd name="T21" fmla="*/ 4 h 74"/>
                    <a:gd name="T22" fmla="*/ 3 w 103"/>
                    <a:gd name="T23" fmla="*/ 10 h 74"/>
                    <a:gd name="T24" fmla="*/ 5 w 103"/>
                    <a:gd name="T25" fmla="*/ 18 h 74"/>
                    <a:gd name="T26" fmla="*/ 7 w 103"/>
                    <a:gd name="T27" fmla="*/ 17 h 74"/>
                    <a:gd name="T28" fmla="*/ 10 w 103"/>
                    <a:gd name="T29" fmla="*/ 17 h 74"/>
                    <a:gd name="T30" fmla="*/ 15 w 103"/>
                    <a:gd name="T31" fmla="*/ 18 h 74"/>
                    <a:gd name="T32" fmla="*/ 18 w 103"/>
                    <a:gd name="T33" fmla="*/ 18 h 74"/>
                    <a:gd name="T34" fmla="*/ 23 w 103"/>
                    <a:gd name="T35" fmla="*/ 19 h 74"/>
                    <a:gd name="T36" fmla="*/ 25 w 103"/>
                    <a:gd name="T37" fmla="*/ 22 h 74"/>
                    <a:gd name="T38" fmla="*/ 20 w 103"/>
                    <a:gd name="T39" fmla="*/ 27 h 74"/>
                    <a:gd name="T40" fmla="*/ 20 w 103"/>
                    <a:gd name="T41" fmla="*/ 34 h 74"/>
                    <a:gd name="T42" fmla="*/ 19 w 103"/>
                    <a:gd name="T43" fmla="*/ 40 h 74"/>
                    <a:gd name="T44" fmla="*/ 17 w 103"/>
                    <a:gd name="T45" fmla="*/ 43 h 74"/>
                    <a:gd name="T46" fmla="*/ 19 w 103"/>
                    <a:gd name="T47" fmla="*/ 47 h 74"/>
                    <a:gd name="T48" fmla="*/ 17 w 103"/>
                    <a:gd name="T49" fmla="*/ 52 h 74"/>
                    <a:gd name="T50" fmla="*/ 19 w 103"/>
                    <a:gd name="T51" fmla="*/ 56 h 74"/>
                    <a:gd name="T52" fmla="*/ 16 w 103"/>
                    <a:gd name="T53" fmla="*/ 61 h 74"/>
                    <a:gd name="T54" fmla="*/ 17 w 103"/>
                    <a:gd name="T55" fmla="*/ 63 h 74"/>
                    <a:gd name="T56" fmla="*/ 21 w 103"/>
                    <a:gd name="T57" fmla="*/ 64 h 74"/>
                    <a:gd name="T58" fmla="*/ 31 w 103"/>
                    <a:gd name="T59" fmla="*/ 73 h 74"/>
                    <a:gd name="T60" fmla="*/ 33 w 103"/>
                    <a:gd name="T61" fmla="*/ 70 h 74"/>
                    <a:gd name="T62" fmla="*/ 37 w 103"/>
                    <a:gd name="T63" fmla="*/ 70 h 74"/>
                    <a:gd name="T64" fmla="*/ 45 w 103"/>
                    <a:gd name="T65" fmla="*/ 67 h 74"/>
                    <a:gd name="T66" fmla="*/ 55 w 103"/>
                    <a:gd name="T67" fmla="*/ 67 h 74"/>
                    <a:gd name="T68" fmla="*/ 61 w 103"/>
                    <a:gd name="T69" fmla="*/ 64 h 74"/>
                    <a:gd name="T70" fmla="*/ 67 w 103"/>
                    <a:gd name="T71" fmla="*/ 60 h 74"/>
                    <a:gd name="T72" fmla="*/ 70 w 103"/>
                    <a:gd name="T73" fmla="*/ 54 h 74"/>
                    <a:gd name="T74" fmla="*/ 76 w 103"/>
                    <a:gd name="T75" fmla="*/ 48 h 74"/>
                    <a:gd name="T76" fmla="*/ 76 w 103"/>
                    <a:gd name="T77" fmla="*/ 36 h 74"/>
                    <a:gd name="T78" fmla="*/ 83 w 103"/>
                    <a:gd name="T79" fmla="*/ 28 h 74"/>
                    <a:gd name="T80" fmla="*/ 90 w 103"/>
                    <a:gd name="T81" fmla="*/ 24 h 74"/>
                    <a:gd name="T82" fmla="*/ 99 w 103"/>
                    <a:gd name="T83" fmla="*/ 20 h 74"/>
                    <a:gd name="T84" fmla="*/ 102 w 103"/>
                    <a:gd name="T85" fmla="*/ 13 h 74"/>
                    <a:gd name="T86" fmla="*/ 103 w 103"/>
                    <a:gd name="T87" fmla="*/ 39 h 74"/>
                    <a:gd name="T88" fmla="*/ 96 w 103"/>
                    <a:gd name="T89" fmla="*/ 41 h 74"/>
                    <a:gd name="T90" fmla="*/ 103 w 103"/>
                    <a:gd name="T91" fmla="*/ 39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3" h="74">
                      <a:moveTo>
                        <a:pt x="102" y="13"/>
                      </a:moveTo>
                      <a:cubicBezTo>
                        <a:pt x="99" y="13"/>
                        <a:pt x="96" y="13"/>
                        <a:pt x="94" y="13"/>
                      </a:cubicBezTo>
                      <a:cubicBezTo>
                        <a:pt x="91" y="12"/>
                        <a:pt x="86" y="12"/>
                        <a:pt x="84" y="10"/>
                      </a:cubicBezTo>
                      <a:cubicBezTo>
                        <a:pt x="83" y="9"/>
                        <a:pt x="81" y="8"/>
                        <a:pt x="81" y="10"/>
                      </a:cubicBezTo>
                      <a:cubicBezTo>
                        <a:pt x="81" y="11"/>
                        <a:pt x="77" y="12"/>
                        <a:pt x="74" y="10"/>
                      </a:cubicBezTo>
                      <a:cubicBezTo>
                        <a:pt x="72" y="9"/>
                        <a:pt x="68" y="8"/>
                        <a:pt x="66" y="6"/>
                      </a:cubicBezTo>
                      <a:cubicBezTo>
                        <a:pt x="66" y="6"/>
                        <a:pt x="64" y="5"/>
                        <a:pt x="62" y="4"/>
                      </a:cubicBezTo>
                      <a:cubicBezTo>
                        <a:pt x="59" y="5"/>
                        <a:pt x="53" y="2"/>
                        <a:pt x="48" y="3"/>
                      </a:cubicBezTo>
                      <a:cubicBezTo>
                        <a:pt x="43" y="3"/>
                        <a:pt x="28" y="2"/>
                        <a:pt x="21" y="2"/>
                      </a:cubicBezTo>
                      <a:cubicBezTo>
                        <a:pt x="15" y="3"/>
                        <a:pt x="15" y="0"/>
                        <a:pt x="12" y="0"/>
                      </a:cubicBezTo>
                      <a:cubicBezTo>
                        <a:pt x="8" y="0"/>
                        <a:pt x="10" y="4"/>
                        <a:pt x="5" y="4"/>
                      </a:cubicBezTo>
                      <a:cubicBezTo>
                        <a:pt x="0" y="4"/>
                        <a:pt x="0" y="7"/>
                        <a:pt x="3" y="10"/>
                      </a:cubicBezTo>
                      <a:cubicBezTo>
                        <a:pt x="5" y="11"/>
                        <a:pt x="5" y="15"/>
                        <a:pt x="5" y="18"/>
                      </a:cubicBezTo>
                      <a:cubicBezTo>
                        <a:pt x="6" y="18"/>
                        <a:pt x="6" y="17"/>
                        <a:pt x="7" y="17"/>
                      </a:cubicBezTo>
                      <a:cubicBezTo>
                        <a:pt x="8" y="15"/>
                        <a:pt x="10" y="15"/>
                        <a:pt x="10" y="17"/>
                      </a:cubicBezTo>
                      <a:cubicBezTo>
                        <a:pt x="10" y="19"/>
                        <a:pt x="13" y="18"/>
                        <a:pt x="15" y="18"/>
                      </a:cubicBezTo>
                      <a:cubicBezTo>
                        <a:pt x="16" y="18"/>
                        <a:pt x="16" y="20"/>
                        <a:pt x="18" y="18"/>
                      </a:cubicBezTo>
                      <a:cubicBezTo>
                        <a:pt x="20" y="17"/>
                        <a:pt x="23" y="17"/>
                        <a:pt x="23" y="19"/>
                      </a:cubicBezTo>
                      <a:cubicBezTo>
                        <a:pt x="23" y="21"/>
                        <a:pt x="27" y="20"/>
                        <a:pt x="25" y="22"/>
                      </a:cubicBezTo>
                      <a:cubicBezTo>
                        <a:pt x="22" y="25"/>
                        <a:pt x="20" y="25"/>
                        <a:pt x="20" y="27"/>
                      </a:cubicBezTo>
                      <a:cubicBezTo>
                        <a:pt x="20" y="29"/>
                        <a:pt x="22" y="32"/>
                        <a:pt x="20" y="34"/>
                      </a:cubicBezTo>
                      <a:cubicBezTo>
                        <a:pt x="18" y="36"/>
                        <a:pt x="21" y="40"/>
                        <a:pt x="19" y="40"/>
                      </a:cubicBezTo>
                      <a:cubicBezTo>
                        <a:pt x="17" y="40"/>
                        <a:pt x="14" y="41"/>
                        <a:pt x="17" y="43"/>
                      </a:cubicBezTo>
                      <a:cubicBezTo>
                        <a:pt x="19" y="45"/>
                        <a:pt x="21" y="47"/>
                        <a:pt x="19" y="47"/>
                      </a:cubicBezTo>
                      <a:cubicBezTo>
                        <a:pt x="17" y="47"/>
                        <a:pt x="16" y="51"/>
                        <a:pt x="17" y="52"/>
                      </a:cubicBezTo>
                      <a:cubicBezTo>
                        <a:pt x="18" y="53"/>
                        <a:pt x="22" y="55"/>
                        <a:pt x="19" y="56"/>
                      </a:cubicBezTo>
                      <a:cubicBezTo>
                        <a:pt x="16" y="56"/>
                        <a:pt x="16" y="59"/>
                        <a:pt x="16" y="61"/>
                      </a:cubicBezTo>
                      <a:cubicBezTo>
                        <a:pt x="16" y="61"/>
                        <a:pt x="16" y="62"/>
                        <a:pt x="17" y="63"/>
                      </a:cubicBezTo>
                      <a:cubicBezTo>
                        <a:pt x="18" y="63"/>
                        <a:pt x="20" y="63"/>
                        <a:pt x="21" y="64"/>
                      </a:cubicBezTo>
                      <a:cubicBezTo>
                        <a:pt x="24" y="65"/>
                        <a:pt x="26" y="74"/>
                        <a:pt x="31" y="73"/>
                      </a:cubicBezTo>
                      <a:cubicBezTo>
                        <a:pt x="33" y="73"/>
                        <a:pt x="32" y="71"/>
                        <a:pt x="33" y="70"/>
                      </a:cubicBezTo>
                      <a:cubicBezTo>
                        <a:pt x="34" y="69"/>
                        <a:pt x="35" y="70"/>
                        <a:pt x="37" y="70"/>
                      </a:cubicBezTo>
                      <a:cubicBezTo>
                        <a:pt x="39" y="70"/>
                        <a:pt x="40" y="67"/>
                        <a:pt x="45" y="67"/>
                      </a:cubicBezTo>
                      <a:cubicBezTo>
                        <a:pt x="49" y="67"/>
                        <a:pt x="52" y="67"/>
                        <a:pt x="55" y="67"/>
                      </a:cubicBezTo>
                      <a:cubicBezTo>
                        <a:pt x="58" y="67"/>
                        <a:pt x="60" y="66"/>
                        <a:pt x="61" y="64"/>
                      </a:cubicBezTo>
                      <a:cubicBezTo>
                        <a:pt x="61" y="62"/>
                        <a:pt x="64" y="60"/>
                        <a:pt x="67" y="60"/>
                      </a:cubicBezTo>
                      <a:cubicBezTo>
                        <a:pt x="70" y="59"/>
                        <a:pt x="70" y="56"/>
                        <a:pt x="70" y="54"/>
                      </a:cubicBezTo>
                      <a:cubicBezTo>
                        <a:pt x="70" y="52"/>
                        <a:pt x="76" y="49"/>
                        <a:pt x="76" y="48"/>
                      </a:cubicBezTo>
                      <a:cubicBezTo>
                        <a:pt x="76" y="46"/>
                        <a:pt x="73" y="41"/>
                        <a:pt x="76" y="36"/>
                      </a:cubicBezTo>
                      <a:cubicBezTo>
                        <a:pt x="79" y="31"/>
                        <a:pt x="83" y="31"/>
                        <a:pt x="83" y="28"/>
                      </a:cubicBezTo>
                      <a:cubicBezTo>
                        <a:pt x="83" y="26"/>
                        <a:pt x="86" y="25"/>
                        <a:pt x="90" y="24"/>
                      </a:cubicBezTo>
                      <a:cubicBezTo>
                        <a:pt x="94" y="24"/>
                        <a:pt x="95" y="21"/>
                        <a:pt x="99" y="20"/>
                      </a:cubicBezTo>
                      <a:cubicBezTo>
                        <a:pt x="102" y="19"/>
                        <a:pt x="103" y="16"/>
                        <a:pt x="102" y="13"/>
                      </a:cubicBezTo>
                      <a:close/>
                      <a:moveTo>
                        <a:pt x="103" y="39"/>
                      </a:moveTo>
                      <a:cubicBezTo>
                        <a:pt x="102" y="35"/>
                        <a:pt x="94" y="40"/>
                        <a:pt x="96" y="41"/>
                      </a:cubicBezTo>
                      <a:cubicBezTo>
                        <a:pt x="99" y="44"/>
                        <a:pt x="103" y="43"/>
                        <a:pt x="103" y="3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8" name="Freeform 121">
                  <a:extLst>
                    <a:ext uri="{FF2B5EF4-FFF2-40B4-BE49-F238E27FC236}">
                      <a16:creationId xmlns:a16="http://schemas.microsoft.com/office/drawing/2014/main" id="{29FE0382-9A99-444F-B61F-D7D9D00266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377323" y="-11033115"/>
                  <a:ext cx="165405" cy="90810"/>
                </a:xfrm>
                <a:custGeom>
                  <a:avLst/>
                  <a:gdLst>
                    <a:gd name="T0" fmla="*/ 0 w 27"/>
                    <a:gd name="T1" fmla="*/ 13 h 15"/>
                    <a:gd name="T2" fmla="*/ 5 w 27"/>
                    <a:gd name="T3" fmla="*/ 13 h 15"/>
                    <a:gd name="T4" fmla="*/ 6 w 27"/>
                    <a:gd name="T5" fmla="*/ 15 h 15"/>
                    <a:gd name="T6" fmla="*/ 12 w 27"/>
                    <a:gd name="T7" fmla="*/ 14 h 15"/>
                    <a:gd name="T8" fmla="*/ 17 w 27"/>
                    <a:gd name="T9" fmla="*/ 14 h 15"/>
                    <a:gd name="T10" fmla="*/ 20 w 27"/>
                    <a:gd name="T11" fmla="*/ 11 h 15"/>
                    <a:gd name="T12" fmla="*/ 22 w 27"/>
                    <a:gd name="T13" fmla="*/ 7 h 15"/>
                    <a:gd name="T14" fmla="*/ 27 w 27"/>
                    <a:gd name="T15" fmla="*/ 3 h 15"/>
                    <a:gd name="T16" fmla="*/ 25 w 27"/>
                    <a:gd name="T17" fmla="*/ 0 h 15"/>
                    <a:gd name="T18" fmla="*/ 19 w 27"/>
                    <a:gd name="T19" fmla="*/ 2 h 15"/>
                    <a:gd name="T20" fmla="*/ 12 w 27"/>
                    <a:gd name="T21" fmla="*/ 4 h 15"/>
                    <a:gd name="T22" fmla="*/ 3 w 27"/>
                    <a:gd name="T23" fmla="*/ 3 h 15"/>
                    <a:gd name="T24" fmla="*/ 0 w 27"/>
                    <a:gd name="T25" fmla="*/ 3 h 15"/>
                    <a:gd name="T26" fmla="*/ 0 w 27"/>
                    <a:gd name="T27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7" h="15">
                      <a:moveTo>
                        <a:pt x="0" y="13"/>
                      </a:moveTo>
                      <a:cubicBezTo>
                        <a:pt x="2" y="12"/>
                        <a:pt x="4" y="12"/>
                        <a:pt x="5" y="13"/>
                      </a:cubicBezTo>
                      <a:cubicBezTo>
                        <a:pt x="6" y="13"/>
                        <a:pt x="6" y="14"/>
                        <a:pt x="6" y="15"/>
                      </a:cubicBezTo>
                      <a:cubicBezTo>
                        <a:pt x="8" y="15"/>
                        <a:pt x="11" y="14"/>
                        <a:pt x="12" y="14"/>
                      </a:cubicBezTo>
                      <a:cubicBezTo>
                        <a:pt x="13" y="13"/>
                        <a:pt x="17" y="15"/>
                        <a:pt x="17" y="14"/>
                      </a:cubicBezTo>
                      <a:cubicBezTo>
                        <a:pt x="17" y="13"/>
                        <a:pt x="18" y="11"/>
                        <a:pt x="20" y="11"/>
                      </a:cubicBezTo>
                      <a:cubicBezTo>
                        <a:pt x="21" y="11"/>
                        <a:pt x="20" y="7"/>
                        <a:pt x="22" y="7"/>
                      </a:cubicBezTo>
                      <a:cubicBezTo>
                        <a:pt x="23" y="6"/>
                        <a:pt x="27" y="3"/>
                        <a:pt x="27" y="3"/>
                      </a:cubicBezTo>
                      <a:cubicBezTo>
                        <a:pt x="27" y="3"/>
                        <a:pt x="25" y="0"/>
                        <a:pt x="25" y="0"/>
                      </a:cubicBezTo>
                      <a:cubicBezTo>
                        <a:pt x="24" y="0"/>
                        <a:pt x="23" y="2"/>
                        <a:pt x="19" y="2"/>
                      </a:cubicBezTo>
                      <a:cubicBezTo>
                        <a:pt x="16" y="2"/>
                        <a:pt x="14" y="4"/>
                        <a:pt x="12" y="4"/>
                      </a:cubicBezTo>
                      <a:cubicBezTo>
                        <a:pt x="11" y="4"/>
                        <a:pt x="6" y="3"/>
                        <a:pt x="3" y="3"/>
                      </a:cubicBezTo>
                      <a:cubicBezTo>
                        <a:pt x="2" y="3"/>
                        <a:pt x="1" y="3"/>
                        <a:pt x="0" y="3"/>
                      </a:cubicBezTo>
                      <a:cubicBezTo>
                        <a:pt x="0" y="5"/>
                        <a:pt x="0" y="9"/>
                        <a:pt x="0" y="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9" name="Freeform 122">
                  <a:extLst>
                    <a:ext uri="{FF2B5EF4-FFF2-40B4-BE49-F238E27FC236}">
                      <a16:creationId xmlns:a16="http://schemas.microsoft.com/office/drawing/2014/main" id="{0954A673-73A2-4D96-97B5-D71DC9808C6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040029" y="-10718525"/>
                  <a:ext cx="317835" cy="395672"/>
                </a:xfrm>
                <a:custGeom>
                  <a:avLst/>
                  <a:gdLst>
                    <a:gd name="T0" fmla="*/ 51 w 51"/>
                    <a:gd name="T1" fmla="*/ 0 h 64"/>
                    <a:gd name="T2" fmla="*/ 47 w 51"/>
                    <a:gd name="T3" fmla="*/ 2 h 64"/>
                    <a:gd name="T4" fmla="*/ 44 w 51"/>
                    <a:gd name="T5" fmla="*/ 4 h 64"/>
                    <a:gd name="T6" fmla="*/ 35 w 51"/>
                    <a:gd name="T7" fmla="*/ 2 h 64"/>
                    <a:gd name="T8" fmla="*/ 24 w 51"/>
                    <a:gd name="T9" fmla="*/ 2 h 64"/>
                    <a:gd name="T10" fmla="*/ 24 w 51"/>
                    <a:gd name="T11" fmla="*/ 3 h 64"/>
                    <a:gd name="T12" fmla="*/ 17 w 51"/>
                    <a:gd name="T13" fmla="*/ 6 h 64"/>
                    <a:gd name="T14" fmla="*/ 13 w 51"/>
                    <a:gd name="T15" fmla="*/ 8 h 64"/>
                    <a:gd name="T16" fmla="*/ 7 w 51"/>
                    <a:gd name="T17" fmla="*/ 9 h 64"/>
                    <a:gd name="T18" fmla="*/ 5 w 51"/>
                    <a:gd name="T19" fmla="*/ 14 h 64"/>
                    <a:gd name="T20" fmla="*/ 3 w 51"/>
                    <a:gd name="T21" fmla="*/ 17 h 64"/>
                    <a:gd name="T22" fmla="*/ 0 w 51"/>
                    <a:gd name="T23" fmla="*/ 21 h 64"/>
                    <a:gd name="T24" fmla="*/ 1 w 51"/>
                    <a:gd name="T25" fmla="*/ 21 h 64"/>
                    <a:gd name="T26" fmla="*/ 5 w 51"/>
                    <a:gd name="T27" fmla="*/ 28 h 64"/>
                    <a:gd name="T28" fmla="*/ 11 w 51"/>
                    <a:gd name="T29" fmla="*/ 30 h 64"/>
                    <a:gd name="T30" fmla="*/ 18 w 51"/>
                    <a:gd name="T31" fmla="*/ 33 h 64"/>
                    <a:gd name="T32" fmla="*/ 9 w 51"/>
                    <a:gd name="T33" fmla="*/ 33 h 64"/>
                    <a:gd name="T34" fmla="*/ 11 w 51"/>
                    <a:gd name="T35" fmla="*/ 40 h 64"/>
                    <a:gd name="T36" fmla="*/ 15 w 51"/>
                    <a:gd name="T37" fmla="*/ 46 h 64"/>
                    <a:gd name="T38" fmla="*/ 23 w 51"/>
                    <a:gd name="T39" fmla="*/ 49 h 64"/>
                    <a:gd name="T40" fmla="*/ 21 w 51"/>
                    <a:gd name="T41" fmla="*/ 41 h 64"/>
                    <a:gd name="T42" fmla="*/ 27 w 51"/>
                    <a:gd name="T43" fmla="*/ 41 h 64"/>
                    <a:gd name="T44" fmla="*/ 23 w 51"/>
                    <a:gd name="T45" fmla="*/ 38 h 64"/>
                    <a:gd name="T46" fmla="*/ 26 w 51"/>
                    <a:gd name="T47" fmla="*/ 36 h 64"/>
                    <a:gd name="T48" fmla="*/ 32 w 51"/>
                    <a:gd name="T49" fmla="*/ 36 h 64"/>
                    <a:gd name="T50" fmla="*/ 29 w 51"/>
                    <a:gd name="T51" fmla="*/ 29 h 64"/>
                    <a:gd name="T52" fmla="*/ 23 w 51"/>
                    <a:gd name="T53" fmla="*/ 29 h 64"/>
                    <a:gd name="T54" fmla="*/ 25 w 51"/>
                    <a:gd name="T55" fmla="*/ 25 h 64"/>
                    <a:gd name="T56" fmla="*/ 19 w 51"/>
                    <a:gd name="T57" fmla="*/ 16 h 64"/>
                    <a:gd name="T58" fmla="*/ 23 w 51"/>
                    <a:gd name="T59" fmla="*/ 14 h 64"/>
                    <a:gd name="T60" fmla="*/ 29 w 51"/>
                    <a:gd name="T61" fmla="*/ 15 h 64"/>
                    <a:gd name="T62" fmla="*/ 31 w 51"/>
                    <a:gd name="T63" fmla="*/ 9 h 64"/>
                    <a:gd name="T64" fmla="*/ 36 w 51"/>
                    <a:gd name="T65" fmla="*/ 10 h 64"/>
                    <a:gd name="T66" fmla="*/ 42 w 51"/>
                    <a:gd name="T67" fmla="*/ 7 h 64"/>
                    <a:gd name="T68" fmla="*/ 47 w 51"/>
                    <a:gd name="T69" fmla="*/ 10 h 64"/>
                    <a:gd name="T70" fmla="*/ 49 w 51"/>
                    <a:gd name="T71" fmla="*/ 7 h 64"/>
                    <a:gd name="T72" fmla="*/ 51 w 51"/>
                    <a:gd name="T73" fmla="*/ 3 h 64"/>
                    <a:gd name="T74" fmla="*/ 51 w 51"/>
                    <a:gd name="T75" fmla="*/ 0 h 64"/>
                    <a:gd name="T76" fmla="*/ 44 w 51"/>
                    <a:gd name="T77" fmla="*/ 60 h 64"/>
                    <a:gd name="T78" fmla="*/ 31 w 51"/>
                    <a:gd name="T79" fmla="*/ 59 h 64"/>
                    <a:gd name="T80" fmla="*/ 26 w 51"/>
                    <a:gd name="T81" fmla="*/ 61 h 64"/>
                    <a:gd name="T82" fmla="*/ 38 w 51"/>
                    <a:gd name="T83" fmla="*/ 64 h 64"/>
                    <a:gd name="T84" fmla="*/ 49 w 51"/>
                    <a:gd name="T85" fmla="*/ 60 h 64"/>
                    <a:gd name="T86" fmla="*/ 44 w 51"/>
                    <a:gd name="T87" fmla="*/ 6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1" h="64">
                      <a:moveTo>
                        <a:pt x="51" y="0"/>
                      </a:moveTo>
                      <a:cubicBezTo>
                        <a:pt x="49" y="0"/>
                        <a:pt x="46" y="1"/>
                        <a:pt x="47" y="2"/>
                      </a:cubicBezTo>
                      <a:cubicBezTo>
                        <a:pt x="47" y="3"/>
                        <a:pt x="46" y="4"/>
                        <a:pt x="44" y="4"/>
                      </a:cubicBezTo>
                      <a:cubicBezTo>
                        <a:pt x="44" y="4"/>
                        <a:pt x="37" y="3"/>
                        <a:pt x="35" y="2"/>
                      </a:cubicBezTo>
                      <a:cubicBezTo>
                        <a:pt x="34" y="2"/>
                        <a:pt x="27" y="2"/>
                        <a:pt x="24" y="2"/>
                      </a:cubicBezTo>
                      <a:cubicBezTo>
                        <a:pt x="24" y="2"/>
                        <a:pt x="24" y="2"/>
                        <a:pt x="24" y="3"/>
                      </a:cubicBezTo>
                      <a:cubicBezTo>
                        <a:pt x="24" y="4"/>
                        <a:pt x="18" y="7"/>
                        <a:pt x="17" y="6"/>
                      </a:cubicBezTo>
                      <a:cubicBezTo>
                        <a:pt x="16" y="6"/>
                        <a:pt x="15" y="8"/>
                        <a:pt x="13" y="8"/>
                      </a:cubicBezTo>
                      <a:cubicBezTo>
                        <a:pt x="11" y="9"/>
                        <a:pt x="8" y="8"/>
                        <a:pt x="7" y="9"/>
                      </a:cubicBezTo>
                      <a:cubicBezTo>
                        <a:pt x="7" y="10"/>
                        <a:pt x="6" y="12"/>
                        <a:pt x="5" y="14"/>
                      </a:cubicBezTo>
                      <a:cubicBezTo>
                        <a:pt x="3" y="15"/>
                        <a:pt x="4" y="16"/>
                        <a:pt x="3" y="17"/>
                      </a:cubicBezTo>
                      <a:cubicBezTo>
                        <a:pt x="1" y="17"/>
                        <a:pt x="1" y="19"/>
                        <a:pt x="0" y="21"/>
                      </a:cubicBezTo>
                      <a:cubicBezTo>
                        <a:pt x="0" y="21"/>
                        <a:pt x="1" y="21"/>
                        <a:pt x="1" y="21"/>
                      </a:cubicBezTo>
                      <a:cubicBezTo>
                        <a:pt x="3" y="22"/>
                        <a:pt x="5" y="25"/>
                        <a:pt x="5" y="28"/>
                      </a:cubicBezTo>
                      <a:cubicBezTo>
                        <a:pt x="5" y="31"/>
                        <a:pt x="9" y="32"/>
                        <a:pt x="11" y="30"/>
                      </a:cubicBezTo>
                      <a:cubicBezTo>
                        <a:pt x="13" y="28"/>
                        <a:pt x="18" y="31"/>
                        <a:pt x="18" y="33"/>
                      </a:cubicBezTo>
                      <a:cubicBezTo>
                        <a:pt x="18" y="34"/>
                        <a:pt x="12" y="31"/>
                        <a:pt x="9" y="33"/>
                      </a:cubicBezTo>
                      <a:cubicBezTo>
                        <a:pt x="6" y="36"/>
                        <a:pt x="12" y="38"/>
                        <a:pt x="11" y="40"/>
                      </a:cubicBezTo>
                      <a:cubicBezTo>
                        <a:pt x="10" y="43"/>
                        <a:pt x="12" y="46"/>
                        <a:pt x="15" y="46"/>
                      </a:cubicBezTo>
                      <a:cubicBezTo>
                        <a:pt x="18" y="46"/>
                        <a:pt x="21" y="50"/>
                        <a:pt x="23" y="49"/>
                      </a:cubicBezTo>
                      <a:cubicBezTo>
                        <a:pt x="24" y="49"/>
                        <a:pt x="21" y="42"/>
                        <a:pt x="21" y="41"/>
                      </a:cubicBezTo>
                      <a:cubicBezTo>
                        <a:pt x="22" y="40"/>
                        <a:pt x="25" y="43"/>
                        <a:pt x="27" y="41"/>
                      </a:cubicBezTo>
                      <a:cubicBezTo>
                        <a:pt x="29" y="39"/>
                        <a:pt x="26" y="38"/>
                        <a:pt x="23" y="38"/>
                      </a:cubicBezTo>
                      <a:cubicBezTo>
                        <a:pt x="21" y="38"/>
                        <a:pt x="23" y="34"/>
                        <a:pt x="26" y="36"/>
                      </a:cubicBezTo>
                      <a:cubicBezTo>
                        <a:pt x="29" y="38"/>
                        <a:pt x="30" y="36"/>
                        <a:pt x="32" y="36"/>
                      </a:cubicBezTo>
                      <a:cubicBezTo>
                        <a:pt x="33" y="35"/>
                        <a:pt x="34" y="30"/>
                        <a:pt x="29" y="29"/>
                      </a:cubicBezTo>
                      <a:cubicBezTo>
                        <a:pt x="25" y="28"/>
                        <a:pt x="25" y="32"/>
                        <a:pt x="23" y="29"/>
                      </a:cubicBezTo>
                      <a:cubicBezTo>
                        <a:pt x="20" y="26"/>
                        <a:pt x="25" y="27"/>
                        <a:pt x="25" y="25"/>
                      </a:cubicBezTo>
                      <a:cubicBezTo>
                        <a:pt x="25" y="22"/>
                        <a:pt x="21" y="19"/>
                        <a:pt x="19" y="16"/>
                      </a:cubicBezTo>
                      <a:cubicBezTo>
                        <a:pt x="17" y="13"/>
                        <a:pt x="22" y="12"/>
                        <a:pt x="23" y="14"/>
                      </a:cubicBezTo>
                      <a:cubicBezTo>
                        <a:pt x="24" y="16"/>
                        <a:pt x="27" y="15"/>
                        <a:pt x="29" y="15"/>
                      </a:cubicBezTo>
                      <a:cubicBezTo>
                        <a:pt x="31" y="14"/>
                        <a:pt x="27" y="10"/>
                        <a:pt x="31" y="9"/>
                      </a:cubicBezTo>
                      <a:cubicBezTo>
                        <a:pt x="34" y="7"/>
                        <a:pt x="34" y="10"/>
                        <a:pt x="36" y="10"/>
                      </a:cubicBezTo>
                      <a:cubicBezTo>
                        <a:pt x="37" y="11"/>
                        <a:pt x="38" y="7"/>
                        <a:pt x="42" y="7"/>
                      </a:cubicBezTo>
                      <a:cubicBezTo>
                        <a:pt x="44" y="7"/>
                        <a:pt x="45" y="8"/>
                        <a:pt x="47" y="10"/>
                      </a:cubicBezTo>
                      <a:cubicBezTo>
                        <a:pt x="48" y="9"/>
                        <a:pt x="49" y="8"/>
                        <a:pt x="49" y="7"/>
                      </a:cubicBezTo>
                      <a:cubicBezTo>
                        <a:pt x="49" y="6"/>
                        <a:pt x="51" y="5"/>
                        <a:pt x="51" y="3"/>
                      </a:cubicBezTo>
                      <a:cubicBezTo>
                        <a:pt x="51" y="2"/>
                        <a:pt x="51" y="1"/>
                        <a:pt x="51" y="0"/>
                      </a:cubicBezTo>
                      <a:close/>
                      <a:moveTo>
                        <a:pt x="44" y="60"/>
                      </a:moveTo>
                      <a:cubicBezTo>
                        <a:pt x="42" y="59"/>
                        <a:pt x="34" y="61"/>
                        <a:pt x="31" y="59"/>
                      </a:cubicBezTo>
                      <a:cubicBezTo>
                        <a:pt x="29" y="56"/>
                        <a:pt x="24" y="60"/>
                        <a:pt x="26" y="61"/>
                      </a:cubicBezTo>
                      <a:cubicBezTo>
                        <a:pt x="29" y="61"/>
                        <a:pt x="34" y="64"/>
                        <a:pt x="38" y="64"/>
                      </a:cubicBezTo>
                      <a:cubicBezTo>
                        <a:pt x="43" y="64"/>
                        <a:pt x="49" y="62"/>
                        <a:pt x="49" y="60"/>
                      </a:cubicBezTo>
                      <a:cubicBezTo>
                        <a:pt x="49" y="59"/>
                        <a:pt x="46" y="61"/>
                        <a:pt x="44" y="6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0" name="Freeform 123">
                  <a:extLst>
                    <a:ext uri="{FF2B5EF4-FFF2-40B4-BE49-F238E27FC236}">
                      <a16:creationId xmlns:a16="http://schemas.microsoft.com/office/drawing/2014/main" id="{DA234ADA-4599-4D01-BE45-EF46B0EECF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453007" y="-10377987"/>
                  <a:ext cx="129728" cy="77837"/>
                </a:xfrm>
                <a:custGeom>
                  <a:avLst/>
                  <a:gdLst>
                    <a:gd name="T0" fmla="*/ 14 w 21"/>
                    <a:gd name="T1" fmla="*/ 8 h 13"/>
                    <a:gd name="T2" fmla="*/ 19 w 21"/>
                    <a:gd name="T3" fmla="*/ 3 h 13"/>
                    <a:gd name="T4" fmla="*/ 18 w 21"/>
                    <a:gd name="T5" fmla="*/ 2 h 13"/>
                    <a:gd name="T6" fmla="*/ 7 w 21"/>
                    <a:gd name="T7" fmla="*/ 5 h 13"/>
                    <a:gd name="T8" fmla="*/ 3 w 21"/>
                    <a:gd name="T9" fmla="*/ 11 h 13"/>
                    <a:gd name="T10" fmla="*/ 14 w 21"/>
                    <a:gd name="T11" fmla="*/ 8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1" h="13">
                      <a:moveTo>
                        <a:pt x="14" y="8"/>
                      </a:moveTo>
                      <a:cubicBezTo>
                        <a:pt x="14" y="7"/>
                        <a:pt x="16" y="4"/>
                        <a:pt x="19" y="3"/>
                      </a:cubicBezTo>
                      <a:cubicBezTo>
                        <a:pt x="21" y="2"/>
                        <a:pt x="20" y="0"/>
                        <a:pt x="18" y="2"/>
                      </a:cubicBezTo>
                      <a:cubicBezTo>
                        <a:pt x="17" y="3"/>
                        <a:pt x="12" y="5"/>
                        <a:pt x="7" y="5"/>
                      </a:cubicBezTo>
                      <a:cubicBezTo>
                        <a:pt x="2" y="5"/>
                        <a:pt x="0" y="9"/>
                        <a:pt x="3" y="11"/>
                      </a:cubicBezTo>
                      <a:cubicBezTo>
                        <a:pt x="8" y="13"/>
                        <a:pt x="14" y="10"/>
                        <a:pt x="14" y="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1" name="Freeform 124">
                  <a:extLst>
                    <a:ext uri="{FF2B5EF4-FFF2-40B4-BE49-F238E27FC236}">
                      <a16:creationId xmlns:a16="http://schemas.microsoft.com/office/drawing/2014/main" id="{0BA823CF-9E82-4FA4-BE65-500B140353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232439" y="-12453642"/>
                  <a:ext cx="538373" cy="272430"/>
                </a:xfrm>
                <a:custGeom>
                  <a:avLst/>
                  <a:gdLst>
                    <a:gd name="T0" fmla="*/ 73 w 87"/>
                    <a:gd name="T1" fmla="*/ 31 h 44"/>
                    <a:gd name="T2" fmla="*/ 79 w 87"/>
                    <a:gd name="T3" fmla="*/ 26 h 44"/>
                    <a:gd name="T4" fmla="*/ 86 w 87"/>
                    <a:gd name="T5" fmla="*/ 20 h 44"/>
                    <a:gd name="T6" fmla="*/ 81 w 87"/>
                    <a:gd name="T7" fmla="*/ 14 h 44"/>
                    <a:gd name="T8" fmla="*/ 77 w 87"/>
                    <a:gd name="T9" fmla="*/ 10 h 44"/>
                    <a:gd name="T10" fmla="*/ 76 w 87"/>
                    <a:gd name="T11" fmla="*/ 5 h 44"/>
                    <a:gd name="T12" fmla="*/ 70 w 87"/>
                    <a:gd name="T13" fmla="*/ 5 h 44"/>
                    <a:gd name="T14" fmla="*/ 62 w 87"/>
                    <a:gd name="T15" fmla="*/ 1 h 44"/>
                    <a:gd name="T16" fmla="*/ 61 w 87"/>
                    <a:gd name="T17" fmla="*/ 6 h 44"/>
                    <a:gd name="T18" fmla="*/ 57 w 87"/>
                    <a:gd name="T19" fmla="*/ 7 h 44"/>
                    <a:gd name="T20" fmla="*/ 53 w 87"/>
                    <a:gd name="T21" fmla="*/ 7 h 44"/>
                    <a:gd name="T22" fmla="*/ 49 w 87"/>
                    <a:gd name="T23" fmla="*/ 7 h 44"/>
                    <a:gd name="T24" fmla="*/ 45 w 87"/>
                    <a:gd name="T25" fmla="*/ 6 h 44"/>
                    <a:gd name="T26" fmla="*/ 39 w 87"/>
                    <a:gd name="T27" fmla="*/ 10 h 44"/>
                    <a:gd name="T28" fmla="*/ 36 w 87"/>
                    <a:gd name="T29" fmla="*/ 8 h 44"/>
                    <a:gd name="T30" fmla="*/ 32 w 87"/>
                    <a:gd name="T31" fmla="*/ 11 h 44"/>
                    <a:gd name="T32" fmla="*/ 31 w 87"/>
                    <a:gd name="T33" fmla="*/ 14 h 44"/>
                    <a:gd name="T34" fmla="*/ 26 w 87"/>
                    <a:gd name="T35" fmla="*/ 17 h 44"/>
                    <a:gd name="T36" fmla="*/ 24 w 87"/>
                    <a:gd name="T37" fmla="*/ 10 h 44"/>
                    <a:gd name="T38" fmla="*/ 12 w 87"/>
                    <a:gd name="T39" fmla="*/ 2 h 44"/>
                    <a:gd name="T40" fmla="*/ 13 w 87"/>
                    <a:gd name="T41" fmla="*/ 7 h 44"/>
                    <a:gd name="T42" fmla="*/ 10 w 87"/>
                    <a:gd name="T43" fmla="*/ 6 h 44"/>
                    <a:gd name="T44" fmla="*/ 5 w 87"/>
                    <a:gd name="T45" fmla="*/ 8 h 44"/>
                    <a:gd name="T46" fmla="*/ 1 w 87"/>
                    <a:gd name="T47" fmla="*/ 14 h 44"/>
                    <a:gd name="T48" fmla="*/ 8 w 87"/>
                    <a:gd name="T49" fmla="*/ 16 h 44"/>
                    <a:gd name="T50" fmla="*/ 18 w 87"/>
                    <a:gd name="T51" fmla="*/ 16 h 44"/>
                    <a:gd name="T52" fmla="*/ 17 w 87"/>
                    <a:gd name="T53" fmla="*/ 20 h 44"/>
                    <a:gd name="T54" fmla="*/ 12 w 87"/>
                    <a:gd name="T55" fmla="*/ 22 h 44"/>
                    <a:gd name="T56" fmla="*/ 3 w 87"/>
                    <a:gd name="T57" fmla="*/ 24 h 44"/>
                    <a:gd name="T58" fmla="*/ 15 w 87"/>
                    <a:gd name="T59" fmla="*/ 25 h 44"/>
                    <a:gd name="T60" fmla="*/ 18 w 87"/>
                    <a:gd name="T61" fmla="*/ 28 h 44"/>
                    <a:gd name="T62" fmla="*/ 20 w 87"/>
                    <a:gd name="T63" fmla="*/ 30 h 44"/>
                    <a:gd name="T64" fmla="*/ 17 w 87"/>
                    <a:gd name="T65" fmla="*/ 34 h 44"/>
                    <a:gd name="T66" fmla="*/ 13 w 87"/>
                    <a:gd name="T67" fmla="*/ 37 h 44"/>
                    <a:gd name="T68" fmla="*/ 24 w 87"/>
                    <a:gd name="T69" fmla="*/ 36 h 44"/>
                    <a:gd name="T70" fmla="*/ 38 w 87"/>
                    <a:gd name="T71" fmla="*/ 42 h 44"/>
                    <a:gd name="T72" fmla="*/ 52 w 87"/>
                    <a:gd name="T73" fmla="*/ 39 h 44"/>
                    <a:gd name="T74" fmla="*/ 62 w 87"/>
                    <a:gd name="T75" fmla="*/ 35 h 44"/>
                    <a:gd name="T76" fmla="*/ 73 w 87"/>
                    <a:gd name="T77" fmla="*/ 31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87" h="44">
                      <a:moveTo>
                        <a:pt x="73" y="31"/>
                      </a:moveTo>
                      <a:cubicBezTo>
                        <a:pt x="78" y="31"/>
                        <a:pt x="77" y="26"/>
                        <a:pt x="79" y="26"/>
                      </a:cubicBezTo>
                      <a:cubicBezTo>
                        <a:pt x="81" y="26"/>
                        <a:pt x="84" y="23"/>
                        <a:pt x="86" y="20"/>
                      </a:cubicBezTo>
                      <a:cubicBezTo>
                        <a:pt x="87" y="18"/>
                        <a:pt x="84" y="14"/>
                        <a:pt x="81" y="14"/>
                      </a:cubicBezTo>
                      <a:cubicBezTo>
                        <a:pt x="79" y="14"/>
                        <a:pt x="76" y="11"/>
                        <a:pt x="77" y="10"/>
                      </a:cubicBezTo>
                      <a:cubicBezTo>
                        <a:pt x="78" y="8"/>
                        <a:pt x="75" y="6"/>
                        <a:pt x="76" y="5"/>
                      </a:cubicBezTo>
                      <a:cubicBezTo>
                        <a:pt x="76" y="3"/>
                        <a:pt x="72" y="5"/>
                        <a:pt x="70" y="5"/>
                      </a:cubicBezTo>
                      <a:cubicBezTo>
                        <a:pt x="68" y="6"/>
                        <a:pt x="64" y="0"/>
                        <a:pt x="62" y="1"/>
                      </a:cubicBezTo>
                      <a:cubicBezTo>
                        <a:pt x="61" y="2"/>
                        <a:pt x="62" y="5"/>
                        <a:pt x="61" y="6"/>
                      </a:cubicBezTo>
                      <a:cubicBezTo>
                        <a:pt x="61" y="8"/>
                        <a:pt x="57" y="5"/>
                        <a:pt x="57" y="7"/>
                      </a:cubicBezTo>
                      <a:cubicBezTo>
                        <a:pt x="57" y="8"/>
                        <a:pt x="55" y="8"/>
                        <a:pt x="53" y="7"/>
                      </a:cubicBezTo>
                      <a:cubicBezTo>
                        <a:pt x="52" y="5"/>
                        <a:pt x="49" y="6"/>
                        <a:pt x="49" y="7"/>
                      </a:cubicBezTo>
                      <a:cubicBezTo>
                        <a:pt x="49" y="9"/>
                        <a:pt x="47" y="8"/>
                        <a:pt x="45" y="6"/>
                      </a:cubicBezTo>
                      <a:cubicBezTo>
                        <a:pt x="42" y="4"/>
                        <a:pt x="39" y="8"/>
                        <a:pt x="39" y="10"/>
                      </a:cubicBezTo>
                      <a:cubicBezTo>
                        <a:pt x="40" y="11"/>
                        <a:pt x="38" y="12"/>
                        <a:pt x="36" y="8"/>
                      </a:cubicBezTo>
                      <a:cubicBezTo>
                        <a:pt x="34" y="4"/>
                        <a:pt x="31" y="8"/>
                        <a:pt x="32" y="11"/>
                      </a:cubicBezTo>
                      <a:cubicBezTo>
                        <a:pt x="34" y="13"/>
                        <a:pt x="33" y="15"/>
                        <a:pt x="31" y="14"/>
                      </a:cubicBezTo>
                      <a:cubicBezTo>
                        <a:pt x="30" y="13"/>
                        <a:pt x="27" y="15"/>
                        <a:pt x="26" y="17"/>
                      </a:cubicBezTo>
                      <a:cubicBezTo>
                        <a:pt x="25" y="18"/>
                        <a:pt x="21" y="12"/>
                        <a:pt x="24" y="10"/>
                      </a:cubicBezTo>
                      <a:cubicBezTo>
                        <a:pt x="27" y="9"/>
                        <a:pt x="15" y="2"/>
                        <a:pt x="12" y="2"/>
                      </a:cubicBezTo>
                      <a:cubicBezTo>
                        <a:pt x="8" y="2"/>
                        <a:pt x="11" y="5"/>
                        <a:pt x="13" y="7"/>
                      </a:cubicBezTo>
                      <a:cubicBezTo>
                        <a:pt x="15" y="8"/>
                        <a:pt x="11" y="8"/>
                        <a:pt x="10" y="6"/>
                      </a:cubicBezTo>
                      <a:cubicBezTo>
                        <a:pt x="9" y="5"/>
                        <a:pt x="6" y="6"/>
                        <a:pt x="5" y="8"/>
                      </a:cubicBezTo>
                      <a:cubicBezTo>
                        <a:pt x="3" y="11"/>
                        <a:pt x="1" y="12"/>
                        <a:pt x="1" y="14"/>
                      </a:cubicBezTo>
                      <a:cubicBezTo>
                        <a:pt x="0" y="15"/>
                        <a:pt x="5" y="17"/>
                        <a:pt x="8" y="16"/>
                      </a:cubicBezTo>
                      <a:cubicBezTo>
                        <a:pt x="12" y="14"/>
                        <a:pt x="16" y="14"/>
                        <a:pt x="18" y="16"/>
                      </a:cubicBezTo>
                      <a:cubicBezTo>
                        <a:pt x="20" y="17"/>
                        <a:pt x="15" y="18"/>
                        <a:pt x="17" y="20"/>
                      </a:cubicBezTo>
                      <a:cubicBezTo>
                        <a:pt x="19" y="21"/>
                        <a:pt x="17" y="22"/>
                        <a:pt x="12" y="22"/>
                      </a:cubicBezTo>
                      <a:cubicBezTo>
                        <a:pt x="8" y="21"/>
                        <a:pt x="2" y="23"/>
                        <a:pt x="3" y="24"/>
                      </a:cubicBezTo>
                      <a:cubicBezTo>
                        <a:pt x="4" y="26"/>
                        <a:pt x="15" y="23"/>
                        <a:pt x="15" y="25"/>
                      </a:cubicBezTo>
                      <a:cubicBezTo>
                        <a:pt x="15" y="26"/>
                        <a:pt x="15" y="29"/>
                        <a:pt x="18" y="28"/>
                      </a:cubicBezTo>
                      <a:cubicBezTo>
                        <a:pt x="21" y="26"/>
                        <a:pt x="19" y="30"/>
                        <a:pt x="20" y="30"/>
                      </a:cubicBezTo>
                      <a:cubicBezTo>
                        <a:pt x="22" y="31"/>
                        <a:pt x="21" y="34"/>
                        <a:pt x="17" y="34"/>
                      </a:cubicBezTo>
                      <a:cubicBezTo>
                        <a:pt x="14" y="34"/>
                        <a:pt x="12" y="35"/>
                        <a:pt x="13" y="37"/>
                      </a:cubicBezTo>
                      <a:cubicBezTo>
                        <a:pt x="15" y="39"/>
                        <a:pt x="20" y="37"/>
                        <a:pt x="24" y="36"/>
                      </a:cubicBezTo>
                      <a:cubicBezTo>
                        <a:pt x="28" y="35"/>
                        <a:pt x="33" y="40"/>
                        <a:pt x="38" y="42"/>
                      </a:cubicBezTo>
                      <a:cubicBezTo>
                        <a:pt x="43" y="44"/>
                        <a:pt x="51" y="41"/>
                        <a:pt x="52" y="39"/>
                      </a:cubicBezTo>
                      <a:cubicBezTo>
                        <a:pt x="53" y="36"/>
                        <a:pt x="60" y="37"/>
                        <a:pt x="62" y="35"/>
                      </a:cubicBezTo>
                      <a:cubicBezTo>
                        <a:pt x="65" y="34"/>
                        <a:pt x="68" y="32"/>
                        <a:pt x="73" y="3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2" name="Freeform 125">
                  <a:extLst>
                    <a:ext uri="{FF2B5EF4-FFF2-40B4-BE49-F238E27FC236}">
                      <a16:creationId xmlns:a16="http://schemas.microsoft.com/office/drawing/2014/main" id="{BAE2B19D-BA2D-4C23-9D47-896A8171EA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1548121" y="-11584461"/>
                  <a:ext cx="230269" cy="256215"/>
                </a:xfrm>
                <a:custGeom>
                  <a:avLst/>
                  <a:gdLst>
                    <a:gd name="T0" fmla="*/ 33 w 37"/>
                    <a:gd name="T1" fmla="*/ 13 h 41"/>
                    <a:gd name="T2" fmla="*/ 30 w 37"/>
                    <a:gd name="T3" fmla="*/ 11 h 41"/>
                    <a:gd name="T4" fmla="*/ 25 w 37"/>
                    <a:gd name="T5" fmla="*/ 12 h 41"/>
                    <a:gd name="T6" fmla="*/ 20 w 37"/>
                    <a:gd name="T7" fmla="*/ 11 h 41"/>
                    <a:gd name="T8" fmla="*/ 22 w 37"/>
                    <a:gd name="T9" fmla="*/ 6 h 41"/>
                    <a:gd name="T10" fmla="*/ 24 w 37"/>
                    <a:gd name="T11" fmla="*/ 2 h 41"/>
                    <a:gd name="T12" fmla="*/ 23 w 37"/>
                    <a:gd name="T13" fmla="*/ 1 h 41"/>
                    <a:gd name="T14" fmla="*/ 15 w 37"/>
                    <a:gd name="T15" fmla="*/ 3 h 41"/>
                    <a:gd name="T16" fmla="*/ 19 w 37"/>
                    <a:gd name="T17" fmla="*/ 7 h 41"/>
                    <a:gd name="T18" fmla="*/ 13 w 37"/>
                    <a:gd name="T19" fmla="*/ 10 h 41"/>
                    <a:gd name="T20" fmla="*/ 4 w 37"/>
                    <a:gd name="T21" fmla="*/ 10 h 41"/>
                    <a:gd name="T22" fmla="*/ 5 w 37"/>
                    <a:gd name="T23" fmla="*/ 16 h 41"/>
                    <a:gd name="T24" fmla="*/ 9 w 37"/>
                    <a:gd name="T25" fmla="*/ 22 h 41"/>
                    <a:gd name="T26" fmla="*/ 7 w 37"/>
                    <a:gd name="T27" fmla="*/ 29 h 41"/>
                    <a:gd name="T28" fmla="*/ 1 w 37"/>
                    <a:gd name="T29" fmla="*/ 34 h 41"/>
                    <a:gd name="T30" fmla="*/ 9 w 37"/>
                    <a:gd name="T31" fmla="*/ 41 h 41"/>
                    <a:gd name="T32" fmla="*/ 23 w 37"/>
                    <a:gd name="T33" fmla="*/ 35 h 41"/>
                    <a:gd name="T34" fmla="*/ 33 w 37"/>
                    <a:gd name="T35" fmla="*/ 33 h 41"/>
                    <a:gd name="T36" fmla="*/ 33 w 37"/>
                    <a:gd name="T37" fmla="*/ 14 h 41"/>
                    <a:gd name="T38" fmla="*/ 33 w 37"/>
                    <a:gd name="T39" fmla="*/ 13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7" h="41">
                      <a:moveTo>
                        <a:pt x="33" y="13"/>
                      </a:moveTo>
                      <a:cubicBezTo>
                        <a:pt x="32" y="12"/>
                        <a:pt x="31" y="11"/>
                        <a:pt x="30" y="11"/>
                      </a:cubicBezTo>
                      <a:cubicBezTo>
                        <a:pt x="27" y="7"/>
                        <a:pt x="26" y="10"/>
                        <a:pt x="25" y="12"/>
                      </a:cubicBezTo>
                      <a:cubicBezTo>
                        <a:pt x="25" y="14"/>
                        <a:pt x="22" y="11"/>
                        <a:pt x="20" y="11"/>
                      </a:cubicBezTo>
                      <a:cubicBezTo>
                        <a:pt x="19" y="11"/>
                        <a:pt x="21" y="7"/>
                        <a:pt x="22" y="6"/>
                      </a:cubicBezTo>
                      <a:cubicBezTo>
                        <a:pt x="23" y="6"/>
                        <a:pt x="24" y="4"/>
                        <a:pt x="24" y="2"/>
                      </a:cubicBezTo>
                      <a:cubicBezTo>
                        <a:pt x="24" y="2"/>
                        <a:pt x="24" y="2"/>
                        <a:pt x="23" y="1"/>
                      </a:cubicBezTo>
                      <a:cubicBezTo>
                        <a:pt x="20" y="0"/>
                        <a:pt x="15" y="0"/>
                        <a:pt x="15" y="3"/>
                      </a:cubicBezTo>
                      <a:cubicBezTo>
                        <a:pt x="15" y="6"/>
                        <a:pt x="19" y="5"/>
                        <a:pt x="19" y="7"/>
                      </a:cubicBezTo>
                      <a:cubicBezTo>
                        <a:pt x="19" y="9"/>
                        <a:pt x="15" y="8"/>
                        <a:pt x="13" y="10"/>
                      </a:cubicBezTo>
                      <a:cubicBezTo>
                        <a:pt x="10" y="12"/>
                        <a:pt x="7" y="9"/>
                        <a:pt x="4" y="10"/>
                      </a:cubicBezTo>
                      <a:cubicBezTo>
                        <a:pt x="1" y="12"/>
                        <a:pt x="7" y="13"/>
                        <a:pt x="5" y="16"/>
                      </a:cubicBezTo>
                      <a:cubicBezTo>
                        <a:pt x="3" y="19"/>
                        <a:pt x="5" y="19"/>
                        <a:pt x="9" y="22"/>
                      </a:cubicBezTo>
                      <a:cubicBezTo>
                        <a:pt x="12" y="25"/>
                        <a:pt x="7" y="26"/>
                        <a:pt x="7" y="29"/>
                      </a:cubicBezTo>
                      <a:cubicBezTo>
                        <a:pt x="7" y="32"/>
                        <a:pt x="2" y="32"/>
                        <a:pt x="1" y="34"/>
                      </a:cubicBezTo>
                      <a:cubicBezTo>
                        <a:pt x="0" y="36"/>
                        <a:pt x="5" y="41"/>
                        <a:pt x="9" y="41"/>
                      </a:cubicBezTo>
                      <a:cubicBezTo>
                        <a:pt x="12" y="41"/>
                        <a:pt x="19" y="39"/>
                        <a:pt x="23" y="35"/>
                      </a:cubicBezTo>
                      <a:cubicBezTo>
                        <a:pt x="27" y="31"/>
                        <a:pt x="29" y="35"/>
                        <a:pt x="33" y="33"/>
                      </a:cubicBezTo>
                      <a:cubicBezTo>
                        <a:pt x="37" y="31"/>
                        <a:pt x="34" y="17"/>
                        <a:pt x="33" y="14"/>
                      </a:cubicBezTo>
                      <a:cubicBezTo>
                        <a:pt x="33" y="14"/>
                        <a:pt x="33" y="13"/>
                        <a:pt x="33" y="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3" name="Freeform 126">
                  <a:extLst>
                    <a:ext uri="{FF2B5EF4-FFF2-40B4-BE49-F238E27FC236}">
                      <a16:creationId xmlns:a16="http://schemas.microsoft.com/office/drawing/2014/main" id="{0EE18188-E482-4A3F-8DBD-87E31E991C5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428123" y="-11989864"/>
                  <a:ext cx="499454" cy="765398"/>
                </a:xfrm>
                <a:custGeom>
                  <a:avLst/>
                  <a:gdLst>
                    <a:gd name="T0" fmla="*/ 5 w 81"/>
                    <a:gd name="T1" fmla="*/ 68 h 124"/>
                    <a:gd name="T2" fmla="*/ 1 w 81"/>
                    <a:gd name="T3" fmla="*/ 77 h 124"/>
                    <a:gd name="T4" fmla="*/ 11 w 81"/>
                    <a:gd name="T5" fmla="*/ 77 h 124"/>
                    <a:gd name="T6" fmla="*/ 20 w 81"/>
                    <a:gd name="T7" fmla="*/ 75 h 124"/>
                    <a:gd name="T8" fmla="*/ 81 w 81"/>
                    <a:gd name="T9" fmla="*/ 96 h 124"/>
                    <a:gd name="T10" fmla="*/ 68 w 81"/>
                    <a:gd name="T11" fmla="*/ 91 h 124"/>
                    <a:gd name="T12" fmla="*/ 65 w 81"/>
                    <a:gd name="T13" fmla="*/ 82 h 124"/>
                    <a:gd name="T14" fmla="*/ 54 w 81"/>
                    <a:gd name="T15" fmla="*/ 63 h 124"/>
                    <a:gd name="T16" fmla="*/ 41 w 81"/>
                    <a:gd name="T17" fmla="*/ 57 h 124"/>
                    <a:gd name="T18" fmla="*/ 50 w 81"/>
                    <a:gd name="T19" fmla="*/ 38 h 124"/>
                    <a:gd name="T20" fmla="*/ 33 w 81"/>
                    <a:gd name="T21" fmla="*/ 35 h 124"/>
                    <a:gd name="T22" fmla="*/ 40 w 81"/>
                    <a:gd name="T23" fmla="*/ 23 h 124"/>
                    <a:gd name="T24" fmla="*/ 28 w 81"/>
                    <a:gd name="T25" fmla="*/ 27 h 124"/>
                    <a:gd name="T26" fmla="*/ 19 w 81"/>
                    <a:gd name="T27" fmla="*/ 39 h 124"/>
                    <a:gd name="T28" fmla="*/ 12 w 81"/>
                    <a:gd name="T29" fmla="*/ 39 h 124"/>
                    <a:gd name="T30" fmla="*/ 15 w 81"/>
                    <a:gd name="T31" fmla="*/ 50 h 124"/>
                    <a:gd name="T32" fmla="*/ 13 w 81"/>
                    <a:gd name="T33" fmla="*/ 59 h 124"/>
                    <a:gd name="T34" fmla="*/ 22 w 81"/>
                    <a:gd name="T35" fmla="*/ 62 h 124"/>
                    <a:gd name="T36" fmla="*/ 27 w 81"/>
                    <a:gd name="T37" fmla="*/ 62 h 124"/>
                    <a:gd name="T38" fmla="*/ 36 w 81"/>
                    <a:gd name="T39" fmla="*/ 69 h 124"/>
                    <a:gd name="T40" fmla="*/ 39 w 81"/>
                    <a:gd name="T41" fmla="*/ 76 h 124"/>
                    <a:gd name="T42" fmla="*/ 41 w 81"/>
                    <a:gd name="T43" fmla="*/ 86 h 124"/>
                    <a:gd name="T44" fmla="*/ 30 w 81"/>
                    <a:gd name="T45" fmla="*/ 88 h 124"/>
                    <a:gd name="T46" fmla="*/ 32 w 81"/>
                    <a:gd name="T47" fmla="*/ 96 h 124"/>
                    <a:gd name="T48" fmla="*/ 28 w 81"/>
                    <a:gd name="T49" fmla="*/ 105 h 124"/>
                    <a:gd name="T50" fmla="*/ 41 w 81"/>
                    <a:gd name="T51" fmla="*/ 107 h 124"/>
                    <a:gd name="T52" fmla="*/ 33 w 81"/>
                    <a:gd name="T53" fmla="*/ 110 h 124"/>
                    <a:gd name="T54" fmla="*/ 28 w 81"/>
                    <a:gd name="T55" fmla="*/ 119 h 124"/>
                    <a:gd name="T56" fmla="*/ 38 w 81"/>
                    <a:gd name="T57" fmla="*/ 117 h 124"/>
                    <a:gd name="T58" fmla="*/ 50 w 81"/>
                    <a:gd name="T59" fmla="*/ 114 h 124"/>
                    <a:gd name="T60" fmla="*/ 66 w 81"/>
                    <a:gd name="T61" fmla="*/ 114 h 124"/>
                    <a:gd name="T62" fmla="*/ 73 w 81"/>
                    <a:gd name="T63" fmla="*/ 108 h 124"/>
                    <a:gd name="T64" fmla="*/ 81 w 81"/>
                    <a:gd name="T65" fmla="*/ 96 h 124"/>
                    <a:gd name="T66" fmla="*/ 14 w 81"/>
                    <a:gd name="T67" fmla="*/ 29 h 124"/>
                    <a:gd name="T68" fmla="*/ 55 w 81"/>
                    <a:gd name="T69" fmla="*/ 10 h 124"/>
                    <a:gd name="T70" fmla="*/ 55 w 81"/>
                    <a:gd name="T71" fmla="*/ 10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81" h="124">
                      <a:moveTo>
                        <a:pt x="16" y="66"/>
                      </a:moveTo>
                      <a:cubicBezTo>
                        <a:pt x="12" y="63"/>
                        <a:pt x="9" y="68"/>
                        <a:pt x="5" y="68"/>
                      </a:cubicBezTo>
                      <a:cubicBezTo>
                        <a:pt x="5" y="70"/>
                        <a:pt x="4" y="72"/>
                        <a:pt x="3" y="72"/>
                      </a:cubicBezTo>
                      <a:cubicBezTo>
                        <a:pt x="2" y="73"/>
                        <a:pt x="0" y="77"/>
                        <a:pt x="1" y="77"/>
                      </a:cubicBezTo>
                      <a:cubicBezTo>
                        <a:pt x="3" y="77"/>
                        <a:pt x="6" y="80"/>
                        <a:pt x="6" y="78"/>
                      </a:cubicBezTo>
                      <a:cubicBezTo>
                        <a:pt x="7" y="76"/>
                        <a:pt x="8" y="73"/>
                        <a:pt x="11" y="77"/>
                      </a:cubicBezTo>
                      <a:cubicBezTo>
                        <a:pt x="12" y="77"/>
                        <a:pt x="13" y="78"/>
                        <a:pt x="14" y="79"/>
                      </a:cubicBezTo>
                      <a:cubicBezTo>
                        <a:pt x="14" y="77"/>
                        <a:pt x="18" y="77"/>
                        <a:pt x="20" y="75"/>
                      </a:cubicBezTo>
                      <a:cubicBezTo>
                        <a:pt x="22" y="73"/>
                        <a:pt x="19" y="69"/>
                        <a:pt x="16" y="66"/>
                      </a:cubicBezTo>
                      <a:close/>
                      <a:moveTo>
                        <a:pt x="81" y="96"/>
                      </a:moveTo>
                      <a:cubicBezTo>
                        <a:pt x="81" y="92"/>
                        <a:pt x="73" y="89"/>
                        <a:pt x="72" y="91"/>
                      </a:cubicBezTo>
                      <a:cubicBezTo>
                        <a:pt x="71" y="93"/>
                        <a:pt x="69" y="93"/>
                        <a:pt x="68" y="91"/>
                      </a:cubicBezTo>
                      <a:cubicBezTo>
                        <a:pt x="67" y="89"/>
                        <a:pt x="69" y="87"/>
                        <a:pt x="68" y="87"/>
                      </a:cubicBezTo>
                      <a:cubicBezTo>
                        <a:pt x="67" y="86"/>
                        <a:pt x="65" y="83"/>
                        <a:pt x="65" y="82"/>
                      </a:cubicBezTo>
                      <a:cubicBezTo>
                        <a:pt x="66" y="81"/>
                        <a:pt x="63" y="73"/>
                        <a:pt x="59" y="72"/>
                      </a:cubicBezTo>
                      <a:cubicBezTo>
                        <a:pt x="55" y="71"/>
                        <a:pt x="55" y="66"/>
                        <a:pt x="54" y="63"/>
                      </a:cubicBezTo>
                      <a:cubicBezTo>
                        <a:pt x="53" y="60"/>
                        <a:pt x="51" y="61"/>
                        <a:pt x="49" y="59"/>
                      </a:cubicBezTo>
                      <a:cubicBezTo>
                        <a:pt x="47" y="56"/>
                        <a:pt x="43" y="57"/>
                        <a:pt x="41" y="57"/>
                      </a:cubicBezTo>
                      <a:cubicBezTo>
                        <a:pt x="40" y="57"/>
                        <a:pt x="41" y="54"/>
                        <a:pt x="44" y="52"/>
                      </a:cubicBezTo>
                      <a:cubicBezTo>
                        <a:pt x="47" y="50"/>
                        <a:pt x="50" y="40"/>
                        <a:pt x="50" y="38"/>
                      </a:cubicBezTo>
                      <a:cubicBezTo>
                        <a:pt x="50" y="36"/>
                        <a:pt x="38" y="36"/>
                        <a:pt x="36" y="37"/>
                      </a:cubicBezTo>
                      <a:cubicBezTo>
                        <a:pt x="33" y="39"/>
                        <a:pt x="31" y="36"/>
                        <a:pt x="33" y="35"/>
                      </a:cubicBezTo>
                      <a:cubicBezTo>
                        <a:pt x="35" y="34"/>
                        <a:pt x="39" y="30"/>
                        <a:pt x="39" y="28"/>
                      </a:cubicBezTo>
                      <a:cubicBezTo>
                        <a:pt x="39" y="26"/>
                        <a:pt x="42" y="25"/>
                        <a:pt x="40" y="23"/>
                      </a:cubicBezTo>
                      <a:cubicBezTo>
                        <a:pt x="38" y="22"/>
                        <a:pt x="38" y="25"/>
                        <a:pt x="37" y="27"/>
                      </a:cubicBezTo>
                      <a:cubicBezTo>
                        <a:pt x="35" y="28"/>
                        <a:pt x="32" y="27"/>
                        <a:pt x="28" y="27"/>
                      </a:cubicBezTo>
                      <a:cubicBezTo>
                        <a:pt x="24" y="26"/>
                        <a:pt x="23" y="31"/>
                        <a:pt x="23" y="33"/>
                      </a:cubicBezTo>
                      <a:cubicBezTo>
                        <a:pt x="23" y="36"/>
                        <a:pt x="19" y="37"/>
                        <a:pt x="19" y="39"/>
                      </a:cubicBezTo>
                      <a:cubicBezTo>
                        <a:pt x="20" y="41"/>
                        <a:pt x="18" y="42"/>
                        <a:pt x="17" y="41"/>
                      </a:cubicBezTo>
                      <a:cubicBezTo>
                        <a:pt x="16" y="40"/>
                        <a:pt x="15" y="38"/>
                        <a:pt x="12" y="39"/>
                      </a:cubicBezTo>
                      <a:cubicBezTo>
                        <a:pt x="10" y="41"/>
                        <a:pt x="15" y="44"/>
                        <a:pt x="18" y="44"/>
                      </a:cubicBezTo>
                      <a:cubicBezTo>
                        <a:pt x="21" y="45"/>
                        <a:pt x="16" y="47"/>
                        <a:pt x="15" y="50"/>
                      </a:cubicBezTo>
                      <a:cubicBezTo>
                        <a:pt x="15" y="53"/>
                        <a:pt x="19" y="52"/>
                        <a:pt x="20" y="54"/>
                      </a:cubicBezTo>
                      <a:cubicBezTo>
                        <a:pt x="20" y="57"/>
                        <a:pt x="13" y="57"/>
                        <a:pt x="13" y="59"/>
                      </a:cubicBezTo>
                      <a:cubicBezTo>
                        <a:pt x="13" y="62"/>
                        <a:pt x="17" y="58"/>
                        <a:pt x="19" y="57"/>
                      </a:cubicBezTo>
                      <a:cubicBezTo>
                        <a:pt x="20" y="56"/>
                        <a:pt x="18" y="63"/>
                        <a:pt x="22" y="62"/>
                      </a:cubicBezTo>
                      <a:cubicBezTo>
                        <a:pt x="26" y="62"/>
                        <a:pt x="25" y="56"/>
                        <a:pt x="27" y="56"/>
                      </a:cubicBezTo>
                      <a:cubicBezTo>
                        <a:pt x="28" y="56"/>
                        <a:pt x="26" y="59"/>
                        <a:pt x="27" y="62"/>
                      </a:cubicBezTo>
                      <a:cubicBezTo>
                        <a:pt x="28" y="64"/>
                        <a:pt x="24" y="68"/>
                        <a:pt x="24" y="70"/>
                      </a:cubicBezTo>
                      <a:cubicBezTo>
                        <a:pt x="25" y="71"/>
                        <a:pt x="33" y="71"/>
                        <a:pt x="36" y="69"/>
                      </a:cubicBezTo>
                      <a:cubicBezTo>
                        <a:pt x="39" y="66"/>
                        <a:pt x="40" y="69"/>
                        <a:pt x="38" y="71"/>
                      </a:cubicBezTo>
                      <a:cubicBezTo>
                        <a:pt x="36" y="73"/>
                        <a:pt x="37" y="75"/>
                        <a:pt x="39" y="76"/>
                      </a:cubicBezTo>
                      <a:cubicBezTo>
                        <a:pt x="42" y="77"/>
                        <a:pt x="42" y="77"/>
                        <a:pt x="41" y="79"/>
                      </a:cubicBezTo>
                      <a:cubicBezTo>
                        <a:pt x="40" y="81"/>
                        <a:pt x="41" y="84"/>
                        <a:pt x="41" y="86"/>
                      </a:cubicBezTo>
                      <a:cubicBezTo>
                        <a:pt x="40" y="88"/>
                        <a:pt x="33" y="88"/>
                        <a:pt x="33" y="87"/>
                      </a:cubicBezTo>
                      <a:cubicBezTo>
                        <a:pt x="32" y="85"/>
                        <a:pt x="29" y="86"/>
                        <a:pt x="30" y="88"/>
                      </a:cubicBezTo>
                      <a:cubicBezTo>
                        <a:pt x="31" y="89"/>
                        <a:pt x="27" y="91"/>
                        <a:pt x="28" y="93"/>
                      </a:cubicBezTo>
                      <a:cubicBezTo>
                        <a:pt x="28" y="94"/>
                        <a:pt x="32" y="94"/>
                        <a:pt x="32" y="96"/>
                      </a:cubicBezTo>
                      <a:cubicBezTo>
                        <a:pt x="32" y="98"/>
                        <a:pt x="29" y="100"/>
                        <a:pt x="25" y="101"/>
                      </a:cubicBezTo>
                      <a:cubicBezTo>
                        <a:pt x="20" y="103"/>
                        <a:pt x="26" y="106"/>
                        <a:pt x="28" y="105"/>
                      </a:cubicBezTo>
                      <a:cubicBezTo>
                        <a:pt x="30" y="103"/>
                        <a:pt x="29" y="106"/>
                        <a:pt x="33" y="106"/>
                      </a:cubicBezTo>
                      <a:cubicBezTo>
                        <a:pt x="36" y="106"/>
                        <a:pt x="37" y="108"/>
                        <a:pt x="41" y="107"/>
                      </a:cubicBezTo>
                      <a:cubicBezTo>
                        <a:pt x="44" y="106"/>
                        <a:pt x="44" y="107"/>
                        <a:pt x="42" y="109"/>
                      </a:cubicBezTo>
                      <a:cubicBezTo>
                        <a:pt x="39" y="111"/>
                        <a:pt x="35" y="109"/>
                        <a:pt x="33" y="110"/>
                      </a:cubicBezTo>
                      <a:cubicBezTo>
                        <a:pt x="30" y="111"/>
                        <a:pt x="21" y="121"/>
                        <a:pt x="23" y="123"/>
                      </a:cubicBezTo>
                      <a:cubicBezTo>
                        <a:pt x="24" y="124"/>
                        <a:pt x="25" y="121"/>
                        <a:pt x="28" y="119"/>
                      </a:cubicBezTo>
                      <a:cubicBezTo>
                        <a:pt x="32" y="118"/>
                        <a:pt x="32" y="120"/>
                        <a:pt x="34" y="121"/>
                      </a:cubicBezTo>
                      <a:cubicBezTo>
                        <a:pt x="36" y="121"/>
                        <a:pt x="36" y="117"/>
                        <a:pt x="38" y="117"/>
                      </a:cubicBezTo>
                      <a:cubicBezTo>
                        <a:pt x="40" y="117"/>
                        <a:pt x="41" y="116"/>
                        <a:pt x="44" y="116"/>
                      </a:cubicBezTo>
                      <a:cubicBezTo>
                        <a:pt x="47" y="117"/>
                        <a:pt x="49" y="116"/>
                        <a:pt x="50" y="114"/>
                      </a:cubicBezTo>
                      <a:cubicBezTo>
                        <a:pt x="52" y="113"/>
                        <a:pt x="55" y="117"/>
                        <a:pt x="57" y="116"/>
                      </a:cubicBezTo>
                      <a:cubicBezTo>
                        <a:pt x="58" y="115"/>
                        <a:pt x="63" y="114"/>
                        <a:pt x="66" y="114"/>
                      </a:cubicBezTo>
                      <a:cubicBezTo>
                        <a:pt x="68" y="114"/>
                        <a:pt x="75" y="111"/>
                        <a:pt x="77" y="110"/>
                      </a:cubicBezTo>
                      <a:cubicBezTo>
                        <a:pt x="79" y="108"/>
                        <a:pt x="76" y="108"/>
                        <a:pt x="73" y="108"/>
                      </a:cubicBezTo>
                      <a:cubicBezTo>
                        <a:pt x="71" y="108"/>
                        <a:pt x="71" y="106"/>
                        <a:pt x="74" y="103"/>
                      </a:cubicBezTo>
                      <a:cubicBezTo>
                        <a:pt x="76" y="101"/>
                        <a:pt x="80" y="99"/>
                        <a:pt x="81" y="96"/>
                      </a:cubicBezTo>
                      <a:close/>
                      <a:moveTo>
                        <a:pt x="9" y="36"/>
                      </a:moveTo>
                      <a:cubicBezTo>
                        <a:pt x="12" y="36"/>
                        <a:pt x="16" y="30"/>
                        <a:pt x="14" y="29"/>
                      </a:cubicBezTo>
                      <a:cubicBezTo>
                        <a:pt x="13" y="27"/>
                        <a:pt x="7" y="36"/>
                        <a:pt x="9" y="36"/>
                      </a:cubicBezTo>
                      <a:close/>
                      <a:moveTo>
                        <a:pt x="55" y="10"/>
                      </a:moveTo>
                      <a:cubicBezTo>
                        <a:pt x="57" y="8"/>
                        <a:pt x="59" y="0"/>
                        <a:pt x="56" y="1"/>
                      </a:cubicBezTo>
                      <a:cubicBezTo>
                        <a:pt x="53" y="2"/>
                        <a:pt x="54" y="11"/>
                        <a:pt x="55" y="1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4" name="Freeform 127">
                  <a:extLst>
                    <a:ext uri="{FF2B5EF4-FFF2-40B4-BE49-F238E27FC236}">
                      <a16:creationId xmlns:a16="http://schemas.microsoft.com/office/drawing/2014/main" id="{CE653C89-93C4-406C-9780-F6B3A92B5DF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428123" y="-11989864"/>
                  <a:ext cx="499454" cy="765398"/>
                </a:xfrm>
                <a:custGeom>
                  <a:avLst/>
                  <a:gdLst>
                    <a:gd name="T0" fmla="*/ 5 w 81"/>
                    <a:gd name="T1" fmla="*/ 68 h 124"/>
                    <a:gd name="T2" fmla="*/ 1 w 81"/>
                    <a:gd name="T3" fmla="*/ 77 h 124"/>
                    <a:gd name="T4" fmla="*/ 11 w 81"/>
                    <a:gd name="T5" fmla="*/ 77 h 124"/>
                    <a:gd name="T6" fmla="*/ 20 w 81"/>
                    <a:gd name="T7" fmla="*/ 75 h 124"/>
                    <a:gd name="T8" fmla="*/ 81 w 81"/>
                    <a:gd name="T9" fmla="*/ 96 h 124"/>
                    <a:gd name="T10" fmla="*/ 68 w 81"/>
                    <a:gd name="T11" fmla="*/ 91 h 124"/>
                    <a:gd name="T12" fmla="*/ 65 w 81"/>
                    <a:gd name="T13" fmla="*/ 82 h 124"/>
                    <a:gd name="T14" fmla="*/ 54 w 81"/>
                    <a:gd name="T15" fmla="*/ 63 h 124"/>
                    <a:gd name="T16" fmla="*/ 41 w 81"/>
                    <a:gd name="T17" fmla="*/ 57 h 124"/>
                    <a:gd name="T18" fmla="*/ 50 w 81"/>
                    <a:gd name="T19" fmla="*/ 38 h 124"/>
                    <a:gd name="T20" fmla="*/ 33 w 81"/>
                    <a:gd name="T21" fmla="*/ 35 h 124"/>
                    <a:gd name="T22" fmla="*/ 40 w 81"/>
                    <a:gd name="T23" fmla="*/ 23 h 124"/>
                    <a:gd name="T24" fmla="*/ 28 w 81"/>
                    <a:gd name="T25" fmla="*/ 27 h 124"/>
                    <a:gd name="T26" fmla="*/ 19 w 81"/>
                    <a:gd name="T27" fmla="*/ 39 h 124"/>
                    <a:gd name="T28" fmla="*/ 12 w 81"/>
                    <a:gd name="T29" fmla="*/ 39 h 124"/>
                    <a:gd name="T30" fmla="*/ 15 w 81"/>
                    <a:gd name="T31" fmla="*/ 50 h 124"/>
                    <a:gd name="T32" fmla="*/ 13 w 81"/>
                    <a:gd name="T33" fmla="*/ 59 h 124"/>
                    <a:gd name="T34" fmla="*/ 22 w 81"/>
                    <a:gd name="T35" fmla="*/ 62 h 124"/>
                    <a:gd name="T36" fmla="*/ 27 w 81"/>
                    <a:gd name="T37" fmla="*/ 62 h 124"/>
                    <a:gd name="T38" fmla="*/ 36 w 81"/>
                    <a:gd name="T39" fmla="*/ 69 h 124"/>
                    <a:gd name="T40" fmla="*/ 39 w 81"/>
                    <a:gd name="T41" fmla="*/ 76 h 124"/>
                    <a:gd name="T42" fmla="*/ 41 w 81"/>
                    <a:gd name="T43" fmla="*/ 86 h 124"/>
                    <a:gd name="T44" fmla="*/ 30 w 81"/>
                    <a:gd name="T45" fmla="*/ 88 h 124"/>
                    <a:gd name="T46" fmla="*/ 32 w 81"/>
                    <a:gd name="T47" fmla="*/ 96 h 124"/>
                    <a:gd name="T48" fmla="*/ 28 w 81"/>
                    <a:gd name="T49" fmla="*/ 105 h 124"/>
                    <a:gd name="T50" fmla="*/ 41 w 81"/>
                    <a:gd name="T51" fmla="*/ 107 h 124"/>
                    <a:gd name="T52" fmla="*/ 33 w 81"/>
                    <a:gd name="T53" fmla="*/ 110 h 124"/>
                    <a:gd name="T54" fmla="*/ 28 w 81"/>
                    <a:gd name="T55" fmla="*/ 119 h 124"/>
                    <a:gd name="T56" fmla="*/ 38 w 81"/>
                    <a:gd name="T57" fmla="*/ 117 h 124"/>
                    <a:gd name="T58" fmla="*/ 50 w 81"/>
                    <a:gd name="T59" fmla="*/ 114 h 124"/>
                    <a:gd name="T60" fmla="*/ 66 w 81"/>
                    <a:gd name="T61" fmla="*/ 114 h 124"/>
                    <a:gd name="T62" fmla="*/ 73 w 81"/>
                    <a:gd name="T63" fmla="*/ 108 h 124"/>
                    <a:gd name="T64" fmla="*/ 81 w 81"/>
                    <a:gd name="T65" fmla="*/ 96 h 124"/>
                    <a:gd name="T66" fmla="*/ 14 w 81"/>
                    <a:gd name="T67" fmla="*/ 29 h 124"/>
                    <a:gd name="T68" fmla="*/ 55 w 81"/>
                    <a:gd name="T69" fmla="*/ 10 h 124"/>
                    <a:gd name="T70" fmla="*/ 55 w 81"/>
                    <a:gd name="T71" fmla="*/ 10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81" h="124">
                      <a:moveTo>
                        <a:pt x="16" y="66"/>
                      </a:moveTo>
                      <a:cubicBezTo>
                        <a:pt x="12" y="63"/>
                        <a:pt x="9" y="68"/>
                        <a:pt x="5" y="68"/>
                      </a:cubicBezTo>
                      <a:cubicBezTo>
                        <a:pt x="5" y="70"/>
                        <a:pt x="4" y="72"/>
                        <a:pt x="3" y="72"/>
                      </a:cubicBezTo>
                      <a:cubicBezTo>
                        <a:pt x="2" y="73"/>
                        <a:pt x="0" y="77"/>
                        <a:pt x="1" y="77"/>
                      </a:cubicBezTo>
                      <a:cubicBezTo>
                        <a:pt x="3" y="77"/>
                        <a:pt x="6" y="80"/>
                        <a:pt x="6" y="78"/>
                      </a:cubicBezTo>
                      <a:cubicBezTo>
                        <a:pt x="7" y="76"/>
                        <a:pt x="8" y="73"/>
                        <a:pt x="11" y="77"/>
                      </a:cubicBezTo>
                      <a:cubicBezTo>
                        <a:pt x="12" y="77"/>
                        <a:pt x="13" y="78"/>
                        <a:pt x="14" y="79"/>
                      </a:cubicBezTo>
                      <a:cubicBezTo>
                        <a:pt x="14" y="77"/>
                        <a:pt x="18" y="77"/>
                        <a:pt x="20" y="75"/>
                      </a:cubicBezTo>
                      <a:cubicBezTo>
                        <a:pt x="22" y="73"/>
                        <a:pt x="19" y="69"/>
                        <a:pt x="16" y="66"/>
                      </a:cubicBezTo>
                      <a:close/>
                      <a:moveTo>
                        <a:pt x="81" y="96"/>
                      </a:moveTo>
                      <a:cubicBezTo>
                        <a:pt x="81" y="92"/>
                        <a:pt x="73" y="89"/>
                        <a:pt x="72" y="91"/>
                      </a:cubicBezTo>
                      <a:cubicBezTo>
                        <a:pt x="71" y="93"/>
                        <a:pt x="69" y="93"/>
                        <a:pt x="68" y="91"/>
                      </a:cubicBezTo>
                      <a:cubicBezTo>
                        <a:pt x="67" y="89"/>
                        <a:pt x="69" y="87"/>
                        <a:pt x="68" y="87"/>
                      </a:cubicBezTo>
                      <a:cubicBezTo>
                        <a:pt x="67" y="86"/>
                        <a:pt x="65" y="83"/>
                        <a:pt x="65" y="82"/>
                      </a:cubicBezTo>
                      <a:cubicBezTo>
                        <a:pt x="66" y="81"/>
                        <a:pt x="63" y="73"/>
                        <a:pt x="59" y="72"/>
                      </a:cubicBezTo>
                      <a:cubicBezTo>
                        <a:pt x="55" y="71"/>
                        <a:pt x="55" y="66"/>
                        <a:pt x="54" y="63"/>
                      </a:cubicBezTo>
                      <a:cubicBezTo>
                        <a:pt x="53" y="60"/>
                        <a:pt x="51" y="61"/>
                        <a:pt x="49" y="59"/>
                      </a:cubicBezTo>
                      <a:cubicBezTo>
                        <a:pt x="47" y="56"/>
                        <a:pt x="43" y="57"/>
                        <a:pt x="41" y="57"/>
                      </a:cubicBezTo>
                      <a:cubicBezTo>
                        <a:pt x="40" y="57"/>
                        <a:pt x="41" y="54"/>
                        <a:pt x="44" y="52"/>
                      </a:cubicBezTo>
                      <a:cubicBezTo>
                        <a:pt x="47" y="50"/>
                        <a:pt x="50" y="40"/>
                        <a:pt x="50" y="38"/>
                      </a:cubicBezTo>
                      <a:cubicBezTo>
                        <a:pt x="50" y="36"/>
                        <a:pt x="38" y="36"/>
                        <a:pt x="36" y="37"/>
                      </a:cubicBezTo>
                      <a:cubicBezTo>
                        <a:pt x="33" y="39"/>
                        <a:pt x="31" y="36"/>
                        <a:pt x="33" y="35"/>
                      </a:cubicBezTo>
                      <a:cubicBezTo>
                        <a:pt x="35" y="34"/>
                        <a:pt x="39" y="30"/>
                        <a:pt x="39" y="28"/>
                      </a:cubicBezTo>
                      <a:cubicBezTo>
                        <a:pt x="39" y="26"/>
                        <a:pt x="42" y="25"/>
                        <a:pt x="40" y="23"/>
                      </a:cubicBezTo>
                      <a:cubicBezTo>
                        <a:pt x="38" y="22"/>
                        <a:pt x="38" y="25"/>
                        <a:pt x="37" y="27"/>
                      </a:cubicBezTo>
                      <a:cubicBezTo>
                        <a:pt x="35" y="28"/>
                        <a:pt x="32" y="27"/>
                        <a:pt x="28" y="27"/>
                      </a:cubicBezTo>
                      <a:cubicBezTo>
                        <a:pt x="24" y="26"/>
                        <a:pt x="23" y="31"/>
                        <a:pt x="23" y="33"/>
                      </a:cubicBezTo>
                      <a:cubicBezTo>
                        <a:pt x="23" y="36"/>
                        <a:pt x="19" y="37"/>
                        <a:pt x="19" y="39"/>
                      </a:cubicBezTo>
                      <a:cubicBezTo>
                        <a:pt x="20" y="41"/>
                        <a:pt x="18" y="42"/>
                        <a:pt x="17" y="41"/>
                      </a:cubicBezTo>
                      <a:cubicBezTo>
                        <a:pt x="16" y="40"/>
                        <a:pt x="15" y="38"/>
                        <a:pt x="12" y="39"/>
                      </a:cubicBezTo>
                      <a:cubicBezTo>
                        <a:pt x="10" y="41"/>
                        <a:pt x="15" y="44"/>
                        <a:pt x="18" y="44"/>
                      </a:cubicBezTo>
                      <a:cubicBezTo>
                        <a:pt x="21" y="45"/>
                        <a:pt x="16" y="47"/>
                        <a:pt x="15" y="50"/>
                      </a:cubicBezTo>
                      <a:cubicBezTo>
                        <a:pt x="15" y="53"/>
                        <a:pt x="19" y="52"/>
                        <a:pt x="20" y="54"/>
                      </a:cubicBezTo>
                      <a:cubicBezTo>
                        <a:pt x="20" y="57"/>
                        <a:pt x="13" y="57"/>
                        <a:pt x="13" y="59"/>
                      </a:cubicBezTo>
                      <a:cubicBezTo>
                        <a:pt x="13" y="62"/>
                        <a:pt x="17" y="58"/>
                        <a:pt x="19" y="57"/>
                      </a:cubicBezTo>
                      <a:cubicBezTo>
                        <a:pt x="20" y="56"/>
                        <a:pt x="18" y="63"/>
                        <a:pt x="22" y="62"/>
                      </a:cubicBezTo>
                      <a:cubicBezTo>
                        <a:pt x="26" y="62"/>
                        <a:pt x="25" y="56"/>
                        <a:pt x="27" y="56"/>
                      </a:cubicBezTo>
                      <a:cubicBezTo>
                        <a:pt x="28" y="56"/>
                        <a:pt x="26" y="59"/>
                        <a:pt x="27" y="62"/>
                      </a:cubicBezTo>
                      <a:cubicBezTo>
                        <a:pt x="28" y="64"/>
                        <a:pt x="24" y="68"/>
                        <a:pt x="24" y="70"/>
                      </a:cubicBezTo>
                      <a:cubicBezTo>
                        <a:pt x="25" y="71"/>
                        <a:pt x="33" y="71"/>
                        <a:pt x="36" y="69"/>
                      </a:cubicBezTo>
                      <a:cubicBezTo>
                        <a:pt x="39" y="66"/>
                        <a:pt x="40" y="69"/>
                        <a:pt x="38" y="71"/>
                      </a:cubicBezTo>
                      <a:cubicBezTo>
                        <a:pt x="36" y="73"/>
                        <a:pt x="37" y="75"/>
                        <a:pt x="39" y="76"/>
                      </a:cubicBezTo>
                      <a:cubicBezTo>
                        <a:pt x="42" y="77"/>
                        <a:pt x="42" y="77"/>
                        <a:pt x="41" y="79"/>
                      </a:cubicBezTo>
                      <a:cubicBezTo>
                        <a:pt x="40" y="81"/>
                        <a:pt x="41" y="84"/>
                        <a:pt x="41" y="86"/>
                      </a:cubicBezTo>
                      <a:cubicBezTo>
                        <a:pt x="40" y="88"/>
                        <a:pt x="33" y="88"/>
                        <a:pt x="33" y="87"/>
                      </a:cubicBezTo>
                      <a:cubicBezTo>
                        <a:pt x="32" y="85"/>
                        <a:pt x="29" y="86"/>
                        <a:pt x="30" y="88"/>
                      </a:cubicBezTo>
                      <a:cubicBezTo>
                        <a:pt x="31" y="89"/>
                        <a:pt x="27" y="91"/>
                        <a:pt x="28" y="93"/>
                      </a:cubicBezTo>
                      <a:cubicBezTo>
                        <a:pt x="28" y="94"/>
                        <a:pt x="32" y="94"/>
                        <a:pt x="32" y="96"/>
                      </a:cubicBezTo>
                      <a:cubicBezTo>
                        <a:pt x="32" y="98"/>
                        <a:pt x="29" y="100"/>
                        <a:pt x="25" y="101"/>
                      </a:cubicBezTo>
                      <a:cubicBezTo>
                        <a:pt x="20" y="103"/>
                        <a:pt x="26" y="106"/>
                        <a:pt x="28" y="105"/>
                      </a:cubicBezTo>
                      <a:cubicBezTo>
                        <a:pt x="30" y="103"/>
                        <a:pt x="29" y="106"/>
                        <a:pt x="33" y="106"/>
                      </a:cubicBezTo>
                      <a:cubicBezTo>
                        <a:pt x="36" y="106"/>
                        <a:pt x="37" y="108"/>
                        <a:pt x="41" y="107"/>
                      </a:cubicBezTo>
                      <a:cubicBezTo>
                        <a:pt x="44" y="106"/>
                        <a:pt x="44" y="107"/>
                        <a:pt x="42" y="109"/>
                      </a:cubicBezTo>
                      <a:cubicBezTo>
                        <a:pt x="39" y="111"/>
                        <a:pt x="35" y="109"/>
                        <a:pt x="33" y="110"/>
                      </a:cubicBezTo>
                      <a:cubicBezTo>
                        <a:pt x="30" y="111"/>
                        <a:pt x="21" y="121"/>
                        <a:pt x="23" y="123"/>
                      </a:cubicBezTo>
                      <a:cubicBezTo>
                        <a:pt x="24" y="124"/>
                        <a:pt x="25" y="121"/>
                        <a:pt x="28" y="119"/>
                      </a:cubicBezTo>
                      <a:cubicBezTo>
                        <a:pt x="32" y="118"/>
                        <a:pt x="32" y="120"/>
                        <a:pt x="34" y="121"/>
                      </a:cubicBezTo>
                      <a:cubicBezTo>
                        <a:pt x="36" y="121"/>
                        <a:pt x="36" y="117"/>
                        <a:pt x="38" y="117"/>
                      </a:cubicBezTo>
                      <a:cubicBezTo>
                        <a:pt x="40" y="117"/>
                        <a:pt x="41" y="116"/>
                        <a:pt x="44" y="116"/>
                      </a:cubicBezTo>
                      <a:cubicBezTo>
                        <a:pt x="47" y="117"/>
                        <a:pt x="49" y="116"/>
                        <a:pt x="50" y="114"/>
                      </a:cubicBezTo>
                      <a:cubicBezTo>
                        <a:pt x="52" y="113"/>
                        <a:pt x="55" y="117"/>
                        <a:pt x="57" y="116"/>
                      </a:cubicBezTo>
                      <a:cubicBezTo>
                        <a:pt x="58" y="115"/>
                        <a:pt x="63" y="114"/>
                        <a:pt x="66" y="114"/>
                      </a:cubicBezTo>
                      <a:cubicBezTo>
                        <a:pt x="68" y="114"/>
                        <a:pt x="75" y="111"/>
                        <a:pt x="77" y="110"/>
                      </a:cubicBezTo>
                      <a:cubicBezTo>
                        <a:pt x="79" y="108"/>
                        <a:pt x="76" y="108"/>
                        <a:pt x="73" y="108"/>
                      </a:cubicBezTo>
                      <a:cubicBezTo>
                        <a:pt x="71" y="108"/>
                        <a:pt x="71" y="106"/>
                        <a:pt x="74" y="103"/>
                      </a:cubicBezTo>
                      <a:cubicBezTo>
                        <a:pt x="76" y="101"/>
                        <a:pt x="80" y="99"/>
                        <a:pt x="81" y="96"/>
                      </a:cubicBezTo>
                      <a:close/>
                      <a:moveTo>
                        <a:pt x="9" y="36"/>
                      </a:moveTo>
                      <a:cubicBezTo>
                        <a:pt x="12" y="36"/>
                        <a:pt x="16" y="30"/>
                        <a:pt x="14" y="29"/>
                      </a:cubicBezTo>
                      <a:cubicBezTo>
                        <a:pt x="13" y="27"/>
                        <a:pt x="7" y="36"/>
                        <a:pt x="9" y="36"/>
                      </a:cubicBezTo>
                      <a:close/>
                      <a:moveTo>
                        <a:pt x="55" y="10"/>
                      </a:moveTo>
                      <a:cubicBezTo>
                        <a:pt x="57" y="8"/>
                        <a:pt x="59" y="0"/>
                        <a:pt x="56" y="1"/>
                      </a:cubicBezTo>
                      <a:cubicBezTo>
                        <a:pt x="53" y="2"/>
                        <a:pt x="54" y="11"/>
                        <a:pt x="55" y="1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5" name="Freeform 128">
                  <a:extLst>
                    <a:ext uri="{FF2B5EF4-FFF2-40B4-BE49-F238E27FC236}">
                      <a16:creationId xmlns:a16="http://schemas.microsoft.com/office/drawing/2014/main" id="{83C24239-8F06-4D6C-B7EC-6EFC8A8EB8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627049" y="-11769325"/>
                  <a:ext cx="243242" cy="230269"/>
                </a:xfrm>
                <a:custGeom>
                  <a:avLst/>
                  <a:gdLst>
                    <a:gd name="T0" fmla="*/ 20 w 39"/>
                    <a:gd name="T1" fmla="*/ 14 h 37"/>
                    <a:gd name="T2" fmla="*/ 20 w 39"/>
                    <a:gd name="T3" fmla="*/ 8 h 37"/>
                    <a:gd name="T4" fmla="*/ 21 w 39"/>
                    <a:gd name="T5" fmla="*/ 1 h 37"/>
                    <a:gd name="T6" fmla="*/ 15 w 39"/>
                    <a:gd name="T7" fmla="*/ 4 h 37"/>
                    <a:gd name="T8" fmla="*/ 10 w 39"/>
                    <a:gd name="T9" fmla="*/ 7 h 37"/>
                    <a:gd name="T10" fmla="*/ 10 w 39"/>
                    <a:gd name="T11" fmla="*/ 11 h 37"/>
                    <a:gd name="T12" fmla="*/ 6 w 39"/>
                    <a:gd name="T13" fmla="*/ 8 h 37"/>
                    <a:gd name="T14" fmla="*/ 2 w 39"/>
                    <a:gd name="T15" fmla="*/ 14 h 37"/>
                    <a:gd name="T16" fmla="*/ 2 w 39"/>
                    <a:gd name="T17" fmla="*/ 23 h 37"/>
                    <a:gd name="T18" fmla="*/ 5 w 39"/>
                    <a:gd name="T19" fmla="*/ 30 h 37"/>
                    <a:gd name="T20" fmla="*/ 6 w 39"/>
                    <a:gd name="T21" fmla="*/ 34 h 37"/>
                    <a:gd name="T22" fmla="*/ 13 w 39"/>
                    <a:gd name="T23" fmla="*/ 34 h 37"/>
                    <a:gd name="T24" fmla="*/ 16 w 39"/>
                    <a:gd name="T25" fmla="*/ 34 h 37"/>
                    <a:gd name="T26" fmla="*/ 13 w 39"/>
                    <a:gd name="T27" fmla="*/ 30 h 37"/>
                    <a:gd name="T28" fmla="*/ 17 w 39"/>
                    <a:gd name="T29" fmla="*/ 31 h 37"/>
                    <a:gd name="T30" fmla="*/ 23 w 39"/>
                    <a:gd name="T31" fmla="*/ 31 h 37"/>
                    <a:gd name="T32" fmla="*/ 20 w 39"/>
                    <a:gd name="T33" fmla="*/ 26 h 37"/>
                    <a:gd name="T34" fmla="*/ 17 w 39"/>
                    <a:gd name="T35" fmla="*/ 25 h 37"/>
                    <a:gd name="T36" fmla="*/ 19 w 39"/>
                    <a:gd name="T37" fmla="*/ 20 h 37"/>
                    <a:gd name="T38" fmla="*/ 24 w 39"/>
                    <a:gd name="T39" fmla="*/ 18 h 37"/>
                    <a:gd name="T40" fmla="*/ 20 w 39"/>
                    <a:gd name="T41" fmla="*/ 14 h 37"/>
                    <a:gd name="T42" fmla="*/ 38 w 39"/>
                    <a:gd name="T43" fmla="*/ 21 h 37"/>
                    <a:gd name="T44" fmla="*/ 35 w 39"/>
                    <a:gd name="T45" fmla="*/ 23 h 37"/>
                    <a:gd name="T46" fmla="*/ 33 w 39"/>
                    <a:gd name="T47" fmla="*/ 21 h 37"/>
                    <a:gd name="T48" fmla="*/ 27 w 39"/>
                    <a:gd name="T49" fmla="*/ 23 h 37"/>
                    <a:gd name="T50" fmla="*/ 30 w 39"/>
                    <a:gd name="T51" fmla="*/ 31 h 37"/>
                    <a:gd name="T52" fmla="*/ 28 w 39"/>
                    <a:gd name="T53" fmla="*/ 33 h 37"/>
                    <a:gd name="T54" fmla="*/ 30 w 39"/>
                    <a:gd name="T55" fmla="*/ 36 h 37"/>
                    <a:gd name="T56" fmla="*/ 36 w 39"/>
                    <a:gd name="T57" fmla="*/ 30 h 37"/>
                    <a:gd name="T58" fmla="*/ 38 w 39"/>
                    <a:gd name="T59" fmla="*/ 21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39" h="37">
                      <a:moveTo>
                        <a:pt x="20" y="14"/>
                      </a:moveTo>
                      <a:cubicBezTo>
                        <a:pt x="19" y="13"/>
                        <a:pt x="18" y="9"/>
                        <a:pt x="20" y="8"/>
                      </a:cubicBezTo>
                      <a:cubicBezTo>
                        <a:pt x="21" y="7"/>
                        <a:pt x="22" y="2"/>
                        <a:pt x="21" y="1"/>
                      </a:cubicBezTo>
                      <a:cubicBezTo>
                        <a:pt x="19" y="0"/>
                        <a:pt x="15" y="1"/>
                        <a:pt x="15" y="4"/>
                      </a:cubicBezTo>
                      <a:cubicBezTo>
                        <a:pt x="14" y="8"/>
                        <a:pt x="11" y="6"/>
                        <a:pt x="10" y="7"/>
                      </a:cubicBezTo>
                      <a:cubicBezTo>
                        <a:pt x="9" y="8"/>
                        <a:pt x="12" y="9"/>
                        <a:pt x="10" y="11"/>
                      </a:cubicBezTo>
                      <a:cubicBezTo>
                        <a:pt x="9" y="12"/>
                        <a:pt x="8" y="8"/>
                        <a:pt x="6" y="8"/>
                      </a:cubicBezTo>
                      <a:cubicBezTo>
                        <a:pt x="3" y="8"/>
                        <a:pt x="3" y="12"/>
                        <a:pt x="2" y="14"/>
                      </a:cubicBezTo>
                      <a:cubicBezTo>
                        <a:pt x="0" y="16"/>
                        <a:pt x="1" y="20"/>
                        <a:pt x="2" y="23"/>
                      </a:cubicBezTo>
                      <a:cubicBezTo>
                        <a:pt x="2" y="26"/>
                        <a:pt x="6" y="28"/>
                        <a:pt x="5" y="30"/>
                      </a:cubicBezTo>
                      <a:cubicBezTo>
                        <a:pt x="4" y="31"/>
                        <a:pt x="5" y="33"/>
                        <a:pt x="6" y="34"/>
                      </a:cubicBezTo>
                      <a:cubicBezTo>
                        <a:pt x="9" y="34"/>
                        <a:pt x="12" y="34"/>
                        <a:pt x="13" y="34"/>
                      </a:cubicBezTo>
                      <a:cubicBezTo>
                        <a:pt x="14" y="35"/>
                        <a:pt x="15" y="35"/>
                        <a:pt x="16" y="34"/>
                      </a:cubicBezTo>
                      <a:cubicBezTo>
                        <a:pt x="15" y="33"/>
                        <a:pt x="13" y="31"/>
                        <a:pt x="13" y="30"/>
                      </a:cubicBezTo>
                      <a:cubicBezTo>
                        <a:pt x="13" y="28"/>
                        <a:pt x="16" y="29"/>
                        <a:pt x="17" y="31"/>
                      </a:cubicBezTo>
                      <a:cubicBezTo>
                        <a:pt x="19" y="32"/>
                        <a:pt x="23" y="33"/>
                        <a:pt x="23" y="31"/>
                      </a:cubicBezTo>
                      <a:cubicBezTo>
                        <a:pt x="23" y="30"/>
                        <a:pt x="22" y="25"/>
                        <a:pt x="20" y="26"/>
                      </a:cubicBezTo>
                      <a:cubicBezTo>
                        <a:pt x="18" y="27"/>
                        <a:pt x="17" y="26"/>
                        <a:pt x="17" y="25"/>
                      </a:cubicBezTo>
                      <a:cubicBezTo>
                        <a:pt x="16" y="24"/>
                        <a:pt x="18" y="22"/>
                        <a:pt x="19" y="20"/>
                      </a:cubicBezTo>
                      <a:cubicBezTo>
                        <a:pt x="19" y="18"/>
                        <a:pt x="23" y="19"/>
                        <a:pt x="24" y="18"/>
                      </a:cubicBezTo>
                      <a:cubicBezTo>
                        <a:pt x="24" y="16"/>
                        <a:pt x="21" y="14"/>
                        <a:pt x="20" y="14"/>
                      </a:cubicBezTo>
                      <a:close/>
                      <a:moveTo>
                        <a:pt x="38" y="21"/>
                      </a:moveTo>
                      <a:cubicBezTo>
                        <a:pt x="37" y="20"/>
                        <a:pt x="36" y="23"/>
                        <a:pt x="35" y="23"/>
                      </a:cubicBezTo>
                      <a:cubicBezTo>
                        <a:pt x="34" y="23"/>
                        <a:pt x="33" y="18"/>
                        <a:pt x="33" y="21"/>
                      </a:cubicBezTo>
                      <a:cubicBezTo>
                        <a:pt x="32" y="24"/>
                        <a:pt x="30" y="20"/>
                        <a:pt x="27" y="23"/>
                      </a:cubicBezTo>
                      <a:cubicBezTo>
                        <a:pt x="25" y="27"/>
                        <a:pt x="29" y="30"/>
                        <a:pt x="30" y="31"/>
                      </a:cubicBez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6" y="32"/>
                        <a:pt x="27" y="36"/>
                        <a:pt x="30" y="36"/>
                      </a:cubicBezTo>
                      <a:cubicBezTo>
                        <a:pt x="33" y="37"/>
                        <a:pt x="36" y="31"/>
                        <a:pt x="36" y="30"/>
                      </a:cubicBezTo>
                      <a:cubicBezTo>
                        <a:pt x="36" y="28"/>
                        <a:pt x="39" y="22"/>
                        <a:pt x="38" y="2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6" name="Freeform 129">
                  <a:extLst>
                    <a:ext uri="{FF2B5EF4-FFF2-40B4-BE49-F238E27FC236}">
                      <a16:creationId xmlns:a16="http://schemas.microsoft.com/office/drawing/2014/main" id="{DA3EE7ED-C1B4-4192-85D2-7E08FBA11C8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458402" y="-12677424"/>
                  <a:ext cx="616210" cy="1089719"/>
                </a:xfrm>
                <a:custGeom>
                  <a:avLst/>
                  <a:gdLst>
                    <a:gd name="T0" fmla="*/ 98 w 100"/>
                    <a:gd name="T1" fmla="*/ 37 h 176"/>
                    <a:gd name="T2" fmla="*/ 96 w 100"/>
                    <a:gd name="T3" fmla="*/ 23 h 176"/>
                    <a:gd name="T4" fmla="*/ 84 w 100"/>
                    <a:gd name="T5" fmla="*/ 9 h 176"/>
                    <a:gd name="T6" fmla="*/ 70 w 100"/>
                    <a:gd name="T7" fmla="*/ 8 h 176"/>
                    <a:gd name="T8" fmla="*/ 56 w 100"/>
                    <a:gd name="T9" fmla="*/ 8 h 176"/>
                    <a:gd name="T10" fmla="*/ 48 w 100"/>
                    <a:gd name="T11" fmla="*/ 16 h 176"/>
                    <a:gd name="T12" fmla="*/ 40 w 100"/>
                    <a:gd name="T13" fmla="*/ 26 h 176"/>
                    <a:gd name="T14" fmla="*/ 34 w 100"/>
                    <a:gd name="T15" fmla="*/ 37 h 176"/>
                    <a:gd name="T16" fmla="*/ 26 w 100"/>
                    <a:gd name="T17" fmla="*/ 43 h 176"/>
                    <a:gd name="T18" fmla="*/ 20 w 100"/>
                    <a:gd name="T19" fmla="*/ 60 h 176"/>
                    <a:gd name="T20" fmla="*/ 22 w 100"/>
                    <a:gd name="T21" fmla="*/ 69 h 176"/>
                    <a:gd name="T22" fmla="*/ 9 w 100"/>
                    <a:gd name="T23" fmla="*/ 75 h 176"/>
                    <a:gd name="T24" fmla="*/ 8 w 100"/>
                    <a:gd name="T25" fmla="*/ 91 h 176"/>
                    <a:gd name="T26" fmla="*/ 13 w 100"/>
                    <a:gd name="T27" fmla="*/ 104 h 176"/>
                    <a:gd name="T28" fmla="*/ 10 w 100"/>
                    <a:gd name="T29" fmla="*/ 112 h 176"/>
                    <a:gd name="T30" fmla="*/ 5 w 100"/>
                    <a:gd name="T31" fmla="*/ 122 h 176"/>
                    <a:gd name="T32" fmla="*/ 2 w 100"/>
                    <a:gd name="T33" fmla="*/ 134 h 176"/>
                    <a:gd name="T34" fmla="*/ 0 w 100"/>
                    <a:gd name="T35" fmla="*/ 134 h 176"/>
                    <a:gd name="T36" fmla="*/ 6 w 100"/>
                    <a:gd name="T37" fmla="*/ 150 h 176"/>
                    <a:gd name="T38" fmla="*/ 12 w 100"/>
                    <a:gd name="T39" fmla="*/ 164 h 176"/>
                    <a:gd name="T40" fmla="*/ 14 w 100"/>
                    <a:gd name="T41" fmla="*/ 174 h 176"/>
                    <a:gd name="T42" fmla="*/ 24 w 100"/>
                    <a:gd name="T43" fmla="*/ 169 h 176"/>
                    <a:gd name="T44" fmla="*/ 33 w 100"/>
                    <a:gd name="T45" fmla="*/ 166 h 176"/>
                    <a:gd name="T46" fmla="*/ 40 w 100"/>
                    <a:gd name="T47" fmla="*/ 164 h 176"/>
                    <a:gd name="T48" fmla="*/ 42 w 100"/>
                    <a:gd name="T49" fmla="*/ 156 h 176"/>
                    <a:gd name="T50" fmla="*/ 43 w 100"/>
                    <a:gd name="T51" fmla="*/ 139 h 176"/>
                    <a:gd name="T52" fmla="*/ 55 w 100"/>
                    <a:gd name="T53" fmla="*/ 128 h 176"/>
                    <a:gd name="T54" fmla="*/ 52 w 100"/>
                    <a:gd name="T55" fmla="*/ 113 h 176"/>
                    <a:gd name="T56" fmla="*/ 45 w 100"/>
                    <a:gd name="T57" fmla="*/ 102 h 176"/>
                    <a:gd name="T58" fmla="*/ 51 w 100"/>
                    <a:gd name="T59" fmla="*/ 88 h 176"/>
                    <a:gd name="T60" fmla="*/ 60 w 100"/>
                    <a:gd name="T61" fmla="*/ 78 h 176"/>
                    <a:gd name="T62" fmla="*/ 80 w 100"/>
                    <a:gd name="T63" fmla="*/ 65 h 176"/>
                    <a:gd name="T64" fmla="*/ 82 w 100"/>
                    <a:gd name="T65" fmla="*/ 50 h 176"/>
                    <a:gd name="T66" fmla="*/ 96 w 100"/>
                    <a:gd name="T67" fmla="*/ 45 h 176"/>
                    <a:gd name="T68" fmla="*/ 99 w 100"/>
                    <a:gd name="T69" fmla="*/ 42 h 176"/>
                    <a:gd name="T70" fmla="*/ 53 w 100"/>
                    <a:gd name="T71" fmla="*/ 157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00" h="176">
                      <a:moveTo>
                        <a:pt x="99" y="42"/>
                      </a:moveTo>
                      <a:cubicBezTo>
                        <a:pt x="98" y="40"/>
                        <a:pt x="96" y="37"/>
                        <a:pt x="98" y="37"/>
                      </a:cubicBezTo>
                      <a:cubicBezTo>
                        <a:pt x="99" y="37"/>
                        <a:pt x="100" y="32"/>
                        <a:pt x="98" y="30"/>
                      </a:cubicBezTo>
                      <a:cubicBezTo>
                        <a:pt x="96" y="29"/>
                        <a:pt x="98" y="24"/>
                        <a:pt x="96" y="23"/>
                      </a:cubicBezTo>
                      <a:cubicBezTo>
                        <a:pt x="94" y="22"/>
                        <a:pt x="95" y="18"/>
                        <a:pt x="96" y="16"/>
                      </a:cubicBezTo>
                      <a:cubicBezTo>
                        <a:pt x="96" y="13"/>
                        <a:pt x="88" y="11"/>
                        <a:pt x="84" y="9"/>
                      </a:cubicBezTo>
                      <a:cubicBezTo>
                        <a:pt x="80" y="7"/>
                        <a:pt x="78" y="4"/>
                        <a:pt x="75" y="2"/>
                      </a:cubicBezTo>
                      <a:cubicBezTo>
                        <a:pt x="71" y="0"/>
                        <a:pt x="70" y="5"/>
                        <a:pt x="70" y="8"/>
                      </a:cubicBezTo>
                      <a:cubicBezTo>
                        <a:pt x="70" y="11"/>
                        <a:pt x="67" y="11"/>
                        <a:pt x="65" y="9"/>
                      </a:cubicBezTo>
                      <a:cubicBezTo>
                        <a:pt x="62" y="8"/>
                        <a:pt x="60" y="9"/>
                        <a:pt x="56" y="8"/>
                      </a:cubicBezTo>
                      <a:cubicBezTo>
                        <a:pt x="53" y="6"/>
                        <a:pt x="54" y="11"/>
                        <a:pt x="54" y="14"/>
                      </a:cubicBezTo>
                      <a:cubicBezTo>
                        <a:pt x="54" y="16"/>
                        <a:pt x="51" y="16"/>
                        <a:pt x="48" y="16"/>
                      </a:cubicBezTo>
                      <a:cubicBezTo>
                        <a:pt x="46" y="16"/>
                        <a:pt x="42" y="18"/>
                        <a:pt x="42" y="21"/>
                      </a:cubicBezTo>
                      <a:cubicBezTo>
                        <a:pt x="42" y="23"/>
                        <a:pt x="39" y="25"/>
                        <a:pt x="40" y="26"/>
                      </a:cubicBezTo>
                      <a:cubicBezTo>
                        <a:pt x="41" y="28"/>
                        <a:pt x="39" y="29"/>
                        <a:pt x="38" y="30"/>
                      </a:cubicBezTo>
                      <a:cubicBezTo>
                        <a:pt x="36" y="32"/>
                        <a:pt x="35" y="35"/>
                        <a:pt x="34" y="37"/>
                      </a:cubicBezTo>
                      <a:cubicBezTo>
                        <a:pt x="33" y="38"/>
                        <a:pt x="34" y="40"/>
                        <a:pt x="32" y="41"/>
                      </a:cubicBezTo>
                      <a:cubicBezTo>
                        <a:pt x="30" y="43"/>
                        <a:pt x="27" y="42"/>
                        <a:pt x="26" y="43"/>
                      </a:cubicBezTo>
                      <a:cubicBezTo>
                        <a:pt x="25" y="44"/>
                        <a:pt x="26" y="47"/>
                        <a:pt x="26" y="50"/>
                      </a:cubicBezTo>
                      <a:cubicBezTo>
                        <a:pt x="25" y="53"/>
                        <a:pt x="23" y="57"/>
                        <a:pt x="20" y="60"/>
                      </a:cubicBezTo>
                      <a:cubicBezTo>
                        <a:pt x="18" y="63"/>
                        <a:pt x="21" y="64"/>
                        <a:pt x="22" y="64"/>
                      </a:cubicBezTo>
                      <a:cubicBezTo>
                        <a:pt x="23" y="65"/>
                        <a:pt x="23" y="67"/>
                        <a:pt x="22" y="69"/>
                      </a:cubicBezTo>
                      <a:cubicBezTo>
                        <a:pt x="21" y="71"/>
                        <a:pt x="18" y="70"/>
                        <a:pt x="17" y="69"/>
                      </a:cubicBezTo>
                      <a:cubicBezTo>
                        <a:pt x="15" y="69"/>
                        <a:pt x="11" y="71"/>
                        <a:pt x="9" y="75"/>
                      </a:cubicBezTo>
                      <a:cubicBezTo>
                        <a:pt x="7" y="79"/>
                        <a:pt x="7" y="81"/>
                        <a:pt x="8" y="83"/>
                      </a:cubicBezTo>
                      <a:cubicBezTo>
                        <a:pt x="9" y="85"/>
                        <a:pt x="6" y="87"/>
                        <a:pt x="8" y="91"/>
                      </a:cubicBezTo>
                      <a:cubicBezTo>
                        <a:pt x="10" y="95"/>
                        <a:pt x="7" y="95"/>
                        <a:pt x="8" y="98"/>
                      </a:cubicBezTo>
                      <a:cubicBezTo>
                        <a:pt x="8" y="102"/>
                        <a:pt x="13" y="101"/>
                        <a:pt x="13" y="104"/>
                      </a:cubicBezTo>
                      <a:cubicBezTo>
                        <a:pt x="13" y="107"/>
                        <a:pt x="12" y="108"/>
                        <a:pt x="10" y="108"/>
                      </a:cubicBezTo>
                      <a:cubicBezTo>
                        <a:pt x="8" y="108"/>
                        <a:pt x="9" y="111"/>
                        <a:pt x="10" y="112"/>
                      </a:cubicBezTo>
                      <a:cubicBezTo>
                        <a:pt x="12" y="113"/>
                        <a:pt x="12" y="118"/>
                        <a:pt x="11" y="120"/>
                      </a:cubicBezTo>
                      <a:cubicBezTo>
                        <a:pt x="10" y="121"/>
                        <a:pt x="5" y="120"/>
                        <a:pt x="5" y="122"/>
                      </a:cubicBezTo>
                      <a:cubicBezTo>
                        <a:pt x="6" y="124"/>
                        <a:pt x="4" y="127"/>
                        <a:pt x="4" y="128"/>
                      </a:cubicBezTo>
                      <a:cubicBezTo>
                        <a:pt x="4" y="130"/>
                        <a:pt x="4" y="135"/>
                        <a:pt x="2" y="134"/>
                      </a:cubicBezTo>
                      <a:cubicBezTo>
                        <a:pt x="2" y="133"/>
                        <a:pt x="1" y="133"/>
                        <a:pt x="0" y="133"/>
                      </a:cubicBezTo>
                      <a:cubicBezTo>
                        <a:pt x="0" y="133"/>
                        <a:pt x="0" y="134"/>
                        <a:pt x="0" y="134"/>
                      </a:cubicBezTo>
                      <a:cubicBezTo>
                        <a:pt x="0" y="137"/>
                        <a:pt x="1" y="140"/>
                        <a:pt x="3" y="142"/>
                      </a:cubicBezTo>
                      <a:cubicBezTo>
                        <a:pt x="6" y="144"/>
                        <a:pt x="4" y="147"/>
                        <a:pt x="6" y="150"/>
                      </a:cubicBezTo>
                      <a:cubicBezTo>
                        <a:pt x="9" y="153"/>
                        <a:pt x="8" y="156"/>
                        <a:pt x="10" y="158"/>
                      </a:cubicBezTo>
                      <a:cubicBezTo>
                        <a:pt x="13" y="160"/>
                        <a:pt x="13" y="161"/>
                        <a:pt x="12" y="164"/>
                      </a:cubicBezTo>
                      <a:cubicBezTo>
                        <a:pt x="11" y="166"/>
                        <a:pt x="14" y="166"/>
                        <a:pt x="14" y="167"/>
                      </a:cubicBezTo>
                      <a:cubicBezTo>
                        <a:pt x="14" y="169"/>
                        <a:pt x="14" y="173"/>
                        <a:pt x="14" y="174"/>
                      </a:cubicBezTo>
                      <a:cubicBezTo>
                        <a:pt x="15" y="176"/>
                        <a:pt x="17" y="174"/>
                        <a:pt x="21" y="174"/>
                      </a:cubicBezTo>
                      <a:cubicBezTo>
                        <a:pt x="24" y="174"/>
                        <a:pt x="24" y="172"/>
                        <a:pt x="24" y="169"/>
                      </a:cubicBezTo>
                      <a:cubicBezTo>
                        <a:pt x="24" y="167"/>
                        <a:pt x="26" y="168"/>
                        <a:pt x="26" y="167"/>
                      </a:cubicBezTo>
                      <a:cubicBezTo>
                        <a:pt x="27" y="165"/>
                        <a:pt x="30" y="165"/>
                        <a:pt x="33" y="166"/>
                      </a:cubicBezTo>
                      <a:cubicBezTo>
                        <a:pt x="36" y="167"/>
                        <a:pt x="37" y="165"/>
                        <a:pt x="37" y="162"/>
                      </a:cubicBezTo>
                      <a:cubicBezTo>
                        <a:pt x="38" y="160"/>
                        <a:pt x="39" y="163"/>
                        <a:pt x="40" y="164"/>
                      </a:cubicBezTo>
                      <a:cubicBezTo>
                        <a:pt x="41" y="164"/>
                        <a:pt x="44" y="159"/>
                        <a:pt x="45" y="156"/>
                      </a:cubicBezTo>
                      <a:cubicBezTo>
                        <a:pt x="46" y="153"/>
                        <a:pt x="45" y="153"/>
                        <a:pt x="42" y="156"/>
                      </a:cubicBezTo>
                      <a:cubicBezTo>
                        <a:pt x="39" y="160"/>
                        <a:pt x="41" y="153"/>
                        <a:pt x="42" y="151"/>
                      </a:cubicBezTo>
                      <a:cubicBezTo>
                        <a:pt x="43" y="148"/>
                        <a:pt x="43" y="141"/>
                        <a:pt x="43" y="139"/>
                      </a:cubicBezTo>
                      <a:cubicBezTo>
                        <a:pt x="44" y="138"/>
                        <a:pt x="44" y="135"/>
                        <a:pt x="48" y="135"/>
                      </a:cubicBezTo>
                      <a:cubicBezTo>
                        <a:pt x="51" y="134"/>
                        <a:pt x="56" y="130"/>
                        <a:pt x="55" y="128"/>
                      </a:cubicBezTo>
                      <a:cubicBezTo>
                        <a:pt x="54" y="126"/>
                        <a:pt x="60" y="123"/>
                        <a:pt x="60" y="121"/>
                      </a:cubicBezTo>
                      <a:cubicBezTo>
                        <a:pt x="60" y="120"/>
                        <a:pt x="54" y="114"/>
                        <a:pt x="52" y="113"/>
                      </a:cubicBezTo>
                      <a:cubicBezTo>
                        <a:pt x="50" y="112"/>
                        <a:pt x="46" y="113"/>
                        <a:pt x="46" y="111"/>
                      </a:cubicBezTo>
                      <a:cubicBezTo>
                        <a:pt x="47" y="110"/>
                        <a:pt x="46" y="105"/>
                        <a:pt x="45" y="102"/>
                      </a:cubicBezTo>
                      <a:cubicBezTo>
                        <a:pt x="45" y="100"/>
                        <a:pt x="48" y="97"/>
                        <a:pt x="48" y="94"/>
                      </a:cubicBezTo>
                      <a:cubicBezTo>
                        <a:pt x="48" y="92"/>
                        <a:pt x="48" y="89"/>
                        <a:pt x="51" y="88"/>
                      </a:cubicBezTo>
                      <a:cubicBezTo>
                        <a:pt x="53" y="87"/>
                        <a:pt x="51" y="85"/>
                        <a:pt x="54" y="85"/>
                      </a:cubicBezTo>
                      <a:cubicBezTo>
                        <a:pt x="57" y="84"/>
                        <a:pt x="57" y="80"/>
                        <a:pt x="60" y="78"/>
                      </a:cubicBezTo>
                      <a:cubicBezTo>
                        <a:pt x="63" y="77"/>
                        <a:pt x="63" y="76"/>
                        <a:pt x="68" y="74"/>
                      </a:cubicBezTo>
                      <a:cubicBezTo>
                        <a:pt x="72" y="72"/>
                        <a:pt x="79" y="67"/>
                        <a:pt x="80" y="65"/>
                      </a:cubicBezTo>
                      <a:cubicBezTo>
                        <a:pt x="81" y="62"/>
                        <a:pt x="76" y="59"/>
                        <a:pt x="79" y="57"/>
                      </a:cubicBezTo>
                      <a:cubicBezTo>
                        <a:pt x="83" y="54"/>
                        <a:pt x="80" y="51"/>
                        <a:pt x="82" y="50"/>
                      </a:cubicBezTo>
                      <a:cubicBezTo>
                        <a:pt x="85" y="49"/>
                        <a:pt x="86" y="48"/>
                        <a:pt x="87" y="46"/>
                      </a:cubicBezTo>
                      <a:cubicBezTo>
                        <a:pt x="89" y="44"/>
                        <a:pt x="92" y="46"/>
                        <a:pt x="96" y="45"/>
                      </a:cubicBezTo>
                      <a:cubicBezTo>
                        <a:pt x="97" y="45"/>
                        <a:pt x="99" y="45"/>
                        <a:pt x="100" y="46"/>
                      </a:cubicBezTo>
                      <a:cubicBezTo>
                        <a:pt x="100" y="44"/>
                        <a:pt x="100" y="42"/>
                        <a:pt x="99" y="42"/>
                      </a:cubicBezTo>
                      <a:close/>
                      <a:moveTo>
                        <a:pt x="59" y="146"/>
                      </a:moveTo>
                      <a:cubicBezTo>
                        <a:pt x="54" y="146"/>
                        <a:pt x="52" y="155"/>
                        <a:pt x="53" y="157"/>
                      </a:cubicBezTo>
                      <a:cubicBezTo>
                        <a:pt x="54" y="158"/>
                        <a:pt x="63" y="146"/>
                        <a:pt x="59" y="14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7" name="Freeform 130">
                  <a:extLst>
                    <a:ext uri="{FF2B5EF4-FFF2-40B4-BE49-F238E27FC236}">
                      <a16:creationId xmlns:a16="http://schemas.microsoft.com/office/drawing/2014/main" id="{1D8749E2-E090-40CA-A9EE-ECDF08F3DA5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9952461" y="-11908782"/>
                  <a:ext cx="314592" cy="152432"/>
                </a:xfrm>
                <a:custGeom>
                  <a:avLst/>
                  <a:gdLst>
                    <a:gd name="T0" fmla="*/ 47 w 51"/>
                    <a:gd name="T1" fmla="*/ 7 h 25"/>
                    <a:gd name="T2" fmla="*/ 49 w 51"/>
                    <a:gd name="T3" fmla="*/ 2 h 25"/>
                    <a:gd name="T4" fmla="*/ 47 w 51"/>
                    <a:gd name="T5" fmla="*/ 3 h 25"/>
                    <a:gd name="T6" fmla="*/ 32 w 51"/>
                    <a:gd name="T7" fmla="*/ 1 h 25"/>
                    <a:gd name="T8" fmla="*/ 17 w 51"/>
                    <a:gd name="T9" fmla="*/ 4 h 25"/>
                    <a:gd name="T10" fmla="*/ 12 w 51"/>
                    <a:gd name="T11" fmla="*/ 9 h 25"/>
                    <a:gd name="T12" fmla="*/ 14 w 51"/>
                    <a:gd name="T13" fmla="*/ 14 h 25"/>
                    <a:gd name="T14" fmla="*/ 19 w 51"/>
                    <a:gd name="T15" fmla="*/ 16 h 25"/>
                    <a:gd name="T16" fmla="*/ 20 w 51"/>
                    <a:gd name="T17" fmla="*/ 20 h 25"/>
                    <a:gd name="T18" fmla="*/ 20 w 51"/>
                    <a:gd name="T19" fmla="*/ 20 h 25"/>
                    <a:gd name="T20" fmla="*/ 29 w 51"/>
                    <a:gd name="T21" fmla="*/ 20 h 25"/>
                    <a:gd name="T22" fmla="*/ 37 w 51"/>
                    <a:gd name="T23" fmla="*/ 24 h 25"/>
                    <a:gd name="T24" fmla="*/ 45 w 51"/>
                    <a:gd name="T25" fmla="*/ 25 h 25"/>
                    <a:gd name="T26" fmla="*/ 45 w 51"/>
                    <a:gd name="T27" fmla="*/ 23 h 25"/>
                    <a:gd name="T28" fmla="*/ 47 w 51"/>
                    <a:gd name="T29" fmla="*/ 20 h 25"/>
                    <a:gd name="T30" fmla="*/ 45 w 51"/>
                    <a:gd name="T31" fmla="*/ 16 h 25"/>
                    <a:gd name="T32" fmla="*/ 45 w 51"/>
                    <a:gd name="T33" fmla="*/ 11 h 25"/>
                    <a:gd name="T34" fmla="*/ 47 w 51"/>
                    <a:gd name="T35" fmla="*/ 7 h 25"/>
                    <a:gd name="T36" fmla="*/ 5 w 51"/>
                    <a:gd name="T37" fmla="*/ 13 h 25"/>
                    <a:gd name="T38" fmla="*/ 2 w 51"/>
                    <a:gd name="T39" fmla="*/ 20 h 25"/>
                    <a:gd name="T40" fmla="*/ 10 w 51"/>
                    <a:gd name="T41" fmla="*/ 14 h 25"/>
                    <a:gd name="T42" fmla="*/ 5 w 51"/>
                    <a:gd name="T43" fmla="*/ 13 h 25"/>
                    <a:gd name="T44" fmla="*/ 9 w 51"/>
                    <a:gd name="T45" fmla="*/ 9 h 25"/>
                    <a:gd name="T46" fmla="*/ 4 w 51"/>
                    <a:gd name="T47" fmla="*/ 10 h 25"/>
                    <a:gd name="T48" fmla="*/ 9 w 51"/>
                    <a:gd name="T49" fmla="*/ 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1" h="25">
                      <a:moveTo>
                        <a:pt x="47" y="7"/>
                      </a:moveTo>
                      <a:cubicBezTo>
                        <a:pt x="48" y="5"/>
                        <a:pt x="51" y="4"/>
                        <a:pt x="49" y="2"/>
                      </a:cubicBezTo>
                      <a:cubicBezTo>
                        <a:pt x="49" y="2"/>
                        <a:pt x="48" y="2"/>
                        <a:pt x="47" y="3"/>
                      </a:cubicBezTo>
                      <a:cubicBezTo>
                        <a:pt x="44" y="3"/>
                        <a:pt x="36" y="0"/>
                        <a:pt x="32" y="1"/>
                      </a:cubicBezTo>
                      <a:cubicBezTo>
                        <a:pt x="28" y="2"/>
                        <a:pt x="19" y="2"/>
                        <a:pt x="17" y="4"/>
                      </a:cubicBezTo>
                      <a:cubicBezTo>
                        <a:pt x="15" y="6"/>
                        <a:pt x="10" y="7"/>
                        <a:pt x="12" y="9"/>
                      </a:cubicBezTo>
                      <a:cubicBezTo>
                        <a:pt x="14" y="10"/>
                        <a:pt x="12" y="11"/>
                        <a:pt x="14" y="14"/>
                      </a:cubicBezTo>
                      <a:cubicBezTo>
                        <a:pt x="15" y="16"/>
                        <a:pt x="16" y="17"/>
                        <a:pt x="19" y="16"/>
                      </a:cubicBezTo>
                      <a:cubicBezTo>
                        <a:pt x="21" y="16"/>
                        <a:pt x="23" y="17"/>
                        <a:pt x="20" y="20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4" y="19"/>
                        <a:pt x="28" y="19"/>
                        <a:pt x="29" y="20"/>
                      </a:cubicBezTo>
                      <a:cubicBezTo>
                        <a:pt x="30" y="20"/>
                        <a:pt x="35" y="25"/>
                        <a:pt x="37" y="24"/>
                      </a:cubicBezTo>
                      <a:cubicBezTo>
                        <a:pt x="38" y="24"/>
                        <a:pt x="42" y="25"/>
                        <a:pt x="45" y="25"/>
                      </a:cubicBezTo>
                      <a:cubicBezTo>
                        <a:pt x="44" y="24"/>
                        <a:pt x="44" y="23"/>
                        <a:pt x="45" y="23"/>
                      </a:cubicBezTo>
                      <a:cubicBezTo>
                        <a:pt x="46" y="22"/>
                        <a:pt x="48" y="22"/>
                        <a:pt x="47" y="20"/>
                      </a:cubicBezTo>
                      <a:cubicBezTo>
                        <a:pt x="46" y="18"/>
                        <a:pt x="45" y="18"/>
                        <a:pt x="45" y="16"/>
                      </a:cubicBezTo>
                      <a:cubicBezTo>
                        <a:pt x="45" y="14"/>
                        <a:pt x="44" y="13"/>
                        <a:pt x="45" y="11"/>
                      </a:cubicBezTo>
                      <a:cubicBezTo>
                        <a:pt x="45" y="10"/>
                        <a:pt x="46" y="9"/>
                        <a:pt x="47" y="7"/>
                      </a:cubicBezTo>
                      <a:close/>
                      <a:moveTo>
                        <a:pt x="5" y="13"/>
                      </a:moveTo>
                      <a:cubicBezTo>
                        <a:pt x="1" y="14"/>
                        <a:pt x="0" y="20"/>
                        <a:pt x="2" y="20"/>
                      </a:cubicBezTo>
                      <a:cubicBezTo>
                        <a:pt x="4" y="20"/>
                        <a:pt x="9" y="16"/>
                        <a:pt x="10" y="14"/>
                      </a:cubicBezTo>
                      <a:cubicBezTo>
                        <a:pt x="12" y="13"/>
                        <a:pt x="10" y="12"/>
                        <a:pt x="5" y="13"/>
                      </a:cubicBezTo>
                      <a:close/>
                      <a:moveTo>
                        <a:pt x="9" y="9"/>
                      </a:moveTo>
                      <a:cubicBezTo>
                        <a:pt x="10" y="8"/>
                        <a:pt x="2" y="8"/>
                        <a:pt x="4" y="10"/>
                      </a:cubicBezTo>
                      <a:cubicBezTo>
                        <a:pt x="5" y="11"/>
                        <a:pt x="8" y="11"/>
                        <a:pt x="9" y="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8" name="Freeform 131">
                  <a:extLst>
                    <a:ext uri="{FF2B5EF4-FFF2-40B4-BE49-F238E27FC236}">
                      <a16:creationId xmlns:a16="http://schemas.microsoft.com/office/drawing/2014/main" id="{29A92042-2D86-4D3F-81F0-B400B44B1A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253019" y="-10945550"/>
                  <a:ext cx="878911" cy="512427"/>
                </a:xfrm>
                <a:custGeom>
                  <a:avLst/>
                  <a:gdLst>
                    <a:gd name="T0" fmla="*/ 138 w 142"/>
                    <a:gd name="T1" fmla="*/ 47 h 83"/>
                    <a:gd name="T2" fmla="*/ 127 w 142"/>
                    <a:gd name="T3" fmla="*/ 42 h 83"/>
                    <a:gd name="T4" fmla="*/ 121 w 142"/>
                    <a:gd name="T5" fmla="*/ 42 h 83"/>
                    <a:gd name="T6" fmla="*/ 113 w 142"/>
                    <a:gd name="T7" fmla="*/ 40 h 83"/>
                    <a:gd name="T8" fmla="*/ 105 w 142"/>
                    <a:gd name="T9" fmla="*/ 46 h 83"/>
                    <a:gd name="T10" fmla="*/ 101 w 142"/>
                    <a:gd name="T11" fmla="*/ 47 h 83"/>
                    <a:gd name="T12" fmla="*/ 94 w 142"/>
                    <a:gd name="T13" fmla="*/ 43 h 83"/>
                    <a:gd name="T14" fmla="*/ 87 w 142"/>
                    <a:gd name="T15" fmla="*/ 41 h 83"/>
                    <a:gd name="T16" fmla="*/ 83 w 142"/>
                    <a:gd name="T17" fmla="*/ 33 h 83"/>
                    <a:gd name="T18" fmla="*/ 81 w 142"/>
                    <a:gd name="T19" fmla="*/ 25 h 83"/>
                    <a:gd name="T20" fmla="*/ 75 w 142"/>
                    <a:gd name="T21" fmla="*/ 21 h 83"/>
                    <a:gd name="T22" fmla="*/ 59 w 142"/>
                    <a:gd name="T23" fmla="*/ 20 h 83"/>
                    <a:gd name="T24" fmla="*/ 48 w 142"/>
                    <a:gd name="T25" fmla="*/ 21 h 83"/>
                    <a:gd name="T26" fmla="*/ 39 w 142"/>
                    <a:gd name="T27" fmla="*/ 10 h 83"/>
                    <a:gd name="T28" fmla="*/ 36 w 142"/>
                    <a:gd name="T29" fmla="*/ 14 h 83"/>
                    <a:gd name="T30" fmla="*/ 27 w 142"/>
                    <a:gd name="T31" fmla="*/ 12 h 83"/>
                    <a:gd name="T32" fmla="*/ 26 w 142"/>
                    <a:gd name="T33" fmla="*/ 1 h 83"/>
                    <a:gd name="T34" fmla="*/ 22 w 142"/>
                    <a:gd name="T35" fmla="*/ 13 h 83"/>
                    <a:gd name="T36" fmla="*/ 21 w 142"/>
                    <a:gd name="T37" fmla="*/ 0 h 83"/>
                    <a:gd name="T38" fmla="*/ 1 w 142"/>
                    <a:gd name="T39" fmla="*/ 5 h 83"/>
                    <a:gd name="T40" fmla="*/ 0 w 142"/>
                    <a:gd name="T41" fmla="*/ 41 h 83"/>
                    <a:gd name="T42" fmla="*/ 0 w 142"/>
                    <a:gd name="T43" fmla="*/ 41 h 83"/>
                    <a:gd name="T44" fmla="*/ 5 w 142"/>
                    <a:gd name="T45" fmla="*/ 42 h 83"/>
                    <a:gd name="T46" fmla="*/ 8 w 142"/>
                    <a:gd name="T47" fmla="*/ 39 h 83"/>
                    <a:gd name="T48" fmla="*/ 14 w 142"/>
                    <a:gd name="T49" fmla="*/ 34 h 83"/>
                    <a:gd name="T50" fmla="*/ 17 w 142"/>
                    <a:gd name="T51" fmla="*/ 31 h 83"/>
                    <a:gd name="T52" fmla="*/ 20 w 142"/>
                    <a:gd name="T53" fmla="*/ 30 h 83"/>
                    <a:gd name="T54" fmla="*/ 26 w 142"/>
                    <a:gd name="T55" fmla="*/ 31 h 83"/>
                    <a:gd name="T56" fmla="*/ 32 w 142"/>
                    <a:gd name="T57" fmla="*/ 33 h 83"/>
                    <a:gd name="T58" fmla="*/ 35 w 142"/>
                    <a:gd name="T59" fmla="*/ 42 h 83"/>
                    <a:gd name="T60" fmla="*/ 47 w 142"/>
                    <a:gd name="T61" fmla="*/ 43 h 83"/>
                    <a:gd name="T62" fmla="*/ 50 w 142"/>
                    <a:gd name="T63" fmla="*/ 48 h 83"/>
                    <a:gd name="T64" fmla="*/ 54 w 142"/>
                    <a:gd name="T65" fmla="*/ 55 h 83"/>
                    <a:gd name="T66" fmla="*/ 62 w 142"/>
                    <a:gd name="T67" fmla="*/ 61 h 83"/>
                    <a:gd name="T68" fmla="*/ 71 w 142"/>
                    <a:gd name="T69" fmla="*/ 66 h 83"/>
                    <a:gd name="T70" fmla="*/ 79 w 142"/>
                    <a:gd name="T71" fmla="*/ 72 h 83"/>
                    <a:gd name="T72" fmla="*/ 86 w 142"/>
                    <a:gd name="T73" fmla="*/ 74 h 83"/>
                    <a:gd name="T74" fmla="*/ 87 w 142"/>
                    <a:gd name="T75" fmla="*/ 80 h 83"/>
                    <a:gd name="T76" fmla="*/ 88 w 142"/>
                    <a:gd name="T77" fmla="*/ 79 h 83"/>
                    <a:gd name="T78" fmla="*/ 94 w 142"/>
                    <a:gd name="T79" fmla="*/ 82 h 83"/>
                    <a:gd name="T80" fmla="*/ 98 w 142"/>
                    <a:gd name="T81" fmla="*/ 83 h 83"/>
                    <a:gd name="T82" fmla="*/ 101 w 142"/>
                    <a:gd name="T83" fmla="*/ 75 h 83"/>
                    <a:gd name="T84" fmla="*/ 100 w 142"/>
                    <a:gd name="T85" fmla="*/ 68 h 83"/>
                    <a:gd name="T86" fmla="*/ 95 w 142"/>
                    <a:gd name="T87" fmla="*/ 61 h 83"/>
                    <a:gd name="T88" fmla="*/ 103 w 142"/>
                    <a:gd name="T89" fmla="*/ 59 h 83"/>
                    <a:gd name="T90" fmla="*/ 105 w 142"/>
                    <a:gd name="T91" fmla="*/ 54 h 83"/>
                    <a:gd name="T92" fmla="*/ 109 w 142"/>
                    <a:gd name="T93" fmla="*/ 50 h 83"/>
                    <a:gd name="T94" fmla="*/ 115 w 142"/>
                    <a:gd name="T95" fmla="*/ 48 h 83"/>
                    <a:gd name="T96" fmla="*/ 121 w 142"/>
                    <a:gd name="T97" fmla="*/ 47 h 83"/>
                    <a:gd name="T98" fmla="*/ 118 w 142"/>
                    <a:gd name="T99" fmla="*/ 54 h 83"/>
                    <a:gd name="T100" fmla="*/ 127 w 142"/>
                    <a:gd name="T101" fmla="*/ 52 h 83"/>
                    <a:gd name="T102" fmla="*/ 135 w 142"/>
                    <a:gd name="T103" fmla="*/ 51 h 83"/>
                    <a:gd name="T104" fmla="*/ 138 w 142"/>
                    <a:gd name="T105" fmla="*/ 47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42" h="83">
                      <a:moveTo>
                        <a:pt x="138" y="47"/>
                      </a:moveTo>
                      <a:cubicBezTo>
                        <a:pt x="134" y="44"/>
                        <a:pt x="128" y="40"/>
                        <a:pt x="127" y="42"/>
                      </a:cubicBezTo>
                      <a:cubicBezTo>
                        <a:pt x="127" y="44"/>
                        <a:pt x="122" y="44"/>
                        <a:pt x="121" y="42"/>
                      </a:cubicBezTo>
                      <a:cubicBezTo>
                        <a:pt x="119" y="40"/>
                        <a:pt x="118" y="38"/>
                        <a:pt x="113" y="40"/>
                      </a:cubicBezTo>
                      <a:cubicBezTo>
                        <a:pt x="108" y="42"/>
                        <a:pt x="105" y="44"/>
                        <a:pt x="105" y="46"/>
                      </a:cubicBezTo>
                      <a:cubicBezTo>
                        <a:pt x="105" y="48"/>
                        <a:pt x="101" y="50"/>
                        <a:pt x="101" y="47"/>
                      </a:cubicBezTo>
                      <a:cubicBezTo>
                        <a:pt x="101" y="45"/>
                        <a:pt x="97" y="44"/>
                        <a:pt x="94" y="43"/>
                      </a:cubicBezTo>
                      <a:cubicBezTo>
                        <a:pt x="92" y="43"/>
                        <a:pt x="88" y="44"/>
                        <a:pt x="87" y="41"/>
                      </a:cubicBezTo>
                      <a:cubicBezTo>
                        <a:pt x="87" y="39"/>
                        <a:pt x="83" y="36"/>
                        <a:pt x="83" y="33"/>
                      </a:cubicBezTo>
                      <a:cubicBezTo>
                        <a:pt x="83" y="30"/>
                        <a:pt x="84" y="26"/>
                        <a:pt x="81" y="25"/>
                      </a:cubicBezTo>
                      <a:cubicBezTo>
                        <a:pt x="79" y="25"/>
                        <a:pt x="77" y="21"/>
                        <a:pt x="75" y="21"/>
                      </a:cubicBezTo>
                      <a:cubicBezTo>
                        <a:pt x="73" y="21"/>
                        <a:pt x="60" y="21"/>
                        <a:pt x="59" y="20"/>
                      </a:cubicBezTo>
                      <a:cubicBezTo>
                        <a:pt x="57" y="19"/>
                        <a:pt x="49" y="23"/>
                        <a:pt x="48" y="21"/>
                      </a:cubicBezTo>
                      <a:cubicBezTo>
                        <a:pt x="48" y="19"/>
                        <a:pt x="42" y="13"/>
                        <a:pt x="39" y="10"/>
                      </a:cubicBezTo>
                      <a:cubicBezTo>
                        <a:pt x="38" y="12"/>
                        <a:pt x="38" y="13"/>
                        <a:pt x="36" y="14"/>
                      </a:cubicBezTo>
                      <a:cubicBezTo>
                        <a:pt x="30" y="18"/>
                        <a:pt x="25" y="17"/>
                        <a:pt x="27" y="12"/>
                      </a:cubicBezTo>
                      <a:cubicBezTo>
                        <a:pt x="28" y="7"/>
                        <a:pt x="29" y="1"/>
                        <a:pt x="26" y="1"/>
                      </a:cubicBezTo>
                      <a:cubicBezTo>
                        <a:pt x="23" y="1"/>
                        <a:pt x="25" y="12"/>
                        <a:pt x="22" y="13"/>
                      </a:cubicBezTo>
                      <a:cubicBezTo>
                        <a:pt x="20" y="13"/>
                        <a:pt x="19" y="5"/>
                        <a:pt x="21" y="0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2" y="42"/>
                        <a:pt x="4" y="42"/>
                        <a:pt x="5" y="42"/>
                      </a:cubicBezTo>
                      <a:cubicBezTo>
                        <a:pt x="8" y="43"/>
                        <a:pt x="8" y="40"/>
                        <a:pt x="8" y="39"/>
                      </a:cubicBezTo>
                      <a:cubicBezTo>
                        <a:pt x="8" y="37"/>
                        <a:pt x="12" y="34"/>
                        <a:pt x="14" y="34"/>
                      </a:cubicBezTo>
                      <a:cubicBezTo>
                        <a:pt x="16" y="35"/>
                        <a:pt x="16" y="31"/>
                        <a:pt x="17" y="31"/>
                      </a:cubicBezTo>
                      <a:cubicBezTo>
                        <a:pt x="18" y="31"/>
                        <a:pt x="19" y="31"/>
                        <a:pt x="20" y="30"/>
                      </a:cubicBezTo>
                      <a:cubicBezTo>
                        <a:pt x="21" y="28"/>
                        <a:pt x="25" y="30"/>
                        <a:pt x="26" y="31"/>
                      </a:cubicBezTo>
                      <a:cubicBezTo>
                        <a:pt x="27" y="32"/>
                        <a:pt x="30" y="33"/>
                        <a:pt x="32" y="33"/>
                      </a:cubicBezTo>
                      <a:cubicBezTo>
                        <a:pt x="34" y="34"/>
                        <a:pt x="35" y="40"/>
                        <a:pt x="35" y="42"/>
                      </a:cubicBezTo>
                      <a:cubicBezTo>
                        <a:pt x="35" y="43"/>
                        <a:pt x="45" y="43"/>
                        <a:pt x="47" y="43"/>
                      </a:cubicBezTo>
                      <a:cubicBezTo>
                        <a:pt x="48" y="43"/>
                        <a:pt x="48" y="46"/>
                        <a:pt x="50" y="48"/>
                      </a:cubicBezTo>
                      <a:cubicBezTo>
                        <a:pt x="52" y="51"/>
                        <a:pt x="53" y="53"/>
                        <a:pt x="54" y="55"/>
                      </a:cubicBezTo>
                      <a:cubicBezTo>
                        <a:pt x="54" y="57"/>
                        <a:pt x="60" y="59"/>
                        <a:pt x="62" y="61"/>
                      </a:cubicBezTo>
                      <a:cubicBezTo>
                        <a:pt x="63" y="63"/>
                        <a:pt x="68" y="65"/>
                        <a:pt x="71" y="66"/>
                      </a:cubicBezTo>
                      <a:cubicBezTo>
                        <a:pt x="74" y="68"/>
                        <a:pt x="77" y="72"/>
                        <a:pt x="79" y="72"/>
                      </a:cubicBezTo>
                      <a:cubicBezTo>
                        <a:pt x="81" y="72"/>
                        <a:pt x="86" y="74"/>
                        <a:pt x="86" y="74"/>
                      </a:cubicBezTo>
                      <a:cubicBezTo>
                        <a:pt x="87" y="80"/>
                        <a:pt x="87" y="80"/>
                        <a:pt x="87" y="80"/>
                      </a:cubicBezTo>
                      <a:cubicBezTo>
                        <a:pt x="87" y="80"/>
                        <a:pt x="88" y="80"/>
                        <a:pt x="88" y="79"/>
                      </a:cubicBezTo>
                      <a:cubicBezTo>
                        <a:pt x="91" y="79"/>
                        <a:pt x="92" y="82"/>
                        <a:pt x="94" y="82"/>
                      </a:cubicBezTo>
                      <a:cubicBezTo>
                        <a:pt x="95" y="82"/>
                        <a:pt x="97" y="82"/>
                        <a:pt x="98" y="83"/>
                      </a:cubicBezTo>
                      <a:cubicBezTo>
                        <a:pt x="98" y="79"/>
                        <a:pt x="99" y="76"/>
                        <a:pt x="101" y="75"/>
                      </a:cubicBezTo>
                      <a:cubicBezTo>
                        <a:pt x="103" y="73"/>
                        <a:pt x="100" y="70"/>
                        <a:pt x="100" y="68"/>
                      </a:cubicBezTo>
                      <a:cubicBezTo>
                        <a:pt x="100" y="65"/>
                        <a:pt x="95" y="64"/>
                        <a:pt x="95" y="61"/>
                      </a:cubicBezTo>
                      <a:cubicBezTo>
                        <a:pt x="96" y="59"/>
                        <a:pt x="100" y="60"/>
                        <a:pt x="103" y="59"/>
                      </a:cubicBezTo>
                      <a:cubicBezTo>
                        <a:pt x="105" y="58"/>
                        <a:pt x="103" y="54"/>
                        <a:pt x="105" y="54"/>
                      </a:cubicBezTo>
                      <a:cubicBezTo>
                        <a:pt x="107" y="54"/>
                        <a:pt x="108" y="52"/>
                        <a:pt x="109" y="50"/>
                      </a:cubicBezTo>
                      <a:cubicBezTo>
                        <a:pt x="110" y="48"/>
                        <a:pt x="113" y="50"/>
                        <a:pt x="115" y="48"/>
                      </a:cubicBezTo>
                      <a:cubicBezTo>
                        <a:pt x="117" y="47"/>
                        <a:pt x="120" y="46"/>
                        <a:pt x="121" y="47"/>
                      </a:cubicBezTo>
                      <a:cubicBezTo>
                        <a:pt x="121" y="48"/>
                        <a:pt x="119" y="52"/>
                        <a:pt x="118" y="54"/>
                      </a:cubicBezTo>
                      <a:cubicBezTo>
                        <a:pt x="121" y="54"/>
                        <a:pt x="126" y="53"/>
                        <a:pt x="127" y="52"/>
                      </a:cubicBezTo>
                      <a:cubicBezTo>
                        <a:pt x="128" y="51"/>
                        <a:pt x="133" y="54"/>
                        <a:pt x="135" y="51"/>
                      </a:cubicBezTo>
                      <a:cubicBezTo>
                        <a:pt x="136" y="48"/>
                        <a:pt x="142" y="50"/>
                        <a:pt x="138" y="4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9" name="Freeform 132">
                  <a:extLst>
                    <a:ext uri="{FF2B5EF4-FFF2-40B4-BE49-F238E27FC236}">
                      <a16:creationId xmlns:a16="http://schemas.microsoft.com/office/drawing/2014/main" id="{AC2FF61C-D5FB-4E5D-A63F-61CA27B8D8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779481" y="-13819035"/>
                  <a:ext cx="1290798" cy="2033494"/>
                </a:xfrm>
                <a:custGeom>
                  <a:avLst/>
                  <a:gdLst>
                    <a:gd name="T0" fmla="*/ 198 w 209"/>
                    <a:gd name="T1" fmla="*/ 172 h 329"/>
                    <a:gd name="T2" fmla="*/ 198 w 209"/>
                    <a:gd name="T3" fmla="*/ 162 h 329"/>
                    <a:gd name="T4" fmla="*/ 187 w 209"/>
                    <a:gd name="T5" fmla="*/ 160 h 329"/>
                    <a:gd name="T6" fmla="*/ 174 w 209"/>
                    <a:gd name="T7" fmla="*/ 160 h 329"/>
                    <a:gd name="T8" fmla="*/ 167 w 209"/>
                    <a:gd name="T9" fmla="*/ 159 h 329"/>
                    <a:gd name="T10" fmla="*/ 155 w 209"/>
                    <a:gd name="T11" fmla="*/ 162 h 329"/>
                    <a:gd name="T12" fmla="*/ 145 w 209"/>
                    <a:gd name="T13" fmla="*/ 173 h 329"/>
                    <a:gd name="T14" fmla="*/ 145 w 209"/>
                    <a:gd name="T15" fmla="*/ 161 h 329"/>
                    <a:gd name="T16" fmla="*/ 131 w 209"/>
                    <a:gd name="T17" fmla="*/ 169 h 329"/>
                    <a:gd name="T18" fmla="*/ 124 w 209"/>
                    <a:gd name="T19" fmla="*/ 172 h 329"/>
                    <a:gd name="T20" fmla="*/ 118 w 209"/>
                    <a:gd name="T21" fmla="*/ 170 h 329"/>
                    <a:gd name="T22" fmla="*/ 107 w 209"/>
                    <a:gd name="T23" fmla="*/ 179 h 329"/>
                    <a:gd name="T24" fmla="*/ 100 w 209"/>
                    <a:gd name="T25" fmla="*/ 185 h 329"/>
                    <a:gd name="T26" fmla="*/ 93 w 209"/>
                    <a:gd name="T27" fmla="*/ 188 h 329"/>
                    <a:gd name="T28" fmla="*/ 80 w 209"/>
                    <a:gd name="T29" fmla="*/ 191 h 329"/>
                    <a:gd name="T30" fmla="*/ 76 w 209"/>
                    <a:gd name="T31" fmla="*/ 198 h 329"/>
                    <a:gd name="T32" fmla="*/ 92 w 209"/>
                    <a:gd name="T33" fmla="*/ 199 h 329"/>
                    <a:gd name="T34" fmla="*/ 80 w 209"/>
                    <a:gd name="T35" fmla="*/ 208 h 329"/>
                    <a:gd name="T36" fmla="*/ 62 w 209"/>
                    <a:gd name="T37" fmla="*/ 227 h 329"/>
                    <a:gd name="T38" fmla="*/ 50 w 209"/>
                    <a:gd name="T39" fmla="*/ 243 h 329"/>
                    <a:gd name="T40" fmla="*/ 40 w 209"/>
                    <a:gd name="T41" fmla="*/ 257 h 329"/>
                    <a:gd name="T42" fmla="*/ 27 w 209"/>
                    <a:gd name="T43" fmla="*/ 266 h 329"/>
                    <a:gd name="T44" fmla="*/ 12 w 209"/>
                    <a:gd name="T45" fmla="*/ 275 h 329"/>
                    <a:gd name="T46" fmla="*/ 5 w 209"/>
                    <a:gd name="T47" fmla="*/ 288 h 329"/>
                    <a:gd name="T48" fmla="*/ 2 w 209"/>
                    <a:gd name="T49" fmla="*/ 302 h 329"/>
                    <a:gd name="T50" fmla="*/ 9 w 209"/>
                    <a:gd name="T51" fmla="*/ 307 h 329"/>
                    <a:gd name="T52" fmla="*/ 7 w 209"/>
                    <a:gd name="T53" fmla="*/ 313 h 329"/>
                    <a:gd name="T54" fmla="*/ 15 w 209"/>
                    <a:gd name="T55" fmla="*/ 326 h 329"/>
                    <a:gd name="T56" fmla="*/ 47 w 209"/>
                    <a:gd name="T57" fmla="*/ 310 h 329"/>
                    <a:gd name="T58" fmla="*/ 56 w 209"/>
                    <a:gd name="T59" fmla="*/ 313 h 329"/>
                    <a:gd name="T60" fmla="*/ 62 w 209"/>
                    <a:gd name="T61" fmla="*/ 293 h 329"/>
                    <a:gd name="T62" fmla="*/ 60 w 209"/>
                    <a:gd name="T63" fmla="*/ 268 h 329"/>
                    <a:gd name="T64" fmla="*/ 74 w 209"/>
                    <a:gd name="T65" fmla="*/ 249 h 329"/>
                    <a:gd name="T66" fmla="*/ 84 w 209"/>
                    <a:gd name="T67" fmla="*/ 226 h 329"/>
                    <a:gd name="T68" fmla="*/ 94 w 209"/>
                    <a:gd name="T69" fmla="*/ 206 h 329"/>
                    <a:gd name="T70" fmla="*/ 117 w 209"/>
                    <a:gd name="T71" fmla="*/ 194 h 329"/>
                    <a:gd name="T72" fmla="*/ 133 w 209"/>
                    <a:gd name="T73" fmla="*/ 183 h 329"/>
                    <a:gd name="T74" fmla="*/ 161 w 209"/>
                    <a:gd name="T75" fmla="*/ 192 h 329"/>
                    <a:gd name="T76" fmla="*/ 179 w 209"/>
                    <a:gd name="T77" fmla="*/ 173 h 329"/>
                    <a:gd name="T78" fmla="*/ 198 w 209"/>
                    <a:gd name="T79" fmla="*/ 181 h 329"/>
                    <a:gd name="T80" fmla="*/ 58 w 209"/>
                    <a:gd name="T81" fmla="*/ 23 h 329"/>
                    <a:gd name="T82" fmla="*/ 78 w 209"/>
                    <a:gd name="T83" fmla="*/ 35 h 329"/>
                    <a:gd name="T84" fmla="*/ 93 w 209"/>
                    <a:gd name="T85" fmla="*/ 38 h 329"/>
                    <a:gd name="T86" fmla="*/ 94 w 209"/>
                    <a:gd name="T87" fmla="*/ 49 h 329"/>
                    <a:gd name="T88" fmla="*/ 80 w 209"/>
                    <a:gd name="T89" fmla="*/ 61 h 329"/>
                    <a:gd name="T90" fmla="*/ 96 w 209"/>
                    <a:gd name="T91" fmla="*/ 68 h 329"/>
                    <a:gd name="T92" fmla="*/ 114 w 209"/>
                    <a:gd name="T93" fmla="*/ 37 h 329"/>
                    <a:gd name="T94" fmla="*/ 130 w 209"/>
                    <a:gd name="T95" fmla="*/ 45 h 329"/>
                    <a:gd name="T96" fmla="*/ 151 w 209"/>
                    <a:gd name="T97" fmla="*/ 53 h 329"/>
                    <a:gd name="T98" fmla="*/ 144 w 209"/>
                    <a:gd name="T99" fmla="*/ 42 h 329"/>
                    <a:gd name="T100" fmla="*/ 126 w 209"/>
                    <a:gd name="T101" fmla="*/ 27 h 329"/>
                    <a:gd name="T102" fmla="*/ 108 w 209"/>
                    <a:gd name="T103" fmla="*/ 18 h 329"/>
                    <a:gd name="T104" fmla="*/ 91 w 209"/>
                    <a:gd name="T105" fmla="*/ 8 h 329"/>
                    <a:gd name="T106" fmla="*/ 84 w 209"/>
                    <a:gd name="T107" fmla="*/ 18 h 329"/>
                    <a:gd name="T108" fmla="*/ 67 w 209"/>
                    <a:gd name="T109" fmla="*/ 17 h 329"/>
                    <a:gd name="T110" fmla="*/ 57 w 209"/>
                    <a:gd name="T111" fmla="*/ 13 h 329"/>
                    <a:gd name="T112" fmla="*/ 51 w 209"/>
                    <a:gd name="T113" fmla="*/ 38 h 329"/>
                    <a:gd name="T114" fmla="*/ 51 w 209"/>
                    <a:gd name="T115" fmla="*/ 38 h 329"/>
                    <a:gd name="T116" fmla="*/ 119 w 209"/>
                    <a:gd name="T117" fmla="*/ 18 h 329"/>
                    <a:gd name="T118" fmla="*/ 167 w 209"/>
                    <a:gd name="T119" fmla="*/ 17 h 329"/>
                    <a:gd name="T120" fmla="*/ 146 w 209"/>
                    <a:gd name="T121" fmla="*/ 6 h 329"/>
                    <a:gd name="T122" fmla="*/ 127 w 209"/>
                    <a:gd name="T123" fmla="*/ 5 h 329"/>
                    <a:gd name="T124" fmla="*/ 113 w 209"/>
                    <a:gd name="T125" fmla="*/ 7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09" h="329">
                      <a:moveTo>
                        <a:pt x="202" y="176"/>
                      </a:moveTo>
                      <a:cubicBezTo>
                        <a:pt x="202" y="178"/>
                        <a:pt x="199" y="177"/>
                        <a:pt x="199" y="175"/>
                      </a:cubicBezTo>
                      <a:cubicBezTo>
                        <a:pt x="199" y="174"/>
                        <a:pt x="194" y="172"/>
                        <a:pt x="193" y="171"/>
                      </a:cubicBezTo>
                      <a:cubicBezTo>
                        <a:pt x="193" y="171"/>
                        <a:pt x="196" y="171"/>
                        <a:pt x="198" y="172"/>
                      </a:cubicBezTo>
                      <a:cubicBezTo>
                        <a:pt x="199" y="173"/>
                        <a:pt x="201" y="172"/>
                        <a:pt x="203" y="170"/>
                      </a:cubicBezTo>
                      <a:cubicBezTo>
                        <a:pt x="205" y="168"/>
                        <a:pt x="208" y="170"/>
                        <a:pt x="208" y="168"/>
                      </a:cubicBezTo>
                      <a:cubicBezTo>
                        <a:pt x="209" y="166"/>
                        <a:pt x="205" y="165"/>
                        <a:pt x="204" y="164"/>
                      </a:cubicBezTo>
                      <a:cubicBezTo>
                        <a:pt x="203" y="163"/>
                        <a:pt x="201" y="161"/>
                        <a:pt x="198" y="162"/>
                      </a:cubicBezTo>
                      <a:cubicBezTo>
                        <a:pt x="195" y="162"/>
                        <a:pt x="195" y="161"/>
                        <a:pt x="194" y="160"/>
                      </a:cubicBezTo>
                      <a:cubicBezTo>
                        <a:pt x="192" y="158"/>
                        <a:pt x="188" y="161"/>
                        <a:pt x="188" y="164"/>
                      </a:cubicBezTo>
                      <a:cubicBezTo>
                        <a:pt x="188" y="167"/>
                        <a:pt x="185" y="167"/>
                        <a:pt x="186" y="165"/>
                      </a:cubicBezTo>
                      <a:cubicBezTo>
                        <a:pt x="187" y="163"/>
                        <a:pt x="184" y="161"/>
                        <a:pt x="187" y="160"/>
                      </a:cubicBezTo>
                      <a:cubicBezTo>
                        <a:pt x="189" y="160"/>
                        <a:pt x="188" y="156"/>
                        <a:pt x="183" y="156"/>
                      </a:cubicBezTo>
                      <a:cubicBezTo>
                        <a:pt x="179" y="155"/>
                        <a:pt x="177" y="159"/>
                        <a:pt x="178" y="160"/>
                      </a:cubicBezTo>
                      <a:cubicBezTo>
                        <a:pt x="179" y="161"/>
                        <a:pt x="175" y="167"/>
                        <a:pt x="173" y="167"/>
                      </a:cubicBezTo>
                      <a:cubicBezTo>
                        <a:pt x="172" y="167"/>
                        <a:pt x="174" y="162"/>
                        <a:pt x="174" y="160"/>
                      </a:cubicBezTo>
                      <a:cubicBezTo>
                        <a:pt x="173" y="157"/>
                        <a:pt x="172" y="159"/>
                        <a:pt x="169" y="163"/>
                      </a:cubicBezTo>
                      <a:cubicBezTo>
                        <a:pt x="165" y="166"/>
                        <a:pt x="163" y="170"/>
                        <a:pt x="161" y="170"/>
                      </a:cubicBezTo>
                      <a:cubicBezTo>
                        <a:pt x="159" y="171"/>
                        <a:pt x="159" y="167"/>
                        <a:pt x="162" y="165"/>
                      </a:cubicBezTo>
                      <a:cubicBezTo>
                        <a:pt x="165" y="163"/>
                        <a:pt x="165" y="159"/>
                        <a:pt x="167" y="159"/>
                      </a:cubicBezTo>
                      <a:cubicBezTo>
                        <a:pt x="169" y="159"/>
                        <a:pt x="169" y="156"/>
                        <a:pt x="166" y="156"/>
                      </a:cubicBezTo>
                      <a:cubicBezTo>
                        <a:pt x="164" y="155"/>
                        <a:pt x="163" y="158"/>
                        <a:pt x="162" y="159"/>
                      </a:cubicBezTo>
                      <a:cubicBezTo>
                        <a:pt x="161" y="160"/>
                        <a:pt x="156" y="158"/>
                        <a:pt x="156" y="159"/>
                      </a:cubicBezTo>
                      <a:cubicBezTo>
                        <a:pt x="156" y="160"/>
                        <a:pt x="154" y="160"/>
                        <a:pt x="155" y="162"/>
                      </a:cubicBezTo>
                      <a:cubicBezTo>
                        <a:pt x="156" y="163"/>
                        <a:pt x="154" y="165"/>
                        <a:pt x="153" y="163"/>
                      </a:cubicBezTo>
                      <a:cubicBezTo>
                        <a:pt x="152" y="161"/>
                        <a:pt x="149" y="162"/>
                        <a:pt x="148" y="165"/>
                      </a:cubicBezTo>
                      <a:cubicBezTo>
                        <a:pt x="146" y="167"/>
                        <a:pt x="144" y="167"/>
                        <a:pt x="146" y="168"/>
                      </a:cubicBezTo>
                      <a:cubicBezTo>
                        <a:pt x="147" y="169"/>
                        <a:pt x="147" y="172"/>
                        <a:pt x="145" y="173"/>
                      </a:cubicBezTo>
                      <a:cubicBezTo>
                        <a:pt x="143" y="173"/>
                        <a:pt x="144" y="167"/>
                        <a:pt x="142" y="167"/>
                      </a:cubicBezTo>
                      <a:cubicBezTo>
                        <a:pt x="140" y="168"/>
                        <a:pt x="141" y="164"/>
                        <a:pt x="144" y="164"/>
                      </a:cubicBezTo>
                      <a:cubicBezTo>
                        <a:pt x="146" y="164"/>
                        <a:pt x="148" y="161"/>
                        <a:pt x="148" y="160"/>
                      </a:cubicBezTo>
                      <a:cubicBezTo>
                        <a:pt x="147" y="159"/>
                        <a:pt x="145" y="159"/>
                        <a:pt x="145" y="161"/>
                      </a:cubicBezTo>
                      <a:cubicBezTo>
                        <a:pt x="145" y="163"/>
                        <a:pt x="141" y="162"/>
                        <a:pt x="138" y="162"/>
                      </a:cubicBezTo>
                      <a:cubicBezTo>
                        <a:pt x="135" y="162"/>
                        <a:pt x="136" y="166"/>
                        <a:pt x="139" y="167"/>
                      </a:cubicBezTo>
                      <a:cubicBezTo>
                        <a:pt x="142" y="169"/>
                        <a:pt x="138" y="171"/>
                        <a:pt x="137" y="169"/>
                      </a:cubicBezTo>
                      <a:cubicBezTo>
                        <a:pt x="135" y="168"/>
                        <a:pt x="132" y="168"/>
                        <a:pt x="131" y="169"/>
                      </a:cubicBezTo>
                      <a:cubicBezTo>
                        <a:pt x="129" y="170"/>
                        <a:pt x="135" y="172"/>
                        <a:pt x="135" y="173"/>
                      </a:cubicBezTo>
                      <a:cubicBezTo>
                        <a:pt x="135" y="174"/>
                        <a:pt x="132" y="172"/>
                        <a:pt x="131" y="173"/>
                      </a:cubicBezTo>
                      <a:cubicBezTo>
                        <a:pt x="131" y="174"/>
                        <a:pt x="127" y="172"/>
                        <a:pt x="127" y="170"/>
                      </a:cubicBezTo>
                      <a:cubicBezTo>
                        <a:pt x="127" y="168"/>
                        <a:pt x="121" y="171"/>
                        <a:pt x="124" y="172"/>
                      </a:cubicBezTo>
                      <a:cubicBezTo>
                        <a:pt x="127" y="172"/>
                        <a:pt x="126" y="174"/>
                        <a:pt x="126" y="177"/>
                      </a:cubicBezTo>
                      <a:cubicBezTo>
                        <a:pt x="126" y="180"/>
                        <a:pt x="123" y="178"/>
                        <a:pt x="124" y="175"/>
                      </a:cubicBezTo>
                      <a:cubicBezTo>
                        <a:pt x="124" y="173"/>
                        <a:pt x="121" y="173"/>
                        <a:pt x="119" y="175"/>
                      </a:cubicBezTo>
                      <a:cubicBezTo>
                        <a:pt x="117" y="176"/>
                        <a:pt x="119" y="172"/>
                        <a:pt x="118" y="170"/>
                      </a:cubicBezTo>
                      <a:cubicBezTo>
                        <a:pt x="117" y="168"/>
                        <a:pt x="115" y="170"/>
                        <a:pt x="113" y="171"/>
                      </a:cubicBezTo>
                      <a:cubicBezTo>
                        <a:pt x="110" y="171"/>
                        <a:pt x="109" y="171"/>
                        <a:pt x="111" y="173"/>
                      </a:cubicBezTo>
                      <a:cubicBezTo>
                        <a:pt x="112" y="175"/>
                        <a:pt x="112" y="177"/>
                        <a:pt x="110" y="177"/>
                      </a:cubicBezTo>
                      <a:cubicBezTo>
                        <a:pt x="108" y="176"/>
                        <a:pt x="107" y="177"/>
                        <a:pt x="107" y="179"/>
                      </a:cubicBezTo>
                      <a:cubicBezTo>
                        <a:pt x="108" y="180"/>
                        <a:pt x="105" y="181"/>
                        <a:pt x="104" y="179"/>
                      </a:cubicBezTo>
                      <a:cubicBezTo>
                        <a:pt x="104" y="177"/>
                        <a:pt x="100" y="178"/>
                        <a:pt x="99" y="180"/>
                      </a:cubicBezTo>
                      <a:cubicBezTo>
                        <a:pt x="98" y="182"/>
                        <a:pt x="94" y="183"/>
                        <a:pt x="95" y="185"/>
                      </a:cubicBezTo>
                      <a:cubicBezTo>
                        <a:pt x="95" y="187"/>
                        <a:pt x="98" y="184"/>
                        <a:pt x="100" y="185"/>
                      </a:cubicBezTo>
                      <a:cubicBezTo>
                        <a:pt x="102" y="185"/>
                        <a:pt x="100" y="187"/>
                        <a:pt x="101" y="188"/>
                      </a:cubicBezTo>
                      <a:cubicBezTo>
                        <a:pt x="102" y="189"/>
                        <a:pt x="102" y="191"/>
                        <a:pt x="100" y="190"/>
                      </a:cubicBezTo>
                      <a:cubicBezTo>
                        <a:pt x="99" y="188"/>
                        <a:pt x="96" y="188"/>
                        <a:pt x="96" y="190"/>
                      </a:cubicBezTo>
                      <a:cubicBezTo>
                        <a:pt x="96" y="193"/>
                        <a:pt x="94" y="190"/>
                        <a:pt x="93" y="188"/>
                      </a:cubicBezTo>
                      <a:cubicBezTo>
                        <a:pt x="91" y="186"/>
                        <a:pt x="90" y="191"/>
                        <a:pt x="88" y="190"/>
                      </a:cubicBezTo>
                      <a:cubicBezTo>
                        <a:pt x="87" y="189"/>
                        <a:pt x="91" y="185"/>
                        <a:pt x="90" y="184"/>
                      </a:cubicBezTo>
                      <a:cubicBezTo>
                        <a:pt x="89" y="182"/>
                        <a:pt x="88" y="185"/>
                        <a:pt x="85" y="187"/>
                      </a:cubicBezTo>
                      <a:cubicBezTo>
                        <a:pt x="83" y="190"/>
                        <a:pt x="79" y="190"/>
                        <a:pt x="80" y="191"/>
                      </a:cubicBezTo>
                      <a:cubicBezTo>
                        <a:pt x="81" y="193"/>
                        <a:pt x="77" y="193"/>
                        <a:pt x="77" y="196"/>
                      </a:cubicBezTo>
                      <a:cubicBezTo>
                        <a:pt x="76" y="198"/>
                        <a:pt x="70" y="199"/>
                        <a:pt x="67" y="201"/>
                      </a:cubicBezTo>
                      <a:cubicBezTo>
                        <a:pt x="63" y="203"/>
                        <a:pt x="68" y="204"/>
                        <a:pt x="70" y="201"/>
                      </a:cubicBezTo>
                      <a:cubicBezTo>
                        <a:pt x="72" y="199"/>
                        <a:pt x="72" y="200"/>
                        <a:pt x="76" y="198"/>
                      </a:cubicBezTo>
                      <a:cubicBezTo>
                        <a:pt x="79" y="196"/>
                        <a:pt x="82" y="195"/>
                        <a:pt x="83" y="195"/>
                      </a:cubicBezTo>
                      <a:cubicBezTo>
                        <a:pt x="85" y="196"/>
                        <a:pt x="87" y="197"/>
                        <a:pt x="88" y="195"/>
                      </a:cubicBezTo>
                      <a:cubicBezTo>
                        <a:pt x="90" y="193"/>
                        <a:pt x="92" y="193"/>
                        <a:pt x="93" y="194"/>
                      </a:cubicBezTo>
                      <a:cubicBezTo>
                        <a:pt x="95" y="196"/>
                        <a:pt x="91" y="197"/>
                        <a:pt x="92" y="199"/>
                      </a:cubicBezTo>
                      <a:cubicBezTo>
                        <a:pt x="94" y="201"/>
                        <a:pt x="90" y="202"/>
                        <a:pt x="90" y="200"/>
                      </a:cubicBezTo>
                      <a:cubicBezTo>
                        <a:pt x="90" y="198"/>
                        <a:pt x="88" y="197"/>
                        <a:pt x="87" y="198"/>
                      </a:cubicBezTo>
                      <a:cubicBezTo>
                        <a:pt x="86" y="200"/>
                        <a:pt x="85" y="202"/>
                        <a:pt x="83" y="202"/>
                      </a:cubicBezTo>
                      <a:cubicBezTo>
                        <a:pt x="82" y="202"/>
                        <a:pt x="80" y="205"/>
                        <a:pt x="80" y="208"/>
                      </a:cubicBezTo>
                      <a:cubicBezTo>
                        <a:pt x="80" y="210"/>
                        <a:pt x="77" y="208"/>
                        <a:pt x="77" y="210"/>
                      </a:cubicBezTo>
                      <a:cubicBezTo>
                        <a:pt x="77" y="213"/>
                        <a:pt x="73" y="217"/>
                        <a:pt x="70" y="220"/>
                      </a:cubicBezTo>
                      <a:cubicBezTo>
                        <a:pt x="66" y="223"/>
                        <a:pt x="69" y="224"/>
                        <a:pt x="68" y="226"/>
                      </a:cubicBezTo>
                      <a:cubicBezTo>
                        <a:pt x="67" y="228"/>
                        <a:pt x="63" y="226"/>
                        <a:pt x="62" y="227"/>
                      </a:cubicBezTo>
                      <a:cubicBezTo>
                        <a:pt x="61" y="228"/>
                        <a:pt x="63" y="233"/>
                        <a:pt x="61" y="235"/>
                      </a:cubicBezTo>
                      <a:cubicBezTo>
                        <a:pt x="59" y="236"/>
                        <a:pt x="61" y="238"/>
                        <a:pt x="61" y="240"/>
                      </a:cubicBezTo>
                      <a:cubicBezTo>
                        <a:pt x="61" y="242"/>
                        <a:pt x="56" y="239"/>
                        <a:pt x="56" y="241"/>
                      </a:cubicBezTo>
                      <a:cubicBezTo>
                        <a:pt x="56" y="243"/>
                        <a:pt x="52" y="242"/>
                        <a:pt x="50" y="243"/>
                      </a:cubicBezTo>
                      <a:cubicBezTo>
                        <a:pt x="49" y="243"/>
                        <a:pt x="53" y="246"/>
                        <a:pt x="55" y="248"/>
                      </a:cubicBezTo>
                      <a:cubicBezTo>
                        <a:pt x="57" y="249"/>
                        <a:pt x="53" y="251"/>
                        <a:pt x="52" y="249"/>
                      </a:cubicBezTo>
                      <a:cubicBezTo>
                        <a:pt x="52" y="247"/>
                        <a:pt x="49" y="250"/>
                        <a:pt x="45" y="251"/>
                      </a:cubicBezTo>
                      <a:cubicBezTo>
                        <a:pt x="42" y="253"/>
                        <a:pt x="43" y="256"/>
                        <a:pt x="40" y="257"/>
                      </a:cubicBezTo>
                      <a:cubicBezTo>
                        <a:pt x="37" y="257"/>
                        <a:pt x="38" y="261"/>
                        <a:pt x="36" y="263"/>
                      </a:cubicBezTo>
                      <a:cubicBezTo>
                        <a:pt x="34" y="264"/>
                        <a:pt x="35" y="259"/>
                        <a:pt x="32" y="259"/>
                      </a:cubicBezTo>
                      <a:cubicBezTo>
                        <a:pt x="29" y="259"/>
                        <a:pt x="29" y="261"/>
                        <a:pt x="31" y="264"/>
                      </a:cubicBezTo>
                      <a:cubicBezTo>
                        <a:pt x="33" y="266"/>
                        <a:pt x="28" y="264"/>
                        <a:pt x="27" y="266"/>
                      </a:cubicBezTo>
                      <a:cubicBezTo>
                        <a:pt x="25" y="269"/>
                        <a:pt x="20" y="268"/>
                        <a:pt x="19" y="269"/>
                      </a:cubicBezTo>
                      <a:cubicBezTo>
                        <a:pt x="18" y="271"/>
                        <a:pt x="22" y="271"/>
                        <a:pt x="23" y="273"/>
                      </a:cubicBezTo>
                      <a:cubicBezTo>
                        <a:pt x="24" y="274"/>
                        <a:pt x="19" y="273"/>
                        <a:pt x="16" y="273"/>
                      </a:cubicBezTo>
                      <a:cubicBezTo>
                        <a:pt x="14" y="272"/>
                        <a:pt x="14" y="276"/>
                        <a:pt x="12" y="275"/>
                      </a:cubicBezTo>
                      <a:cubicBezTo>
                        <a:pt x="10" y="275"/>
                        <a:pt x="7" y="278"/>
                        <a:pt x="8" y="279"/>
                      </a:cubicBezTo>
                      <a:cubicBezTo>
                        <a:pt x="10" y="281"/>
                        <a:pt x="7" y="281"/>
                        <a:pt x="5" y="280"/>
                      </a:cubicBezTo>
                      <a:cubicBezTo>
                        <a:pt x="4" y="279"/>
                        <a:pt x="2" y="282"/>
                        <a:pt x="2" y="284"/>
                      </a:cubicBezTo>
                      <a:cubicBezTo>
                        <a:pt x="1" y="286"/>
                        <a:pt x="5" y="287"/>
                        <a:pt x="5" y="288"/>
                      </a:cubicBezTo>
                      <a:cubicBezTo>
                        <a:pt x="5" y="289"/>
                        <a:pt x="2" y="290"/>
                        <a:pt x="4" y="291"/>
                      </a:cubicBezTo>
                      <a:cubicBezTo>
                        <a:pt x="6" y="291"/>
                        <a:pt x="4" y="293"/>
                        <a:pt x="3" y="294"/>
                      </a:cubicBezTo>
                      <a:cubicBezTo>
                        <a:pt x="1" y="294"/>
                        <a:pt x="1" y="296"/>
                        <a:pt x="3" y="297"/>
                      </a:cubicBezTo>
                      <a:cubicBezTo>
                        <a:pt x="4" y="299"/>
                        <a:pt x="0" y="300"/>
                        <a:pt x="2" y="302"/>
                      </a:cubicBezTo>
                      <a:cubicBezTo>
                        <a:pt x="4" y="305"/>
                        <a:pt x="6" y="302"/>
                        <a:pt x="6" y="304"/>
                      </a:cubicBezTo>
                      <a:cubicBezTo>
                        <a:pt x="7" y="306"/>
                        <a:pt x="10" y="304"/>
                        <a:pt x="12" y="301"/>
                      </a:cubicBezTo>
                      <a:cubicBezTo>
                        <a:pt x="15" y="299"/>
                        <a:pt x="16" y="304"/>
                        <a:pt x="14" y="304"/>
                      </a:cubicBezTo>
                      <a:cubicBezTo>
                        <a:pt x="11" y="304"/>
                        <a:pt x="9" y="305"/>
                        <a:pt x="9" y="307"/>
                      </a:cubicBezTo>
                      <a:cubicBezTo>
                        <a:pt x="10" y="309"/>
                        <a:pt x="6" y="309"/>
                        <a:pt x="6" y="306"/>
                      </a:cubicBezTo>
                      <a:cubicBezTo>
                        <a:pt x="6" y="304"/>
                        <a:pt x="2" y="307"/>
                        <a:pt x="3" y="309"/>
                      </a:cubicBezTo>
                      <a:cubicBezTo>
                        <a:pt x="5" y="311"/>
                        <a:pt x="3" y="312"/>
                        <a:pt x="3" y="314"/>
                      </a:cubicBezTo>
                      <a:cubicBezTo>
                        <a:pt x="3" y="315"/>
                        <a:pt x="6" y="315"/>
                        <a:pt x="7" y="313"/>
                      </a:cubicBezTo>
                      <a:cubicBezTo>
                        <a:pt x="9" y="311"/>
                        <a:pt x="11" y="311"/>
                        <a:pt x="12" y="313"/>
                      </a:cubicBezTo>
                      <a:cubicBezTo>
                        <a:pt x="13" y="315"/>
                        <a:pt x="10" y="314"/>
                        <a:pt x="10" y="317"/>
                      </a:cubicBezTo>
                      <a:cubicBezTo>
                        <a:pt x="10" y="319"/>
                        <a:pt x="8" y="317"/>
                        <a:pt x="6" y="319"/>
                      </a:cubicBezTo>
                      <a:cubicBezTo>
                        <a:pt x="5" y="321"/>
                        <a:pt x="12" y="325"/>
                        <a:pt x="15" y="326"/>
                      </a:cubicBezTo>
                      <a:cubicBezTo>
                        <a:pt x="17" y="326"/>
                        <a:pt x="19" y="329"/>
                        <a:pt x="24" y="328"/>
                      </a:cubicBezTo>
                      <a:cubicBezTo>
                        <a:pt x="29" y="328"/>
                        <a:pt x="38" y="319"/>
                        <a:pt x="39" y="317"/>
                      </a:cubicBezTo>
                      <a:cubicBezTo>
                        <a:pt x="40" y="316"/>
                        <a:pt x="43" y="317"/>
                        <a:pt x="45" y="316"/>
                      </a:cubicBezTo>
                      <a:cubicBezTo>
                        <a:pt x="47" y="315"/>
                        <a:pt x="45" y="311"/>
                        <a:pt x="47" y="310"/>
                      </a:cubicBezTo>
                      <a:cubicBezTo>
                        <a:pt x="48" y="310"/>
                        <a:pt x="49" y="314"/>
                        <a:pt x="50" y="315"/>
                      </a:cubicBezTo>
                      <a:cubicBezTo>
                        <a:pt x="51" y="315"/>
                        <a:pt x="52" y="316"/>
                        <a:pt x="52" y="318"/>
                      </a:cubicBezTo>
                      <a:cubicBezTo>
                        <a:pt x="53" y="318"/>
                        <a:pt x="54" y="318"/>
                        <a:pt x="54" y="319"/>
                      </a:cubicBezTo>
                      <a:cubicBezTo>
                        <a:pt x="56" y="320"/>
                        <a:pt x="56" y="315"/>
                        <a:pt x="56" y="313"/>
                      </a:cubicBezTo>
                      <a:cubicBezTo>
                        <a:pt x="56" y="312"/>
                        <a:pt x="58" y="309"/>
                        <a:pt x="57" y="307"/>
                      </a:cubicBezTo>
                      <a:cubicBezTo>
                        <a:pt x="57" y="305"/>
                        <a:pt x="62" y="306"/>
                        <a:pt x="63" y="305"/>
                      </a:cubicBezTo>
                      <a:cubicBezTo>
                        <a:pt x="64" y="303"/>
                        <a:pt x="64" y="298"/>
                        <a:pt x="62" y="297"/>
                      </a:cubicBezTo>
                      <a:cubicBezTo>
                        <a:pt x="61" y="296"/>
                        <a:pt x="60" y="293"/>
                        <a:pt x="62" y="293"/>
                      </a:cubicBezTo>
                      <a:cubicBezTo>
                        <a:pt x="64" y="293"/>
                        <a:pt x="65" y="292"/>
                        <a:pt x="65" y="289"/>
                      </a:cubicBezTo>
                      <a:cubicBezTo>
                        <a:pt x="65" y="286"/>
                        <a:pt x="60" y="287"/>
                        <a:pt x="60" y="283"/>
                      </a:cubicBezTo>
                      <a:cubicBezTo>
                        <a:pt x="59" y="280"/>
                        <a:pt x="62" y="280"/>
                        <a:pt x="60" y="276"/>
                      </a:cubicBezTo>
                      <a:cubicBezTo>
                        <a:pt x="58" y="272"/>
                        <a:pt x="61" y="270"/>
                        <a:pt x="60" y="268"/>
                      </a:cubicBezTo>
                      <a:cubicBezTo>
                        <a:pt x="59" y="266"/>
                        <a:pt x="59" y="264"/>
                        <a:pt x="61" y="260"/>
                      </a:cubicBezTo>
                      <a:cubicBezTo>
                        <a:pt x="63" y="256"/>
                        <a:pt x="67" y="254"/>
                        <a:pt x="69" y="254"/>
                      </a:cubicBezTo>
                      <a:cubicBezTo>
                        <a:pt x="70" y="255"/>
                        <a:pt x="73" y="256"/>
                        <a:pt x="74" y="254"/>
                      </a:cubicBezTo>
                      <a:cubicBezTo>
                        <a:pt x="75" y="252"/>
                        <a:pt x="75" y="250"/>
                        <a:pt x="74" y="249"/>
                      </a:cubicBezTo>
                      <a:cubicBezTo>
                        <a:pt x="73" y="249"/>
                        <a:pt x="70" y="248"/>
                        <a:pt x="72" y="245"/>
                      </a:cubicBezTo>
                      <a:cubicBezTo>
                        <a:pt x="75" y="242"/>
                        <a:pt x="77" y="238"/>
                        <a:pt x="78" y="235"/>
                      </a:cubicBezTo>
                      <a:cubicBezTo>
                        <a:pt x="78" y="232"/>
                        <a:pt x="77" y="229"/>
                        <a:pt x="78" y="228"/>
                      </a:cubicBezTo>
                      <a:cubicBezTo>
                        <a:pt x="79" y="227"/>
                        <a:pt x="82" y="228"/>
                        <a:pt x="84" y="226"/>
                      </a:cubicBezTo>
                      <a:cubicBezTo>
                        <a:pt x="86" y="225"/>
                        <a:pt x="85" y="223"/>
                        <a:pt x="86" y="222"/>
                      </a:cubicBezTo>
                      <a:cubicBezTo>
                        <a:pt x="87" y="220"/>
                        <a:pt x="88" y="217"/>
                        <a:pt x="90" y="215"/>
                      </a:cubicBezTo>
                      <a:cubicBezTo>
                        <a:pt x="91" y="214"/>
                        <a:pt x="93" y="213"/>
                        <a:pt x="92" y="211"/>
                      </a:cubicBezTo>
                      <a:cubicBezTo>
                        <a:pt x="91" y="210"/>
                        <a:pt x="94" y="208"/>
                        <a:pt x="94" y="206"/>
                      </a:cubicBezTo>
                      <a:cubicBezTo>
                        <a:pt x="94" y="203"/>
                        <a:pt x="98" y="201"/>
                        <a:pt x="100" y="201"/>
                      </a:cubicBezTo>
                      <a:cubicBezTo>
                        <a:pt x="103" y="201"/>
                        <a:pt x="106" y="201"/>
                        <a:pt x="106" y="199"/>
                      </a:cubicBezTo>
                      <a:cubicBezTo>
                        <a:pt x="106" y="196"/>
                        <a:pt x="105" y="191"/>
                        <a:pt x="108" y="193"/>
                      </a:cubicBezTo>
                      <a:cubicBezTo>
                        <a:pt x="112" y="194"/>
                        <a:pt x="114" y="193"/>
                        <a:pt x="117" y="194"/>
                      </a:cubicBezTo>
                      <a:cubicBezTo>
                        <a:pt x="119" y="196"/>
                        <a:pt x="122" y="196"/>
                        <a:pt x="122" y="193"/>
                      </a:cubicBezTo>
                      <a:cubicBezTo>
                        <a:pt x="122" y="190"/>
                        <a:pt x="123" y="185"/>
                        <a:pt x="127" y="187"/>
                      </a:cubicBezTo>
                      <a:cubicBezTo>
                        <a:pt x="127" y="187"/>
                        <a:pt x="127" y="187"/>
                        <a:pt x="127" y="187"/>
                      </a:cubicBezTo>
                      <a:cubicBezTo>
                        <a:pt x="128" y="185"/>
                        <a:pt x="131" y="183"/>
                        <a:pt x="133" y="183"/>
                      </a:cubicBezTo>
                      <a:cubicBezTo>
                        <a:pt x="136" y="184"/>
                        <a:pt x="138" y="189"/>
                        <a:pt x="141" y="190"/>
                      </a:cubicBezTo>
                      <a:cubicBezTo>
                        <a:pt x="145" y="191"/>
                        <a:pt x="149" y="192"/>
                        <a:pt x="150" y="190"/>
                      </a:cubicBezTo>
                      <a:cubicBezTo>
                        <a:pt x="151" y="188"/>
                        <a:pt x="154" y="191"/>
                        <a:pt x="156" y="191"/>
                      </a:cubicBezTo>
                      <a:cubicBezTo>
                        <a:pt x="159" y="190"/>
                        <a:pt x="159" y="195"/>
                        <a:pt x="161" y="192"/>
                      </a:cubicBezTo>
                      <a:cubicBezTo>
                        <a:pt x="163" y="189"/>
                        <a:pt x="161" y="187"/>
                        <a:pt x="164" y="187"/>
                      </a:cubicBezTo>
                      <a:cubicBezTo>
                        <a:pt x="168" y="188"/>
                        <a:pt x="166" y="183"/>
                        <a:pt x="166" y="180"/>
                      </a:cubicBezTo>
                      <a:cubicBezTo>
                        <a:pt x="166" y="178"/>
                        <a:pt x="171" y="177"/>
                        <a:pt x="171" y="175"/>
                      </a:cubicBezTo>
                      <a:cubicBezTo>
                        <a:pt x="171" y="173"/>
                        <a:pt x="178" y="175"/>
                        <a:pt x="179" y="173"/>
                      </a:cubicBezTo>
                      <a:cubicBezTo>
                        <a:pt x="180" y="172"/>
                        <a:pt x="184" y="170"/>
                        <a:pt x="185" y="173"/>
                      </a:cubicBezTo>
                      <a:cubicBezTo>
                        <a:pt x="187" y="176"/>
                        <a:pt x="193" y="177"/>
                        <a:pt x="194" y="179"/>
                      </a:cubicBezTo>
                      <a:cubicBezTo>
                        <a:pt x="194" y="180"/>
                        <a:pt x="194" y="182"/>
                        <a:pt x="194" y="183"/>
                      </a:cubicBezTo>
                      <a:cubicBezTo>
                        <a:pt x="195" y="182"/>
                        <a:pt x="196" y="181"/>
                        <a:pt x="198" y="181"/>
                      </a:cubicBezTo>
                      <a:cubicBezTo>
                        <a:pt x="200" y="181"/>
                        <a:pt x="202" y="178"/>
                        <a:pt x="204" y="178"/>
                      </a:cubicBezTo>
                      <a:cubicBezTo>
                        <a:pt x="206" y="179"/>
                        <a:pt x="208" y="178"/>
                        <a:pt x="208" y="175"/>
                      </a:cubicBezTo>
                      <a:cubicBezTo>
                        <a:pt x="206" y="174"/>
                        <a:pt x="203" y="174"/>
                        <a:pt x="202" y="176"/>
                      </a:cubicBezTo>
                      <a:close/>
                      <a:moveTo>
                        <a:pt x="58" y="23"/>
                      </a:moveTo>
                      <a:cubicBezTo>
                        <a:pt x="62" y="24"/>
                        <a:pt x="55" y="28"/>
                        <a:pt x="54" y="31"/>
                      </a:cubicBezTo>
                      <a:cubicBezTo>
                        <a:pt x="53" y="35"/>
                        <a:pt x="59" y="38"/>
                        <a:pt x="62" y="40"/>
                      </a:cubicBezTo>
                      <a:cubicBezTo>
                        <a:pt x="65" y="43"/>
                        <a:pt x="71" y="42"/>
                        <a:pt x="73" y="41"/>
                      </a:cubicBezTo>
                      <a:cubicBezTo>
                        <a:pt x="76" y="39"/>
                        <a:pt x="75" y="34"/>
                        <a:pt x="78" y="35"/>
                      </a:cubicBezTo>
                      <a:cubicBezTo>
                        <a:pt x="81" y="35"/>
                        <a:pt x="79" y="32"/>
                        <a:pt x="82" y="31"/>
                      </a:cubicBezTo>
                      <a:cubicBezTo>
                        <a:pt x="84" y="30"/>
                        <a:pt x="85" y="33"/>
                        <a:pt x="83" y="36"/>
                      </a:cubicBezTo>
                      <a:cubicBezTo>
                        <a:pt x="80" y="38"/>
                        <a:pt x="86" y="38"/>
                        <a:pt x="89" y="35"/>
                      </a:cubicBezTo>
                      <a:cubicBezTo>
                        <a:pt x="93" y="32"/>
                        <a:pt x="93" y="35"/>
                        <a:pt x="93" y="38"/>
                      </a:cubicBezTo>
                      <a:cubicBezTo>
                        <a:pt x="92" y="41"/>
                        <a:pt x="85" y="39"/>
                        <a:pt x="83" y="42"/>
                      </a:cubicBezTo>
                      <a:cubicBezTo>
                        <a:pt x="81" y="45"/>
                        <a:pt x="74" y="43"/>
                        <a:pt x="70" y="46"/>
                      </a:cubicBezTo>
                      <a:cubicBezTo>
                        <a:pt x="67" y="50"/>
                        <a:pt x="73" y="50"/>
                        <a:pt x="78" y="49"/>
                      </a:cubicBezTo>
                      <a:cubicBezTo>
                        <a:pt x="82" y="48"/>
                        <a:pt x="91" y="48"/>
                        <a:pt x="94" y="49"/>
                      </a:cubicBezTo>
                      <a:cubicBezTo>
                        <a:pt x="97" y="49"/>
                        <a:pt x="92" y="50"/>
                        <a:pt x="86" y="50"/>
                      </a:cubicBezTo>
                      <a:cubicBezTo>
                        <a:pt x="81" y="50"/>
                        <a:pt x="79" y="52"/>
                        <a:pt x="80" y="53"/>
                      </a:cubicBezTo>
                      <a:cubicBezTo>
                        <a:pt x="80" y="55"/>
                        <a:pt x="72" y="52"/>
                        <a:pt x="72" y="55"/>
                      </a:cubicBezTo>
                      <a:cubicBezTo>
                        <a:pt x="71" y="58"/>
                        <a:pt x="79" y="60"/>
                        <a:pt x="80" y="61"/>
                      </a:cubicBezTo>
                      <a:cubicBezTo>
                        <a:pt x="81" y="63"/>
                        <a:pt x="86" y="62"/>
                        <a:pt x="88" y="62"/>
                      </a:cubicBezTo>
                      <a:cubicBezTo>
                        <a:pt x="89" y="63"/>
                        <a:pt x="84" y="65"/>
                        <a:pt x="84" y="65"/>
                      </a:cubicBezTo>
                      <a:cubicBezTo>
                        <a:pt x="83" y="66"/>
                        <a:pt x="89" y="68"/>
                        <a:pt x="90" y="69"/>
                      </a:cubicBezTo>
                      <a:cubicBezTo>
                        <a:pt x="91" y="71"/>
                        <a:pt x="96" y="70"/>
                        <a:pt x="96" y="68"/>
                      </a:cubicBezTo>
                      <a:cubicBezTo>
                        <a:pt x="95" y="65"/>
                        <a:pt x="99" y="55"/>
                        <a:pt x="105" y="53"/>
                      </a:cubicBezTo>
                      <a:cubicBezTo>
                        <a:pt x="110" y="51"/>
                        <a:pt x="107" y="50"/>
                        <a:pt x="108" y="46"/>
                      </a:cubicBezTo>
                      <a:cubicBezTo>
                        <a:pt x="109" y="43"/>
                        <a:pt x="113" y="46"/>
                        <a:pt x="112" y="43"/>
                      </a:cubicBezTo>
                      <a:cubicBezTo>
                        <a:pt x="110" y="41"/>
                        <a:pt x="111" y="40"/>
                        <a:pt x="114" y="37"/>
                      </a:cubicBezTo>
                      <a:cubicBezTo>
                        <a:pt x="118" y="33"/>
                        <a:pt x="120" y="36"/>
                        <a:pt x="124" y="34"/>
                      </a:cubicBezTo>
                      <a:cubicBezTo>
                        <a:pt x="128" y="32"/>
                        <a:pt x="130" y="35"/>
                        <a:pt x="126" y="36"/>
                      </a:cubicBezTo>
                      <a:cubicBezTo>
                        <a:pt x="122" y="36"/>
                        <a:pt x="124" y="40"/>
                        <a:pt x="127" y="42"/>
                      </a:cubicBezTo>
                      <a:cubicBezTo>
                        <a:pt x="130" y="43"/>
                        <a:pt x="127" y="44"/>
                        <a:pt x="130" y="45"/>
                      </a:cubicBezTo>
                      <a:cubicBezTo>
                        <a:pt x="132" y="45"/>
                        <a:pt x="132" y="49"/>
                        <a:pt x="128" y="52"/>
                      </a:cubicBezTo>
                      <a:cubicBezTo>
                        <a:pt x="125" y="56"/>
                        <a:pt x="129" y="56"/>
                        <a:pt x="136" y="54"/>
                      </a:cubicBezTo>
                      <a:cubicBezTo>
                        <a:pt x="143" y="51"/>
                        <a:pt x="139" y="56"/>
                        <a:pt x="141" y="58"/>
                      </a:cubicBezTo>
                      <a:cubicBezTo>
                        <a:pt x="142" y="60"/>
                        <a:pt x="148" y="56"/>
                        <a:pt x="151" y="53"/>
                      </a:cubicBezTo>
                      <a:cubicBezTo>
                        <a:pt x="154" y="50"/>
                        <a:pt x="158" y="50"/>
                        <a:pt x="158" y="48"/>
                      </a:cubicBezTo>
                      <a:cubicBezTo>
                        <a:pt x="157" y="46"/>
                        <a:pt x="154" y="46"/>
                        <a:pt x="152" y="47"/>
                      </a:cubicBezTo>
                      <a:cubicBezTo>
                        <a:pt x="149" y="48"/>
                        <a:pt x="143" y="47"/>
                        <a:pt x="145" y="45"/>
                      </a:cubicBezTo>
                      <a:cubicBezTo>
                        <a:pt x="147" y="43"/>
                        <a:pt x="147" y="42"/>
                        <a:pt x="144" y="42"/>
                      </a:cubicBezTo>
                      <a:cubicBezTo>
                        <a:pt x="141" y="43"/>
                        <a:pt x="135" y="41"/>
                        <a:pt x="138" y="40"/>
                      </a:cubicBezTo>
                      <a:cubicBezTo>
                        <a:pt x="140" y="39"/>
                        <a:pt x="136" y="35"/>
                        <a:pt x="133" y="35"/>
                      </a:cubicBezTo>
                      <a:cubicBezTo>
                        <a:pt x="131" y="36"/>
                        <a:pt x="131" y="33"/>
                        <a:pt x="132" y="31"/>
                      </a:cubicBezTo>
                      <a:cubicBezTo>
                        <a:pt x="132" y="29"/>
                        <a:pt x="124" y="28"/>
                        <a:pt x="126" y="27"/>
                      </a:cubicBezTo>
                      <a:cubicBezTo>
                        <a:pt x="127" y="27"/>
                        <a:pt x="123" y="25"/>
                        <a:pt x="122" y="26"/>
                      </a:cubicBezTo>
                      <a:cubicBezTo>
                        <a:pt x="121" y="28"/>
                        <a:pt x="119" y="27"/>
                        <a:pt x="119" y="25"/>
                      </a:cubicBezTo>
                      <a:cubicBezTo>
                        <a:pt x="119" y="23"/>
                        <a:pt x="113" y="24"/>
                        <a:pt x="111" y="24"/>
                      </a:cubicBezTo>
                      <a:cubicBezTo>
                        <a:pt x="109" y="24"/>
                        <a:pt x="110" y="19"/>
                        <a:pt x="108" y="18"/>
                      </a:cubicBezTo>
                      <a:cubicBezTo>
                        <a:pt x="106" y="16"/>
                        <a:pt x="103" y="21"/>
                        <a:pt x="101" y="20"/>
                      </a:cubicBezTo>
                      <a:cubicBezTo>
                        <a:pt x="100" y="20"/>
                        <a:pt x="103" y="17"/>
                        <a:pt x="103" y="15"/>
                      </a:cubicBezTo>
                      <a:cubicBezTo>
                        <a:pt x="104" y="13"/>
                        <a:pt x="96" y="10"/>
                        <a:pt x="95" y="12"/>
                      </a:cubicBezTo>
                      <a:cubicBezTo>
                        <a:pt x="94" y="14"/>
                        <a:pt x="93" y="9"/>
                        <a:pt x="91" y="8"/>
                      </a:cubicBezTo>
                      <a:cubicBezTo>
                        <a:pt x="89" y="8"/>
                        <a:pt x="90" y="12"/>
                        <a:pt x="89" y="12"/>
                      </a:cubicBezTo>
                      <a:cubicBezTo>
                        <a:pt x="87" y="12"/>
                        <a:pt x="85" y="14"/>
                        <a:pt x="88" y="16"/>
                      </a:cubicBezTo>
                      <a:cubicBezTo>
                        <a:pt x="90" y="18"/>
                        <a:pt x="93" y="27"/>
                        <a:pt x="93" y="28"/>
                      </a:cubicBezTo>
                      <a:cubicBezTo>
                        <a:pt x="92" y="29"/>
                        <a:pt x="84" y="22"/>
                        <a:pt x="84" y="18"/>
                      </a:cubicBezTo>
                      <a:cubicBezTo>
                        <a:pt x="83" y="14"/>
                        <a:pt x="79" y="11"/>
                        <a:pt x="78" y="14"/>
                      </a:cubicBezTo>
                      <a:cubicBezTo>
                        <a:pt x="77" y="16"/>
                        <a:pt x="74" y="17"/>
                        <a:pt x="75" y="20"/>
                      </a:cubicBezTo>
                      <a:cubicBezTo>
                        <a:pt x="76" y="23"/>
                        <a:pt x="73" y="24"/>
                        <a:pt x="73" y="22"/>
                      </a:cubicBezTo>
                      <a:cubicBezTo>
                        <a:pt x="73" y="19"/>
                        <a:pt x="68" y="17"/>
                        <a:pt x="67" y="17"/>
                      </a:cubicBezTo>
                      <a:cubicBezTo>
                        <a:pt x="65" y="17"/>
                        <a:pt x="71" y="15"/>
                        <a:pt x="74" y="14"/>
                      </a:cubicBezTo>
                      <a:cubicBezTo>
                        <a:pt x="76" y="13"/>
                        <a:pt x="71" y="11"/>
                        <a:pt x="69" y="13"/>
                      </a:cubicBezTo>
                      <a:cubicBezTo>
                        <a:pt x="67" y="14"/>
                        <a:pt x="64" y="12"/>
                        <a:pt x="62" y="14"/>
                      </a:cubicBezTo>
                      <a:cubicBezTo>
                        <a:pt x="61" y="16"/>
                        <a:pt x="59" y="14"/>
                        <a:pt x="57" y="13"/>
                      </a:cubicBezTo>
                      <a:cubicBezTo>
                        <a:pt x="54" y="13"/>
                        <a:pt x="52" y="17"/>
                        <a:pt x="50" y="16"/>
                      </a:cubicBezTo>
                      <a:cubicBezTo>
                        <a:pt x="48" y="15"/>
                        <a:pt x="47" y="20"/>
                        <a:pt x="50" y="24"/>
                      </a:cubicBezTo>
                      <a:cubicBezTo>
                        <a:pt x="53" y="28"/>
                        <a:pt x="55" y="23"/>
                        <a:pt x="58" y="23"/>
                      </a:cubicBezTo>
                      <a:close/>
                      <a:moveTo>
                        <a:pt x="51" y="38"/>
                      </a:moveTo>
                      <a:cubicBezTo>
                        <a:pt x="53" y="38"/>
                        <a:pt x="55" y="42"/>
                        <a:pt x="57" y="42"/>
                      </a:cubicBezTo>
                      <a:cubicBezTo>
                        <a:pt x="58" y="42"/>
                        <a:pt x="54" y="37"/>
                        <a:pt x="52" y="35"/>
                      </a:cubicBezTo>
                      <a:cubicBezTo>
                        <a:pt x="49" y="32"/>
                        <a:pt x="49" y="30"/>
                        <a:pt x="46" y="31"/>
                      </a:cubicBezTo>
                      <a:cubicBezTo>
                        <a:pt x="43" y="32"/>
                        <a:pt x="49" y="37"/>
                        <a:pt x="51" y="38"/>
                      </a:cubicBezTo>
                      <a:close/>
                      <a:moveTo>
                        <a:pt x="108" y="9"/>
                      </a:moveTo>
                      <a:cubicBezTo>
                        <a:pt x="109" y="10"/>
                        <a:pt x="105" y="10"/>
                        <a:pt x="107" y="12"/>
                      </a:cubicBezTo>
                      <a:cubicBezTo>
                        <a:pt x="112" y="17"/>
                        <a:pt x="133" y="11"/>
                        <a:pt x="136" y="13"/>
                      </a:cubicBezTo>
                      <a:cubicBezTo>
                        <a:pt x="139" y="14"/>
                        <a:pt x="119" y="16"/>
                        <a:pt x="119" y="18"/>
                      </a:cubicBezTo>
                      <a:cubicBezTo>
                        <a:pt x="120" y="21"/>
                        <a:pt x="137" y="22"/>
                        <a:pt x="138" y="21"/>
                      </a:cubicBezTo>
                      <a:cubicBezTo>
                        <a:pt x="140" y="20"/>
                        <a:pt x="142" y="24"/>
                        <a:pt x="148" y="24"/>
                      </a:cubicBezTo>
                      <a:cubicBezTo>
                        <a:pt x="154" y="25"/>
                        <a:pt x="153" y="22"/>
                        <a:pt x="157" y="22"/>
                      </a:cubicBezTo>
                      <a:cubicBezTo>
                        <a:pt x="161" y="22"/>
                        <a:pt x="167" y="20"/>
                        <a:pt x="167" y="17"/>
                      </a:cubicBezTo>
                      <a:cubicBezTo>
                        <a:pt x="168" y="15"/>
                        <a:pt x="180" y="12"/>
                        <a:pt x="178" y="8"/>
                      </a:cubicBezTo>
                      <a:cubicBezTo>
                        <a:pt x="177" y="4"/>
                        <a:pt x="166" y="7"/>
                        <a:pt x="163" y="5"/>
                      </a:cubicBezTo>
                      <a:cubicBezTo>
                        <a:pt x="159" y="4"/>
                        <a:pt x="152" y="2"/>
                        <a:pt x="151" y="4"/>
                      </a:cubicBezTo>
                      <a:cubicBezTo>
                        <a:pt x="149" y="7"/>
                        <a:pt x="147" y="7"/>
                        <a:pt x="146" y="6"/>
                      </a:cubicBezTo>
                      <a:cubicBezTo>
                        <a:pt x="145" y="5"/>
                        <a:pt x="147" y="0"/>
                        <a:pt x="142" y="1"/>
                      </a:cubicBezTo>
                      <a:cubicBezTo>
                        <a:pt x="136" y="3"/>
                        <a:pt x="141" y="8"/>
                        <a:pt x="140" y="9"/>
                      </a:cubicBezTo>
                      <a:cubicBezTo>
                        <a:pt x="139" y="10"/>
                        <a:pt x="134" y="8"/>
                        <a:pt x="134" y="5"/>
                      </a:cubicBezTo>
                      <a:cubicBezTo>
                        <a:pt x="133" y="3"/>
                        <a:pt x="128" y="8"/>
                        <a:pt x="127" y="5"/>
                      </a:cubicBezTo>
                      <a:cubicBezTo>
                        <a:pt x="126" y="2"/>
                        <a:pt x="120" y="0"/>
                        <a:pt x="118" y="0"/>
                      </a:cubicBezTo>
                      <a:cubicBezTo>
                        <a:pt x="117" y="0"/>
                        <a:pt x="120" y="2"/>
                        <a:pt x="119" y="4"/>
                      </a:cubicBezTo>
                      <a:cubicBezTo>
                        <a:pt x="118" y="5"/>
                        <a:pt x="114" y="2"/>
                        <a:pt x="113" y="2"/>
                      </a:cubicBezTo>
                      <a:cubicBezTo>
                        <a:pt x="112" y="2"/>
                        <a:pt x="114" y="5"/>
                        <a:pt x="113" y="7"/>
                      </a:cubicBezTo>
                      <a:cubicBezTo>
                        <a:pt x="113" y="8"/>
                        <a:pt x="110" y="2"/>
                        <a:pt x="107" y="2"/>
                      </a:cubicBezTo>
                      <a:cubicBezTo>
                        <a:pt x="105" y="2"/>
                        <a:pt x="106" y="5"/>
                        <a:pt x="104" y="5"/>
                      </a:cubicBezTo>
                      <a:cubicBezTo>
                        <a:pt x="102" y="5"/>
                        <a:pt x="106" y="8"/>
                        <a:pt x="108" y="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0" name="Freeform 133">
                  <a:extLst>
                    <a:ext uri="{FF2B5EF4-FFF2-40B4-BE49-F238E27FC236}">
                      <a16:creationId xmlns:a16="http://schemas.microsoft.com/office/drawing/2014/main" id="{6127D307-7E0F-4711-9C3A-AE489A25EC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4636841" y="-10942306"/>
                  <a:ext cx="852965" cy="852965"/>
                </a:xfrm>
                <a:custGeom>
                  <a:avLst/>
                  <a:gdLst>
                    <a:gd name="T0" fmla="*/ 122 w 138"/>
                    <a:gd name="T1" fmla="*/ 17 h 138"/>
                    <a:gd name="T2" fmla="*/ 100 w 138"/>
                    <a:gd name="T3" fmla="*/ 6 h 138"/>
                    <a:gd name="T4" fmla="*/ 97 w 138"/>
                    <a:gd name="T5" fmla="*/ 22 h 138"/>
                    <a:gd name="T6" fmla="*/ 87 w 138"/>
                    <a:gd name="T7" fmla="*/ 29 h 138"/>
                    <a:gd name="T8" fmla="*/ 85 w 138"/>
                    <a:gd name="T9" fmla="*/ 40 h 138"/>
                    <a:gd name="T10" fmla="*/ 94 w 138"/>
                    <a:gd name="T11" fmla="*/ 38 h 138"/>
                    <a:gd name="T12" fmla="*/ 96 w 138"/>
                    <a:gd name="T13" fmla="*/ 31 h 138"/>
                    <a:gd name="T14" fmla="*/ 113 w 138"/>
                    <a:gd name="T15" fmla="*/ 32 h 138"/>
                    <a:gd name="T16" fmla="*/ 129 w 138"/>
                    <a:gd name="T17" fmla="*/ 23 h 138"/>
                    <a:gd name="T18" fmla="*/ 130 w 138"/>
                    <a:gd name="T19" fmla="*/ 15 h 138"/>
                    <a:gd name="T20" fmla="*/ 85 w 138"/>
                    <a:gd name="T21" fmla="*/ 58 h 138"/>
                    <a:gd name="T22" fmla="*/ 76 w 138"/>
                    <a:gd name="T23" fmla="*/ 77 h 138"/>
                    <a:gd name="T24" fmla="*/ 64 w 138"/>
                    <a:gd name="T25" fmla="*/ 80 h 138"/>
                    <a:gd name="T26" fmla="*/ 53 w 138"/>
                    <a:gd name="T27" fmla="*/ 94 h 138"/>
                    <a:gd name="T28" fmla="*/ 38 w 138"/>
                    <a:gd name="T29" fmla="*/ 97 h 138"/>
                    <a:gd name="T30" fmla="*/ 14 w 138"/>
                    <a:gd name="T31" fmla="*/ 107 h 138"/>
                    <a:gd name="T32" fmla="*/ 22 w 138"/>
                    <a:gd name="T33" fmla="*/ 110 h 138"/>
                    <a:gd name="T34" fmla="*/ 46 w 138"/>
                    <a:gd name="T35" fmla="*/ 112 h 138"/>
                    <a:gd name="T36" fmla="*/ 58 w 138"/>
                    <a:gd name="T37" fmla="*/ 106 h 138"/>
                    <a:gd name="T38" fmla="*/ 71 w 138"/>
                    <a:gd name="T39" fmla="*/ 104 h 138"/>
                    <a:gd name="T40" fmla="*/ 82 w 138"/>
                    <a:gd name="T41" fmla="*/ 100 h 138"/>
                    <a:gd name="T42" fmla="*/ 91 w 138"/>
                    <a:gd name="T43" fmla="*/ 87 h 138"/>
                    <a:gd name="T44" fmla="*/ 101 w 138"/>
                    <a:gd name="T45" fmla="*/ 66 h 138"/>
                    <a:gd name="T46" fmla="*/ 87 w 138"/>
                    <a:gd name="T47" fmla="*/ 47 h 138"/>
                    <a:gd name="T48" fmla="*/ 27 w 138"/>
                    <a:gd name="T49" fmla="*/ 111 h 138"/>
                    <a:gd name="T50" fmla="*/ 30 w 138"/>
                    <a:gd name="T51" fmla="*/ 120 h 138"/>
                    <a:gd name="T52" fmla="*/ 42 w 138"/>
                    <a:gd name="T53" fmla="*/ 110 h 138"/>
                    <a:gd name="T54" fmla="*/ 18 w 138"/>
                    <a:gd name="T55" fmla="*/ 119 h 138"/>
                    <a:gd name="T56" fmla="*/ 5 w 138"/>
                    <a:gd name="T57" fmla="*/ 116 h 138"/>
                    <a:gd name="T58" fmla="*/ 6 w 138"/>
                    <a:gd name="T59" fmla="*/ 119 h 138"/>
                    <a:gd name="T60" fmla="*/ 11 w 138"/>
                    <a:gd name="T61" fmla="*/ 137 h 138"/>
                    <a:gd name="T62" fmla="*/ 18 w 138"/>
                    <a:gd name="T63" fmla="*/ 119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38" h="138">
                      <a:moveTo>
                        <a:pt x="130" y="15"/>
                      </a:moveTo>
                      <a:cubicBezTo>
                        <a:pt x="129" y="13"/>
                        <a:pt x="126" y="16"/>
                        <a:pt x="122" y="17"/>
                      </a:cubicBezTo>
                      <a:cubicBezTo>
                        <a:pt x="119" y="17"/>
                        <a:pt x="108" y="8"/>
                        <a:pt x="105" y="4"/>
                      </a:cubicBezTo>
                      <a:cubicBezTo>
                        <a:pt x="102" y="0"/>
                        <a:pt x="97" y="3"/>
                        <a:pt x="100" y="6"/>
                      </a:cubicBezTo>
                      <a:cubicBezTo>
                        <a:pt x="102" y="9"/>
                        <a:pt x="99" y="10"/>
                        <a:pt x="99" y="15"/>
                      </a:cubicBezTo>
                      <a:cubicBezTo>
                        <a:pt x="99" y="19"/>
                        <a:pt x="96" y="19"/>
                        <a:pt x="97" y="22"/>
                      </a:cubicBezTo>
                      <a:cubicBezTo>
                        <a:pt x="97" y="25"/>
                        <a:pt x="93" y="24"/>
                        <a:pt x="90" y="25"/>
                      </a:cubicBezTo>
                      <a:cubicBezTo>
                        <a:pt x="87" y="25"/>
                        <a:pt x="90" y="28"/>
                        <a:pt x="87" y="29"/>
                      </a:cubicBezTo>
                      <a:cubicBezTo>
                        <a:pt x="84" y="31"/>
                        <a:pt x="84" y="33"/>
                        <a:pt x="85" y="34"/>
                      </a:cubicBezTo>
                      <a:cubicBezTo>
                        <a:pt x="87" y="35"/>
                        <a:pt x="86" y="38"/>
                        <a:pt x="85" y="40"/>
                      </a:cubicBezTo>
                      <a:cubicBezTo>
                        <a:pt x="85" y="42"/>
                        <a:pt x="88" y="41"/>
                        <a:pt x="90" y="39"/>
                      </a:cubicBezTo>
                      <a:cubicBezTo>
                        <a:pt x="91" y="36"/>
                        <a:pt x="93" y="40"/>
                        <a:pt x="94" y="38"/>
                      </a:cubicBezTo>
                      <a:cubicBezTo>
                        <a:pt x="94" y="35"/>
                        <a:pt x="89" y="34"/>
                        <a:pt x="89" y="32"/>
                      </a:cubicBezTo>
                      <a:cubicBezTo>
                        <a:pt x="89" y="29"/>
                        <a:pt x="93" y="32"/>
                        <a:pt x="96" y="31"/>
                      </a:cubicBezTo>
                      <a:cubicBezTo>
                        <a:pt x="99" y="30"/>
                        <a:pt x="104" y="31"/>
                        <a:pt x="108" y="34"/>
                      </a:cubicBezTo>
                      <a:cubicBezTo>
                        <a:pt x="111" y="37"/>
                        <a:pt x="112" y="36"/>
                        <a:pt x="113" y="32"/>
                      </a:cubicBezTo>
                      <a:cubicBezTo>
                        <a:pt x="114" y="28"/>
                        <a:pt x="119" y="26"/>
                        <a:pt x="125" y="26"/>
                      </a:cubicBezTo>
                      <a:cubicBezTo>
                        <a:pt x="130" y="26"/>
                        <a:pt x="131" y="24"/>
                        <a:pt x="129" y="23"/>
                      </a:cubicBezTo>
                      <a:cubicBezTo>
                        <a:pt x="127" y="21"/>
                        <a:pt x="138" y="15"/>
                        <a:pt x="138" y="13"/>
                      </a:cubicBezTo>
                      <a:cubicBezTo>
                        <a:pt x="138" y="11"/>
                        <a:pt x="132" y="17"/>
                        <a:pt x="130" y="15"/>
                      </a:cubicBezTo>
                      <a:close/>
                      <a:moveTo>
                        <a:pt x="87" y="47"/>
                      </a:moveTo>
                      <a:cubicBezTo>
                        <a:pt x="84" y="49"/>
                        <a:pt x="83" y="56"/>
                        <a:pt x="85" y="58"/>
                      </a:cubicBezTo>
                      <a:cubicBezTo>
                        <a:pt x="88" y="60"/>
                        <a:pt x="81" y="64"/>
                        <a:pt x="81" y="69"/>
                      </a:cubicBezTo>
                      <a:cubicBezTo>
                        <a:pt x="81" y="73"/>
                        <a:pt x="77" y="73"/>
                        <a:pt x="76" y="77"/>
                      </a:cubicBezTo>
                      <a:cubicBezTo>
                        <a:pt x="76" y="80"/>
                        <a:pt x="73" y="79"/>
                        <a:pt x="69" y="82"/>
                      </a:cubicBezTo>
                      <a:cubicBezTo>
                        <a:pt x="65" y="85"/>
                        <a:pt x="63" y="82"/>
                        <a:pt x="64" y="80"/>
                      </a:cubicBezTo>
                      <a:cubicBezTo>
                        <a:pt x="65" y="78"/>
                        <a:pt x="57" y="81"/>
                        <a:pt x="58" y="86"/>
                      </a:cubicBezTo>
                      <a:cubicBezTo>
                        <a:pt x="58" y="91"/>
                        <a:pt x="51" y="92"/>
                        <a:pt x="53" y="94"/>
                      </a:cubicBezTo>
                      <a:cubicBezTo>
                        <a:pt x="54" y="97"/>
                        <a:pt x="47" y="98"/>
                        <a:pt x="48" y="96"/>
                      </a:cubicBezTo>
                      <a:cubicBezTo>
                        <a:pt x="48" y="94"/>
                        <a:pt x="43" y="95"/>
                        <a:pt x="38" y="97"/>
                      </a:cubicBezTo>
                      <a:cubicBezTo>
                        <a:pt x="32" y="99"/>
                        <a:pt x="29" y="95"/>
                        <a:pt x="26" y="98"/>
                      </a:cubicBezTo>
                      <a:cubicBezTo>
                        <a:pt x="23" y="101"/>
                        <a:pt x="18" y="106"/>
                        <a:pt x="14" y="107"/>
                      </a:cubicBezTo>
                      <a:cubicBezTo>
                        <a:pt x="10" y="108"/>
                        <a:pt x="12" y="113"/>
                        <a:pt x="14" y="112"/>
                      </a:cubicBezTo>
                      <a:cubicBezTo>
                        <a:pt x="17" y="110"/>
                        <a:pt x="21" y="112"/>
                        <a:pt x="22" y="110"/>
                      </a:cubicBezTo>
                      <a:cubicBezTo>
                        <a:pt x="24" y="108"/>
                        <a:pt x="36" y="105"/>
                        <a:pt x="43" y="105"/>
                      </a:cubicBezTo>
                      <a:cubicBezTo>
                        <a:pt x="50" y="104"/>
                        <a:pt x="46" y="108"/>
                        <a:pt x="46" y="112"/>
                      </a:cubicBezTo>
                      <a:cubicBezTo>
                        <a:pt x="46" y="116"/>
                        <a:pt x="52" y="115"/>
                        <a:pt x="56" y="111"/>
                      </a:cubicBezTo>
                      <a:cubicBezTo>
                        <a:pt x="59" y="108"/>
                        <a:pt x="61" y="108"/>
                        <a:pt x="58" y="106"/>
                      </a:cubicBezTo>
                      <a:cubicBezTo>
                        <a:pt x="56" y="104"/>
                        <a:pt x="59" y="102"/>
                        <a:pt x="61" y="105"/>
                      </a:cubicBezTo>
                      <a:cubicBezTo>
                        <a:pt x="63" y="108"/>
                        <a:pt x="69" y="108"/>
                        <a:pt x="71" y="104"/>
                      </a:cubicBezTo>
                      <a:cubicBezTo>
                        <a:pt x="73" y="100"/>
                        <a:pt x="74" y="105"/>
                        <a:pt x="77" y="104"/>
                      </a:cubicBezTo>
                      <a:cubicBezTo>
                        <a:pt x="80" y="104"/>
                        <a:pt x="81" y="97"/>
                        <a:pt x="82" y="100"/>
                      </a:cubicBezTo>
                      <a:cubicBezTo>
                        <a:pt x="82" y="102"/>
                        <a:pt x="86" y="102"/>
                        <a:pt x="89" y="99"/>
                      </a:cubicBezTo>
                      <a:cubicBezTo>
                        <a:pt x="92" y="95"/>
                        <a:pt x="90" y="90"/>
                        <a:pt x="91" y="87"/>
                      </a:cubicBezTo>
                      <a:cubicBezTo>
                        <a:pt x="93" y="84"/>
                        <a:pt x="95" y="78"/>
                        <a:pt x="93" y="75"/>
                      </a:cubicBezTo>
                      <a:cubicBezTo>
                        <a:pt x="91" y="71"/>
                        <a:pt x="98" y="69"/>
                        <a:pt x="101" y="66"/>
                      </a:cubicBezTo>
                      <a:cubicBezTo>
                        <a:pt x="104" y="63"/>
                        <a:pt x="97" y="49"/>
                        <a:pt x="97" y="45"/>
                      </a:cubicBezTo>
                      <a:cubicBezTo>
                        <a:pt x="97" y="40"/>
                        <a:pt x="89" y="46"/>
                        <a:pt x="87" y="47"/>
                      </a:cubicBezTo>
                      <a:close/>
                      <a:moveTo>
                        <a:pt x="34" y="109"/>
                      </a:moveTo>
                      <a:cubicBezTo>
                        <a:pt x="33" y="112"/>
                        <a:pt x="31" y="111"/>
                        <a:pt x="27" y="111"/>
                      </a:cubicBezTo>
                      <a:cubicBezTo>
                        <a:pt x="23" y="112"/>
                        <a:pt x="23" y="121"/>
                        <a:pt x="26" y="122"/>
                      </a:cubicBezTo>
                      <a:cubicBezTo>
                        <a:pt x="28" y="123"/>
                        <a:pt x="29" y="123"/>
                        <a:pt x="30" y="120"/>
                      </a:cubicBezTo>
                      <a:cubicBezTo>
                        <a:pt x="31" y="117"/>
                        <a:pt x="35" y="116"/>
                        <a:pt x="37" y="117"/>
                      </a:cubicBezTo>
                      <a:cubicBezTo>
                        <a:pt x="39" y="119"/>
                        <a:pt x="42" y="114"/>
                        <a:pt x="42" y="110"/>
                      </a:cubicBezTo>
                      <a:cubicBezTo>
                        <a:pt x="42" y="107"/>
                        <a:pt x="35" y="107"/>
                        <a:pt x="34" y="109"/>
                      </a:cubicBezTo>
                      <a:close/>
                      <a:moveTo>
                        <a:pt x="18" y="119"/>
                      </a:moveTo>
                      <a:cubicBezTo>
                        <a:pt x="18" y="116"/>
                        <a:pt x="13" y="117"/>
                        <a:pt x="12" y="114"/>
                      </a:cubicBezTo>
                      <a:cubicBezTo>
                        <a:pt x="12" y="112"/>
                        <a:pt x="9" y="114"/>
                        <a:pt x="5" y="116"/>
                      </a:cubicBezTo>
                      <a:cubicBezTo>
                        <a:pt x="2" y="119"/>
                        <a:pt x="0" y="119"/>
                        <a:pt x="2" y="122"/>
                      </a:cubicBezTo>
                      <a:cubicBezTo>
                        <a:pt x="3" y="124"/>
                        <a:pt x="5" y="122"/>
                        <a:pt x="6" y="119"/>
                      </a:cubicBezTo>
                      <a:cubicBezTo>
                        <a:pt x="7" y="117"/>
                        <a:pt x="10" y="123"/>
                        <a:pt x="8" y="128"/>
                      </a:cubicBezTo>
                      <a:cubicBezTo>
                        <a:pt x="5" y="132"/>
                        <a:pt x="8" y="138"/>
                        <a:pt x="11" y="137"/>
                      </a:cubicBezTo>
                      <a:cubicBezTo>
                        <a:pt x="13" y="137"/>
                        <a:pt x="16" y="128"/>
                        <a:pt x="20" y="124"/>
                      </a:cubicBezTo>
                      <a:cubicBezTo>
                        <a:pt x="23" y="119"/>
                        <a:pt x="18" y="121"/>
                        <a:pt x="18" y="11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1" name="Freeform 134">
                  <a:extLst>
                    <a:ext uri="{FF2B5EF4-FFF2-40B4-BE49-F238E27FC236}">
                      <a16:creationId xmlns:a16="http://schemas.microsoft.com/office/drawing/2014/main" id="{FC52B464-2957-442C-90C2-0E82CFBEC90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7351407" y="-11457977"/>
                  <a:ext cx="2986998" cy="2065926"/>
                </a:xfrm>
                <a:custGeom>
                  <a:avLst/>
                  <a:gdLst>
                    <a:gd name="T0" fmla="*/ 459 w 483"/>
                    <a:gd name="T1" fmla="*/ 63 h 335"/>
                    <a:gd name="T2" fmla="*/ 435 w 483"/>
                    <a:gd name="T3" fmla="*/ 45 h 335"/>
                    <a:gd name="T4" fmla="*/ 416 w 483"/>
                    <a:gd name="T5" fmla="*/ 19 h 335"/>
                    <a:gd name="T6" fmla="*/ 388 w 483"/>
                    <a:gd name="T7" fmla="*/ 1 h 335"/>
                    <a:gd name="T8" fmla="*/ 369 w 483"/>
                    <a:gd name="T9" fmla="*/ 15 h 335"/>
                    <a:gd name="T10" fmla="*/ 353 w 483"/>
                    <a:gd name="T11" fmla="*/ 39 h 335"/>
                    <a:gd name="T12" fmla="*/ 329 w 483"/>
                    <a:gd name="T13" fmla="*/ 52 h 335"/>
                    <a:gd name="T14" fmla="*/ 344 w 483"/>
                    <a:gd name="T15" fmla="*/ 62 h 335"/>
                    <a:gd name="T16" fmla="*/ 343 w 483"/>
                    <a:gd name="T17" fmla="*/ 75 h 335"/>
                    <a:gd name="T18" fmla="*/ 301 w 483"/>
                    <a:gd name="T19" fmla="*/ 91 h 335"/>
                    <a:gd name="T20" fmla="*/ 271 w 483"/>
                    <a:gd name="T21" fmla="*/ 116 h 335"/>
                    <a:gd name="T22" fmla="*/ 224 w 483"/>
                    <a:gd name="T23" fmla="*/ 119 h 335"/>
                    <a:gd name="T24" fmla="*/ 172 w 483"/>
                    <a:gd name="T25" fmla="*/ 112 h 335"/>
                    <a:gd name="T26" fmla="*/ 150 w 483"/>
                    <a:gd name="T27" fmla="*/ 90 h 335"/>
                    <a:gd name="T28" fmla="*/ 129 w 483"/>
                    <a:gd name="T29" fmla="*/ 64 h 335"/>
                    <a:gd name="T30" fmla="*/ 109 w 483"/>
                    <a:gd name="T31" fmla="*/ 47 h 335"/>
                    <a:gd name="T32" fmla="*/ 98 w 483"/>
                    <a:gd name="T33" fmla="*/ 54 h 335"/>
                    <a:gd name="T34" fmla="*/ 79 w 483"/>
                    <a:gd name="T35" fmla="*/ 69 h 335"/>
                    <a:gd name="T36" fmla="*/ 63 w 483"/>
                    <a:gd name="T37" fmla="*/ 87 h 335"/>
                    <a:gd name="T38" fmla="*/ 55 w 483"/>
                    <a:gd name="T39" fmla="*/ 107 h 335"/>
                    <a:gd name="T40" fmla="*/ 37 w 483"/>
                    <a:gd name="T41" fmla="*/ 126 h 335"/>
                    <a:gd name="T42" fmla="*/ 14 w 483"/>
                    <a:gd name="T43" fmla="*/ 133 h 335"/>
                    <a:gd name="T44" fmla="*/ 0 w 483"/>
                    <a:gd name="T45" fmla="*/ 143 h 335"/>
                    <a:gd name="T46" fmla="*/ 10 w 483"/>
                    <a:gd name="T47" fmla="*/ 166 h 335"/>
                    <a:gd name="T48" fmla="*/ 28 w 483"/>
                    <a:gd name="T49" fmla="*/ 182 h 335"/>
                    <a:gd name="T50" fmla="*/ 42 w 483"/>
                    <a:gd name="T51" fmla="*/ 177 h 335"/>
                    <a:gd name="T52" fmla="*/ 40 w 483"/>
                    <a:gd name="T53" fmla="*/ 197 h 335"/>
                    <a:gd name="T54" fmla="*/ 40 w 483"/>
                    <a:gd name="T55" fmla="*/ 217 h 335"/>
                    <a:gd name="T56" fmla="*/ 55 w 483"/>
                    <a:gd name="T57" fmla="*/ 230 h 335"/>
                    <a:gd name="T58" fmla="*/ 98 w 483"/>
                    <a:gd name="T59" fmla="*/ 248 h 335"/>
                    <a:gd name="T60" fmla="*/ 116 w 483"/>
                    <a:gd name="T61" fmla="*/ 252 h 335"/>
                    <a:gd name="T62" fmla="*/ 130 w 483"/>
                    <a:gd name="T63" fmla="*/ 248 h 335"/>
                    <a:gd name="T64" fmla="*/ 149 w 483"/>
                    <a:gd name="T65" fmla="*/ 243 h 335"/>
                    <a:gd name="T66" fmla="*/ 173 w 483"/>
                    <a:gd name="T67" fmla="*/ 243 h 335"/>
                    <a:gd name="T68" fmla="*/ 186 w 483"/>
                    <a:gd name="T69" fmla="*/ 252 h 335"/>
                    <a:gd name="T70" fmla="*/ 182 w 483"/>
                    <a:gd name="T71" fmla="*/ 282 h 335"/>
                    <a:gd name="T72" fmla="*/ 195 w 483"/>
                    <a:gd name="T73" fmla="*/ 299 h 335"/>
                    <a:gd name="T74" fmla="*/ 212 w 483"/>
                    <a:gd name="T75" fmla="*/ 307 h 335"/>
                    <a:gd name="T76" fmla="*/ 225 w 483"/>
                    <a:gd name="T77" fmla="*/ 294 h 335"/>
                    <a:gd name="T78" fmla="*/ 251 w 483"/>
                    <a:gd name="T79" fmla="*/ 293 h 335"/>
                    <a:gd name="T80" fmla="*/ 267 w 483"/>
                    <a:gd name="T81" fmla="*/ 303 h 335"/>
                    <a:gd name="T82" fmla="*/ 280 w 483"/>
                    <a:gd name="T83" fmla="*/ 314 h 335"/>
                    <a:gd name="T84" fmla="*/ 317 w 483"/>
                    <a:gd name="T85" fmla="*/ 295 h 335"/>
                    <a:gd name="T86" fmla="*/ 345 w 483"/>
                    <a:gd name="T87" fmla="*/ 280 h 335"/>
                    <a:gd name="T88" fmla="*/ 359 w 483"/>
                    <a:gd name="T89" fmla="*/ 263 h 335"/>
                    <a:gd name="T90" fmla="*/ 373 w 483"/>
                    <a:gd name="T91" fmla="*/ 246 h 335"/>
                    <a:gd name="T92" fmla="*/ 376 w 483"/>
                    <a:gd name="T93" fmla="*/ 231 h 335"/>
                    <a:gd name="T94" fmla="*/ 372 w 483"/>
                    <a:gd name="T95" fmla="*/ 219 h 335"/>
                    <a:gd name="T96" fmla="*/ 370 w 483"/>
                    <a:gd name="T97" fmla="*/ 207 h 335"/>
                    <a:gd name="T98" fmla="*/ 360 w 483"/>
                    <a:gd name="T99" fmla="*/ 180 h 335"/>
                    <a:gd name="T100" fmla="*/ 382 w 483"/>
                    <a:gd name="T101" fmla="*/ 168 h 335"/>
                    <a:gd name="T102" fmla="*/ 354 w 483"/>
                    <a:gd name="T103" fmla="*/ 160 h 335"/>
                    <a:gd name="T104" fmla="*/ 365 w 483"/>
                    <a:gd name="T105" fmla="*/ 137 h 335"/>
                    <a:gd name="T106" fmla="*/ 378 w 483"/>
                    <a:gd name="T107" fmla="*/ 149 h 335"/>
                    <a:gd name="T108" fmla="*/ 414 w 483"/>
                    <a:gd name="T109" fmla="*/ 128 h 335"/>
                    <a:gd name="T110" fmla="*/ 432 w 483"/>
                    <a:gd name="T111" fmla="*/ 120 h 335"/>
                    <a:gd name="T112" fmla="*/ 452 w 483"/>
                    <a:gd name="T113" fmla="*/ 113 h 335"/>
                    <a:gd name="T114" fmla="*/ 454 w 483"/>
                    <a:gd name="T115" fmla="*/ 91 h 335"/>
                    <a:gd name="T116" fmla="*/ 476 w 483"/>
                    <a:gd name="T117" fmla="*/ 77 h 335"/>
                    <a:gd name="T118" fmla="*/ 368 w 483"/>
                    <a:gd name="T119" fmla="*/ 299 h 335"/>
                    <a:gd name="T120" fmla="*/ 271 w 483"/>
                    <a:gd name="T121" fmla="*/ 328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83" h="335">
                      <a:moveTo>
                        <a:pt x="480" y="60"/>
                      </a:moveTo>
                      <a:cubicBezTo>
                        <a:pt x="480" y="56"/>
                        <a:pt x="475" y="57"/>
                        <a:pt x="474" y="58"/>
                      </a:cubicBezTo>
                      <a:cubicBezTo>
                        <a:pt x="472" y="59"/>
                        <a:pt x="467" y="58"/>
                        <a:pt x="466" y="61"/>
                      </a:cubicBezTo>
                      <a:cubicBezTo>
                        <a:pt x="464" y="64"/>
                        <a:pt x="462" y="62"/>
                        <a:pt x="459" y="63"/>
                      </a:cubicBezTo>
                      <a:cubicBezTo>
                        <a:pt x="455" y="63"/>
                        <a:pt x="451" y="62"/>
                        <a:pt x="451" y="60"/>
                      </a:cubicBezTo>
                      <a:cubicBezTo>
                        <a:pt x="451" y="57"/>
                        <a:pt x="449" y="55"/>
                        <a:pt x="449" y="53"/>
                      </a:cubicBezTo>
                      <a:cubicBezTo>
                        <a:pt x="449" y="50"/>
                        <a:pt x="446" y="51"/>
                        <a:pt x="443" y="49"/>
                      </a:cubicBezTo>
                      <a:cubicBezTo>
                        <a:pt x="441" y="47"/>
                        <a:pt x="436" y="45"/>
                        <a:pt x="435" y="45"/>
                      </a:cubicBezTo>
                      <a:cubicBezTo>
                        <a:pt x="434" y="46"/>
                        <a:pt x="432" y="43"/>
                        <a:pt x="427" y="42"/>
                      </a:cubicBezTo>
                      <a:cubicBezTo>
                        <a:pt x="423" y="42"/>
                        <a:pt x="424" y="40"/>
                        <a:pt x="424" y="38"/>
                      </a:cubicBezTo>
                      <a:cubicBezTo>
                        <a:pt x="425" y="36"/>
                        <a:pt x="421" y="31"/>
                        <a:pt x="420" y="28"/>
                      </a:cubicBezTo>
                      <a:cubicBezTo>
                        <a:pt x="420" y="25"/>
                        <a:pt x="417" y="25"/>
                        <a:pt x="416" y="19"/>
                      </a:cubicBezTo>
                      <a:cubicBezTo>
                        <a:pt x="414" y="13"/>
                        <a:pt x="411" y="14"/>
                        <a:pt x="412" y="11"/>
                      </a:cubicBezTo>
                      <a:cubicBezTo>
                        <a:pt x="412" y="8"/>
                        <a:pt x="408" y="7"/>
                        <a:pt x="407" y="5"/>
                      </a:cubicBezTo>
                      <a:cubicBezTo>
                        <a:pt x="405" y="4"/>
                        <a:pt x="400" y="4"/>
                        <a:pt x="397" y="3"/>
                      </a:cubicBezTo>
                      <a:cubicBezTo>
                        <a:pt x="393" y="1"/>
                        <a:pt x="391" y="2"/>
                        <a:pt x="388" y="1"/>
                      </a:cubicBezTo>
                      <a:cubicBezTo>
                        <a:pt x="384" y="0"/>
                        <a:pt x="377" y="2"/>
                        <a:pt x="376" y="2"/>
                      </a:cubicBezTo>
                      <a:cubicBezTo>
                        <a:pt x="375" y="2"/>
                        <a:pt x="369" y="1"/>
                        <a:pt x="366" y="5"/>
                      </a:cubicBezTo>
                      <a:cubicBezTo>
                        <a:pt x="362" y="10"/>
                        <a:pt x="365" y="10"/>
                        <a:pt x="366" y="10"/>
                      </a:cubicBezTo>
                      <a:cubicBezTo>
                        <a:pt x="368" y="10"/>
                        <a:pt x="369" y="14"/>
                        <a:pt x="369" y="15"/>
                      </a:cubicBezTo>
                      <a:cubicBezTo>
                        <a:pt x="369" y="17"/>
                        <a:pt x="366" y="19"/>
                        <a:pt x="365" y="19"/>
                      </a:cubicBezTo>
                      <a:cubicBezTo>
                        <a:pt x="364" y="20"/>
                        <a:pt x="361" y="25"/>
                        <a:pt x="360" y="27"/>
                      </a:cubicBezTo>
                      <a:cubicBezTo>
                        <a:pt x="360" y="29"/>
                        <a:pt x="356" y="34"/>
                        <a:pt x="356" y="35"/>
                      </a:cubicBezTo>
                      <a:cubicBezTo>
                        <a:pt x="357" y="37"/>
                        <a:pt x="354" y="39"/>
                        <a:pt x="353" y="39"/>
                      </a:cubicBezTo>
                      <a:cubicBezTo>
                        <a:pt x="351" y="39"/>
                        <a:pt x="347" y="42"/>
                        <a:pt x="345" y="43"/>
                      </a:cubicBezTo>
                      <a:cubicBezTo>
                        <a:pt x="344" y="43"/>
                        <a:pt x="338" y="42"/>
                        <a:pt x="337" y="41"/>
                      </a:cubicBezTo>
                      <a:cubicBezTo>
                        <a:pt x="337" y="40"/>
                        <a:pt x="336" y="40"/>
                        <a:pt x="336" y="39"/>
                      </a:cubicBezTo>
                      <a:cubicBezTo>
                        <a:pt x="329" y="52"/>
                        <a:pt x="329" y="52"/>
                        <a:pt x="329" y="52"/>
                      </a:cubicBezTo>
                      <a:cubicBezTo>
                        <a:pt x="329" y="56"/>
                        <a:pt x="329" y="56"/>
                        <a:pt x="329" y="56"/>
                      </a:cubicBezTo>
                      <a:cubicBezTo>
                        <a:pt x="329" y="56"/>
                        <a:pt x="324" y="58"/>
                        <a:pt x="328" y="61"/>
                      </a:cubicBezTo>
                      <a:cubicBezTo>
                        <a:pt x="331" y="64"/>
                        <a:pt x="331" y="61"/>
                        <a:pt x="336" y="61"/>
                      </a:cubicBezTo>
                      <a:cubicBezTo>
                        <a:pt x="341" y="61"/>
                        <a:pt x="343" y="65"/>
                        <a:pt x="344" y="62"/>
                      </a:cubicBezTo>
                      <a:cubicBezTo>
                        <a:pt x="345" y="60"/>
                        <a:pt x="349" y="58"/>
                        <a:pt x="351" y="61"/>
                      </a:cubicBezTo>
                      <a:cubicBezTo>
                        <a:pt x="354" y="64"/>
                        <a:pt x="362" y="69"/>
                        <a:pt x="362" y="72"/>
                      </a:cubicBezTo>
                      <a:cubicBezTo>
                        <a:pt x="361" y="75"/>
                        <a:pt x="357" y="74"/>
                        <a:pt x="353" y="73"/>
                      </a:cubicBezTo>
                      <a:cubicBezTo>
                        <a:pt x="350" y="72"/>
                        <a:pt x="346" y="75"/>
                        <a:pt x="343" y="75"/>
                      </a:cubicBezTo>
                      <a:cubicBezTo>
                        <a:pt x="340" y="75"/>
                        <a:pt x="336" y="76"/>
                        <a:pt x="333" y="79"/>
                      </a:cubicBezTo>
                      <a:cubicBezTo>
                        <a:pt x="330" y="82"/>
                        <a:pt x="331" y="85"/>
                        <a:pt x="326" y="86"/>
                      </a:cubicBezTo>
                      <a:cubicBezTo>
                        <a:pt x="321" y="87"/>
                        <a:pt x="319" y="86"/>
                        <a:pt x="314" y="90"/>
                      </a:cubicBezTo>
                      <a:cubicBezTo>
                        <a:pt x="309" y="93"/>
                        <a:pt x="303" y="92"/>
                        <a:pt x="301" y="91"/>
                      </a:cubicBezTo>
                      <a:cubicBezTo>
                        <a:pt x="299" y="90"/>
                        <a:pt x="295" y="89"/>
                        <a:pt x="293" y="93"/>
                      </a:cubicBezTo>
                      <a:cubicBezTo>
                        <a:pt x="291" y="96"/>
                        <a:pt x="296" y="98"/>
                        <a:pt x="295" y="102"/>
                      </a:cubicBezTo>
                      <a:cubicBezTo>
                        <a:pt x="295" y="106"/>
                        <a:pt x="290" y="105"/>
                        <a:pt x="286" y="110"/>
                      </a:cubicBezTo>
                      <a:cubicBezTo>
                        <a:pt x="281" y="115"/>
                        <a:pt x="275" y="117"/>
                        <a:pt x="271" y="116"/>
                      </a:cubicBezTo>
                      <a:cubicBezTo>
                        <a:pt x="267" y="116"/>
                        <a:pt x="260" y="113"/>
                        <a:pt x="253" y="117"/>
                      </a:cubicBezTo>
                      <a:cubicBezTo>
                        <a:pt x="246" y="120"/>
                        <a:pt x="242" y="124"/>
                        <a:pt x="239" y="124"/>
                      </a:cubicBezTo>
                      <a:cubicBezTo>
                        <a:pt x="236" y="123"/>
                        <a:pt x="236" y="120"/>
                        <a:pt x="233" y="121"/>
                      </a:cubicBezTo>
                      <a:cubicBezTo>
                        <a:pt x="229" y="121"/>
                        <a:pt x="227" y="120"/>
                        <a:pt x="224" y="119"/>
                      </a:cubicBezTo>
                      <a:cubicBezTo>
                        <a:pt x="222" y="117"/>
                        <a:pt x="220" y="120"/>
                        <a:pt x="216" y="117"/>
                      </a:cubicBezTo>
                      <a:cubicBezTo>
                        <a:pt x="212" y="113"/>
                        <a:pt x="204" y="114"/>
                        <a:pt x="201" y="113"/>
                      </a:cubicBezTo>
                      <a:cubicBezTo>
                        <a:pt x="198" y="113"/>
                        <a:pt x="186" y="113"/>
                        <a:pt x="182" y="113"/>
                      </a:cubicBezTo>
                      <a:cubicBezTo>
                        <a:pt x="178" y="112"/>
                        <a:pt x="172" y="114"/>
                        <a:pt x="172" y="112"/>
                      </a:cubicBezTo>
                      <a:cubicBezTo>
                        <a:pt x="171" y="110"/>
                        <a:pt x="168" y="108"/>
                        <a:pt x="167" y="104"/>
                      </a:cubicBezTo>
                      <a:cubicBezTo>
                        <a:pt x="166" y="99"/>
                        <a:pt x="163" y="97"/>
                        <a:pt x="161" y="97"/>
                      </a:cubicBezTo>
                      <a:cubicBezTo>
                        <a:pt x="158" y="96"/>
                        <a:pt x="158" y="94"/>
                        <a:pt x="156" y="93"/>
                      </a:cubicBezTo>
                      <a:cubicBezTo>
                        <a:pt x="154" y="93"/>
                        <a:pt x="153" y="90"/>
                        <a:pt x="150" y="90"/>
                      </a:cubicBezTo>
                      <a:cubicBezTo>
                        <a:pt x="146" y="90"/>
                        <a:pt x="133" y="88"/>
                        <a:pt x="131" y="85"/>
                      </a:cubicBezTo>
                      <a:cubicBezTo>
                        <a:pt x="130" y="82"/>
                        <a:pt x="133" y="82"/>
                        <a:pt x="133" y="79"/>
                      </a:cubicBezTo>
                      <a:cubicBezTo>
                        <a:pt x="133" y="76"/>
                        <a:pt x="135" y="72"/>
                        <a:pt x="134" y="71"/>
                      </a:cubicBezTo>
                      <a:cubicBezTo>
                        <a:pt x="132" y="69"/>
                        <a:pt x="130" y="67"/>
                        <a:pt x="129" y="64"/>
                      </a:cubicBezTo>
                      <a:cubicBezTo>
                        <a:pt x="129" y="62"/>
                        <a:pt x="125" y="59"/>
                        <a:pt x="123" y="59"/>
                      </a:cubicBezTo>
                      <a:cubicBezTo>
                        <a:pt x="120" y="59"/>
                        <a:pt x="118" y="57"/>
                        <a:pt x="115" y="55"/>
                      </a:cubicBezTo>
                      <a:cubicBezTo>
                        <a:pt x="113" y="53"/>
                        <a:pt x="111" y="53"/>
                        <a:pt x="110" y="47"/>
                      </a:cubicBezTo>
                      <a:cubicBezTo>
                        <a:pt x="109" y="47"/>
                        <a:pt x="109" y="47"/>
                        <a:pt x="109" y="47"/>
                      </a:cubicBezTo>
                      <a:cubicBezTo>
                        <a:pt x="108" y="46"/>
                        <a:pt x="107" y="46"/>
                        <a:pt x="106" y="46"/>
                      </a:cubicBezTo>
                      <a:cubicBezTo>
                        <a:pt x="106" y="46"/>
                        <a:pt x="105" y="46"/>
                        <a:pt x="104" y="45"/>
                      </a:cubicBezTo>
                      <a:cubicBezTo>
                        <a:pt x="103" y="47"/>
                        <a:pt x="101" y="48"/>
                        <a:pt x="101" y="50"/>
                      </a:cubicBezTo>
                      <a:cubicBezTo>
                        <a:pt x="101" y="52"/>
                        <a:pt x="100" y="54"/>
                        <a:pt x="98" y="54"/>
                      </a:cubicBezTo>
                      <a:cubicBezTo>
                        <a:pt x="95" y="54"/>
                        <a:pt x="93" y="56"/>
                        <a:pt x="93" y="60"/>
                      </a:cubicBezTo>
                      <a:cubicBezTo>
                        <a:pt x="92" y="65"/>
                        <a:pt x="95" y="65"/>
                        <a:pt x="94" y="67"/>
                      </a:cubicBezTo>
                      <a:cubicBezTo>
                        <a:pt x="93" y="69"/>
                        <a:pt x="88" y="71"/>
                        <a:pt x="86" y="70"/>
                      </a:cubicBezTo>
                      <a:cubicBezTo>
                        <a:pt x="85" y="69"/>
                        <a:pt x="81" y="69"/>
                        <a:pt x="79" y="69"/>
                      </a:cubicBezTo>
                      <a:cubicBezTo>
                        <a:pt x="76" y="69"/>
                        <a:pt x="74" y="65"/>
                        <a:pt x="73" y="69"/>
                      </a:cubicBezTo>
                      <a:cubicBezTo>
                        <a:pt x="73" y="73"/>
                        <a:pt x="67" y="83"/>
                        <a:pt x="68" y="85"/>
                      </a:cubicBezTo>
                      <a:cubicBezTo>
                        <a:pt x="70" y="86"/>
                        <a:pt x="71" y="88"/>
                        <a:pt x="68" y="88"/>
                      </a:cubicBezTo>
                      <a:cubicBezTo>
                        <a:pt x="66" y="88"/>
                        <a:pt x="64" y="88"/>
                        <a:pt x="63" y="87"/>
                      </a:cubicBezTo>
                      <a:cubicBezTo>
                        <a:pt x="61" y="86"/>
                        <a:pt x="58" y="88"/>
                        <a:pt x="55" y="88"/>
                      </a:cubicBezTo>
                      <a:cubicBezTo>
                        <a:pt x="54" y="88"/>
                        <a:pt x="49" y="91"/>
                        <a:pt x="50" y="91"/>
                      </a:cubicBezTo>
                      <a:cubicBezTo>
                        <a:pt x="52" y="92"/>
                        <a:pt x="52" y="97"/>
                        <a:pt x="52" y="98"/>
                      </a:cubicBezTo>
                      <a:cubicBezTo>
                        <a:pt x="52" y="100"/>
                        <a:pt x="56" y="106"/>
                        <a:pt x="55" y="107"/>
                      </a:cubicBezTo>
                      <a:cubicBezTo>
                        <a:pt x="55" y="109"/>
                        <a:pt x="51" y="111"/>
                        <a:pt x="51" y="113"/>
                      </a:cubicBezTo>
                      <a:cubicBezTo>
                        <a:pt x="51" y="116"/>
                        <a:pt x="52" y="118"/>
                        <a:pt x="51" y="118"/>
                      </a:cubicBezTo>
                      <a:cubicBezTo>
                        <a:pt x="49" y="119"/>
                        <a:pt x="45" y="121"/>
                        <a:pt x="43" y="122"/>
                      </a:cubicBezTo>
                      <a:cubicBezTo>
                        <a:pt x="42" y="123"/>
                        <a:pt x="38" y="123"/>
                        <a:pt x="37" y="126"/>
                      </a:cubicBezTo>
                      <a:cubicBezTo>
                        <a:pt x="36" y="128"/>
                        <a:pt x="35" y="130"/>
                        <a:pt x="31" y="129"/>
                      </a:cubicBezTo>
                      <a:cubicBezTo>
                        <a:pt x="28" y="129"/>
                        <a:pt x="26" y="128"/>
                        <a:pt x="24" y="131"/>
                      </a:cubicBezTo>
                      <a:cubicBezTo>
                        <a:pt x="21" y="134"/>
                        <a:pt x="20" y="133"/>
                        <a:pt x="19" y="134"/>
                      </a:cubicBezTo>
                      <a:cubicBezTo>
                        <a:pt x="17" y="136"/>
                        <a:pt x="15" y="133"/>
                        <a:pt x="14" y="133"/>
                      </a:cubicBezTo>
                      <a:cubicBezTo>
                        <a:pt x="12" y="132"/>
                        <a:pt x="10" y="134"/>
                        <a:pt x="9" y="134"/>
                      </a:cubicBezTo>
                      <a:cubicBezTo>
                        <a:pt x="7" y="134"/>
                        <a:pt x="6" y="137"/>
                        <a:pt x="4" y="137"/>
                      </a:cubicBezTo>
                      <a:cubicBezTo>
                        <a:pt x="3" y="138"/>
                        <a:pt x="1" y="137"/>
                        <a:pt x="1" y="139"/>
                      </a:cubicBezTo>
                      <a:cubicBezTo>
                        <a:pt x="1" y="141"/>
                        <a:pt x="1" y="142"/>
                        <a:pt x="0" y="143"/>
                      </a:cubicBezTo>
                      <a:cubicBezTo>
                        <a:pt x="0" y="143"/>
                        <a:pt x="0" y="143"/>
                        <a:pt x="0" y="143"/>
                      </a:cubicBezTo>
                      <a:cubicBezTo>
                        <a:pt x="1" y="150"/>
                        <a:pt x="1" y="150"/>
                        <a:pt x="1" y="150"/>
                      </a:cubicBezTo>
                      <a:cubicBezTo>
                        <a:pt x="1" y="150"/>
                        <a:pt x="8" y="153"/>
                        <a:pt x="9" y="155"/>
                      </a:cubicBezTo>
                      <a:cubicBezTo>
                        <a:pt x="9" y="158"/>
                        <a:pt x="10" y="166"/>
                        <a:pt x="10" y="166"/>
                      </a:cubicBezTo>
                      <a:cubicBezTo>
                        <a:pt x="10" y="166"/>
                        <a:pt x="10" y="166"/>
                        <a:pt x="10" y="166"/>
                      </a:cubicBezTo>
                      <a:cubicBezTo>
                        <a:pt x="13" y="169"/>
                        <a:pt x="17" y="171"/>
                        <a:pt x="17" y="172"/>
                      </a:cubicBezTo>
                      <a:cubicBezTo>
                        <a:pt x="17" y="173"/>
                        <a:pt x="18" y="177"/>
                        <a:pt x="22" y="178"/>
                      </a:cubicBezTo>
                      <a:cubicBezTo>
                        <a:pt x="24" y="179"/>
                        <a:pt x="26" y="181"/>
                        <a:pt x="28" y="182"/>
                      </a:cubicBezTo>
                      <a:cubicBezTo>
                        <a:pt x="28" y="181"/>
                        <a:pt x="28" y="181"/>
                        <a:pt x="28" y="181"/>
                      </a:cubicBezTo>
                      <a:cubicBezTo>
                        <a:pt x="31" y="181"/>
                        <a:pt x="31" y="181"/>
                        <a:pt x="31" y="181"/>
                      </a:cubicBezTo>
                      <a:cubicBezTo>
                        <a:pt x="31" y="181"/>
                        <a:pt x="32" y="181"/>
                        <a:pt x="33" y="182"/>
                      </a:cubicBezTo>
                      <a:cubicBezTo>
                        <a:pt x="34" y="180"/>
                        <a:pt x="39" y="177"/>
                        <a:pt x="42" y="177"/>
                      </a:cubicBezTo>
                      <a:cubicBezTo>
                        <a:pt x="45" y="177"/>
                        <a:pt x="52" y="183"/>
                        <a:pt x="52" y="185"/>
                      </a:cubicBezTo>
                      <a:cubicBezTo>
                        <a:pt x="51" y="187"/>
                        <a:pt x="46" y="194"/>
                        <a:pt x="43" y="194"/>
                      </a:cubicBezTo>
                      <a:cubicBezTo>
                        <a:pt x="43" y="194"/>
                        <a:pt x="41" y="194"/>
                        <a:pt x="40" y="195"/>
                      </a:cubicBezTo>
                      <a:cubicBezTo>
                        <a:pt x="40" y="196"/>
                        <a:pt x="40" y="197"/>
                        <a:pt x="40" y="197"/>
                      </a:cubicBezTo>
                      <a:cubicBezTo>
                        <a:pt x="40" y="199"/>
                        <a:pt x="42" y="202"/>
                        <a:pt x="44" y="204"/>
                      </a:cubicBezTo>
                      <a:cubicBezTo>
                        <a:pt x="46" y="207"/>
                        <a:pt x="41" y="209"/>
                        <a:pt x="39" y="207"/>
                      </a:cubicBezTo>
                      <a:cubicBezTo>
                        <a:pt x="37" y="205"/>
                        <a:pt x="36" y="209"/>
                        <a:pt x="37" y="211"/>
                      </a:cubicBezTo>
                      <a:cubicBezTo>
                        <a:pt x="39" y="212"/>
                        <a:pt x="38" y="217"/>
                        <a:pt x="40" y="217"/>
                      </a:cubicBezTo>
                      <a:cubicBezTo>
                        <a:pt x="42" y="217"/>
                        <a:pt x="44" y="222"/>
                        <a:pt x="47" y="222"/>
                      </a:cubicBezTo>
                      <a:cubicBezTo>
                        <a:pt x="49" y="222"/>
                        <a:pt x="52" y="226"/>
                        <a:pt x="52" y="226"/>
                      </a:cubicBezTo>
                      <a:cubicBezTo>
                        <a:pt x="52" y="226"/>
                        <a:pt x="55" y="228"/>
                        <a:pt x="55" y="229"/>
                      </a:cubicBezTo>
                      <a:cubicBezTo>
                        <a:pt x="55" y="230"/>
                        <a:pt x="55" y="230"/>
                        <a:pt x="55" y="230"/>
                      </a:cubicBezTo>
                      <a:cubicBezTo>
                        <a:pt x="58" y="230"/>
                        <a:pt x="60" y="230"/>
                        <a:pt x="60" y="228"/>
                      </a:cubicBezTo>
                      <a:cubicBezTo>
                        <a:pt x="60" y="227"/>
                        <a:pt x="64" y="227"/>
                        <a:pt x="66" y="230"/>
                      </a:cubicBezTo>
                      <a:cubicBezTo>
                        <a:pt x="69" y="232"/>
                        <a:pt x="79" y="239"/>
                        <a:pt x="83" y="242"/>
                      </a:cubicBezTo>
                      <a:cubicBezTo>
                        <a:pt x="86" y="245"/>
                        <a:pt x="95" y="248"/>
                        <a:pt x="98" y="248"/>
                      </a:cubicBezTo>
                      <a:cubicBezTo>
                        <a:pt x="101" y="248"/>
                        <a:pt x="104" y="250"/>
                        <a:pt x="109" y="250"/>
                      </a:cubicBezTo>
                      <a:cubicBezTo>
                        <a:pt x="109" y="250"/>
                        <a:pt x="110" y="250"/>
                        <a:pt x="111" y="250"/>
                      </a:cubicBezTo>
                      <a:cubicBezTo>
                        <a:pt x="111" y="249"/>
                        <a:pt x="112" y="249"/>
                        <a:pt x="113" y="248"/>
                      </a:cubicBezTo>
                      <a:cubicBezTo>
                        <a:pt x="115" y="246"/>
                        <a:pt x="116" y="249"/>
                        <a:pt x="116" y="252"/>
                      </a:cubicBezTo>
                      <a:cubicBezTo>
                        <a:pt x="115" y="253"/>
                        <a:pt x="116" y="255"/>
                        <a:pt x="116" y="256"/>
                      </a:cubicBezTo>
                      <a:cubicBezTo>
                        <a:pt x="117" y="255"/>
                        <a:pt x="118" y="253"/>
                        <a:pt x="118" y="252"/>
                      </a:cubicBezTo>
                      <a:cubicBezTo>
                        <a:pt x="120" y="248"/>
                        <a:pt x="122" y="248"/>
                        <a:pt x="124" y="247"/>
                      </a:cubicBezTo>
                      <a:cubicBezTo>
                        <a:pt x="125" y="246"/>
                        <a:pt x="127" y="246"/>
                        <a:pt x="130" y="248"/>
                      </a:cubicBezTo>
                      <a:cubicBezTo>
                        <a:pt x="134" y="250"/>
                        <a:pt x="135" y="246"/>
                        <a:pt x="140" y="251"/>
                      </a:cubicBezTo>
                      <a:cubicBezTo>
                        <a:pt x="141" y="250"/>
                        <a:pt x="142" y="250"/>
                        <a:pt x="142" y="250"/>
                      </a:cubicBezTo>
                      <a:cubicBezTo>
                        <a:pt x="143" y="250"/>
                        <a:pt x="145" y="248"/>
                        <a:pt x="146" y="246"/>
                      </a:cubicBezTo>
                      <a:cubicBezTo>
                        <a:pt x="148" y="245"/>
                        <a:pt x="148" y="243"/>
                        <a:pt x="149" y="243"/>
                      </a:cubicBezTo>
                      <a:cubicBezTo>
                        <a:pt x="151" y="243"/>
                        <a:pt x="152" y="241"/>
                        <a:pt x="156" y="239"/>
                      </a:cubicBezTo>
                      <a:cubicBezTo>
                        <a:pt x="161" y="236"/>
                        <a:pt x="164" y="240"/>
                        <a:pt x="166" y="238"/>
                      </a:cubicBezTo>
                      <a:cubicBezTo>
                        <a:pt x="168" y="237"/>
                        <a:pt x="170" y="236"/>
                        <a:pt x="170" y="238"/>
                      </a:cubicBezTo>
                      <a:cubicBezTo>
                        <a:pt x="170" y="239"/>
                        <a:pt x="173" y="241"/>
                        <a:pt x="173" y="243"/>
                      </a:cubicBezTo>
                      <a:cubicBezTo>
                        <a:pt x="174" y="245"/>
                        <a:pt x="177" y="246"/>
                        <a:pt x="178" y="246"/>
                      </a:cubicBezTo>
                      <a:cubicBezTo>
                        <a:pt x="178" y="245"/>
                        <a:pt x="179" y="245"/>
                        <a:pt x="179" y="245"/>
                      </a:cubicBezTo>
                      <a:cubicBezTo>
                        <a:pt x="181" y="243"/>
                        <a:pt x="185" y="245"/>
                        <a:pt x="185" y="247"/>
                      </a:cubicBezTo>
                      <a:cubicBezTo>
                        <a:pt x="185" y="249"/>
                        <a:pt x="185" y="252"/>
                        <a:pt x="186" y="252"/>
                      </a:cubicBezTo>
                      <a:cubicBezTo>
                        <a:pt x="188" y="252"/>
                        <a:pt x="190" y="252"/>
                        <a:pt x="190" y="256"/>
                      </a:cubicBezTo>
                      <a:cubicBezTo>
                        <a:pt x="190" y="259"/>
                        <a:pt x="191" y="264"/>
                        <a:pt x="188" y="267"/>
                      </a:cubicBezTo>
                      <a:cubicBezTo>
                        <a:pt x="184" y="271"/>
                        <a:pt x="180" y="277"/>
                        <a:pt x="181" y="279"/>
                      </a:cubicBezTo>
                      <a:cubicBezTo>
                        <a:pt x="182" y="280"/>
                        <a:pt x="180" y="284"/>
                        <a:pt x="182" y="282"/>
                      </a:cubicBezTo>
                      <a:cubicBezTo>
                        <a:pt x="185" y="281"/>
                        <a:pt x="191" y="282"/>
                        <a:pt x="190" y="284"/>
                      </a:cubicBezTo>
                      <a:cubicBezTo>
                        <a:pt x="189" y="285"/>
                        <a:pt x="190" y="290"/>
                        <a:pt x="192" y="290"/>
                      </a:cubicBezTo>
                      <a:cubicBezTo>
                        <a:pt x="195" y="291"/>
                        <a:pt x="196" y="292"/>
                        <a:pt x="195" y="294"/>
                      </a:cubicBezTo>
                      <a:cubicBezTo>
                        <a:pt x="195" y="296"/>
                        <a:pt x="193" y="299"/>
                        <a:pt x="195" y="299"/>
                      </a:cubicBezTo>
                      <a:cubicBezTo>
                        <a:pt x="197" y="299"/>
                        <a:pt x="200" y="299"/>
                        <a:pt x="200" y="302"/>
                      </a:cubicBezTo>
                      <a:cubicBezTo>
                        <a:pt x="199" y="304"/>
                        <a:pt x="201" y="306"/>
                        <a:pt x="205" y="304"/>
                      </a:cubicBezTo>
                      <a:cubicBezTo>
                        <a:pt x="207" y="303"/>
                        <a:pt x="208" y="303"/>
                        <a:pt x="208" y="303"/>
                      </a:cubicBezTo>
                      <a:cubicBezTo>
                        <a:pt x="210" y="303"/>
                        <a:pt x="210" y="307"/>
                        <a:pt x="212" y="307"/>
                      </a:cubicBezTo>
                      <a:cubicBezTo>
                        <a:pt x="215" y="308"/>
                        <a:pt x="214" y="302"/>
                        <a:pt x="213" y="301"/>
                      </a:cubicBezTo>
                      <a:cubicBezTo>
                        <a:pt x="212" y="300"/>
                        <a:pt x="213" y="296"/>
                        <a:pt x="214" y="297"/>
                      </a:cubicBezTo>
                      <a:cubicBezTo>
                        <a:pt x="215" y="298"/>
                        <a:pt x="218" y="297"/>
                        <a:pt x="219" y="295"/>
                      </a:cubicBezTo>
                      <a:cubicBezTo>
                        <a:pt x="221" y="293"/>
                        <a:pt x="224" y="296"/>
                        <a:pt x="225" y="294"/>
                      </a:cubicBezTo>
                      <a:cubicBezTo>
                        <a:pt x="227" y="292"/>
                        <a:pt x="229" y="296"/>
                        <a:pt x="232" y="294"/>
                      </a:cubicBezTo>
                      <a:cubicBezTo>
                        <a:pt x="235" y="293"/>
                        <a:pt x="236" y="296"/>
                        <a:pt x="238" y="293"/>
                      </a:cubicBezTo>
                      <a:cubicBezTo>
                        <a:pt x="239" y="291"/>
                        <a:pt x="243" y="288"/>
                        <a:pt x="244" y="289"/>
                      </a:cubicBezTo>
                      <a:cubicBezTo>
                        <a:pt x="245" y="290"/>
                        <a:pt x="246" y="292"/>
                        <a:pt x="251" y="293"/>
                      </a:cubicBezTo>
                      <a:cubicBezTo>
                        <a:pt x="256" y="293"/>
                        <a:pt x="253" y="296"/>
                        <a:pt x="253" y="297"/>
                      </a:cubicBezTo>
                      <a:cubicBezTo>
                        <a:pt x="253" y="299"/>
                        <a:pt x="259" y="303"/>
                        <a:pt x="261" y="303"/>
                      </a:cubicBezTo>
                      <a:cubicBezTo>
                        <a:pt x="261" y="304"/>
                        <a:pt x="262" y="304"/>
                        <a:pt x="263" y="305"/>
                      </a:cubicBezTo>
                      <a:cubicBezTo>
                        <a:pt x="264" y="304"/>
                        <a:pt x="267" y="305"/>
                        <a:pt x="267" y="303"/>
                      </a:cubicBezTo>
                      <a:cubicBezTo>
                        <a:pt x="268" y="301"/>
                        <a:pt x="271" y="302"/>
                        <a:pt x="272" y="304"/>
                      </a:cubicBezTo>
                      <a:cubicBezTo>
                        <a:pt x="273" y="305"/>
                        <a:pt x="274" y="306"/>
                        <a:pt x="276" y="304"/>
                      </a:cubicBezTo>
                      <a:cubicBezTo>
                        <a:pt x="279" y="302"/>
                        <a:pt x="280" y="306"/>
                        <a:pt x="279" y="307"/>
                      </a:cubicBezTo>
                      <a:cubicBezTo>
                        <a:pt x="277" y="308"/>
                        <a:pt x="278" y="312"/>
                        <a:pt x="280" y="314"/>
                      </a:cubicBezTo>
                      <a:cubicBezTo>
                        <a:pt x="283" y="316"/>
                        <a:pt x="283" y="313"/>
                        <a:pt x="283" y="311"/>
                      </a:cubicBezTo>
                      <a:cubicBezTo>
                        <a:pt x="282" y="308"/>
                        <a:pt x="286" y="306"/>
                        <a:pt x="294" y="304"/>
                      </a:cubicBezTo>
                      <a:cubicBezTo>
                        <a:pt x="301" y="301"/>
                        <a:pt x="309" y="296"/>
                        <a:pt x="310" y="295"/>
                      </a:cubicBezTo>
                      <a:cubicBezTo>
                        <a:pt x="310" y="293"/>
                        <a:pt x="315" y="297"/>
                        <a:pt x="317" y="295"/>
                      </a:cubicBezTo>
                      <a:cubicBezTo>
                        <a:pt x="320" y="293"/>
                        <a:pt x="329" y="293"/>
                        <a:pt x="331" y="293"/>
                      </a:cubicBezTo>
                      <a:cubicBezTo>
                        <a:pt x="334" y="293"/>
                        <a:pt x="334" y="290"/>
                        <a:pt x="336" y="288"/>
                      </a:cubicBezTo>
                      <a:cubicBezTo>
                        <a:pt x="339" y="286"/>
                        <a:pt x="338" y="285"/>
                        <a:pt x="341" y="285"/>
                      </a:cubicBezTo>
                      <a:cubicBezTo>
                        <a:pt x="344" y="284"/>
                        <a:pt x="345" y="281"/>
                        <a:pt x="345" y="280"/>
                      </a:cubicBezTo>
                      <a:cubicBezTo>
                        <a:pt x="345" y="278"/>
                        <a:pt x="351" y="278"/>
                        <a:pt x="351" y="276"/>
                      </a:cubicBezTo>
                      <a:cubicBezTo>
                        <a:pt x="351" y="275"/>
                        <a:pt x="355" y="274"/>
                        <a:pt x="355" y="272"/>
                      </a:cubicBezTo>
                      <a:cubicBezTo>
                        <a:pt x="355" y="271"/>
                        <a:pt x="357" y="271"/>
                        <a:pt x="358" y="269"/>
                      </a:cubicBezTo>
                      <a:cubicBezTo>
                        <a:pt x="359" y="268"/>
                        <a:pt x="358" y="264"/>
                        <a:pt x="359" y="263"/>
                      </a:cubicBezTo>
                      <a:cubicBezTo>
                        <a:pt x="361" y="263"/>
                        <a:pt x="359" y="260"/>
                        <a:pt x="358" y="259"/>
                      </a:cubicBezTo>
                      <a:cubicBezTo>
                        <a:pt x="358" y="258"/>
                        <a:pt x="362" y="258"/>
                        <a:pt x="364" y="257"/>
                      </a:cubicBezTo>
                      <a:cubicBezTo>
                        <a:pt x="366" y="255"/>
                        <a:pt x="367" y="253"/>
                        <a:pt x="368" y="251"/>
                      </a:cubicBezTo>
                      <a:cubicBezTo>
                        <a:pt x="368" y="249"/>
                        <a:pt x="371" y="247"/>
                        <a:pt x="373" y="246"/>
                      </a:cubicBezTo>
                      <a:cubicBezTo>
                        <a:pt x="374" y="246"/>
                        <a:pt x="375" y="242"/>
                        <a:pt x="375" y="240"/>
                      </a:cubicBezTo>
                      <a:cubicBezTo>
                        <a:pt x="374" y="237"/>
                        <a:pt x="377" y="238"/>
                        <a:pt x="376" y="237"/>
                      </a:cubicBezTo>
                      <a:cubicBezTo>
                        <a:pt x="374" y="236"/>
                        <a:pt x="376" y="233"/>
                        <a:pt x="379" y="232"/>
                      </a:cubicBezTo>
                      <a:cubicBezTo>
                        <a:pt x="382" y="231"/>
                        <a:pt x="378" y="230"/>
                        <a:pt x="376" y="231"/>
                      </a:cubicBezTo>
                      <a:cubicBezTo>
                        <a:pt x="374" y="232"/>
                        <a:pt x="373" y="227"/>
                        <a:pt x="371" y="229"/>
                      </a:cubicBezTo>
                      <a:cubicBezTo>
                        <a:pt x="370" y="231"/>
                        <a:pt x="366" y="228"/>
                        <a:pt x="369" y="227"/>
                      </a:cubicBezTo>
                      <a:cubicBezTo>
                        <a:pt x="371" y="227"/>
                        <a:pt x="375" y="224"/>
                        <a:pt x="377" y="223"/>
                      </a:cubicBezTo>
                      <a:cubicBezTo>
                        <a:pt x="379" y="223"/>
                        <a:pt x="374" y="219"/>
                        <a:pt x="372" y="219"/>
                      </a:cubicBezTo>
                      <a:cubicBezTo>
                        <a:pt x="370" y="219"/>
                        <a:pt x="367" y="214"/>
                        <a:pt x="365" y="214"/>
                      </a:cubicBezTo>
                      <a:cubicBezTo>
                        <a:pt x="363" y="214"/>
                        <a:pt x="367" y="212"/>
                        <a:pt x="369" y="213"/>
                      </a:cubicBezTo>
                      <a:cubicBezTo>
                        <a:pt x="372" y="215"/>
                        <a:pt x="375" y="216"/>
                        <a:pt x="377" y="215"/>
                      </a:cubicBezTo>
                      <a:cubicBezTo>
                        <a:pt x="378" y="214"/>
                        <a:pt x="372" y="209"/>
                        <a:pt x="370" y="207"/>
                      </a:cubicBezTo>
                      <a:cubicBezTo>
                        <a:pt x="368" y="206"/>
                        <a:pt x="370" y="203"/>
                        <a:pt x="368" y="202"/>
                      </a:cubicBezTo>
                      <a:cubicBezTo>
                        <a:pt x="367" y="201"/>
                        <a:pt x="364" y="195"/>
                        <a:pt x="363" y="193"/>
                      </a:cubicBezTo>
                      <a:cubicBezTo>
                        <a:pt x="362" y="190"/>
                        <a:pt x="357" y="189"/>
                        <a:pt x="356" y="188"/>
                      </a:cubicBezTo>
                      <a:cubicBezTo>
                        <a:pt x="355" y="186"/>
                        <a:pt x="356" y="182"/>
                        <a:pt x="360" y="180"/>
                      </a:cubicBezTo>
                      <a:cubicBezTo>
                        <a:pt x="364" y="179"/>
                        <a:pt x="362" y="176"/>
                        <a:pt x="364" y="176"/>
                      </a:cubicBezTo>
                      <a:cubicBezTo>
                        <a:pt x="365" y="176"/>
                        <a:pt x="367" y="176"/>
                        <a:pt x="368" y="173"/>
                      </a:cubicBezTo>
                      <a:cubicBezTo>
                        <a:pt x="369" y="170"/>
                        <a:pt x="372" y="172"/>
                        <a:pt x="373" y="170"/>
                      </a:cubicBezTo>
                      <a:cubicBezTo>
                        <a:pt x="374" y="169"/>
                        <a:pt x="380" y="169"/>
                        <a:pt x="382" y="168"/>
                      </a:cubicBezTo>
                      <a:cubicBezTo>
                        <a:pt x="384" y="166"/>
                        <a:pt x="380" y="162"/>
                        <a:pt x="378" y="162"/>
                      </a:cubicBezTo>
                      <a:cubicBezTo>
                        <a:pt x="375" y="163"/>
                        <a:pt x="372" y="162"/>
                        <a:pt x="370" y="159"/>
                      </a:cubicBezTo>
                      <a:cubicBezTo>
                        <a:pt x="368" y="156"/>
                        <a:pt x="363" y="164"/>
                        <a:pt x="359" y="166"/>
                      </a:cubicBezTo>
                      <a:cubicBezTo>
                        <a:pt x="355" y="168"/>
                        <a:pt x="353" y="163"/>
                        <a:pt x="354" y="160"/>
                      </a:cubicBezTo>
                      <a:cubicBezTo>
                        <a:pt x="355" y="157"/>
                        <a:pt x="351" y="157"/>
                        <a:pt x="346" y="157"/>
                      </a:cubicBezTo>
                      <a:cubicBezTo>
                        <a:pt x="340" y="157"/>
                        <a:pt x="342" y="147"/>
                        <a:pt x="346" y="147"/>
                      </a:cubicBezTo>
                      <a:cubicBezTo>
                        <a:pt x="349" y="147"/>
                        <a:pt x="354" y="150"/>
                        <a:pt x="356" y="144"/>
                      </a:cubicBezTo>
                      <a:cubicBezTo>
                        <a:pt x="358" y="138"/>
                        <a:pt x="360" y="143"/>
                        <a:pt x="365" y="137"/>
                      </a:cubicBezTo>
                      <a:cubicBezTo>
                        <a:pt x="369" y="132"/>
                        <a:pt x="375" y="129"/>
                        <a:pt x="379" y="132"/>
                      </a:cubicBezTo>
                      <a:cubicBezTo>
                        <a:pt x="383" y="135"/>
                        <a:pt x="374" y="140"/>
                        <a:pt x="373" y="143"/>
                      </a:cubicBezTo>
                      <a:cubicBezTo>
                        <a:pt x="372" y="146"/>
                        <a:pt x="374" y="147"/>
                        <a:pt x="372" y="149"/>
                      </a:cubicBezTo>
                      <a:cubicBezTo>
                        <a:pt x="370" y="152"/>
                        <a:pt x="373" y="152"/>
                        <a:pt x="378" y="149"/>
                      </a:cubicBezTo>
                      <a:cubicBezTo>
                        <a:pt x="382" y="146"/>
                        <a:pt x="388" y="143"/>
                        <a:pt x="392" y="141"/>
                      </a:cubicBezTo>
                      <a:cubicBezTo>
                        <a:pt x="394" y="140"/>
                        <a:pt x="395" y="140"/>
                        <a:pt x="396" y="140"/>
                      </a:cubicBezTo>
                      <a:cubicBezTo>
                        <a:pt x="397" y="139"/>
                        <a:pt x="398" y="137"/>
                        <a:pt x="399" y="137"/>
                      </a:cubicBezTo>
                      <a:cubicBezTo>
                        <a:pt x="402" y="135"/>
                        <a:pt x="412" y="131"/>
                        <a:pt x="414" y="128"/>
                      </a:cubicBezTo>
                      <a:cubicBezTo>
                        <a:pt x="415" y="126"/>
                        <a:pt x="417" y="123"/>
                        <a:pt x="419" y="123"/>
                      </a:cubicBezTo>
                      <a:cubicBezTo>
                        <a:pt x="421" y="123"/>
                        <a:pt x="421" y="125"/>
                        <a:pt x="424" y="125"/>
                      </a:cubicBezTo>
                      <a:cubicBezTo>
                        <a:pt x="427" y="125"/>
                        <a:pt x="431" y="126"/>
                        <a:pt x="429" y="123"/>
                      </a:cubicBezTo>
                      <a:cubicBezTo>
                        <a:pt x="428" y="121"/>
                        <a:pt x="429" y="121"/>
                        <a:pt x="432" y="120"/>
                      </a:cubicBezTo>
                      <a:cubicBezTo>
                        <a:pt x="436" y="120"/>
                        <a:pt x="435" y="116"/>
                        <a:pt x="438" y="116"/>
                      </a:cubicBezTo>
                      <a:cubicBezTo>
                        <a:pt x="441" y="116"/>
                        <a:pt x="440" y="110"/>
                        <a:pt x="443" y="110"/>
                      </a:cubicBezTo>
                      <a:cubicBezTo>
                        <a:pt x="445" y="110"/>
                        <a:pt x="446" y="113"/>
                        <a:pt x="449" y="112"/>
                      </a:cubicBezTo>
                      <a:cubicBezTo>
                        <a:pt x="450" y="112"/>
                        <a:pt x="451" y="112"/>
                        <a:pt x="452" y="113"/>
                      </a:cubicBezTo>
                      <a:cubicBezTo>
                        <a:pt x="452" y="112"/>
                        <a:pt x="453" y="112"/>
                        <a:pt x="453" y="111"/>
                      </a:cubicBezTo>
                      <a:cubicBezTo>
                        <a:pt x="453" y="108"/>
                        <a:pt x="454" y="105"/>
                        <a:pt x="453" y="104"/>
                      </a:cubicBezTo>
                      <a:cubicBezTo>
                        <a:pt x="452" y="101"/>
                        <a:pt x="453" y="99"/>
                        <a:pt x="452" y="97"/>
                      </a:cubicBezTo>
                      <a:cubicBezTo>
                        <a:pt x="452" y="95"/>
                        <a:pt x="452" y="91"/>
                        <a:pt x="454" y="91"/>
                      </a:cubicBezTo>
                      <a:cubicBezTo>
                        <a:pt x="456" y="91"/>
                        <a:pt x="458" y="86"/>
                        <a:pt x="460" y="88"/>
                      </a:cubicBezTo>
                      <a:cubicBezTo>
                        <a:pt x="463" y="90"/>
                        <a:pt x="467" y="90"/>
                        <a:pt x="467" y="88"/>
                      </a:cubicBezTo>
                      <a:cubicBezTo>
                        <a:pt x="467" y="86"/>
                        <a:pt x="471" y="86"/>
                        <a:pt x="471" y="83"/>
                      </a:cubicBezTo>
                      <a:cubicBezTo>
                        <a:pt x="472" y="80"/>
                        <a:pt x="475" y="79"/>
                        <a:pt x="476" y="77"/>
                      </a:cubicBezTo>
                      <a:cubicBezTo>
                        <a:pt x="477" y="74"/>
                        <a:pt x="478" y="68"/>
                        <a:pt x="480" y="66"/>
                      </a:cubicBezTo>
                      <a:cubicBezTo>
                        <a:pt x="483" y="65"/>
                        <a:pt x="480" y="64"/>
                        <a:pt x="480" y="60"/>
                      </a:cubicBezTo>
                      <a:close/>
                      <a:moveTo>
                        <a:pt x="364" y="285"/>
                      </a:moveTo>
                      <a:cubicBezTo>
                        <a:pt x="361" y="295"/>
                        <a:pt x="367" y="299"/>
                        <a:pt x="368" y="299"/>
                      </a:cubicBezTo>
                      <a:cubicBezTo>
                        <a:pt x="370" y="297"/>
                        <a:pt x="380" y="277"/>
                        <a:pt x="378" y="274"/>
                      </a:cubicBezTo>
                      <a:cubicBezTo>
                        <a:pt x="376" y="271"/>
                        <a:pt x="366" y="276"/>
                        <a:pt x="364" y="285"/>
                      </a:cubicBezTo>
                      <a:close/>
                      <a:moveTo>
                        <a:pt x="279" y="317"/>
                      </a:moveTo>
                      <a:cubicBezTo>
                        <a:pt x="276" y="317"/>
                        <a:pt x="268" y="322"/>
                        <a:pt x="271" y="328"/>
                      </a:cubicBezTo>
                      <a:cubicBezTo>
                        <a:pt x="274" y="335"/>
                        <a:pt x="284" y="330"/>
                        <a:pt x="284" y="328"/>
                      </a:cubicBezTo>
                      <a:cubicBezTo>
                        <a:pt x="285" y="325"/>
                        <a:pt x="289" y="320"/>
                        <a:pt x="289" y="318"/>
                      </a:cubicBezTo>
                      <a:cubicBezTo>
                        <a:pt x="288" y="316"/>
                        <a:pt x="282" y="317"/>
                        <a:pt x="279" y="31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2" name="Freeform 135">
                  <a:extLst>
                    <a:ext uri="{FF2B5EF4-FFF2-40B4-BE49-F238E27FC236}">
                      <a16:creationId xmlns:a16="http://schemas.microsoft.com/office/drawing/2014/main" id="{5A08328D-6874-4F2B-BA1A-AAFC7BC21DA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4069278" y="-8347737"/>
                  <a:ext cx="632427" cy="402158"/>
                </a:xfrm>
                <a:custGeom>
                  <a:avLst/>
                  <a:gdLst>
                    <a:gd name="T0" fmla="*/ 73 w 102"/>
                    <a:gd name="T1" fmla="*/ 60 h 65"/>
                    <a:gd name="T2" fmla="*/ 68 w 102"/>
                    <a:gd name="T3" fmla="*/ 54 h 65"/>
                    <a:gd name="T4" fmla="*/ 60 w 102"/>
                    <a:gd name="T5" fmla="*/ 51 h 65"/>
                    <a:gd name="T6" fmla="*/ 54 w 102"/>
                    <a:gd name="T7" fmla="*/ 40 h 65"/>
                    <a:gd name="T8" fmla="*/ 52 w 102"/>
                    <a:gd name="T9" fmla="*/ 33 h 65"/>
                    <a:gd name="T10" fmla="*/ 54 w 102"/>
                    <a:gd name="T11" fmla="*/ 28 h 65"/>
                    <a:gd name="T12" fmla="*/ 38 w 102"/>
                    <a:gd name="T13" fmla="*/ 19 h 65"/>
                    <a:gd name="T14" fmla="*/ 6 w 102"/>
                    <a:gd name="T15" fmla="*/ 2 h 65"/>
                    <a:gd name="T16" fmla="*/ 0 w 102"/>
                    <a:gd name="T17" fmla="*/ 0 h 65"/>
                    <a:gd name="T18" fmla="*/ 0 w 102"/>
                    <a:gd name="T19" fmla="*/ 51 h 65"/>
                    <a:gd name="T20" fmla="*/ 9 w 102"/>
                    <a:gd name="T21" fmla="*/ 54 h 65"/>
                    <a:gd name="T22" fmla="*/ 18 w 102"/>
                    <a:gd name="T23" fmla="*/ 48 h 65"/>
                    <a:gd name="T24" fmla="*/ 23 w 102"/>
                    <a:gd name="T25" fmla="*/ 42 h 65"/>
                    <a:gd name="T26" fmla="*/ 40 w 102"/>
                    <a:gd name="T27" fmla="*/ 46 h 65"/>
                    <a:gd name="T28" fmla="*/ 58 w 102"/>
                    <a:gd name="T29" fmla="*/ 62 h 65"/>
                    <a:gd name="T30" fmla="*/ 75 w 102"/>
                    <a:gd name="T31" fmla="*/ 65 h 65"/>
                    <a:gd name="T32" fmla="*/ 73 w 102"/>
                    <a:gd name="T33" fmla="*/ 60 h 65"/>
                    <a:gd name="T34" fmla="*/ 87 w 102"/>
                    <a:gd name="T35" fmla="*/ 18 h 65"/>
                    <a:gd name="T36" fmla="*/ 77 w 102"/>
                    <a:gd name="T37" fmla="*/ 23 h 65"/>
                    <a:gd name="T38" fmla="*/ 60 w 102"/>
                    <a:gd name="T39" fmla="*/ 24 h 65"/>
                    <a:gd name="T40" fmla="*/ 73 w 102"/>
                    <a:gd name="T41" fmla="*/ 30 h 65"/>
                    <a:gd name="T42" fmla="*/ 90 w 102"/>
                    <a:gd name="T43" fmla="*/ 22 h 65"/>
                    <a:gd name="T44" fmla="*/ 92 w 102"/>
                    <a:gd name="T45" fmla="*/ 15 h 65"/>
                    <a:gd name="T46" fmla="*/ 87 w 102"/>
                    <a:gd name="T47" fmla="*/ 18 h 65"/>
                    <a:gd name="T48" fmla="*/ 95 w 102"/>
                    <a:gd name="T49" fmla="*/ 9 h 65"/>
                    <a:gd name="T50" fmla="*/ 93 w 102"/>
                    <a:gd name="T51" fmla="*/ 9 h 65"/>
                    <a:gd name="T52" fmla="*/ 98 w 102"/>
                    <a:gd name="T53" fmla="*/ 17 h 65"/>
                    <a:gd name="T54" fmla="*/ 95 w 102"/>
                    <a:gd name="T55" fmla="*/ 9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02" h="65">
                      <a:moveTo>
                        <a:pt x="73" y="60"/>
                      </a:moveTo>
                      <a:cubicBezTo>
                        <a:pt x="72" y="59"/>
                        <a:pt x="67" y="56"/>
                        <a:pt x="68" y="54"/>
                      </a:cubicBezTo>
                      <a:cubicBezTo>
                        <a:pt x="68" y="53"/>
                        <a:pt x="63" y="53"/>
                        <a:pt x="60" y="51"/>
                      </a:cubicBezTo>
                      <a:cubicBezTo>
                        <a:pt x="56" y="49"/>
                        <a:pt x="57" y="42"/>
                        <a:pt x="54" y="40"/>
                      </a:cubicBezTo>
                      <a:cubicBezTo>
                        <a:pt x="50" y="38"/>
                        <a:pt x="48" y="33"/>
                        <a:pt x="52" y="33"/>
                      </a:cubicBezTo>
                      <a:cubicBezTo>
                        <a:pt x="56" y="34"/>
                        <a:pt x="57" y="31"/>
                        <a:pt x="54" y="28"/>
                      </a:cubicBezTo>
                      <a:cubicBezTo>
                        <a:pt x="50" y="25"/>
                        <a:pt x="38" y="24"/>
                        <a:pt x="38" y="19"/>
                      </a:cubicBezTo>
                      <a:cubicBezTo>
                        <a:pt x="37" y="15"/>
                        <a:pt x="16" y="4"/>
                        <a:pt x="6" y="2"/>
                      </a:cubicBezTo>
                      <a:cubicBezTo>
                        <a:pt x="4" y="2"/>
                        <a:pt x="2" y="1"/>
                        <a:pt x="0" y="0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2" y="52"/>
                        <a:pt x="5" y="54"/>
                        <a:pt x="9" y="54"/>
                      </a:cubicBezTo>
                      <a:cubicBezTo>
                        <a:pt x="19" y="54"/>
                        <a:pt x="17" y="48"/>
                        <a:pt x="18" y="48"/>
                      </a:cubicBezTo>
                      <a:cubicBezTo>
                        <a:pt x="20" y="48"/>
                        <a:pt x="21" y="45"/>
                        <a:pt x="23" y="42"/>
                      </a:cubicBezTo>
                      <a:cubicBezTo>
                        <a:pt x="25" y="40"/>
                        <a:pt x="35" y="42"/>
                        <a:pt x="40" y="46"/>
                      </a:cubicBezTo>
                      <a:cubicBezTo>
                        <a:pt x="46" y="50"/>
                        <a:pt x="52" y="63"/>
                        <a:pt x="58" y="62"/>
                      </a:cubicBezTo>
                      <a:cubicBezTo>
                        <a:pt x="63" y="61"/>
                        <a:pt x="69" y="65"/>
                        <a:pt x="75" y="65"/>
                      </a:cubicBezTo>
                      <a:cubicBezTo>
                        <a:pt x="80" y="65"/>
                        <a:pt x="75" y="61"/>
                        <a:pt x="73" y="60"/>
                      </a:cubicBezTo>
                      <a:close/>
                      <a:moveTo>
                        <a:pt x="87" y="18"/>
                      </a:moveTo>
                      <a:cubicBezTo>
                        <a:pt x="87" y="20"/>
                        <a:pt x="83" y="21"/>
                        <a:pt x="77" y="23"/>
                      </a:cubicBezTo>
                      <a:cubicBezTo>
                        <a:pt x="71" y="26"/>
                        <a:pt x="60" y="21"/>
                        <a:pt x="60" y="24"/>
                      </a:cubicBezTo>
                      <a:cubicBezTo>
                        <a:pt x="60" y="26"/>
                        <a:pt x="67" y="30"/>
                        <a:pt x="73" y="30"/>
                      </a:cubicBezTo>
                      <a:cubicBezTo>
                        <a:pt x="80" y="30"/>
                        <a:pt x="90" y="24"/>
                        <a:pt x="90" y="22"/>
                      </a:cubicBezTo>
                      <a:cubicBezTo>
                        <a:pt x="90" y="20"/>
                        <a:pt x="94" y="16"/>
                        <a:pt x="92" y="15"/>
                      </a:cubicBezTo>
                      <a:cubicBezTo>
                        <a:pt x="91" y="13"/>
                        <a:pt x="87" y="15"/>
                        <a:pt x="87" y="18"/>
                      </a:cubicBezTo>
                      <a:close/>
                      <a:moveTo>
                        <a:pt x="95" y="9"/>
                      </a:moveTo>
                      <a:cubicBezTo>
                        <a:pt x="91" y="6"/>
                        <a:pt x="88" y="5"/>
                        <a:pt x="93" y="9"/>
                      </a:cubicBezTo>
                      <a:cubicBezTo>
                        <a:pt x="97" y="14"/>
                        <a:pt x="95" y="17"/>
                        <a:pt x="98" y="17"/>
                      </a:cubicBezTo>
                      <a:cubicBezTo>
                        <a:pt x="102" y="15"/>
                        <a:pt x="99" y="11"/>
                        <a:pt x="95" y="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3" name="Freeform 136">
                  <a:extLst>
                    <a:ext uri="{FF2B5EF4-FFF2-40B4-BE49-F238E27FC236}">
                      <a16:creationId xmlns:a16="http://schemas.microsoft.com/office/drawing/2014/main" id="{175A93FF-8951-4029-BE48-A5EF216F3F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72491" y="-8970433"/>
                  <a:ext cx="110269" cy="204323"/>
                </a:xfrm>
                <a:custGeom>
                  <a:avLst/>
                  <a:gdLst>
                    <a:gd name="T0" fmla="*/ 4 w 18"/>
                    <a:gd name="T1" fmla="*/ 0 h 33"/>
                    <a:gd name="T2" fmla="*/ 2 w 18"/>
                    <a:gd name="T3" fmla="*/ 8 h 33"/>
                    <a:gd name="T4" fmla="*/ 1 w 18"/>
                    <a:gd name="T5" fmla="*/ 18 h 33"/>
                    <a:gd name="T6" fmla="*/ 5 w 18"/>
                    <a:gd name="T7" fmla="*/ 30 h 33"/>
                    <a:gd name="T8" fmla="*/ 17 w 18"/>
                    <a:gd name="T9" fmla="*/ 19 h 33"/>
                    <a:gd name="T10" fmla="*/ 4 w 18"/>
                    <a:gd name="T11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8" h="33">
                      <a:moveTo>
                        <a:pt x="4" y="0"/>
                      </a:moveTo>
                      <a:cubicBezTo>
                        <a:pt x="2" y="0"/>
                        <a:pt x="3" y="4"/>
                        <a:pt x="2" y="8"/>
                      </a:cubicBezTo>
                      <a:cubicBezTo>
                        <a:pt x="0" y="11"/>
                        <a:pt x="1" y="14"/>
                        <a:pt x="1" y="18"/>
                      </a:cubicBezTo>
                      <a:cubicBezTo>
                        <a:pt x="2" y="23"/>
                        <a:pt x="1" y="28"/>
                        <a:pt x="5" y="30"/>
                      </a:cubicBezTo>
                      <a:cubicBezTo>
                        <a:pt x="10" y="33"/>
                        <a:pt x="17" y="25"/>
                        <a:pt x="17" y="19"/>
                      </a:cubicBezTo>
                      <a:cubicBezTo>
                        <a:pt x="18" y="12"/>
                        <a:pt x="6" y="0"/>
                        <a:pt x="4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4" name="Freeform 137">
                  <a:extLst>
                    <a:ext uri="{FF2B5EF4-FFF2-40B4-BE49-F238E27FC236}">
                      <a16:creationId xmlns:a16="http://schemas.microsoft.com/office/drawing/2014/main" id="{0D5CAC4E-9495-49EA-9B7C-99D6212E23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8934093" y="-9460159"/>
                  <a:ext cx="593509" cy="366484"/>
                </a:xfrm>
                <a:custGeom>
                  <a:avLst/>
                  <a:gdLst>
                    <a:gd name="T0" fmla="*/ 68 w 96"/>
                    <a:gd name="T1" fmla="*/ 3 h 59"/>
                    <a:gd name="T2" fmla="*/ 52 w 96"/>
                    <a:gd name="T3" fmla="*/ 3 h 59"/>
                    <a:gd name="T4" fmla="*/ 40 w 96"/>
                    <a:gd name="T5" fmla="*/ 14 h 59"/>
                    <a:gd name="T6" fmla="*/ 34 w 96"/>
                    <a:gd name="T7" fmla="*/ 16 h 59"/>
                    <a:gd name="T8" fmla="*/ 23 w 96"/>
                    <a:gd name="T9" fmla="*/ 15 h 59"/>
                    <a:gd name="T10" fmla="*/ 13 w 96"/>
                    <a:gd name="T11" fmla="*/ 14 h 59"/>
                    <a:gd name="T12" fmla="*/ 7 w 96"/>
                    <a:gd name="T13" fmla="*/ 13 h 59"/>
                    <a:gd name="T14" fmla="*/ 4 w 96"/>
                    <a:gd name="T15" fmla="*/ 16 h 59"/>
                    <a:gd name="T16" fmla="*/ 4 w 96"/>
                    <a:gd name="T17" fmla="*/ 20 h 59"/>
                    <a:gd name="T18" fmla="*/ 0 w 96"/>
                    <a:gd name="T19" fmla="*/ 22 h 59"/>
                    <a:gd name="T20" fmla="*/ 1 w 96"/>
                    <a:gd name="T21" fmla="*/ 27 h 59"/>
                    <a:gd name="T22" fmla="*/ 3 w 96"/>
                    <a:gd name="T23" fmla="*/ 40 h 59"/>
                    <a:gd name="T24" fmla="*/ 6 w 96"/>
                    <a:gd name="T25" fmla="*/ 52 h 59"/>
                    <a:gd name="T26" fmla="*/ 20 w 96"/>
                    <a:gd name="T27" fmla="*/ 50 h 59"/>
                    <a:gd name="T28" fmla="*/ 31 w 96"/>
                    <a:gd name="T29" fmla="*/ 47 h 59"/>
                    <a:gd name="T30" fmla="*/ 40 w 96"/>
                    <a:gd name="T31" fmla="*/ 42 h 59"/>
                    <a:gd name="T32" fmla="*/ 48 w 96"/>
                    <a:gd name="T33" fmla="*/ 41 h 59"/>
                    <a:gd name="T34" fmla="*/ 54 w 96"/>
                    <a:gd name="T35" fmla="*/ 37 h 59"/>
                    <a:gd name="T36" fmla="*/ 71 w 96"/>
                    <a:gd name="T37" fmla="*/ 31 h 59"/>
                    <a:gd name="T38" fmla="*/ 79 w 96"/>
                    <a:gd name="T39" fmla="*/ 23 h 59"/>
                    <a:gd name="T40" fmla="*/ 86 w 96"/>
                    <a:gd name="T41" fmla="*/ 21 h 59"/>
                    <a:gd name="T42" fmla="*/ 76 w 96"/>
                    <a:gd name="T43" fmla="*/ 0 h 59"/>
                    <a:gd name="T44" fmla="*/ 68 w 96"/>
                    <a:gd name="T45" fmla="*/ 3 h 59"/>
                    <a:gd name="T46" fmla="*/ 88 w 96"/>
                    <a:gd name="T47" fmla="*/ 56 h 59"/>
                    <a:gd name="T48" fmla="*/ 96 w 96"/>
                    <a:gd name="T49" fmla="*/ 54 h 59"/>
                    <a:gd name="T50" fmla="*/ 88 w 96"/>
                    <a:gd name="T51" fmla="*/ 56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96" h="59">
                      <a:moveTo>
                        <a:pt x="68" y="3"/>
                      </a:moveTo>
                      <a:cubicBezTo>
                        <a:pt x="64" y="3"/>
                        <a:pt x="53" y="3"/>
                        <a:pt x="52" y="3"/>
                      </a:cubicBezTo>
                      <a:cubicBezTo>
                        <a:pt x="51" y="4"/>
                        <a:pt x="41" y="11"/>
                        <a:pt x="40" y="14"/>
                      </a:cubicBezTo>
                      <a:cubicBezTo>
                        <a:pt x="38" y="17"/>
                        <a:pt x="36" y="18"/>
                        <a:pt x="34" y="16"/>
                      </a:cubicBezTo>
                      <a:cubicBezTo>
                        <a:pt x="32" y="15"/>
                        <a:pt x="24" y="15"/>
                        <a:pt x="23" y="15"/>
                      </a:cubicBezTo>
                      <a:cubicBezTo>
                        <a:pt x="22" y="14"/>
                        <a:pt x="16" y="13"/>
                        <a:pt x="13" y="14"/>
                      </a:cubicBezTo>
                      <a:cubicBezTo>
                        <a:pt x="10" y="14"/>
                        <a:pt x="8" y="12"/>
                        <a:pt x="7" y="13"/>
                      </a:cubicBezTo>
                      <a:cubicBezTo>
                        <a:pt x="6" y="13"/>
                        <a:pt x="4" y="15"/>
                        <a:pt x="4" y="16"/>
                      </a:cubicBezTo>
                      <a:cubicBezTo>
                        <a:pt x="3" y="17"/>
                        <a:pt x="4" y="19"/>
                        <a:pt x="4" y="20"/>
                      </a:cubicBezTo>
                      <a:cubicBezTo>
                        <a:pt x="4" y="20"/>
                        <a:pt x="2" y="21"/>
                        <a:pt x="0" y="22"/>
                      </a:cubicBezTo>
                      <a:cubicBezTo>
                        <a:pt x="1" y="24"/>
                        <a:pt x="1" y="26"/>
                        <a:pt x="1" y="27"/>
                      </a:cubicBezTo>
                      <a:cubicBezTo>
                        <a:pt x="0" y="30"/>
                        <a:pt x="1" y="36"/>
                        <a:pt x="3" y="40"/>
                      </a:cubicBezTo>
                      <a:cubicBezTo>
                        <a:pt x="6" y="44"/>
                        <a:pt x="5" y="50"/>
                        <a:pt x="6" y="52"/>
                      </a:cubicBezTo>
                      <a:cubicBezTo>
                        <a:pt x="7" y="53"/>
                        <a:pt x="16" y="53"/>
                        <a:pt x="20" y="50"/>
                      </a:cubicBezTo>
                      <a:cubicBezTo>
                        <a:pt x="25" y="47"/>
                        <a:pt x="28" y="47"/>
                        <a:pt x="31" y="47"/>
                      </a:cubicBezTo>
                      <a:cubicBezTo>
                        <a:pt x="34" y="47"/>
                        <a:pt x="39" y="44"/>
                        <a:pt x="40" y="42"/>
                      </a:cubicBezTo>
                      <a:cubicBezTo>
                        <a:pt x="41" y="41"/>
                        <a:pt x="46" y="41"/>
                        <a:pt x="48" y="41"/>
                      </a:cubicBezTo>
                      <a:cubicBezTo>
                        <a:pt x="50" y="41"/>
                        <a:pt x="52" y="39"/>
                        <a:pt x="54" y="37"/>
                      </a:cubicBezTo>
                      <a:cubicBezTo>
                        <a:pt x="56" y="35"/>
                        <a:pt x="63" y="34"/>
                        <a:pt x="71" y="31"/>
                      </a:cubicBezTo>
                      <a:cubicBezTo>
                        <a:pt x="79" y="29"/>
                        <a:pt x="77" y="25"/>
                        <a:pt x="79" y="23"/>
                      </a:cubicBezTo>
                      <a:cubicBezTo>
                        <a:pt x="80" y="21"/>
                        <a:pt x="82" y="22"/>
                        <a:pt x="86" y="21"/>
                      </a:cubicBezTo>
                      <a:cubicBezTo>
                        <a:pt x="82" y="13"/>
                        <a:pt x="78" y="5"/>
                        <a:pt x="76" y="0"/>
                      </a:cubicBezTo>
                      <a:cubicBezTo>
                        <a:pt x="72" y="1"/>
                        <a:pt x="69" y="2"/>
                        <a:pt x="68" y="3"/>
                      </a:cubicBezTo>
                      <a:close/>
                      <a:moveTo>
                        <a:pt x="88" y="56"/>
                      </a:moveTo>
                      <a:cubicBezTo>
                        <a:pt x="90" y="59"/>
                        <a:pt x="95" y="55"/>
                        <a:pt x="96" y="54"/>
                      </a:cubicBezTo>
                      <a:cubicBezTo>
                        <a:pt x="96" y="53"/>
                        <a:pt x="84" y="53"/>
                        <a:pt x="88" y="5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5" name="Freeform 138">
                  <a:extLst>
                    <a:ext uri="{FF2B5EF4-FFF2-40B4-BE49-F238E27FC236}">
                      <a16:creationId xmlns:a16="http://schemas.microsoft.com/office/drawing/2014/main" id="{06E9384B-53B1-4DC5-AF94-CD6DCC5557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72486" y="-5840736"/>
                  <a:ext cx="129728" cy="87568"/>
                </a:xfrm>
                <a:custGeom>
                  <a:avLst/>
                  <a:gdLst>
                    <a:gd name="T0" fmla="*/ 9 w 21"/>
                    <a:gd name="T1" fmla="*/ 3 h 14"/>
                    <a:gd name="T2" fmla="*/ 7 w 21"/>
                    <a:gd name="T3" fmla="*/ 12 h 14"/>
                    <a:gd name="T4" fmla="*/ 13 w 21"/>
                    <a:gd name="T5" fmla="*/ 12 h 14"/>
                    <a:gd name="T6" fmla="*/ 20 w 21"/>
                    <a:gd name="T7" fmla="*/ 9 h 14"/>
                    <a:gd name="T8" fmla="*/ 9 w 21"/>
                    <a:gd name="T9" fmla="*/ 3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14">
                      <a:moveTo>
                        <a:pt x="9" y="3"/>
                      </a:moveTo>
                      <a:cubicBezTo>
                        <a:pt x="8" y="0"/>
                        <a:pt x="0" y="9"/>
                        <a:pt x="7" y="12"/>
                      </a:cubicBezTo>
                      <a:cubicBezTo>
                        <a:pt x="10" y="13"/>
                        <a:pt x="11" y="10"/>
                        <a:pt x="13" y="12"/>
                      </a:cubicBezTo>
                      <a:cubicBezTo>
                        <a:pt x="15" y="14"/>
                        <a:pt x="20" y="13"/>
                        <a:pt x="20" y="9"/>
                      </a:cubicBezTo>
                      <a:cubicBezTo>
                        <a:pt x="21" y="4"/>
                        <a:pt x="11" y="5"/>
                        <a:pt x="9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6" name="Freeform 139">
                  <a:extLst>
                    <a:ext uri="{FF2B5EF4-FFF2-40B4-BE49-F238E27FC236}">
                      <a16:creationId xmlns:a16="http://schemas.microsoft.com/office/drawing/2014/main" id="{7E05B2E7-454C-4C7D-AEE5-652F4651F98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381717" y="-8218008"/>
                  <a:ext cx="402158" cy="291889"/>
                </a:xfrm>
                <a:custGeom>
                  <a:avLst/>
                  <a:gdLst>
                    <a:gd name="T0" fmla="*/ 1 w 65"/>
                    <a:gd name="T1" fmla="*/ 2 h 47"/>
                    <a:gd name="T2" fmla="*/ 11 w 65"/>
                    <a:gd name="T3" fmla="*/ 14 h 47"/>
                    <a:gd name="T4" fmla="*/ 1 w 65"/>
                    <a:gd name="T5" fmla="*/ 2 h 47"/>
                    <a:gd name="T6" fmla="*/ 16 w 65"/>
                    <a:gd name="T7" fmla="*/ 12 h 47"/>
                    <a:gd name="T8" fmla="*/ 23 w 65"/>
                    <a:gd name="T9" fmla="*/ 18 h 47"/>
                    <a:gd name="T10" fmla="*/ 16 w 65"/>
                    <a:gd name="T11" fmla="*/ 12 h 47"/>
                    <a:gd name="T12" fmla="*/ 43 w 65"/>
                    <a:gd name="T13" fmla="*/ 27 h 47"/>
                    <a:gd name="T14" fmla="*/ 31 w 65"/>
                    <a:gd name="T15" fmla="*/ 21 h 47"/>
                    <a:gd name="T16" fmla="*/ 43 w 65"/>
                    <a:gd name="T17" fmla="*/ 27 h 47"/>
                    <a:gd name="T18" fmla="*/ 41 w 65"/>
                    <a:gd name="T19" fmla="*/ 34 h 47"/>
                    <a:gd name="T20" fmla="*/ 49 w 65"/>
                    <a:gd name="T21" fmla="*/ 39 h 47"/>
                    <a:gd name="T22" fmla="*/ 41 w 65"/>
                    <a:gd name="T23" fmla="*/ 34 h 47"/>
                    <a:gd name="T24" fmla="*/ 56 w 65"/>
                    <a:gd name="T25" fmla="*/ 42 h 47"/>
                    <a:gd name="T26" fmla="*/ 63 w 65"/>
                    <a:gd name="T27" fmla="*/ 46 h 47"/>
                    <a:gd name="T28" fmla="*/ 56 w 65"/>
                    <a:gd name="T29" fmla="*/ 42 h 47"/>
                    <a:gd name="T30" fmla="*/ 50 w 65"/>
                    <a:gd name="T31" fmla="*/ 26 h 47"/>
                    <a:gd name="T32" fmla="*/ 56 w 65"/>
                    <a:gd name="T33" fmla="*/ 37 h 47"/>
                    <a:gd name="T34" fmla="*/ 50 w 65"/>
                    <a:gd name="T35" fmla="*/ 26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5" h="47">
                      <a:moveTo>
                        <a:pt x="1" y="2"/>
                      </a:moveTo>
                      <a:cubicBezTo>
                        <a:pt x="0" y="4"/>
                        <a:pt x="8" y="16"/>
                        <a:pt x="11" y="14"/>
                      </a:cubicBezTo>
                      <a:cubicBezTo>
                        <a:pt x="16" y="11"/>
                        <a:pt x="1" y="0"/>
                        <a:pt x="1" y="2"/>
                      </a:cubicBezTo>
                      <a:close/>
                      <a:moveTo>
                        <a:pt x="16" y="12"/>
                      </a:moveTo>
                      <a:cubicBezTo>
                        <a:pt x="16" y="13"/>
                        <a:pt x="21" y="19"/>
                        <a:pt x="23" y="18"/>
                      </a:cubicBezTo>
                      <a:cubicBezTo>
                        <a:pt x="24" y="17"/>
                        <a:pt x="16" y="11"/>
                        <a:pt x="16" y="12"/>
                      </a:cubicBezTo>
                      <a:close/>
                      <a:moveTo>
                        <a:pt x="43" y="27"/>
                      </a:moveTo>
                      <a:cubicBezTo>
                        <a:pt x="45" y="25"/>
                        <a:pt x="32" y="18"/>
                        <a:pt x="31" y="21"/>
                      </a:cubicBezTo>
                      <a:cubicBezTo>
                        <a:pt x="31" y="23"/>
                        <a:pt x="41" y="28"/>
                        <a:pt x="43" y="27"/>
                      </a:cubicBezTo>
                      <a:close/>
                      <a:moveTo>
                        <a:pt x="41" y="34"/>
                      </a:moveTo>
                      <a:cubicBezTo>
                        <a:pt x="42" y="38"/>
                        <a:pt x="47" y="40"/>
                        <a:pt x="49" y="39"/>
                      </a:cubicBezTo>
                      <a:cubicBezTo>
                        <a:pt x="52" y="37"/>
                        <a:pt x="40" y="31"/>
                        <a:pt x="41" y="34"/>
                      </a:cubicBezTo>
                      <a:close/>
                      <a:moveTo>
                        <a:pt x="56" y="42"/>
                      </a:moveTo>
                      <a:cubicBezTo>
                        <a:pt x="56" y="43"/>
                        <a:pt x="61" y="47"/>
                        <a:pt x="63" y="46"/>
                      </a:cubicBezTo>
                      <a:cubicBezTo>
                        <a:pt x="65" y="44"/>
                        <a:pt x="55" y="41"/>
                        <a:pt x="56" y="42"/>
                      </a:cubicBezTo>
                      <a:close/>
                      <a:moveTo>
                        <a:pt x="50" y="26"/>
                      </a:moveTo>
                      <a:cubicBezTo>
                        <a:pt x="48" y="30"/>
                        <a:pt x="55" y="37"/>
                        <a:pt x="56" y="37"/>
                      </a:cubicBezTo>
                      <a:cubicBezTo>
                        <a:pt x="57" y="37"/>
                        <a:pt x="51" y="23"/>
                        <a:pt x="50" y="2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7" name="Freeform 140">
                  <a:extLst>
                    <a:ext uri="{FF2B5EF4-FFF2-40B4-BE49-F238E27FC236}">
                      <a16:creationId xmlns:a16="http://schemas.microsoft.com/office/drawing/2014/main" id="{AC9F0E84-54AE-43D3-85BA-C39F7BC253A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381717" y="-8218008"/>
                  <a:ext cx="402158" cy="291889"/>
                </a:xfrm>
                <a:custGeom>
                  <a:avLst/>
                  <a:gdLst>
                    <a:gd name="T0" fmla="*/ 1 w 65"/>
                    <a:gd name="T1" fmla="*/ 2 h 47"/>
                    <a:gd name="T2" fmla="*/ 11 w 65"/>
                    <a:gd name="T3" fmla="*/ 14 h 47"/>
                    <a:gd name="T4" fmla="*/ 1 w 65"/>
                    <a:gd name="T5" fmla="*/ 2 h 47"/>
                    <a:gd name="T6" fmla="*/ 16 w 65"/>
                    <a:gd name="T7" fmla="*/ 12 h 47"/>
                    <a:gd name="T8" fmla="*/ 23 w 65"/>
                    <a:gd name="T9" fmla="*/ 18 h 47"/>
                    <a:gd name="T10" fmla="*/ 16 w 65"/>
                    <a:gd name="T11" fmla="*/ 12 h 47"/>
                    <a:gd name="T12" fmla="*/ 43 w 65"/>
                    <a:gd name="T13" fmla="*/ 27 h 47"/>
                    <a:gd name="T14" fmla="*/ 31 w 65"/>
                    <a:gd name="T15" fmla="*/ 21 h 47"/>
                    <a:gd name="T16" fmla="*/ 43 w 65"/>
                    <a:gd name="T17" fmla="*/ 27 h 47"/>
                    <a:gd name="T18" fmla="*/ 41 w 65"/>
                    <a:gd name="T19" fmla="*/ 34 h 47"/>
                    <a:gd name="T20" fmla="*/ 49 w 65"/>
                    <a:gd name="T21" fmla="*/ 39 h 47"/>
                    <a:gd name="T22" fmla="*/ 41 w 65"/>
                    <a:gd name="T23" fmla="*/ 34 h 47"/>
                    <a:gd name="T24" fmla="*/ 56 w 65"/>
                    <a:gd name="T25" fmla="*/ 42 h 47"/>
                    <a:gd name="T26" fmla="*/ 63 w 65"/>
                    <a:gd name="T27" fmla="*/ 46 h 47"/>
                    <a:gd name="T28" fmla="*/ 56 w 65"/>
                    <a:gd name="T29" fmla="*/ 42 h 47"/>
                    <a:gd name="T30" fmla="*/ 50 w 65"/>
                    <a:gd name="T31" fmla="*/ 26 h 47"/>
                    <a:gd name="T32" fmla="*/ 56 w 65"/>
                    <a:gd name="T33" fmla="*/ 37 h 47"/>
                    <a:gd name="T34" fmla="*/ 50 w 65"/>
                    <a:gd name="T35" fmla="*/ 26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5" h="47">
                      <a:moveTo>
                        <a:pt x="1" y="2"/>
                      </a:moveTo>
                      <a:cubicBezTo>
                        <a:pt x="0" y="4"/>
                        <a:pt x="8" y="16"/>
                        <a:pt x="11" y="14"/>
                      </a:cubicBezTo>
                      <a:cubicBezTo>
                        <a:pt x="16" y="11"/>
                        <a:pt x="1" y="0"/>
                        <a:pt x="1" y="2"/>
                      </a:cubicBezTo>
                      <a:close/>
                      <a:moveTo>
                        <a:pt x="16" y="12"/>
                      </a:moveTo>
                      <a:cubicBezTo>
                        <a:pt x="16" y="13"/>
                        <a:pt x="21" y="19"/>
                        <a:pt x="23" y="18"/>
                      </a:cubicBezTo>
                      <a:cubicBezTo>
                        <a:pt x="24" y="17"/>
                        <a:pt x="16" y="11"/>
                        <a:pt x="16" y="12"/>
                      </a:cubicBezTo>
                      <a:close/>
                      <a:moveTo>
                        <a:pt x="43" y="27"/>
                      </a:moveTo>
                      <a:cubicBezTo>
                        <a:pt x="45" y="25"/>
                        <a:pt x="32" y="18"/>
                        <a:pt x="31" y="21"/>
                      </a:cubicBezTo>
                      <a:cubicBezTo>
                        <a:pt x="31" y="23"/>
                        <a:pt x="41" y="28"/>
                        <a:pt x="43" y="27"/>
                      </a:cubicBezTo>
                      <a:close/>
                      <a:moveTo>
                        <a:pt x="41" y="34"/>
                      </a:moveTo>
                      <a:cubicBezTo>
                        <a:pt x="42" y="38"/>
                        <a:pt x="47" y="40"/>
                        <a:pt x="49" y="39"/>
                      </a:cubicBezTo>
                      <a:cubicBezTo>
                        <a:pt x="52" y="37"/>
                        <a:pt x="40" y="31"/>
                        <a:pt x="41" y="34"/>
                      </a:cubicBezTo>
                      <a:close/>
                      <a:moveTo>
                        <a:pt x="56" y="42"/>
                      </a:moveTo>
                      <a:cubicBezTo>
                        <a:pt x="56" y="43"/>
                        <a:pt x="61" y="47"/>
                        <a:pt x="63" y="46"/>
                      </a:cubicBezTo>
                      <a:cubicBezTo>
                        <a:pt x="65" y="44"/>
                        <a:pt x="55" y="41"/>
                        <a:pt x="56" y="42"/>
                      </a:cubicBezTo>
                      <a:close/>
                      <a:moveTo>
                        <a:pt x="50" y="26"/>
                      </a:moveTo>
                      <a:cubicBezTo>
                        <a:pt x="48" y="30"/>
                        <a:pt x="55" y="37"/>
                        <a:pt x="56" y="37"/>
                      </a:cubicBezTo>
                      <a:cubicBezTo>
                        <a:pt x="57" y="37"/>
                        <a:pt x="51" y="23"/>
                        <a:pt x="50" y="2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8" name="Freeform 141">
                  <a:extLst>
                    <a:ext uri="{FF2B5EF4-FFF2-40B4-BE49-F238E27FC236}">
                      <a16:creationId xmlns:a16="http://schemas.microsoft.com/office/drawing/2014/main" id="{4BD87B47-C7F8-4FBC-A315-00E4C4B9EF1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5470345" y="-7952065"/>
                  <a:ext cx="2036736" cy="1816198"/>
                </a:xfrm>
                <a:custGeom>
                  <a:avLst/>
                  <a:gdLst>
                    <a:gd name="T0" fmla="*/ 326 w 330"/>
                    <a:gd name="T1" fmla="*/ 128 h 294"/>
                    <a:gd name="T2" fmla="*/ 312 w 330"/>
                    <a:gd name="T3" fmla="*/ 114 h 294"/>
                    <a:gd name="T4" fmla="*/ 302 w 330"/>
                    <a:gd name="T5" fmla="*/ 100 h 294"/>
                    <a:gd name="T6" fmla="*/ 293 w 330"/>
                    <a:gd name="T7" fmla="*/ 89 h 294"/>
                    <a:gd name="T8" fmla="*/ 269 w 330"/>
                    <a:gd name="T9" fmla="*/ 66 h 294"/>
                    <a:gd name="T10" fmla="*/ 262 w 330"/>
                    <a:gd name="T11" fmla="*/ 38 h 294"/>
                    <a:gd name="T12" fmla="*/ 247 w 330"/>
                    <a:gd name="T13" fmla="*/ 24 h 294"/>
                    <a:gd name="T14" fmla="*/ 235 w 330"/>
                    <a:gd name="T15" fmla="*/ 7 h 294"/>
                    <a:gd name="T16" fmla="*/ 231 w 330"/>
                    <a:gd name="T17" fmla="*/ 37 h 294"/>
                    <a:gd name="T18" fmla="*/ 212 w 330"/>
                    <a:gd name="T19" fmla="*/ 55 h 294"/>
                    <a:gd name="T20" fmla="*/ 189 w 330"/>
                    <a:gd name="T21" fmla="*/ 42 h 294"/>
                    <a:gd name="T22" fmla="*/ 185 w 330"/>
                    <a:gd name="T23" fmla="*/ 25 h 294"/>
                    <a:gd name="T24" fmla="*/ 191 w 330"/>
                    <a:gd name="T25" fmla="*/ 12 h 294"/>
                    <a:gd name="T26" fmla="*/ 179 w 330"/>
                    <a:gd name="T27" fmla="*/ 14 h 294"/>
                    <a:gd name="T28" fmla="*/ 158 w 330"/>
                    <a:gd name="T29" fmla="*/ 10 h 294"/>
                    <a:gd name="T30" fmla="*/ 138 w 330"/>
                    <a:gd name="T31" fmla="*/ 23 h 294"/>
                    <a:gd name="T32" fmla="*/ 131 w 330"/>
                    <a:gd name="T33" fmla="*/ 37 h 294"/>
                    <a:gd name="T34" fmla="*/ 119 w 330"/>
                    <a:gd name="T35" fmla="*/ 31 h 294"/>
                    <a:gd name="T36" fmla="*/ 105 w 330"/>
                    <a:gd name="T37" fmla="*/ 33 h 294"/>
                    <a:gd name="T38" fmla="*/ 94 w 330"/>
                    <a:gd name="T39" fmla="*/ 39 h 294"/>
                    <a:gd name="T40" fmla="*/ 87 w 330"/>
                    <a:gd name="T41" fmla="*/ 53 h 294"/>
                    <a:gd name="T42" fmla="*/ 75 w 330"/>
                    <a:gd name="T43" fmla="*/ 54 h 294"/>
                    <a:gd name="T44" fmla="*/ 49 w 330"/>
                    <a:gd name="T45" fmla="*/ 79 h 294"/>
                    <a:gd name="T46" fmla="*/ 24 w 330"/>
                    <a:gd name="T47" fmla="*/ 87 h 294"/>
                    <a:gd name="T48" fmla="*/ 9 w 330"/>
                    <a:gd name="T49" fmla="*/ 93 h 294"/>
                    <a:gd name="T50" fmla="*/ 4 w 330"/>
                    <a:gd name="T51" fmla="*/ 121 h 294"/>
                    <a:gd name="T52" fmla="*/ 6 w 330"/>
                    <a:gd name="T53" fmla="*/ 133 h 294"/>
                    <a:gd name="T54" fmla="*/ 15 w 330"/>
                    <a:gd name="T55" fmla="*/ 162 h 294"/>
                    <a:gd name="T56" fmla="*/ 16 w 330"/>
                    <a:gd name="T57" fmla="*/ 198 h 294"/>
                    <a:gd name="T58" fmla="*/ 40 w 330"/>
                    <a:gd name="T59" fmla="*/ 210 h 294"/>
                    <a:gd name="T60" fmla="*/ 74 w 330"/>
                    <a:gd name="T61" fmla="*/ 200 h 294"/>
                    <a:gd name="T62" fmla="*/ 112 w 330"/>
                    <a:gd name="T63" fmla="*/ 186 h 294"/>
                    <a:gd name="T64" fmla="*/ 156 w 330"/>
                    <a:gd name="T65" fmla="*/ 183 h 294"/>
                    <a:gd name="T66" fmla="*/ 171 w 330"/>
                    <a:gd name="T67" fmla="*/ 192 h 294"/>
                    <a:gd name="T68" fmla="*/ 187 w 330"/>
                    <a:gd name="T69" fmla="*/ 205 h 294"/>
                    <a:gd name="T70" fmla="*/ 198 w 330"/>
                    <a:gd name="T71" fmla="*/ 203 h 294"/>
                    <a:gd name="T72" fmla="*/ 205 w 330"/>
                    <a:gd name="T73" fmla="*/ 207 h 294"/>
                    <a:gd name="T74" fmla="*/ 217 w 330"/>
                    <a:gd name="T75" fmla="*/ 226 h 294"/>
                    <a:gd name="T76" fmla="*/ 245 w 330"/>
                    <a:gd name="T77" fmla="*/ 246 h 294"/>
                    <a:gd name="T78" fmla="*/ 260 w 330"/>
                    <a:gd name="T79" fmla="*/ 244 h 294"/>
                    <a:gd name="T80" fmla="*/ 270 w 330"/>
                    <a:gd name="T81" fmla="*/ 249 h 294"/>
                    <a:gd name="T82" fmla="*/ 298 w 330"/>
                    <a:gd name="T83" fmla="*/ 236 h 294"/>
                    <a:gd name="T84" fmla="*/ 316 w 330"/>
                    <a:gd name="T85" fmla="*/ 190 h 294"/>
                    <a:gd name="T86" fmla="*/ 327 w 330"/>
                    <a:gd name="T87" fmla="*/ 163 h 294"/>
                    <a:gd name="T88" fmla="*/ 149 w 330"/>
                    <a:gd name="T89" fmla="*/ 8 h 294"/>
                    <a:gd name="T90" fmla="*/ 189 w 330"/>
                    <a:gd name="T91" fmla="*/ 219 h 294"/>
                    <a:gd name="T92" fmla="*/ 270 w 330"/>
                    <a:gd name="T93" fmla="*/ 269 h 294"/>
                    <a:gd name="T94" fmla="*/ 271 w 330"/>
                    <a:gd name="T95" fmla="*/ 293 h 294"/>
                    <a:gd name="T96" fmla="*/ 282 w 330"/>
                    <a:gd name="T97" fmla="*/ 287 h 294"/>
                    <a:gd name="T98" fmla="*/ 270 w 330"/>
                    <a:gd name="T99" fmla="*/ 269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30" h="294">
                      <a:moveTo>
                        <a:pt x="328" y="148"/>
                      </a:moveTo>
                      <a:cubicBezTo>
                        <a:pt x="329" y="147"/>
                        <a:pt x="327" y="141"/>
                        <a:pt x="326" y="142"/>
                      </a:cubicBezTo>
                      <a:cubicBezTo>
                        <a:pt x="325" y="143"/>
                        <a:pt x="325" y="133"/>
                        <a:pt x="326" y="128"/>
                      </a:cubicBezTo>
                      <a:cubicBezTo>
                        <a:pt x="327" y="124"/>
                        <a:pt x="326" y="124"/>
                        <a:pt x="324" y="127"/>
                      </a:cubicBezTo>
                      <a:cubicBezTo>
                        <a:pt x="321" y="129"/>
                        <a:pt x="319" y="122"/>
                        <a:pt x="318" y="121"/>
                      </a:cubicBezTo>
                      <a:cubicBezTo>
                        <a:pt x="318" y="119"/>
                        <a:pt x="315" y="114"/>
                        <a:pt x="312" y="114"/>
                      </a:cubicBezTo>
                      <a:cubicBezTo>
                        <a:pt x="309" y="115"/>
                        <a:pt x="311" y="110"/>
                        <a:pt x="308" y="111"/>
                      </a:cubicBezTo>
                      <a:cubicBezTo>
                        <a:pt x="305" y="111"/>
                        <a:pt x="305" y="107"/>
                        <a:pt x="305" y="102"/>
                      </a:cubicBezTo>
                      <a:cubicBezTo>
                        <a:pt x="306" y="98"/>
                        <a:pt x="303" y="101"/>
                        <a:pt x="302" y="100"/>
                      </a:cubicBezTo>
                      <a:cubicBezTo>
                        <a:pt x="301" y="98"/>
                        <a:pt x="300" y="99"/>
                        <a:pt x="298" y="100"/>
                      </a:cubicBezTo>
                      <a:cubicBezTo>
                        <a:pt x="296" y="101"/>
                        <a:pt x="295" y="96"/>
                        <a:pt x="296" y="95"/>
                      </a:cubicBezTo>
                      <a:cubicBezTo>
                        <a:pt x="296" y="93"/>
                        <a:pt x="295" y="91"/>
                        <a:pt x="293" y="89"/>
                      </a:cubicBezTo>
                      <a:cubicBezTo>
                        <a:pt x="290" y="87"/>
                        <a:pt x="290" y="85"/>
                        <a:pt x="290" y="83"/>
                      </a:cubicBezTo>
                      <a:cubicBezTo>
                        <a:pt x="290" y="80"/>
                        <a:pt x="275" y="73"/>
                        <a:pt x="271" y="72"/>
                      </a:cubicBezTo>
                      <a:cubicBezTo>
                        <a:pt x="268" y="71"/>
                        <a:pt x="271" y="68"/>
                        <a:pt x="269" y="66"/>
                      </a:cubicBezTo>
                      <a:cubicBezTo>
                        <a:pt x="268" y="65"/>
                        <a:pt x="267" y="60"/>
                        <a:pt x="267" y="57"/>
                      </a:cubicBezTo>
                      <a:cubicBezTo>
                        <a:pt x="267" y="53"/>
                        <a:pt x="262" y="51"/>
                        <a:pt x="263" y="48"/>
                      </a:cubicBezTo>
                      <a:cubicBezTo>
                        <a:pt x="263" y="45"/>
                        <a:pt x="261" y="42"/>
                        <a:pt x="262" y="38"/>
                      </a:cubicBezTo>
                      <a:cubicBezTo>
                        <a:pt x="262" y="35"/>
                        <a:pt x="256" y="34"/>
                        <a:pt x="256" y="32"/>
                      </a:cubicBezTo>
                      <a:cubicBezTo>
                        <a:pt x="256" y="30"/>
                        <a:pt x="253" y="32"/>
                        <a:pt x="250" y="32"/>
                      </a:cubicBezTo>
                      <a:cubicBezTo>
                        <a:pt x="247" y="32"/>
                        <a:pt x="247" y="28"/>
                        <a:pt x="247" y="24"/>
                      </a:cubicBezTo>
                      <a:cubicBezTo>
                        <a:pt x="248" y="20"/>
                        <a:pt x="246" y="13"/>
                        <a:pt x="244" y="11"/>
                      </a:cubicBezTo>
                      <a:cubicBezTo>
                        <a:pt x="241" y="9"/>
                        <a:pt x="241" y="2"/>
                        <a:pt x="240" y="1"/>
                      </a:cubicBezTo>
                      <a:cubicBezTo>
                        <a:pt x="239" y="0"/>
                        <a:pt x="234" y="5"/>
                        <a:pt x="235" y="7"/>
                      </a:cubicBezTo>
                      <a:cubicBezTo>
                        <a:pt x="235" y="10"/>
                        <a:pt x="234" y="12"/>
                        <a:pt x="233" y="14"/>
                      </a:cubicBezTo>
                      <a:cubicBezTo>
                        <a:pt x="231" y="15"/>
                        <a:pt x="234" y="21"/>
                        <a:pt x="232" y="23"/>
                      </a:cubicBezTo>
                      <a:cubicBezTo>
                        <a:pt x="229" y="25"/>
                        <a:pt x="231" y="32"/>
                        <a:pt x="231" y="37"/>
                      </a:cubicBezTo>
                      <a:cubicBezTo>
                        <a:pt x="230" y="41"/>
                        <a:pt x="230" y="46"/>
                        <a:pt x="228" y="49"/>
                      </a:cubicBezTo>
                      <a:cubicBezTo>
                        <a:pt x="226" y="52"/>
                        <a:pt x="226" y="57"/>
                        <a:pt x="222" y="59"/>
                      </a:cubicBezTo>
                      <a:cubicBezTo>
                        <a:pt x="217" y="60"/>
                        <a:pt x="212" y="57"/>
                        <a:pt x="212" y="55"/>
                      </a:cubicBezTo>
                      <a:cubicBezTo>
                        <a:pt x="212" y="52"/>
                        <a:pt x="207" y="51"/>
                        <a:pt x="205" y="51"/>
                      </a:cubicBezTo>
                      <a:cubicBezTo>
                        <a:pt x="202" y="52"/>
                        <a:pt x="201" y="48"/>
                        <a:pt x="197" y="45"/>
                      </a:cubicBezTo>
                      <a:cubicBezTo>
                        <a:pt x="193" y="42"/>
                        <a:pt x="190" y="46"/>
                        <a:pt x="189" y="42"/>
                      </a:cubicBezTo>
                      <a:cubicBezTo>
                        <a:pt x="187" y="39"/>
                        <a:pt x="186" y="38"/>
                        <a:pt x="183" y="36"/>
                      </a:cubicBezTo>
                      <a:cubicBezTo>
                        <a:pt x="180" y="34"/>
                        <a:pt x="181" y="34"/>
                        <a:pt x="184" y="32"/>
                      </a:cubicBezTo>
                      <a:cubicBezTo>
                        <a:pt x="187" y="30"/>
                        <a:pt x="186" y="28"/>
                        <a:pt x="185" y="25"/>
                      </a:cubicBezTo>
                      <a:cubicBezTo>
                        <a:pt x="183" y="23"/>
                        <a:pt x="186" y="24"/>
                        <a:pt x="190" y="22"/>
                      </a:cubicBezTo>
                      <a:cubicBezTo>
                        <a:pt x="193" y="20"/>
                        <a:pt x="190" y="17"/>
                        <a:pt x="192" y="16"/>
                      </a:cubicBezTo>
                      <a:cubicBezTo>
                        <a:pt x="195" y="15"/>
                        <a:pt x="194" y="13"/>
                        <a:pt x="191" y="12"/>
                      </a:cubicBezTo>
                      <a:cubicBezTo>
                        <a:pt x="188" y="12"/>
                        <a:pt x="189" y="15"/>
                        <a:pt x="188" y="16"/>
                      </a:cubicBezTo>
                      <a:cubicBezTo>
                        <a:pt x="187" y="16"/>
                        <a:pt x="186" y="11"/>
                        <a:pt x="185" y="11"/>
                      </a:cubicBezTo>
                      <a:cubicBezTo>
                        <a:pt x="184" y="11"/>
                        <a:pt x="180" y="16"/>
                        <a:pt x="179" y="14"/>
                      </a:cubicBezTo>
                      <a:cubicBezTo>
                        <a:pt x="177" y="11"/>
                        <a:pt x="167" y="9"/>
                        <a:pt x="163" y="9"/>
                      </a:cubicBezTo>
                      <a:cubicBezTo>
                        <a:pt x="159" y="8"/>
                        <a:pt x="158" y="3"/>
                        <a:pt x="155" y="4"/>
                      </a:cubicBezTo>
                      <a:cubicBezTo>
                        <a:pt x="153" y="5"/>
                        <a:pt x="156" y="7"/>
                        <a:pt x="158" y="10"/>
                      </a:cubicBezTo>
                      <a:cubicBezTo>
                        <a:pt x="161" y="12"/>
                        <a:pt x="150" y="14"/>
                        <a:pt x="146" y="13"/>
                      </a:cubicBezTo>
                      <a:cubicBezTo>
                        <a:pt x="143" y="12"/>
                        <a:pt x="147" y="16"/>
                        <a:pt x="144" y="16"/>
                      </a:cubicBezTo>
                      <a:cubicBezTo>
                        <a:pt x="141" y="16"/>
                        <a:pt x="140" y="21"/>
                        <a:pt x="138" y="23"/>
                      </a:cubicBezTo>
                      <a:cubicBezTo>
                        <a:pt x="136" y="26"/>
                        <a:pt x="137" y="27"/>
                        <a:pt x="135" y="29"/>
                      </a:cubicBezTo>
                      <a:cubicBezTo>
                        <a:pt x="132" y="30"/>
                        <a:pt x="132" y="32"/>
                        <a:pt x="135" y="36"/>
                      </a:cubicBezTo>
                      <a:cubicBezTo>
                        <a:pt x="138" y="39"/>
                        <a:pt x="134" y="39"/>
                        <a:pt x="131" y="37"/>
                      </a:cubicBezTo>
                      <a:cubicBezTo>
                        <a:pt x="128" y="34"/>
                        <a:pt x="126" y="34"/>
                        <a:pt x="126" y="37"/>
                      </a:cubicBezTo>
                      <a:cubicBezTo>
                        <a:pt x="126" y="40"/>
                        <a:pt x="123" y="39"/>
                        <a:pt x="123" y="35"/>
                      </a:cubicBezTo>
                      <a:cubicBezTo>
                        <a:pt x="124" y="32"/>
                        <a:pt x="120" y="33"/>
                        <a:pt x="119" y="31"/>
                      </a:cubicBezTo>
                      <a:cubicBezTo>
                        <a:pt x="118" y="29"/>
                        <a:pt x="114" y="26"/>
                        <a:pt x="112" y="26"/>
                      </a:cubicBezTo>
                      <a:cubicBezTo>
                        <a:pt x="110" y="27"/>
                        <a:pt x="110" y="29"/>
                        <a:pt x="107" y="29"/>
                      </a:cubicBezTo>
                      <a:cubicBezTo>
                        <a:pt x="105" y="29"/>
                        <a:pt x="105" y="30"/>
                        <a:pt x="105" y="33"/>
                      </a:cubicBezTo>
                      <a:cubicBezTo>
                        <a:pt x="105" y="35"/>
                        <a:pt x="101" y="33"/>
                        <a:pt x="99" y="33"/>
                      </a:cubicBezTo>
                      <a:cubicBezTo>
                        <a:pt x="96" y="33"/>
                        <a:pt x="99" y="36"/>
                        <a:pt x="97" y="37"/>
                      </a:cubicBezTo>
                      <a:cubicBezTo>
                        <a:pt x="96" y="37"/>
                        <a:pt x="96" y="39"/>
                        <a:pt x="94" y="39"/>
                      </a:cubicBezTo>
                      <a:cubicBezTo>
                        <a:pt x="91" y="39"/>
                        <a:pt x="92" y="44"/>
                        <a:pt x="92" y="47"/>
                      </a:cubicBezTo>
                      <a:cubicBezTo>
                        <a:pt x="92" y="50"/>
                        <a:pt x="88" y="46"/>
                        <a:pt x="86" y="47"/>
                      </a:cubicBezTo>
                      <a:cubicBezTo>
                        <a:pt x="84" y="47"/>
                        <a:pt x="87" y="50"/>
                        <a:pt x="87" y="53"/>
                      </a:cubicBezTo>
                      <a:cubicBezTo>
                        <a:pt x="88" y="56"/>
                        <a:pt x="86" y="55"/>
                        <a:pt x="85" y="57"/>
                      </a:cubicBezTo>
                      <a:cubicBezTo>
                        <a:pt x="84" y="58"/>
                        <a:pt x="82" y="53"/>
                        <a:pt x="82" y="51"/>
                      </a:cubicBezTo>
                      <a:cubicBezTo>
                        <a:pt x="82" y="48"/>
                        <a:pt x="79" y="50"/>
                        <a:pt x="75" y="54"/>
                      </a:cubicBezTo>
                      <a:cubicBezTo>
                        <a:pt x="72" y="57"/>
                        <a:pt x="76" y="62"/>
                        <a:pt x="75" y="63"/>
                      </a:cubicBezTo>
                      <a:cubicBezTo>
                        <a:pt x="74" y="64"/>
                        <a:pt x="67" y="70"/>
                        <a:pt x="63" y="75"/>
                      </a:cubicBezTo>
                      <a:cubicBezTo>
                        <a:pt x="60" y="79"/>
                        <a:pt x="52" y="77"/>
                        <a:pt x="49" y="79"/>
                      </a:cubicBezTo>
                      <a:cubicBezTo>
                        <a:pt x="47" y="81"/>
                        <a:pt x="44" y="79"/>
                        <a:pt x="41" y="81"/>
                      </a:cubicBezTo>
                      <a:cubicBezTo>
                        <a:pt x="39" y="83"/>
                        <a:pt x="34" y="87"/>
                        <a:pt x="34" y="85"/>
                      </a:cubicBezTo>
                      <a:cubicBezTo>
                        <a:pt x="33" y="82"/>
                        <a:pt x="27" y="84"/>
                        <a:pt x="24" y="87"/>
                      </a:cubicBezTo>
                      <a:cubicBezTo>
                        <a:pt x="21" y="90"/>
                        <a:pt x="17" y="92"/>
                        <a:pt x="14" y="92"/>
                      </a:cubicBezTo>
                      <a:cubicBezTo>
                        <a:pt x="11" y="93"/>
                        <a:pt x="11" y="97"/>
                        <a:pt x="10" y="98"/>
                      </a:cubicBezTo>
                      <a:cubicBezTo>
                        <a:pt x="9" y="99"/>
                        <a:pt x="9" y="95"/>
                        <a:pt x="9" y="93"/>
                      </a:cubicBezTo>
                      <a:cubicBezTo>
                        <a:pt x="9" y="92"/>
                        <a:pt x="6" y="95"/>
                        <a:pt x="5" y="99"/>
                      </a:cubicBezTo>
                      <a:cubicBezTo>
                        <a:pt x="4" y="103"/>
                        <a:pt x="8" y="104"/>
                        <a:pt x="5" y="108"/>
                      </a:cubicBezTo>
                      <a:cubicBezTo>
                        <a:pt x="3" y="112"/>
                        <a:pt x="0" y="116"/>
                        <a:pt x="4" y="121"/>
                      </a:cubicBezTo>
                      <a:cubicBezTo>
                        <a:pt x="8" y="126"/>
                        <a:pt x="10" y="129"/>
                        <a:pt x="8" y="132"/>
                      </a:cubicBezTo>
                      <a:cubicBezTo>
                        <a:pt x="7" y="134"/>
                        <a:pt x="5" y="127"/>
                        <a:pt x="4" y="128"/>
                      </a:cubicBezTo>
                      <a:cubicBezTo>
                        <a:pt x="3" y="129"/>
                        <a:pt x="7" y="132"/>
                        <a:pt x="6" y="133"/>
                      </a:cubicBezTo>
                      <a:cubicBezTo>
                        <a:pt x="5" y="135"/>
                        <a:pt x="1" y="127"/>
                        <a:pt x="0" y="129"/>
                      </a:cubicBezTo>
                      <a:cubicBezTo>
                        <a:pt x="0" y="131"/>
                        <a:pt x="8" y="143"/>
                        <a:pt x="8" y="147"/>
                      </a:cubicBezTo>
                      <a:cubicBezTo>
                        <a:pt x="9" y="152"/>
                        <a:pt x="16" y="156"/>
                        <a:pt x="15" y="162"/>
                      </a:cubicBezTo>
                      <a:cubicBezTo>
                        <a:pt x="15" y="169"/>
                        <a:pt x="21" y="179"/>
                        <a:pt x="22" y="181"/>
                      </a:cubicBezTo>
                      <a:cubicBezTo>
                        <a:pt x="23" y="182"/>
                        <a:pt x="20" y="187"/>
                        <a:pt x="21" y="192"/>
                      </a:cubicBezTo>
                      <a:cubicBezTo>
                        <a:pt x="21" y="196"/>
                        <a:pt x="19" y="198"/>
                        <a:pt x="16" y="198"/>
                      </a:cubicBezTo>
                      <a:cubicBezTo>
                        <a:pt x="13" y="198"/>
                        <a:pt x="15" y="203"/>
                        <a:pt x="18" y="203"/>
                      </a:cubicBezTo>
                      <a:cubicBezTo>
                        <a:pt x="21" y="204"/>
                        <a:pt x="20" y="206"/>
                        <a:pt x="24" y="209"/>
                      </a:cubicBezTo>
                      <a:cubicBezTo>
                        <a:pt x="28" y="211"/>
                        <a:pt x="37" y="210"/>
                        <a:pt x="40" y="210"/>
                      </a:cubicBezTo>
                      <a:cubicBezTo>
                        <a:pt x="43" y="210"/>
                        <a:pt x="44" y="206"/>
                        <a:pt x="48" y="205"/>
                      </a:cubicBezTo>
                      <a:cubicBezTo>
                        <a:pt x="52" y="205"/>
                        <a:pt x="51" y="204"/>
                        <a:pt x="53" y="202"/>
                      </a:cubicBezTo>
                      <a:cubicBezTo>
                        <a:pt x="55" y="199"/>
                        <a:pt x="65" y="200"/>
                        <a:pt x="74" y="200"/>
                      </a:cubicBezTo>
                      <a:cubicBezTo>
                        <a:pt x="84" y="201"/>
                        <a:pt x="88" y="198"/>
                        <a:pt x="89" y="194"/>
                      </a:cubicBezTo>
                      <a:cubicBezTo>
                        <a:pt x="90" y="191"/>
                        <a:pt x="97" y="190"/>
                        <a:pt x="100" y="188"/>
                      </a:cubicBezTo>
                      <a:cubicBezTo>
                        <a:pt x="102" y="185"/>
                        <a:pt x="105" y="185"/>
                        <a:pt x="112" y="186"/>
                      </a:cubicBezTo>
                      <a:cubicBezTo>
                        <a:pt x="119" y="186"/>
                        <a:pt x="125" y="182"/>
                        <a:pt x="130" y="180"/>
                      </a:cubicBezTo>
                      <a:cubicBezTo>
                        <a:pt x="134" y="179"/>
                        <a:pt x="142" y="179"/>
                        <a:pt x="146" y="178"/>
                      </a:cubicBezTo>
                      <a:cubicBezTo>
                        <a:pt x="151" y="177"/>
                        <a:pt x="151" y="184"/>
                        <a:pt x="156" y="183"/>
                      </a:cubicBezTo>
                      <a:cubicBezTo>
                        <a:pt x="161" y="183"/>
                        <a:pt x="163" y="185"/>
                        <a:pt x="166" y="184"/>
                      </a:cubicBezTo>
                      <a:cubicBezTo>
                        <a:pt x="168" y="184"/>
                        <a:pt x="168" y="186"/>
                        <a:pt x="170" y="187"/>
                      </a:cubicBezTo>
                      <a:cubicBezTo>
                        <a:pt x="173" y="187"/>
                        <a:pt x="173" y="189"/>
                        <a:pt x="171" y="192"/>
                      </a:cubicBezTo>
                      <a:cubicBezTo>
                        <a:pt x="169" y="194"/>
                        <a:pt x="175" y="194"/>
                        <a:pt x="178" y="198"/>
                      </a:cubicBezTo>
                      <a:cubicBezTo>
                        <a:pt x="181" y="203"/>
                        <a:pt x="178" y="204"/>
                        <a:pt x="180" y="207"/>
                      </a:cubicBezTo>
                      <a:cubicBezTo>
                        <a:pt x="182" y="211"/>
                        <a:pt x="183" y="210"/>
                        <a:pt x="187" y="205"/>
                      </a:cubicBezTo>
                      <a:cubicBezTo>
                        <a:pt x="190" y="200"/>
                        <a:pt x="194" y="203"/>
                        <a:pt x="195" y="199"/>
                      </a:cubicBezTo>
                      <a:cubicBezTo>
                        <a:pt x="195" y="195"/>
                        <a:pt x="199" y="190"/>
                        <a:pt x="201" y="192"/>
                      </a:cubicBezTo>
                      <a:cubicBezTo>
                        <a:pt x="204" y="194"/>
                        <a:pt x="200" y="195"/>
                        <a:pt x="198" y="203"/>
                      </a:cubicBezTo>
                      <a:cubicBezTo>
                        <a:pt x="196" y="212"/>
                        <a:pt x="194" y="207"/>
                        <a:pt x="193" y="210"/>
                      </a:cubicBezTo>
                      <a:cubicBezTo>
                        <a:pt x="192" y="212"/>
                        <a:pt x="201" y="213"/>
                        <a:pt x="201" y="209"/>
                      </a:cubicBezTo>
                      <a:cubicBezTo>
                        <a:pt x="201" y="205"/>
                        <a:pt x="202" y="203"/>
                        <a:pt x="205" y="207"/>
                      </a:cubicBezTo>
                      <a:cubicBezTo>
                        <a:pt x="208" y="210"/>
                        <a:pt x="203" y="214"/>
                        <a:pt x="204" y="215"/>
                      </a:cubicBezTo>
                      <a:cubicBezTo>
                        <a:pt x="205" y="217"/>
                        <a:pt x="208" y="215"/>
                        <a:pt x="210" y="215"/>
                      </a:cubicBezTo>
                      <a:cubicBezTo>
                        <a:pt x="213" y="215"/>
                        <a:pt x="217" y="222"/>
                        <a:pt x="217" y="226"/>
                      </a:cubicBezTo>
                      <a:cubicBezTo>
                        <a:pt x="216" y="230"/>
                        <a:pt x="215" y="233"/>
                        <a:pt x="221" y="236"/>
                      </a:cubicBezTo>
                      <a:cubicBezTo>
                        <a:pt x="227" y="240"/>
                        <a:pt x="225" y="240"/>
                        <a:pt x="229" y="240"/>
                      </a:cubicBezTo>
                      <a:cubicBezTo>
                        <a:pt x="234" y="240"/>
                        <a:pt x="243" y="244"/>
                        <a:pt x="245" y="246"/>
                      </a:cubicBezTo>
                      <a:cubicBezTo>
                        <a:pt x="248" y="248"/>
                        <a:pt x="254" y="244"/>
                        <a:pt x="255" y="240"/>
                      </a:cubicBezTo>
                      <a:cubicBezTo>
                        <a:pt x="257" y="236"/>
                        <a:pt x="261" y="240"/>
                        <a:pt x="259" y="241"/>
                      </a:cubicBezTo>
                      <a:cubicBezTo>
                        <a:pt x="256" y="243"/>
                        <a:pt x="260" y="246"/>
                        <a:pt x="260" y="244"/>
                      </a:cubicBezTo>
                      <a:cubicBezTo>
                        <a:pt x="260" y="241"/>
                        <a:pt x="262" y="239"/>
                        <a:pt x="262" y="242"/>
                      </a:cubicBezTo>
                      <a:cubicBezTo>
                        <a:pt x="263" y="245"/>
                        <a:pt x="267" y="245"/>
                        <a:pt x="268" y="247"/>
                      </a:cubicBezTo>
                      <a:cubicBezTo>
                        <a:pt x="269" y="249"/>
                        <a:pt x="270" y="251"/>
                        <a:pt x="270" y="249"/>
                      </a:cubicBezTo>
                      <a:cubicBezTo>
                        <a:pt x="270" y="247"/>
                        <a:pt x="271" y="245"/>
                        <a:pt x="274" y="244"/>
                      </a:cubicBezTo>
                      <a:cubicBezTo>
                        <a:pt x="277" y="243"/>
                        <a:pt x="279" y="241"/>
                        <a:pt x="282" y="239"/>
                      </a:cubicBezTo>
                      <a:cubicBezTo>
                        <a:pt x="285" y="236"/>
                        <a:pt x="297" y="236"/>
                        <a:pt x="298" y="236"/>
                      </a:cubicBezTo>
                      <a:cubicBezTo>
                        <a:pt x="300" y="236"/>
                        <a:pt x="300" y="225"/>
                        <a:pt x="301" y="220"/>
                      </a:cubicBezTo>
                      <a:cubicBezTo>
                        <a:pt x="302" y="214"/>
                        <a:pt x="306" y="213"/>
                        <a:pt x="307" y="207"/>
                      </a:cubicBezTo>
                      <a:cubicBezTo>
                        <a:pt x="308" y="201"/>
                        <a:pt x="314" y="190"/>
                        <a:pt x="316" y="190"/>
                      </a:cubicBezTo>
                      <a:cubicBezTo>
                        <a:pt x="317" y="189"/>
                        <a:pt x="320" y="188"/>
                        <a:pt x="321" y="184"/>
                      </a:cubicBezTo>
                      <a:cubicBezTo>
                        <a:pt x="321" y="181"/>
                        <a:pt x="325" y="177"/>
                        <a:pt x="325" y="173"/>
                      </a:cubicBezTo>
                      <a:cubicBezTo>
                        <a:pt x="325" y="169"/>
                        <a:pt x="327" y="164"/>
                        <a:pt x="327" y="163"/>
                      </a:cubicBezTo>
                      <a:cubicBezTo>
                        <a:pt x="326" y="162"/>
                        <a:pt x="325" y="158"/>
                        <a:pt x="328" y="155"/>
                      </a:cubicBezTo>
                      <a:cubicBezTo>
                        <a:pt x="330" y="152"/>
                        <a:pt x="327" y="149"/>
                        <a:pt x="328" y="148"/>
                      </a:cubicBezTo>
                      <a:close/>
                      <a:moveTo>
                        <a:pt x="149" y="8"/>
                      </a:moveTo>
                      <a:cubicBezTo>
                        <a:pt x="149" y="6"/>
                        <a:pt x="136" y="8"/>
                        <a:pt x="139" y="11"/>
                      </a:cubicBezTo>
                      <a:cubicBezTo>
                        <a:pt x="141" y="12"/>
                        <a:pt x="150" y="10"/>
                        <a:pt x="149" y="8"/>
                      </a:cubicBezTo>
                      <a:close/>
                      <a:moveTo>
                        <a:pt x="189" y="219"/>
                      </a:moveTo>
                      <a:cubicBezTo>
                        <a:pt x="191" y="221"/>
                        <a:pt x="198" y="220"/>
                        <a:pt x="199" y="218"/>
                      </a:cubicBezTo>
                      <a:cubicBezTo>
                        <a:pt x="200" y="215"/>
                        <a:pt x="188" y="218"/>
                        <a:pt x="189" y="219"/>
                      </a:cubicBezTo>
                      <a:close/>
                      <a:moveTo>
                        <a:pt x="270" y="269"/>
                      </a:moveTo>
                      <a:cubicBezTo>
                        <a:pt x="265" y="269"/>
                        <a:pt x="258" y="264"/>
                        <a:pt x="256" y="265"/>
                      </a:cubicBezTo>
                      <a:cubicBezTo>
                        <a:pt x="254" y="265"/>
                        <a:pt x="263" y="278"/>
                        <a:pt x="260" y="281"/>
                      </a:cubicBezTo>
                      <a:cubicBezTo>
                        <a:pt x="258" y="284"/>
                        <a:pt x="267" y="293"/>
                        <a:pt x="271" y="293"/>
                      </a:cubicBezTo>
                      <a:cubicBezTo>
                        <a:pt x="274" y="294"/>
                        <a:pt x="273" y="290"/>
                        <a:pt x="275" y="290"/>
                      </a:cubicBezTo>
                      <a:cubicBezTo>
                        <a:pt x="278" y="290"/>
                        <a:pt x="277" y="288"/>
                        <a:pt x="277" y="286"/>
                      </a:cubicBezTo>
                      <a:cubicBezTo>
                        <a:pt x="277" y="284"/>
                        <a:pt x="280" y="288"/>
                        <a:pt x="282" y="287"/>
                      </a:cubicBezTo>
                      <a:cubicBezTo>
                        <a:pt x="284" y="286"/>
                        <a:pt x="281" y="278"/>
                        <a:pt x="284" y="278"/>
                      </a:cubicBezTo>
                      <a:cubicBezTo>
                        <a:pt x="287" y="278"/>
                        <a:pt x="285" y="269"/>
                        <a:pt x="284" y="266"/>
                      </a:cubicBezTo>
                      <a:cubicBezTo>
                        <a:pt x="283" y="263"/>
                        <a:pt x="275" y="268"/>
                        <a:pt x="270" y="26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9" name="Freeform 142">
                  <a:extLst>
                    <a:ext uri="{FF2B5EF4-FFF2-40B4-BE49-F238E27FC236}">
                      <a16:creationId xmlns:a16="http://schemas.microsoft.com/office/drawing/2014/main" id="{FD9D5778-2B85-4AD5-8E8F-B44041E32F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801184" y="-6661267"/>
                  <a:ext cx="622696" cy="739452"/>
                </a:xfrm>
                <a:custGeom>
                  <a:avLst/>
                  <a:gdLst>
                    <a:gd name="T0" fmla="*/ 62 w 101"/>
                    <a:gd name="T1" fmla="*/ 58 h 120"/>
                    <a:gd name="T2" fmla="*/ 56 w 101"/>
                    <a:gd name="T3" fmla="*/ 60 h 120"/>
                    <a:gd name="T4" fmla="*/ 48 w 101"/>
                    <a:gd name="T5" fmla="*/ 57 h 120"/>
                    <a:gd name="T6" fmla="*/ 44 w 101"/>
                    <a:gd name="T7" fmla="*/ 64 h 120"/>
                    <a:gd name="T8" fmla="*/ 37 w 101"/>
                    <a:gd name="T9" fmla="*/ 75 h 120"/>
                    <a:gd name="T10" fmla="*/ 15 w 101"/>
                    <a:gd name="T11" fmla="*/ 90 h 120"/>
                    <a:gd name="T12" fmla="*/ 5 w 101"/>
                    <a:gd name="T13" fmla="*/ 99 h 120"/>
                    <a:gd name="T14" fmla="*/ 3 w 101"/>
                    <a:gd name="T15" fmla="*/ 108 h 120"/>
                    <a:gd name="T16" fmla="*/ 10 w 101"/>
                    <a:gd name="T17" fmla="*/ 111 h 120"/>
                    <a:gd name="T18" fmla="*/ 16 w 101"/>
                    <a:gd name="T19" fmla="*/ 114 h 120"/>
                    <a:gd name="T20" fmla="*/ 31 w 101"/>
                    <a:gd name="T21" fmla="*/ 110 h 120"/>
                    <a:gd name="T22" fmla="*/ 36 w 101"/>
                    <a:gd name="T23" fmla="*/ 101 h 120"/>
                    <a:gd name="T24" fmla="*/ 40 w 101"/>
                    <a:gd name="T25" fmla="*/ 93 h 120"/>
                    <a:gd name="T26" fmla="*/ 49 w 101"/>
                    <a:gd name="T27" fmla="*/ 87 h 120"/>
                    <a:gd name="T28" fmla="*/ 52 w 101"/>
                    <a:gd name="T29" fmla="*/ 83 h 120"/>
                    <a:gd name="T30" fmla="*/ 57 w 101"/>
                    <a:gd name="T31" fmla="*/ 75 h 120"/>
                    <a:gd name="T32" fmla="*/ 63 w 101"/>
                    <a:gd name="T33" fmla="*/ 65 h 120"/>
                    <a:gd name="T34" fmla="*/ 62 w 101"/>
                    <a:gd name="T35" fmla="*/ 58 h 120"/>
                    <a:gd name="T36" fmla="*/ 11 w 101"/>
                    <a:gd name="T37" fmla="*/ 120 h 120"/>
                    <a:gd name="T38" fmla="*/ 14 w 101"/>
                    <a:gd name="T39" fmla="*/ 116 h 120"/>
                    <a:gd name="T40" fmla="*/ 11 w 101"/>
                    <a:gd name="T41" fmla="*/ 120 h 120"/>
                    <a:gd name="T42" fmla="*/ 91 w 101"/>
                    <a:gd name="T43" fmla="*/ 29 h 120"/>
                    <a:gd name="T44" fmla="*/ 83 w 101"/>
                    <a:gd name="T45" fmla="*/ 29 h 120"/>
                    <a:gd name="T46" fmla="*/ 79 w 101"/>
                    <a:gd name="T47" fmla="*/ 24 h 120"/>
                    <a:gd name="T48" fmla="*/ 75 w 101"/>
                    <a:gd name="T49" fmla="*/ 17 h 120"/>
                    <a:gd name="T50" fmla="*/ 75 w 101"/>
                    <a:gd name="T51" fmla="*/ 22 h 120"/>
                    <a:gd name="T52" fmla="*/ 72 w 101"/>
                    <a:gd name="T53" fmla="*/ 20 h 120"/>
                    <a:gd name="T54" fmla="*/ 69 w 101"/>
                    <a:gd name="T55" fmla="*/ 15 h 120"/>
                    <a:gd name="T56" fmla="*/ 66 w 101"/>
                    <a:gd name="T57" fmla="*/ 8 h 120"/>
                    <a:gd name="T58" fmla="*/ 56 w 101"/>
                    <a:gd name="T59" fmla="*/ 0 h 120"/>
                    <a:gd name="T60" fmla="*/ 58 w 101"/>
                    <a:gd name="T61" fmla="*/ 9 h 120"/>
                    <a:gd name="T62" fmla="*/ 64 w 101"/>
                    <a:gd name="T63" fmla="*/ 14 h 120"/>
                    <a:gd name="T64" fmla="*/ 68 w 101"/>
                    <a:gd name="T65" fmla="*/ 21 h 120"/>
                    <a:gd name="T66" fmla="*/ 67 w 101"/>
                    <a:gd name="T67" fmla="*/ 33 h 120"/>
                    <a:gd name="T68" fmla="*/ 61 w 101"/>
                    <a:gd name="T69" fmla="*/ 40 h 120"/>
                    <a:gd name="T70" fmla="*/ 71 w 101"/>
                    <a:gd name="T71" fmla="*/ 50 h 120"/>
                    <a:gd name="T72" fmla="*/ 69 w 101"/>
                    <a:gd name="T73" fmla="*/ 63 h 120"/>
                    <a:gd name="T74" fmla="*/ 76 w 101"/>
                    <a:gd name="T75" fmla="*/ 64 h 120"/>
                    <a:gd name="T76" fmla="*/ 85 w 101"/>
                    <a:gd name="T77" fmla="*/ 51 h 120"/>
                    <a:gd name="T78" fmla="*/ 88 w 101"/>
                    <a:gd name="T79" fmla="*/ 43 h 120"/>
                    <a:gd name="T80" fmla="*/ 93 w 101"/>
                    <a:gd name="T81" fmla="*/ 41 h 120"/>
                    <a:gd name="T82" fmla="*/ 96 w 101"/>
                    <a:gd name="T83" fmla="*/ 36 h 120"/>
                    <a:gd name="T84" fmla="*/ 99 w 101"/>
                    <a:gd name="T85" fmla="*/ 29 h 120"/>
                    <a:gd name="T86" fmla="*/ 91 w 101"/>
                    <a:gd name="T87" fmla="*/ 29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01" h="120">
                      <a:moveTo>
                        <a:pt x="62" y="58"/>
                      </a:moveTo>
                      <a:cubicBezTo>
                        <a:pt x="60" y="56"/>
                        <a:pt x="59" y="59"/>
                        <a:pt x="56" y="60"/>
                      </a:cubicBezTo>
                      <a:cubicBezTo>
                        <a:pt x="53" y="61"/>
                        <a:pt x="51" y="54"/>
                        <a:pt x="48" y="57"/>
                      </a:cubicBezTo>
                      <a:cubicBezTo>
                        <a:pt x="45" y="60"/>
                        <a:pt x="48" y="61"/>
                        <a:pt x="44" y="64"/>
                      </a:cubicBezTo>
                      <a:cubicBezTo>
                        <a:pt x="40" y="67"/>
                        <a:pt x="42" y="68"/>
                        <a:pt x="37" y="75"/>
                      </a:cubicBezTo>
                      <a:cubicBezTo>
                        <a:pt x="33" y="82"/>
                        <a:pt x="17" y="86"/>
                        <a:pt x="15" y="90"/>
                      </a:cubicBezTo>
                      <a:cubicBezTo>
                        <a:pt x="13" y="93"/>
                        <a:pt x="5" y="97"/>
                        <a:pt x="5" y="99"/>
                      </a:cubicBezTo>
                      <a:cubicBezTo>
                        <a:pt x="5" y="102"/>
                        <a:pt x="0" y="104"/>
                        <a:pt x="3" y="108"/>
                      </a:cubicBezTo>
                      <a:cubicBezTo>
                        <a:pt x="5" y="111"/>
                        <a:pt x="8" y="109"/>
                        <a:pt x="10" y="111"/>
                      </a:cubicBezTo>
                      <a:cubicBezTo>
                        <a:pt x="12" y="114"/>
                        <a:pt x="15" y="112"/>
                        <a:pt x="16" y="114"/>
                      </a:cubicBezTo>
                      <a:cubicBezTo>
                        <a:pt x="17" y="116"/>
                        <a:pt x="25" y="116"/>
                        <a:pt x="31" y="110"/>
                      </a:cubicBezTo>
                      <a:cubicBezTo>
                        <a:pt x="37" y="105"/>
                        <a:pt x="34" y="102"/>
                        <a:pt x="36" y="101"/>
                      </a:cubicBezTo>
                      <a:cubicBezTo>
                        <a:pt x="38" y="100"/>
                        <a:pt x="39" y="95"/>
                        <a:pt x="40" y="93"/>
                      </a:cubicBezTo>
                      <a:cubicBezTo>
                        <a:pt x="42" y="90"/>
                        <a:pt x="43" y="87"/>
                        <a:pt x="49" y="87"/>
                      </a:cubicBezTo>
                      <a:cubicBezTo>
                        <a:pt x="55" y="87"/>
                        <a:pt x="52" y="86"/>
                        <a:pt x="52" y="83"/>
                      </a:cubicBezTo>
                      <a:cubicBezTo>
                        <a:pt x="51" y="80"/>
                        <a:pt x="57" y="79"/>
                        <a:pt x="57" y="75"/>
                      </a:cubicBezTo>
                      <a:cubicBezTo>
                        <a:pt x="57" y="71"/>
                        <a:pt x="65" y="68"/>
                        <a:pt x="63" y="65"/>
                      </a:cubicBezTo>
                      <a:cubicBezTo>
                        <a:pt x="62" y="62"/>
                        <a:pt x="65" y="60"/>
                        <a:pt x="62" y="58"/>
                      </a:cubicBezTo>
                      <a:close/>
                      <a:moveTo>
                        <a:pt x="11" y="120"/>
                      </a:moveTo>
                      <a:cubicBezTo>
                        <a:pt x="12" y="120"/>
                        <a:pt x="16" y="119"/>
                        <a:pt x="14" y="116"/>
                      </a:cubicBezTo>
                      <a:cubicBezTo>
                        <a:pt x="11" y="113"/>
                        <a:pt x="8" y="119"/>
                        <a:pt x="11" y="120"/>
                      </a:cubicBezTo>
                      <a:close/>
                      <a:moveTo>
                        <a:pt x="91" y="29"/>
                      </a:moveTo>
                      <a:cubicBezTo>
                        <a:pt x="90" y="32"/>
                        <a:pt x="87" y="29"/>
                        <a:pt x="83" y="29"/>
                      </a:cubicBezTo>
                      <a:cubicBezTo>
                        <a:pt x="80" y="29"/>
                        <a:pt x="79" y="27"/>
                        <a:pt x="79" y="24"/>
                      </a:cubicBezTo>
                      <a:cubicBezTo>
                        <a:pt x="79" y="21"/>
                        <a:pt x="78" y="17"/>
                        <a:pt x="75" y="17"/>
                      </a:cubicBezTo>
                      <a:cubicBezTo>
                        <a:pt x="72" y="18"/>
                        <a:pt x="76" y="21"/>
                        <a:pt x="75" y="22"/>
                      </a:cubicBezTo>
                      <a:cubicBezTo>
                        <a:pt x="74" y="23"/>
                        <a:pt x="73" y="20"/>
                        <a:pt x="72" y="20"/>
                      </a:cubicBezTo>
                      <a:cubicBezTo>
                        <a:pt x="70" y="20"/>
                        <a:pt x="69" y="18"/>
                        <a:pt x="69" y="15"/>
                      </a:cubicBezTo>
                      <a:cubicBezTo>
                        <a:pt x="69" y="11"/>
                        <a:pt x="66" y="12"/>
                        <a:pt x="66" y="8"/>
                      </a:cubicBezTo>
                      <a:cubicBezTo>
                        <a:pt x="66" y="3"/>
                        <a:pt x="59" y="0"/>
                        <a:pt x="56" y="0"/>
                      </a:cubicBezTo>
                      <a:cubicBezTo>
                        <a:pt x="52" y="0"/>
                        <a:pt x="56" y="7"/>
                        <a:pt x="58" y="9"/>
                      </a:cubicBezTo>
                      <a:cubicBezTo>
                        <a:pt x="60" y="11"/>
                        <a:pt x="64" y="13"/>
                        <a:pt x="64" y="14"/>
                      </a:cubicBezTo>
                      <a:cubicBezTo>
                        <a:pt x="64" y="16"/>
                        <a:pt x="66" y="20"/>
                        <a:pt x="68" y="21"/>
                      </a:cubicBezTo>
                      <a:cubicBezTo>
                        <a:pt x="71" y="22"/>
                        <a:pt x="67" y="28"/>
                        <a:pt x="67" y="33"/>
                      </a:cubicBezTo>
                      <a:cubicBezTo>
                        <a:pt x="67" y="38"/>
                        <a:pt x="63" y="37"/>
                        <a:pt x="61" y="40"/>
                      </a:cubicBezTo>
                      <a:cubicBezTo>
                        <a:pt x="58" y="43"/>
                        <a:pt x="67" y="47"/>
                        <a:pt x="71" y="50"/>
                      </a:cubicBezTo>
                      <a:cubicBezTo>
                        <a:pt x="75" y="53"/>
                        <a:pt x="68" y="61"/>
                        <a:pt x="69" y="63"/>
                      </a:cubicBezTo>
                      <a:cubicBezTo>
                        <a:pt x="70" y="64"/>
                        <a:pt x="72" y="65"/>
                        <a:pt x="76" y="64"/>
                      </a:cubicBezTo>
                      <a:cubicBezTo>
                        <a:pt x="80" y="63"/>
                        <a:pt x="82" y="54"/>
                        <a:pt x="85" y="51"/>
                      </a:cubicBezTo>
                      <a:cubicBezTo>
                        <a:pt x="88" y="49"/>
                        <a:pt x="86" y="45"/>
                        <a:pt x="88" y="43"/>
                      </a:cubicBezTo>
                      <a:cubicBezTo>
                        <a:pt x="89" y="41"/>
                        <a:pt x="91" y="41"/>
                        <a:pt x="93" y="41"/>
                      </a:cubicBezTo>
                      <a:cubicBezTo>
                        <a:pt x="95" y="41"/>
                        <a:pt x="94" y="36"/>
                        <a:pt x="96" y="36"/>
                      </a:cubicBezTo>
                      <a:cubicBezTo>
                        <a:pt x="99" y="36"/>
                        <a:pt x="98" y="33"/>
                        <a:pt x="99" y="29"/>
                      </a:cubicBezTo>
                      <a:cubicBezTo>
                        <a:pt x="101" y="25"/>
                        <a:pt x="93" y="27"/>
                        <a:pt x="91" y="2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0" name="Freeform 143">
                  <a:extLst>
                    <a:ext uri="{FF2B5EF4-FFF2-40B4-BE49-F238E27FC236}">
                      <a16:creationId xmlns:a16="http://schemas.microsoft.com/office/drawing/2014/main" id="{F678E4B4-BA79-4CB2-B378-A936710124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259567" y="-7660176"/>
                  <a:ext cx="136215" cy="116756"/>
                </a:xfrm>
                <a:custGeom>
                  <a:avLst/>
                  <a:gdLst>
                    <a:gd name="T0" fmla="*/ 3 w 22"/>
                    <a:gd name="T1" fmla="*/ 16 h 19"/>
                    <a:gd name="T2" fmla="*/ 12 w 22"/>
                    <a:gd name="T3" fmla="*/ 14 h 19"/>
                    <a:gd name="T4" fmla="*/ 3 w 22"/>
                    <a:gd name="T5" fmla="*/ 16 h 19"/>
                    <a:gd name="T6" fmla="*/ 14 w 22"/>
                    <a:gd name="T7" fmla="*/ 7 h 19"/>
                    <a:gd name="T8" fmla="*/ 22 w 22"/>
                    <a:gd name="T9" fmla="*/ 3 h 19"/>
                    <a:gd name="T10" fmla="*/ 14 w 22"/>
                    <a:gd name="T11" fmla="*/ 7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19">
                      <a:moveTo>
                        <a:pt x="3" y="16"/>
                      </a:moveTo>
                      <a:cubicBezTo>
                        <a:pt x="6" y="19"/>
                        <a:pt x="12" y="19"/>
                        <a:pt x="12" y="14"/>
                      </a:cubicBezTo>
                      <a:cubicBezTo>
                        <a:pt x="12" y="9"/>
                        <a:pt x="0" y="14"/>
                        <a:pt x="3" y="16"/>
                      </a:cubicBezTo>
                      <a:close/>
                      <a:moveTo>
                        <a:pt x="14" y="7"/>
                      </a:moveTo>
                      <a:cubicBezTo>
                        <a:pt x="16" y="8"/>
                        <a:pt x="22" y="6"/>
                        <a:pt x="22" y="3"/>
                      </a:cubicBezTo>
                      <a:cubicBezTo>
                        <a:pt x="22" y="0"/>
                        <a:pt x="11" y="6"/>
                        <a:pt x="14" y="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1" name="Freeform 144">
                  <a:extLst>
                    <a:ext uri="{FF2B5EF4-FFF2-40B4-BE49-F238E27FC236}">
                      <a16:creationId xmlns:a16="http://schemas.microsoft.com/office/drawing/2014/main" id="{023E38C2-6F14-476B-9750-E3741A6E40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424910" y="-10773659"/>
                  <a:ext cx="710264" cy="450807"/>
                </a:xfrm>
                <a:custGeom>
                  <a:avLst/>
                  <a:gdLst>
                    <a:gd name="T0" fmla="*/ 114 w 115"/>
                    <a:gd name="T1" fmla="*/ 46 h 73"/>
                    <a:gd name="T2" fmla="*/ 107 w 115"/>
                    <a:gd name="T3" fmla="*/ 44 h 73"/>
                    <a:gd name="T4" fmla="*/ 99 w 115"/>
                    <a:gd name="T5" fmla="*/ 38 h 73"/>
                    <a:gd name="T6" fmla="*/ 90 w 115"/>
                    <a:gd name="T7" fmla="*/ 33 h 73"/>
                    <a:gd name="T8" fmla="*/ 82 w 115"/>
                    <a:gd name="T9" fmla="*/ 27 h 73"/>
                    <a:gd name="T10" fmla="*/ 78 w 115"/>
                    <a:gd name="T11" fmla="*/ 20 h 73"/>
                    <a:gd name="T12" fmla="*/ 75 w 115"/>
                    <a:gd name="T13" fmla="*/ 15 h 73"/>
                    <a:gd name="T14" fmla="*/ 63 w 115"/>
                    <a:gd name="T15" fmla="*/ 14 h 73"/>
                    <a:gd name="T16" fmla="*/ 60 w 115"/>
                    <a:gd name="T17" fmla="*/ 5 h 73"/>
                    <a:gd name="T18" fmla="*/ 54 w 115"/>
                    <a:gd name="T19" fmla="*/ 3 h 73"/>
                    <a:gd name="T20" fmla="*/ 48 w 115"/>
                    <a:gd name="T21" fmla="*/ 2 h 73"/>
                    <a:gd name="T22" fmla="*/ 45 w 115"/>
                    <a:gd name="T23" fmla="*/ 3 h 73"/>
                    <a:gd name="T24" fmla="*/ 42 w 115"/>
                    <a:gd name="T25" fmla="*/ 6 h 73"/>
                    <a:gd name="T26" fmla="*/ 36 w 115"/>
                    <a:gd name="T27" fmla="*/ 11 h 73"/>
                    <a:gd name="T28" fmla="*/ 33 w 115"/>
                    <a:gd name="T29" fmla="*/ 14 h 73"/>
                    <a:gd name="T30" fmla="*/ 28 w 115"/>
                    <a:gd name="T31" fmla="*/ 13 h 73"/>
                    <a:gd name="T32" fmla="*/ 22 w 115"/>
                    <a:gd name="T33" fmla="*/ 12 h 73"/>
                    <a:gd name="T34" fmla="*/ 12 w 115"/>
                    <a:gd name="T35" fmla="*/ 4 h 73"/>
                    <a:gd name="T36" fmla="*/ 4 w 115"/>
                    <a:gd name="T37" fmla="*/ 9 h 73"/>
                    <a:gd name="T38" fmla="*/ 8 w 115"/>
                    <a:gd name="T39" fmla="*/ 7 h 73"/>
                    <a:gd name="T40" fmla="*/ 14 w 115"/>
                    <a:gd name="T41" fmla="*/ 14 h 73"/>
                    <a:gd name="T42" fmla="*/ 18 w 115"/>
                    <a:gd name="T43" fmla="*/ 19 h 73"/>
                    <a:gd name="T44" fmla="*/ 10 w 115"/>
                    <a:gd name="T45" fmla="*/ 21 h 73"/>
                    <a:gd name="T46" fmla="*/ 2 w 115"/>
                    <a:gd name="T47" fmla="*/ 21 h 73"/>
                    <a:gd name="T48" fmla="*/ 4 w 115"/>
                    <a:gd name="T49" fmla="*/ 28 h 73"/>
                    <a:gd name="T50" fmla="*/ 4 w 115"/>
                    <a:gd name="T51" fmla="*/ 33 h 73"/>
                    <a:gd name="T52" fmla="*/ 9 w 115"/>
                    <a:gd name="T53" fmla="*/ 34 h 73"/>
                    <a:gd name="T54" fmla="*/ 11 w 115"/>
                    <a:gd name="T55" fmla="*/ 41 h 73"/>
                    <a:gd name="T56" fmla="*/ 11 w 115"/>
                    <a:gd name="T57" fmla="*/ 52 h 73"/>
                    <a:gd name="T58" fmla="*/ 17 w 115"/>
                    <a:gd name="T59" fmla="*/ 50 h 73"/>
                    <a:gd name="T60" fmla="*/ 24 w 115"/>
                    <a:gd name="T61" fmla="*/ 45 h 73"/>
                    <a:gd name="T62" fmla="*/ 30 w 115"/>
                    <a:gd name="T63" fmla="*/ 45 h 73"/>
                    <a:gd name="T64" fmla="*/ 39 w 115"/>
                    <a:gd name="T65" fmla="*/ 45 h 73"/>
                    <a:gd name="T66" fmla="*/ 45 w 115"/>
                    <a:gd name="T67" fmla="*/ 48 h 73"/>
                    <a:gd name="T68" fmla="*/ 49 w 115"/>
                    <a:gd name="T69" fmla="*/ 49 h 73"/>
                    <a:gd name="T70" fmla="*/ 56 w 115"/>
                    <a:gd name="T71" fmla="*/ 52 h 73"/>
                    <a:gd name="T72" fmla="*/ 60 w 115"/>
                    <a:gd name="T73" fmla="*/ 54 h 73"/>
                    <a:gd name="T74" fmla="*/ 65 w 115"/>
                    <a:gd name="T75" fmla="*/ 59 h 73"/>
                    <a:gd name="T76" fmla="*/ 71 w 115"/>
                    <a:gd name="T77" fmla="*/ 60 h 73"/>
                    <a:gd name="T78" fmla="*/ 72 w 115"/>
                    <a:gd name="T79" fmla="*/ 70 h 73"/>
                    <a:gd name="T80" fmla="*/ 74 w 115"/>
                    <a:gd name="T81" fmla="*/ 70 h 73"/>
                    <a:gd name="T82" fmla="*/ 80 w 115"/>
                    <a:gd name="T83" fmla="*/ 71 h 73"/>
                    <a:gd name="T84" fmla="*/ 87 w 115"/>
                    <a:gd name="T85" fmla="*/ 69 h 73"/>
                    <a:gd name="T86" fmla="*/ 98 w 115"/>
                    <a:gd name="T87" fmla="*/ 62 h 73"/>
                    <a:gd name="T88" fmla="*/ 103 w 115"/>
                    <a:gd name="T89" fmla="*/ 54 h 73"/>
                    <a:gd name="T90" fmla="*/ 109 w 115"/>
                    <a:gd name="T91" fmla="*/ 50 h 73"/>
                    <a:gd name="T92" fmla="*/ 115 w 115"/>
                    <a:gd name="T93" fmla="*/ 52 h 73"/>
                    <a:gd name="T94" fmla="*/ 114 w 115"/>
                    <a:gd name="T95" fmla="*/ 46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15" h="73">
                      <a:moveTo>
                        <a:pt x="114" y="46"/>
                      </a:moveTo>
                      <a:cubicBezTo>
                        <a:pt x="114" y="46"/>
                        <a:pt x="109" y="44"/>
                        <a:pt x="107" y="44"/>
                      </a:cubicBezTo>
                      <a:cubicBezTo>
                        <a:pt x="105" y="44"/>
                        <a:pt x="102" y="40"/>
                        <a:pt x="99" y="38"/>
                      </a:cubicBezTo>
                      <a:cubicBezTo>
                        <a:pt x="96" y="37"/>
                        <a:pt x="91" y="35"/>
                        <a:pt x="90" y="33"/>
                      </a:cubicBezTo>
                      <a:cubicBezTo>
                        <a:pt x="88" y="31"/>
                        <a:pt x="82" y="29"/>
                        <a:pt x="82" y="27"/>
                      </a:cubicBezTo>
                      <a:cubicBezTo>
                        <a:pt x="81" y="25"/>
                        <a:pt x="80" y="23"/>
                        <a:pt x="78" y="20"/>
                      </a:cubicBezTo>
                      <a:cubicBezTo>
                        <a:pt x="76" y="18"/>
                        <a:pt x="76" y="15"/>
                        <a:pt x="75" y="15"/>
                      </a:cubicBezTo>
                      <a:cubicBezTo>
                        <a:pt x="73" y="15"/>
                        <a:pt x="63" y="15"/>
                        <a:pt x="63" y="14"/>
                      </a:cubicBezTo>
                      <a:cubicBezTo>
                        <a:pt x="63" y="12"/>
                        <a:pt x="62" y="6"/>
                        <a:pt x="60" y="5"/>
                      </a:cubicBezTo>
                      <a:cubicBezTo>
                        <a:pt x="58" y="5"/>
                        <a:pt x="55" y="4"/>
                        <a:pt x="54" y="3"/>
                      </a:cubicBezTo>
                      <a:cubicBezTo>
                        <a:pt x="53" y="2"/>
                        <a:pt x="49" y="0"/>
                        <a:pt x="48" y="2"/>
                      </a:cubicBezTo>
                      <a:cubicBezTo>
                        <a:pt x="47" y="3"/>
                        <a:pt x="46" y="3"/>
                        <a:pt x="45" y="3"/>
                      </a:cubicBezTo>
                      <a:cubicBezTo>
                        <a:pt x="44" y="3"/>
                        <a:pt x="44" y="7"/>
                        <a:pt x="42" y="6"/>
                      </a:cubicBezTo>
                      <a:cubicBezTo>
                        <a:pt x="40" y="6"/>
                        <a:pt x="36" y="9"/>
                        <a:pt x="36" y="11"/>
                      </a:cubicBezTo>
                      <a:cubicBezTo>
                        <a:pt x="36" y="12"/>
                        <a:pt x="36" y="15"/>
                        <a:pt x="33" y="14"/>
                      </a:cubicBezTo>
                      <a:cubicBezTo>
                        <a:pt x="32" y="14"/>
                        <a:pt x="30" y="14"/>
                        <a:pt x="28" y="13"/>
                      </a:cubicBezTo>
                      <a:cubicBezTo>
                        <a:pt x="27" y="13"/>
                        <a:pt x="25" y="15"/>
                        <a:pt x="22" y="12"/>
                      </a:cubicBezTo>
                      <a:cubicBezTo>
                        <a:pt x="19" y="8"/>
                        <a:pt x="15" y="4"/>
                        <a:pt x="12" y="4"/>
                      </a:cubicBezTo>
                      <a:cubicBezTo>
                        <a:pt x="10" y="4"/>
                        <a:pt x="2" y="4"/>
                        <a:pt x="4" y="9"/>
                      </a:cubicBezTo>
                      <a:cubicBezTo>
                        <a:pt x="5" y="8"/>
                        <a:pt x="6" y="7"/>
                        <a:pt x="8" y="7"/>
                      </a:cubicBezTo>
                      <a:cubicBezTo>
                        <a:pt x="13" y="8"/>
                        <a:pt x="11" y="14"/>
                        <a:pt x="14" y="14"/>
                      </a:cubicBezTo>
                      <a:cubicBezTo>
                        <a:pt x="17" y="15"/>
                        <a:pt x="21" y="19"/>
                        <a:pt x="18" y="19"/>
                      </a:cubicBezTo>
                      <a:cubicBezTo>
                        <a:pt x="15" y="19"/>
                        <a:pt x="12" y="22"/>
                        <a:pt x="10" y="21"/>
                      </a:cubicBezTo>
                      <a:cubicBezTo>
                        <a:pt x="7" y="20"/>
                        <a:pt x="3" y="18"/>
                        <a:pt x="2" y="21"/>
                      </a:cubicBezTo>
                      <a:cubicBezTo>
                        <a:pt x="1" y="24"/>
                        <a:pt x="0" y="28"/>
                        <a:pt x="4" y="28"/>
                      </a:cubicBezTo>
                      <a:cubicBezTo>
                        <a:pt x="8" y="27"/>
                        <a:pt x="7" y="30"/>
                        <a:pt x="4" y="33"/>
                      </a:cubicBezTo>
                      <a:cubicBezTo>
                        <a:pt x="2" y="35"/>
                        <a:pt x="8" y="32"/>
                        <a:pt x="9" y="34"/>
                      </a:cubicBezTo>
                      <a:cubicBezTo>
                        <a:pt x="9" y="37"/>
                        <a:pt x="12" y="37"/>
                        <a:pt x="11" y="41"/>
                      </a:cubicBezTo>
                      <a:cubicBezTo>
                        <a:pt x="10" y="43"/>
                        <a:pt x="10" y="48"/>
                        <a:pt x="11" y="52"/>
                      </a:cubicBezTo>
                      <a:cubicBezTo>
                        <a:pt x="13" y="52"/>
                        <a:pt x="16" y="51"/>
                        <a:pt x="17" y="50"/>
                      </a:cubicBezTo>
                      <a:cubicBezTo>
                        <a:pt x="18" y="49"/>
                        <a:pt x="22" y="45"/>
                        <a:pt x="24" y="45"/>
                      </a:cubicBezTo>
                      <a:cubicBezTo>
                        <a:pt x="26" y="45"/>
                        <a:pt x="29" y="46"/>
                        <a:pt x="30" y="45"/>
                      </a:cubicBezTo>
                      <a:cubicBezTo>
                        <a:pt x="31" y="43"/>
                        <a:pt x="38" y="43"/>
                        <a:pt x="39" y="45"/>
                      </a:cubicBezTo>
                      <a:cubicBezTo>
                        <a:pt x="41" y="46"/>
                        <a:pt x="44" y="48"/>
                        <a:pt x="45" y="48"/>
                      </a:cubicBezTo>
                      <a:cubicBezTo>
                        <a:pt x="46" y="48"/>
                        <a:pt x="47" y="50"/>
                        <a:pt x="49" y="49"/>
                      </a:cubicBezTo>
                      <a:cubicBezTo>
                        <a:pt x="51" y="49"/>
                        <a:pt x="56" y="50"/>
                        <a:pt x="56" y="52"/>
                      </a:cubicBezTo>
                      <a:cubicBezTo>
                        <a:pt x="56" y="53"/>
                        <a:pt x="58" y="54"/>
                        <a:pt x="60" y="54"/>
                      </a:cubicBezTo>
                      <a:cubicBezTo>
                        <a:pt x="61" y="54"/>
                        <a:pt x="63" y="59"/>
                        <a:pt x="65" y="59"/>
                      </a:cubicBezTo>
                      <a:cubicBezTo>
                        <a:pt x="67" y="59"/>
                        <a:pt x="71" y="59"/>
                        <a:pt x="71" y="60"/>
                      </a:cubicBezTo>
                      <a:cubicBezTo>
                        <a:pt x="71" y="61"/>
                        <a:pt x="71" y="67"/>
                        <a:pt x="72" y="70"/>
                      </a:cubicBezTo>
                      <a:cubicBezTo>
                        <a:pt x="73" y="69"/>
                        <a:pt x="73" y="69"/>
                        <a:pt x="74" y="70"/>
                      </a:cubicBezTo>
                      <a:cubicBezTo>
                        <a:pt x="75" y="70"/>
                        <a:pt x="79" y="69"/>
                        <a:pt x="80" y="71"/>
                      </a:cubicBezTo>
                      <a:cubicBezTo>
                        <a:pt x="80" y="73"/>
                        <a:pt x="87" y="72"/>
                        <a:pt x="87" y="69"/>
                      </a:cubicBezTo>
                      <a:cubicBezTo>
                        <a:pt x="86" y="65"/>
                        <a:pt x="97" y="65"/>
                        <a:pt x="98" y="62"/>
                      </a:cubicBezTo>
                      <a:cubicBezTo>
                        <a:pt x="99" y="59"/>
                        <a:pt x="100" y="53"/>
                        <a:pt x="103" y="54"/>
                      </a:cubicBezTo>
                      <a:cubicBezTo>
                        <a:pt x="105" y="55"/>
                        <a:pt x="107" y="50"/>
                        <a:pt x="109" y="50"/>
                      </a:cubicBezTo>
                      <a:cubicBezTo>
                        <a:pt x="111" y="50"/>
                        <a:pt x="113" y="52"/>
                        <a:pt x="115" y="52"/>
                      </a:cubicBezTo>
                      <a:lnTo>
                        <a:pt x="114" y="4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2" name="Freeform 145">
                  <a:extLst>
                    <a:ext uri="{FF2B5EF4-FFF2-40B4-BE49-F238E27FC236}">
                      <a16:creationId xmlns:a16="http://schemas.microsoft.com/office/drawing/2014/main" id="{9690B0C3-0420-4BEF-9897-721043340E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859501" y="-10608256"/>
                  <a:ext cx="982694" cy="827020"/>
                </a:xfrm>
                <a:custGeom>
                  <a:avLst/>
                  <a:gdLst>
                    <a:gd name="T0" fmla="*/ 155 w 159"/>
                    <a:gd name="T1" fmla="*/ 116 h 134"/>
                    <a:gd name="T2" fmla="*/ 151 w 159"/>
                    <a:gd name="T3" fmla="*/ 107 h 134"/>
                    <a:gd name="T4" fmla="*/ 143 w 159"/>
                    <a:gd name="T5" fmla="*/ 100 h 134"/>
                    <a:gd name="T6" fmla="*/ 137 w 159"/>
                    <a:gd name="T7" fmla="*/ 93 h 134"/>
                    <a:gd name="T8" fmla="*/ 145 w 159"/>
                    <a:gd name="T9" fmla="*/ 82 h 134"/>
                    <a:gd name="T10" fmla="*/ 138 w 159"/>
                    <a:gd name="T11" fmla="*/ 77 h 134"/>
                    <a:gd name="T12" fmla="*/ 136 w 159"/>
                    <a:gd name="T13" fmla="*/ 68 h 134"/>
                    <a:gd name="T14" fmla="*/ 136 w 159"/>
                    <a:gd name="T15" fmla="*/ 60 h 134"/>
                    <a:gd name="T16" fmla="*/ 137 w 159"/>
                    <a:gd name="T17" fmla="*/ 53 h 134"/>
                    <a:gd name="T18" fmla="*/ 140 w 159"/>
                    <a:gd name="T19" fmla="*/ 46 h 134"/>
                    <a:gd name="T20" fmla="*/ 142 w 159"/>
                    <a:gd name="T21" fmla="*/ 43 h 134"/>
                    <a:gd name="T22" fmla="*/ 141 w 159"/>
                    <a:gd name="T23" fmla="*/ 33 h 134"/>
                    <a:gd name="T24" fmla="*/ 135 w 159"/>
                    <a:gd name="T25" fmla="*/ 32 h 134"/>
                    <a:gd name="T26" fmla="*/ 130 w 159"/>
                    <a:gd name="T27" fmla="*/ 27 h 134"/>
                    <a:gd name="T28" fmla="*/ 126 w 159"/>
                    <a:gd name="T29" fmla="*/ 25 h 134"/>
                    <a:gd name="T30" fmla="*/ 119 w 159"/>
                    <a:gd name="T31" fmla="*/ 22 h 134"/>
                    <a:gd name="T32" fmla="*/ 115 w 159"/>
                    <a:gd name="T33" fmla="*/ 21 h 134"/>
                    <a:gd name="T34" fmla="*/ 109 w 159"/>
                    <a:gd name="T35" fmla="*/ 18 h 134"/>
                    <a:gd name="T36" fmla="*/ 100 w 159"/>
                    <a:gd name="T37" fmla="*/ 18 h 134"/>
                    <a:gd name="T38" fmla="*/ 94 w 159"/>
                    <a:gd name="T39" fmla="*/ 18 h 134"/>
                    <a:gd name="T40" fmla="*/ 87 w 159"/>
                    <a:gd name="T41" fmla="*/ 23 h 134"/>
                    <a:gd name="T42" fmla="*/ 81 w 159"/>
                    <a:gd name="T43" fmla="*/ 25 h 134"/>
                    <a:gd name="T44" fmla="*/ 80 w 159"/>
                    <a:gd name="T45" fmla="*/ 29 h 134"/>
                    <a:gd name="T46" fmla="*/ 63 w 159"/>
                    <a:gd name="T47" fmla="*/ 33 h 134"/>
                    <a:gd name="T48" fmla="*/ 48 w 159"/>
                    <a:gd name="T49" fmla="*/ 24 h 134"/>
                    <a:gd name="T50" fmla="*/ 38 w 159"/>
                    <a:gd name="T51" fmla="*/ 14 h 134"/>
                    <a:gd name="T52" fmla="*/ 33 w 159"/>
                    <a:gd name="T53" fmla="*/ 10 h 134"/>
                    <a:gd name="T54" fmla="*/ 31 w 159"/>
                    <a:gd name="T55" fmla="*/ 3 h 134"/>
                    <a:gd name="T56" fmla="*/ 15 w 159"/>
                    <a:gd name="T57" fmla="*/ 10 h 134"/>
                    <a:gd name="T58" fmla="*/ 10 w 159"/>
                    <a:gd name="T59" fmla="*/ 7 h 134"/>
                    <a:gd name="T60" fmla="*/ 5 w 159"/>
                    <a:gd name="T61" fmla="*/ 1 h 134"/>
                    <a:gd name="T62" fmla="*/ 2 w 159"/>
                    <a:gd name="T63" fmla="*/ 5 h 134"/>
                    <a:gd name="T64" fmla="*/ 2 w 159"/>
                    <a:gd name="T65" fmla="*/ 11 h 134"/>
                    <a:gd name="T66" fmla="*/ 2 w 159"/>
                    <a:gd name="T67" fmla="*/ 20 h 134"/>
                    <a:gd name="T68" fmla="*/ 6 w 159"/>
                    <a:gd name="T69" fmla="*/ 26 h 134"/>
                    <a:gd name="T70" fmla="*/ 9 w 159"/>
                    <a:gd name="T71" fmla="*/ 33 h 134"/>
                    <a:gd name="T72" fmla="*/ 13 w 159"/>
                    <a:gd name="T73" fmla="*/ 37 h 134"/>
                    <a:gd name="T74" fmla="*/ 17 w 159"/>
                    <a:gd name="T75" fmla="*/ 40 h 134"/>
                    <a:gd name="T76" fmla="*/ 16 w 159"/>
                    <a:gd name="T77" fmla="*/ 45 h 134"/>
                    <a:gd name="T78" fmla="*/ 12 w 159"/>
                    <a:gd name="T79" fmla="*/ 51 h 134"/>
                    <a:gd name="T80" fmla="*/ 13 w 159"/>
                    <a:gd name="T81" fmla="*/ 59 h 134"/>
                    <a:gd name="T82" fmla="*/ 17 w 159"/>
                    <a:gd name="T83" fmla="*/ 63 h 134"/>
                    <a:gd name="T84" fmla="*/ 26 w 159"/>
                    <a:gd name="T85" fmla="*/ 69 h 134"/>
                    <a:gd name="T86" fmla="*/ 30 w 159"/>
                    <a:gd name="T87" fmla="*/ 74 h 134"/>
                    <a:gd name="T88" fmla="*/ 29 w 159"/>
                    <a:gd name="T89" fmla="*/ 79 h 134"/>
                    <a:gd name="T90" fmla="*/ 32 w 159"/>
                    <a:gd name="T91" fmla="*/ 85 h 134"/>
                    <a:gd name="T92" fmla="*/ 37 w 159"/>
                    <a:gd name="T93" fmla="*/ 91 h 134"/>
                    <a:gd name="T94" fmla="*/ 39 w 159"/>
                    <a:gd name="T95" fmla="*/ 91 h 134"/>
                    <a:gd name="T96" fmla="*/ 42 w 159"/>
                    <a:gd name="T97" fmla="*/ 90 h 134"/>
                    <a:gd name="T98" fmla="*/ 48 w 159"/>
                    <a:gd name="T99" fmla="*/ 90 h 134"/>
                    <a:gd name="T100" fmla="*/ 56 w 159"/>
                    <a:gd name="T101" fmla="*/ 102 h 134"/>
                    <a:gd name="T102" fmla="*/ 61 w 159"/>
                    <a:gd name="T103" fmla="*/ 110 h 134"/>
                    <a:gd name="T104" fmla="*/ 70 w 159"/>
                    <a:gd name="T105" fmla="*/ 114 h 134"/>
                    <a:gd name="T106" fmla="*/ 89 w 159"/>
                    <a:gd name="T107" fmla="*/ 121 h 134"/>
                    <a:gd name="T108" fmla="*/ 102 w 159"/>
                    <a:gd name="T109" fmla="*/ 118 h 134"/>
                    <a:gd name="T110" fmla="*/ 108 w 159"/>
                    <a:gd name="T111" fmla="*/ 128 h 134"/>
                    <a:gd name="T112" fmla="*/ 136 w 159"/>
                    <a:gd name="T113" fmla="*/ 134 h 134"/>
                    <a:gd name="T114" fmla="*/ 144 w 159"/>
                    <a:gd name="T115" fmla="*/ 134 h 134"/>
                    <a:gd name="T116" fmla="*/ 144 w 159"/>
                    <a:gd name="T117" fmla="*/ 132 h 134"/>
                    <a:gd name="T118" fmla="*/ 149 w 159"/>
                    <a:gd name="T119" fmla="*/ 124 h 134"/>
                    <a:gd name="T120" fmla="*/ 157 w 159"/>
                    <a:gd name="T121" fmla="*/ 122 h 134"/>
                    <a:gd name="T122" fmla="*/ 155 w 159"/>
                    <a:gd name="T123" fmla="*/ 116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59" h="134">
                      <a:moveTo>
                        <a:pt x="155" y="116"/>
                      </a:moveTo>
                      <a:cubicBezTo>
                        <a:pt x="153" y="115"/>
                        <a:pt x="155" y="109"/>
                        <a:pt x="151" y="107"/>
                      </a:cubicBezTo>
                      <a:cubicBezTo>
                        <a:pt x="147" y="105"/>
                        <a:pt x="144" y="103"/>
                        <a:pt x="143" y="100"/>
                      </a:cubicBezTo>
                      <a:cubicBezTo>
                        <a:pt x="142" y="98"/>
                        <a:pt x="137" y="95"/>
                        <a:pt x="137" y="93"/>
                      </a:cubicBezTo>
                      <a:cubicBezTo>
                        <a:pt x="138" y="91"/>
                        <a:pt x="147" y="85"/>
                        <a:pt x="145" y="82"/>
                      </a:cubicBezTo>
                      <a:cubicBezTo>
                        <a:pt x="144" y="78"/>
                        <a:pt x="138" y="79"/>
                        <a:pt x="138" y="77"/>
                      </a:cubicBezTo>
                      <a:cubicBezTo>
                        <a:pt x="137" y="76"/>
                        <a:pt x="138" y="72"/>
                        <a:pt x="136" y="68"/>
                      </a:cubicBezTo>
                      <a:cubicBezTo>
                        <a:pt x="135" y="65"/>
                        <a:pt x="138" y="62"/>
                        <a:pt x="136" y="60"/>
                      </a:cubicBezTo>
                      <a:cubicBezTo>
                        <a:pt x="135" y="58"/>
                        <a:pt x="137" y="54"/>
                        <a:pt x="137" y="53"/>
                      </a:cubicBezTo>
                      <a:cubicBezTo>
                        <a:pt x="138" y="51"/>
                        <a:pt x="141" y="50"/>
                        <a:pt x="140" y="46"/>
                      </a:cubicBezTo>
                      <a:cubicBezTo>
                        <a:pt x="140" y="44"/>
                        <a:pt x="141" y="43"/>
                        <a:pt x="142" y="43"/>
                      </a:cubicBezTo>
                      <a:cubicBezTo>
                        <a:pt x="141" y="40"/>
                        <a:pt x="141" y="34"/>
                        <a:pt x="141" y="33"/>
                      </a:cubicBezTo>
                      <a:cubicBezTo>
                        <a:pt x="141" y="32"/>
                        <a:pt x="137" y="32"/>
                        <a:pt x="135" y="32"/>
                      </a:cubicBezTo>
                      <a:cubicBezTo>
                        <a:pt x="133" y="32"/>
                        <a:pt x="131" y="27"/>
                        <a:pt x="130" y="27"/>
                      </a:cubicBezTo>
                      <a:cubicBezTo>
                        <a:pt x="128" y="27"/>
                        <a:pt x="126" y="26"/>
                        <a:pt x="126" y="25"/>
                      </a:cubicBezTo>
                      <a:cubicBezTo>
                        <a:pt x="126" y="23"/>
                        <a:pt x="121" y="22"/>
                        <a:pt x="119" y="22"/>
                      </a:cubicBezTo>
                      <a:cubicBezTo>
                        <a:pt x="117" y="23"/>
                        <a:pt x="116" y="21"/>
                        <a:pt x="115" y="21"/>
                      </a:cubicBezTo>
                      <a:cubicBezTo>
                        <a:pt x="114" y="21"/>
                        <a:pt x="111" y="19"/>
                        <a:pt x="109" y="18"/>
                      </a:cubicBezTo>
                      <a:cubicBezTo>
                        <a:pt x="108" y="16"/>
                        <a:pt x="101" y="16"/>
                        <a:pt x="100" y="18"/>
                      </a:cubicBezTo>
                      <a:cubicBezTo>
                        <a:pt x="99" y="19"/>
                        <a:pt x="96" y="18"/>
                        <a:pt x="94" y="18"/>
                      </a:cubicBezTo>
                      <a:cubicBezTo>
                        <a:pt x="92" y="18"/>
                        <a:pt x="88" y="22"/>
                        <a:pt x="87" y="23"/>
                      </a:cubicBezTo>
                      <a:cubicBezTo>
                        <a:pt x="86" y="24"/>
                        <a:pt x="83" y="25"/>
                        <a:pt x="81" y="25"/>
                      </a:cubicBezTo>
                      <a:cubicBezTo>
                        <a:pt x="81" y="27"/>
                        <a:pt x="81" y="28"/>
                        <a:pt x="80" y="29"/>
                      </a:cubicBezTo>
                      <a:cubicBezTo>
                        <a:pt x="79" y="31"/>
                        <a:pt x="70" y="32"/>
                        <a:pt x="63" y="33"/>
                      </a:cubicBezTo>
                      <a:cubicBezTo>
                        <a:pt x="56" y="33"/>
                        <a:pt x="56" y="24"/>
                        <a:pt x="48" y="24"/>
                      </a:cubicBezTo>
                      <a:cubicBezTo>
                        <a:pt x="43" y="24"/>
                        <a:pt x="39" y="19"/>
                        <a:pt x="38" y="14"/>
                      </a:cubicBezTo>
                      <a:cubicBezTo>
                        <a:pt x="35" y="13"/>
                        <a:pt x="32" y="11"/>
                        <a:pt x="33" y="10"/>
                      </a:cubicBezTo>
                      <a:cubicBezTo>
                        <a:pt x="33" y="9"/>
                        <a:pt x="35" y="1"/>
                        <a:pt x="31" y="3"/>
                      </a:cubicBezTo>
                      <a:cubicBezTo>
                        <a:pt x="27" y="5"/>
                        <a:pt x="22" y="11"/>
                        <a:pt x="15" y="10"/>
                      </a:cubicBezTo>
                      <a:cubicBezTo>
                        <a:pt x="8" y="9"/>
                        <a:pt x="13" y="8"/>
                        <a:pt x="10" y="7"/>
                      </a:cubicBezTo>
                      <a:cubicBezTo>
                        <a:pt x="6" y="5"/>
                        <a:pt x="8" y="1"/>
                        <a:pt x="5" y="1"/>
                      </a:cubicBezTo>
                      <a:cubicBezTo>
                        <a:pt x="1" y="0"/>
                        <a:pt x="4" y="5"/>
                        <a:pt x="2" y="5"/>
                      </a:cubicBezTo>
                      <a:cubicBezTo>
                        <a:pt x="0" y="5"/>
                        <a:pt x="2" y="10"/>
                        <a:pt x="2" y="11"/>
                      </a:cubicBezTo>
                      <a:cubicBezTo>
                        <a:pt x="3" y="13"/>
                        <a:pt x="1" y="20"/>
                        <a:pt x="2" y="20"/>
                      </a:cubicBezTo>
                      <a:cubicBezTo>
                        <a:pt x="4" y="20"/>
                        <a:pt x="6" y="25"/>
                        <a:pt x="6" y="26"/>
                      </a:cubicBezTo>
                      <a:cubicBezTo>
                        <a:pt x="6" y="27"/>
                        <a:pt x="9" y="31"/>
                        <a:pt x="9" y="33"/>
                      </a:cubicBezTo>
                      <a:cubicBezTo>
                        <a:pt x="9" y="35"/>
                        <a:pt x="12" y="37"/>
                        <a:pt x="13" y="37"/>
                      </a:cubicBezTo>
                      <a:cubicBezTo>
                        <a:pt x="15" y="37"/>
                        <a:pt x="17" y="38"/>
                        <a:pt x="17" y="40"/>
                      </a:cubicBezTo>
                      <a:cubicBezTo>
                        <a:pt x="16" y="42"/>
                        <a:pt x="17" y="45"/>
                        <a:pt x="16" y="45"/>
                      </a:cubicBezTo>
                      <a:cubicBezTo>
                        <a:pt x="14" y="45"/>
                        <a:pt x="14" y="51"/>
                        <a:pt x="12" y="51"/>
                      </a:cubicBezTo>
                      <a:cubicBezTo>
                        <a:pt x="11" y="52"/>
                        <a:pt x="12" y="58"/>
                        <a:pt x="13" y="59"/>
                      </a:cubicBezTo>
                      <a:cubicBezTo>
                        <a:pt x="15" y="59"/>
                        <a:pt x="17" y="61"/>
                        <a:pt x="17" y="63"/>
                      </a:cubicBezTo>
                      <a:cubicBezTo>
                        <a:pt x="17" y="65"/>
                        <a:pt x="24" y="69"/>
                        <a:pt x="26" y="69"/>
                      </a:cubicBezTo>
                      <a:cubicBezTo>
                        <a:pt x="28" y="70"/>
                        <a:pt x="29" y="73"/>
                        <a:pt x="30" y="74"/>
                      </a:cubicBezTo>
                      <a:cubicBezTo>
                        <a:pt x="31" y="75"/>
                        <a:pt x="29" y="78"/>
                        <a:pt x="29" y="79"/>
                      </a:cubicBezTo>
                      <a:cubicBezTo>
                        <a:pt x="30" y="81"/>
                        <a:pt x="32" y="82"/>
                        <a:pt x="32" y="85"/>
                      </a:cubicBezTo>
                      <a:cubicBezTo>
                        <a:pt x="32" y="86"/>
                        <a:pt x="34" y="89"/>
                        <a:pt x="37" y="91"/>
                      </a:cubicBezTo>
                      <a:cubicBezTo>
                        <a:pt x="37" y="91"/>
                        <a:pt x="38" y="91"/>
                        <a:pt x="39" y="91"/>
                      </a:cubicBezTo>
                      <a:cubicBezTo>
                        <a:pt x="41" y="91"/>
                        <a:pt x="41" y="88"/>
                        <a:pt x="42" y="90"/>
                      </a:cubicBezTo>
                      <a:cubicBezTo>
                        <a:pt x="44" y="91"/>
                        <a:pt x="46" y="90"/>
                        <a:pt x="48" y="90"/>
                      </a:cubicBezTo>
                      <a:cubicBezTo>
                        <a:pt x="50" y="89"/>
                        <a:pt x="54" y="98"/>
                        <a:pt x="56" y="102"/>
                      </a:cubicBezTo>
                      <a:cubicBezTo>
                        <a:pt x="58" y="106"/>
                        <a:pt x="58" y="108"/>
                        <a:pt x="61" y="110"/>
                      </a:cubicBezTo>
                      <a:cubicBezTo>
                        <a:pt x="63" y="111"/>
                        <a:pt x="67" y="110"/>
                        <a:pt x="70" y="114"/>
                      </a:cubicBezTo>
                      <a:cubicBezTo>
                        <a:pt x="74" y="118"/>
                        <a:pt x="84" y="121"/>
                        <a:pt x="89" y="121"/>
                      </a:cubicBezTo>
                      <a:cubicBezTo>
                        <a:pt x="93" y="122"/>
                        <a:pt x="96" y="117"/>
                        <a:pt x="102" y="118"/>
                      </a:cubicBezTo>
                      <a:cubicBezTo>
                        <a:pt x="107" y="119"/>
                        <a:pt x="106" y="126"/>
                        <a:pt x="108" y="128"/>
                      </a:cubicBezTo>
                      <a:cubicBezTo>
                        <a:pt x="110" y="131"/>
                        <a:pt x="132" y="133"/>
                        <a:pt x="136" y="134"/>
                      </a:cubicBezTo>
                      <a:cubicBezTo>
                        <a:pt x="137" y="134"/>
                        <a:pt x="141" y="134"/>
                        <a:pt x="144" y="134"/>
                      </a:cubicBezTo>
                      <a:cubicBezTo>
                        <a:pt x="144" y="134"/>
                        <a:pt x="144" y="133"/>
                        <a:pt x="144" y="132"/>
                      </a:cubicBezTo>
                      <a:cubicBezTo>
                        <a:pt x="144" y="129"/>
                        <a:pt x="147" y="125"/>
                        <a:pt x="149" y="124"/>
                      </a:cubicBezTo>
                      <a:cubicBezTo>
                        <a:pt x="152" y="123"/>
                        <a:pt x="154" y="122"/>
                        <a:pt x="157" y="122"/>
                      </a:cubicBezTo>
                      <a:cubicBezTo>
                        <a:pt x="159" y="122"/>
                        <a:pt x="157" y="117"/>
                        <a:pt x="155" y="11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3" name="Freeform 146">
                  <a:extLst>
                    <a:ext uri="{FF2B5EF4-FFF2-40B4-BE49-F238E27FC236}">
                      <a16:creationId xmlns:a16="http://schemas.microsoft.com/office/drawing/2014/main" id="{5C72F3B8-421A-4692-B0D6-C2698E54314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8729772" y="-11587706"/>
                  <a:ext cx="2020521" cy="950262"/>
                </a:xfrm>
                <a:custGeom>
                  <a:avLst/>
                  <a:gdLst>
                    <a:gd name="T0" fmla="*/ 316 w 327"/>
                    <a:gd name="T1" fmla="*/ 64 h 154"/>
                    <a:gd name="T2" fmla="*/ 305 w 327"/>
                    <a:gd name="T3" fmla="*/ 53 h 154"/>
                    <a:gd name="T4" fmla="*/ 284 w 327"/>
                    <a:gd name="T5" fmla="*/ 50 h 154"/>
                    <a:gd name="T6" fmla="*/ 265 w 327"/>
                    <a:gd name="T7" fmla="*/ 36 h 154"/>
                    <a:gd name="T8" fmla="*/ 243 w 327"/>
                    <a:gd name="T9" fmla="*/ 12 h 154"/>
                    <a:gd name="T10" fmla="*/ 220 w 327"/>
                    <a:gd name="T11" fmla="*/ 21 h 154"/>
                    <a:gd name="T12" fmla="*/ 215 w 327"/>
                    <a:gd name="T13" fmla="*/ 15 h 154"/>
                    <a:gd name="T14" fmla="*/ 203 w 327"/>
                    <a:gd name="T15" fmla="*/ 14 h 154"/>
                    <a:gd name="T16" fmla="*/ 197 w 327"/>
                    <a:gd name="T17" fmla="*/ 2 h 154"/>
                    <a:gd name="T18" fmla="*/ 169 w 327"/>
                    <a:gd name="T19" fmla="*/ 7 h 154"/>
                    <a:gd name="T20" fmla="*/ 137 w 327"/>
                    <a:gd name="T21" fmla="*/ 14 h 154"/>
                    <a:gd name="T22" fmla="*/ 121 w 327"/>
                    <a:gd name="T23" fmla="*/ 22 h 154"/>
                    <a:gd name="T24" fmla="*/ 118 w 327"/>
                    <a:gd name="T25" fmla="*/ 33 h 154"/>
                    <a:gd name="T26" fmla="*/ 121 w 327"/>
                    <a:gd name="T27" fmla="*/ 43 h 154"/>
                    <a:gd name="T28" fmla="*/ 112 w 327"/>
                    <a:gd name="T29" fmla="*/ 49 h 154"/>
                    <a:gd name="T30" fmla="*/ 100 w 327"/>
                    <a:gd name="T31" fmla="*/ 48 h 154"/>
                    <a:gd name="T32" fmla="*/ 80 w 327"/>
                    <a:gd name="T33" fmla="*/ 50 h 154"/>
                    <a:gd name="T34" fmla="*/ 65 w 327"/>
                    <a:gd name="T35" fmla="*/ 50 h 154"/>
                    <a:gd name="T36" fmla="*/ 44 w 327"/>
                    <a:gd name="T37" fmla="*/ 41 h 154"/>
                    <a:gd name="T38" fmla="*/ 25 w 327"/>
                    <a:gd name="T39" fmla="*/ 47 h 154"/>
                    <a:gd name="T40" fmla="*/ 18 w 327"/>
                    <a:gd name="T41" fmla="*/ 60 h 154"/>
                    <a:gd name="T42" fmla="*/ 2 w 327"/>
                    <a:gd name="T43" fmla="*/ 63 h 154"/>
                    <a:gd name="T44" fmla="*/ 0 w 327"/>
                    <a:gd name="T45" fmla="*/ 74 h 154"/>
                    <a:gd name="T46" fmla="*/ 12 w 327"/>
                    <a:gd name="T47" fmla="*/ 81 h 154"/>
                    <a:gd name="T48" fmla="*/ 20 w 327"/>
                    <a:gd name="T49" fmla="*/ 95 h 154"/>
                    <a:gd name="T50" fmla="*/ 41 w 327"/>
                    <a:gd name="T51" fmla="*/ 90 h 154"/>
                    <a:gd name="T52" fmla="*/ 46 w 327"/>
                    <a:gd name="T53" fmla="*/ 107 h 154"/>
                    <a:gd name="T54" fmla="*/ 31 w 327"/>
                    <a:gd name="T55" fmla="*/ 117 h 154"/>
                    <a:gd name="T56" fmla="*/ 46 w 327"/>
                    <a:gd name="T57" fmla="*/ 132 h 154"/>
                    <a:gd name="T58" fmla="*/ 53 w 327"/>
                    <a:gd name="T59" fmla="*/ 141 h 154"/>
                    <a:gd name="T60" fmla="*/ 77 w 327"/>
                    <a:gd name="T61" fmla="*/ 145 h 154"/>
                    <a:gd name="T62" fmla="*/ 99 w 327"/>
                    <a:gd name="T63" fmla="*/ 103 h 154"/>
                    <a:gd name="T64" fmla="*/ 111 w 327"/>
                    <a:gd name="T65" fmla="*/ 104 h 154"/>
                    <a:gd name="T66" fmla="*/ 136 w 327"/>
                    <a:gd name="T67" fmla="*/ 124 h 154"/>
                    <a:gd name="T68" fmla="*/ 160 w 327"/>
                    <a:gd name="T69" fmla="*/ 137 h 154"/>
                    <a:gd name="T70" fmla="*/ 178 w 327"/>
                    <a:gd name="T71" fmla="*/ 151 h 154"/>
                    <a:gd name="T72" fmla="*/ 195 w 327"/>
                    <a:gd name="T73" fmla="*/ 143 h 154"/>
                    <a:gd name="T74" fmla="*/ 213 w 327"/>
                    <a:gd name="T75" fmla="*/ 133 h 154"/>
                    <a:gd name="T76" fmla="*/ 239 w 327"/>
                    <a:gd name="T77" fmla="*/ 132 h 154"/>
                    <a:gd name="T78" fmla="*/ 274 w 327"/>
                    <a:gd name="T79" fmla="*/ 138 h 154"/>
                    <a:gd name="T80" fmla="*/ 275 w 327"/>
                    <a:gd name="T81" fmla="*/ 119 h 154"/>
                    <a:gd name="T82" fmla="*/ 286 w 327"/>
                    <a:gd name="T83" fmla="*/ 108 h 154"/>
                    <a:gd name="T84" fmla="*/ 296 w 327"/>
                    <a:gd name="T85" fmla="*/ 90 h 154"/>
                    <a:gd name="T86" fmla="*/ 317 w 327"/>
                    <a:gd name="T87" fmla="*/ 88 h 154"/>
                    <a:gd name="T88" fmla="*/ 324 w 327"/>
                    <a:gd name="T89" fmla="*/ 71 h 154"/>
                    <a:gd name="T90" fmla="*/ 122 w 327"/>
                    <a:gd name="T91" fmla="*/ 98 h 154"/>
                    <a:gd name="T92" fmla="*/ 257 w 327"/>
                    <a:gd name="T93" fmla="*/ 97 h 154"/>
                    <a:gd name="T94" fmla="*/ 224 w 327"/>
                    <a:gd name="T95" fmla="*/ 97 h 154"/>
                    <a:gd name="T96" fmla="*/ 257 w 327"/>
                    <a:gd name="T97" fmla="*/ 97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27" h="154">
                      <a:moveTo>
                        <a:pt x="325" y="63"/>
                      </a:moveTo>
                      <a:cubicBezTo>
                        <a:pt x="325" y="61"/>
                        <a:pt x="324" y="62"/>
                        <a:pt x="323" y="63"/>
                      </a:cubicBezTo>
                      <a:cubicBezTo>
                        <a:pt x="321" y="63"/>
                        <a:pt x="318" y="64"/>
                        <a:pt x="316" y="64"/>
                      </a:cubicBezTo>
                      <a:cubicBezTo>
                        <a:pt x="315" y="64"/>
                        <a:pt x="312" y="62"/>
                        <a:pt x="312" y="60"/>
                      </a:cubicBezTo>
                      <a:cubicBezTo>
                        <a:pt x="312" y="59"/>
                        <a:pt x="312" y="57"/>
                        <a:pt x="310" y="57"/>
                      </a:cubicBezTo>
                      <a:cubicBezTo>
                        <a:pt x="309" y="57"/>
                        <a:pt x="307" y="57"/>
                        <a:pt x="305" y="53"/>
                      </a:cubicBezTo>
                      <a:cubicBezTo>
                        <a:pt x="304" y="50"/>
                        <a:pt x="302" y="50"/>
                        <a:pt x="300" y="49"/>
                      </a:cubicBezTo>
                      <a:cubicBezTo>
                        <a:pt x="299" y="48"/>
                        <a:pt x="294" y="51"/>
                        <a:pt x="292" y="51"/>
                      </a:cubicBezTo>
                      <a:cubicBezTo>
                        <a:pt x="290" y="52"/>
                        <a:pt x="287" y="51"/>
                        <a:pt x="284" y="50"/>
                      </a:cubicBezTo>
                      <a:cubicBezTo>
                        <a:pt x="282" y="50"/>
                        <a:pt x="280" y="45"/>
                        <a:pt x="278" y="46"/>
                      </a:cubicBezTo>
                      <a:cubicBezTo>
                        <a:pt x="276" y="46"/>
                        <a:pt x="275" y="51"/>
                        <a:pt x="273" y="51"/>
                      </a:cubicBezTo>
                      <a:cubicBezTo>
                        <a:pt x="272" y="51"/>
                        <a:pt x="268" y="41"/>
                        <a:pt x="265" y="36"/>
                      </a:cubicBezTo>
                      <a:cubicBezTo>
                        <a:pt x="262" y="31"/>
                        <a:pt x="256" y="21"/>
                        <a:pt x="250" y="19"/>
                      </a:cubicBezTo>
                      <a:cubicBezTo>
                        <a:pt x="245" y="17"/>
                        <a:pt x="247" y="14"/>
                        <a:pt x="248" y="13"/>
                      </a:cubicBezTo>
                      <a:cubicBezTo>
                        <a:pt x="249" y="11"/>
                        <a:pt x="245" y="11"/>
                        <a:pt x="243" y="12"/>
                      </a:cubicBezTo>
                      <a:cubicBezTo>
                        <a:pt x="240" y="13"/>
                        <a:pt x="238" y="16"/>
                        <a:pt x="235" y="16"/>
                      </a:cubicBezTo>
                      <a:cubicBezTo>
                        <a:pt x="233" y="17"/>
                        <a:pt x="229" y="21"/>
                        <a:pt x="227" y="20"/>
                      </a:cubicBezTo>
                      <a:cubicBezTo>
                        <a:pt x="224" y="19"/>
                        <a:pt x="223" y="23"/>
                        <a:pt x="220" y="21"/>
                      </a:cubicBezTo>
                      <a:cubicBezTo>
                        <a:pt x="218" y="19"/>
                        <a:pt x="223" y="18"/>
                        <a:pt x="223" y="16"/>
                      </a:cubicBezTo>
                      <a:cubicBezTo>
                        <a:pt x="223" y="14"/>
                        <a:pt x="220" y="17"/>
                        <a:pt x="219" y="16"/>
                      </a:cubicBezTo>
                      <a:cubicBezTo>
                        <a:pt x="218" y="15"/>
                        <a:pt x="215" y="13"/>
                        <a:pt x="215" y="15"/>
                      </a:cubicBezTo>
                      <a:cubicBezTo>
                        <a:pt x="215" y="17"/>
                        <a:pt x="213" y="16"/>
                        <a:pt x="213" y="15"/>
                      </a:cubicBezTo>
                      <a:cubicBezTo>
                        <a:pt x="213" y="13"/>
                        <a:pt x="211" y="11"/>
                        <a:pt x="210" y="13"/>
                      </a:cubicBezTo>
                      <a:cubicBezTo>
                        <a:pt x="209" y="14"/>
                        <a:pt x="204" y="15"/>
                        <a:pt x="203" y="14"/>
                      </a:cubicBezTo>
                      <a:cubicBezTo>
                        <a:pt x="202" y="13"/>
                        <a:pt x="203" y="12"/>
                        <a:pt x="204" y="10"/>
                      </a:cubicBezTo>
                      <a:cubicBezTo>
                        <a:pt x="204" y="9"/>
                        <a:pt x="202" y="7"/>
                        <a:pt x="202" y="5"/>
                      </a:cubicBezTo>
                      <a:cubicBezTo>
                        <a:pt x="202" y="3"/>
                        <a:pt x="199" y="1"/>
                        <a:pt x="197" y="2"/>
                      </a:cubicBezTo>
                      <a:cubicBezTo>
                        <a:pt x="195" y="2"/>
                        <a:pt x="193" y="2"/>
                        <a:pt x="191" y="1"/>
                      </a:cubicBezTo>
                      <a:cubicBezTo>
                        <a:pt x="189" y="0"/>
                        <a:pt x="181" y="1"/>
                        <a:pt x="181" y="3"/>
                      </a:cubicBezTo>
                      <a:cubicBezTo>
                        <a:pt x="180" y="5"/>
                        <a:pt x="171" y="6"/>
                        <a:pt x="169" y="7"/>
                      </a:cubicBezTo>
                      <a:cubicBezTo>
                        <a:pt x="167" y="8"/>
                        <a:pt x="160" y="9"/>
                        <a:pt x="158" y="9"/>
                      </a:cubicBezTo>
                      <a:cubicBezTo>
                        <a:pt x="155" y="9"/>
                        <a:pt x="153" y="12"/>
                        <a:pt x="149" y="12"/>
                      </a:cubicBezTo>
                      <a:cubicBezTo>
                        <a:pt x="146" y="12"/>
                        <a:pt x="140" y="12"/>
                        <a:pt x="137" y="14"/>
                      </a:cubicBezTo>
                      <a:cubicBezTo>
                        <a:pt x="134" y="16"/>
                        <a:pt x="130" y="14"/>
                        <a:pt x="128" y="15"/>
                      </a:cubicBezTo>
                      <a:cubicBezTo>
                        <a:pt x="125" y="16"/>
                        <a:pt x="122" y="15"/>
                        <a:pt x="121" y="15"/>
                      </a:cubicBezTo>
                      <a:cubicBezTo>
                        <a:pt x="120" y="16"/>
                        <a:pt x="120" y="20"/>
                        <a:pt x="121" y="22"/>
                      </a:cubicBezTo>
                      <a:cubicBezTo>
                        <a:pt x="122" y="24"/>
                        <a:pt x="128" y="25"/>
                        <a:pt x="128" y="26"/>
                      </a:cubicBezTo>
                      <a:cubicBezTo>
                        <a:pt x="129" y="27"/>
                        <a:pt x="123" y="27"/>
                        <a:pt x="120" y="27"/>
                      </a:cubicBezTo>
                      <a:cubicBezTo>
                        <a:pt x="117" y="28"/>
                        <a:pt x="118" y="31"/>
                        <a:pt x="118" y="33"/>
                      </a:cubicBezTo>
                      <a:cubicBezTo>
                        <a:pt x="119" y="35"/>
                        <a:pt x="115" y="36"/>
                        <a:pt x="113" y="37"/>
                      </a:cubicBezTo>
                      <a:cubicBezTo>
                        <a:pt x="111" y="38"/>
                        <a:pt x="113" y="41"/>
                        <a:pt x="115" y="41"/>
                      </a:cubicBezTo>
                      <a:cubicBezTo>
                        <a:pt x="118" y="41"/>
                        <a:pt x="119" y="43"/>
                        <a:pt x="121" y="43"/>
                      </a:cubicBezTo>
                      <a:cubicBezTo>
                        <a:pt x="123" y="43"/>
                        <a:pt x="123" y="47"/>
                        <a:pt x="123" y="49"/>
                      </a:cubicBezTo>
                      <a:cubicBezTo>
                        <a:pt x="123" y="51"/>
                        <a:pt x="121" y="52"/>
                        <a:pt x="118" y="52"/>
                      </a:cubicBezTo>
                      <a:cubicBezTo>
                        <a:pt x="115" y="52"/>
                        <a:pt x="114" y="50"/>
                        <a:pt x="112" y="49"/>
                      </a:cubicBezTo>
                      <a:cubicBezTo>
                        <a:pt x="110" y="49"/>
                        <a:pt x="111" y="53"/>
                        <a:pt x="109" y="53"/>
                      </a:cubicBezTo>
                      <a:cubicBezTo>
                        <a:pt x="108" y="54"/>
                        <a:pt x="108" y="51"/>
                        <a:pt x="105" y="51"/>
                      </a:cubicBezTo>
                      <a:cubicBezTo>
                        <a:pt x="103" y="51"/>
                        <a:pt x="101" y="50"/>
                        <a:pt x="100" y="48"/>
                      </a:cubicBezTo>
                      <a:cubicBezTo>
                        <a:pt x="99" y="46"/>
                        <a:pt x="94" y="46"/>
                        <a:pt x="92" y="48"/>
                      </a:cubicBezTo>
                      <a:cubicBezTo>
                        <a:pt x="90" y="50"/>
                        <a:pt x="89" y="49"/>
                        <a:pt x="88" y="48"/>
                      </a:cubicBezTo>
                      <a:cubicBezTo>
                        <a:pt x="86" y="46"/>
                        <a:pt x="80" y="48"/>
                        <a:pt x="80" y="50"/>
                      </a:cubicBezTo>
                      <a:cubicBezTo>
                        <a:pt x="79" y="52"/>
                        <a:pt x="75" y="53"/>
                        <a:pt x="72" y="51"/>
                      </a:cubicBezTo>
                      <a:cubicBezTo>
                        <a:pt x="69" y="49"/>
                        <a:pt x="68" y="48"/>
                        <a:pt x="68" y="51"/>
                      </a:cubicBezTo>
                      <a:cubicBezTo>
                        <a:pt x="68" y="53"/>
                        <a:pt x="65" y="51"/>
                        <a:pt x="65" y="50"/>
                      </a:cubicBezTo>
                      <a:cubicBezTo>
                        <a:pt x="65" y="48"/>
                        <a:pt x="61" y="45"/>
                        <a:pt x="59" y="44"/>
                      </a:cubicBezTo>
                      <a:cubicBezTo>
                        <a:pt x="57" y="43"/>
                        <a:pt x="50" y="43"/>
                        <a:pt x="49" y="41"/>
                      </a:cubicBezTo>
                      <a:cubicBezTo>
                        <a:pt x="49" y="40"/>
                        <a:pt x="45" y="39"/>
                        <a:pt x="44" y="41"/>
                      </a:cubicBezTo>
                      <a:cubicBezTo>
                        <a:pt x="43" y="44"/>
                        <a:pt x="41" y="42"/>
                        <a:pt x="39" y="41"/>
                      </a:cubicBezTo>
                      <a:cubicBezTo>
                        <a:pt x="38" y="40"/>
                        <a:pt x="35" y="42"/>
                        <a:pt x="33" y="43"/>
                      </a:cubicBezTo>
                      <a:cubicBezTo>
                        <a:pt x="32" y="44"/>
                        <a:pt x="27" y="47"/>
                        <a:pt x="25" y="47"/>
                      </a:cubicBezTo>
                      <a:cubicBezTo>
                        <a:pt x="22" y="47"/>
                        <a:pt x="24" y="50"/>
                        <a:pt x="21" y="51"/>
                      </a:cubicBezTo>
                      <a:cubicBezTo>
                        <a:pt x="17" y="51"/>
                        <a:pt x="18" y="54"/>
                        <a:pt x="18" y="55"/>
                      </a:cubicBezTo>
                      <a:cubicBezTo>
                        <a:pt x="19" y="56"/>
                        <a:pt x="21" y="59"/>
                        <a:pt x="18" y="60"/>
                      </a:cubicBezTo>
                      <a:cubicBezTo>
                        <a:pt x="15" y="61"/>
                        <a:pt x="14" y="56"/>
                        <a:pt x="11" y="55"/>
                      </a:cubicBezTo>
                      <a:cubicBezTo>
                        <a:pt x="9" y="53"/>
                        <a:pt x="7" y="55"/>
                        <a:pt x="7" y="58"/>
                      </a:cubicBezTo>
                      <a:cubicBezTo>
                        <a:pt x="7" y="60"/>
                        <a:pt x="4" y="60"/>
                        <a:pt x="2" y="63"/>
                      </a:cubicBezTo>
                      <a:cubicBezTo>
                        <a:pt x="1" y="65"/>
                        <a:pt x="5" y="65"/>
                        <a:pt x="5" y="66"/>
                      </a:cubicBezTo>
                      <a:cubicBezTo>
                        <a:pt x="5" y="68"/>
                        <a:pt x="3" y="69"/>
                        <a:pt x="2" y="69"/>
                      </a:cubicBezTo>
                      <a:cubicBezTo>
                        <a:pt x="1" y="69"/>
                        <a:pt x="0" y="73"/>
                        <a:pt x="0" y="74"/>
                      </a:cubicBezTo>
                      <a:cubicBezTo>
                        <a:pt x="1" y="75"/>
                        <a:pt x="5" y="75"/>
                        <a:pt x="5" y="77"/>
                      </a:cubicBezTo>
                      <a:cubicBezTo>
                        <a:pt x="5" y="80"/>
                        <a:pt x="4" y="82"/>
                        <a:pt x="6" y="81"/>
                      </a:cubicBezTo>
                      <a:cubicBezTo>
                        <a:pt x="8" y="81"/>
                        <a:pt x="11" y="81"/>
                        <a:pt x="12" y="81"/>
                      </a:cubicBezTo>
                      <a:cubicBezTo>
                        <a:pt x="13" y="81"/>
                        <a:pt x="14" y="84"/>
                        <a:pt x="17" y="87"/>
                      </a:cubicBezTo>
                      <a:cubicBezTo>
                        <a:pt x="19" y="90"/>
                        <a:pt x="21" y="91"/>
                        <a:pt x="18" y="92"/>
                      </a:cubicBezTo>
                      <a:cubicBezTo>
                        <a:pt x="16" y="92"/>
                        <a:pt x="17" y="94"/>
                        <a:pt x="20" y="95"/>
                      </a:cubicBezTo>
                      <a:cubicBezTo>
                        <a:pt x="21" y="96"/>
                        <a:pt x="22" y="96"/>
                        <a:pt x="22" y="97"/>
                      </a:cubicBezTo>
                      <a:cubicBezTo>
                        <a:pt x="23" y="97"/>
                        <a:pt x="23" y="96"/>
                        <a:pt x="24" y="96"/>
                      </a:cubicBezTo>
                      <a:cubicBezTo>
                        <a:pt x="28" y="92"/>
                        <a:pt x="35" y="89"/>
                        <a:pt x="41" y="90"/>
                      </a:cubicBezTo>
                      <a:cubicBezTo>
                        <a:pt x="46" y="92"/>
                        <a:pt x="51" y="89"/>
                        <a:pt x="53" y="93"/>
                      </a:cubicBezTo>
                      <a:cubicBezTo>
                        <a:pt x="56" y="96"/>
                        <a:pt x="53" y="102"/>
                        <a:pt x="54" y="105"/>
                      </a:cubicBezTo>
                      <a:cubicBezTo>
                        <a:pt x="55" y="107"/>
                        <a:pt x="50" y="107"/>
                        <a:pt x="46" y="107"/>
                      </a:cubicBezTo>
                      <a:cubicBezTo>
                        <a:pt x="43" y="106"/>
                        <a:pt x="35" y="108"/>
                        <a:pt x="36" y="110"/>
                      </a:cubicBezTo>
                      <a:cubicBezTo>
                        <a:pt x="37" y="112"/>
                        <a:pt x="40" y="117"/>
                        <a:pt x="35" y="115"/>
                      </a:cubicBezTo>
                      <a:cubicBezTo>
                        <a:pt x="30" y="112"/>
                        <a:pt x="28" y="117"/>
                        <a:pt x="31" y="117"/>
                      </a:cubicBezTo>
                      <a:cubicBezTo>
                        <a:pt x="34" y="117"/>
                        <a:pt x="37" y="121"/>
                        <a:pt x="37" y="123"/>
                      </a:cubicBezTo>
                      <a:cubicBezTo>
                        <a:pt x="37" y="125"/>
                        <a:pt x="37" y="130"/>
                        <a:pt x="40" y="129"/>
                      </a:cubicBezTo>
                      <a:cubicBezTo>
                        <a:pt x="42" y="128"/>
                        <a:pt x="42" y="132"/>
                        <a:pt x="46" y="132"/>
                      </a:cubicBezTo>
                      <a:cubicBezTo>
                        <a:pt x="49" y="132"/>
                        <a:pt x="52" y="133"/>
                        <a:pt x="49" y="136"/>
                      </a:cubicBezTo>
                      <a:cubicBezTo>
                        <a:pt x="47" y="139"/>
                        <a:pt x="51" y="148"/>
                        <a:pt x="52" y="146"/>
                      </a:cubicBezTo>
                      <a:cubicBezTo>
                        <a:pt x="53" y="145"/>
                        <a:pt x="52" y="142"/>
                        <a:pt x="53" y="141"/>
                      </a:cubicBezTo>
                      <a:cubicBezTo>
                        <a:pt x="51" y="136"/>
                        <a:pt x="59" y="136"/>
                        <a:pt x="61" y="136"/>
                      </a:cubicBezTo>
                      <a:cubicBezTo>
                        <a:pt x="64" y="136"/>
                        <a:pt x="68" y="140"/>
                        <a:pt x="71" y="144"/>
                      </a:cubicBezTo>
                      <a:cubicBezTo>
                        <a:pt x="74" y="148"/>
                        <a:pt x="77" y="145"/>
                        <a:pt x="77" y="145"/>
                      </a:cubicBezTo>
                      <a:cubicBezTo>
                        <a:pt x="78" y="109"/>
                        <a:pt x="78" y="109"/>
                        <a:pt x="78" y="109"/>
                      </a:cubicBezTo>
                      <a:cubicBezTo>
                        <a:pt x="98" y="104"/>
                        <a:pt x="98" y="104"/>
                        <a:pt x="98" y="104"/>
                      </a:cubicBezTo>
                      <a:cubicBezTo>
                        <a:pt x="98" y="104"/>
                        <a:pt x="99" y="103"/>
                        <a:pt x="99" y="103"/>
                      </a:cubicBezTo>
                      <a:cubicBezTo>
                        <a:pt x="101" y="99"/>
                        <a:pt x="105" y="102"/>
                        <a:pt x="106" y="103"/>
                      </a:cubicBezTo>
                      <a:cubicBezTo>
                        <a:pt x="107" y="104"/>
                        <a:pt x="107" y="99"/>
                        <a:pt x="109" y="99"/>
                      </a:cubicBezTo>
                      <a:cubicBezTo>
                        <a:pt x="112" y="99"/>
                        <a:pt x="109" y="104"/>
                        <a:pt x="111" y="104"/>
                      </a:cubicBezTo>
                      <a:cubicBezTo>
                        <a:pt x="113" y="104"/>
                        <a:pt x="117" y="110"/>
                        <a:pt x="116" y="114"/>
                      </a:cubicBezTo>
                      <a:cubicBezTo>
                        <a:pt x="119" y="117"/>
                        <a:pt x="125" y="123"/>
                        <a:pt x="125" y="125"/>
                      </a:cubicBezTo>
                      <a:cubicBezTo>
                        <a:pt x="126" y="127"/>
                        <a:pt x="134" y="123"/>
                        <a:pt x="136" y="124"/>
                      </a:cubicBezTo>
                      <a:cubicBezTo>
                        <a:pt x="137" y="125"/>
                        <a:pt x="150" y="125"/>
                        <a:pt x="152" y="125"/>
                      </a:cubicBezTo>
                      <a:cubicBezTo>
                        <a:pt x="154" y="125"/>
                        <a:pt x="156" y="129"/>
                        <a:pt x="158" y="129"/>
                      </a:cubicBezTo>
                      <a:cubicBezTo>
                        <a:pt x="161" y="130"/>
                        <a:pt x="160" y="134"/>
                        <a:pt x="160" y="137"/>
                      </a:cubicBezTo>
                      <a:cubicBezTo>
                        <a:pt x="160" y="140"/>
                        <a:pt x="164" y="143"/>
                        <a:pt x="164" y="145"/>
                      </a:cubicBezTo>
                      <a:cubicBezTo>
                        <a:pt x="165" y="148"/>
                        <a:pt x="169" y="147"/>
                        <a:pt x="171" y="147"/>
                      </a:cubicBezTo>
                      <a:cubicBezTo>
                        <a:pt x="174" y="148"/>
                        <a:pt x="178" y="149"/>
                        <a:pt x="178" y="151"/>
                      </a:cubicBezTo>
                      <a:cubicBezTo>
                        <a:pt x="178" y="154"/>
                        <a:pt x="182" y="152"/>
                        <a:pt x="182" y="150"/>
                      </a:cubicBezTo>
                      <a:cubicBezTo>
                        <a:pt x="182" y="148"/>
                        <a:pt x="185" y="146"/>
                        <a:pt x="190" y="144"/>
                      </a:cubicBezTo>
                      <a:cubicBezTo>
                        <a:pt x="192" y="143"/>
                        <a:pt x="194" y="143"/>
                        <a:pt x="195" y="143"/>
                      </a:cubicBezTo>
                      <a:cubicBezTo>
                        <a:pt x="196" y="141"/>
                        <a:pt x="197" y="139"/>
                        <a:pt x="197" y="139"/>
                      </a:cubicBezTo>
                      <a:cubicBezTo>
                        <a:pt x="199" y="138"/>
                        <a:pt x="202" y="136"/>
                        <a:pt x="202" y="133"/>
                      </a:cubicBezTo>
                      <a:cubicBezTo>
                        <a:pt x="202" y="131"/>
                        <a:pt x="209" y="131"/>
                        <a:pt x="213" y="133"/>
                      </a:cubicBezTo>
                      <a:cubicBezTo>
                        <a:pt x="217" y="135"/>
                        <a:pt x="220" y="135"/>
                        <a:pt x="220" y="132"/>
                      </a:cubicBezTo>
                      <a:cubicBezTo>
                        <a:pt x="221" y="129"/>
                        <a:pt x="227" y="128"/>
                        <a:pt x="229" y="129"/>
                      </a:cubicBezTo>
                      <a:cubicBezTo>
                        <a:pt x="231" y="130"/>
                        <a:pt x="236" y="133"/>
                        <a:pt x="239" y="132"/>
                      </a:cubicBezTo>
                      <a:cubicBezTo>
                        <a:pt x="242" y="131"/>
                        <a:pt x="256" y="132"/>
                        <a:pt x="260" y="133"/>
                      </a:cubicBezTo>
                      <a:cubicBezTo>
                        <a:pt x="264" y="134"/>
                        <a:pt x="265" y="131"/>
                        <a:pt x="268" y="135"/>
                      </a:cubicBezTo>
                      <a:cubicBezTo>
                        <a:pt x="270" y="138"/>
                        <a:pt x="271" y="135"/>
                        <a:pt x="274" y="138"/>
                      </a:cubicBezTo>
                      <a:cubicBezTo>
                        <a:pt x="274" y="137"/>
                        <a:pt x="274" y="136"/>
                        <a:pt x="274" y="134"/>
                      </a:cubicBezTo>
                      <a:cubicBezTo>
                        <a:pt x="274" y="132"/>
                        <a:pt x="278" y="130"/>
                        <a:pt x="278" y="128"/>
                      </a:cubicBezTo>
                      <a:cubicBezTo>
                        <a:pt x="279" y="127"/>
                        <a:pt x="275" y="121"/>
                        <a:pt x="275" y="119"/>
                      </a:cubicBezTo>
                      <a:cubicBezTo>
                        <a:pt x="275" y="118"/>
                        <a:pt x="275" y="113"/>
                        <a:pt x="273" y="112"/>
                      </a:cubicBezTo>
                      <a:cubicBezTo>
                        <a:pt x="272" y="112"/>
                        <a:pt x="277" y="109"/>
                        <a:pt x="278" y="109"/>
                      </a:cubicBezTo>
                      <a:cubicBezTo>
                        <a:pt x="281" y="109"/>
                        <a:pt x="284" y="107"/>
                        <a:pt x="286" y="108"/>
                      </a:cubicBezTo>
                      <a:cubicBezTo>
                        <a:pt x="287" y="109"/>
                        <a:pt x="289" y="109"/>
                        <a:pt x="291" y="109"/>
                      </a:cubicBezTo>
                      <a:cubicBezTo>
                        <a:pt x="294" y="109"/>
                        <a:pt x="293" y="107"/>
                        <a:pt x="291" y="106"/>
                      </a:cubicBezTo>
                      <a:cubicBezTo>
                        <a:pt x="290" y="104"/>
                        <a:pt x="296" y="94"/>
                        <a:pt x="296" y="90"/>
                      </a:cubicBezTo>
                      <a:cubicBezTo>
                        <a:pt x="297" y="86"/>
                        <a:pt x="299" y="90"/>
                        <a:pt x="302" y="90"/>
                      </a:cubicBezTo>
                      <a:cubicBezTo>
                        <a:pt x="304" y="90"/>
                        <a:pt x="308" y="90"/>
                        <a:pt x="309" y="91"/>
                      </a:cubicBezTo>
                      <a:cubicBezTo>
                        <a:pt x="311" y="92"/>
                        <a:pt x="316" y="90"/>
                        <a:pt x="317" y="88"/>
                      </a:cubicBezTo>
                      <a:cubicBezTo>
                        <a:pt x="318" y="86"/>
                        <a:pt x="315" y="86"/>
                        <a:pt x="316" y="81"/>
                      </a:cubicBezTo>
                      <a:cubicBezTo>
                        <a:pt x="316" y="77"/>
                        <a:pt x="318" y="75"/>
                        <a:pt x="321" y="75"/>
                      </a:cubicBezTo>
                      <a:cubicBezTo>
                        <a:pt x="323" y="75"/>
                        <a:pt x="324" y="73"/>
                        <a:pt x="324" y="71"/>
                      </a:cubicBezTo>
                      <a:cubicBezTo>
                        <a:pt x="324" y="69"/>
                        <a:pt x="326" y="68"/>
                        <a:pt x="327" y="66"/>
                      </a:cubicBezTo>
                      <a:cubicBezTo>
                        <a:pt x="326" y="65"/>
                        <a:pt x="326" y="64"/>
                        <a:pt x="325" y="63"/>
                      </a:cubicBezTo>
                      <a:close/>
                      <a:moveTo>
                        <a:pt x="122" y="98"/>
                      </a:moveTo>
                      <a:cubicBezTo>
                        <a:pt x="121" y="99"/>
                        <a:pt x="112" y="96"/>
                        <a:pt x="111" y="95"/>
                      </a:cubicBezTo>
                      <a:cubicBezTo>
                        <a:pt x="110" y="93"/>
                        <a:pt x="124" y="95"/>
                        <a:pt x="122" y="98"/>
                      </a:cubicBezTo>
                      <a:close/>
                      <a:moveTo>
                        <a:pt x="257" y="97"/>
                      </a:moveTo>
                      <a:cubicBezTo>
                        <a:pt x="250" y="97"/>
                        <a:pt x="236" y="93"/>
                        <a:pt x="230" y="100"/>
                      </a:cubicBezTo>
                      <a:cubicBezTo>
                        <a:pt x="224" y="106"/>
                        <a:pt x="228" y="110"/>
                        <a:pt x="225" y="110"/>
                      </a:cubicBezTo>
                      <a:cubicBezTo>
                        <a:pt x="222" y="111"/>
                        <a:pt x="221" y="100"/>
                        <a:pt x="224" y="97"/>
                      </a:cubicBezTo>
                      <a:cubicBezTo>
                        <a:pt x="228" y="94"/>
                        <a:pt x="238" y="92"/>
                        <a:pt x="245" y="94"/>
                      </a:cubicBezTo>
                      <a:cubicBezTo>
                        <a:pt x="252" y="96"/>
                        <a:pt x="264" y="92"/>
                        <a:pt x="265" y="93"/>
                      </a:cubicBezTo>
                      <a:cubicBezTo>
                        <a:pt x="267" y="93"/>
                        <a:pt x="264" y="97"/>
                        <a:pt x="257" y="9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4" name="Freeform 147">
                  <a:extLst>
                    <a:ext uri="{FF2B5EF4-FFF2-40B4-BE49-F238E27FC236}">
                      <a16:creationId xmlns:a16="http://schemas.microsoft.com/office/drawing/2014/main" id="{340B5DCF-8E25-4DA0-90BE-8A53AA5E4F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062730" y="-13929304"/>
                  <a:ext cx="8490724" cy="3252941"/>
                </a:xfrm>
                <a:custGeom>
                  <a:avLst/>
                  <a:gdLst>
                    <a:gd name="T0" fmla="*/ 361 w 1374"/>
                    <a:gd name="T1" fmla="*/ 10 h 527"/>
                    <a:gd name="T2" fmla="*/ 611 w 1374"/>
                    <a:gd name="T3" fmla="*/ 5 h 527"/>
                    <a:gd name="T4" fmla="*/ 481 w 1374"/>
                    <a:gd name="T5" fmla="*/ 150 h 527"/>
                    <a:gd name="T6" fmla="*/ 663 w 1374"/>
                    <a:gd name="T7" fmla="*/ 49 h 527"/>
                    <a:gd name="T8" fmla="*/ 1003 w 1374"/>
                    <a:gd name="T9" fmla="*/ 110 h 527"/>
                    <a:gd name="T10" fmla="*/ 1054 w 1374"/>
                    <a:gd name="T11" fmla="*/ 117 h 527"/>
                    <a:gd name="T12" fmla="*/ 982 w 1374"/>
                    <a:gd name="T13" fmla="*/ 426 h 527"/>
                    <a:gd name="T14" fmla="*/ 244 w 1374"/>
                    <a:gd name="T15" fmla="*/ 22 h 527"/>
                    <a:gd name="T16" fmla="*/ 1332 w 1374"/>
                    <a:gd name="T17" fmla="*/ 242 h 527"/>
                    <a:gd name="T18" fmla="*/ 1194 w 1374"/>
                    <a:gd name="T19" fmla="*/ 202 h 527"/>
                    <a:gd name="T20" fmla="*/ 1063 w 1374"/>
                    <a:gd name="T21" fmla="*/ 177 h 527"/>
                    <a:gd name="T22" fmla="*/ 974 w 1374"/>
                    <a:gd name="T23" fmla="*/ 150 h 527"/>
                    <a:gd name="T24" fmla="*/ 903 w 1374"/>
                    <a:gd name="T25" fmla="*/ 167 h 527"/>
                    <a:gd name="T26" fmla="*/ 845 w 1374"/>
                    <a:gd name="T27" fmla="*/ 138 h 527"/>
                    <a:gd name="T28" fmla="*/ 748 w 1374"/>
                    <a:gd name="T29" fmla="*/ 136 h 527"/>
                    <a:gd name="T30" fmla="*/ 738 w 1374"/>
                    <a:gd name="T31" fmla="*/ 118 h 527"/>
                    <a:gd name="T32" fmla="*/ 699 w 1374"/>
                    <a:gd name="T33" fmla="*/ 83 h 527"/>
                    <a:gd name="T34" fmla="*/ 631 w 1374"/>
                    <a:gd name="T35" fmla="*/ 96 h 527"/>
                    <a:gd name="T36" fmla="*/ 547 w 1374"/>
                    <a:gd name="T37" fmla="*/ 114 h 527"/>
                    <a:gd name="T38" fmla="*/ 519 w 1374"/>
                    <a:gd name="T39" fmla="*/ 137 h 527"/>
                    <a:gd name="T40" fmla="*/ 479 w 1374"/>
                    <a:gd name="T41" fmla="*/ 177 h 527"/>
                    <a:gd name="T42" fmla="*/ 456 w 1374"/>
                    <a:gd name="T43" fmla="*/ 204 h 527"/>
                    <a:gd name="T44" fmla="*/ 422 w 1374"/>
                    <a:gd name="T45" fmla="*/ 243 h 527"/>
                    <a:gd name="T46" fmla="*/ 438 w 1374"/>
                    <a:gd name="T47" fmla="*/ 213 h 527"/>
                    <a:gd name="T48" fmla="*/ 387 w 1374"/>
                    <a:gd name="T49" fmla="*/ 187 h 527"/>
                    <a:gd name="T50" fmla="*/ 326 w 1374"/>
                    <a:gd name="T51" fmla="*/ 196 h 527"/>
                    <a:gd name="T52" fmla="*/ 269 w 1374"/>
                    <a:gd name="T53" fmla="*/ 210 h 527"/>
                    <a:gd name="T54" fmla="*/ 196 w 1374"/>
                    <a:gd name="T55" fmla="*/ 214 h 527"/>
                    <a:gd name="T56" fmla="*/ 150 w 1374"/>
                    <a:gd name="T57" fmla="*/ 262 h 527"/>
                    <a:gd name="T58" fmla="*/ 103 w 1374"/>
                    <a:gd name="T59" fmla="*/ 233 h 527"/>
                    <a:gd name="T60" fmla="*/ 107 w 1374"/>
                    <a:gd name="T61" fmla="*/ 200 h 527"/>
                    <a:gd name="T62" fmla="*/ 79 w 1374"/>
                    <a:gd name="T63" fmla="*/ 230 h 527"/>
                    <a:gd name="T64" fmla="*/ 70 w 1374"/>
                    <a:gd name="T65" fmla="*/ 315 h 527"/>
                    <a:gd name="T66" fmla="*/ 74 w 1374"/>
                    <a:gd name="T67" fmla="*/ 370 h 527"/>
                    <a:gd name="T68" fmla="*/ 115 w 1374"/>
                    <a:gd name="T69" fmla="*/ 412 h 527"/>
                    <a:gd name="T70" fmla="*/ 161 w 1374"/>
                    <a:gd name="T71" fmla="*/ 450 h 527"/>
                    <a:gd name="T72" fmla="*/ 165 w 1374"/>
                    <a:gd name="T73" fmla="*/ 503 h 527"/>
                    <a:gd name="T74" fmla="*/ 238 w 1374"/>
                    <a:gd name="T75" fmla="*/ 476 h 527"/>
                    <a:gd name="T76" fmla="*/ 237 w 1374"/>
                    <a:gd name="T77" fmla="*/ 430 h 527"/>
                    <a:gd name="T78" fmla="*/ 325 w 1374"/>
                    <a:gd name="T79" fmla="*/ 432 h 527"/>
                    <a:gd name="T80" fmla="*/ 374 w 1374"/>
                    <a:gd name="T81" fmla="*/ 388 h 527"/>
                    <a:gd name="T82" fmla="*/ 451 w 1374"/>
                    <a:gd name="T83" fmla="*/ 395 h 527"/>
                    <a:gd name="T84" fmla="*/ 541 w 1374"/>
                    <a:gd name="T85" fmla="*/ 442 h 527"/>
                    <a:gd name="T86" fmla="*/ 625 w 1374"/>
                    <a:gd name="T87" fmla="*/ 432 h 527"/>
                    <a:gd name="T88" fmla="*/ 697 w 1374"/>
                    <a:gd name="T89" fmla="*/ 437 h 527"/>
                    <a:gd name="T90" fmla="*/ 804 w 1374"/>
                    <a:gd name="T91" fmla="*/ 419 h 527"/>
                    <a:gd name="T92" fmla="*/ 888 w 1374"/>
                    <a:gd name="T93" fmla="*/ 453 h 527"/>
                    <a:gd name="T94" fmla="*/ 899 w 1374"/>
                    <a:gd name="T95" fmla="*/ 508 h 527"/>
                    <a:gd name="T96" fmla="*/ 961 w 1374"/>
                    <a:gd name="T97" fmla="*/ 393 h 527"/>
                    <a:gd name="T98" fmla="*/ 970 w 1374"/>
                    <a:gd name="T99" fmla="*/ 348 h 527"/>
                    <a:gd name="T100" fmla="*/ 1078 w 1374"/>
                    <a:gd name="T101" fmla="*/ 337 h 527"/>
                    <a:gd name="T102" fmla="*/ 1152 w 1374"/>
                    <a:gd name="T103" fmla="*/ 299 h 527"/>
                    <a:gd name="T104" fmla="*/ 1098 w 1374"/>
                    <a:gd name="T105" fmla="*/ 424 h 527"/>
                    <a:gd name="T106" fmla="*/ 1151 w 1374"/>
                    <a:gd name="T107" fmla="*/ 352 h 527"/>
                    <a:gd name="T108" fmla="*/ 1235 w 1374"/>
                    <a:gd name="T109" fmla="*/ 309 h 527"/>
                    <a:gd name="T110" fmla="*/ 1292 w 1374"/>
                    <a:gd name="T111" fmla="*/ 262 h 527"/>
                    <a:gd name="T112" fmla="*/ 1347 w 1374"/>
                    <a:gd name="T113" fmla="*/ 267 h 527"/>
                    <a:gd name="T114" fmla="*/ 707 w 1374"/>
                    <a:gd name="T115" fmla="*/ 392 h 527"/>
                    <a:gd name="T116" fmla="*/ 277 w 1374"/>
                    <a:gd name="T117" fmla="*/ 23 h 527"/>
                    <a:gd name="T118" fmla="*/ 282 w 1374"/>
                    <a:gd name="T119" fmla="*/ 14 h 527"/>
                    <a:gd name="T120" fmla="*/ 300 w 1374"/>
                    <a:gd name="T121" fmla="*/ 145 h 527"/>
                    <a:gd name="T122" fmla="*/ 301 w 1374"/>
                    <a:gd name="T123" fmla="*/ 111 h 5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374" h="527">
                      <a:moveTo>
                        <a:pt x="21" y="381"/>
                      </a:moveTo>
                      <a:cubicBezTo>
                        <a:pt x="20" y="381"/>
                        <a:pt x="17" y="380"/>
                        <a:pt x="16" y="379"/>
                      </a:cubicBezTo>
                      <a:cubicBezTo>
                        <a:pt x="16" y="378"/>
                        <a:pt x="13" y="378"/>
                        <a:pt x="11" y="378"/>
                      </a:cubicBezTo>
                      <a:cubicBezTo>
                        <a:pt x="12" y="379"/>
                        <a:pt x="12" y="379"/>
                        <a:pt x="13" y="380"/>
                      </a:cubicBezTo>
                      <a:cubicBezTo>
                        <a:pt x="14" y="382"/>
                        <a:pt x="8" y="382"/>
                        <a:pt x="10" y="384"/>
                      </a:cubicBezTo>
                      <a:cubicBezTo>
                        <a:pt x="12" y="386"/>
                        <a:pt x="6" y="386"/>
                        <a:pt x="6" y="384"/>
                      </a:cubicBezTo>
                      <a:cubicBezTo>
                        <a:pt x="6" y="382"/>
                        <a:pt x="1" y="383"/>
                        <a:pt x="1" y="384"/>
                      </a:cubicBezTo>
                      <a:cubicBezTo>
                        <a:pt x="1" y="385"/>
                        <a:pt x="1" y="386"/>
                        <a:pt x="0" y="386"/>
                      </a:cubicBezTo>
                      <a:cubicBezTo>
                        <a:pt x="2" y="387"/>
                        <a:pt x="4" y="388"/>
                        <a:pt x="4" y="388"/>
                      </a:cubicBezTo>
                      <a:cubicBezTo>
                        <a:pt x="5" y="388"/>
                        <a:pt x="20" y="390"/>
                        <a:pt x="25" y="389"/>
                      </a:cubicBezTo>
                      <a:cubicBezTo>
                        <a:pt x="25" y="388"/>
                        <a:pt x="26" y="385"/>
                        <a:pt x="26" y="383"/>
                      </a:cubicBezTo>
                      <a:cubicBezTo>
                        <a:pt x="26" y="382"/>
                        <a:pt x="22" y="380"/>
                        <a:pt x="21" y="381"/>
                      </a:cubicBezTo>
                      <a:close/>
                      <a:moveTo>
                        <a:pt x="365" y="14"/>
                      </a:moveTo>
                      <a:cubicBezTo>
                        <a:pt x="374" y="13"/>
                        <a:pt x="374" y="8"/>
                        <a:pt x="369" y="8"/>
                      </a:cubicBezTo>
                      <a:cubicBezTo>
                        <a:pt x="364" y="7"/>
                        <a:pt x="364" y="10"/>
                        <a:pt x="361" y="10"/>
                      </a:cubicBezTo>
                      <a:cubicBezTo>
                        <a:pt x="359" y="10"/>
                        <a:pt x="350" y="12"/>
                        <a:pt x="352" y="14"/>
                      </a:cubicBezTo>
                      <a:cubicBezTo>
                        <a:pt x="354" y="16"/>
                        <a:pt x="361" y="15"/>
                        <a:pt x="365" y="14"/>
                      </a:cubicBezTo>
                      <a:close/>
                      <a:moveTo>
                        <a:pt x="411" y="147"/>
                      </a:moveTo>
                      <a:cubicBezTo>
                        <a:pt x="414" y="147"/>
                        <a:pt x="423" y="145"/>
                        <a:pt x="423" y="144"/>
                      </a:cubicBezTo>
                      <a:cubicBezTo>
                        <a:pt x="424" y="142"/>
                        <a:pt x="420" y="140"/>
                        <a:pt x="415" y="140"/>
                      </a:cubicBezTo>
                      <a:cubicBezTo>
                        <a:pt x="409" y="140"/>
                        <a:pt x="408" y="146"/>
                        <a:pt x="411" y="147"/>
                      </a:cubicBezTo>
                      <a:close/>
                      <a:moveTo>
                        <a:pt x="587" y="25"/>
                      </a:moveTo>
                      <a:cubicBezTo>
                        <a:pt x="591" y="27"/>
                        <a:pt x="590" y="28"/>
                        <a:pt x="585" y="28"/>
                      </a:cubicBezTo>
                      <a:cubicBezTo>
                        <a:pt x="580" y="28"/>
                        <a:pt x="576" y="30"/>
                        <a:pt x="579" y="31"/>
                      </a:cubicBezTo>
                      <a:cubicBezTo>
                        <a:pt x="582" y="32"/>
                        <a:pt x="581" y="35"/>
                        <a:pt x="586" y="36"/>
                      </a:cubicBezTo>
                      <a:cubicBezTo>
                        <a:pt x="591" y="37"/>
                        <a:pt x="596" y="33"/>
                        <a:pt x="596" y="30"/>
                      </a:cubicBezTo>
                      <a:cubicBezTo>
                        <a:pt x="595" y="27"/>
                        <a:pt x="613" y="25"/>
                        <a:pt x="618" y="23"/>
                      </a:cubicBezTo>
                      <a:cubicBezTo>
                        <a:pt x="623" y="22"/>
                        <a:pt x="615" y="17"/>
                        <a:pt x="620" y="17"/>
                      </a:cubicBezTo>
                      <a:cubicBezTo>
                        <a:pt x="625" y="16"/>
                        <a:pt x="623" y="14"/>
                        <a:pt x="617" y="13"/>
                      </a:cubicBezTo>
                      <a:cubicBezTo>
                        <a:pt x="610" y="12"/>
                        <a:pt x="613" y="7"/>
                        <a:pt x="611" y="5"/>
                      </a:cubicBezTo>
                      <a:cubicBezTo>
                        <a:pt x="609" y="3"/>
                        <a:pt x="608" y="7"/>
                        <a:pt x="599" y="9"/>
                      </a:cubicBezTo>
                      <a:cubicBezTo>
                        <a:pt x="591" y="10"/>
                        <a:pt x="587" y="13"/>
                        <a:pt x="590" y="14"/>
                      </a:cubicBezTo>
                      <a:cubicBezTo>
                        <a:pt x="593" y="16"/>
                        <a:pt x="590" y="20"/>
                        <a:pt x="587" y="20"/>
                      </a:cubicBezTo>
                      <a:cubicBezTo>
                        <a:pt x="583" y="19"/>
                        <a:pt x="582" y="23"/>
                        <a:pt x="587" y="25"/>
                      </a:cubicBezTo>
                      <a:close/>
                      <a:moveTo>
                        <a:pt x="599" y="32"/>
                      </a:moveTo>
                      <a:cubicBezTo>
                        <a:pt x="599" y="34"/>
                        <a:pt x="592" y="37"/>
                        <a:pt x="594" y="39"/>
                      </a:cubicBezTo>
                      <a:cubicBezTo>
                        <a:pt x="596" y="41"/>
                        <a:pt x="598" y="40"/>
                        <a:pt x="600" y="41"/>
                      </a:cubicBezTo>
                      <a:cubicBezTo>
                        <a:pt x="602" y="41"/>
                        <a:pt x="603" y="47"/>
                        <a:pt x="608" y="46"/>
                      </a:cubicBezTo>
                      <a:cubicBezTo>
                        <a:pt x="612" y="45"/>
                        <a:pt x="624" y="51"/>
                        <a:pt x="631" y="51"/>
                      </a:cubicBezTo>
                      <a:cubicBezTo>
                        <a:pt x="637" y="51"/>
                        <a:pt x="638" y="45"/>
                        <a:pt x="636" y="45"/>
                      </a:cubicBezTo>
                      <a:cubicBezTo>
                        <a:pt x="634" y="45"/>
                        <a:pt x="636" y="41"/>
                        <a:pt x="640" y="36"/>
                      </a:cubicBezTo>
                      <a:cubicBezTo>
                        <a:pt x="643" y="30"/>
                        <a:pt x="628" y="26"/>
                        <a:pt x="628" y="31"/>
                      </a:cubicBezTo>
                      <a:cubicBezTo>
                        <a:pt x="628" y="35"/>
                        <a:pt x="623" y="30"/>
                        <a:pt x="622" y="27"/>
                      </a:cubicBezTo>
                      <a:cubicBezTo>
                        <a:pt x="620" y="24"/>
                        <a:pt x="599" y="29"/>
                        <a:pt x="599" y="32"/>
                      </a:cubicBezTo>
                      <a:close/>
                      <a:moveTo>
                        <a:pt x="481" y="150"/>
                      </a:moveTo>
                      <a:cubicBezTo>
                        <a:pt x="484" y="152"/>
                        <a:pt x="487" y="151"/>
                        <a:pt x="487" y="148"/>
                      </a:cubicBezTo>
                      <a:cubicBezTo>
                        <a:pt x="486" y="144"/>
                        <a:pt x="478" y="149"/>
                        <a:pt x="481" y="150"/>
                      </a:cubicBezTo>
                      <a:close/>
                      <a:moveTo>
                        <a:pt x="581" y="8"/>
                      </a:moveTo>
                      <a:cubicBezTo>
                        <a:pt x="582" y="5"/>
                        <a:pt x="566" y="6"/>
                        <a:pt x="570" y="10"/>
                      </a:cubicBezTo>
                      <a:cubicBezTo>
                        <a:pt x="571" y="11"/>
                        <a:pt x="580" y="12"/>
                        <a:pt x="581" y="8"/>
                      </a:cubicBezTo>
                      <a:close/>
                      <a:moveTo>
                        <a:pt x="1280" y="181"/>
                      </a:moveTo>
                      <a:cubicBezTo>
                        <a:pt x="1285" y="183"/>
                        <a:pt x="1288" y="178"/>
                        <a:pt x="1292" y="180"/>
                      </a:cubicBezTo>
                      <a:cubicBezTo>
                        <a:pt x="1296" y="183"/>
                        <a:pt x="1305" y="179"/>
                        <a:pt x="1309" y="179"/>
                      </a:cubicBezTo>
                      <a:cubicBezTo>
                        <a:pt x="1313" y="178"/>
                        <a:pt x="1311" y="173"/>
                        <a:pt x="1300" y="172"/>
                      </a:cubicBezTo>
                      <a:cubicBezTo>
                        <a:pt x="1289" y="170"/>
                        <a:pt x="1275" y="178"/>
                        <a:pt x="1280" y="181"/>
                      </a:cubicBezTo>
                      <a:close/>
                      <a:moveTo>
                        <a:pt x="636" y="65"/>
                      </a:moveTo>
                      <a:cubicBezTo>
                        <a:pt x="640" y="67"/>
                        <a:pt x="650" y="63"/>
                        <a:pt x="657" y="63"/>
                      </a:cubicBezTo>
                      <a:cubicBezTo>
                        <a:pt x="665" y="63"/>
                        <a:pt x="685" y="58"/>
                        <a:pt x="685" y="54"/>
                      </a:cubicBezTo>
                      <a:cubicBezTo>
                        <a:pt x="686" y="50"/>
                        <a:pt x="678" y="50"/>
                        <a:pt x="675" y="47"/>
                      </a:cubicBezTo>
                      <a:cubicBezTo>
                        <a:pt x="672" y="44"/>
                        <a:pt x="665" y="47"/>
                        <a:pt x="663" y="49"/>
                      </a:cubicBezTo>
                      <a:cubicBezTo>
                        <a:pt x="661" y="52"/>
                        <a:pt x="660" y="50"/>
                        <a:pt x="664" y="45"/>
                      </a:cubicBezTo>
                      <a:cubicBezTo>
                        <a:pt x="669" y="41"/>
                        <a:pt x="660" y="37"/>
                        <a:pt x="659" y="40"/>
                      </a:cubicBezTo>
                      <a:cubicBezTo>
                        <a:pt x="659" y="43"/>
                        <a:pt x="651" y="40"/>
                        <a:pt x="651" y="43"/>
                      </a:cubicBezTo>
                      <a:cubicBezTo>
                        <a:pt x="651" y="46"/>
                        <a:pt x="648" y="47"/>
                        <a:pt x="648" y="49"/>
                      </a:cubicBezTo>
                      <a:cubicBezTo>
                        <a:pt x="648" y="52"/>
                        <a:pt x="642" y="48"/>
                        <a:pt x="642" y="54"/>
                      </a:cubicBezTo>
                      <a:cubicBezTo>
                        <a:pt x="642" y="60"/>
                        <a:pt x="633" y="63"/>
                        <a:pt x="636" y="65"/>
                      </a:cubicBezTo>
                      <a:close/>
                      <a:moveTo>
                        <a:pt x="943" y="114"/>
                      </a:moveTo>
                      <a:cubicBezTo>
                        <a:pt x="946" y="116"/>
                        <a:pt x="948" y="118"/>
                        <a:pt x="949" y="120"/>
                      </a:cubicBezTo>
                      <a:cubicBezTo>
                        <a:pt x="951" y="121"/>
                        <a:pt x="958" y="119"/>
                        <a:pt x="961" y="118"/>
                      </a:cubicBezTo>
                      <a:cubicBezTo>
                        <a:pt x="964" y="117"/>
                        <a:pt x="964" y="122"/>
                        <a:pt x="969" y="119"/>
                      </a:cubicBezTo>
                      <a:cubicBezTo>
                        <a:pt x="973" y="116"/>
                        <a:pt x="978" y="118"/>
                        <a:pt x="983" y="118"/>
                      </a:cubicBezTo>
                      <a:cubicBezTo>
                        <a:pt x="988" y="118"/>
                        <a:pt x="982" y="111"/>
                        <a:pt x="983" y="108"/>
                      </a:cubicBezTo>
                      <a:cubicBezTo>
                        <a:pt x="983" y="106"/>
                        <a:pt x="989" y="107"/>
                        <a:pt x="987" y="110"/>
                      </a:cubicBezTo>
                      <a:cubicBezTo>
                        <a:pt x="985" y="112"/>
                        <a:pt x="990" y="118"/>
                        <a:pt x="997" y="117"/>
                      </a:cubicBezTo>
                      <a:cubicBezTo>
                        <a:pt x="1005" y="117"/>
                        <a:pt x="999" y="112"/>
                        <a:pt x="1003" y="110"/>
                      </a:cubicBezTo>
                      <a:cubicBezTo>
                        <a:pt x="1007" y="109"/>
                        <a:pt x="1006" y="107"/>
                        <a:pt x="1001" y="103"/>
                      </a:cubicBezTo>
                      <a:cubicBezTo>
                        <a:pt x="995" y="100"/>
                        <a:pt x="988" y="102"/>
                        <a:pt x="983" y="100"/>
                      </a:cubicBezTo>
                      <a:cubicBezTo>
                        <a:pt x="978" y="98"/>
                        <a:pt x="972" y="98"/>
                        <a:pt x="972" y="103"/>
                      </a:cubicBezTo>
                      <a:cubicBezTo>
                        <a:pt x="972" y="108"/>
                        <a:pt x="962" y="97"/>
                        <a:pt x="957" y="96"/>
                      </a:cubicBezTo>
                      <a:cubicBezTo>
                        <a:pt x="951" y="94"/>
                        <a:pt x="935" y="110"/>
                        <a:pt x="943" y="114"/>
                      </a:cubicBezTo>
                      <a:close/>
                      <a:moveTo>
                        <a:pt x="993" y="145"/>
                      </a:moveTo>
                      <a:cubicBezTo>
                        <a:pt x="997" y="144"/>
                        <a:pt x="990" y="136"/>
                        <a:pt x="982" y="135"/>
                      </a:cubicBezTo>
                      <a:cubicBezTo>
                        <a:pt x="975" y="134"/>
                        <a:pt x="968" y="140"/>
                        <a:pt x="969" y="141"/>
                      </a:cubicBezTo>
                      <a:cubicBezTo>
                        <a:pt x="971" y="144"/>
                        <a:pt x="988" y="146"/>
                        <a:pt x="993" y="145"/>
                      </a:cubicBezTo>
                      <a:close/>
                      <a:moveTo>
                        <a:pt x="974" y="129"/>
                      </a:moveTo>
                      <a:cubicBezTo>
                        <a:pt x="974" y="125"/>
                        <a:pt x="961" y="130"/>
                        <a:pt x="966" y="132"/>
                      </a:cubicBezTo>
                      <a:cubicBezTo>
                        <a:pt x="969" y="133"/>
                        <a:pt x="974" y="133"/>
                        <a:pt x="974" y="129"/>
                      </a:cubicBezTo>
                      <a:close/>
                      <a:moveTo>
                        <a:pt x="1015" y="114"/>
                      </a:moveTo>
                      <a:cubicBezTo>
                        <a:pt x="1021" y="115"/>
                        <a:pt x="1024" y="120"/>
                        <a:pt x="1035" y="121"/>
                      </a:cubicBezTo>
                      <a:cubicBezTo>
                        <a:pt x="1046" y="121"/>
                        <a:pt x="1054" y="119"/>
                        <a:pt x="1054" y="117"/>
                      </a:cubicBezTo>
                      <a:cubicBezTo>
                        <a:pt x="1054" y="115"/>
                        <a:pt x="1044" y="111"/>
                        <a:pt x="1041" y="113"/>
                      </a:cubicBezTo>
                      <a:cubicBezTo>
                        <a:pt x="1038" y="115"/>
                        <a:pt x="1035" y="110"/>
                        <a:pt x="1032" y="111"/>
                      </a:cubicBezTo>
                      <a:cubicBezTo>
                        <a:pt x="1028" y="112"/>
                        <a:pt x="1022" y="112"/>
                        <a:pt x="1021" y="109"/>
                      </a:cubicBezTo>
                      <a:cubicBezTo>
                        <a:pt x="1019" y="105"/>
                        <a:pt x="1012" y="114"/>
                        <a:pt x="1015" y="114"/>
                      </a:cubicBezTo>
                      <a:close/>
                      <a:moveTo>
                        <a:pt x="221" y="18"/>
                      </a:moveTo>
                      <a:cubicBezTo>
                        <a:pt x="226" y="13"/>
                        <a:pt x="233" y="17"/>
                        <a:pt x="234" y="15"/>
                      </a:cubicBezTo>
                      <a:cubicBezTo>
                        <a:pt x="235" y="13"/>
                        <a:pt x="224" y="12"/>
                        <a:pt x="220" y="14"/>
                      </a:cubicBezTo>
                      <a:cubicBezTo>
                        <a:pt x="216" y="16"/>
                        <a:pt x="206" y="14"/>
                        <a:pt x="208" y="17"/>
                      </a:cubicBezTo>
                      <a:cubicBezTo>
                        <a:pt x="208" y="19"/>
                        <a:pt x="215" y="23"/>
                        <a:pt x="221" y="18"/>
                      </a:cubicBezTo>
                      <a:close/>
                      <a:moveTo>
                        <a:pt x="991" y="419"/>
                      </a:moveTo>
                      <a:cubicBezTo>
                        <a:pt x="988" y="413"/>
                        <a:pt x="995" y="406"/>
                        <a:pt x="990" y="402"/>
                      </a:cubicBezTo>
                      <a:cubicBezTo>
                        <a:pt x="985" y="399"/>
                        <a:pt x="987" y="391"/>
                        <a:pt x="985" y="393"/>
                      </a:cubicBezTo>
                      <a:cubicBezTo>
                        <a:pt x="982" y="394"/>
                        <a:pt x="985" y="401"/>
                        <a:pt x="981" y="401"/>
                      </a:cubicBezTo>
                      <a:cubicBezTo>
                        <a:pt x="977" y="402"/>
                        <a:pt x="981" y="405"/>
                        <a:pt x="979" y="410"/>
                      </a:cubicBezTo>
                      <a:cubicBezTo>
                        <a:pt x="978" y="415"/>
                        <a:pt x="980" y="422"/>
                        <a:pt x="982" y="426"/>
                      </a:cubicBezTo>
                      <a:cubicBezTo>
                        <a:pt x="984" y="430"/>
                        <a:pt x="979" y="453"/>
                        <a:pt x="981" y="457"/>
                      </a:cubicBezTo>
                      <a:cubicBezTo>
                        <a:pt x="983" y="461"/>
                        <a:pt x="978" y="477"/>
                        <a:pt x="980" y="479"/>
                      </a:cubicBezTo>
                      <a:cubicBezTo>
                        <a:pt x="983" y="483"/>
                        <a:pt x="981" y="475"/>
                        <a:pt x="985" y="474"/>
                      </a:cubicBezTo>
                      <a:cubicBezTo>
                        <a:pt x="989" y="473"/>
                        <a:pt x="989" y="479"/>
                        <a:pt x="992" y="480"/>
                      </a:cubicBezTo>
                      <a:cubicBezTo>
                        <a:pt x="994" y="481"/>
                        <a:pt x="993" y="472"/>
                        <a:pt x="990" y="473"/>
                      </a:cubicBezTo>
                      <a:cubicBezTo>
                        <a:pt x="988" y="473"/>
                        <a:pt x="986" y="467"/>
                        <a:pt x="985" y="463"/>
                      </a:cubicBezTo>
                      <a:cubicBezTo>
                        <a:pt x="984" y="460"/>
                        <a:pt x="987" y="455"/>
                        <a:pt x="987" y="450"/>
                      </a:cubicBezTo>
                      <a:cubicBezTo>
                        <a:pt x="987" y="446"/>
                        <a:pt x="993" y="446"/>
                        <a:pt x="997" y="449"/>
                      </a:cubicBezTo>
                      <a:cubicBezTo>
                        <a:pt x="1000" y="453"/>
                        <a:pt x="1001" y="451"/>
                        <a:pt x="999" y="448"/>
                      </a:cubicBezTo>
                      <a:cubicBezTo>
                        <a:pt x="998" y="445"/>
                        <a:pt x="993" y="426"/>
                        <a:pt x="991" y="419"/>
                      </a:cubicBezTo>
                      <a:close/>
                      <a:moveTo>
                        <a:pt x="243" y="15"/>
                      </a:moveTo>
                      <a:cubicBezTo>
                        <a:pt x="246" y="18"/>
                        <a:pt x="234" y="17"/>
                        <a:pt x="232" y="19"/>
                      </a:cubicBezTo>
                      <a:cubicBezTo>
                        <a:pt x="230" y="22"/>
                        <a:pt x="223" y="21"/>
                        <a:pt x="224" y="24"/>
                      </a:cubicBezTo>
                      <a:cubicBezTo>
                        <a:pt x="226" y="27"/>
                        <a:pt x="238" y="27"/>
                        <a:pt x="238" y="24"/>
                      </a:cubicBezTo>
                      <a:cubicBezTo>
                        <a:pt x="238" y="22"/>
                        <a:pt x="244" y="24"/>
                        <a:pt x="244" y="22"/>
                      </a:cubicBezTo>
                      <a:cubicBezTo>
                        <a:pt x="244" y="20"/>
                        <a:pt x="247" y="18"/>
                        <a:pt x="254" y="17"/>
                      </a:cubicBezTo>
                      <a:cubicBezTo>
                        <a:pt x="260" y="17"/>
                        <a:pt x="260" y="14"/>
                        <a:pt x="254" y="11"/>
                      </a:cubicBezTo>
                      <a:cubicBezTo>
                        <a:pt x="248" y="8"/>
                        <a:pt x="240" y="13"/>
                        <a:pt x="243" y="15"/>
                      </a:cubicBezTo>
                      <a:close/>
                      <a:moveTo>
                        <a:pt x="233" y="208"/>
                      </a:moveTo>
                      <a:cubicBezTo>
                        <a:pt x="239" y="213"/>
                        <a:pt x="245" y="205"/>
                        <a:pt x="248" y="204"/>
                      </a:cubicBezTo>
                      <a:cubicBezTo>
                        <a:pt x="251" y="204"/>
                        <a:pt x="246" y="201"/>
                        <a:pt x="241" y="199"/>
                      </a:cubicBezTo>
                      <a:cubicBezTo>
                        <a:pt x="235" y="198"/>
                        <a:pt x="228" y="203"/>
                        <a:pt x="233" y="208"/>
                      </a:cubicBezTo>
                      <a:close/>
                      <a:moveTo>
                        <a:pt x="1372" y="248"/>
                      </a:moveTo>
                      <a:cubicBezTo>
                        <a:pt x="1370" y="247"/>
                        <a:pt x="1362" y="242"/>
                        <a:pt x="1360" y="240"/>
                      </a:cubicBezTo>
                      <a:cubicBezTo>
                        <a:pt x="1358" y="237"/>
                        <a:pt x="1349" y="236"/>
                        <a:pt x="1349" y="237"/>
                      </a:cubicBezTo>
                      <a:cubicBezTo>
                        <a:pt x="1349" y="238"/>
                        <a:pt x="1346" y="237"/>
                        <a:pt x="1345" y="235"/>
                      </a:cubicBezTo>
                      <a:cubicBezTo>
                        <a:pt x="1345" y="234"/>
                        <a:pt x="1335" y="233"/>
                        <a:pt x="1335" y="235"/>
                      </a:cubicBezTo>
                      <a:cubicBezTo>
                        <a:pt x="1335" y="237"/>
                        <a:pt x="1337" y="237"/>
                        <a:pt x="1338" y="239"/>
                      </a:cubicBezTo>
                      <a:cubicBezTo>
                        <a:pt x="1340" y="241"/>
                        <a:pt x="1337" y="242"/>
                        <a:pt x="1337" y="244"/>
                      </a:cubicBezTo>
                      <a:cubicBezTo>
                        <a:pt x="1338" y="246"/>
                        <a:pt x="1334" y="243"/>
                        <a:pt x="1332" y="242"/>
                      </a:cubicBezTo>
                      <a:cubicBezTo>
                        <a:pt x="1331" y="240"/>
                        <a:pt x="1331" y="236"/>
                        <a:pt x="1332" y="233"/>
                      </a:cubicBezTo>
                      <a:cubicBezTo>
                        <a:pt x="1332" y="231"/>
                        <a:pt x="1329" y="231"/>
                        <a:pt x="1329" y="229"/>
                      </a:cubicBezTo>
                      <a:cubicBezTo>
                        <a:pt x="1328" y="227"/>
                        <a:pt x="1318" y="222"/>
                        <a:pt x="1313" y="220"/>
                      </a:cubicBezTo>
                      <a:cubicBezTo>
                        <a:pt x="1309" y="218"/>
                        <a:pt x="1303" y="216"/>
                        <a:pt x="1301" y="214"/>
                      </a:cubicBezTo>
                      <a:cubicBezTo>
                        <a:pt x="1300" y="212"/>
                        <a:pt x="1292" y="211"/>
                        <a:pt x="1289" y="208"/>
                      </a:cubicBezTo>
                      <a:cubicBezTo>
                        <a:pt x="1285" y="205"/>
                        <a:pt x="1272" y="199"/>
                        <a:pt x="1266" y="199"/>
                      </a:cubicBezTo>
                      <a:cubicBezTo>
                        <a:pt x="1260" y="198"/>
                        <a:pt x="1262" y="195"/>
                        <a:pt x="1259" y="196"/>
                      </a:cubicBezTo>
                      <a:cubicBezTo>
                        <a:pt x="1256" y="196"/>
                        <a:pt x="1244" y="196"/>
                        <a:pt x="1240" y="195"/>
                      </a:cubicBezTo>
                      <a:cubicBezTo>
                        <a:pt x="1236" y="194"/>
                        <a:pt x="1235" y="197"/>
                        <a:pt x="1232" y="196"/>
                      </a:cubicBezTo>
                      <a:cubicBezTo>
                        <a:pt x="1230" y="195"/>
                        <a:pt x="1216" y="190"/>
                        <a:pt x="1214" y="192"/>
                      </a:cubicBezTo>
                      <a:cubicBezTo>
                        <a:pt x="1212" y="194"/>
                        <a:pt x="1213" y="197"/>
                        <a:pt x="1211" y="197"/>
                      </a:cubicBezTo>
                      <a:cubicBezTo>
                        <a:pt x="1210" y="198"/>
                        <a:pt x="1211" y="200"/>
                        <a:pt x="1215" y="203"/>
                      </a:cubicBezTo>
                      <a:cubicBezTo>
                        <a:pt x="1219" y="207"/>
                        <a:pt x="1217" y="210"/>
                        <a:pt x="1213" y="211"/>
                      </a:cubicBezTo>
                      <a:cubicBezTo>
                        <a:pt x="1210" y="213"/>
                        <a:pt x="1204" y="210"/>
                        <a:pt x="1202" y="207"/>
                      </a:cubicBezTo>
                      <a:cubicBezTo>
                        <a:pt x="1200" y="204"/>
                        <a:pt x="1195" y="206"/>
                        <a:pt x="1194" y="202"/>
                      </a:cubicBezTo>
                      <a:cubicBezTo>
                        <a:pt x="1193" y="198"/>
                        <a:pt x="1196" y="198"/>
                        <a:pt x="1198" y="200"/>
                      </a:cubicBezTo>
                      <a:cubicBezTo>
                        <a:pt x="1200" y="202"/>
                        <a:pt x="1204" y="200"/>
                        <a:pt x="1204" y="198"/>
                      </a:cubicBezTo>
                      <a:cubicBezTo>
                        <a:pt x="1204" y="195"/>
                        <a:pt x="1198" y="193"/>
                        <a:pt x="1194" y="194"/>
                      </a:cubicBezTo>
                      <a:cubicBezTo>
                        <a:pt x="1190" y="194"/>
                        <a:pt x="1188" y="199"/>
                        <a:pt x="1184" y="201"/>
                      </a:cubicBezTo>
                      <a:cubicBezTo>
                        <a:pt x="1181" y="203"/>
                        <a:pt x="1166" y="200"/>
                        <a:pt x="1164" y="199"/>
                      </a:cubicBezTo>
                      <a:cubicBezTo>
                        <a:pt x="1163" y="197"/>
                        <a:pt x="1142" y="199"/>
                        <a:pt x="1140" y="200"/>
                      </a:cubicBezTo>
                      <a:cubicBezTo>
                        <a:pt x="1138" y="202"/>
                        <a:pt x="1139" y="207"/>
                        <a:pt x="1138" y="208"/>
                      </a:cubicBezTo>
                      <a:cubicBezTo>
                        <a:pt x="1137" y="208"/>
                        <a:pt x="1136" y="201"/>
                        <a:pt x="1136" y="200"/>
                      </a:cubicBezTo>
                      <a:cubicBezTo>
                        <a:pt x="1136" y="199"/>
                        <a:pt x="1134" y="198"/>
                        <a:pt x="1130" y="198"/>
                      </a:cubicBezTo>
                      <a:cubicBezTo>
                        <a:pt x="1126" y="198"/>
                        <a:pt x="1124" y="198"/>
                        <a:pt x="1126" y="196"/>
                      </a:cubicBezTo>
                      <a:cubicBezTo>
                        <a:pt x="1127" y="194"/>
                        <a:pt x="1124" y="193"/>
                        <a:pt x="1127" y="191"/>
                      </a:cubicBezTo>
                      <a:cubicBezTo>
                        <a:pt x="1130" y="189"/>
                        <a:pt x="1122" y="183"/>
                        <a:pt x="1114" y="179"/>
                      </a:cubicBezTo>
                      <a:cubicBezTo>
                        <a:pt x="1106" y="176"/>
                        <a:pt x="1088" y="178"/>
                        <a:pt x="1084" y="180"/>
                      </a:cubicBezTo>
                      <a:cubicBezTo>
                        <a:pt x="1079" y="181"/>
                        <a:pt x="1069" y="181"/>
                        <a:pt x="1065" y="181"/>
                      </a:cubicBezTo>
                      <a:cubicBezTo>
                        <a:pt x="1060" y="181"/>
                        <a:pt x="1064" y="179"/>
                        <a:pt x="1063" y="177"/>
                      </a:cubicBezTo>
                      <a:cubicBezTo>
                        <a:pt x="1061" y="175"/>
                        <a:pt x="1054" y="172"/>
                        <a:pt x="1053" y="174"/>
                      </a:cubicBezTo>
                      <a:cubicBezTo>
                        <a:pt x="1052" y="176"/>
                        <a:pt x="1050" y="174"/>
                        <a:pt x="1050" y="172"/>
                      </a:cubicBezTo>
                      <a:cubicBezTo>
                        <a:pt x="1050" y="171"/>
                        <a:pt x="1042" y="169"/>
                        <a:pt x="1039" y="169"/>
                      </a:cubicBezTo>
                      <a:cubicBezTo>
                        <a:pt x="1037" y="170"/>
                        <a:pt x="1035" y="167"/>
                        <a:pt x="1039" y="167"/>
                      </a:cubicBezTo>
                      <a:cubicBezTo>
                        <a:pt x="1042" y="167"/>
                        <a:pt x="1048" y="167"/>
                        <a:pt x="1045" y="163"/>
                      </a:cubicBezTo>
                      <a:cubicBezTo>
                        <a:pt x="1043" y="160"/>
                        <a:pt x="1021" y="158"/>
                        <a:pt x="1019" y="159"/>
                      </a:cubicBezTo>
                      <a:cubicBezTo>
                        <a:pt x="1017" y="160"/>
                        <a:pt x="1019" y="163"/>
                        <a:pt x="1015" y="167"/>
                      </a:cubicBezTo>
                      <a:cubicBezTo>
                        <a:pt x="1010" y="171"/>
                        <a:pt x="1005" y="168"/>
                        <a:pt x="1006" y="166"/>
                      </a:cubicBezTo>
                      <a:cubicBezTo>
                        <a:pt x="1007" y="164"/>
                        <a:pt x="1012" y="164"/>
                        <a:pt x="1012" y="162"/>
                      </a:cubicBezTo>
                      <a:cubicBezTo>
                        <a:pt x="1012" y="160"/>
                        <a:pt x="1004" y="161"/>
                        <a:pt x="1003" y="160"/>
                      </a:cubicBezTo>
                      <a:cubicBezTo>
                        <a:pt x="1002" y="158"/>
                        <a:pt x="1005" y="157"/>
                        <a:pt x="1008" y="157"/>
                      </a:cubicBezTo>
                      <a:cubicBezTo>
                        <a:pt x="1011" y="158"/>
                        <a:pt x="1016" y="159"/>
                        <a:pt x="1016" y="157"/>
                      </a:cubicBezTo>
                      <a:cubicBezTo>
                        <a:pt x="1016" y="156"/>
                        <a:pt x="1013" y="156"/>
                        <a:pt x="1008" y="155"/>
                      </a:cubicBezTo>
                      <a:cubicBezTo>
                        <a:pt x="1003" y="154"/>
                        <a:pt x="992" y="152"/>
                        <a:pt x="986" y="152"/>
                      </a:cubicBezTo>
                      <a:cubicBezTo>
                        <a:pt x="980" y="153"/>
                        <a:pt x="977" y="150"/>
                        <a:pt x="974" y="150"/>
                      </a:cubicBezTo>
                      <a:cubicBezTo>
                        <a:pt x="970" y="149"/>
                        <a:pt x="970" y="151"/>
                        <a:pt x="972" y="153"/>
                      </a:cubicBezTo>
                      <a:cubicBezTo>
                        <a:pt x="973" y="155"/>
                        <a:pt x="969" y="156"/>
                        <a:pt x="965" y="156"/>
                      </a:cubicBezTo>
                      <a:cubicBezTo>
                        <a:pt x="961" y="155"/>
                        <a:pt x="955" y="158"/>
                        <a:pt x="957" y="161"/>
                      </a:cubicBezTo>
                      <a:cubicBezTo>
                        <a:pt x="960" y="164"/>
                        <a:pt x="962" y="160"/>
                        <a:pt x="964" y="161"/>
                      </a:cubicBezTo>
                      <a:cubicBezTo>
                        <a:pt x="966" y="162"/>
                        <a:pt x="959" y="164"/>
                        <a:pt x="962" y="165"/>
                      </a:cubicBezTo>
                      <a:cubicBezTo>
                        <a:pt x="964" y="167"/>
                        <a:pt x="964" y="169"/>
                        <a:pt x="964" y="171"/>
                      </a:cubicBezTo>
                      <a:cubicBezTo>
                        <a:pt x="964" y="172"/>
                        <a:pt x="959" y="173"/>
                        <a:pt x="958" y="171"/>
                      </a:cubicBezTo>
                      <a:cubicBezTo>
                        <a:pt x="956" y="169"/>
                        <a:pt x="953" y="170"/>
                        <a:pt x="950" y="170"/>
                      </a:cubicBezTo>
                      <a:cubicBezTo>
                        <a:pt x="947" y="170"/>
                        <a:pt x="944" y="172"/>
                        <a:pt x="948" y="172"/>
                      </a:cubicBezTo>
                      <a:cubicBezTo>
                        <a:pt x="951" y="172"/>
                        <a:pt x="952" y="175"/>
                        <a:pt x="948" y="175"/>
                      </a:cubicBezTo>
                      <a:cubicBezTo>
                        <a:pt x="943" y="176"/>
                        <a:pt x="944" y="171"/>
                        <a:pt x="941" y="171"/>
                      </a:cubicBezTo>
                      <a:cubicBezTo>
                        <a:pt x="938" y="172"/>
                        <a:pt x="932" y="169"/>
                        <a:pt x="929" y="169"/>
                      </a:cubicBezTo>
                      <a:cubicBezTo>
                        <a:pt x="926" y="169"/>
                        <a:pt x="924" y="172"/>
                        <a:pt x="920" y="172"/>
                      </a:cubicBezTo>
                      <a:cubicBezTo>
                        <a:pt x="915" y="173"/>
                        <a:pt x="909" y="170"/>
                        <a:pt x="907" y="168"/>
                      </a:cubicBezTo>
                      <a:cubicBezTo>
                        <a:pt x="906" y="165"/>
                        <a:pt x="905" y="165"/>
                        <a:pt x="903" y="167"/>
                      </a:cubicBezTo>
                      <a:cubicBezTo>
                        <a:pt x="901" y="170"/>
                        <a:pt x="901" y="175"/>
                        <a:pt x="899" y="176"/>
                      </a:cubicBezTo>
                      <a:cubicBezTo>
                        <a:pt x="896" y="176"/>
                        <a:pt x="896" y="181"/>
                        <a:pt x="893" y="182"/>
                      </a:cubicBezTo>
                      <a:cubicBezTo>
                        <a:pt x="891" y="183"/>
                        <a:pt x="891" y="180"/>
                        <a:pt x="888" y="180"/>
                      </a:cubicBezTo>
                      <a:cubicBezTo>
                        <a:pt x="886" y="181"/>
                        <a:pt x="877" y="172"/>
                        <a:pt x="876" y="169"/>
                      </a:cubicBezTo>
                      <a:cubicBezTo>
                        <a:pt x="876" y="167"/>
                        <a:pt x="871" y="162"/>
                        <a:pt x="869" y="161"/>
                      </a:cubicBezTo>
                      <a:cubicBezTo>
                        <a:pt x="868" y="160"/>
                        <a:pt x="871" y="160"/>
                        <a:pt x="872" y="161"/>
                      </a:cubicBezTo>
                      <a:cubicBezTo>
                        <a:pt x="874" y="163"/>
                        <a:pt x="876" y="163"/>
                        <a:pt x="878" y="162"/>
                      </a:cubicBezTo>
                      <a:cubicBezTo>
                        <a:pt x="880" y="161"/>
                        <a:pt x="880" y="157"/>
                        <a:pt x="877" y="157"/>
                      </a:cubicBezTo>
                      <a:cubicBezTo>
                        <a:pt x="873" y="156"/>
                        <a:pt x="875" y="154"/>
                        <a:pt x="876" y="153"/>
                      </a:cubicBezTo>
                      <a:cubicBezTo>
                        <a:pt x="878" y="153"/>
                        <a:pt x="873" y="148"/>
                        <a:pt x="875" y="148"/>
                      </a:cubicBezTo>
                      <a:cubicBezTo>
                        <a:pt x="876" y="147"/>
                        <a:pt x="876" y="145"/>
                        <a:pt x="873" y="145"/>
                      </a:cubicBezTo>
                      <a:cubicBezTo>
                        <a:pt x="870" y="145"/>
                        <a:pt x="868" y="142"/>
                        <a:pt x="868" y="141"/>
                      </a:cubicBezTo>
                      <a:cubicBezTo>
                        <a:pt x="867" y="140"/>
                        <a:pt x="856" y="139"/>
                        <a:pt x="857" y="141"/>
                      </a:cubicBezTo>
                      <a:cubicBezTo>
                        <a:pt x="857" y="143"/>
                        <a:pt x="853" y="142"/>
                        <a:pt x="854" y="141"/>
                      </a:cubicBezTo>
                      <a:cubicBezTo>
                        <a:pt x="854" y="139"/>
                        <a:pt x="850" y="140"/>
                        <a:pt x="845" y="138"/>
                      </a:cubicBezTo>
                      <a:cubicBezTo>
                        <a:pt x="839" y="137"/>
                        <a:pt x="839" y="133"/>
                        <a:pt x="838" y="133"/>
                      </a:cubicBezTo>
                      <a:cubicBezTo>
                        <a:pt x="836" y="133"/>
                        <a:pt x="836" y="138"/>
                        <a:pt x="834" y="137"/>
                      </a:cubicBezTo>
                      <a:cubicBezTo>
                        <a:pt x="831" y="136"/>
                        <a:pt x="828" y="138"/>
                        <a:pt x="830" y="141"/>
                      </a:cubicBezTo>
                      <a:cubicBezTo>
                        <a:pt x="831" y="144"/>
                        <a:pt x="830" y="145"/>
                        <a:pt x="830" y="147"/>
                      </a:cubicBezTo>
                      <a:cubicBezTo>
                        <a:pt x="829" y="150"/>
                        <a:pt x="828" y="149"/>
                        <a:pt x="825" y="148"/>
                      </a:cubicBezTo>
                      <a:cubicBezTo>
                        <a:pt x="822" y="147"/>
                        <a:pt x="822" y="150"/>
                        <a:pt x="815" y="149"/>
                      </a:cubicBezTo>
                      <a:cubicBezTo>
                        <a:pt x="808" y="147"/>
                        <a:pt x="805" y="149"/>
                        <a:pt x="804" y="147"/>
                      </a:cubicBezTo>
                      <a:cubicBezTo>
                        <a:pt x="803" y="144"/>
                        <a:pt x="801" y="144"/>
                        <a:pt x="801" y="146"/>
                      </a:cubicBezTo>
                      <a:cubicBezTo>
                        <a:pt x="801" y="148"/>
                        <a:pt x="790" y="147"/>
                        <a:pt x="790" y="144"/>
                      </a:cubicBezTo>
                      <a:cubicBezTo>
                        <a:pt x="789" y="142"/>
                        <a:pt x="791" y="141"/>
                        <a:pt x="793" y="141"/>
                      </a:cubicBezTo>
                      <a:cubicBezTo>
                        <a:pt x="794" y="140"/>
                        <a:pt x="791" y="139"/>
                        <a:pt x="786" y="139"/>
                      </a:cubicBezTo>
                      <a:cubicBezTo>
                        <a:pt x="780" y="140"/>
                        <a:pt x="776" y="136"/>
                        <a:pt x="771" y="137"/>
                      </a:cubicBezTo>
                      <a:cubicBezTo>
                        <a:pt x="765" y="138"/>
                        <a:pt x="752" y="139"/>
                        <a:pt x="751" y="140"/>
                      </a:cubicBezTo>
                      <a:cubicBezTo>
                        <a:pt x="749" y="140"/>
                        <a:pt x="752" y="144"/>
                        <a:pt x="749" y="144"/>
                      </a:cubicBezTo>
                      <a:cubicBezTo>
                        <a:pt x="747" y="144"/>
                        <a:pt x="749" y="139"/>
                        <a:pt x="748" y="136"/>
                      </a:cubicBezTo>
                      <a:cubicBezTo>
                        <a:pt x="748" y="133"/>
                        <a:pt x="744" y="133"/>
                        <a:pt x="744" y="135"/>
                      </a:cubicBezTo>
                      <a:cubicBezTo>
                        <a:pt x="745" y="137"/>
                        <a:pt x="738" y="138"/>
                        <a:pt x="736" y="136"/>
                      </a:cubicBezTo>
                      <a:cubicBezTo>
                        <a:pt x="734" y="135"/>
                        <a:pt x="731" y="133"/>
                        <a:pt x="727" y="131"/>
                      </a:cubicBezTo>
                      <a:cubicBezTo>
                        <a:pt x="722" y="130"/>
                        <a:pt x="716" y="135"/>
                        <a:pt x="717" y="137"/>
                      </a:cubicBezTo>
                      <a:cubicBezTo>
                        <a:pt x="719" y="138"/>
                        <a:pt x="722" y="137"/>
                        <a:pt x="722" y="138"/>
                      </a:cubicBezTo>
                      <a:cubicBezTo>
                        <a:pt x="723" y="140"/>
                        <a:pt x="713" y="139"/>
                        <a:pt x="713" y="141"/>
                      </a:cubicBezTo>
                      <a:cubicBezTo>
                        <a:pt x="713" y="142"/>
                        <a:pt x="703" y="145"/>
                        <a:pt x="700" y="145"/>
                      </a:cubicBezTo>
                      <a:cubicBezTo>
                        <a:pt x="692" y="146"/>
                        <a:pt x="691" y="146"/>
                        <a:pt x="687" y="149"/>
                      </a:cubicBezTo>
                      <a:cubicBezTo>
                        <a:pt x="683" y="152"/>
                        <a:pt x="686" y="146"/>
                        <a:pt x="689" y="144"/>
                      </a:cubicBezTo>
                      <a:cubicBezTo>
                        <a:pt x="692" y="141"/>
                        <a:pt x="695" y="142"/>
                        <a:pt x="697" y="140"/>
                      </a:cubicBezTo>
                      <a:cubicBezTo>
                        <a:pt x="698" y="137"/>
                        <a:pt x="701" y="138"/>
                        <a:pt x="705" y="137"/>
                      </a:cubicBezTo>
                      <a:cubicBezTo>
                        <a:pt x="710" y="136"/>
                        <a:pt x="710" y="134"/>
                        <a:pt x="712" y="133"/>
                      </a:cubicBezTo>
                      <a:cubicBezTo>
                        <a:pt x="714" y="132"/>
                        <a:pt x="719" y="130"/>
                        <a:pt x="720" y="128"/>
                      </a:cubicBezTo>
                      <a:cubicBezTo>
                        <a:pt x="721" y="125"/>
                        <a:pt x="732" y="122"/>
                        <a:pt x="734" y="122"/>
                      </a:cubicBezTo>
                      <a:cubicBezTo>
                        <a:pt x="736" y="122"/>
                        <a:pt x="737" y="118"/>
                        <a:pt x="738" y="118"/>
                      </a:cubicBezTo>
                      <a:cubicBezTo>
                        <a:pt x="739" y="118"/>
                        <a:pt x="745" y="115"/>
                        <a:pt x="747" y="114"/>
                      </a:cubicBezTo>
                      <a:cubicBezTo>
                        <a:pt x="750" y="113"/>
                        <a:pt x="751" y="111"/>
                        <a:pt x="751" y="109"/>
                      </a:cubicBezTo>
                      <a:cubicBezTo>
                        <a:pt x="751" y="107"/>
                        <a:pt x="748" y="108"/>
                        <a:pt x="748" y="106"/>
                      </a:cubicBezTo>
                      <a:cubicBezTo>
                        <a:pt x="747" y="105"/>
                        <a:pt x="749" y="106"/>
                        <a:pt x="752" y="105"/>
                      </a:cubicBezTo>
                      <a:cubicBezTo>
                        <a:pt x="754" y="104"/>
                        <a:pt x="752" y="101"/>
                        <a:pt x="750" y="101"/>
                      </a:cubicBezTo>
                      <a:cubicBezTo>
                        <a:pt x="748" y="102"/>
                        <a:pt x="751" y="99"/>
                        <a:pt x="749" y="97"/>
                      </a:cubicBezTo>
                      <a:cubicBezTo>
                        <a:pt x="747" y="95"/>
                        <a:pt x="744" y="99"/>
                        <a:pt x="744" y="96"/>
                      </a:cubicBezTo>
                      <a:cubicBezTo>
                        <a:pt x="744" y="94"/>
                        <a:pt x="743" y="91"/>
                        <a:pt x="742" y="90"/>
                      </a:cubicBezTo>
                      <a:cubicBezTo>
                        <a:pt x="741" y="88"/>
                        <a:pt x="738" y="92"/>
                        <a:pt x="735" y="90"/>
                      </a:cubicBezTo>
                      <a:cubicBezTo>
                        <a:pt x="732" y="88"/>
                        <a:pt x="723" y="86"/>
                        <a:pt x="723" y="87"/>
                      </a:cubicBezTo>
                      <a:cubicBezTo>
                        <a:pt x="723" y="88"/>
                        <a:pt x="719" y="86"/>
                        <a:pt x="718" y="87"/>
                      </a:cubicBezTo>
                      <a:cubicBezTo>
                        <a:pt x="717" y="88"/>
                        <a:pt x="711" y="88"/>
                        <a:pt x="708" y="87"/>
                      </a:cubicBezTo>
                      <a:cubicBezTo>
                        <a:pt x="706" y="86"/>
                        <a:pt x="703" y="88"/>
                        <a:pt x="703" y="90"/>
                      </a:cubicBezTo>
                      <a:cubicBezTo>
                        <a:pt x="703" y="92"/>
                        <a:pt x="695" y="91"/>
                        <a:pt x="693" y="91"/>
                      </a:cubicBezTo>
                      <a:cubicBezTo>
                        <a:pt x="692" y="91"/>
                        <a:pt x="699" y="84"/>
                        <a:pt x="699" y="83"/>
                      </a:cubicBezTo>
                      <a:cubicBezTo>
                        <a:pt x="699" y="82"/>
                        <a:pt x="686" y="84"/>
                        <a:pt x="686" y="82"/>
                      </a:cubicBezTo>
                      <a:cubicBezTo>
                        <a:pt x="685" y="81"/>
                        <a:pt x="679" y="81"/>
                        <a:pt x="676" y="81"/>
                      </a:cubicBezTo>
                      <a:cubicBezTo>
                        <a:pt x="674" y="81"/>
                        <a:pt x="676" y="80"/>
                        <a:pt x="679" y="80"/>
                      </a:cubicBezTo>
                      <a:cubicBezTo>
                        <a:pt x="681" y="80"/>
                        <a:pt x="683" y="78"/>
                        <a:pt x="686" y="77"/>
                      </a:cubicBezTo>
                      <a:cubicBezTo>
                        <a:pt x="689" y="77"/>
                        <a:pt x="688" y="76"/>
                        <a:pt x="687" y="74"/>
                      </a:cubicBezTo>
                      <a:cubicBezTo>
                        <a:pt x="686" y="72"/>
                        <a:pt x="683" y="73"/>
                        <a:pt x="680" y="72"/>
                      </a:cubicBezTo>
                      <a:cubicBezTo>
                        <a:pt x="678" y="72"/>
                        <a:pt x="674" y="70"/>
                        <a:pt x="672" y="70"/>
                      </a:cubicBezTo>
                      <a:cubicBezTo>
                        <a:pt x="669" y="70"/>
                        <a:pt x="667" y="72"/>
                        <a:pt x="661" y="73"/>
                      </a:cubicBezTo>
                      <a:cubicBezTo>
                        <a:pt x="656" y="74"/>
                        <a:pt x="655" y="78"/>
                        <a:pt x="652" y="79"/>
                      </a:cubicBezTo>
                      <a:cubicBezTo>
                        <a:pt x="649" y="81"/>
                        <a:pt x="644" y="86"/>
                        <a:pt x="647" y="86"/>
                      </a:cubicBezTo>
                      <a:cubicBezTo>
                        <a:pt x="649" y="87"/>
                        <a:pt x="648" y="88"/>
                        <a:pt x="648" y="90"/>
                      </a:cubicBezTo>
                      <a:cubicBezTo>
                        <a:pt x="649" y="91"/>
                        <a:pt x="647" y="92"/>
                        <a:pt x="644" y="91"/>
                      </a:cubicBezTo>
                      <a:cubicBezTo>
                        <a:pt x="641" y="91"/>
                        <a:pt x="632" y="91"/>
                        <a:pt x="632" y="93"/>
                      </a:cubicBezTo>
                      <a:cubicBezTo>
                        <a:pt x="632" y="95"/>
                        <a:pt x="637" y="96"/>
                        <a:pt x="637" y="97"/>
                      </a:cubicBezTo>
                      <a:cubicBezTo>
                        <a:pt x="637" y="98"/>
                        <a:pt x="633" y="97"/>
                        <a:pt x="631" y="96"/>
                      </a:cubicBezTo>
                      <a:cubicBezTo>
                        <a:pt x="629" y="95"/>
                        <a:pt x="625" y="95"/>
                        <a:pt x="624" y="97"/>
                      </a:cubicBezTo>
                      <a:cubicBezTo>
                        <a:pt x="623" y="99"/>
                        <a:pt x="620" y="99"/>
                        <a:pt x="619" y="98"/>
                      </a:cubicBezTo>
                      <a:cubicBezTo>
                        <a:pt x="618" y="98"/>
                        <a:pt x="615" y="99"/>
                        <a:pt x="613" y="99"/>
                      </a:cubicBezTo>
                      <a:cubicBezTo>
                        <a:pt x="612" y="98"/>
                        <a:pt x="617" y="95"/>
                        <a:pt x="616" y="94"/>
                      </a:cubicBezTo>
                      <a:cubicBezTo>
                        <a:pt x="614" y="93"/>
                        <a:pt x="609" y="94"/>
                        <a:pt x="608" y="96"/>
                      </a:cubicBezTo>
                      <a:cubicBezTo>
                        <a:pt x="607" y="98"/>
                        <a:pt x="604" y="95"/>
                        <a:pt x="603" y="95"/>
                      </a:cubicBezTo>
                      <a:cubicBezTo>
                        <a:pt x="601" y="96"/>
                        <a:pt x="600" y="97"/>
                        <a:pt x="597" y="98"/>
                      </a:cubicBezTo>
                      <a:cubicBezTo>
                        <a:pt x="595" y="99"/>
                        <a:pt x="591" y="97"/>
                        <a:pt x="590" y="99"/>
                      </a:cubicBezTo>
                      <a:cubicBezTo>
                        <a:pt x="589" y="101"/>
                        <a:pt x="594" y="101"/>
                        <a:pt x="595" y="102"/>
                      </a:cubicBezTo>
                      <a:cubicBezTo>
                        <a:pt x="595" y="103"/>
                        <a:pt x="582" y="103"/>
                        <a:pt x="581" y="104"/>
                      </a:cubicBezTo>
                      <a:cubicBezTo>
                        <a:pt x="581" y="105"/>
                        <a:pt x="576" y="105"/>
                        <a:pt x="571" y="105"/>
                      </a:cubicBezTo>
                      <a:cubicBezTo>
                        <a:pt x="566" y="106"/>
                        <a:pt x="568" y="108"/>
                        <a:pt x="564" y="109"/>
                      </a:cubicBezTo>
                      <a:cubicBezTo>
                        <a:pt x="559" y="110"/>
                        <a:pt x="557" y="110"/>
                        <a:pt x="556" y="112"/>
                      </a:cubicBezTo>
                      <a:cubicBezTo>
                        <a:pt x="555" y="114"/>
                        <a:pt x="551" y="115"/>
                        <a:pt x="550" y="113"/>
                      </a:cubicBezTo>
                      <a:cubicBezTo>
                        <a:pt x="548" y="111"/>
                        <a:pt x="544" y="114"/>
                        <a:pt x="547" y="114"/>
                      </a:cubicBezTo>
                      <a:cubicBezTo>
                        <a:pt x="549" y="114"/>
                        <a:pt x="547" y="116"/>
                        <a:pt x="545" y="116"/>
                      </a:cubicBezTo>
                      <a:cubicBezTo>
                        <a:pt x="544" y="115"/>
                        <a:pt x="540" y="118"/>
                        <a:pt x="542" y="118"/>
                      </a:cubicBezTo>
                      <a:cubicBezTo>
                        <a:pt x="545" y="118"/>
                        <a:pt x="546" y="119"/>
                        <a:pt x="545" y="121"/>
                      </a:cubicBezTo>
                      <a:cubicBezTo>
                        <a:pt x="544" y="122"/>
                        <a:pt x="539" y="119"/>
                        <a:pt x="538" y="120"/>
                      </a:cubicBezTo>
                      <a:cubicBezTo>
                        <a:pt x="537" y="122"/>
                        <a:pt x="540" y="123"/>
                        <a:pt x="542" y="123"/>
                      </a:cubicBezTo>
                      <a:cubicBezTo>
                        <a:pt x="544" y="123"/>
                        <a:pt x="545" y="124"/>
                        <a:pt x="546" y="126"/>
                      </a:cubicBezTo>
                      <a:cubicBezTo>
                        <a:pt x="546" y="127"/>
                        <a:pt x="541" y="125"/>
                        <a:pt x="540" y="126"/>
                      </a:cubicBezTo>
                      <a:cubicBezTo>
                        <a:pt x="539" y="127"/>
                        <a:pt x="540" y="128"/>
                        <a:pt x="543" y="128"/>
                      </a:cubicBezTo>
                      <a:cubicBezTo>
                        <a:pt x="545" y="128"/>
                        <a:pt x="543" y="129"/>
                        <a:pt x="545" y="131"/>
                      </a:cubicBezTo>
                      <a:cubicBezTo>
                        <a:pt x="545" y="131"/>
                        <a:pt x="546" y="131"/>
                        <a:pt x="546" y="131"/>
                      </a:cubicBezTo>
                      <a:cubicBezTo>
                        <a:pt x="547" y="133"/>
                        <a:pt x="545" y="133"/>
                        <a:pt x="545" y="135"/>
                      </a:cubicBezTo>
                      <a:cubicBezTo>
                        <a:pt x="545" y="136"/>
                        <a:pt x="543" y="137"/>
                        <a:pt x="543" y="135"/>
                      </a:cubicBezTo>
                      <a:cubicBezTo>
                        <a:pt x="543" y="134"/>
                        <a:pt x="536" y="134"/>
                        <a:pt x="535" y="135"/>
                      </a:cubicBezTo>
                      <a:cubicBezTo>
                        <a:pt x="534" y="137"/>
                        <a:pt x="533" y="138"/>
                        <a:pt x="531" y="136"/>
                      </a:cubicBezTo>
                      <a:cubicBezTo>
                        <a:pt x="530" y="135"/>
                        <a:pt x="525" y="137"/>
                        <a:pt x="519" y="137"/>
                      </a:cubicBezTo>
                      <a:cubicBezTo>
                        <a:pt x="513" y="137"/>
                        <a:pt x="501" y="138"/>
                        <a:pt x="498" y="139"/>
                      </a:cubicBezTo>
                      <a:cubicBezTo>
                        <a:pt x="496" y="140"/>
                        <a:pt x="493" y="144"/>
                        <a:pt x="496" y="147"/>
                      </a:cubicBezTo>
                      <a:cubicBezTo>
                        <a:pt x="498" y="150"/>
                        <a:pt x="496" y="151"/>
                        <a:pt x="496" y="152"/>
                      </a:cubicBezTo>
                      <a:cubicBezTo>
                        <a:pt x="496" y="154"/>
                        <a:pt x="503" y="158"/>
                        <a:pt x="507" y="158"/>
                      </a:cubicBezTo>
                      <a:cubicBezTo>
                        <a:pt x="511" y="159"/>
                        <a:pt x="514" y="163"/>
                        <a:pt x="511" y="166"/>
                      </a:cubicBezTo>
                      <a:cubicBezTo>
                        <a:pt x="509" y="169"/>
                        <a:pt x="502" y="165"/>
                        <a:pt x="498" y="162"/>
                      </a:cubicBezTo>
                      <a:cubicBezTo>
                        <a:pt x="493" y="158"/>
                        <a:pt x="483" y="157"/>
                        <a:pt x="479" y="157"/>
                      </a:cubicBezTo>
                      <a:cubicBezTo>
                        <a:pt x="476" y="157"/>
                        <a:pt x="478" y="154"/>
                        <a:pt x="474" y="154"/>
                      </a:cubicBezTo>
                      <a:cubicBezTo>
                        <a:pt x="469" y="154"/>
                        <a:pt x="465" y="158"/>
                        <a:pt x="468" y="158"/>
                      </a:cubicBezTo>
                      <a:cubicBezTo>
                        <a:pt x="471" y="158"/>
                        <a:pt x="473" y="158"/>
                        <a:pt x="472" y="159"/>
                      </a:cubicBezTo>
                      <a:cubicBezTo>
                        <a:pt x="470" y="161"/>
                        <a:pt x="473" y="160"/>
                        <a:pt x="476" y="162"/>
                      </a:cubicBezTo>
                      <a:cubicBezTo>
                        <a:pt x="480" y="163"/>
                        <a:pt x="473" y="166"/>
                        <a:pt x="469" y="163"/>
                      </a:cubicBezTo>
                      <a:cubicBezTo>
                        <a:pt x="466" y="161"/>
                        <a:pt x="462" y="163"/>
                        <a:pt x="461" y="165"/>
                      </a:cubicBezTo>
                      <a:cubicBezTo>
                        <a:pt x="460" y="167"/>
                        <a:pt x="465" y="172"/>
                        <a:pt x="471" y="173"/>
                      </a:cubicBezTo>
                      <a:cubicBezTo>
                        <a:pt x="478" y="174"/>
                        <a:pt x="476" y="176"/>
                        <a:pt x="479" y="177"/>
                      </a:cubicBezTo>
                      <a:cubicBezTo>
                        <a:pt x="482" y="178"/>
                        <a:pt x="480" y="179"/>
                        <a:pt x="478" y="180"/>
                      </a:cubicBezTo>
                      <a:cubicBezTo>
                        <a:pt x="476" y="180"/>
                        <a:pt x="471" y="177"/>
                        <a:pt x="468" y="175"/>
                      </a:cubicBezTo>
                      <a:cubicBezTo>
                        <a:pt x="465" y="173"/>
                        <a:pt x="456" y="176"/>
                        <a:pt x="455" y="174"/>
                      </a:cubicBezTo>
                      <a:cubicBezTo>
                        <a:pt x="453" y="172"/>
                        <a:pt x="456" y="170"/>
                        <a:pt x="454" y="168"/>
                      </a:cubicBezTo>
                      <a:cubicBezTo>
                        <a:pt x="452" y="167"/>
                        <a:pt x="454" y="164"/>
                        <a:pt x="456" y="160"/>
                      </a:cubicBezTo>
                      <a:cubicBezTo>
                        <a:pt x="458" y="157"/>
                        <a:pt x="456" y="151"/>
                        <a:pt x="453" y="150"/>
                      </a:cubicBezTo>
                      <a:cubicBezTo>
                        <a:pt x="450" y="150"/>
                        <a:pt x="450" y="153"/>
                        <a:pt x="450" y="154"/>
                      </a:cubicBezTo>
                      <a:cubicBezTo>
                        <a:pt x="451" y="155"/>
                        <a:pt x="451" y="159"/>
                        <a:pt x="448" y="162"/>
                      </a:cubicBezTo>
                      <a:cubicBezTo>
                        <a:pt x="446" y="165"/>
                        <a:pt x="439" y="165"/>
                        <a:pt x="439" y="167"/>
                      </a:cubicBezTo>
                      <a:cubicBezTo>
                        <a:pt x="439" y="169"/>
                        <a:pt x="434" y="171"/>
                        <a:pt x="436" y="172"/>
                      </a:cubicBezTo>
                      <a:cubicBezTo>
                        <a:pt x="437" y="174"/>
                        <a:pt x="444" y="181"/>
                        <a:pt x="445" y="183"/>
                      </a:cubicBezTo>
                      <a:cubicBezTo>
                        <a:pt x="446" y="185"/>
                        <a:pt x="439" y="193"/>
                        <a:pt x="440" y="197"/>
                      </a:cubicBezTo>
                      <a:cubicBezTo>
                        <a:pt x="441" y="201"/>
                        <a:pt x="439" y="203"/>
                        <a:pt x="440" y="205"/>
                      </a:cubicBezTo>
                      <a:cubicBezTo>
                        <a:pt x="442" y="207"/>
                        <a:pt x="445" y="205"/>
                        <a:pt x="447" y="206"/>
                      </a:cubicBezTo>
                      <a:cubicBezTo>
                        <a:pt x="448" y="207"/>
                        <a:pt x="452" y="205"/>
                        <a:pt x="456" y="204"/>
                      </a:cubicBezTo>
                      <a:cubicBezTo>
                        <a:pt x="460" y="203"/>
                        <a:pt x="468" y="208"/>
                        <a:pt x="471" y="209"/>
                      </a:cubicBezTo>
                      <a:cubicBezTo>
                        <a:pt x="474" y="211"/>
                        <a:pt x="473" y="213"/>
                        <a:pt x="474" y="215"/>
                      </a:cubicBezTo>
                      <a:cubicBezTo>
                        <a:pt x="476" y="218"/>
                        <a:pt x="471" y="218"/>
                        <a:pt x="471" y="221"/>
                      </a:cubicBezTo>
                      <a:cubicBezTo>
                        <a:pt x="471" y="225"/>
                        <a:pt x="480" y="226"/>
                        <a:pt x="480" y="227"/>
                      </a:cubicBezTo>
                      <a:cubicBezTo>
                        <a:pt x="480" y="228"/>
                        <a:pt x="474" y="228"/>
                        <a:pt x="471" y="227"/>
                      </a:cubicBezTo>
                      <a:cubicBezTo>
                        <a:pt x="468" y="226"/>
                        <a:pt x="468" y="222"/>
                        <a:pt x="467" y="222"/>
                      </a:cubicBezTo>
                      <a:cubicBezTo>
                        <a:pt x="466" y="221"/>
                        <a:pt x="469" y="218"/>
                        <a:pt x="469" y="216"/>
                      </a:cubicBezTo>
                      <a:cubicBezTo>
                        <a:pt x="469" y="213"/>
                        <a:pt x="466" y="212"/>
                        <a:pt x="465" y="211"/>
                      </a:cubicBezTo>
                      <a:cubicBezTo>
                        <a:pt x="464" y="209"/>
                        <a:pt x="462" y="207"/>
                        <a:pt x="460" y="207"/>
                      </a:cubicBezTo>
                      <a:cubicBezTo>
                        <a:pt x="458" y="208"/>
                        <a:pt x="450" y="208"/>
                        <a:pt x="448" y="211"/>
                      </a:cubicBezTo>
                      <a:cubicBezTo>
                        <a:pt x="445" y="213"/>
                        <a:pt x="448" y="219"/>
                        <a:pt x="449" y="222"/>
                      </a:cubicBezTo>
                      <a:cubicBezTo>
                        <a:pt x="451" y="225"/>
                        <a:pt x="442" y="229"/>
                        <a:pt x="443" y="231"/>
                      </a:cubicBezTo>
                      <a:cubicBezTo>
                        <a:pt x="443" y="234"/>
                        <a:pt x="440" y="235"/>
                        <a:pt x="437" y="237"/>
                      </a:cubicBezTo>
                      <a:cubicBezTo>
                        <a:pt x="433" y="239"/>
                        <a:pt x="429" y="240"/>
                        <a:pt x="429" y="243"/>
                      </a:cubicBezTo>
                      <a:cubicBezTo>
                        <a:pt x="429" y="246"/>
                        <a:pt x="425" y="245"/>
                        <a:pt x="422" y="243"/>
                      </a:cubicBezTo>
                      <a:cubicBezTo>
                        <a:pt x="420" y="242"/>
                        <a:pt x="416" y="244"/>
                        <a:pt x="413" y="244"/>
                      </a:cubicBezTo>
                      <a:cubicBezTo>
                        <a:pt x="409" y="244"/>
                        <a:pt x="409" y="241"/>
                        <a:pt x="406" y="242"/>
                      </a:cubicBezTo>
                      <a:cubicBezTo>
                        <a:pt x="403" y="243"/>
                        <a:pt x="402" y="240"/>
                        <a:pt x="402" y="238"/>
                      </a:cubicBezTo>
                      <a:cubicBezTo>
                        <a:pt x="403" y="236"/>
                        <a:pt x="406" y="238"/>
                        <a:pt x="407" y="239"/>
                      </a:cubicBezTo>
                      <a:cubicBezTo>
                        <a:pt x="407" y="241"/>
                        <a:pt x="409" y="240"/>
                        <a:pt x="411" y="239"/>
                      </a:cubicBezTo>
                      <a:cubicBezTo>
                        <a:pt x="414" y="238"/>
                        <a:pt x="413" y="241"/>
                        <a:pt x="416" y="241"/>
                      </a:cubicBezTo>
                      <a:cubicBezTo>
                        <a:pt x="419" y="241"/>
                        <a:pt x="418" y="239"/>
                        <a:pt x="420" y="239"/>
                      </a:cubicBezTo>
                      <a:cubicBezTo>
                        <a:pt x="423" y="240"/>
                        <a:pt x="423" y="239"/>
                        <a:pt x="422" y="237"/>
                      </a:cubicBezTo>
                      <a:cubicBezTo>
                        <a:pt x="421" y="236"/>
                        <a:pt x="424" y="235"/>
                        <a:pt x="426" y="234"/>
                      </a:cubicBezTo>
                      <a:cubicBezTo>
                        <a:pt x="427" y="234"/>
                        <a:pt x="427" y="231"/>
                        <a:pt x="428" y="230"/>
                      </a:cubicBezTo>
                      <a:cubicBezTo>
                        <a:pt x="430" y="229"/>
                        <a:pt x="429" y="228"/>
                        <a:pt x="430" y="228"/>
                      </a:cubicBezTo>
                      <a:cubicBezTo>
                        <a:pt x="432" y="227"/>
                        <a:pt x="433" y="225"/>
                        <a:pt x="434" y="225"/>
                      </a:cubicBezTo>
                      <a:cubicBezTo>
                        <a:pt x="436" y="225"/>
                        <a:pt x="437" y="222"/>
                        <a:pt x="436" y="221"/>
                      </a:cubicBezTo>
                      <a:cubicBezTo>
                        <a:pt x="435" y="220"/>
                        <a:pt x="436" y="216"/>
                        <a:pt x="438" y="216"/>
                      </a:cubicBezTo>
                      <a:cubicBezTo>
                        <a:pt x="439" y="215"/>
                        <a:pt x="439" y="214"/>
                        <a:pt x="438" y="213"/>
                      </a:cubicBezTo>
                      <a:cubicBezTo>
                        <a:pt x="437" y="212"/>
                        <a:pt x="431" y="208"/>
                        <a:pt x="432" y="206"/>
                      </a:cubicBezTo>
                      <a:cubicBezTo>
                        <a:pt x="432" y="204"/>
                        <a:pt x="431" y="199"/>
                        <a:pt x="431" y="198"/>
                      </a:cubicBezTo>
                      <a:cubicBezTo>
                        <a:pt x="432" y="196"/>
                        <a:pt x="432" y="192"/>
                        <a:pt x="431" y="190"/>
                      </a:cubicBezTo>
                      <a:cubicBezTo>
                        <a:pt x="431" y="188"/>
                        <a:pt x="433" y="186"/>
                        <a:pt x="433" y="182"/>
                      </a:cubicBezTo>
                      <a:cubicBezTo>
                        <a:pt x="434" y="178"/>
                        <a:pt x="429" y="174"/>
                        <a:pt x="427" y="172"/>
                      </a:cubicBezTo>
                      <a:cubicBezTo>
                        <a:pt x="424" y="171"/>
                        <a:pt x="426" y="169"/>
                        <a:pt x="429" y="166"/>
                      </a:cubicBezTo>
                      <a:cubicBezTo>
                        <a:pt x="433" y="164"/>
                        <a:pt x="433" y="155"/>
                        <a:pt x="433" y="153"/>
                      </a:cubicBezTo>
                      <a:cubicBezTo>
                        <a:pt x="433" y="151"/>
                        <a:pt x="426" y="149"/>
                        <a:pt x="423" y="149"/>
                      </a:cubicBezTo>
                      <a:cubicBezTo>
                        <a:pt x="420" y="150"/>
                        <a:pt x="410" y="149"/>
                        <a:pt x="408" y="149"/>
                      </a:cubicBezTo>
                      <a:cubicBezTo>
                        <a:pt x="405" y="148"/>
                        <a:pt x="404" y="151"/>
                        <a:pt x="403" y="153"/>
                      </a:cubicBezTo>
                      <a:cubicBezTo>
                        <a:pt x="402" y="156"/>
                        <a:pt x="399" y="159"/>
                        <a:pt x="398" y="165"/>
                      </a:cubicBezTo>
                      <a:cubicBezTo>
                        <a:pt x="396" y="170"/>
                        <a:pt x="390" y="172"/>
                        <a:pt x="387" y="173"/>
                      </a:cubicBezTo>
                      <a:cubicBezTo>
                        <a:pt x="384" y="174"/>
                        <a:pt x="382" y="178"/>
                        <a:pt x="384" y="180"/>
                      </a:cubicBezTo>
                      <a:cubicBezTo>
                        <a:pt x="385" y="182"/>
                        <a:pt x="387" y="180"/>
                        <a:pt x="388" y="181"/>
                      </a:cubicBezTo>
                      <a:cubicBezTo>
                        <a:pt x="389" y="182"/>
                        <a:pt x="388" y="187"/>
                        <a:pt x="387" y="187"/>
                      </a:cubicBezTo>
                      <a:cubicBezTo>
                        <a:pt x="386" y="188"/>
                        <a:pt x="389" y="190"/>
                        <a:pt x="387" y="191"/>
                      </a:cubicBezTo>
                      <a:cubicBezTo>
                        <a:pt x="385" y="192"/>
                        <a:pt x="383" y="195"/>
                        <a:pt x="384" y="197"/>
                      </a:cubicBezTo>
                      <a:cubicBezTo>
                        <a:pt x="385" y="198"/>
                        <a:pt x="391" y="199"/>
                        <a:pt x="393" y="200"/>
                      </a:cubicBezTo>
                      <a:cubicBezTo>
                        <a:pt x="396" y="202"/>
                        <a:pt x="395" y="204"/>
                        <a:pt x="397" y="207"/>
                      </a:cubicBezTo>
                      <a:cubicBezTo>
                        <a:pt x="399" y="209"/>
                        <a:pt x="401" y="208"/>
                        <a:pt x="402" y="209"/>
                      </a:cubicBezTo>
                      <a:cubicBezTo>
                        <a:pt x="403" y="211"/>
                        <a:pt x="398" y="217"/>
                        <a:pt x="397" y="217"/>
                      </a:cubicBezTo>
                      <a:cubicBezTo>
                        <a:pt x="395" y="217"/>
                        <a:pt x="389" y="211"/>
                        <a:pt x="387" y="209"/>
                      </a:cubicBezTo>
                      <a:cubicBezTo>
                        <a:pt x="385" y="208"/>
                        <a:pt x="378" y="206"/>
                        <a:pt x="374" y="204"/>
                      </a:cubicBezTo>
                      <a:cubicBezTo>
                        <a:pt x="370" y="202"/>
                        <a:pt x="367" y="202"/>
                        <a:pt x="363" y="199"/>
                      </a:cubicBezTo>
                      <a:cubicBezTo>
                        <a:pt x="359" y="197"/>
                        <a:pt x="356" y="195"/>
                        <a:pt x="349" y="196"/>
                      </a:cubicBezTo>
                      <a:cubicBezTo>
                        <a:pt x="341" y="196"/>
                        <a:pt x="336" y="194"/>
                        <a:pt x="334" y="194"/>
                      </a:cubicBezTo>
                      <a:cubicBezTo>
                        <a:pt x="331" y="195"/>
                        <a:pt x="332" y="192"/>
                        <a:pt x="328" y="190"/>
                      </a:cubicBezTo>
                      <a:cubicBezTo>
                        <a:pt x="324" y="188"/>
                        <a:pt x="321" y="185"/>
                        <a:pt x="318" y="187"/>
                      </a:cubicBezTo>
                      <a:cubicBezTo>
                        <a:pt x="316" y="188"/>
                        <a:pt x="317" y="193"/>
                        <a:pt x="321" y="193"/>
                      </a:cubicBezTo>
                      <a:cubicBezTo>
                        <a:pt x="324" y="194"/>
                        <a:pt x="322" y="196"/>
                        <a:pt x="326" y="196"/>
                      </a:cubicBezTo>
                      <a:cubicBezTo>
                        <a:pt x="330" y="195"/>
                        <a:pt x="332" y="197"/>
                        <a:pt x="332" y="199"/>
                      </a:cubicBezTo>
                      <a:cubicBezTo>
                        <a:pt x="331" y="202"/>
                        <a:pt x="333" y="204"/>
                        <a:pt x="335" y="206"/>
                      </a:cubicBezTo>
                      <a:cubicBezTo>
                        <a:pt x="337" y="208"/>
                        <a:pt x="336" y="210"/>
                        <a:pt x="333" y="210"/>
                      </a:cubicBezTo>
                      <a:cubicBezTo>
                        <a:pt x="330" y="210"/>
                        <a:pt x="326" y="211"/>
                        <a:pt x="327" y="213"/>
                      </a:cubicBezTo>
                      <a:cubicBezTo>
                        <a:pt x="329" y="215"/>
                        <a:pt x="326" y="216"/>
                        <a:pt x="323" y="215"/>
                      </a:cubicBezTo>
                      <a:cubicBezTo>
                        <a:pt x="320" y="214"/>
                        <a:pt x="322" y="211"/>
                        <a:pt x="323" y="210"/>
                      </a:cubicBezTo>
                      <a:cubicBezTo>
                        <a:pt x="324" y="209"/>
                        <a:pt x="320" y="207"/>
                        <a:pt x="318" y="206"/>
                      </a:cubicBezTo>
                      <a:cubicBezTo>
                        <a:pt x="316" y="206"/>
                        <a:pt x="308" y="212"/>
                        <a:pt x="306" y="213"/>
                      </a:cubicBezTo>
                      <a:cubicBezTo>
                        <a:pt x="304" y="213"/>
                        <a:pt x="298" y="211"/>
                        <a:pt x="292" y="213"/>
                      </a:cubicBezTo>
                      <a:cubicBezTo>
                        <a:pt x="287" y="214"/>
                        <a:pt x="287" y="218"/>
                        <a:pt x="285" y="218"/>
                      </a:cubicBezTo>
                      <a:cubicBezTo>
                        <a:pt x="283" y="218"/>
                        <a:pt x="276" y="219"/>
                        <a:pt x="274" y="217"/>
                      </a:cubicBezTo>
                      <a:cubicBezTo>
                        <a:pt x="272" y="216"/>
                        <a:pt x="274" y="215"/>
                        <a:pt x="276" y="215"/>
                      </a:cubicBezTo>
                      <a:cubicBezTo>
                        <a:pt x="279" y="215"/>
                        <a:pt x="279" y="214"/>
                        <a:pt x="278" y="213"/>
                      </a:cubicBezTo>
                      <a:cubicBezTo>
                        <a:pt x="277" y="211"/>
                        <a:pt x="280" y="208"/>
                        <a:pt x="280" y="207"/>
                      </a:cubicBezTo>
                      <a:cubicBezTo>
                        <a:pt x="280" y="206"/>
                        <a:pt x="270" y="209"/>
                        <a:pt x="269" y="210"/>
                      </a:cubicBezTo>
                      <a:cubicBezTo>
                        <a:pt x="267" y="212"/>
                        <a:pt x="269" y="214"/>
                        <a:pt x="267" y="215"/>
                      </a:cubicBezTo>
                      <a:cubicBezTo>
                        <a:pt x="266" y="216"/>
                        <a:pt x="266" y="213"/>
                        <a:pt x="264" y="213"/>
                      </a:cubicBezTo>
                      <a:cubicBezTo>
                        <a:pt x="262" y="212"/>
                        <a:pt x="248" y="215"/>
                        <a:pt x="245" y="218"/>
                      </a:cubicBezTo>
                      <a:cubicBezTo>
                        <a:pt x="243" y="221"/>
                        <a:pt x="238" y="221"/>
                        <a:pt x="238" y="223"/>
                      </a:cubicBezTo>
                      <a:cubicBezTo>
                        <a:pt x="238" y="225"/>
                        <a:pt x="231" y="225"/>
                        <a:pt x="229" y="226"/>
                      </a:cubicBezTo>
                      <a:cubicBezTo>
                        <a:pt x="226" y="227"/>
                        <a:pt x="228" y="232"/>
                        <a:pt x="227" y="234"/>
                      </a:cubicBezTo>
                      <a:cubicBezTo>
                        <a:pt x="226" y="237"/>
                        <a:pt x="216" y="236"/>
                        <a:pt x="213" y="236"/>
                      </a:cubicBezTo>
                      <a:cubicBezTo>
                        <a:pt x="210" y="236"/>
                        <a:pt x="209" y="230"/>
                        <a:pt x="207" y="230"/>
                      </a:cubicBezTo>
                      <a:cubicBezTo>
                        <a:pt x="204" y="230"/>
                        <a:pt x="206" y="226"/>
                        <a:pt x="207" y="225"/>
                      </a:cubicBezTo>
                      <a:cubicBezTo>
                        <a:pt x="207" y="223"/>
                        <a:pt x="209" y="225"/>
                        <a:pt x="212" y="223"/>
                      </a:cubicBezTo>
                      <a:cubicBezTo>
                        <a:pt x="215" y="221"/>
                        <a:pt x="218" y="224"/>
                        <a:pt x="219" y="222"/>
                      </a:cubicBezTo>
                      <a:cubicBezTo>
                        <a:pt x="221" y="221"/>
                        <a:pt x="215" y="218"/>
                        <a:pt x="214" y="215"/>
                      </a:cubicBezTo>
                      <a:cubicBezTo>
                        <a:pt x="214" y="212"/>
                        <a:pt x="208" y="211"/>
                        <a:pt x="204" y="212"/>
                      </a:cubicBezTo>
                      <a:cubicBezTo>
                        <a:pt x="201" y="213"/>
                        <a:pt x="197" y="212"/>
                        <a:pt x="194" y="211"/>
                      </a:cubicBezTo>
                      <a:cubicBezTo>
                        <a:pt x="192" y="209"/>
                        <a:pt x="192" y="213"/>
                        <a:pt x="196" y="214"/>
                      </a:cubicBezTo>
                      <a:cubicBezTo>
                        <a:pt x="199" y="215"/>
                        <a:pt x="197" y="218"/>
                        <a:pt x="198" y="219"/>
                      </a:cubicBezTo>
                      <a:cubicBezTo>
                        <a:pt x="199" y="221"/>
                        <a:pt x="197" y="225"/>
                        <a:pt x="195" y="228"/>
                      </a:cubicBezTo>
                      <a:cubicBezTo>
                        <a:pt x="193" y="231"/>
                        <a:pt x="194" y="231"/>
                        <a:pt x="198" y="231"/>
                      </a:cubicBezTo>
                      <a:cubicBezTo>
                        <a:pt x="201" y="231"/>
                        <a:pt x="201" y="235"/>
                        <a:pt x="201" y="238"/>
                      </a:cubicBezTo>
                      <a:cubicBezTo>
                        <a:pt x="201" y="241"/>
                        <a:pt x="198" y="242"/>
                        <a:pt x="198" y="244"/>
                      </a:cubicBezTo>
                      <a:cubicBezTo>
                        <a:pt x="198" y="247"/>
                        <a:pt x="195" y="243"/>
                        <a:pt x="195" y="244"/>
                      </a:cubicBezTo>
                      <a:cubicBezTo>
                        <a:pt x="194" y="245"/>
                        <a:pt x="193" y="244"/>
                        <a:pt x="192" y="242"/>
                      </a:cubicBezTo>
                      <a:cubicBezTo>
                        <a:pt x="192" y="240"/>
                        <a:pt x="187" y="241"/>
                        <a:pt x="184" y="240"/>
                      </a:cubicBezTo>
                      <a:cubicBezTo>
                        <a:pt x="181" y="240"/>
                        <a:pt x="180" y="241"/>
                        <a:pt x="179" y="243"/>
                      </a:cubicBezTo>
                      <a:cubicBezTo>
                        <a:pt x="178" y="245"/>
                        <a:pt x="174" y="246"/>
                        <a:pt x="172" y="246"/>
                      </a:cubicBezTo>
                      <a:cubicBezTo>
                        <a:pt x="170" y="246"/>
                        <a:pt x="166" y="250"/>
                        <a:pt x="164" y="252"/>
                      </a:cubicBezTo>
                      <a:cubicBezTo>
                        <a:pt x="162" y="253"/>
                        <a:pt x="162" y="256"/>
                        <a:pt x="165" y="259"/>
                      </a:cubicBezTo>
                      <a:cubicBezTo>
                        <a:pt x="168" y="261"/>
                        <a:pt x="168" y="263"/>
                        <a:pt x="168" y="265"/>
                      </a:cubicBezTo>
                      <a:cubicBezTo>
                        <a:pt x="168" y="266"/>
                        <a:pt x="160" y="266"/>
                        <a:pt x="158" y="264"/>
                      </a:cubicBezTo>
                      <a:cubicBezTo>
                        <a:pt x="157" y="263"/>
                        <a:pt x="152" y="262"/>
                        <a:pt x="150" y="262"/>
                      </a:cubicBezTo>
                      <a:cubicBezTo>
                        <a:pt x="148" y="263"/>
                        <a:pt x="143" y="257"/>
                        <a:pt x="141" y="257"/>
                      </a:cubicBezTo>
                      <a:cubicBezTo>
                        <a:pt x="138" y="257"/>
                        <a:pt x="137" y="260"/>
                        <a:pt x="136" y="261"/>
                      </a:cubicBezTo>
                      <a:cubicBezTo>
                        <a:pt x="135" y="263"/>
                        <a:pt x="137" y="263"/>
                        <a:pt x="138" y="266"/>
                      </a:cubicBezTo>
                      <a:cubicBezTo>
                        <a:pt x="140" y="269"/>
                        <a:pt x="144" y="269"/>
                        <a:pt x="146" y="269"/>
                      </a:cubicBezTo>
                      <a:cubicBezTo>
                        <a:pt x="148" y="269"/>
                        <a:pt x="148" y="272"/>
                        <a:pt x="147" y="274"/>
                      </a:cubicBezTo>
                      <a:cubicBezTo>
                        <a:pt x="146" y="275"/>
                        <a:pt x="142" y="276"/>
                        <a:pt x="141" y="275"/>
                      </a:cubicBezTo>
                      <a:cubicBezTo>
                        <a:pt x="140" y="273"/>
                        <a:pt x="135" y="275"/>
                        <a:pt x="135" y="273"/>
                      </a:cubicBezTo>
                      <a:cubicBezTo>
                        <a:pt x="134" y="271"/>
                        <a:pt x="131" y="268"/>
                        <a:pt x="127" y="269"/>
                      </a:cubicBezTo>
                      <a:cubicBezTo>
                        <a:pt x="123" y="269"/>
                        <a:pt x="123" y="267"/>
                        <a:pt x="123" y="264"/>
                      </a:cubicBezTo>
                      <a:cubicBezTo>
                        <a:pt x="123" y="261"/>
                        <a:pt x="121" y="259"/>
                        <a:pt x="121" y="258"/>
                      </a:cubicBezTo>
                      <a:cubicBezTo>
                        <a:pt x="121" y="257"/>
                        <a:pt x="119" y="254"/>
                        <a:pt x="121" y="253"/>
                      </a:cubicBezTo>
                      <a:cubicBezTo>
                        <a:pt x="123" y="252"/>
                        <a:pt x="122" y="250"/>
                        <a:pt x="122" y="248"/>
                      </a:cubicBezTo>
                      <a:cubicBezTo>
                        <a:pt x="122" y="246"/>
                        <a:pt x="119" y="243"/>
                        <a:pt x="116" y="243"/>
                      </a:cubicBezTo>
                      <a:cubicBezTo>
                        <a:pt x="113" y="243"/>
                        <a:pt x="113" y="240"/>
                        <a:pt x="111" y="240"/>
                      </a:cubicBezTo>
                      <a:cubicBezTo>
                        <a:pt x="108" y="239"/>
                        <a:pt x="103" y="235"/>
                        <a:pt x="103" y="233"/>
                      </a:cubicBezTo>
                      <a:cubicBezTo>
                        <a:pt x="103" y="231"/>
                        <a:pt x="99" y="231"/>
                        <a:pt x="100" y="230"/>
                      </a:cubicBezTo>
                      <a:cubicBezTo>
                        <a:pt x="101" y="230"/>
                        <a:pt x="104" y="231"/>
                        <a:pt x="107" y="233"/>
                      </a:cubicBezTo>
                      <a:cubicBezTo>
                        <a:pt x="109" y="235"/>
                        <a:pt x="112" y="237"/>
                        <a:pt x="118" y="238"/>
                      </a:cubicBezTo>
                      <a:cubicBezTo>
                        <a:pt x="123" y="238"/>
                        <a:pt x="126" y="241"/>
                        <a:pt x="132" y="242"/>
                      </a:cubicBezTo>
                      <a:cubicBezTo>
                        <a:pt x="138" y="243"/>
                        <a:pt x="142" y="244"/>
                        <a:pt x="151" y="245"/>
                      </a:cubicBezTo>
                      <a:cubicBezTo>
                        <a:pt x="160" y="246"/>
                        <a:pt x="171" y="237"/>
                        <a:pt x="174" y="235"/>
                      </a:cubicBezTo>
                      <a:cubicBezTo>
                        <a:pt x="176" y="232"/>
                        <a:pt x="173" y="227"/>
                        <a:pt x="173" y="225"/>
                      </a:cubicBezTo>
                      <a:cubicBezTo>
                        <a:pt x="173" y="223"/>
                        <a:pt x="169" y="223"/>
                        <a:pt x="169" y="222"/>
                      </a:cubicBezTo>
                      <a:cubicBezTo>
                        <a:pt x="168" y="220"/>
                        <a:pt x="165" y="218"/>
                        <a:pt x="162" y="218"/>
                      </a:cubicBezTo>
                      <a:cubicBezTo>
                        <a:pt x="158" y="218"/>
                        <a:pt x="158" y="214"/>
                        <a:pt x="155" y="214"/>
                      </a:cubicBezTo>
                      <a:cubicBezTo>
                        <a:pt x="152" y="214"/>
                        <a:pt x="151" y="213"/>
                        <a:pt x="143" y="208"/>
                      </a:cubicBezTo>
                      <a:cubicBezTo>
                        <a:pt x="136" y="203"/>
                        <a:pt x="126" y="200"/>
                        <a:pt x="125" y="201"/>
                      </a:cubicBezTo>
                      <a:cubicBezTo>
                        <a:pt x="123" y="202"/>
                        <a:pt x="122" y="202"/>
                        <a:pt x="121" y="200"/>
                      </a:cubicBezTo>
                      <a:cubicBezTo>
                        <a:pt x="119" y="198"/>
                        <a:pt x="117" y="199"/>
                        <a:pt x="115" y="200"/>
                      </a:cubicBezTo>
                      <a:cubicBezTo>
                        <a:pt x="113" y="202"/>
                        <a:pt x="111" y="199"/>
                        <a:pt x="107" y="200"/>
                      </a:cubicBezTo>
                      <a:cubicBezTo>
                        <a:pt x="104" y="201"/>
                        <a:pt x="102" y="198"/>
                        <a:pt x="103" y="197"/>
                      </a:cubicBezTo>
                      <a:cubicBezTo>
                        <a:pt x="104" y="196"/>
                        <a:pt x="109" y="197"/>
                        <a:pt x="109" y="195"/>
                      </a:cubicBezTo>
                      <a:cubicBezTo>
                        <a:pt x="109" y="193"/>
                        <a:pt x="107" y="195"/>
                        <a:pt x="103" y="193"/>
                      </a:cubicBezTo>
                      <a:cubicBezTo>
                        <a:pt x="100" y="191"/>
                        <a:pt x="98" y="192"/>
                        <a:pt x="98" y="194"/>
                      </a:cubicBezTo>
                      <a:cubicBezTo>
                        <a:pt x="97" y="196"/>
                        <a:pt x="94" y="195"/>
                        <a:pt x="93" y="194"/>
                      </a:cubicBezTo>
                      <a:cubicBezTo>
                        <a:pt x="93" y="194"/>
                        <a:pt x="92" y="194"/>
                        <a:pt x="92" y="193"/>
                      </a:cubicBezTo>
                      <a:cubicBezTo>
                        <a:pt x="92" y="196"/>
                        <a:pt x="90" y="197"/>
                        <a:pt x="88" y="196"/>
                      </a:cubicBezTo>
                      <a:cubicBezTo>
                        <a:pt x="86" y="196"/>
                        <a:pt x="84" y="199"/>
                        <a:pt x="82" y="199"/>
                      </a:cubicBezTo>
                      <a:cubicBezTo>
                        <a:pt x="79" y="199"/>
                        <a:pt x="77" y="202"/>
                        <a:pt x="76" y="204"/>
                      </a:cubicBezTo>
                      <a:cubicBezTo>
                        <a:pt x="76" y="206"/>
                        <a:pt x="73" y="205"/>
                        <a:pt x="73" y="207"/>
                      </a:cubicBezTo>
                      <a:cubicBezTo>
                        <a:pt x="73" y="208"/>
                        <a:pt x="73" y="209"/>
                        <a:pt x="72" y="211"/>
                      </a:cubicBezTo>
                      <a:cubicBezTo>
                        <a:pt x="71" y="212"/>
                        <a:pt x="72" y="213"/>
                        <a:pt x="73" y="215"/>
                      </a:cubicBezTo>
                      <a:cubicBezTo>
                        <a:pt x="74" y="218"/>
                        <a:pt x="77" y="218"/>
                        <a:pt x="78" y="218"/>
                      </a:cubicBezTo>
                      <a:cubicBezTo>
                        <a:pt x="79" y="219"/>
                        <a:pt x="84" y="223"/>
                        <a:pt x="84" y="224"/>
                      </a:cubicBezTo>
                      <a:cubicBezTo>
                        <a:pt x="84" y="226"/>
                        <a:pt x="80" y="229"/>
                        <a:pt x="79" y="230"/>
                      </a:cubicBezTo>
                      <a:cubicBezTo>
                        <a:pt x="77" y="231"/>
                        <a:pt x="75" y="233"/>
                        <a:pt x="76" y="235"/>
                      </a:cubicBezTo>
                      <a:cubicBezTo>
                        <a:pt x="77" y="236"/>
                        <a:pt x="81" y="242"/>
                        <a:pt x="84" y="247"/>
                      </a:cubicBezTo>
                      <a:cubicBezTo>
                        <a:pt x="87" y="252"/>
                        <a:pt x="83" y="250"/>
                        <a:pt x="81" y="252"/>
                      </a:cubicBezTo>
                      <a:cubicBezTo>
                        <a:pt x="80" y="254"/>
                        <a:pt x="82" y="257"/>
                        <a:pt x="82" y="258"/>
                      </a:cubicBezTo>
                      <a:cubicBezTo>
                        <a:pt x="83" y="259"/>
                        <a:pt x="80" y="259"/>
                        <a:pt x="81" y="260"/>
                      </a:cubicBezTo>
                      <a:cubicBezTo>
                        <a:pt x="81" y="262"/>
                        <a:pt x="84" y="262"/>
                        <a:pt x="85" y="263"/>
                      </a:cubicBezTo>
                      <a:cubicBezTo>
                        <a:pt x="85" y="264"/>
                        <a:pt x="82" y="265"/>
                        <a:pt x="83" y="267"/>
                      </a:cubicBezTo>
                      <a:cubicBezTo>
                        <a:pt x="85" y="269"/>
                        <a:pt x="87" y="269"/>
                        <a:pt x="88" y="271"/>
                      </a:cubicBezTo>
                      <a:cubicBezTo>
                        <a:pt x="88" y="274"/>
                        <a:pt x="82" y="274"/>
                        <a:pt x="83" y="276"/>
                      </a:cubicBezTo>
                      <a:cubicBezTo>
                        <a:pt x="83" y="278"/>
                        <a:pt x="90" y="280"/>
                        <a:pt x="93" y="284"/>
                      </a:cubicBezTo>
                      <a:cubicBezTo>
                        <a:pt x="96" y="287"/>
                        <a:pt x="96" y="288"/>
                        <a:pt x="95" y="290"/>
                      </a:cubicBezTo>
                      <a:cubicBezTo>
                        <a:pt x="94" y="294"/>
                        <a:pt x="85" y="297"/>
                        <a:pt x="83" y="301"/>
                      </a:cubicBezTo>
                      <a:cubicBezTo>
                        <a:pt x="81" y="306"/>
                        <a:pt x="74" y="308"/>
                        <a:pt x="71" y="311"/>
                      </a:cubicBezTo>
                      <a:cubicBezTo>
                        <a:pt x="69" y="313"/>
                        <a:pt x="68" y="315"/>
                        <a:pt x="67" y="316"/>
                      </a:cubicBezTo>
                      <a:cubicBezTo>
                        <a:pt x="68" y="316"/>
                        <a:pt x="70" y="316"/>
                        <a:pt x="70" y="315"/>
                      </a:cubicBezTo>
                      <a:cubicBezTo>
                        <a:pt x="72" y="314"/>
                        <a:pt x="74" y="319"/>
                        <a:pt x="75" y="320"/>
                      </a:cubicBezTo>
                      <a:cubicBezTo>
                        <a:pt x="77" y="322"/>
                        <a:pt x="81" y="320"/>
                        <a:pt x="82" y="322"/>
                      </a:cubicBezTo>
                      <a:cubicBezTo>
                        <a:pt x="84" y="323"/>
                        <a:pt x="81" y="323"/>
                        <a:pt x="79" y="323"/>
                      </a:cubicBezTo>
                      <a:cubicBezTo>
                        <a:pt x="76" y="323"/>
                        <a:pt x="75" y="324"/>
                        <a:pt x="71" y="326"/>
                      </a:cubicBezTo>
                      <a:cubicBezTo>
                        <a:pt x="68" y="327"/>
                        <a:pt x="68" y="328"/>
                        <a:pt x="67" y="329"/>
                      </a:cubicBezTo>
                      <a:cubicBezTo>
                        <a:pt x="69" y="331"/>
                        <a:pt x="66" y="332"/>
                        <a:pt x="65" y="334"/>
                      </a:cubicBezTo>
                      <a:cubicBezTo>
                        <a:pt x="64" y="336"/>
                        <a:pt x="63" y="337"/>
                        <a:pt x="63" y="338"/>
                      </a:cubicBezTo>
                      <a:cubicBezTo>
                        <a:pt x="62" y="340"/>
                        <a:pt x="63" y="341"/>
                        <a:pt x="63" y="343"/>
                      </a:cubicBezTo>
                      <a:cubicBezTo>
                        <a:pt x="63" y="345"/>
                        <a:pt x="64" y="345"/>
                        <a:pt x="65" y="347"/>
                      </a:cubicBezTo>
                      <a:cubicBezTo>
                        <a:pt x="66" y="349"/>
                        <a:pt x="64" y="349"/>
                        <a:pt x="63" y="350"/>
                      </a:cubicBezTo>
                      <a:cubicBezTo>
                        <a:pt x="62" y="351"/>
                        <a:pt x="62" y="353"/>
                        <a:pt x="64" y="354"/>
                      </a:cubicBezTo>
                      <a:cubicBezTo>
                        <a:pt x="65" y="355"/>
                        <a:pt x="65" y="357"/>
                        <a:pt x="65" y="358"/>
                      </a:cubicBezTo>
                      <a:cubicBezTo>
                        <a:pt x="64" y="360"/>
                        <a:pt x="66" y="362"/>
                        <a:pt x="67" y="363"/>
                      </a:cubicBezTo>
                      <a:cubicBezTo>
                        <a:pt x="69" y="364"/>
                        <a:pt x="68" y="368"/>
                        <a:pt x="69" y="369"/>
                      </a:cubicBezTo>
                      <a:cubicBezTo>
                        <a:pt x="71" y="369"/>
                        <a:pt x="72" y="370"/>
                        <a:pt x="74" y="370"/>
                      </a:cubicBezTo>
                      <a:cubicBezTo>
                        <a:pt x="76" y="369"/>
                        <a:pt x="77" y="370"/>
                        <a:pt x="78" y="372"/>
                      </a:cubicBezTo>
                      <a:cubicBezTo>
                        <a:pt x="79" y="373"/>
                        <a:pt x="80" y="373"/>
                        <a:pt x="82" y="372"/>
                      </a:cubicBezTo>
                      <a:cubicBezTo>
                        <a:pt x="84" y="371"/>
                        <a:pt x="89" y="373"/>
                        <a:pt x="90" y="374"/>
                      </a:cubicBezTo>
                      <a:cubicBezTo>
                        <a:pt x="91" y="374"/>
                        <a:pt x="90" y="377"/>
                        <a:pt x="90" y="379"/>
                      </a:cubicBezTo>
                      <a:cubicBezTo>
                        <a:pt x="90" y="381"/>
                        <a:pt x="89" y="384"/>
                        <a:pt x="91" y="385"/>
                      </a:cubicBezTo>
                      <a:cubicBezTo>
                        <a:pt x="93" y="386"/>
                        <a:pt x="93" y="389"/>
                        <a:pt x="95" y="390"/>
                      </a:cubicBezTo>
                      <a:cubicBezTo>
                        <a:pt x="97" y="391"/>
                        <a:pt x="98" y="394"/>
                        <a:pt x="100" y="395"/>
                      </a:cubicBezTo>
                      <a:cubicBezTo>
                        <a:pt x="101" y="395"/>
                        <a:pt x="104" y="397"/>
                        <a:pt x="104" y="399"/>
                      </a:cubicBezTo>
                      <a:cubicBezTo>
                        <a:pt x="104" y="400"/>
                        <a:pt x="102" y="402"/>
                        <a:pt x="100" y="402"/>
                      </a:cubicBezTo>
                      <a:cubicBezTo>
                        <a:pt x="98" y="403"/>
                        <a:pt x="95" y="400"/>
                        <a:pt x="94" y="402"/>
                      </a:cubicBezTo>
                      <a:cubicBezTo>
                        <a:pt x="93" y="403"/>
                        <a:pt x="95" y="405"/>
                        <a:pt x="95" y="409"/>
                      </a:cubicBezTo>
                      <a:cubicBezTo>
                        <a:pt x="96" y="413"/>
                        <a:pt x="97" y="413"/>
                        <a:pt x="99" y="413"/>
                      </a:cubicBezTo>
                      <a:cubicBezTo>
                        <a:pt x="101" y="413"/>
                        <a:pt x="101" y="412"/>
                        <a:pt x="103" y="411"/>
                      </a:cubicBezTo>
                      <a:cubicBezTo>
                        <a:pt x="104" y="411"/>
                        <a:pt x="107" y="412"/>
                        <a:pt x="108" y="411"/>
                      </a:cubicBezTo>
                      <a:cubicBezTo>
                        <a:pt x="109" y="411"/>
                        <a:pt x="114" y="410"/>
                        <a:pt x="115" y="412"/>
                      </a:cubicBezTo>
                      <a:cubicBezTo>
                        <a:pt x="115" y="413"/>
                        <a:pt x="116" y="417"/>
                        <a:pt x="116" y="418"/>
                      </a:cubicBezTo>
                      <a:cubicBezTo>
                        <a:pt x="115" y="419"/>
                        <a:pt x="117" y="421"/>
                        <a:pt x="117" y="422"/>
                      </a:cubicBezTo>
                      <a:cubicBezTo>
                        <a:pt x="118" y="424"/>
                        <a:pt x="122" y="423"/>
                        <a:pt x="123" y="424"/>
                      </a:cubicBezTo>
                      <a:cubicBezTo>
                        <a:pt x="125" y="424"/>
                        <a:pt x="127" y="428"/>
                        <a:pt x="127" y="430"/>
                      </a:cubicBezTo>
                      <a:cubicBezTo>
                        <a:pt x="126" y="432"/>
                        <a:pt x="129" y="432"/>
                        <a:pt x="130" y="432"/>
                      </a:cubicBezTo>
                      <a:cubicBezTo>
                        <a:pt x="131" y="431"/>
                        <a:pt x="132" y="433"/>
                        <a:pt x="134" y="433"/>
                      </a:cubicBezTo>
                      <a:cubicBezTo>
                        <a:pt x="135" y="434"/>
                        <a:pt x="137" y="434"/>
                        <a:pt x="138" y="433"/>
                      </a:cubicBezTo>
                      <a:cubicBezTo>
                        <a:pt x="139" y="432"/>
                        <a:pt x="142" y="432"/>
                        <a:pt x="142" y="433"/>
                      </a:cubicBezTo>
                      <a:cubicBezTo>
                        <a:pt x="143" y="434"/>
                        <a:pt x="146" y="436"/>
                        <a:pt x="146" y="437"/>
                      </a:cubicBezTo>
                      <a:cubicBezTo>
                        <a:pt x="146" y="438"/>
                        <a:pt x="150" y="437"/>
                        <a:pt x="153" y="438"/>
                      </a:cubicBezTo>
                      <a:cubicBezTo>
                        <a:pt x="155" y="439"/>
                        <a:pt x="157" y="439"/>
                        <a:pt x="159" y="440"/>
                      </a:cubicBezTo>
                      <a:cubicBezTo>
                        <a:pt x="162" y="441"/>
                        <a:pt x="164" y="441"/>
                        <a:pt x="164" y="443"/>
                      </a:cubicBezTo>
                      <a:cubicBezTo>
                        <a:pt x="164" y="444"/>
                        <a:pt x="162" y="445"/>
                        <a:pt x="162" y="446"/>
                      </a:cubicBezTo>
                      <a:cubicBezTo>
                        <a:pt x="162" y="447"/>
                        <a:pt x="164" y="447"/>
                        <a:pt x="164" y="448"/>
                      </a:cubicBezTo>
                      <a:cubicBezTo>
                        <a:pt x="164" y="450"/>
                        <a:pt x="161" y="450"/>
                        <a:pt x="161" y="450"/>
                      </a:cubicBezTo>
                      <a:cubicBezTo>
                        <a:pt x="160" y="451"/>
                        <a:pt x="162" y="453"/>
                        <a:pt x="163" y="453"/>
                      </a:cubicBezTo>
                      <a:cubicBezTo>
                        <a:pt x="163" y="454"/>
                        <a:pt x="161" y="457"/>
                        <a:pt x="161" y="458"/>
                      </a:cubicBezTo>
                      <a:cubicBezTo>
                        <a:pt x="161" y="459"/>
                        <a:pt x="156" y="458"/>
                        <a:pt x="155" y="458"/>
                      </a:cubicBezTo>
                      <a:cubicBezTo>
                        <a:pt x="153" y="458"/>
                        <a:pt x="150" y="462"/>
                        <a:pt x="148" y="462"/>
                      </a:cubicBezTo>
                      <a:cubicBezTo>
                        <a:pt x="147" y="463"/>
                        <a:pt x="148" y="465"/>
                        <a:pt x="148" y="466"/>
                      </a:cubicBezTo>
                      <a:cubicBezTo>
                        <a:pt x="152" y="465"/>
                        <a:pt x="156" y="465"/>
                        <a:pt x="156" y="466"/>
                      </a:cubicBezTo>
                      <a:cubicBezTo>
                        <a:pt x="157" y="467"/>
                        <a:pt x="148" y="471"/>
                        <a:pt x="146" y="472"/>
                      </a:cubicBezTo>
                      <a:cubicBezTo>
                        <a:pt x="145" y="472"/>
                        <a:pt x="150" y="475"/>
                        <a:pt x="149" y="476"/>
                      </a:cubicBezTo>
                      <a:cubicBezTo>
                        <a:pt x="149" y="478"/>
                        <a:pt x="144" y="478"/>
                        <a:pt x="145" y="481"/>
                      </a:cubicBezTo>
                      <a:cubicBezTo>
                        <a:pt x="145" y="484"/>
                        <a:pt x="143" y="484"/>
                        <a:pt x="140" y="484"/>
                      </a:cubicBezTo>
                      <a:cubicBezTo>
                        <a:pt x="138" y="484"/>
                        <a:pt x="137" y="486"/>
                        <a:pt x="138" y="486"/>
                      </a:cubicBezTo>
                      <a:cubicBezTo>
                        <a:pt x="139" y="487"/>
                        <a:pt x="139" y="490"/>
                        <a:pt x="144" y="491"/>
                      </a:cubicBezTo>
                      <a:cubicBezTo>
                        <a:pt x="150" y="493"/>
                        <a:pt x="155" y="498"/>
                        <a:pt x="159" y="502"/>
                      </a:cubicBezTo>
                      <a:cubicBezTo>
                        <a:pt x="160" y="503"/>
                        <a:pt x="161" y="503"/>
                        <a:pt x="161" y="504"/>
                      </a:cubicBezTo>
                      <a:cubicBezTo>
                        <a:pt x="163" y="503"/>
                        <a:pt x="164" y="503"/>
                        <a:pt x="165" y="503"/>
                      </a:cubicBezTo>
                      <a:cubicBezTo>
                        <a:pt x="167" y="502"/>
                        <a:pt x="172" y="504"/>
                        <a:pt x="174" y="505"/>
                      </a:cubicBezTo>
                      <a:cubicBezTo>
                        <a:pt x="177" y="507"/>
                        <a:pt x="186" y="505"/>
                        <a:pt x="187" y="506"/>
                      </a:cubicBezTo>
                      <a:cubicBezTo>
                        <a:pt x="188" y="508"/>
                        <a:pt x="190" y="510"/>
                        <a:pt x="192" y="510"/>
                      </a:cubicBezTo>
                      <a:cubicBezTo>
                        <a:pt x="193" y="510"/>
                        <a:pt x="195" y="513"/>
                        <a:pt x="197" y="512"/>
                      </a:cubicBezTo>
                      <a:cubicBezTo>
                        <a:pt x="198" y="511"/>
                        <a:pt x="203" y="511"/>
                        <a:pt x="205" y="511"/>
                      </a:cubicBezTo>
                      <a:cubicBezTo>
                        <a:pt x="206" y="511"/>
                        <a:pt x="206" y="512"/>
                        <a:pt x="208" y="512"/>
                      </a:cubicBezTo>
                      <a:cubicBezTo>
                        <a:pt x="209" y="512"/>
                        <a:pt x="209" y="517"/>
                        <a:pt x="210" y="517"/>
                      </a:cubicBezTo>
                      <a:cubicBezTo>
                        <a:pt x="211" y="517"/>
                        <a:pt x="215" y="520"/>
                        <a:pt x="218" y="521"/>
                      </a:cubicBezTo>
                      <a:cubicBezTo>
                        <a:pt x="220" y="521"/>
                        <a:pt x="223" y="525"/>
                        <a:pt x="224" y="525"/>
                      </a:cubicBezTo>
                      <a:cubicBezTo>
                        <a:pt x="225" y="525"/>
                        <a:pt x="227" y="527"/>
                        <a:pt x="227" y="525"/>
                      </a:cubicBezTo>
                      <a:cubicBezTo>
                        <a:pt x="228" y="523"/>
                        <a:pt x="231" y="524"/>
                        <a:pt x="232" y="521"/>
                      </a:cubicBezTo>
                      <a:cubicBezTo>
                        <a:pt x="228" y="516"/>
                        <a:pt x="223" y="510"/>
                        <a:pt x="223" y="507"/>
                      </a:cubicBezTo>
                      <a:cubicBezTo>
                        <a:pt x="223" y="503"/>
                        <a:pt x="225" y="500"/>
                        <a:pt x="220" y="496"/>
                      </a:cubicBezTo>
                      <a:cubicBezTo>
                        <a:pt x="215" y="492"/>
                        <a:pt x="221" y="489"/>
                        <a:pt x="224" y="485"/>
                      </a:cubicBezTo>
                      <a:cubicBezTo>
                        <a:pt x="227" y="481"/>
                        <a:pt x="234" y="479"/>
                        <a:pt x="238" y="476"/>
                      </a:cubicBezTo>
                      <a:cubicBezTo>
                        <a:pt x="238" y="475"/>
                        <a:pt x="237" y="475"/>
                        <a:pt x="236" y="474"/>
                      </a:cubicBezTo>
                      <a:cubicBezTo>
                        <a:pt x="233" y="473"/>
                        <a:pt x="232" y="471"/>
                        <a:pt x="234" y="471"/>
                      </a:cubicBezTo>
                      <a:cubicBezTo>
                        <a:pt x="237" y="470"/>
                        <a:pt x="235" y="469"/>
                        <a:pt x="233" y="466"/>
                      </a:cubicBezTo>
                      <a:cubicBezTo>
                        <a:pt x="230" y="463"/>
                        <a:pt x="229" y="460"/>
                        <a:pt x="228" y="460"/>
                      </a:cubicBezTo>
                      <a:cubicBezTo>
                        <a:pt x="227" y="460"/>
                        <a:pt x="224" y="460"/>
                        <a:pt x="222" y="460"/>
                      </a:cubicBezTo>
                      <a:cubicBezTo>
                        <a:pt x="220" y="461"/>
                        <a:pt x="221" y="459"/>
                        <a:pt x="221" y="456"/>
                      </a:cubicBezTo>
                      <a:cubicBezTo>
                        <a:pt x="221" y="454"/>
                        <a:pt x="217" y="454"/>
                        <a:pt x="216" y="453"/>
                      </a:cubicBezTo>
                      <a:cubicBezTo>
                        <a:pt x="216" y="452"/>
                        <a:pt x="217" y="448"/>
                        <a:pt x="218" y="448"/>
                      </a:cubicBezTo>
                      <a:cubicBezTo>
                        <a:pt x="219" y="448"/>
                        <a:pt x="221" y="447"/>
                        <a:pt x="221" y="445"/>
                      </a:cubicBezTo>
                      <a:cubicBezTo>
                        <a:pt x="221" y="444"/>
                        <a:pt x="217" y="444"/>
                        <a:pt x="218" y="442"/>
                      </a:cubicBezTo>
                      <a:cubicBezTo>
                        <a:pt x="220" y="439"/>
                        <a:pt x="223" y="439"/>
                        <a:pt x="223" y="437"/>
                      </a:cubicBezTo>
                      <a:cubicBezTo>
                        <a:pt x="223" y="434"/>
                        <a:pt x="225" y="432"/>
                        <a:pt x="227" y="434"/>
                      </a:cubicBezTo>
                      <a:cubicBezTo>
                        <a:pt x="230" y="435"/>
                        <a:pt x="231" y="440"/>
                        <a:pt x="234" y="439"/>
                      </a:cubicBezTo>
                      <a:cubicBezTo>
                        <a:pt x="237" y="438"/>
                        <a:pt x="235" y="435"/>
                        <a:pt x="234" y="434"/>
                      </a:cubicBezTo>
                      <a:cubicBezTo>
                        <a:pt x="234" y="433"/>
                        <a:pt x="233" y="430"/>
                        <a:pt x="237" y="430"/>
                      </a:cubicBezTo>
                      <a:cubicBezTo>
                        <a:pt x="240" y="429"/>
                        <a:pt x="238" y="426"/>
                        <a:pt x="241" y="426"/>
                      </a:cubicBezTo>
                      <a:cubicBezTo>
                        <a:pt x="243" y="426"/>
                        <a:pt x="248" y="423"/>
                        <a:pt x="249" y="422"/>
                      </a:cubicBezTo>
                      <a:cubicBezTo>
                        <a:pt x="251" y="421"/>
                        <a:pt x="254" y="419"/>
                        <a:pt x="255" y="420"/>
                      </a:cubicBezTo>
                      <a:cubicBezTo>
                        <a:pt x="257" y="421"/>
                        <a:pt x="259" y="423"/>
                        <a:pt x="260" y="420"/>
                      </a:cubicBezTo>
                      <a:cubicBezTo>
                        <a:pt x="261" y="418"/>
                        <a:pt x="265" y="419"/>
                        <a:pt x="265" y="420"/>
                      </a:cubicBezTo>
                      <a:cubicBezTo>
                        <a:pt x="266" y="422"/>
                        <a:pt x="273" y="422"/>
                        <a:pt x="275" y="423"/>
                      </a:cubicBezTo>
                      <a:cubicBezTo>
                        <a:pt x="277" y="424"/>
                        <a:pt x="281" y="427"/>
                        <a:pt x="281" y="429"/>
                      </a:cubicBezTo>
                      <a:cubicBezTo>
                        <a:pt x="281" y="430"/>
                        <a:pt x="284" y="432"/>
                        <a:pt x="284" y="430"/>
                      </a:cubicBezTo>
                      <a:cubicBezTo>
                        <a:pt x="284" y="427"/>
                        <a:pt x="285" y="428"/>
                        <a:pt x="288" y="430"/>
                      </a:cubicBezTo>
                      <a:cubicBezTo>
                        <a:pt x="291" y="432"/>
                        <a:pt x="295" y="431"/>
                        <a:pt x="296" y="429"/>
                      </a:cubicBezTo>
                      <a:cubicBezTo>
                        <a:pt x="296" y="427"/>
                        <a:pt x="302" y="425"/>
                        <a:pt x="304" y="427"/>
                      </a:cubicBezTo>
                      <a:cubicBezTo>
                        <a:pt x="305" y="428"/>
                        <a:pt x="306" y="429"/>
                        <a:pt x="308" y="427"/>
                      </a:cubicBezTo>
                      <a:cubicBezTo>
                        <a:pt x="310" y="425"/>
                        <a:pt x="315" y="425"/>
                        <a:pt x="316" y="427"/>
                      </a:cubicBezTo>
                      <a:cubicBezTo>
                        <a:pt x="317" y="429"/>
                        <a:pt x="319" y="430"/>
                        <a:pt x="321" y="430"/>
                      </a:cubicBezTo>
                      <a:cubicBezTo>
                        <a:pt x="324" y="430"/>
                        <a:pt x="324" y="433"/>
                        <a:pt x="325" y="432"/>
                      </a:cubicBezTo>
                      <a:cubicBezTo>
                        <a:pt x="327" y="432"/>
                        <a:pt x="326" y="428"/>
                        <a:pt x="328" y="428"/>
                      </a:cubicBezTo>
                      <a:cubicBezTo>
                        <a:pt x="330" y="429"/>
                        <a:pt x="331" y="431"/>
                        <a:pt x="334" y="431"/>
                      </a:cubicBezTo>
                      <a:cubicBezTo>
                        <a:pt x="337" y="431"/>
                        <a:pt x="339" y="430"/>
                        <a:pt x="339" y="428"/>
                      </a:cubicBezTo>
                      <a:cubicBezTo>
                        <a:pt x="339" y="426"/>
                        <a:pt x="339" y="422"/>
                        <a:pt x="337" y="422"/>
                      </a:cubicBezTo>
                      <a:cubicBezTo>
                        <a:pt x="335" y="422"/>
                        <a:pt x="334" y="420"/>
                        <a:pt x="331" y="420"/>
                      </a:cubicBezTo>
                      <a:cubicBezTo>
                        <a:pt x="329" y="420"/>
                        <a:pt x="327" y="417"/>
                        <a:pt x="329" y="416"/>
                      </a:cubicBezTo>
                      <a:cubicBezTo>
                        <a:pt x="331" y="415"/>
                        <a:pt x="335" y="414"/>
                        <a:pt x="334" y="412"/>
                      </a:cubicBezTo>
                      <a:cubicBezTo>
                        <a:pt x="334" y="410"/>
                        <a:pt x="333" y="407"/>
                        <a:pt x="336" y="406"/>
                      </a:cubicBezTo>
                      <a:cubicBezTo>
                        <a:pt x="339" y="406"/>
                        <a:pt x="345" y="406"/>
                        <a:pt x="344" y="405"/>
                      </a:cubicBezTo>
                      <a:cubicBezTo>
                        <a:pt x="344" y="404"/>
                        <a:pt x="338" y="403"/>
                        <a:pt x="337" y="401"/>
                      </a:cubicBezTo>
                      <a:cubicBezTo>
                        <a:pt x="336" y="399"/>
                        <a:pt x="336" y="395"/>
                        <a:pt x="337" y="394"/>
                      </a:cubicBezTo>
                      <a:cubicBezTo>
                        <a:pt x="338" y="394"/>
                        <a:pt x="341" y="395"/>
                        <a:pt x="344" y="394"/>
                      </a:cubicBezTo>
                      <a:cubicBezTo>
                        <a:pt x="346" y="393"/>
                        <a:pt x="350" y="395"/>
                        <a:pt x="353" y="393"/>
                      </a:cubicBezTo>
                      <a:cubicBezTo>
                        <a:pt x="356" y="391"/>
                        <a:pt x="362" y="391"/>
                        <a:pt x="365" y="391"/>
                      </a:cubicBezTo>
                      <a:cubicBezTo>
                        <a:pt x="369" y="391"/>
                        <a:pt x="371" y="388"/>
                        <a:pt x="374" y="388"/>
                      </a:cubicBezTo>
                      <a:cubicBezTo>
                        <a:pt x="376" y="388"/>
                        <a:pt x="383" y="387"/>
                        <a:pt x="385" y="386"/>
                      </a:cubicBezTo>
                      <a:cubicBezTo>
                        <a:pt x="387" y="385"/>
                        <a:pt x="396" y="384"/>
                        <a:pt x="397" y="382"/>
                      </a:cubicBezTo>
                      <a:cubicBezTo>
                        <a:pt x="397" y="380"/>
                        <a:pt x="405" y="379"/>
                        <a:pt x="407" y="380"/>
                      </a:cubicBezTo>
                      <a:cubicBezTo>
                        <a:pt x="409" y="381"/>
                        <a:pt x="411" y="381"/>
                        <a:pt x="413" y="381"/>
                      </a:cubicBezTo>
                      <a:cubicBezTo>
                        <a:pt x="415" y="380"/>
                        <a:pt x="418" y="382"/>
                        <a:pt x="418" y="384"/>
                      </a:cubicBezTo>
                      <a:cubicBezTo>
                        <a:pt x="418" y="386"/>
                        <a:pt x="420" y="388"/>
                        <a:pt x="420" y="389"/>
                      </a:cubicBezTo>
                      <a:cubicBezTo>
                        <a:pt x="419" y="391"/>
                        <a:pt x="418" y="392"/>
                        <a:pt x="419" y="393"/>
                      </a:cubicBezTo>
                      <a:cubicBezTo>
                        <a:pt x="420" y="394"/>
                        <a:pt x="425" y="393"/>
                        <a:pt x="426" y="392"/>
                      </a:cubicBezTo>
                      <a:cubicBezTo>
                        <a:pt x="427" y="390"/>
                        <a:pt x="429" y="392"/>
                        <a:pt x="429" y="394"/>
                      </a:cubicBezTo>
                      <a:cubicBezTo>
                        <a:pt x="429" y="395"/>
                        <a:pt x="431" y="396"/>
                        <a:pt x="431" y="394"/>
                      </a:cubicBezTo>
                      <a:cubicBezTo>
                        <a:pt x="431" y="392"/>
                        <a:pt x="434" y="394"/>
                        <a:pt x="435" y="395"/>
                      </a:cubicBezTo>
                      <a:cubicBezTo>
                        <a:pt x="436" y="396"/>
                        <a:pt x="439" y="393"/>
                        <a:pt x="439" y="395"/>
                      </a:cubicBezTo>
                      <a:cubicBezTo>
                        <a:pt x="439" y="397"/>
                        <a:pt x="434" y="398"/>
                        <a:pt x="436" y="400"/>
                      </a:cubicBezTo>
                      <a:cubicBezTo>
                        <a:pt x="439" y="402"/>
                        <a:pt x="440" y="398"/>
                        <a:pt x="443" y="399"/>
                      </a:cubicBezTo>
                      <a:cubicBezTo>
                        <a:pt x="445" y="400"/>
                        <a:pt x="449" y="396"/>
                        <a:pt x="451" y="395"/>
                      </a:cubicBezTo>
                      <a:cubicBezTo>
                        <a:pt x="454" y="395"/>
                        <a:pt x="456" y="392"/>
                        <a:pt x="459" y="391"/>
                      </a:cubicBezTo>
                      <a:cubicBezTo>
                        <a:pt x="461" y="390"/>
                        <a:pt x="465" y="390"/>
                        <a:pt x="464" y="392"/>
                      </a:cubicBezTo>
                      <a:cubicBezTo>
                        <a:pt x="463" y="393"/>
                        <a:pt x="461" y="396"/>
                        <a:pt x="466" y="398"/>
                      </a:cubicBezTo>
                      <a:cubicBezTo>
                        <a:pt x="472" y="400"/>
                        <a:pt x="478" y="410"/>
                        <a:pt x="481" y="415"/>
                      </a:cubicBezTo>
                      <a:cubicBezTo>
                        <a:pt x="484" y="420"/>
                        <a:pt x="488" y="430"/>
                        <a:pt x="489" y="430"/>
                      </a:cubicBezTo>
                      <a:cubicBezTo>
                        <a:pt x="491" y="430"/>
                        <a:pt x="492" y="425"/>
                        <a:pt x="494" y="425"/>
                      </a:cubicBezTo>
                      <a:cubicBezTo>
                        <a:pt x="496" y="424"/>
                        <a:pt x="498" y="429"/>
                        <a:pt x="500" y="429"/>
                      </a:cubicBezTo>
                      <a:cubicBezTo>
                        <a:pt x="503" y="430"/>
                        <a:pt x="506" y="431"/>
                        <a:pt x="508" y="430"/>
                      </a:cubicBezTo>
                      <a:cubicBezTo>
                        <a:pt x="510" y="430"/>
                        <a:pt x="515" y="427"/>
                        <a:pt x="516" y="428"/>
                      </a:cubicBezTo>
                      <a:cubicBezTo>
                        <a:pt x="518" y="429"/>
                        <a:pt x="520" y="429"/>
                        <a:pt x="521" y="432"/>
                      </a:cubicBezTo>
                      <a:cubicBezTo>
                        <a:pt x="523" y="436"/>
                        <a:pt x="525" y="436"/>
                        <a:pt x="526" y="436"/>
                      </a:cubicBezTo>
                      <a:cubicBezTo>
                        <a:pt x="528" y="436"/>
                        <a:pt x="528" y="438"/>
                        <a:pt x="528" y="439"/>
                      </a:cubicBezTo>
                      <a:cubicBezTo>
                        <a:pt x="528" y="441"/>
                        <a:pt x="531" y="443"/>
                        <a:pt x="532" y="443"/>
                      </a:cubicBezTo>
                      <a:cubicBezTo>
                        <a:pt x="534" y="443"/>
                        <a:pt x="537" y="442"/>
                        <a:pt x="539" y="442"/>
                      </a:cubicBezTo>
                      <a:cubicBezTo>
                        <a:pt x="540" y="441"/>
                        <a:pt x="541" y="440"/>
                        <a:pt x="541" y="442"/>
                      </a:cubicBezTo>
                      <a:cubicBezTo>
                        <a:pt x="542" y="443"/>
                        <a:pt x="544" y="446"/>
                        <a:pt x="545" y="446"/>
                      </a:cubicBezTo>
                      <a:cubicBezTo>
                        <a:pt x="547" y="446"/>
                        <a:pt x="549" y="447"/>
                        <a:pt x="550" y="446"/>
                      </a:cubicBezTo>
                      <a:cubicBezTo>
                        <a:pt x="550" y="445"/>
                        <a:pt x="554" y="444"/>
                        <a:pt x="555" y="444"/>
                      </a:cubicBezTo>
                      <a:cubicBezTo>
                        <a:pt x="557" y="444"/>
                        <a:pt x="562" y="443"/>
                        <a:pt x="563" y="441"/>
                      </a:cubicBezTo>
                      <a:cubicBezTo>
                        <a:pt x="564" y="438"/>
                        <a:pt x="568" y="438"/>
                        <a:pt x="569" y="437"/>
                      </a:cubicBezTo>
                      <a:cubicBezTo>
                        <a:pt x="570" y="436"/>
                        <a:pt x="573" y="435"/>
                        <a:pt x="574" y="433"/>
                      </a:cubicBezTo>
                      <a:cubicBezTo>
                        <a:pt x="575" y="432"/>
                        <a:pt x="579" y="432"/>
                        <a:pt x="579" y="431"/>
                      </a:cubicBezTo>
                      <a:cubicBezTo>
                        <a:pt x="580" y="430"/>
                        <a:pt x="583" y="430"/>
                        <a:pt x="585" y="430"/>
                      </a:cubicBezTo>
                      <a:cubicBezTo>
                        <a:pt x="587" y="431"/>
                        <a:pt x="595" y="432"/>
                        <a:pt x="596" y="432"/>
                      </a:cubicBezTo>
                      <a:cubicBezTo>
                        <a:pt x="598" y="432"/>
                        <a:pt x="598" y="436"/>
                        <a:pt x="599" y="437"/>
                      </a:cubicBezTo>
                      <a:cubicBezTo>
                        <a:pt x="600" y="437"/>
                        <a:pt x="604" y="440"/>
                        <a:pt x="606" y="439"/>
                      </a:cubicBezTo>
                      <a:cubicBezTo>
                        <a:pt x="607" y="438"/>
                        <a:pt x="610" y="437"/>
                        <a:pt x="612" y="439"/>
                      </a:cubicBezTo>
                      <a:cubicBezTo>
                        <a:pt x="614" y="440"/>
                        <a:pt x="617" y="442"/>
                        <a:pt x="618" y="440"/>
                      </a:cubicBezTo>
                      <a:cubicBezTo>
                        <a:pt x="619" y="439"/>
                        <a:pt x="624" y="438"/>
                        <a:pt x="624" y="437"/>
                      </a:cubicBezTo>
                      <a:cubicBezTo>
                        <a:pt x="625" y="436"/>
                        <a:pt x="626" y="433"/>
                        <a:pt x="625" y="432"/>
                      </a:cubicBezTo>
                      <a:cubicBezTo>
                        <a:pt x="623" y="431"/>
                        <a:pt x="622" y="427"/>
                        <a:pt x="622" y="426"/>
                      </a:cubicBezTo>
                      <a:cubicBezTo>
                        <a:pt x="621" y="424"/>
                        <a:pt x="625" y="423"/>
                        <a:pt x="625" y="422"/>
                      </a:cubicBezTo>
                      <a:cubicBezTo>
                        <a:pt x="626" y="420"/>
                        <a:pt x="628" y="420"/>
                        <a:pt x="629" y="419"/>
                      </a:cubicBezTo>
                      <a:cubicBezTo>
                        <a:pt x="630" y="418"/>
                        <a:pt x="631" y="416"/>
                        <a:pt x="632" y="416"/>
                      </a:cubicBezTo>
                      <a:cubicBezTo>
                        <a:pt x="634" y="417"/>
                        <a:pt x="637" y="418"/>
                        <a:pt x="638" y="418"/>
                      </a:cubicBezTo>
                      <a:cubicBezTo>
                        <a:pt x="639" y="419"/>
                        <a:pt x="642" y="420"/>
                        <a:pt x="643" y="420"/>
                      </a:cubicBezTo>
                      <a:cubicBezTo>
                        <a:pt x="645" y="420"/>
                        <a:pt x="647" y="421"/>
                        <a:pt x="649" y="422"/>
                      </a:cubicBezTo>
                      <a:cubicBezTo>
                        <a:pt x="651" y="423"/>
                        <a:pt x="656" y="423"/>
                        <a:pt x="657" y="424"/>
                      </a:cubicBezTo>
                      <a:cubicBezTo>
                        <a:pt x="658" y="426"/>
                        <a:pt x="657" y="430"/>
                        <a:pt x="658" y="431"/>
                      </a:cubicBezTo>
                      <a:cubicBezTo>
                        <a:pt x="659" y="433"/>
                        <a:pt x="662" y="436"/>
                        <a:pt x="663" y="435"/>
                      </a:cubicBezTo>
                      <a:cubicBezTo>
                        <a:pt x="664" y="434"/>
                        <a:pt x="668" y="437"/>
                        <a:pt x="670" y="437"/>
                      </a:cubicBezTo>
                      <a:cubicBezTo>
                        <a:pt x="672" y="437"/>
                        <a:pt x="674" y="434"/>
                        <a:pt x="676" y="434"/>
                      </a:cubicBezTo>
                      <a:cubicBezTo>
                        <a:pt x="677" y="434"/>
                        <a:pt x="682" y="433"/>
                        <a:pt x="683" y="433"/>
                      </a:cubicBezTo>
                      <a:cubicBezTo>
                        <a:pt x="685" y="434"/>
                        <a:pt x="690" y="436"/>
                        <a:pt x="691" y="435"/>
                      </a:cubicBezTo>
                      <a:cubicBezTo>
                        <a:pt x="691" y="435"/>
                        <a:pt x="696" y="435"/>
                        <a:pt x="697" y="437"/>
                      </a:cubicBezTo>
                      <a:cubicBezTo>
                        <a:pt x="697" y="438"/>
                        <a:pt x="703" y="438"/>
                        <a:pt x="703" y="440"/>
                      </a:cubicBezTo>
                      <a:cubicBezTo>
                        <a:pt x="703" y="442"/>
                        <a:pt x="707" y="442"/>
                        <a:pt x="708" y="444"/>
                      </a:cubicBezTo>
                      <a:cubicBezTo>
                        <a:pt x="709" y="446"/>
                        <a:pt x="716" y="445"/>
                        <a:pt x="718" y="446"/>
                      </a:cubicBezTo>
                      <a:cubicBezTo>
                        <a:pt x="719" y="447"/>
                        <a:pt x="728" y="447"/>
                        <a:pt x="729" y="446"/>
                      </a:cubicBezTo>
                      <a:cubicBezTo>
                        <a:pt x="729" y="445"/>
                        <a:pt x="737" y="445"/>
                        <a:pt x="739" y="444"/>
                      </a:cubicBezTo>
                      <a:cubicBezTo>
                        <a:pt x="741" y="442"/>
                        <a:pt x="745" y="443"/>
                        <a:pt x="745" y="441"/>
                      </a:cubicBezTo>
                      <a:cubicBezTo>
                        <a:pt x="746" y="440"/>
                        <a:pt x="750" y="438"/>
                        <a:pt x="752" y="437"/>
                      </a:cubicBezTo>
                      <a:cubicBezTo>
                        <a:pt x="754" y="436"/>
                        <a:pt x="761" y="436"/>
                        <a:pt x="762" y="437"/>
                      </a:cubicBezTo>
                      <a:cubicBezTo>
                        <a:pt x="762" y="439"/>
                        <a:pt x="767" y="440"/>
                        <a:pt x="769" y="439"/>
                      </a:cubicBezTo>
                      <a:cubicBezTo>
                        <a:pt x="771" y="438"/>
                        <a:pt x="776" y="439"/>
                        <a:pt x="776" y="441"/>
                      </a:cubicBezTo>
                      <a:cubicBezTo>
                        <a:pt x="777" y="442"/>
                        <a:pt x="783" y="443"/>
                        <a:pt x="784" y="443"/>
                      </a:cubicBezTo>
                      <a:cubicBezTo>
                        <a:pt x="786" y="442"/>
                        <a:pt x="790" y="439"/>
                        <a:pt x="792" y="439"/>
                      </a:cubicBezTo>
                      <a:cubicBezTo>
                        <a:pt x="793" y="439"/>
                        <a:pt x="796" y="437"/>
                        <a:pt x="795" y="435"/>
                      </a:cubicBezTo>
                      <a:cubicBezTo>
                        <a:pt x="795" y="434"/>
                        <a:pt x="799" y="429"/>
                        <a:pt x="799" y="427"/>
                      </a:cubicBezTo>
                      <a:cubicBezTo>
                        <a:pt x="800" y="425"/>
                        <a:pt x="803" y="420"/>
                        <a:pt x="804" y="419"/>
                      </a:cubicBezTo>
                      <a:cubicBezTo>
                        <a:pt x="805" y="419"/>
                        <a:pt x="808" y="417"/>
                        <a:pt x="808" y="415"/>
                      </a:cubicBezTo>
                      <a:cubicBezTo>
                        <a:pt x="808" y="414"/>
                        <a:pt x="807" y="410"/>
                        <a:pt x="805" y="410"/>
                      </a:cubicBezTo>
                      <a:cubicBezTo>
                        <a:pt x="804" y="410"/>
                        <a:pt x="801" y="410"/>
                        <a:pt x="805" y="405"/>
                      </a:cubicBezTo>
                      <a:cubicBezTo>
                        <a:pt x="808" y="401"/>
                        <a:pt x="814" y="402"/>
                        <a:pt x="815" y="402"/>
                      </a:cubicBezTo>
                      <a:cubicBezTo>
                        <a:pt x="816" y="402"/>
                        <a:pt x="823" y="400"/>
                        <a:pt x="827" y="401"/>
                      </a:cubicBezTo>
                      <a:cubicBezTo>
                        <a:pt x="830" y="402"/>
                        <a:pt x="832" y="401"/>
                        <a:pt x="836" y="403"/>
                      </a:cubicBezTo>
                      <a:cubicBezTo>
                        <a:pt x="839" y="404"/>
                        <a:pt x="844" y="404"/>
                        <a:pt x="846" y="405"/>
                      </a:cubicBezTo>
                      <a:cubicBezTo>
                        <a:pt x="847" y="407"/>
                        <a:pt x="851" y="408"/>
                        <a:pt x="851" y="411"/>
                      </a:cubicBezTo>
                      <a:cubicBezTo>
                        <a:pt x="850" y="414"/>
                        <a:pt x="853" y="413"/>
                        <a:pt x="855" y="419"/>
                      </a:cubicBezTo>
                      <a:cubicBezTo>
                        <a:pt x="856" y="425"/>
                        <a:pt x="859" y="425"/>
                        <a:pt x="859" y="428"/>
                      </a:cubicBezTo>
                      <a:cubicBezTo>
                        <a:pt x="860" y="431"/>
                        <a:pt x="864" y="436"/>
                        <a:pt x="863" y="438"/>
                      </a:cubicBezTo>
                      <a:cubicBezTo>
                        <a:pt x="863" y="440"/>
                        <a:pt x="862" y="442"/>
                        <a:pt x="866" y="442"/>
                      </a:cubicBezTo>
                      <a:cubicBezTo>
                        <a:pt x="871" y="443"/>
                        <a:pt x="873" y="446"/>
                        <a:pt x="874" y="445"/>
                      </a:cubicBezTo>
                      <a:cubicBezTo>
                        <a:pt x="875" y="445"/>
                        <a:pt x="880" y="447"/>
                        <a:pt x="882" y="449"/>
                      </a:cubicBezTo>
                      <a:cubicBezTo>
                        <a:pt x="885" y="451"/>
                        <a:pt x="888" y="450"/>
                        <a:pt x="888" y="453"/>
                      </a:cubicBezTo>
                      <a:cubicBezTo>
                        <a:pt x="888" y="455"/>
                        <a:pt x="890" y="457"/>
                        <a:pt x="890" y="460"/>
                      </a:cubicBezTo>
                      <a:cubicBezTo>
                        <a:pt x="890" y="462"/>
                        <a:pt x="894" y="463"/>
                        <a:pt x="898" y="463"/>
                      </a:cubicBezTo>
                      <a:cubicBezTo>
                        <a:pt x="901" y="462"/>
                        <a:pt x="903" y="464"/>
                        <a:pt x="905" y="461"/>
                      </a:cubicBezTo>
                      <a:cubicBezTo>
                        <a:pt x="906" y="458"/>
                        <a:pt x="911" y="459"/>
                        <a:pt x="913" y="458"/>
                      </a:cubicBezTo>
                      <a:cubicBezTo>
                        <a:pt x="914" y="457"/>
                        <a:pt x="919" y="456"/>
                        <a:pt x="919" y="460"/>
                      </a:cubicBezTo>
                      <a:cubicBezTo>
                        <a:pt x="919" y="464"/>
                        <a:pt x="922" y="465"/>
                        <a:pt x="919" y="466"/>
                      </a:cubicBezTo>
                      <a:cubicBezTo>
                        <a:pt x="917" y="468"/>
                        <a:pt x="916" y="474"/>
                        <a:pt x="915" y="477"/>
                      </a:cubicBezTo>
                      <a:cubicBezTo>
                        <a:pt x="914" y="479"/>
                        <a:pt x="911" y="480"/>
                        <a:pt x="910" y="483"/>
                      </a:cubicBezTo>
                      <a:cubicBezTo>
                        <a:pt x="910" y="486"/>
                        <a:pt x="906" y="486"/>
                        <a:pt x="906" y="488"/>
                      </a:cubicBezTo>
                      <a:cubicBezTo>
                        <a:pt x="906" y="490"/>
                        <a:pt x="902" y="490"/>
                        <a:pt x="899" y="488"/>
                      </a:cubicBezTo>
                      <a:cubicBezTo>
                        <a:pt x="897" y="486"/>
                        <a:pt x="895" y="491"/>
                        <a:pt x="893" y="491"/>
                      </a:cubicBezTo>
                      <a:cubicBezTo>
                        <a:pt x="891" y="491"/>
                        <a:pt x="891" y="495"/>
                        <a:pt x="891" y="497"/>
                      </a:cubicBezTo>
                      <a:cubicBezTo>
                        <a:pt x="892" y="499"/>
                        <a:pt x="891" y="501"/>
                        <a:pt x="892" y="504"/>
                      </a:cubicBezTo>
                      <a:cubicBezTo>
                        <a:pt x="893" y="505"/>
                        <a:pt x="892" y="508"/>
                        <a:pt x="892" y="511"/>
                      </a:cubicBezTo>
                      <a:cubicBezTo>
                        <a:pt x="895" y="509"/>
                        <a:pt x="898" y="508"/>
                        <a:pt x="899" y="508"/>
                      </a:cubicBezTo>
                      <a:cubicBezTo>
                        <a:pt x="902" y="508"/>
                        <a:pt x="905" y="513"/>
                        <a:pt x="908" y="513"/>
                      </a:cubicBezTo>
                      <a:cubicBezTo>
                        <a:pt x="912" y="513"/>
                        <a:pt x="927" y="503"/>
                        <a:pt x="927" y="501"/>
                      </a:cubicBezTo>
                      <a:cubicBezTo>
                        <a:pt x="927" y="500"/>
                        <a:pt x="936" y="491"/>
                        <a:pt x="940" y="487"/>
                      </a:cubicBezTo>
                      <a:cubicBezTo>
                        <a:pt x="944" y="482"/>
                        <a:pt x="950" y="476"/>
                        <a:pt x="952" y="471"/>
                      </a:cubicBezTo>
                      <a:cubicBezTo>
                        <a:pt x="953" y="468"/>
                        <a:pt x="959" y="462"/>
                        <a:pt x="960" y="459"/>
                      </a:cubicBezTo>
                      <a:cubicBezTo>
                        <a:pt x="962" y="457"/>
                        <a:pt x="963" y="457"/>
                        <a:pt x="965" y="451"/>
                      </a:cubicBezTo>
                      <a:cubicBezTo>
                        <a:pt x="968" y="446"/>
                        <a:pt x="968" y="431"/>
                        <a:pt x="969" y="430"/>
                      </a:cubicBezTo>
                      <a:cubicBezTo>
                        <a:pt x="970" y="429"/>
                        <a:pt x="969" y="427"/>
                        <a:pt x="970" y="425"/>
                      </a:cubicBezTo>
                      <a:cubicBezTo>
                        <a:pt x="972" y="424"/>
                        <a:pt x="971" y="421"/>
                        <a:pt x="973" y="419"/>
                      </a:cubicBezTo>
                      <a:cubicBezTo>
                        <a:pt x="976" y="417"/>
                        <a:pt x="975" y="416"/>
                        <a:pt x="975" y="414"/>
                      </a:cubicBezTo>
                      <a:cubicBezTo>
                        <a:pt x="974" y="413"/>
                        <a:pt x="975" y="409"/>
                        <a:pt x="974" y="408"/>
                      </a:cubicBezTo>
                      <a:cubicBezTo>
                        <a:pt x="974" y="407"/>
                        <a:pt x="974" y="406"/>
                        <a:pt x="975" y="406"/>
                      </a:cubicBezTo>
                      <a:cubicBezTo>
                        <a:pt x="977" y="405"/>
                        <a:pt x="974" y="403"/>
                        <a:pt x="972" y="402"/>
                      </a:cubicBezTo>
                      <a:cubicBezTo>
                        <a:pt x="970" y="401"/>
                        <a:pt x="968" y="400"/>
                        <a:pt x="967" y="398"/>
                      </a:cubicBezTo>
                      <a:cubicBezTo>
                        <a:pt x="967" y="395"/>
                        <a:pt x="964" y="393"/>
                        <a:pt x="961" y="393"/>
                      </a:cubicBezTo>
                      <a:cubicBezTo>
                        <a:pt x="958" y="393"/>
                        <a:pt x="954" y="391"/>
                        <a:pt x="954" y="393"/>
                      </a:cubicBezTo>
                      <a:cubicBezTo>
                        <a:pt x="955" y="395"/>
                        <a:pt x="954" y="396"/>
                        <a:pt x="953" y="396"/>
                      </a:cubicBezTo>
                      <a:cubicBezTo>
                        <a:pt x="951" y="396"/>
                        <a:pt x="951" y="397"/>
                        <a:pt x="949" y="399"/>
                      </a:cubicBezTo>
                      <a:cubicBezTo>
                        <a:pt x="948" y="401"/>
                        <a:pt x="942" y="402"/>
                        <a:pt x="945" y="399"/>
                      </a:cubicBezTo>
                      <a:cubicBezTo>
                        <a:pt x="947" y="397"/>
                        <a:pt x="944" y="397"/>
                        <a:pt x="944" y="395"/>
                      </a:cubicBezTo>
                      <a:cubicBezTo>
                        <a:pt x="945" y="392"/>
                        <a:pt x="947" y="390"/>
                        <a:pt x="944" y="391"/>
                      </a:cubicBezTo>
                      <a:cubicBezTo>
                        <a:pt x="941" y="393"/>
                        <a:pt x="941" y="397"/>
                        <a:pt x="939" y="397"/>
                      </a:cubicBezTo>
                      <a:cubicBezTo>
                        <a:pt x="937" y="398"/>
                        <a:pt x="937" y="391"/>
                        <a:pt x="938" y="389"/>
                      </a:cubicBezTo>
                      <a:cubicBezTo>
                        <a:pt x="939" y="387"/>
                        <a:pt x="934" y="389"/>
                        <a:pt x="929" y="389"/>
                      </a:cubicBezTo>
                      <a:cubicBezTo>
                        <a:pt x="924" y="388"/>
                        <a:pt x="925" y="385"/>
                        <a:pt x="929" y="383"/>
                      </a:cubicBezTo>
                      <a:cubicBezTo>
                        <a:pt x="933" y="381"/>
                        <a:pt x="933" y="379"/>
                        <a:pt x="935" y="378"/>
                      </a:cubicBezTo>
                      <a:cubicBezTo>
                        <a:pt x="937" y="377"/>
                        <a:pt x="942" y="373"/>
                        <a:pt x="945" y="372"/>
                      </a:cubicBezTo>
                      <a:cubicBezTo>
                        <a:pt x="948" y="370"/>
                        <a:pt x="949" y="368"/>
                        <a:pt x="949" y="366"/>
                      </a:cubicBezTo>
                      <a:cubicBezTo>
                        <a:pt x="950" y="364"/>
                        <a:pt x="956" y="361"/>
                        <a:pt x="961" y="357"/>
                      </a:cubicBezTo>
                      <a:cubicBezTo>
                        <a:pt x="966" y="353"/>
                        <a:pt x="968" y="351"/>
                        <a:pt x="970" y="348"/>
                      </a:cubicBezTo>
                      <a:cubicBezTo>
                        <a:pt x="971" y="346"/>
                        <a:pt x="978" y="342"/>
                        <a:pt x="979" y="341"/>
                      </a:cubicBezTo>
                      <a:cubicBezTo>
                        <a:pt x="979" y="339"/>
                        <a:pt x="988" y="334"/>
                        <a:pt x="994" y="333"/>
                      </a:cubicBezTo>
                      <a:cubicBezTo>
                        <a:pt x="1000" y="332"/>
                        <a:pt x="1009" y="333"/>
                        <a:pt x="1011" y="335"/>
                      </a:cubicBezTo>
                      <a:cubicBezTo>
                        <a:pt x="1013" y="337"/>
                        <a:pt x="1014" y="336"/>
                        <a:pt x="1015" y="335"/>
                      </a:cubicBezTo>
                      <a:cubicBezTo>
                        <a:pt x="1016" y="334"/>
                        <a:pt x="1019" y="334"/>
                        <a:pt x="1023" y="335"/>
                      </a:cubicBezTo>
                      <a:cubicBezTo>
                        <a:pt x="1027" y="335"/>
                        <a:pt x="1028" y="333"/>
                        <a:pt x="1031" y="334"/>
                      </a:cubicBezTo>
                      <a:cubicBezTo>
                        <a:pt x="1033" y="334"/>
                        <a:pt x="1036" y="335"/>
                        <a:pt x="1037" y="332"/>
                      </a:cubicBezTo>
                      <a:cubicBezTo>
                        <a:pt x="1039" y="328"/>
                        <a:pt x="1047" y="329"/>
                        <a:pt x="1049" y="330"/>
                      </a:cubicBezTo>
                      <a:cubicBezTo>
                        <a:pt x="1050" y="332"/>
                        <a:pt x="1052" y="333"/>
                        <a:pt x="1055" y="332"/>
                      </a:cubicBezTo>
                      <a:cubicBezTo>
                        <a:pt x="1057" y="330"/>
                        <a:pt x="1057" y="334"/>
                        <a:pt x="1060" y="334"/>
                      </a:cubicBezTo>
                      <a:cubicBezTo>
                        <a:pt x="1063" y="335"/>
                        <a:pt x="1061" y="337"/>
                        <a:pt x="1059" y="337"/>
                      </a:cubicBezTo>
                      <a:cubicBezTo>
                        <a:pt x="1056" y="337"/>
                        <a:pt x="1053" y="338"/>
                        <a:pt x="1056" y="340"/>
                      </a:cubicBezTo>
                      <a:cubicBezTo>
                        <a:pt x="1059" y="341"/>
                        <a:pt x="1062" y="338"/>
                        <a:pt x="1064" y="338"/>
                      </a:cubicBezTo>
                      <a:cubicBezTo>
                        <a:pt x="1066" y="339"/>
                        <a:pt x="1070" y="339"/>
                        <a:pt x="1073" y="337"/>
                      </a:cubicBezTo>
                      <a:cubicBezTo>
                        <a:pt x="1076" y="335"/>
                        <a:pt x="1076" y="339"/>
                        <a:pt x="1078" y="337"/>
                      </a:cubicBezTo>
                      <a:cubicBezTo>
                        <a:pt x="1080" y="335"/>
                        <a:pt x="1085" y="335"/>
                        <a:pt x="1087" y="335"/>
                      </a:cubicBezTo>
                      <a:cubicBezTo>
                        <a:pt x="1089" y="335"/>
                        <a:pt x="1087" y="332"/>
                        <a:pt x="1083" y="332"/>
                      </a:cubicBezTo>
                      <a:cubicBezTo>
                        <a:pt x="1080" y="332"/>
                        <a:pt x="1080" y="330"/>
                        <a:pt x="1083" y="326"/>
                      </a:cubicBezTo>
                      <a:cubicBezTo>
                        <a:pt x="1086" y="321"/>
                        <a:pt x="1091" y="318"/>
                        <a:pt x="1095" y="315"/>
                      </a:cubicBezTo>
                      <a:cubicBezTo>
                        <a:pt x="1098" y="312"/>
                        <a:pt x="1101" y="314"/>
                        <a:pt x="1101" y="312"/>
                      </a:cubicBezTo>
                      <a:cubicBezTo>
                        <a:pt x="1101" y="310"/>
                        <a:pt x="1102" y="304"/>
                        <a:pt x="1105" y="304"/>
                      </a:cubicBezTo>
                      <a:cubicBezTo>
                        <a:pt x="1107" y="304"/>
                        <a:pt x="1114" y="305"/>
                        <a:pt x="1118" y="303"/>
                      </a:cubicBezTo>
                      <a:cubicBezTo>
                        <a:pt x="1122" y="301"/>
                        <a:pt x="1122" y="305"/>
                        <a:pt x="1123" y="305"/>
                      </a:cubicBezTo>
                      <a:cubicBezTo>
                        <a:pt x="1125" y="306"/>
                        <a:pt x="1127" y="302"/>
                        <a:pt x="1129" y="303"/>
                      </a:cubicBezTo>
                      <a:cubicBezTo>
                        <a:pt x="1131" y="304"/>
                        <a:pt x="1126" y="307"/>
                        <a:pt x="1125" y="311"/>
                      </a:cubicBezTo>
                      <a:cubicBezTo>
                        <a:pt x="1124" y="314"/>
                        <a:pt x="1128" y="313"/>
                        <a:pt x="1130" y="314"/>
                      </a:cubicBezTo>
                      <a:cubicBezTo>
                        <a:pt x="1132" y="315"/>
                        <a:pt x="1127" y="316"/>
                        <a:pt x="1128" y="317"/>
                      </a:cubicBezTo>
                      <a:cubicBezTo>
                        <a:pt x="1128" y="318"/>
                        <a:pt x="1132" y="318"/>
                        <a:pt x="1137" y="313"/>
                      </a:cubicBezTo>
                      <a:cubicBezTo>
                        <a:pt x="1143" y="308"/>
                        <a:pt x="1147" y="306"/>
                        <a:pt x="1151" y="306"/>
                      </a:cubicBezTo>
                      <a:cubicBezTo>
                        <a:pt x="1154" y="307"/>
                        <a:pt x="1152" y="303"/>
                        <a:pt x="1152" y="299"/>
                      </a:cubicBezTo>
                      <a:cubicBezTo>
                        <a:pt x="1153" y="294"/>
                        <a:pt x="1163" y="292"/>
                        <a:pt x="1166" y="294"/>
                      </a:cubicBezTo>
                      <a:cubicBezTo>
                        <a:pt x="1170" y="295"/>
                        <a:pt x="1169" y="296"/>
                        <a:pt x="1166" y="296"/>
                      </a:cubicBezTo>
                      <a:cubicBezTo>
                        <a:pt x="1163" y="295"/>
                        <a:pt x="1160" y="298"/>
                        <a:pt x="1160" y="302"/>
                      </a:cubicBezTo>
                      <a:cubicBezTo>
                        <a:pt x="1160" y="306"/>
                        <a:pt x="1157" y="307"/>
                        <a:pt x="1159" y="309"/>
                      </a:cubicBezTo>
                      <a:cubicBezTo>
                        <a:pt x="1160" y="310"/>
                        <a:pt x="1156" y="311"/>
                        <a:pt x="1156" y="312"/>
                      </a:cubicBezTo>
                      <a:cubicBezTo>
                        <a:pt x="1156" y="314"/>
                        <a:pt x="1156" y="315"/>
                        <a:pt x="1154" y="316"/>
                      </a:cubicBezTo>
                      <a:cubicBezTo>
                        <a:pt x="1152" y="317"/>
                        <a:pt x="1144" y="317"/>
                        <a:pt x="1143" y="320"/>
                      </a:cubicBezTo>
                      <a:cubicBezTo>
                        <a:pt x="1143" y="324"/>
                        <a:pt x="1139" y="324"/>
                        <a:pt x="1137" y="328"/>
                      </a:cubicBezTo>
                      <a:cubicBezTo>
                        <a:pt x="1135" y="332"/>
                        <a:pt x="1127" y="334"/>
                        <a:pt x="1122" y="341"/>
                      </a:cubicBezTo>
                      <a:cubicBezTo>
                        <a:pt x="1117" y="349"/>
                        <a:pt x="1109" y="349"/>
                        <a:pt x="1109" y="350"/>
                      </a:cubicBezTo>
                      <a:cubicBezTo>
                        <a:pt x="1109" y="352"/>
                        <a:pt x="1103" y="352"/>
                        <a:pt x="1101" y="352"/>
                      </a:cubicBezTo>
                      <a:cubicBezTo>
                        <a:pt x="1099" y="352"/>
                        <a:pt x="1103" y="357"/>
                        <a:pt x="1099" y="362"/>
                      </a:cubicBezTo>
                      <a:cubicBezTo>
                        <a:pt x="1094" y="367"/>
                        <a:pt x="1091" y="373"/>
                        <a:pt x="1091" y="380"/>
                      </a:cubicBezTo>
                      <a:cubicBezTo>
                        <a:pt x="1091" y="387"/>
                        <a:pt x="1094" y="406"/>
                        <a:pt x="1096" y="410"/>
                      </a:cubicBezTo>
                      <a:cubicBezTo>
                        <a:pt x="1098" y="413"/>
                        <a:pt x="1096" y="422"/>
                        <a:pt x="1098" y="424"/>
                      </a:cubicBezTo>
                      <a:cubicBezTo>
                        <a:pt x="1100" y="425"/>
                        <a:pt x="1099" y="428"/>
                        <a:pt x="1100" y="429"/>
                      </a:cubicBezTo>
                      <a:cubicBezTo>
                        <a:pt x="1101" y="430"/>
                        <a:pt x="1106" y="425"/>
                        <a:pt x="1109" y="422"/>
                      </a:cubicBezTo>
                      <a:cubicBezTo>
                        <a:pt x="1112" y="420"/>
                        <a:pt x="1111" y="419"/>
                        <a:pt x="1113" y="418"/>
                      </a:cubicBezTo>
                      <a:cubicBezTo>
                        <a:pt x="1115" y="416"/>
                        <a:pt x="1114" y="411"/>
                        <a:pt x="1114" y="409"/>
                      </a:cubicBezTo>
                      <a:cubicBezTo>
                        <a:pt x="1115" y="408"/>
                        <a:pt x="1119" y="407"/>
                        <a:pt x="1120" y="406"/>
                      </a:cubicBezTo>
                      <a:cubicBezTo>
                        <a:pt x="1121" y="404"/>
                        <a:pt x="1124" y="405"/>
                        <a:pt x="1126" y="404"/>
                      </a:cubicBezTo>
                      <a:cubicBezTo>
                        <a:pt x="1128" y="404"/>
                        <a:pt x="1126" y="400"/>
                        <a:pt x="1125" y="398"/>
                      </a:cubicBezTo>
                      <a:cubicBezTo>
                        <a:pt x="1125" y="395"/>
                        <a:pt x="1130" y="392"/>
                        <a:pt x="1133" y="390"/>
                      </a:cubicBezTo>
                      <a:cubicBezTo>
                        <a:pt x="1136" y="388"/>
                        <a:pt x="1139" y="392"/>
                        <a:pt x="1143" y="389"/>
                      </a:cubicBezTo>
                      <a:cubicBezTo>
                        <a:pt x="1146" y="386"/>
                        <a:pt x="1142" y="382"/>
                        <a:pt x="1141" y="381"/>
                      </a:cubicBezTo>
                      <a:cubicBezTo>
                        <a:pt x="1140" y="379"/>
                        <a:pt x="1144" y="372"/>
                        <a:pt x="1147" y="371"/>
                      </a:cubicBezTo>
                      <a:cubicBezTo>
                        <a:pt x="1149" y="370"/>
                        <a:pt x="1151" y="373"/>
                        <a:pt x="1153" y="371"/>
                      </a:cubicBezTo>
                      <a:cubicBezTo>
                        <a:pt x="1155" y="368"/>
                        <a:pt x="1151" y="365"/>
                        <a:pt x="1149" y="365"/>
                      </a:cubicBezTo>
                      <a:cubicBezTo>
                        <a:pt x="1148" y="365"/>
                        <a:pt x="1147" y="359"/>
                        <a:pt x="1151" y="356"/>
                      </a:cubicBezTo>
                      <a:cubicBezTo>
                        <a:pt x="1155" y="353"/>
                        <a:pt x="1153" y="353"/>
                        <a:pt x="1151" y="352"/>
                      </a:cubicBezTo>
                      <a:cubicBezTo>
                        <a:pt x="1148" y="351"/>
                        <a:pt x="1148" y="352"/>
                        <a:pt x="1146" y="352"/>
                      </a:cubicBezTo>
                      <a:cubicBezTo>
                        <a:pt x="1144" y="352"/>
                        <a:pt x="1141" y="348"/>
                        <a:pt x="1145" y="344"/>
                      </a:cubicBezTo>
                      <a:cubicBezTo>
                        <a:pt x="1148" y="340"/>
                        <a:pt x="1151" y="340"/>
                        <a:pt x="1151" y="337"/>
                      </a:cubicBezTo>
                      <a:cubicBezTo>
                        <a:pt x="1152" y="333"/>
                        <a:pt x="1156" y="328"/>
                        <a:pt x="1157" y="327"/>
                      </a:cubicBezTo>
                      <a:cubicBezTo>
                        <a:pt x="1158" y="325"/>
                        <a:pt x="1163" y="327"/>
                        <a:pt x="1164" y="326"/>
                      </a:cubicBezTo>
                      <a:cubicBezTo>
                        <a:pt x="1166" y="326"/>
                        <a:pt x="1166" y="330"/>
                        <a:pt x="1168" y="328"/>
                      </a:cubicBezTo>
                      <a:cubicBezTo>
                        <a:pt x="1170" y="326"/>
                        <a:pt x="1173" y="320"/>
                        <a:pt x="1176" y="320"/>
                      </a:cubicBezTo>
                      <a:cubicBezTo>
                        <a:pt x="1178" y="320"/>
                        <a:pt x="1177" y="324"/>
                        <a:pt x="1177" y="327"/>
                      </a:cubicBezTo>
                      <a:cubicBezTo>
                        <a:pt x="1178" y="330"/>
                        <a:pt x="1180" y="326"/>
                        <a:pt x="1185" y="323"/>
                      </a:cubicBezTo>
                      <a:cubicBezTo>
                        <a:pt x="1190" y="319"/>
                        <a:pt x="1201" y="320"/>
                        <a:pt x="1205" y="321"/>
                      </a:cubicBezTo>
                      <a:cubicBezTo>
                        <a:pt x="1208" y="323"/>
                        <a:pt x="1209" y="327"/>
                        <a:pt x="1211" y="326"/>
                      </a:cubicBezTo>
                      <a:cubicBezTo>
                        <a:pt x="1214" y="326"/>
                        <a:pt x="1211" y="322"/>
                        <a:pt x="1214" y="322"/>
                      </a:cubicBezTo>
                      <a:cubicBezTo>
                        <a:pt x="1217" y="321"/>
                        <a:pt x="1222" y="318"/>
                        <a:pt x="1226" y="315"/>
                      </a:cubicBezTo>
                      <a:cubicBezTo>
                        <a:pt x="1230" y="312"/>
                        <a:pt x="1229" y="314"/>
                        <a:pt x="1231" y="312"/>
                      </a:cubicBezTo>
                      <a:cubicBezTo>
                        <a:pt x="1233" y="309"/>
                        <a:pt x="1235" y="310"/>
                        <a:pt x="1235" y="309"/>
                      </a:cubicBezTo>
                      <a:cubicBezTo>
                        <a:pt x="1236" y="307"/>
                        <a:pt x="1241" y="304"/>
                        <a:pt x="1249" y="303"/>
                      </a:cubicBezTo>
                      <a:cubicBezTo>
                        <a:pt x="1256" y="301"/>
                        <a:pt x="1266" y="296"/>
                        <a:pt x="1265" y="294"/>
                      </a:cubicBezTo>
                      <a:cubicBezTo>
                        <a:pt x="1265" y="293"/>
                        <a:pt x="1268" y="292"/>
                        <a:pt x="1269" y="294"/>
                      </a:cubicBezTo>
                      <a:cubicBezTo>
                        <a:pt x="1269" y="295"/>
                        <a:pt x="1272" y="295"/>
                        <a:pt x="1276" y="296"/>
                      </a:cubicBezTo>
                      <a:cubicBezTo>
                        <a:pt x="1280" y="296"/>
                        <a:pt x="1282" y="298"/>
                        <a:pt x="1285" y="295"/>
                      </a:cubicBezTo>
                      <a:cubicBezTo>
                        <a:pt x="1288" y="292"/>
                        <a:pt x="1284" y="291"/>
                        <a:pt x="1284" y="288"/>
                      </a:cubicBezTo>
                      <a:cubicBezTo>
                        <a:pt x="1285" y="286"/>
                        <a:pt x="1279" y="283"/>
                        <a:pt x="1280" y="281"/>
                      </a:cubicBezTo>
                      <a:cubicBezTo>
                        <a:pt x="1280" y="278"/>
                        <a:pt x="1276" y="272"/>
                        <a:pt x="1274" y="273"/>
                      </a:cubicBezTo>
                      <a:cubicBezTo>
                        <a:pt x="1273" y="274"/>
                        <a:pt x="1270" y="272"/>
                        <a:pt x="1270" y="270"/>
                      </a:cubicBezTo>
                      <a:cubicBezTo>
                        <a:pt x="1270" y="268"/>
                        <a:pt x="1269" y="266"/>
                        <a:pt x="1267" y="267"/>
                      </a:cubicBezTo>
                      <a:cubicBezTo>
                        <a:pt x="1265" y="269"/>
                        <a:pt x="1261" y="268"/>
                        <a:pt x="1260" y="266"/>
                      </a:cubicBezTo>
                      <a:cubicBezTo>
                        <a:pt x="1260" y="264"/>
                        <a:pt x="1265" y="262"/>
                        <a:pt x="1268" y="264"/>
                      </a:cubicBezTo>
                      <a:cubicBezTo>
                        <a:pt x="1272" y="265"/>
                        <a:pt x="1271" y="267"/>
                        <a:pt x="1273" y="268"/>
                      </a:cubicBezTo>
                      <a:cubicBezTo>
                        <a:pt x="1274" y="269"/>
                        <a:pt x="1279" y="268"/>
                        <a:pt x="1282" y="267"/>
                      </a:cubicBezTo>
                      <a:cubicBezTo>
                        <a:pt x="1284" y="266"/>
                        <a:pt x="1291" y="264"/>
                        <a:pt x="1292" y="262"/>
                      </a:cubicBezTo>
                      <a:cubicBezTo>
                        <a:pt x="1294" y="259"/>
                        <a:pt x="1292" y="259"/>
                        <a:pt x="1295" y="257"/>
                      </a:cubicBezTo>
                      <a:cubicBezTo>
                        <a:pt x="1297" y="256"/>
                        <a:pt x="1295" y="254"/>
                        <a:pt x="1293" y="253"/>
                      </a:cubicBezTo>
                      <a:cubicBezTo>
                        <a:pt x="1291" y="252"/>
                        <a:pt x="1292" y="249"/>
                        <a:pt x="1294" y="249"/>
                      </a:cubicBezTo>
                      <a:cubicBezTo>
                        <a:pt x="1296" y="249"/>
                        <a:pt x="1295" y="246"/>
                        <a:pt x="1297" y="246"/>
                      </a:cubicBezTo>
                      <a:cubicBezTo>
                        <a:pt x="1298" y="246"/>
                        <a:pt x="1298" y="247"/>
                        <a:pt x="1301" y="246"/>
                      </a:cubicBezTo>
                      <a:cubicBezTo>
                        <a:pt x="1304" y="245"/>
                        <a:pt x="1301" y="248"/>
                        <a:pt x="1300" y="250"/>
                      </a:cubicBezTo>
                      <a:cubicBezTo>
                        <a:pt x="1299" y="252"/>
                        <a:pt x="1302" y="254"/>
                        <a:pt x="1303" y="256"/>
                      </a:cubicBezTo>
                      <a:cubicBezTo>
                        <a:pt x="1303" y="257"/>
                        <a:pt x="1308" y="257"/>
                        <a:pt x="1311" y="256"/>
                      </a:cubicBezTo>
                      <a:cubicBezTo>
                        <a:pt x="1314" y="254"/>
                        <a:pt x="1323" y="258"/>
                        <a:pt x="1324" y="260"/>
                      </a:cubicBezTo>
                      <a:cubicBezTo>
                        <a:pt x="1324" y="262"/>
                        <a:pt x="1326" y="265"/>
                        <a:pt x="1329" y="267"/>
                      </a:cubicBezTo>
                      <a:cubicBezTo>
                        <a:pt x="1333" y="269"/>
                        <a:pt x="1337" y="268"/>
                        <a:pt x="1337" y="270"/>
                      </a:cubicBezTo>
                      <a:cubicBezTo>
                        <a:pt x="1338" y="272"/>
                        <a:pt x="1340" y="272"/>
                        <a:pt x="1342" y="272"/>
                      </a:cubicBezTo>
                      <a:cubicBezTo>
                        <a:pt x="1344" y="272"/>
                        <a:pt x="1345" y="274"/>
                        <a:pt x="1347" y="272"/>
                      </a:cubicBezTo>
                      <a:cubicBezTo>
                        <a:pt x="1348" y="271"/>
                        <a:pt x="1349" y="273"/>
                        <a:pt x="1351" y="272"/>
                      </a:cubicBezTo>
                      <a:cubicBezTo>
                        <a:pt x="1353" y="270"/>
                        <a:pt x="1347" y="269"/>
                        <a:pt x="1347" y="267"/>
                      </a:cubicBezTo>
                      <a:cubicBezTo>
                        <a:pt x="1348" y="266"/>
                        <a:pt x="1350" y="268"/>
                        <a:pt x="1351" y="268"/>
                      </a:cubicBezTo>
                      <a:cubicBezTo>
                        <a:pt x="1353" y="268"/>
                        <a:pt x="1351" y="264"/>
                        <a:pt x="1352" y="264"/>
                      </a:cubicBezTo>
                      <a:cubicBezTo>
                        <a:pt x="1353" y="264"/>
                        <a:pt x="1352" y="257"/>
                        <a:pt x="1351" y="256"/>
                      </a:cubicBezTo>
                      <a:cubicBezTo>
                        <a:pt x="1350" y="256"/>
                        <a:pt x="1351" y="253"/>
                        <a:pt x="1353" y="255"/>
                      </a:cubicBezTo>
                      <a:cubicBezTo>
                        <a:pt x="1356" y="257"/>
                        <a:pt x="1360" y="257"/>
                        <a:pt x="1363" y="257"/>
                      </a:cubicBezTo>
                      <a:cubicBezTo>
                        <a:pt x="1365" y="257"/>
                        <a:pt x="1363" y="255"/>
                        <a:pt x="1361" y="255"/>
                      </a:cubicBezTo>
                      <a:cubicBezTo>
                        <a:pt x="1359" y="255"/>
                        <a:pt x="1361" y="253"/>
                        <a:pt x="1362" y="254"/>
                      </a:cubicBezTo>
                      <a:cubicBezTo>
                        <a:pt x="1364" y="255"/>
                        <a:pt x="1367" y="256"/>
                        <a:pt x="1367" y="255"/>
                      </a:cubicBezTo>
                      <a:cubicBezTo>
                        <a:pt x="1367" y="253"/>
                        <a:pt x="1368" y="250"/>
                        <a:pt x="1371" y="250"/>
                      </a:cubicBezTo>
                      <a:cubicBezTo>
                        <a:pt x="1373" y="250"/>
                        <a:pt x="1374" y="249"/>
                        <a:pt x="1372" y="248"/>
                      </a:cubicBezTo>
                      <a:close/>
                      <a:moveTo>
                        <a:pt x="709" y="404"/>
                      </a:moveTo>
                      <a:cubicBezTo>
                        <a:pt x="702" y="410"/>
                        <a:pt x="688" y="412"/>
                        <a:pt x="688" y="417"/>
                      </a:cubicBezTo>
                      <a:cubicBezTo>
                        <a:pt x="688" y="422"/>
                        <a:pt x="672" y="424"/>
                        <a:pt x="671" y="422"/>
                      </a:cubicBezTo>
                      <a:cubicBezTo>
                        <a:pt x="669" y="420"/>
                        <a:pt x="683" y="419"/>
                        <a:pt x="686" y="412"/>
                      </a:cubicBezTo>
                      <a:cubicBezTo>
                        <a:pt x="689" y="405"/>
                        <a:pt x="701" y="401"/>
                        <a:pt x="707" y="392"/>
                      </a:cubicBezTo>
                      <a:cubicBezTo>
                        <a:pt x="712" y="385"/>
                        <a:pt x="715" y="375"/>
                        <a:pt x="718" y="376"/>
                      </a:cubicBezTo>
                      <a:cubicBezTo>
                        <a:pt x="720" y="376"/>
                        <a:pt x="716" y="398"/>
                        <a:pt x="709" y="404"/>
                      </a:cubicBezTo>
                      <a:close/>
                      <a:moveTo>
                        <a:pt x="739" y="125"/>
                      </a:moveTo>
                      <a:cubicBezTo>
                        <a:pt x="738" y="127"/>
                        <a:pt x="733" y="127"/>
                        <a:pt x="734" y="129"/>
                      </a:cubicBezTo>
                      <a:cubicBezTo>
                        <a:pt x="737" y="132"/>
                        <a:pt x="749" y="130"/>
                        <a:pt x="749" y="126"/>
                      </a:cubicBezTo>
                      <a:cubicBezTo>
                        <a:pt x="749" y="122"/>
                        <a:pt x="740" y="123"/>
                        <a:pt x="739" y="125"/>
                      </a:cubicBezTo>
                      <a:close/>
                      <a:moveTo>
                        <a:pt x="306" y="7"/>
                      </a:moveTo>
                      <a:cubicBezTo>
                        <a:pt x="312" y="7"/>
                        <a:pt x="310" y="4"/>
                        <a:pt x="314" y="4"/>
                      </a:cubicBezTo>
                      <a:cubicBezTo>
                        <a:pt x="318" y="5"/>
                        <a:pt x="323" y="4"/>
                        <a:pt x="321" y="2"/>
                      </a:cubicBezTo>
                      <a:cubicBezTo>
                        <a:pt x="319" y="0"/>
                        <a:pt x="305" y="1"/>
                        <a:pt x="306" y="3"/>
                      </a:cubicBezTo>
                      <a:cubicBezTo>
                        <a:pt x="308" y="4"/>
                        <a:pt x="295" y="4"/>
                        <a:pt x="296" y="4"/>
                      </a:cubicBezTo>
                      <a:cubicBezTo>
                        <a:pt x="296" y="6"/>
                        <a:pt x="300" y="7"/>
                        <a:pt x="306" y="7"/>
                      </a:cubicBezTo>
                      <a:close/>
                      <a:moveTo>
                        <a:pt x="277" y="23"/>
                      </a:moveTo>
                      <a:cubicBezTo>
                        <a:pt x="277" y="19"/>
                        <a:pt x="264" y="24"/>
                        <a:pt x="267" y="24"/>
                      </a:cubicBezTo>
                      <a:cubicBezTo>
                        <a:pt x="269" y="25"/>
                        <a:pt x="277" y="27"/>
                        <a:pt x="277" y="23"/>
                      </a:cubicBezTo>
                      <a:close/>
                      <a:moveTo>
                        <a:pt x="307" y="20"/>
                      </a:moveTo>
                      <a:cubicBezTo>
                        <a:pt x="308" y="22"/>
                        <a:pt x="306" y="22"/>
                        <a:pt x="301" y="22"/>
                      </a:cubicBezTo>
                      <a:cubicBezTo>
                        <a:pt x="296" y="22"/>
                        <a:pt x="294" y="25"/>
                        <a:pt x="296" y="27"/>
                      </a:cubicBezTo>
                      <a:cubicBezTo>
                        <a:pt x="299" y="29"/>
                        <a:pt x="312" y="28"/>
                        <a:pt x="314" y="26"/>
                      </a:cubicBezTo>
                      <a:cubicBezTo>
                        <a:pt x="316" y="23"/>
                        <a:pt x="322" y="25"/>
                        <a:pt x="323" y="22"/>
                      </a:cubicBezTo>
                      <a:cubicBezTo>
                        <a:pt x="324" y="19"/>
                        <a:pt x="306" y="18"/>
                        <a:pt x="307" y="20"/>
                      </a:cubicBezTo>
                      <a:close/>
                      <a:moveTo>
                        <a:pt x="348" y="16"/>
                      </a:moveTo>
                      <a:cubicBezTo>
                        <a:pt x="350" y="13"/>
                        <a:pt x="345" y="13"/>
                        <a:pt x="344" y="11"/>
                      </a:cubicBezTo>
                      <a:cubicBezTo>
                        <a:pt x="344" y="9"/>
                        <a:pt x="330" y="9"/>
                        <a:pt x="331" y="11"/>
                      </a:cubicBezTo>
                      <a:cubicBezTo>
                        <a:pt x="332" y="13"/>
                        <a:pt x="322" y="16"/>
                        <a:pt x="325" y="18"/>
                      </a:cubicBezTo>
                      <a:cubicBezTo>
                        <a:pt x="331" y="23"/>
                        <a:pt x="346" y="18"/>
                        <a:pt x="348" y="16"/>
                      </a:cubicBezTo>
                      <a:close/>
                      <a:moveTo>
                        <a:pt x="310" y="12"/>
                      </a:moveTo>
                      <a:cubicBezTo>
                        <a:pt x="311" y="7"/>
                        <a:pt x="302" y="11"/>
                        <a:pt x="296" y="8"/>
                      </a:cubicBezTo>
                      <a:cubicBezTo>
                        <a:pt x="290" y="6"/>
                        <a:pt x="286" y="6"/>
                        <a:pt x="291" y="9"/>
                      </a:cubicBezTo>
                      <a:cubicBezTo>
                        <a:pt x="292" y="11"/>
                        <a:pt x="280" y="12"/>
                        <a:pt x="282" y="14"/>
                      </a:cubicBezTo>
                      <a:cubicBezTo>
                        <a:pt x="286" y="19"/>
                        <a:pt x="309" y="17"/>
                        <a:pt x="310" y="12"/>
                      </a:cubicBezTo>
                      <a:close/>
                      <a:moveTo>
                        <a:pt x="275" y="144"/>
                      </a:moveTo>
                      <a:cubicBezTo>
                        <a:pt x="275" y="146"/>
                        <a:pt x="273" y="148"/>
                        <a:pt x="269" y="148"/>
                      </a:cubicBezTo>
                      <a:cubicBezTo>
                        <a:pt x="264" y="148"/>
                        <a:pt x="271" y="151"/>
                        <a:pt x="272" y="153"/>
                      </a:cubicBezTo>
                      <a:cubicBezTo>
                        <a:pt x="272" y="156"/>
                        <a:pt x="267" y="154"/>
                        <a:pt x="267" y="158"/>
                      </a:cubicBezTo>
                      <a:cubicBezTo>
                        <a:pt x="267" y="162"/>
                        <a:pt x="258" y="158"/>
                        <a:pt x="257" y="163"/>
                      </a:cubicBezTo>
                      <a:cubicBezTo>
                        <a:pt x="256" y="169"/>
                        <a:pt x="261" y="168"/>
                        <a:pt x="265" y="168"/>
                      </a:cubicBezTo>
                      <a:cubicBezTo>
                        <a:pt x="269" y="168"/>
                        <a:pt x="263" y="172"/>
                        <a:pt x="266" y="174"/>
                      </a:cubicBezTo>
                      <a:cubicBezTo>
                        <a:pt x="269" y="176"/>
                        <a:pt x="271" y="175"/>
                        <a:pt x="269" y="171"/>
                      </a:cubicBezTo>
                      <a:cubicBezTo>
                        <a:pt x="267" y="167"/>
                        <a:pt x="279" y="173"/>
                        <a:pt x="276" y="176"/>
                      </a:cubicBezTo>
                      <a:cubicBezTo>
                        <a:pt x="272" y="179"/>
                        <a:pt x="281" y="181"/>
                        <a:pt x="286" y="182"/>
                      </a:cubicBezTo>
                      <a:cubicBezTo>
                        <a:pt x="291" y="182"/>
                        <a:pt x="307" y="185"/>
                        <a:pt x="307" y="182"/>
                      </a:cubicBezTo>
                      <a:cubicBezTo>
                        <a:pt x="307" y="179"/>
                        <a:pt x="301" y="177"/>
                        <a:pt x="296" y="172"/>
                      </a:cubicBezTo>
                      <a:cubicBezTo>
                        <a:pt x="291" y="167"/>
                        <a:pt x="287" y="158"/>
                        <a:pt x="293" y="155"/>
                      </a:cubicBezTo>
                      <a:cubicBezTo>
                        <a:pt x="299" y="151"/>
                        <a:pt x="294" y="149"/>
                        <a:pt x="300" y="145"/>
                      </a:cubicBezTo>
                      <a:cubicBezTo>
                        <a:pt x="305" y="141"/>
                        <a:pt x="302" y="137"/>
                        <a:pt x="307" y="137"/>
                      </a:cubicBezTo>
                      <a:cubicBezTo>
                        <a:pt x="311" y="136"/>
                        <a:pt x="306" y="132"/>
                        <a:pt x="311" y="131"/>
                      </a:cubicBezTo>
                      <a:cubicBezTo>
                        <a:pt x="316" y="131"/>
                        <a:pt x="317" y="125"/>
                        <a:pt x="316" y="124"/>
                      </a:cubicBezTo>
                      <a:cubicBezTo>
                        <a:pt x="315" y="122"/>
                        <a:pt x="321" y="124"/>
                        <a:pt x="324" y="121"/>
                      </a:cubicBezTo>
                      <a:cubicBezTo>
                        <a:pt x="326" y="118"/>
                        <a:pt x="332" y="120"/>
                        <a:pt x="334" y="116"/>
                      </a:cubicBezTo>
                      <a:cubicBezTo>
                        <a:pt x="336" y="112"/>
                        <a:pt x="364" y="103"/>
                        <a:pt x="379" y="99"/>
                      </a:cubicBezTo>
                      <a:cubicBezTo>
                        <a:pt x="394" y="96"/>
                        <a:pt x="405" y="89"/>
                        <a:pt x="400" y="85"/>
                      </a:cubicBezTo>
                      <a:cubicBezTo>
                        <a:pt x="394" y="81"/>
                        <a:pt x="379" y="86"/>
                        <a:pt x="375" y="90"/>
                      </a:cubicBezTo>
                      <a:cubicBezTo>
                        <a:pt x="371" y="93"/>
                        <a:pt x="366" y="91"/>
                        <a:pt x="362" y="93"/>
                      </a:cubicBezTo>
                      <a:cubicBezTo>
                        <a:pt x="358" y="95"/>
                        <a:pt x="350" y="97"/>
                        <a:pt x="346" y="94"/>
                      </a:cubicBezTo>
                      <a:cubicBezTo>
                        <a:pt x="342" y="91"/>
                        <a:pt x="337" y="97"/>
                        <a:pt x="334" y="97"/>
                      </a:cubicBezTo>
                      <a:cubicBezTo>
                        <a:pt x="331" y="97"/>
                        <a:pt x="327" y="100"/>
                        <a:pt x="324" y="100"/>
                      </a:cubicBezTo>
                      <a:cubicBezTo>
                        <a:pt x="321" y="100"/>
                        <a:pt x="314" y="102"/>
                        <a:pt x="314" y="104"/>
                      </a:cubicBezTo>
                      <a:cubicBezTo>
                        <a:pt x="313" y="106"/>
                        <a:pt x="307" y="106"/>
                        <a:pt x="307" y="108"/>
                      </a:cubicBezTo>
                      <a:cubicBezTo>
                        <a:pt x="307" y="111"/>
                        <a:pt x="303" y="113"/>
                        <a:pt x="301" y="111"/>
                      </a:cubicBezTo>
                      <a:cubicBezTo>
                        <a:pt x="298" y="108"/>
                        <a:pt x="295" y="113"/>
                        <a:pt x="299" y="116"/>
                      </a:cubicBezTo>
                      <a:cubicBezTo>
                        <a:pt x="302" y="119"/>
                        <a:pt x="292" y="119"/>
                        <a:pt x="294" y="121"/>
                      </a:cubicBezTo>
                      <a:cubicBezTo>
                        <a:pt x="296" y="123"/>
                        <a:pt x="291" y="124"/>
                        <a:pt x="292" y="126"/>
                      </a:cubicBezTo>
                      <a:cubicBezTo>
                        <a:pt x="293" y="129"/>
                        <a:pt x="288" y="129"/>
                        <a:pt x="285" y="130"/>
                      </a:cubicBezTo>
                      <a:cubicBezTo>
                        <a:pt x="281" y="131"/>
                        <a:pt x="279" y="135"/>
                        <a:pt x="284" y="136"/>
                      </a:cubicBezTo>
                      <a:cubicBezTo>
                        <a:pt x="288" y="136"/>
                        <a:pt x="281" y="137"/>
                        <a:pt x="282" y="140"/>
                      </a:cubicBezTo>
                      <a:cubicBezTo>
                        <a:pt x="282" y="144"/>
                        <a:pt x="274" y="141"/>
                        <a:pt x="275" y="14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5" name="Freeform 148">
                  <a:extLst>
                    <a:ext uri="{FF2B5EF4-FFF2-40B4-BE49-F238E27FC236}">
                      <a16:creationId xmlns:a16="http://schemas.microsoft.com/office/drawing/2014/main" id="{A5294AA4-7440-4613-9659-8E1D7863A7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062730" y="-13929304"/>
                  <a:ext cx="8490724" cy="3252941"/>
                </a:xfrm>
                <a:custGeom>
                  <a:avLst/>
                  <a:gdLst>
                    <a:gd name="T0" fmla="*/ 361 w 1374"/>
                    <a:gd name="T1" fmla="*/ 10 h 527"/>
                    <a:gd name="T2" fmla="*/ 611 w 1374"/>
                    <a:gd name="T3" fmla="*/ 5 h 527"/>
                    <a:gd name="T4" fmla="*/ 481 w 1374"/>
                    <a:gd name="T5" fmla="*/ 150 h 527"/>
                    <a:gd name="T6" fmla="*/ 663 w 1374"/>
                    <a:gd name="T7" fmla="*/ 49 h 527"/>
                    <a:gd name="T8" fmla="*/ 1003 w 1374"/>
                    <a:gd name="T9" fmla="*/ 110 h 527"/>
                    <a:gd name="T10" fmla="*/ 1054 w 1374"/>
                    <a:gd name="T11" fmla="*/ 117 h 527"/>
                    <a:gd name="T12" fmla="*/ 982 w 1374"/>
                    <a:gd name="T13" fmla="*/ 426 h 527"/>
                    <a:gd name="T14" fmla="*/ 244 w 1374"/>
                    <a:gd name="T15" fmla="*/ 22 h 527"/>
                    <a:gd name="T16" fmla="*/ 1332 w 1374"/>
                    <a:gd name="T17" fmla="*/ 242 h 527"/>
                    <a:gd name="T18" fmla="*/ 1194 w 1374"/>
                    <a:gd name="T19" fmla="*/ 202 h 527"/>
                    <a:gd name="T20" fmla="*/ 1063 w 1374"/>
                    <a:gd name="T21" fmla="*/ 177 h 527"/>
                    <a:gd name="T22" fmla="*/ 974 w 1374"/>
                    <a:gd name="T23" fmla="*/ 150 h 527"/>
                    <a:gd name="T24" fmla="*/ 903 w 1374"/>
                    <a:gd name="T25" fmla="*/ 167 h 527"/>
                    <a:gd name="T26" fmla="*/ 845 w 1374"/>
                    <a:gd name="T27" fmla="*/ 138 h 527"/>
                    <a:gd name="T28" fmla="*/ 748 w 1374"/>
                    <a:gd name="T29" fmla="*/ 136 h 527"/>
                    <a:gd name="T30" fmla="*/ 738 w 1374"/>
                    <a:gd name="T31" fmla="*/ 118 h 527"/>
                    <a:gd name="T32" fmla="*/ 699 w 1374"/>
                    <a:gd name="T33" fmla="*/ 83 h 527"/>
                    <a:gd name="T34" fmla="*/ 631 w 1374"/>
                    <a:gd name="T35" fmla="*/ 96 h 527"/>
                    <a:gd name="T36" fmla="*/ 547 w 1374"/>
                    <a:gd name="T37" fmla="*/ 114 h 527"/>
                    <a:gd name="T38" fmla="*/ 519 w 1374"/>
                    <a:gd name="T39" fmla="*/ 137 h 527"/>
                    <a:gd name="T40" fmla="*/ 479 w 1374"/>
                    <a:gd name="T41" fmla="*/ 177 h 527"/>
                    <a:gd name="T42" fmla="*/ 456 w 1374"/>
                    <a:gd name="T43" fmla="*/ 204 h 527"/>
                    <a:gd name="T44" fmla="*/ 422 w 1374"/>
                    <a:gd name="T45" fmla="*/ 243 h 527"/>
                    <a:gd name="T46" fmla="*/ 438 w 1374"/>
                    <a:gd name="T47" fmla="*/ 213 h 527"/>
                    <a:gd name="T48" fmla="*/ 387 w 1374"/>
                    <a:gd name="T49" fmla="*/ 187 h 527"/>
                    <a:gd name="T50" fmla="*/ 326 w 1374"/>
                    <a:gd name="T51" fmla="*/ 196 h 527"/>
                    <a:gd name="T52" fmla="*/ 269 w 1374"/>
                    <a:gd name="T53" fmla="*/ 210 h 527"/>
                    <a:gd name="T54" fmla="*/ 196 w 1374"/>
                    <a:gd name="T55" fmla="*/ 214 h 527"/>
                    <a:gd name="T56" fmla="*/ 150 w 1374"/>
                    <a:gd name="T57" fmla="*/ 262 h 527"/>
                    <a:gd name="T58" fmla="*/ 103 w 1374"/>
                    <a:gd name="T59" fmla="*/ 233 h 527"/>
                    <a:gd name="T60" fmla="*/ 107 w 1374"/>
                    <a:gd name="T61" fmla="*/ 200 h 527"/>
                    <a:gd name="T62" fmla="*/ 79 w 1374"/>
                    <a:gd name="T63" fmla="*/ 230 h 527"/>
                    <a:gd name="T64" fmla="*/ 70 w 1374"/>
                    <a:gd name="T65" fmla="*/ 315 h 527"/>
                    <a:gd name="T66" fmla="*/ 74 w 1374"/>
                    <a:gd name="T67" fmla="*/ 370 h 527"/>
                    <a:gd name="T68" fmla="*/ 115 w 1374"/>
                    <a:gd name="T69" fmla="*/ 412 h 527"/>
                    <a:gd name="T70" fmla="*/ 161 w 1374"/>
                    <a:gd name="T71" fmla="*/ 450 h 527"/>
                    <a:gd name="T72" fmla="*/ 165 w 1374"/>
                    <a:gd name="T73" fmla="*/ 503 h 527"/>
                    <a:gd name="T74" fmla="*/ 238 w 1374"/>
                    <a:gd name="T75" fmla="*/ 476 h 527"/>
                    <a:gd name="T76" fmla="*/ 237 w 1374"/>
                    <a:gd name="T77" fmla="*/ 430 h 527"/>
                    <a:gd name="T78" fmla="*/ 325 w 1374"/>
                    <a:gd name="T79" fmla="*/ 432 h 527"/>
                    <a:gd name="T80" fmla="*/ 374 w 1374"/>
                    <a:gd name="T81" fmla="*/ 388 h 527"/>
                    <a:gd name="T82" fmla="*/ 451 w 1374"/>
                    <a:gd name="T83" fmla="*/ 395 h 527"/>
                    <a:gd name="T84" fmla="*/ 541 w 1374"/>
                    <a:gd name="T85" fmla="*/ 442 h 527"/>
                    <a:gd name="T86" fmla="*/ 625 w 1374"/>
                    <a:gd name="T87" fmla="*/ 432 h 527"/>
                    <a:gd name="T88" fmla="*/ 697 w 1374"/>
                    <a:gd name="T89" fmla="*/ 437 h 527"/>
                    <a:gd name="T90" fmla="*/ 804 w 1374"/>
                    <a:gd name="T91" fmla="*/ 419 h 527"/>
                    <a:gd name="T92" fmla="*/ 888 w 1374"/>
                    <a:gd name="T93" fmla="*/ 453 h 527"/>
                    <a:gd name="T94" fmla="*/ 899 w 1374"/>
                    <a:gd name="T95" fmla="*/ 508 h 527"/>
                    <a:gd name="T96" fmla="*/ 961 w 1374"/>
                    <a:gd name="T97" fmla="*/ 393 h 527"/>
                    <a:gd name="T98" fmla="*/ 970 w 1374"/>
                    <a:gd name="T99" fmla="*/ 348 h 527"/>
                    <a:gd name="T100" fmla="*/ 1078 w 1374"/>
                    <a:gd name="T101" fmla="*/ 337 h 527"/>
                    <a:gd name="T102" fmla="*/ 1152 w 1374"/>
                    <a:gd name="T103" fmla="*/ 299 h 527"/>
                    <a:gd name="T104" fmla="*/ 1098 w 1374"/>
                    <a:gd name="T105" fmla="*/ 424 h 527"/>
                    <a:gd name="T106" fmla="*/ 1151 w 1374"/>
                    <a:gd name="T107" fmla="*/ 352 h 527"/>
                    <a:gd name="T108" fmla="*/ 1235 w 1374"/>
                    <a:gd name="T109" fmla="*/ 309 h 527"/>
                    <a:gd name="T110" fmla="*/ 1292 w 1374"/>
                    <a:gd name="T111" fmla="*/ 262 h 527"/>
                    <a:gd name="T112" fmla="*/ 1347 w 1374"/>
                    <a:gd name="T113" fmla="*/ 267 h 527"/>
                    <a:gd name="T114" fmla="*/ 707 w 1374"/>
                    <a:gd name="T115" fmla="*/ 392 h 527"/>
                    <a:gd name="T116" fmla="*/ 277 w 1374"/>
                    <a:gd name="T117" fmla="*/ 23 h 527"/>
                    <a:gd name="T118" fmla="*/ 282 w 1374"/>
                    <a:gd name="T119" fmla="*/ 14 h 527"/>
                    <a:gd name="T120" fmla="*/ 300 w 1374"/>
                    <a:gd name="T121" fmla="*/ 145 h 527"/>
                    <a:gd name="T122" fmla="*/ 301 w 1374"/>
                    <a:gd name="T123" fmla="*/ 111 h 5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374" h="527">
                      <a:moveTo>
                        <a:pt x="21" y="381"/>
                      </a:moveTo>
                      <a:cubicBezTo>
                        <a:pt x="20" y="381"/>
                        <a:pt x="17" y="380"/>
                        <a:pt x="16" y="379"/>
                      </a:cubicBezTo>
                      <a:cubicBezTo>
                        <a:pt x="16" y="378"/>
                        <a:pt x="13" y="378"/>
                        <a:pt x="11" y="378"/>
                      </a:cubicBezTo>
                      <a:cubicBezTo>
                        <a:pt x="12" y="379"/>
                        <a:pt x="12" y="379"/>
                        <a:pt x="13" y="380"/>
                      </a:cubicBezTo>
                      <a:cubicBezTo>
                        <a:pt x="14" y="382"/>
                        <a:pt x="8" y="382"/>
                        <a:pt x="10" y="384"/>
                      </a:cubicBezTo>
                      <a:cubicBezTo>
                        <a:pt x="12" y="386"/>
                        <a:pt x="6" y="386"/>
                        <a:pt x="6" y="384"/>
                      </a:cubicBezTo>
                      <a:cubicBezTo>
                        <a:pt x="6" y="382"/>
                        <a:pt x="1" y="383"/>
                        <a:pt x="1" y="384"/>
                      </a:cubicBezTo>
                      <a:cubicBezTo>
                        <a:pt x="1" y="385"/>
                        <a:pt x="1" y="386"/>
                        <a:pt x="0" y="386"/>
                      </a:cubicBezTo>
                      <a:cubicBezTo>
                        <a:pt x="2" y="387"/>
                        <a:pt x="4" y="388"/>
                        <a:pt x="4" y="388"/>
                      </a:cubicBezTo>
                      <a:cubicBezTo>
                        <a:pt x="5" y="388"/>
                        <a:pt x="20" y="390"/>
                        <a:pt x="25" y="389"/>
                      </a:cubicBezTo>
                      <a:cubicBezTo>
                        <a:pt x="25" y="388"/>
                        <a:pt x="26" y="385"/>
                        <a:pt x="26" y="383"/>
                      </a:cubicBezTo>
                      <a:cubicBezTo>
                        <a:pt x="26" y="382"/>
                        <a:pt x="22" y="380"/>
                        <a:pt x="21" y="381"/>
                      </a:cubicBezTo>
                      <a:close/>
                      <a:moveTo>
                        <a:pt x="365" y="14"/>
                      </a:moveTo>
                      <a:cubicBezTo>
                        <a:pt x="374" y="13"/>
                        <a:pt x="374" y="8"/>
                        <a:pt x="369" y="8"/>
                      </a:cubicBezTo>
                      <a:cubicBezTo>
                        <a:pt x="364" y="7"/>
                        <a:pt x="364" y="10"/>
                        <a:pt x="361" y="10"/>
                      </a:cubicBezTo>
                      <a:cubicBezTo>
                        <a:pt x="359" y="10"/>
                        <a:pt x="350" y="12"/>
                        <a:pt x="352" y="14"/>
                      </a:cubicBezTo>
                      <a:cubicBezTo>
                        <a:pt x="354" y="16"/>
                        <a:pt x="361" y="15"/>
                        <a:pt x="365" y="14"/>
                      </a:cubicBezTo>
                      <a:close/>
                      <a:moveTo>
                        <a:pt x="411" y="147"/>
                      </a:moveTo>
                      <a:cubicBezTo>
                        <a:pt x="414" y="147"/>
                        <a:pt x="423" y="145"/>
                        <a:pt x="423" y="144"/>
                      </a:cubicBezTo>
                      <a:cubicBezTo>
                        <a:pt x="424" y="142"/>
                        <a:pt x="420" y="140"/>
                        <a:pt x="415" y="140"/>
                      </a:cubicBezTo>
                      <a:cubicBezTo>
                        <a:pt x="409" y="140"/>
                        <a:pt x="408" y="146"/>
                        <a:pt x="411" y="147"/>
                      </a:cubicBezTo>
                      <a:close/>
                      <a:moveTo>
                        <a:pt x="587" y="25"/>
                      </a:moveTo>
                      <a:cubicBezTo>
                        <a:pt x="591" y="27"/>
                        <a:pt x="590" y="28"/>
                        <a:pt x="585" y="28"/>
                      </a:cubicBezTo>
                      <a:cubicBezTo>
                        <a:pt x="580" y="28"/>
                        <a:pt x="576" y="30"/>
                        <a:pt x="579" y="31"/>
                      </a:cubicBezTo>
                      <a:cubicBezTo>
                        <a:pt x="582" y="32"/>
                        <a:pt x="581" y="35"/>
                        <a:pt x="586" y="36"/>
                      </a:cubicBezTo>
                      <a:cubicBezTo>
                        <a:pt x="591" y="37"/>
                        <a:pt x="596" y="33"/>
                        <a:pt x="596" y="30"/>
                      </a:cubicBezTo>
                      <a:cubicBezTo>
                        <a:pt x="595" y="27"/>
                        <a:pt x="613" y="25"/>
                        <a:pt x="618" y="23"/>
                      </a:cubicBezTo>
                      <a:cubicBezTo>
                        <a:pt x="623" y="22"/>
                        <a:pt x="615" y="17"/>
                        <a:pt x="620" y="17"/>
                      </a:cubicBezTo>
                      <a:cubicBezTo>
                        <a:pt x="625" y="16"/>
                        <a:pt x="623" y="14"/>
                        <a:pt x="617" y="13"/>
                      </a:cubicBezTo>
                      <a:cubicBezTo>
                        <a:pt x="610" y="12"/>
                        <a:pt x="613" y="7"/>
                        <a:pt x="611" y="5"/>
                      </a:cubicBezTo>
                      <a:cubicBezTo>
                        <a:pt x="609" y="3"/>
                        <a:pt x="608" y="7"/>
                        <a:pt x="599" y="9"/>
                      </a:cubicBezTo>
                      <a:cubicBezTo>
                        <a:pt x="591" y="10"/>
                        <a:pt x="587" y="13"/>
                        <a:pt x="590" y="14"/>
                      </a:cubicBezTo>
                      <a:cubicBezTo>
                        <a:pt x="593" y="16"/>
                        <a:pt x="590" y="20"/>
                        <a:pt x="587" y="20"/>
                      </a:cubicBezTo>
                      <a:cubicBezTo>
                        <a:pt x="583" y="19"/>
                        <a:pt x="582" y="23"/>
                        <a:pt x="587" y="25"/>
                      </a:cubicBezTo>
                      <a:close/>
                      <a:moveTo>
                        <a:pt x="599" y="32"/>
                      </a:moveTo>
                      <a:cubicBezTo>
                        <a:pt x="599" y="34"/>
                        <a:pt x="592" y="37"/>
                        <a:pt x="594" y="39"/>
                      </a:cubicBezTo>
                      <a:cubicBezTo>
                        <a:pt x="596" y="41"/>
                        <a:pt x="598" y="40"/>
                        <a:pt x="600" y="41"/>
                      </a:cubicBezTo>
                      <a:cubicBezTo>
                        <a:pt x="602" y="41"/>
                        <a:pt x="603" y="47"/>
                        <a:pt x="608" y="46"/>
                      </a:cubicBezTo>
                      <a:cubicBezTo>
                        <a:pt x="612" y="45"/>
                        <a:pt x="624" y="51"/>
                        <a:pt x="631" y="51"/>
                      </a:cubicBezTo>
                      <a:cubicBezTo>
                        <a:pt x="637" y="51"/>
                        <a:pt x="638" y="45"/>
                        <a:pt x="636" y="45"/>
                      </a:cubicBezTo>
                      <a:cubicBezTo>
                        <a:pt x="634" y="45"/>
                        <a:pt x="636" y="41"/>
                        <a:pt x="640" y="36"/>
                      </a:cubicBezTo>
                      <a:cubicBezTo>
                        <a:pt x="643" y="30"/>
                        <a:pt x="628" y="26"/>
                        <a:pt x="628" y="31"/>
                      </a:cubicBezTo>
                      <a:cubicBezTo>
                        <a:pt x="628" y="35"/>
                        <a:pt x="623" y="30"/>
                        <a:pt x="622" y="27"/>
                      </a:cubicBezTo>
                      <a:cubicBezTo>
                        <a:pt x="620" y="24"/>
                        <a:pt x="599" y="29"/>
                        <a:pt x="599" y="32"/>
                      </a:cubicBezTo>
                      <a:close/>
                      <a:moveTo>
                        <a:pt x="481" y="150"/>
                      </a:moveTo>
                      <a:cubicBezTo>
                        <a:pt x="484" y="152"/>
                        <a:pt x="487" y="151"/>
                        <a:pt x="487" y="148"/>
                      </a:cubicBezTo>
                      <a:cubicBezTo>
                        <a:pt x="486" y="144"/>
                        <a:pt x="478" y="149"/>
                        <a:pt x="481" y="150"/>
                      </a:cubicBezTo>
                      <a:close/>
                      <a:moveTo>
                        <a:pt x="581" y="8"/>
                      </a:moveTo>
                      <a:cubicBezTo>
                        <a:pt x="582" y="5"/>
                        <a:pt x="566" y="6"/>
                        <a:pt x="570" y="10"/>
                      </a:cubicBezTo>
                      <a:cubicBezTo>
                        <a:pt x="571" y="11"/>
                        <a:pt x="580" y="12"/>
                        <a:pt x="581" y="8"/>
                      </a:cubicBezTo>
                      <a:close/>
                      <a:moveTo>
                        <a:pt x="1280" y="181"/>
                      </a:moveTo>
                      <a:cubicBezTo>
                        <a:pt x="1285" y="183"/>
                        <a:pt x="1288" y="178"/>
                        <a:pt x="1292" y="180"/>
                      </a:cubicBezTo>
                      <a:cubicBezTo>
                        <a:pt x="1296" y="183"/>
                        <a:pt x="1305" y="179"/>
                        <a:pt x="1309" y="179"/>
                      </a:cubicBezTo>
                      <a:cubicBezTo>
                        <a:pt x="1313" y="178"/>
                        <a:pt x="1311" y="173"/>
                        <a:pt x="1300" y="172"/>
                      </a:cubicBezTo>
                      <a:cubicBezTo>
                        <a:pt x="1289" y="170"/>
                        <a:pt x="1275" y="178"/>
                        <a:pt x="1280" y="181"/>
                      </a:cubicBezTo>
                      <a:close/>
                      <a:moveTo>
                        <a:pt x="636" y="65"/>
                      </a:moveTo>
                      <a:cubicBezTo>
                        <a:pt x="640" y="67"/>
                        <a:pt x="650" y="63"/>
                        <a:pt x="657" y="63"/>
                      </a:cubicBezTo>
                      <a:cubicBezTo>
                        <a:pt x="665" y="63"/>
                        <a:pt x="685" y="58"/>
                        <a:pt x="685" y="54"/>
                      </a:cubicBezTo>
                      <a:cubicBezTo>
                        <a:pt x="686" y="50"/>
                        <a:pt x="678" y="50"/>
                        <a:pt x="675" y="47"/>
                      </a:cubicBezTo>
                      <a:cubicBezTo>
                        <a:pt x="672" y="44"/>
                        <a:pt x="665" y="47"/>
                        <a:pt x="663" y="49"/>
                      </a:cubicBezTo>
                      <a:cubicBezTo>
                        <a:pt x="661" y="52"/>
                        <a:pt x="660" y="50"/>
                        <a:pt x="664" y="45"/>
                      </a:cubicBezTo>
                      <a:cubicBezTo>
                        <a:pt x="669" y="41"/>
                        <a:pt x="660" y="37"/>
                        <a:pt x="659" y="40"/>
                      </a:cubicBezTo>
                      <a:cubicBezTo>
                        <a:pt x="659" y="43"/>
                        <a:pt x="651" y="40"/>
                        <a:pt x="651" y="43"/>
                      </a:cubicBezTo>
                      <a:cubicBezTo>
                        <a:pt x="651" y="46"/>
                        <a:pt x="648" y="47"/>
                        <a:pt x="648" y="49"/>
                      </a:cubicBezTo>
                      <a:cubicBezTo>
                        <a:pt x="648" y="52"/>
                        <a:pt x="642" y="48"/>
                        <a:pt x="642" y="54"/>
                      </a:cubicBezTo>
                      <a:cubicBezTo>
                        <a:pt x="642" y="60"/>
                        <a:pt x="633" y="63"/>
                        <a:pt x="636" y="65"/>
                      </a:cubicBezTo>
                      <a:close/>
                      <a:moveTo>
                        <a:pt x="943" y="114"/>
                      </a:moveTo>
                      <a:cubicBezTo>
                        <a:pt x="946" y="116"/>
                        <a:pt x="948" y="118"/>
                        <a:pt x="949" y="120"/>
                      </a:cubicBezTo>
                      <a:cubicBezTo>
                        <a:pt x="951" y="121"/>
                        <a:pt x="958" y="119"/>
                        <a:pt x="961" y="118"/>
                      </a:cubicBezTo>
                      <a:cubicBezTo>
                        <a:pt x="964" y="117"/>
                        <a:pt x="964" y="122"/>
                        <a:pt x="969" y="119"/>
                      </a:cubicBezTo>
                      <a:cubicBezTo>
                        <a:pt x="973" y="116"/>
                        <a:pt x="978" y="118"/>
                        <a:pt x="983" y="118"/>
                      </a:cubicBezTo>
                      <a:cubicBezTo>
                        <a:pt x="988" y="118"/>
                        <a:pt x="982" y="111"/>
                        <a:pt x="983" y="108"/>
                      </a:cubicBezTo>
                      <a:cubicBezTo>
                        <a:pt x="983" y="106"/>
                        <a:pt x="989" y="107"/>
                        <a:pt x="987" y="110"/>
                      </a:cubicBezTo>
                      <a:cubicBezTo>
                        <a:pt x="985" y="112"/>
                        <a:pt x="990" y="118"/>
                        <a:pt x="997" y="117"/>
                      </a:cubicBezTo>
                      <a:cubicBezTo>
                        <a:pt x="1005" y="117"/>
                        <a:pt x="999" y="112"/>
                        <a:pt x="1003" y="110"/>
                      </a:cubicBezTo>
                      <a:cubicBezTo>
                        <a:pt x="1007" y="109"/>
                        <a:pt x="1006" y="107"/>
                        <a:pt x="1001" y="103"/>
                      </a:cubicBezTo>
                      <a:cubicBezTo>
                        <a:pt x="995" y="100"/>
                        <a:pt x="988" y="102"/>
                        <a:pt x="983" y="100"/>
                      </a:cubicBezTo>
                      <a:cubicBezTo>
                        <a:pt x="978" y="98"/>
                        <a:pt x="972" y="98"/>
                        <a:pt x="972" y="103"/>
                      </a:cubicBezTo>
                      <a:cubicBezTo>
                        <a:pt x="972" y="108"/>
                        <a:pt x="962" y="97"/>
                        <a:pt x="957" y="96"/>
                      </a:cubicBezTo>
                      <a:cubicBezTo>
                        <a:pt x="951" y="94"/>
                        <a:pt x="935" y="110"/>
                        <a:pt x="943" y="114"/>
                      </a:cubicBezTo>
                      <a:close/>
                      <a:moveTo>
                        <a:pt x="993" y="145"/>
                      </a:moveTo>
                      <a:cubicBezTo>
                        <a:pt x="997" y="144"/>
                        <a:pt x="990" y="136"/>
                        <a:pt x="982" y="135"/>
                      </a:cubicBezTo>
                      <a:cubicBezTo>
                        <a:pt x="975" y="134"/>
                        <a:pt x="968" y="140"/>
                        <a:pt x="969" y="141"/>
                      </a:cubicBezTo>
                      <a:cubicBezTo>
                        <a:pt x="971" y="144"/>
                        <a:pt x="988" y="146"/>
                        <a:pt x="993" y="145"/>
                      </a:cubicBezTo>
                      <a:close/>
                      <a:moveTo>
                        <a:pt x="974" y="129"/>
                      </a:moveTo>
                      <a:cubicBezTo>
                        <a:pt x="974" y="125"/>
                        <a:pt x="961" y="130"/>
                        <a:pt x="966" y="132"/>
                      </a:cubicBezTo>
                      <a:cubicBezTo>
                        <a:pt x="969" y="133"/>
                        <a:pt x="974" y="133"/>
                        <a:pt x="974" y="129"/>
                      </a:cubicBezTo>
                      <a:close/>
                      <a:moveTo>
                        <a:pt x="1015" y="114"/>
                      </a:moveTo>
                      <a:cubicBezTo>
                        <a:pt x="1021" y="115"/>
                        <a:pt x="1024" y="120"/>
                        <a:pt x="1035" y="121"/>
                      </a:cubicBezTo>
                      <a:cubicBezTo>
                        <a:pt x="1046" y="121"/>
                        <a:pt x="1054" y="119"/>
                        <a:pt x="1054" y="117"/>
                      </a:cubicBezTo>
                      <a:cubicBezTo>
                        <a:pt x="1054" y="115"/>
                        <a:pt x="1044" y="111"/>
                        <a:pt x="1041" y="113"/>
                      </a:cubicBezTo>
                      <a:cubicBezTo>
                        <a:pt x="1038" y="115"/>
                        <a:pt x="1035" y="110"/>
                        <a:pt x="1032" y="111"/>
                      </a:cubicBezTo>
                      <a:cubicBezTo>
                        <a:pt x="1028" y="112"/>
                        <a:pt x="1022" y="112"/>
                        <a:pt x="1021" y="109"/>
                      </a:cubicBezTo>
                      <a:cubicBezTo>
                        <a:pt x="1019" y="105"/>
                        <a:pt x="1012" y="114"/>
                        <a:pt x="1015" y="114"/>
                      </a:cubicBezTo>
                      <a:close/>
                      <a:moveTo>
                        <a:pt x="221" y="18"/>
                      </a:moveTo>
                      <a:cubicBezTo>
                        <a:pt x="226" y="13"/>
                        <a:pt x="233" y="17"/>
                        <a:pt x="234" y="15"/>
                      </a:cubicBezTo>
                      <a:cubicBezTo>
                        <a:pt x="235" y="13"/>
                        <a:pt x="224" y="12"/>
                        <a:pt x="220" y="14"/>
                      </a:cubicBezTo>
                      <a:cubicBezTo>
                        <a:pt x="216" y="16"/>
                        <a:pt x="206" y="14"/>
                        <a:pt x="208" y="17"/>
                      </a:cubicBezTo>
                      <a:cubicBezTo>
                        <a:pt x="208" y="19"/>
                        <a:pt x="215" y="23"/>
                        <a:pt x="221" y="18"/>
                      </a:cubicBezTo>
                      <a:close/>
                      <a:moveTo>
                        <a:pt x="991" y="419"/>
                      </a:moveTo>
                      <a:cubicBezTo>
                        <a:pt x="988" y="413"/>
                        <a:pt x="995" y="406"/>
                        <a:pt x="990" y="402"/>
                      </a:cubicBezTo>
                      <a:cubicBezTo>
                        <a:pt x="985" y="399"/>
                        <a:pt x="987" y="391"/>
                        <a:pt x="985" y="393"/>
                      </a:cubicBezTo>
                      <a:cubicBezTo>
                        <a:pt x="982" y="394"/>
                        <a:pt x="985" y="401"/>
                        <a:pt x="981" y="401"/>
                      </a:cubicBezTo>
                      <a:cubicBezTo>
                        <a:pt x="977" y="402"/>
                        <a:pt x="981" y="405"/>
                        <a:pt x="979" y="410"/>
                      </a:cubicBezTo>
                      <a:cubicBezTo>
                        <a:pt x="978" y="415"/>
                        <a:pt x="980" y="422"/>
                        <a:pt x="982" y="426"/>
                      </a:cubicBezTo>
                      <a:cubicBezTo>
                        <a:pt x="984" y="430"/>
                        <a:pt x="979" y="453"/>
                        <a:pt x="981" y="457"/>
                      </a:cubicBezTo>
                      <a:cubicBezTo>
                        <a:pt x="983" y="461"/>
                        <a:pt x="978" y="477"/>
                        <a:pt x="980" y="479"/>
                      </a:cubicBezTo>
                      <a:cubicBezTo>
                        <a:pt x="983" y="483"/>
                        <a:pt x="981" y="475"/>
                        <a:pt x="985" y="474"/>
                      </a:cubicBezTo>
                      <a:cubicBezTo>
                        <a:pt x="989" y="473"/>
                        <a:pt x="989" y="479"/>
                        <a:pt x="992" y="480"/>
                      </a:cubicBezTo>
                      <a:cubicBezTo>
                        <a:pt x="994" y="481"/>
                        <a:pt x="993" y="472"/>
                        <a:pt x="990" y="473"/>
                      </a:cubicBezTo>
                      <a:cubicBezTo>
                        <a:pt x="988" y="473"/>
                        <a:pt x="986" y="467"/>
                        <a:pt x="985" y="463"/>
                      </a:cubicBezTo>
                      <a:cubicBezTo>
                        <a:pt x="984" y="460"/>
                        <a:pt x="987" y="455"/>
                        <a:pt x="987" y="450"/>
                      </a:cubicBezTo>
                      <a:cubicBezTo>
                        <a:pt x="987" y="446"/>
                        <a:pt x="993" y="446"/>
                        <a:pt x="997" y="449"/>
                      </a:cubicBezTo>
                      <a:cubicBezTo>
                        <a:pt x="1000" y="453"/>
                        <a:pt x="1001" y="451"/>
                        <a:pt x="999" y="448"/>
                      </a:cubicBezTo>
                      <a:cubicBezTo>
                        <a:pt x="998" y="445"/>
                        <a:pt x="993" y="426"/>
                        <a:pt x="991" y="419"/>
                      </a:cubicBezTo>
                      <a:close/>
                      <a:moveTo>
                        <a:pt x="243" y="15"/>
                      </a:moveTo>
                      <a:cubicBezTo>
                        <a:pt x="246" y="18"/>
                        <a:pt x="234" y="17"/>
                        <a:pt x="232" y="19"/>
                      </a:cubicBezTo>
                      <a:cubicBezTo>
                        <a:pt x="230" y="22"/>
                        <a:pt x="223" y="21"/>
                        <a:pt x="224" y="24"/>
                      </a:cubicBezTo>
                      <a:cubicBezTo>
                        <a:pt x="226" y="27"/>
                        <a:pt x="238" y="27"/>
                        <a:pt x="238" y="24"/>
                      </a:cubicBezTo>
                      <a:cubicBezTo>
                        <a:pt x="238" y="22"/>
                        <a:pt x="244" y="24"/>
                        <a:pt x="244" y="22"/>
                      </a:cubicBezTo>
                      <a:cubicBezTo>
                        <a:pt x="244" y="20"/>
                        <a:pt x="247" y="18"/>
                        <a:pt x="254" y="17"/>
                      </a:cubicBezTo>
                      <a:cubicBezTo>
                        <a:pt x="260" y="17"/>
                        <a:pt x="260" y="14"/>
                        <a:pt x="254" y="11"/>
                      </a:cubicBezTo>
                      <a:cubicBezTo>
                        <a:pt x="248" y="8"/>
                        <a:pt x="240" y="13"/>
                        <a:pt x="243" y="15"/>
                      </a:cubicBezTo>
                      <a:close/>
                      <a:moveTo>
                        <a:pt x="233" y="208"/>
                      </a:moveTo>
                      <a:cubicBezTo>
                        <a:pt x="239" y="213"/>
                        <a:pt x="245" y="205"/>
                        <a:pt x="248" y="204"/>
                      </a:cubicBezTo>
                      <a:cubicBezTo>
                        <a:pt x="251" y="204"/>
                        <a:pt x="246" y="201"/>
                        <a:pt x="241" y="199"/>
                      </a:cubicBezTo>
                      <a:cubicBezTo>
                        <a:pt x="235" y="198"/>
                        <a:pt x="228" y="203"/>
                        <a:pt x="233" y="208"/>
                      </a:cubicBezTo>
                      <a:close/>
                      <a:moveTo>
                        <a:pt x="1372" y="248"/>
                      </a:moveTo>
                      <a:cubicBezTo>
                        <a:pt x="1370" y="247"/>
                        <a:pt x="1362" y="242"/>
                        <a:pt x="1360" y="240"/>
                      </a:cubicBezTo>
                      <a:cubicBezTo>
                        <a:pt x="1358" y="237"/>
                        <a:pt x="1349" y="236"/>
                        <a:pt x="1349" y="237"/>
                      </a:cubicBezTo>
                      <a:cubicBezTo>
                        <a:pt x="1349" y="238"/>
                        <a:pt x="1346" y="237"/>
                        <a:pt x="1345" y="235"/>
                      </a:cubicBezTo>
                      <a:cubicBezTo>
                        <a:pt x="1345" y="234"/>
                        <a:pt x="1335" y="233"/>
                        <a:pt x="1335" y="235"/>
                      </a:cubicBezTo>
                      <a:cubicBezTo>
                        <a:pt x="1335" y="237"/>
                        <a:pt x="1337" y="237"/>
                        <a:pt x="1338" y="239"/>
                      </a:cubicBezTo>
                      <a:cubicBezTo>
                        <a:pt x="1340" y="241"/>
                        <a:pt x="1337" y="242"/>
                        <a:pt x="1337" y="244"/>
                      </a:cubicBezTo>
                      <a:cubicBezTo>
                        <a:pt x="1338" y="246"/>
                        <a:pt x="1334" y="243"/>
                        <a:pt x="1332" y="242"/>
                      </a:cubicBezTo>
                      <a:cubicBezTo>
                        <a:pt x="1331" y="240"/>
                        <a:pt x="1331" y="236"/>
                        <a:pt x="1332" y="233"/>
                      </a:cubicBezTo>
                      <a:cubicBezTo>
                        <a:pt x="1332" y="231"/>
                        <a:pt x="1329" y="231"/>
                        <a:pt x="1329" y="229"/>
                      </a:cubicBezTo>
                      <a:cubicBezTo>
                        <a:pt x="1328" y="227"/>
                        <a:pt x="1318" y="222"/>
                        <a:pt x="1313" y="220"/>
                      </a:cubicBezTo>
                      <a:cubicBezTo>
                        <a:pt x="1309" y="218"/>
                        <a:pt x="1303" y="216"/>
                        <a:pt x="1301" y="214"/>
                      </a:cubicBezTo>
                      <a:cubicBezTo>
                        <a:pt x="1300" y="212"/>
                        <a:pt x="1292" y="211"/>
                        <a:pt x="1289" y="208"/>
                      </a:cubicBezTo>
                      <a:cubicBezTo>
                        <a:pt x="1285" y="205"/>
                        <a:pt x="1272" y="199"/>
                        <a:pt x="1266" y="199"/>
                      </a:cubicBezTo>
                      <a:cubicBezTo>
                        <a:pt x="1260" y="198"/>
                        <a:pt x="1262" y="195"/>
                        <a:pt x="1259" y="196"/>
                      </a:cubicBezTo>
                      <a:cubicBezTo>
                        <a:pt x="1256" y="196"/>
                        <a:pt x="1244" y="196"/>
                        <a:pt x="1240" y="195"/>
                      </a:cubicBezTo>
                      <a:cubicBezTo>
                        <a:pt x="1236" y="194"/>
                        <a:pt x="1235" y="197"/>
                        <a:pt x="1232" y="196"/>
                      </a:cubicBezTo>
                      <a:cubicBezTo>
                        <a:pt x="1230" y="195"/>
                        <a:pt x="1216" y="190"/>
                        <a:pt x="1214" y="192"/>
                      </a:cubicBezTo>
                      <a:cubicBezTo>
                        <a:pt x="1212" y="194"/>
                        <a:pt x="1213" y="197"/>
                        <a:pt x="1211" y="197"/>
                      </a:cubicBezTo>
                      <a:cubicBezTo>
                        <a:pt x="1210" y="198"/>
                        <a:pt x="1211" y="200"/>
                        <a:pt x="1215" y="203"/>
                      </a:cubicBezTo>
                      <a:cubicBezTo>
                        <a:pt x="1219" y="207"/>
                        <a:pt x="1217" y="210"/>
                        <a:pt x="1213" y="211"/>
                      </a:cubicBezTo>
                      <a:cubicBezTo>
                        <a:pt x="1210" y="213"/>
                        <a:pt x="1204" y="210"/>
                        <a:pt x="1202" y="207"/>
                      </a:cubicBezTo>
                      <a:cubicBezTo>
                        <a:pt x="1200" y="204"/>
                        <a:pt x="1195" y="206"/>
                        <a:pt x="1194" y="202"/>
                      </a:cubicBezTo>
                      <a:cubicBezTo>
                        <a:pt x="1193" y="198"/>
                        <a:pt x="1196" y="198"/>
                        <a:pt x="1198" y="200"/>
                      </a:cubicBezTo>
                      <a:cubicBezTo>
                        <a:pt x="1200" y="202"/>
                        <a:pt x="1204" y="200"/>
                        <a:pt x="1204" y="198"/>
                      </a:cubicBezTo>
                      <a:cubicBezTo>
                        <a:pt x="1204" y="195"/>
                        <a:pt x="1198" y="193"/>
                        <a:pt x="1194" y="194"/>
                      </a:cubicBezTo>
                      <a:cubicBezTo>
                        <a:pt x="1190" y="194"/>
                        <a:pt x="1188" y="199"/>
                        <a:pt x="1184" y="201"/>
                      </a:cubicBezTo>
                      <a:cubicBezTo>
                        <a:pt x="1181" y="203"/>
                        <a:pt x="1166" y="200"/>
                        <a:pt x="1164" y="199"/>
                      </a:cubicBezTo>
                      <a:cubicBezTo>
                        <a:pt x="1163" y="197"/>
                        <a:pt x="1142" y="199"/>
                        <a:pt x="1140" y="200"/>
                      </a:cubicBezTo>
                      <a:cubicBezTo>
                        <a:pt x="1138" y="202"/>
                        <a:pt x="1139" y="207"/>
                        <a:pt x="1138" y="208"/>
                      </a:cubicBezTo>
                      <a:cubicBezTo>
                        <a:pt x="1137" y="208"/>
                        <a:pt x="1136" y="201"/>
                        <a:pt x="1136" y="200"/>
                      </a:cubicBezTo>
                      <a:cubicBezTo>
                        <a:pt x="1136" y="199"/>
                        <a:pt x="1134" y="198"/>
                        <a:pt x="1130" y="198"/>
                      </a:cubicBezTo>
                      <a:cubicBezTo>
                        <a:pt x="1126" y="198"/>
                        <a:pt x="1124" y="198"/>
                        <a:pt x="1126" y="196"/>
                      </a:cubicBezTo>
                      <a:cubicBezTo>
                        <a:pt x="1127" y="194"/>
                        <a:pt x="1124" y="193"/>
                        <a:pt x="1127" y="191"/>
                      </a:cubicBezTo>
                      <a:cubicBezTo>
                        <a:pt x="1130" y="189"/>
                        <a:pt x="1122" y="183"/>
                        <a:pt x="1114" y="179"/>
                      </a:cubicBezTo>
                      <a:cubicBezTo>
                        <a:pt x="1106" y="176"/>
                        <a:pt x="1088" y="178"/>
                        <a:pt x="1084" y="180"/>
                      </a:cubicBezTo>
                      <a:cubicBezTo>
                        <a:pt x="1079" y="181"/>
                        <a:pt x="1069" y="181"/>
                        <a:pt x="1065" y="181"/>
                      </a:cubicBezTo>
                      <a:cubicBezTo>
                        <a:pt x="1060" y="181"/>
                        <a:pt x="1064" y="179"/>
                        <a:pt x="1063" y="177"/>
                      </a:cubicBezTo>
                      <a:cubicBezTo>
                        <a:pt x="1061" y="175"/>
                        <a:pt x="1054" y="172"/>
                        <a:pt x="1053" y="174"/>
                      </a:cubicBezTo>
                      <a:cubicBezTo>
                        <a:pt x="1052" y="176"/>
                        <a:pt x="1050" y="174"/>
                        <a:pt x="1050" y="172"/>
                      </a:cubicBezTo>
                      <a:cubicBezTo>
                        <a:pt x="1050" y="171"/>
                        <a:pt x="1042" y="169"/>
                        <a:pt x="1039" y="169"/>
                      </a:cubicBezTo>
                      <a:cubicBezTo>
                        <a:pt x="1037" y="170"/>
                        <a:pt x="1035" y="167"/>
                        <a:pt x="1039" y="167"/>
                      </a:cubicBezTo>
                      <a:cubicBezTo>
                        <a:pt x="1042" y="167"/>
                        <a:pt x="1048" y="167"/>
                        <a:pt x="1045" y="163"/>
                      </a:cubicBezTo>
                      <a:cubicBezTo>
                        <a:pt x="1043" y="160"/>
                        <a:pt x="1021" y="158"/>
                        <a:pt x="1019" y="159"/>
                      </a:cubicBezTo>
                      <a:cubicBezTo>
                        <a:pt x="1017" y="160"/>
                        <a:pt x="1019" y="163"/>
                        <a:pt x="1015" y="167"/>
                      </a:cubicBezTo>
                      <a:cubicBezTo>
                        <a:pt x="1010" y="171"/>
                        <a:pt x="1005" y="168"/>
                        <a:pt x="1006" y="166"/>
                      </a:cubicBezTo>
                      <a:cubicBezTo>
                        <a:pt x="1007" y="164"/>
                        <a:pt x="1012" y="164"/>
                        <a:pt x="1012" y="162"/>
                      </a:cubicBezTo>
                      <a:cubicBezTo>
                        <a:pt x="1012" y="160"/>
                        <a:pt x="1004" y="161"/>
                        <a:pt x="1003" y="160"/>
                      </a:cubicBezTo>
                      <a:cubicBezTo>
                        <a:pt x="1002" y="158"/>
                        <a:pt x="1005" y="157"/>
                        <a:pt x="1008" y="157"/>
                      </a:cubicBezTo>
                      <a:cubicBezTo>
                        <a:pt x="1011" y="158"/>
                        <a:pt x="1016" y="159"/>
                        <a:pt x="1016" y="157"/>
                      </a:cubicBezTo>
                      <a:cubicBezTo>
                        <a:pt x="1016" y="156"/>
                        <a:pt x="1013" y="156"/>
                        <a:pt x="1008" y="155"/>
                      </a:cubicBezTo>
                      <a:cubicBezTo>
                        <a:pt x="1003" y="154"/>
                        <a:pt x="992" y="152"/>
                        <a:pt x="986" y="152"/>
                      </a:cubicBezTo>
                      <a:cubicBezTo>
                        <a:pt x="980" y="153"/>
                        <a:pt x="977" y="150"/>
                        <a:pt x="974" y="150"/>
                      </a:cubicBezTo>
                      <a:cubicBezTo>
                        <a:pt x="970" y="149"/>
                        <a:pt x="970" y="151"/>
                        <a:pt x="972" y="153"/>
                      </a:cubicBezTo>
                      <a:cubicBezTo>
                        <a:pt x="973" y="155"/>
                        <a:pt x="969" y="156"/>
                        <a:pt x="965" y="156"/>
                      </a:cubicBezTo>
                      <a:cubicBezTo>
                        <a:pt x="961" y="155"/>
                        <a:pt x="955" y="158"/>
                        <a:pt x="957" y="161"/>
                      </a:cubicBezTo>
                      <a:cubicBezTo>
                        <a:pt x="960" y="164"/>
                        <a:pt x="962" y="160"/>
                        <a:pt x="964" y="161"/>
                      </a:cubicBezTo>
                      <a:cubicBezTo>
                        <a:pt x="966" y="162"/>
                        <a:pt x="959" y="164"/>
                        <a:pt x="962" y="165"/>
                      </a:cubicBezTo>
                      <a:cubicBezTo>
                        <a:pt x="964" y="167"/>
                        <a:pt x="964" y="169"/>
                        <a:pt x="964" y="171"/>
                      </a:cubicBezTo>
                      <a:cubicBezTo>
                        <a:pt x="964" y="172"/>
                        <a:pt x="959" y="173"/>
                        <a:pt x="958" y="171"/>
                      </a:cubicBezTo>
                      <a:cubicBezTo>
                        <a:pt x="956" y="169"/>
                        <a:pt x="953" y="170"/>
                        <a:pt x="950" y="170"/>
                      </a:cubicBezTo>
                      <a:cubicBezTo>
                        <a:pt x="947" y="170"/>
                        <a:pt x="944" y="172"/>
                        <a:pt x="948" y="172"/>
                      </a:cubicBezTo>
                      <a:cubicBezTo>
                        <a:pt x="951" y="172"/>
                        <a:pt x="952" y="175"/>
                        <a:pt x="948" y="175"/>
                      </a:cubicBezTo>
                      <a:cubicBezTo>
                        <a:pt x="943" y="176"/>
                        <a:pt x="944" y="171"/>
                        <a:pt x="941" y="171"/>
                      </a:cubicBezTo>
                      <a:cubicBezTo>
                        <a:pt x="938" y="172"/>
                        <a:pt x="932" y="169"/>
                        <a:pt x="929" y="169"/>
                      </a:cubicBezTo>
                      <a:cubicBezTo>
                        <a:pt x="926" y="169"/>
                        <a:pt x="924" y="172"/>
                        <a:pt x="920" y="172"/>
                      </a:cubicBezTo>
                      <a:cubicBezTo>
                        <a:pt x="915" y="173"/>
                        <a:pt x="909" y="170"/>
                        <a:pt x="907" y="168"/>
                      </a:cubicBezTo>
                      <a:cubicBezTo>
                        <a:pt x="906" y="165"/>
                        <a:pt x="905" y="165"/>
                        <a:pt x="903" y="167"/>
                      </a:cubicBezTo>
                      <a:cubicBezTo>
                        <a:pt x="901" y="170"/>
                        <a:pt x="901" y="175"/>
                        <a:pt x="899" y="176"/>
                      </a:cubicBezTo>
                      <a:cubicBezTo>
                        <a:pt x="896" y="176"/>
                        <a:pt x="896" y="181"/>
                        <a:pt x="893" y="182"/>
                      </a:cubicBezTo>
                      <a:cubicBezTo>
                        <a:pt x="891" y="183"/>
                        <a:pt x="891" y="180"/>
                        <a:pt x="888" y="180"/>
                      </a:cubicBezTo>
                      <a:cubicBezTo>
                        <a:pt x="886" y="181"/>
                        <a:pt x="877" y="172"/>
                        <a:pt x="876" y="169"/>
                      </a:cubicBezTo>
                      <a:cubicBezTo>
                        <a:pt x="876" y="167"/>
                        <a:pt x="871" y="162"/>
                        <a:pt x="869" y="161"/>
                      </a:cubicBezTo>
                      <a:cubicBezTo>
                        <a:pt x="868" y="160"/>
                        <a:pt x="871" y="160"/>
                        <a:pt x="872" y="161"/>
                      </a:cubicBezTo>
                      <a:cubicBezTo>
                        <a:pt x="874" y="163"/>
                        <a:pt x="876" y="163"/>
                        <a:pt x="878" y="162"/>
                      </a:cubicBezTo>
                      <a:cubicBezTo>
                        <a:pt x="880" y="161"/>
                        <a:pt x="880" y="157"/>
                        <a:pt x="877" y="157"/>
                      </a:cubicBezTo>
                      <a:cubicBezTo>
                        <a:pt x="873" y="156"/>
                        <a:pt x="875" y="154"/>
                        <a:pt x="876" y="153"/>
                      </a:cubicBezTo>
                      <a:cubicBezTo>
                        <a:pt x="878" y="153"/>
                        <a:pt x="873" y="148"/>
                        <a:pt x="875" y="148"/>
                      </a:cubicBezTo>
                      <a:cubicBezTo>
                        <a:pt x="876" y="147"/>
                        <a:pt x="876" y="145"/>
                        <a:pt x="873" y="145"/>
                      </a:cubicBezTo>
                      <a:cubicBezTo>
                        <a:pt x="870" y="145"/>
                        <a:pt x="868" y="142"/>
                        <a:pt x="868" y="141"/>
                      </a:cubicBezTo>
                      <a:cubicBezTo>
                        <a:pt x="867" y="140"/>
                        <a:pt x="856" y="139"/>
                        <a:pt x="857" y="141"/>
                      </a:cubicBezTo>
                      <a:cubicBezTo>
                        <a:pt x="857" y="143"/>
                        <a:pt x="853" y="142"/>
                        <a:pt x="854" y="141"/>
                      </a:cubicBezTo>
                      <a:cubicBezTo>
                        <a:pt x="854" y="139"/>
                        <a:pt x="850" y="140"/>
                        <a:pt x="845" y="138"/>
                      </a:cubicBezTo>
                      <a:cubicBezTo>
                        <a:pt x="839" y="137"/>
                        <a:pt x="839" y="133"/>
                        <a:pt x="838" y="133"/>
                      </a:cubicBezTo>
                      <a:cubicBezTo>
                        <a:pt x="836" y="133"/>
                        <a:pt x="836" y="138"/>
                        <a:pt x="834" y="137"/>
                      </a:cubicBezTo>
                      <a:cubicBezTo>
                        <a:pt x="831" y="136"/>
                        <a:pt x="828" y="138"/>
                        <a:pt x="830" y="141"/>
                      </a:cubicBezTo>
                      <a:cubicBezTo>
                        <a:pt x="831" y="144"/>
                        <a:pt x="830" y="145"/>
                        <a:pt x="830" y="147"/>
                      </a:cubicBezTo>
                      <a:cubicBezTo>
                        <a:pt x="829" y="150"/>
                        <a:pt x="828" y="149"/>
                        <a:pt x="825" y="148"/>
                      </a:cubicBezTo>
                      <a:cubicBezTo>
                        <a:pt x="822" y="147"/>
                        <a:pt x="822" y="150"/>
                        <a:pt x="815" y="149"/>
                      </a:cubicBezTo>
                      <a:cubicBezTo>
                        <a:pt x="808" y="147"/>
                        <a:pt x="805" y="149"/>
                        <a:pt x="804" y="147"/>
                      </a:cubicBezTo>
                      <a:cubicBezTo>
                        <a:pt x="803" y="144"/>
                        <a:pt x="801" y="144"/>
                        <a:pt x="801" y="146"/>
                      </a:cubicBezTo>
                      <a:cubicBezTo>
                        <a:pt x="801" y="148"/>
                        <a:pt x="790" y="147"/>
                        <a:pt x="790" y="144"/>
                      </a:cubicBezTo>
                      <a:cubicBezTo>
                        <a:pt x="789" y="142"/>
                        <a:pt x="791" y="141"/>
                        <a:pt x="793" y="141"/>
                      </a:cubicBezTo>
                      <a:cubicBezTo>
                        <a:pt x="794" y="140"/>
                        <a:pt x="791" y="139"/>
                        <a:pt x="786" y="139"/>
                      </a:cubicBezTo>
                      <a:cubicBezTo>
                        <a:pt x="780" y="140"/>
                        <a:pt x="776" y="136"/>
                        <a:pt x="771" y="137"/>
                      </a:cubicBezTo>
                      <a:cubicBezTo>
                        <a:pt x="765" y="138"/>
                        <a:pt x="752" y="139"/>
                        <a:pt x="751" y="140"/>
                      </a:cubicBezTo>
                      <a:cubicBezTo>
                        <a:pt x="749" y="140"/>
                        <a:pt x="752" y="144"/>
                        <a:pt x="749" y="144"/>
                      </a:cubicBezTo>
                      <a:cubicBezTo>
                        <a:pt x="747" y="144"/>
                        <a:pt x="749" y="139"/>
                        <a:pt x="748" y="136"/>
                      </a:cubicBezTo>
                      <a:cubicBezTo>
                        <a:pt x="748" y="133"/>
                        <a:pt x="744" y="133"/>
                        <a:pt x="744" y="135"/>
                      </a:cubicBezTo>
                      <a:cubicBezTo>
                        <a:pt x="745" y="137"/>
                        <a:pt x="738" y="138"/>
                        <a:pt x="736" y="136"/>
                      </a:cubicBezTo>
                      <a:cubicBezTo>
                        <a:pt x="734" y="135"/>
                        <a:pt x="731" y="133"/>
                        <a:pt x="727" y="131"/>
                      </a:cubicBezTo>
                      <a:cubicBezTo>
                        <a:pt x="722" y="130"/>
                        <a:pt x="716" y="135"/>
                        <a:pt x="717" y="137"/>
                      </a:cubicBezTo>
                      <a:cubicBezTo>
                        <a:pt x="719" y="138"/>
                        <a:pt x="722" y="137"/>
                        <a:pt x="722" y="138"/>
                      </a:cubicBezTo>
                      <a:cubicBezTo>
                        <a:pt x="723" y="140"/>
                        <a:pt x="713" y="139"/>
                        <a:pt x="713" y="141"/>
                      </a:cubicBezTo>
                      <a:cubicBezTo>
                        <a:pt x="713" y="142"/>
                        <a:pt x="703" y="145"/>
                        <a:pt x="700" y="145"/>
                      </a:cubicBezTo>
                      <a:cubicBezTo>
                        <a:pt x="692" y="146"/>
                        <a:pt x="691" y="146"/>
                        <a:pt x="687" y="149"/>
                      </a:cubicBezTo>
                      <a:cubicBezTo>
                        <a:pt x="683" y="152"/>
                        <a:pt x="686" y="146"/>
                        <a:pt x="689" y="144"/>
                      </a:cubicBezTo>
                      <a:cubicBezTo>
                        <a:pt x="692" y="141"/>
                        <a:pt x="695" y="142"/>
                        <a:pt x="697" y="140"/>
                      </a:cubicBezTo>
                      <a:cubicBezTo>
                        <a:pt x="698" y="137"/>
                        <a:pt x="701" y="138"/>
                        <a:pt x="705" y="137"/>
                      </a:cubicBezTo>
                      <a:cubicBezTo>
                        <a:pt x="710" y="136"/>
                        <a:pt x="710" y="134"/>
                        <a:pt x="712" y="133"/>
                      </a:cubicBezTo>
                      <a:cubicBezTo>
                        <a:pt x="714" y="132"/>
                        <a:pt x="719" y="130"/>
                        <a:pt x="720" y="128"/>
                      </a:cubicBezTo>
                      <a:cubicBezTo>
                        <a:pt x="721" y="125"/>
                        <a:pt x="732" y="122"/>
                        <a:pt x="734" y="122"/>
                      </a:cubicBezTo>
                      <a:cubicBezTo>
                        <a:pt x="736" y="122"/>
                        <a:pt x="737" y="118"/>
                        <a:pt x="738" y="118"/>
                      </a:cubicBezTo>
                      <a:cubicBezTo>
                        <a:pt x="739" y="118"/>
                        <a:pt x="745" y="115"/>
                        <a:pt x="747" y="114"/>
                      </a:cubicBezTo>
                      <a:cubicBezTo>
                        <a:pt x="750" y="113"/>
                        <a:pt x="751" y="111"/>
                        <a:pt x="751" y="109"/>
                      </a:cubicBezTo>
                      <a:cubicBezTo>
                        <a:pt x="751" y="107"/>
                        <a:pt x="748" y="108"/>
                        <a:pt x="748" y="106"/>
                      </a:cubicBezTo>
                      <a:cubicBezTo>
                        <a:pt x="747" y="105"/>
                        <a:pt x="749" y="106"/>
                        <a:pt x="752" y="105"/>
                      </a:cubicBezTo>
                      <a:cubicBezTo>
                        <a:pt x="754" y="104"/>
                        <a:pt x="752" y="101"/>
                        <a:pt x="750" y="101"/>
                      </a:cubicBezTo>
                      <a:cubicBezTo>
                        <a:pt x="748" y="102"/>
                        <a:pt x="751" y="99"/>
                        <a:pt x="749" y="97"/>
                      </a:cubicBezTo>
                      <a:cubicBezTo>
                        <a:pt x="747" y="95"/>
                        <a:pt x="744" y="99"/>
                        <a:pt x="744" y="96"/>
                      </a:cubicBezTo>
                      <a:cubicBezTo>
                        <a:pt x="744" y="94"/>
                        <a:pt x="743" y="91"/>
                        <a:pt x="742" y="90"/>
                      </a:cubicBezTo>
                      <a:cubicBezTo>
                        <a:pt x="741" y="88"/>
                        <a:pt x="738" y="92"/>
                        <a:pt x="735" y="90"/>
                      </a:cubicBezTo>
                      <a:cubicBezTo>
                        <a:pt x="732" y="88"/>
                        <a:pt x="723" y="86"/>
                        <a:pt x="723" y="87"/>
                      </a:cubicBezTo>
                      <a:cubicBezTo>
                        <a:pt x="723" y="88"/>
                        <a:pt x="719" y="86"/>
                        <a:pt x="718" y="87"/>
                      </a:cubicBezTo>
                      <a:cubicBezTo>
                        <a:pt x="717" y="88"/>
                        <a:pt x="711" y="88"/>
                        <a:pt x="708" y="87"/>
                      </a:cubicBezTo>
                      <a:cubicBezTo>
                        <a:pt x="706" y="86"/>
                        <a:pt x="703" y="88"/>
                        <a:pt x="703" y="90"/>
                      </a:cubicBezTo>
                      <a:cubicBezTo>
                        <a:pt x="703" y="92"/>
                        <a:pt x="695" y="91"/>
                        <a:pt x="693" y="91"/>
                      </a:cubicBezTo>
                      <a:cubicBezTo>
                        <a:pt x="692" y="91"/>
                        <a:pt x="699" y="84"/>
                        <a:pt x="699" y="83"/>
                      </a:cubicBezTo>
                      <a:cubicBezTo>
                        <a:pt x="699" y="82"/>
                        <a:pt x="686" y="84"/>
                        <a:pt x="686" y="82"/>
                      </a:cubicBezTo>
                      <a:cubicBezTo>
                        <a:pt x="685" y="81"/>
                        <a:pt x="679" y="81"/>
                        <a:pt x="676" y="81"/>
                      </a:cubicBezTo>
                      <a:cubicBezTo>
                        <a:pt x="674" y="81"/>
                        <a:pt x="676" y="80"/>
                        <a:pt x="679" y="80"/>
                      </a:cubicBezTo>
                      <a:cubicBezTo>
                        <a:pt x="681" y="80"/>
                        <a:pt x="683" y="78"/>
                        <a:pt x="686" y="77"/>
                      </a:cubicBezTo>
                      <a:cubicBezTo>
                        <a:pt x="689" y="77"/>
                        <a:pt x="688" y="76"/>
                        <a:pt x="687" y="74"/>
                      </a:cubicBezTo>
                      <a:cubicBezTo>
                        <a:pt x="686" y="72"/>
                        <a:pt x="683" y="73"/>
                        <a:pt x="680" y="72"/>
                      </a:cubicBezTo>
                      <a:cubicBezTo>
                        <a:pt x="678" y="72"/>
                        <a:pt x="674" y="70"/>
                        <a:pt x="672" y="70"/>
                      </a:cubicBezTo>
                      <a:cubicBezTo>
                        <a:pt x="669" y="70"/>
                        <a:pt x="667" y="72"/>
                        <a:pt x="661" y="73"/>
                      </a:cubicBezTo>
                      <a:cubicBezTo>
                        <a:pt x="656" y="74"/>
                        <a:pt x="655" y="78"/>
                        <a:pt x="652" y="79"/>
                      </a:cubicBezTo>
                      <a:cubicBezTo>
                        <a:pt x="649" y="81"/>
                        <a:pt x="644" y="86"/>
                        <a:pt x="647" y="86"/>
                      </a:cubicBezTo>
                      <a:cubicBezTo>
                        <a:pt x="649" y="87"/>
                        <a:pt x="648" y="88"/>
                        <a:pt x="648" y="90"/>
                      </a:cubicBezTo>
                      <a:cubicBezTo>
                        <a:pt x="649" y="91"/>
                        <a:pt x="647" y="92"/>
                        <a:pt x="644" y="91"/>
                      </a:cubicBezTo>
                      <a:cubicBezTo>
                        <a:pt x="641" y="91"/>
                        <a:pt x="632" y="91"/>
                        <a:pt x="632" y="93"/>
                      </a:cubicBezTo>
                      <a:cubicBezTo>
                        <a:pt x="632" y="95"/>
                        <a:pt x="637" y="96"/>
                        <a:pt x="637" y="97"/>
                      </a:cubicBezTo>
                      <a:cubicBezTo>
                        <a:pt x="637" y="98"/>
                        <a:pt x="633" y="97"/>
                        <a:pt x="631" y="96"/>
                      </a:cubicBezTo>
                      <a:cubicBezTo>
                        <a:pt x="629" y="95"/>
                        <a:pt x="625" y="95"/>
                        <a:pt x="624" y="97"/>
                      </a:cubicBezTo>
                      <a:cubicBezTo>
                        <a:pt x="623" y="99"/>
                        <a:pt x="620" y="99"/>
                        <a:pt x="619" y="98"/>
                      </a:cubicBezTo>
                      <a:cubicBezTo>
                        <a:pt x="618" y="98"/>
                        <a:pt x="615" y="99"/>
                        <a:pt x="613" y="99"/>
                      </a:cubicBezTo>
                      <a:cubicBezTo>
                        <a:pt x="612" y="98"/>
                        <a:pt x="617" y="95"/>
                        <a:pt x="616" y="94"/>
                      </a:cubicBezTo>
                      <a:cubicBezTo>
                        <a:pt x="614" y="93"/>
                        <a:pt x="609" y="94"/>
                        <a:pt x="608" y="96"/>
                      </a:cubicBezTo>
                      <a:cubicBezTo>
                        <a:pt x="607" y="98"/>
                        <a:pt x="604" y="95"/>
                        <a:pt x="603" y="95"/>
                      </a:cubicBezTo>
                      <a:cubicBezTo>
                        <a:pt x="601" y="96"/>
                        <a:pt x="600" y="97"/>
                        <a:pt x="597" y="98"/>
                      </a:cubicBezTo>
                      <a:cubicBezTo>
                        <a:pt x="595" y="99"/>
                        <a:pt x="591" y="97"/>
                        <a:pt x="590" y="99"/>
                      </a:cubicBezTo>
                      <a:cubicBezTo>
                        <a:pt x="589" y="101"/>
                        <a:pt x="594" y="101"/>
                        <a:pt x="595" y="102"/>
                      </a:cubicBezTo>
                      <a:cubicBezTo>
                        <a:pt x="595" y="103"/>
                        <a:pt x="582" y="103"/>
                        <a:pt x="581" y="104"/>
                      </a:cubicBezTo>
                      <a:cubicBezTo>
                        <a:pt x="581" y="105"/>
                        <a:pt x="576" y="105"/>
                        <a:pt x="571" y="105"/>
                      </a:cubicBezTo>
                      <a:cubicBezTo>
                        <a:pt x="566" y="106"/>
                        <a:pt x="568" y="108"/>
                        <a:pt x="564" y="109"/>
                      </a:cubicBezTo>
                      <a:cubicBezTo>
                        <a:pt x="559" y="110"/>
                        <a:pt x="557" y="110"/>
                        <a:pt x="556" y="112"/>
                      </a:cubicBezTo>
                      <a:cubicBezTo>
                        <a:pt x="555" y="114"/>
                        <a:pt x="551" y="115"/>
                        <a:pt x="550" y="113"/>
                      </a:cubicBezTo>
                      <a:cubicBezTo>
                        <a:pt x="548" y="111"/>
                        <a:pt x="544" y="114"/>
                        <a:pt x="547" y="114"/>
                      </a:cubicBezTo>
                      <a:cubicBezTo>
                        <a:pt x="549" y="114"/>
                        <a:pt x="547" y="116"/>
                        <a:pt x="545" y="116"/>
                      </a:cubicBezTo>
                      <a:cubicBezTo>
                        <a:pt x="544" y="115"/>
                        <a:pt x="540" y="118"/>
                        <a:pt x="542" y="118"/>
                      </a:cubicBezTo>
                      <a:cubicBezTo>
                        <a:pt x="545" y="118"/>
                        <a:pt x="546" y="119"/>
                        <a:pt x="545" y="121"/>
                      </a:cubicBezTo>
                      <a:cubicBezTo>
                        <a:pt x="544" y="122"/>
                        <a:pt x="539" y="119"/>
                        <a:pt x="538" y="120"/>
                      </a:cubicBezTo>
                      <a:cubicBezTo>
                        <a:pt x="537" y="122"/>
                        <a:pt x="540" y="123"/>
                        <a:pt x="542" y="123"/>
                      </a:cubicBezTo>
                      <a:cubicBezTo>
                        <a:pt x="544" y="123"/>
                        <a:pt x="545" y="124"/>
                        <a:pt x="546" y="126"/>
                      </a:cubicBezTo>
                      <a:cubicBezTo>
                        <a:pt x="546" y="127"/>
                        <a:pt x="541" y="125"/>
                        <a:pt x="540" y="126"/>
                      </a:cubicBezTo>
                      <a:cubicBezTo>
                        <a:pt x="539" y="127"/>
                        <a:pt x="540" y="128"/>
                        <a:pt x="543" y="128"/>
                      </a:cubicBezTo>
                      <a:cubicBezTo>
                        <a:pt x="545" y="128"/>
                        <a:pt x="543" y="129"/>
                        <a:pt x="545" y="131"/>
                      </a:cubicBezTo>
                      <a:cubicBezTo>
                        <a:pt x="545" y="131"/>
                        <a:pt x="546" y="131"/>
                        <a:pt x="546" y="131"/>
                      </a:cubicBezTo>
                      <a:cubicBezTo>
                        <a:pt x="547" y="133"/>
                        <a:pt x="545" y="133"/>
                        <a:pt x="545" y="135"/>
                      </a:cubicBezTo>
                      <a:cubicBezTo>
                        <a:pt x="545" y="136"/>
                        <a:pt x="543" y="137"/>
                        <a:pt x="543" y="135"/>
                      </a:cubicBezTo>
                      <a:cubicBezTo>
                        <a:pt x="543" y="134"/>
                        <a:pt x="536" y="134"/>
                        <a:pt x="535" y="135"/>
                      </a:cubicBezTo>
                      <a:cubicBezTo>
                        <a:pt x="534" y="137"/>
                        <a:pt x="533" y="138"/>
                        <a:pt x="531" y="136"/>
                      </a:cubicBezTo>
                      <a:cubicBezTo>
                        <a:pt x="530" y="135"/>
                        <a:pt x="525" y="137"/>
                        <a:pt x="519" y="137"/>
                      </a:cubicBezTo>
                      <a:cubicBezTo>
                        <a:pt x="513" y="137"/>
                        <a:pt x="501" y="138"/>
                        <a:pt x="498" y="139"/>
                      </a:cubicBezTo>
                      <a:cubicBezTo>
                        <a:pt x="496" y="140"/>
                        <a:pt x="493" y="144"/>
                        <a:pt x="496" y="147"/>
                      </a:cubicBezTo>
                      <a:cubicBezTo>
                        <a:pt x="498" y="150"/>
                        <a:pt x="496" y="151"/>
                        <a:pt x="496" y="152"/>
                      </a:cubicBezTo>
                      <a:cubicBezTo>
                        <a:pt x="496" y="154"/>
                        <a:pt x="503" y="158"/>
                        <a:pt x="507" y="158"/>
                      </a:cubicBezTo>
                      <a:cubicBezTo>
                        <a:pt x="511" y="159"/>
                        <a:pt x="514" y="163"/>
                        <a:pt x="511" y="166"/>
                      </a:cubicBezTo>
                      <a:cubicBezTo>
                        <a:pt x="509" y="169"/>
                        <a:pt x="502" y="165"/>
                        <a:pt x="498" y="162"/>
                      </a:cubicBezTo>
                      <a:cubicBezTo>
                        <a:pt x="493" y="158"/>
                        <a:pt x="483" y="157"/>
                        <a:pt x="479" y="157"/>
                      </a:cubicBezTo>
                      <a:cubicBezTo>
                        <a:pt x="476" y="157"/>
                        <a:pt x="478" y="154"/>
                        <a:pt x="474" y="154"/>
                      </a:cubicBezTo>
                      <a:cubicBezTo>
                        <a:pt x="469" y="154"/>
                        <a:pt x="465" y="158"/>
                        <a:pt x="468" y="158"/>
                      </a:cubicBezTo>
                      <a:cubicBezTo>
                        <a:pt x="471" y="158"/>
                        <a:pt x="473" y="158"/>
                        <a:pt x="472" y="159"/>
                      </a:cubicBezTo>
                      <a:cubicBezTo>
                        <a:pt x="470" y="161"/>
                        <a:pt x="473" y="160"/>
                        <a:pt x="476" y="162"/>
                      </a:cubicBezTo>
                      <a:cubicBezTo>
                        <a:pt x="480" y="163"/>
                        <a:pt x="473" y="166"/>
                        <a:pt x="469" y="163"/>
                      </a:cubicBezTo>
                      <a:cubicBezTo>
                        <a:pt x="466" y="161"/>
                        <a:pt x="462" y="163"/>
                        <a:pt x="461" y="165"/>
                      </a:cubicBezTo>
                      <a:cubicBezTo>
                        <a:pt x="460" y="167"/>
                        <a:pt x="465" y="172"/>
                        <a:pt x="471" y="173"/>
                      </a:cubicBezTo>
                      <a:cubicBezTo>
                        <a:pt x="478" y="174"/>
                        <a:pt x="476" y="176"/>
                        <a:pt x="479" y="177"/>
                      </a:cubicBezTo>
                      <a:cubicBezTo>
                        <a:pt x="482" y="178"/>
                        <a:pt x="480" y="179"/>
                        <a:pt x="478" y="180"/>
                      </a:cubicBezTo>
                      <a:cubicBezTo>
                        <a:pt x="476" y="180"/>
                        <a:pt x="471" y="177"/>
                        <a:pt x="468" y="175"/>
                      </a:cubicBezTo>
                      <a:cubicBezTo>
                        <a:pt x="465" y="173"/>
                        <a:pt x="456" y="176"/>
                        <a:pt x="455" y="174"/>
                      </a:cubicBezTo>
                      <a:cubicBezTo>
                        <a:pt x="453" y="172"/>
                        <a:pt x="456" y="170"/>
                        <a:pt x="454" y="168"/>
                      </a:cubicBezTo>
                      <a:cubicBezTo>
                        <a:pt x="452" y="167"/>
                        <a:pt x="454" y="164"/>
                        <a:pt x="456" y="160"/>
                      </a:cubicBezTo>
                      <a:cubicBezTo>
                        <a:pt x="458" y="157"/>
                        <a:pt x="456" y="151"/>
                        <a:pt x="453" y="150"/>
                      </a:cubicBezTo>
                      <a:cubicBezTo>
                        <a:pt x="450" y="150"/>
                        <a:pt x="450" y="153"/>
                        <a:pt x="450" y="154"/>
                      </a:cubicBezTo>
                      <a:cubicBezTo>
                        <a:pt x="451" y="155"/>
                        <a:pt x="451" y="159"/>
                        <a:pt x="448" y="162"/>
                      </a:cubicBezTo>
                      <a:cubicBezTo>
                        <a:pt x="446" y="165"/>
                        <a:pt x="439" y="165"/>
                        <a:pt x="439" y="167"/>
                      </a:cubicBezTo>
                      <a:cubicBezTo>
                        <a:pt x="439" y="169"/>
                        <a:pt x="434" y="171"/>
                        <a:pt x="436" y="172"/>
                      </a:cubicBezTo>
                      <a:cubicBezTo>
                        <a:pt x="437" y="174"/>
                        <a:pt x="444" y="181"/>
                        <a:pt x="445" y="183"/>
                      </a:cubicBezTo>
                      <a:cubicBezTo>
                        <a:pt x="446" y="185"/>
                        <a:pt x="439" y="193"/>
                        <a:pt x="440" y="197"/>
                      </a:cubicBezTo>
                      <a:cubicBezTo>
                        <a:pt x="441" y="201"/>
                        <a:pt x="439" y="203"/>
                        <a:pt x="440" y="205"/>
                      </a:cubicBezTo>
                      <a:cubicBezTo>
                        <a:pt x="442" y="207"/>
                        <a:pt x="445" y="205"/>
                        <a:pt x="447" y="206"/>
                      </a:cubicBezTo>
                      <a:cubicBezTo>
                        <a:pt x="448" y="207"/>
                        <a:pt x="452" y="205"/>
                        <a:pt x="456" y="204"/>
                      </a:cubicBezTo>
                      <a:cubicBezTo>
                        <a:pt x="460" y="203"/>
                        <a:pt x="468" y="208"/>
                        <a:pt x="471" y="209"/>
                      </a:cubicBezTo>
                      <a:cubicBezTo>
                        <a:pt x="474" y="211"/>
                        <a:pt x="473" y="213"/>
                        <a:pt x="474" y="215"/>
                      </a:cubicBezTo>
                      <a:cubicBezTo>
                        <a:pt x="476" y="218"/>
                        <a:pt x="471" y="218"/>
                        <a:pt x="471" y="221"/>
                      </a:cubicBezTo>
                      <a:cubicBezTo>
                        <a:pt x="471" y="225"/>
                        <a:pt x="480" y="226"/>
                        <a:pt x="480" y="227"/>
                      </a:cubicBezTo>
                      <a:cubicBezTo>
                        <a:pt x="480" y="228"/>
                        <a:pt x="474" y="228"/>
                        <a:pt x="471" y="227"/>
                      </a:cubicBezTo>
                      <a:cubicBezTo>
                        <a:pt x="468" y="226"/>
                        <a:pt x="468" y="222"/>
                        <a:pt x="467" y="222"/>
                      </a:cubicBezTo>
                      <a:cubicBezTo>
                        <a:pt x="466" y="221"/>
                        <a:pt x="469" y="218"/>
                        <a:pt x="469" y="216"/>
                      </a:cubicBezTo>
                      <a:cubicBezTo>
                        <a:pt x="469" y="213"/>
                        <a:pt x="466" y="212"/>
                        <a:pt x="465" y="211"/>
                      </a:cubicBezTo>
                      <a:cubicBezTo>
                        <a:pt x="464" y="209"/>
                        <a:pt x="462" y="207"/>
                        <a:pt x="460" y="207"/>
                      </a:cubicBezTo>
                      <a:cubicBezTo>
                        <a:pt x="458" y="208"/>
                        <a:pt x="450" y="208"/>
                        <a:pt x="448" y="211"/>
                      </a:cubicBezTo>
                      <a:cubicBezTo>
                        <a:pt x="445" y="213"/>
                        <a:pt x="448" y="219"/>
                        <a:pt x="449" y="222"/>
                      </a:cubicBezTo>
                      <a:cubicBezTo>
                        <a:pt x="451" y="225"/>
                        <a:pt x="442" y="229"/>
                        <a:pt x="443" y="231"/>
                      </a:cubicBezTo>
                      <a:cubicBezTo>
                        <a:pt x="443" y="234"/>
                        <a:pt x="440" y="235"/>
                        <a:pt x="437" y="237"/>
                      </a:cubicBezTo>
                      <a:cubicBezTo>
                        <a:pt x="433" y="239"/>
                        <a:pt x="429" y="240"/>
                        <a:pt x="429" y="243"/>
                      </a:cubicBezTo>
                      <a:cubicBezTo>
                        <a:pt x="429" y="246"/>
                        <a:pt x="425" y="245"/>
                        <a:pt x="422" y="243"/>
                      </a:cubicBezTo>
                      <a:cubicBezTo>
                        <a:pt x="420" y="242"/>
                        <a:pt x="416" y="244"/>
                        <a:pt x="413" y="244"/>
                      </a:cubicBezTo>
                      <a:cubicBezTo>
                        <a:pt x="409" y="244"/>
                        <a:pt x="409" y="241"/>
                        <a:pt x="406" y="242"/>
                      </a:cubicBezTo>
                      <a:cubicBezTo>
                        <a:pt x="403" y="243"/>
                        <a:pt x="402" y="240"/>
                        <a:pt x="402" y="238"/>
                      </a:cubicBezTo>
                      <a:cubicBezTo>
                        <a:pt x="403" y="236"/>
                        <a:pt x="406" y="238"/>
                        <a:pt x="407" y="239"/>
                      </a:cubicBezTo>
                      <a:cubicBezTo>
                        <a:pt x="407" y="241"/>
                        <a:pt x="409" y="240"/>
                        <a:pt x="411" y="239"/>
                      </a:cubicBezTo>
                      <a:cubicBezTo>
                        <a:pt x="414" y="238"/>
                        <a:pt x="413" y="241"/>
                        <a:pt x="416" y="241"/>
                      </a:cubicBezTo>
                      <a:cubicBezTo>
                        <a:pt x="419" y="241"/>
                        <a:pt x="418" y="239"/>
                        <a:pt x="420" y="239"/>
                      </a:cubicBezTo>
                      <a:cubicBezTo>
                        <a:pt x="423" y="240"/>
                        <a:pt x="423" y="239"/>
                        <a:pt x="422" y="237"/>
                      </a:cubicBezTo>
                      <a:cubicBezTo>
                        <a:pt x="421" y="236"/>
                        <a:pt x="424" y="235"/>
                        <a:pt x="426" y="234"/>
                      </a:cubicBezTo>
                      <a:cubicBezTo>
                        <a:pt x="427" y="234"/>
                        <a:pt x="427" y="231"/>
                        <a:pt x="428" y="230"/>
                      </a:cubicBezTo>
                      <a:cubicBezTo>
                        <a:pt x="430" y="229"/>
                        <a:pt x="429" y="228"/>
                        <a:pt x="430" y="228"/>
                      </a:cubicBezTo>
                      <a:cubicBezTo>
                        <a:pt x="432" y="227"/>
                        <a:pt x="433" y="225"/>
                        <a:pt x="434" y="225"/>
                      </a:cubicBezTo>
                      <a:cubicBezTo>
                        <a:pt x="436" y="225"/>
                        <a:pt x="437" y="222"/>
                        <a:pt x="436" y="221"/>
                      </a:cubicBezTo>
                      <a:cubicBezTo>
                        <a:pt x="435" y="220"/>
                        <a:pt x="436" y="216"/>
                        <a:pt x="438" y="216"/>
                      </a:cubicBezTo>
                      <a:cubicBezTo>
                        <a:pt x="439" y="215"/>
                        <a:pt x="439" y="214"/>
                        <a:pt x="438" y="213"/>
                      </a:cubicBezTo>
                      <a:cubicBezTo>
                        <a:pt x="437" y="212"/>
                        <a:pt x="431" y="208"/>
                        <a:pt x="432" y="206"/>
                      </a:cubicBezTo>
                      <a:cubicBezTo>
                        <a:pt x="432" y="204"/>
                        <a:pt x="431" y="199"/>
                        <a:pt x="431" y="198"/>
                      </a:cubicBezTo>
                      <a:cubicBezTo>
                        <a:pt x="432" y="196"/>
                        <a:pt x="432" y="192"/>
                        <a:pt x="431" y="190"/>
                      </a:cubicBezTo>
                      <a:cubicBezTo>
                        <a:pt x="431" y="188"/>
                        <a:pt x="433" y="186"/>
                        <a:pt x="433" y="182"/>
                      </a:cubicBezTo>
                      <a:cubicBezTo>
                        <a:pt x="434" y="178"/>
                        <a:pt x="429" y="174"/>
                        <a:pt x="427" y="172"/>
                      </a:cubicBezTo>
                      <a:cubicBezTo>
                        <a:pt x="424" y="171"/>
                        <a:pt x="426" y="169"/>
                        <a:pt x="429" y="166"/>
                      </a:cubicBezTo>
                      <a:cubicBezTo>
                        <a:pt x="433" y="164"/>
                        <a:pt x="433" y="155"/>
                        <a:pt x="433" y="153"/>
                      </a:cubicBezTo>
                      <a:cubicBezTo>
                        <a:pt x="433" y="151"/>
                        <a:pt x="426" y="149"/>
                        <a:pt x="423" y="149"/>
                      </a:cubicBezTo>
                      <a:cubicBezTo>
                        <a:pt x="420" y="150"/>
                        <a:pt x="410" y="149"/>
                        <a:pt x="408" y="149"/>
                      </a:cubicBezTo>
                      <a:cubicBezTo>
                        <a:pt x="405" y="148"/>
                        <a:pt x="404" y="151"/>
                        <a:pt x="403" y="153"/>
                      </a:cubicBezTo>
                      <a:cubicBezTo>
                        <a:pt x="402" y="156"/>
                        <a:pt x="399" y="159"/>
                        <a:pt x="398" y="165"/>
                      </a:cubicBezTo>
                      <a:cubicBezTo>
                        <a:pt x="396" y="170"/>
                        <a:pt x="390" y="172"/>
                        <a:pt x="387" y="173"/>
                      </a:cubicBezTo>
                      <a:cubicBezTo>
                        <a:pt x="384" y="174"/>
                        <a:pt x="382" y="178"/>
                        <a:pt x="384" y="180"/>
                      </a:cubicBezTo>
                      <a:cubicBezTo>
                        <a:pt x="385" y="182"/>
                        <a:pt x="387" y="180"/>
                        <a:pt x="388" y="181"/>
                      </a:cubicBezTo>
                      <a:cubicBezTo>
                        <a:pt x="389" y="182"/>
                        <a:pt x="388" y="187"/>
                        <a:pt x="387" y="187"/>
                      </a:cubicBezTo>
                      <a:cubicBezTo>
                        <a:pt x="386" y="188"/>
                        <a:pt x="389" y="190"/>
                        <a:pt x="387" y="191"/>
                      </a:cubicBezTo>
                      <a:cubicBezTo>
                        <a:pt x="385" y="192"/>
                        <a:pt x="383" y="195"/>
                        <a:pt x="384" y="197"/>
                      </a:cubicBezTo>
                      <a:cubicBezTo>
                        <a:pt x="385" y="198"/>
                        <a:pt x="391" y="199"/>
                        <a:pt x="393" y="200"/>
                      </a:cubicBezTo>
                      <a:cubicBezTo>
                        <a:pt x="396" y="202"/>
                        <a:pt x="395" y="204"/>
                        <a:pt x="397" y="207"/>
                      </a:cubicBezTo>
                      <a:cubicBezTo>
                        <a:pt x="399" y="209"/>
                        <a:pt x="401" y="208"/>
                        <a:pt x="402" y="209"/>
                      </a:cubicBezTo>
                      <a:cubicBezTo>
                        <a:pt x="403" y="211"/>
                        <a:pt x="398" y="217"/>
                        <a:pt x="397" y="217"/>
                      </a:cubicBezTo>
                      <a:cubicBezTo>
                        <a:pt x="395" y="217"/>
                        <a:pt x="389" y="211"/>
                        <a:pt x="387" y="209"/>
                      </a:cubicBezTo>
                      <a:cubicBezTo>
                        <a:pt x="385" y="208"/>
                        <a:pt x="378" y="206"/>
                        <a:pt x="374" y="204"/>
                      </a:cubicBezTo>
                      <a:cubicBezTo>
                        <a:pt x="370" y="202"/>
                        <a:pt x="367" y="202"/>
                        <a:pt x="363" y="199"/>
                      </a:cubicBezTo>
                      <a:cubicBezTo>
                        <a:pt x="359" y="197"/>
                        <a:pt x="356" y="195"/>
                        <a:pt x="349" y="196"/>
                      </a:cubicBezTo>
                      <a:cubicBezTo>
                        <a:pt x="341" y="196"/>
                        <a:pt x="336" y="194"/>
                        <a:pt x="334" y="194"/>
                      </a:cubicBezTo>
                      <a:cubicBezTo>
                        <a:pt x="331" y="195"/>
                        <a:pt x="332" y="192"/>
                        <a:pt x="328" y="190"/>
                      </a:cubicBezTo>
                      <a:cubicBezTo>
                        <a:pt x="324" y="188"/>
                        <a:pt x="321" y="185"/>
                        <a:pt x="318" y="187"/>
                      </a:cubicBezTo>
                      <a:cubicBezTo>
                        <a:pt x="316" y="188"/>
                        <a:pt x="317" y="193"/>
                        <a:pt x="321" y="193"/>
                      </a:cubicBezTo>
                      <a:cubicBezTo>
                        <a:pt x="324" y="194"/>
                        <a:pt x="322" y="196"/>
                        <a:pt x="326" y="196"/>
                      </a:cubicBezTo>
                      <a:cubicBezTo>
                        <a:pt x="330" y="195"/>
                        <a:pt x="332" y="197"/>
                        <a:pt x="332" y="199"/>
                      </a:cubicBezTo>
                      <a:cubicBezTo>
                        <a:pt x="331" y="202"/>
                        <a:pt x="333" y="204"/>
                        <a:pt x="335" y="206"/>
                      </a:cubicBezTo>
                      <a:cubicBezTo>
                        <a:pt x="337" y="208"/>
                        <a:pt x="336" y="210"/>
                        <a:pt x="333" y="210"/>
                      </a:cubicBezTo>
                      <a:cubicBezTo>
                        <a:pt x="330" y="210"/>
                        <a:pt x="326" y="211"/>
                        <a:pt x="327" y="213"/>
                      </a:cubicBezTo>
                      <a:cubicBezTo>
                        <a:pt x="329" y="215"/>
                        <a:pt x="326" y="216"/>
                        <a:pt x="323" y="215"/>
                      </a:cubicBezTo>
                      <a:cubicBezTo>
                        <a:pt x="320" y="214"/>
                        <a:pt x="322" y="211"/>
                        <a:pt x="323" y="210"/>
                      </a:cubicBezTo>
                      <a:cubicBezTo>
                        <a:pt x="324" y="209"/>
                        <a:pt x="320" y="207"/>
                        <a:pt x="318" y="206"/>
                      </a:cubicBezTo>
                      <a:cubicBezTo>
                        <a:pt x="316" y="206"/>
                        <a:pt x="308" y="212"/>
                        <a:pt x="306" y="213"/>
                      </a:cubicBezTo>
                      <a:cubicBezTo>
                        <a:pt x="304" y="213"/>
                        <a:pt x="298" y="211"/>
                        <a:pt x="292" y="213"/>
                      </a:cubicBezTo>
                      <a:cubicBezTo>
                        <a:pt x="287" y="214"/>
                        <a:pt x="287" y="218"/>
                        <a:pt x="285" y="218"/>
                      </a:cubicBezTo>
                      <a:cubicBezTo>
                        <a:pt x="283" y="218"/>
                        <a:pt x="276" y="219"/>
                        <a:pt x="274" y="217"/>
                      </a:cubicBezTo>
                      <a:cubicBezTo>
                        <a:pt x="272" y="216"/>
                        <a:pt x="274" y="215"/>
                        <a:pt x="276" y="215"/>
                      </a:cubicBezTo>
                      <a:cubicBezTo>
                        <a:pt x="279" y="215"/>
                        <a:pt x="279" y="214"/>
                        <a:pt x="278" y="213"/>
                      </a:cubicBezTo>
                      <a:cubicBezTo>
                        <a:pt x="277" y="211"/>
                        <a:pt x="280" y="208"/>
                        <a:pt x="280" y="207"/>
                      </a:cubicBezTo>
                      <a:cubicBezTo>
                        <a:pt x="280" y="206"/>
                        <a:pt x="270" y="209"/>
                        <a:pt x="269" y="210"/>
                      </a:cubicBezTo>
                      <a:cubicBezTo>
                        <a:pt x="267" y="212"/>
                        <a:pt x="269" y="214"/>
                        <a:pt x="267" y="215"/>
                      </a:cubicBezTo>
                      <a:cubicBezTo>
                        <a:pt x="266" y="216"/>
                        <a:pt x="266" y="213"/>
                        <a:pt x="264" y="213"/>
                      </a:cubicBezTo>
                      <a:cubicBezTo>
                        <a:pt x="262" y="212"/>
                        <a:pt x="248" y="215"/>
                        <a:pt x="245" y="218"/>
                      </a:cubicBezTo>
                      <a:cubicBezTo>
                        <a:pt x="243" y="221"/>
                        <a:pt x="238" y="221"/>
                        <a:pt x="238" y="223"/>
                      </a:cubicBezTo>
                      <a:cubicBezTo>
                        <a:pt x="238" y="225"/>
                        <a:pt x="231" y="225"/>
                        <a:pt x="229" y="226"/>
                      </a:cubicBezTo>
                      <a:cubicBezTo>
                        <a:pt x="226" y="227"/>
                        <a:pt x="228" y="232"/>
                        <a:pt x="227" y="234"/>
                      </a:cubicBezTo>
                      <a:cubicBezTo>
                        <a:pt x="226" y="237"/>
                        <a:pt x="216" y="236"/>
                        <a:pt x="213" y="236"/>
                      </a:cubicBezTo>
                      <a:cubicBezTo>
                        <a:pt x="210" y="236"/>
                        <a:pt x="209" y="230"/>
                        <a:pt x="207" y="230"/>
                      </a:cubicBezTo>
                      <a:cubicBezTo>
                        <a:pt x="204" y="230"/>
                        <a:pt x="206" y="226"/>
                        <a:pt x="207" y="225"/>
                      </a:cubicBezTo>
                      <a:cubicBezTo>
                        <a:pt x="207" y="223"/>
                        <a:pt x="209" y="225"/>
                        <a:pt x="212" y="223"/>
                      </a:cubicBezTo>
                      <a:cubicBezTo>
                        <a:pt x="215" y="221"/>
                        <a:pt x="218" y="224"/>
                        <a:pt x="219" y="222"/>
                      </a:cubicBezTo>
                      <a:cubicBezTo>
                        <a:pt x="221" y="221"/>
                        <a:pt x="215" y="218"/>
                        <a:pt x="214" y="215"/>
                      </a:cubicBezTo>
                      <a:cubicBezTo>
                        <a:pt x="214" y="212"/>
                        <a:pt x="208" y="211"/>
                        <a:pt x="204" y="212"/>
                      </a:cubicBezTo>
                      <a:cubicBezTo>
                        <a:pt x="201" y="213"/>
                        <a:pt x="197" y="212"/>
                        <a:pt x="194" y="211"/>
                      </a:cubicBezTo>
                      <a:cubicBezTo>
                        <a:pt x="192" y="209"/>
                        <a:pt x="192" y="213"/>
                        <a:pt x="196" y="214"/>
                      </a:cubicBezTo>
                      <a:cubicBezTo>
                        <a:pt x="199" y="215"/>
                        <a:pt x="197" y="218"/>
                        <a:pt x="198" y="219"/>
                      </a:cubicBezTo>
                      <a:cubicBezTo>
                        <a:pt x="199" y="221"/>
                        <a:pt x="197" y="225"/>
                        <a:pt x="195" y="228"/>
                      </a:cubicBezTo>
                      <a:cubicBezTo>
                        <a:pt x="193" y="231"/>
                        <a:pt x="194" y="231"/>
                        <a:pt x="198" y="231"/>
                      </a:cubicBezTo>
                      <a:cubicBezTo>
                        <a:pt x="201" y="231"/>
                        <a:pt x="201" y="235"/>
                        <a:pt x="201" y="238"/>
                      </a:cubicBezTo>
                      <a:cubicBezTo>
                        <a:pt x="201" y="241"/>
                        <a:pt x="198" y="242"/>
                        <a:pt x="198" y="244"/>
                      </a:cubicBezTo>
                      <a:cubicBezTo>
                        <a:pt x="198" y="247"/>
                        <a:pt x="195" y="243"/>
                        <a:pt x="195" y="244"/>
                      </a:cubicBezTo>
                      <a:cubicBezTo>
                        <a:pt x="194" y="245"/>
                        <a:pt x="193" y="244"/>
                        <a:pt x="192" y="242"/>
                      </a:cubicBezTo>
                      <a:cubicBezTo>
                        <a:pt x="192" y="240"/>
                        <a:pt x="187" y="241"/>
                        <a:pt x="184" y="240"/>
                      </a:cubicBezTo>
                      <a:cubicBezTo>
                        <a:pt x="181" y="240"/>
                        <a:pt x="180" y="241"/>
                        <a:pt x="179" y="243"/>
                      </a:cubicBezTo>
                      <a:cubicBezTo>
                        <a:pt x="178" y="245"/>
                        <a:pt x="174" y="246"/>
                        <a:pt x="172" y="246"/>
                      </a:cubicBezTo>
                      <a:cubicBezTo>
                        <a:pt x="170" y="246"/>
                        <a:pt x="166" y="250"/>
                        <a:pt x="164" y="252"/>
                      </a:cubicBezTo>
                      <a:cubicBezTo>
                        <a:pt x="162" y="253"/>
                        <a:pt x="162" y="256"/>
                        <a:pt x="165" y="259"/>
                      </a:cubicBezTo>
                      <a:cubicBezTo>
                        <a:pt x="168" y="261"/>
                        <a:pt x="168" y="263"/>
                        <a:pt x="168" y="265"/>
                      </a:cubicBezTo>
                      <a:cubicBezTo>
                        <a:pt x="168" y="266"/>
                        <a:pt x="160" y="266"/>
                        <a:pt x="158" y="264"/>
                      </a:cubicBezTo>
                      <a:cubicBezTo>
                        <a:pt x="157" y="263"/>
                        <a:pt x="152" y="262"/>
                        <a:pt x="150" y="262"/>
                      </a:cubicBezTo>
                      <a:cubicBezTo>
                        <a:pt x="148" y="263"/>
                        <a:pt x="143" y="257"/>
                        <a:pt x="141" y="257"/>
                      </a:cubicBezTo>
                      <a:cubicBezTo>
                        <a:pt x="138" y="257"/>
                        <a:pt x="137" y="260"/>
                        <a:pt x="136" y="261"/>
                      </a:cubicBezTo>
                      <a:cubicBezTo>
                        <a:pt x="135" y="263"/>
                        <a:pt x="137" y="263"/>
                        <a:pt x="138" y="266"/>
                      </a:cubicBezTo>
                      <a:cubicBezTo>
                        <a:pt x="140" y="269"/>
                        <a:pt x="144" y="269"/>
                        <a:pt x="146" y="269"/>
                      </a:cubicBezTo>
                      <a:cubicBezTo>
                        <a:pt x="148" y="269"/>
                        <a:pt x="148" y="272"/>
                        <a:pt x="147" y="274"/>
                      </a:cubicBezTo>
                      <a:cubicBezTo>
                        <a:pt x="146" y="275"/>
                        <a:pt x="142" y="276"/>
                        <a:pt x="141" y="275"/>
                      </a:cubicBezTo>
                      <a:cubicBezTo>
                        <a:pt x="140" y="273"/>
                        <a:pt x="135" y="275"/>
                        <a:pt x="135" y="273"/>
                      </a:cubicBezTo>
                      <a:cubicBezTo>
                        <a:pt x="134" y="271"/>
                        <a:pt x="131" y="268"/>
                        <a:pt x="127" y="269"/>
                      </a:cubicBezTo>
                      <a:cubicBezTo>
                        <a:pt x="123" y="269"/>
                        <a:pt x="123" y="267"/>
                        <a:pt x="123" y="264"/>
                      </a:cubicBezTo>
                      <a:cubicBezTo>
                        <a:pt x="123" y="261"/>
                        <a:pt x="121" y="259"/>
                        <a:pt x="121" y="258"/>
                      </a:cubicBezTo>
                      <a:cubicBezTo>
                        <a:pt x="121" y="257"/>
                        <a:pt x="119" y="254"/>
                        <a:pt x="121" y="253"/>
                      </a:cubicBezTo>
                      <a:cubicBezTo>
                        <a:pt x="123" y="252"/>
                        <a:pt x="122" y="250"/>
                        <a:pt x="122" y="248"/>
                      </a:cubicBezTo>
                      <a:cubicBezTo>
                        <a:pt x="122" y="246"/>
                        <a:pt x="119" y="243"/>
                        <a:pt x="116" y="243"/>
                      </a:cubicBezTo>
                      <a:cubicBezTo>
                        <a:pt x="113" y="243"/>
                        <a:pt x="113" y="240"/>
                        <a:pt x="111" y="240"/>
                      </a:cubicBezTo>
                      <a:cubicBezTo>
                        <a:pt x="108" y="239"/>
                        <a:pt x="103" y="235"/>
                        <a:pt x="103" y="233"/>
                      </a:cubicBezTo>
                      <a:cubicBezTo>
                        <a:pt x="103" y="231"/>
                        <a:pt x="99" y="231"/>
                        <a:pt x="100" y="230"/>
                      </a:cubicBezTo>
                      <a:cubicBezTo>
                        <a:pt x="101" y="230"/>
                        <a:pt x="104" y="231"/>
                        <a:pt x="107" y="233"/>
                      </a:cubicBezTo>
                      <a:cubicBezTo>
                        <a:pt x="109" y="235"/>
                        <a:pt x="112" y="237"/>
                        <a:pt x="118" y="238"/>
                      </a:cubicBezTo>
                      <a:cubicBezTo>
                        <a:pt x="123" y="238"/>
                        <a:pt x="126" y="241"/>
                        <a:pt x="132" y="242"/>
                      </a:cubicBezTo>
                      <a:cubicBezTo>
                        <a:pt x="138" y="243"/>
                        <a:pt x="142" y="244"/>
                        <a:pt x="151" y="245"/>
                      </a:cubicBezTo>
                      <a:cubicBezTo>
                        <a:pt x="160" y="246"/>
                        <a:pt x="171" y="237"/>
                        <a:pt x="174" y="235"/>
                      </a:cubicBezTo>
                      <a:cubicBezTo>
                        <a:pt x="176" y="232"/>
                        <a:pt x="173" y="227"/>
                        <a:pt x="173" y="225"/>
                      </a:cubicBezTo>
                      <a:cubicBezTo>
                        <a:pt x="173" y="223"/>
                        <a:pt x="169" y="223"/>
                        <a:pt x="169" y="222"/>
                      </a:cubicBezTo>
                      <a:cubicBezTo>
                        <a:pt x="168" y="220"/>
                        <a:pt x="165" y="218"/>
                        <a:pt x="162" y="218"/>
                      </a:cubicBezTo>
                      <a:cubicBezTo>
                        <a:pt x="158" y="218"/>
                        <a:pt x="158" y="214"/>
                        <a:pt x="155" y="214"/>
                      </a:cubicBezTo>
                      <a:cubicBezTo>
                        <a:pt x="152" y="214"/>
                        <a:pt x="151" y="213"/>
                        <a:pt x="143" y="208"/>
                      </a:cubicBezTo>
                      <a:cubicBezTo>
                        <a:pt x="136" y="203"/>
                        <a:pt x="126" y="200"/>
                        <a:pt x="125" y="201"/>
                      </a:cubicBezTo>
                      <a:cubicBezTo>
                        <a:pt x="123" y="202"/>
                        <a:pt x="122" y="202"/>
                        <a:pt x="121" y="200"/>
                      </a:cubicBezTo>
                      <a:cubicBezTo>
                        <a:pt x="119" y="198"/>
                        <a:pt x="117" y="199"/>
                        <a:pt x="115" y="200"/>
                      </a:cubicBezTo>
                      <a:cubicBezTo>
                        <a:pt x="113" y="202"/>
                        <a:pt x="111" y="199"/>
                        <a:pt x="107" y="200"/>
                      </a:cubicBezTo>
                      <a:cubicBezTo>
                        <a:pt x="104" y="201"/>
                        <a:pt x="102" y="198"/>
                        <a:pt x="103" y="197"/>
                      </a:cubicBezTo>
                      <a:cubicBezTo>
                        <a:pt x="104" y="196"/>
                        <a:pt x="109" y="197"/>
                        <a:pt x="109" y="195"/>
                      </a:cubicBezTo>
                      <a:cubicBezTo>
                        <a:pt x="109" y="193"/>
                        <a:pt x="107" y="195"/>
                        <a:pt x="103" y="193"/>
                      </a:cubicBezTo>
                      <a:cubicBezTo>
                        <a:pt x="100" y="191"/>
                        <a:pt x="98" y="192"/>
                        <a:pt x="98" y="194"/>
                      </a:cubicBezTo>
                      <a:cubicBezTo>
                        <a:pt x="97" y="196"/>
                        <a:pt x="94" y="195"/>
                        <a:pt x="93" y="194"/>
                      </a:cubicBezTo>
                      <a:cubicBezTo>
                        <a:pt x="93" y="194"/>
                        <a:pt x="92" y="194"/>
                        <a:pt x="92" y="193"/>
                      </a:cubicBezTo>
                      <a:cubicBezTo>
                        <a:pt x="92" y="196"/>
                        <a:pt x="90" y="197"/>
                        <a:pt x="88" y="196"/>
                      </a:cubicBezTo>
                      <a:cubicBezTo>
                        <a:pt x="86" y="196"/>
                        <a:pt x="84" y="199"/>
                        <a:pt x="82" y="199"/>
                      </a:cubicBezTo>
                      <a:cubicBezTo>
                        <a:pt x="79" y="199"/>
                        <a:pt x="77" y="202"/>
                        <a:pt x="76" y="204"/>
                      </a:cubicBezTo>
                      <a:cubicBezTo>
                        <a:pt x="76" y="206"/>
                        <a:pt x="73" y="205"/>
                        <a:pt x="73" y="207"/>
                      </a:cubicBezTo>
                      <a:cubicBezTo>
                        <a:pt x="73" y="208"/>
                        <a:pt x="73" y="209"/>
                        <a:pt x="72" y="211"/>
                      </a:cubicBezTo>
                      <a:cubicBezTo>
                        <a:pt x="71" y="212"/>
                        <a:pt x="72" y="213"/>
                        <a:pt x="73" y="215"/>
                      </a:cubicBezTo>
                      <a:cubicBezTo>
                        <a:pt x="74" y="218"/>
                        <a:pt x="77" y="218"/>
                        <a:pt x="78" y="218"/>
                      </a:cubicBezTo>
                      <a:cubicBezTo>
                        <a:pt x="79" y="219"/>
                        <a:pt x="84" y="223"/>
                        <a:pt x="84" y="224"/>
                      </a:cubicBezTo>
                      <a:cubicBezTo>
                        <a:pt x="84" y="226"/>
                        <a:pt x="80" y="229"/>
                        <a:pt x="79" y="230"/>
                      </a:cubicBezTo>
                      <a:cubicBezTo>
                        <a:pt x="77" y="231"/>
                        <a:pt x="75" y="233"/>
                        <a:pt x="76" y="235"/>
                      </a:cubicBezTo>
                      <a:cubicBezTo>
                        <a:pt x="77" y="236"/>
                        <a:pt x="81" y="242"/>
                        <a:pt x="84" y="247"/>
                      </a:cubicBezTo>
                      <a:cubicBezTo>
                        <a:pt x="87" y="252"/>
                        <a:pt x="83" y="250"/>
                        <a:pt x="81" y="252"/>
                      </a:cubicBezTo>
                      <a:cubicBezTo>
                        <a:pt x="80" y="254"/>
                        <a:pt x="82" y="257"/>
                        <a:pt x="82" y="258"/>
                      </a:cubicBezTo>
                      <a:cubicBezTo>
                        <a:pt x="83" y="259"/>
                        <a:pt x="80" y="259"/>
                        <a:pt x="81" y="260"/>
                      </a:cubicBezTo>
                      <a:cubicBezTo>
                        <a:pt x="81" y="262"/>
                        <a:pt x="84" y="262"/>
                        <a:pt x="85" y="263"/>
                      </a:cubicBezTo>
                      <a:cubicBezTo>
                        <a:pt x="85" y="264"/>
                        <a:pt x="82" y="265"/>
                        <a:pt x="83" y="267"/>
                      </a:cubicBezTo>
                      <a:cubicBezTo>
                        <a:pt x="85" y="269"/>
                        <a:pt x="87" y="269"/>
                        <a:pt x="88" y="271"/>
                      </a:cubicBezTo>
                      <a:cubicBezTo>
                        <a:pt x="88" y="274"/>
                        <a:pt x="82" y="274"/>
                        <a:pt x="83" y="276"/>
                      </a:cubicBezTo>
                      <a:cubicBezTo>
                        <a:pt x="83" y="278"/>
                        <a:pt x="90" y="280"/>
                        <a:pt x="93" y="284"/>
                      </a:cubicBezTo>
                      <a:cubicBezTo>
                        <a:pt x="96" y="287"/>
                        <a:pt x="96" y="288"/>
                        <a:pt x="95" y="290"/>
                      </a:cubicBezTo>
                      <a:cubicBezTo>
                        <a:pt x="94" y="294"/>
                        <a:pt x="85" y="297"/>
                        <a:pt x="83" y="301"/>
                      </a:cubicBezTo>
                      <a:cubicBezTo>
                        <a:pt x="81" y="306"/>
                        <a:pt x="74" y="308"/>
                        <a:pt x="71" y="311"/>
                      </a:cubicBezTo>
                      <a:cubicBezTo>
                        <a:pt x="69" y="313"/>
                        <a:pt x="68" y="315"/>
                        <a:pt x="67" y="316"/>
                      </a:cubicBezTo>
                      <a:cubicBezTo>
                        <a:pt x="68" y="316"/>
                        <a:pt x="70" y="316"/>
                        <a:pt x="70" y="315"/>
                      </a:cubicBezTo>
                      <a:cubicBezTo>
                        <a:pt x="72" y="314"/>
                        <a:pt x="74" y="319"/>
                        <a:pt x="75" y="320"/>
                      </a:cubicBezTo>
                      <a:cubicBezTo>
                        <a:pt x="77" y="322"/>
                        <a:pt x="81" y="320"/>
                        <a:pt x="82" y="322"/>
                      </a:cubicBezTo>
                      <a:cubicBezTo>
                        <a:pt x="84" y="323"/>
                        <a:pt x="81" y="323"/>
                        <a:pt x="79" y="323"/>
                      </a:cubicBezTo>
                      <a:cubicBezTo>
                        <a:pt x="76" y="323"/>
                        <a:pt x="75" y="324"/>
                        <a:pt x="71" y="326"/>
                      </a:cubicBezTo>
                      <a:cubicBezTo>
                        <a:pt x="68" y="327"/>
                        <a:pt x="68" y="328"/>
                        <a:pt x="67" y="329"/>
                      </a:cubicBezTo>
                      <a:cubicBezTo>
                        <a:pt x="69" y="331"/>
                        <a:pt x="66" y="332"/>
                        <a:pt x="65" y="334"/>
                      </a:cubicBezTo>
                      <a:cubicBezTo>
                        <a:pt x="64" y="336"/>
                        <a:pt x="63" y="337"/>
                        <a:pt x="63" y="338"/>
                      </a:cubicBezTo>
                      <a:cubicBezTo>
                        <a:pt x="62" y="340"/>
                        <a:pt x="63" y="341"/>
                        <a:pt x="63" y="343"/>
                      </a:cubicBezTo>
                      <a:cubicBezTo>
                        <a:pt x="63" y="345"/>
                        <a:pt x="64" y="345"/>
                        <a:pt x="65" y="347"/>
                      </a:cubicBezTo>
                      <a:cubicBezTo>
                        <a:pt x="66" y="349"/>
                        <a:pt x="64" y="349"/>
                        <a:pt x="63" y="350"/>
                      </a:cubicBezTo>
                      <a:cubicBezTo>
                        <a:pt x="62" y="351"/>
                        <a:pt x="62" y="353"/>
                        <a:pt x="64" y="354"/>
                      </a:cubicBezTo>
                      <a:cubicBezTo>
                        <a:pt x="65" y="355"/>
                        <a:pt x="65" y="357"/>
                        <a:pt x="65" y="358"/>
                      </a:cubicBezTo>
                      <a:cubicBezTo>
                        <a:pt x="64" y="360"/>
                        <a:pt x="66" y="362"/>
                        <a:pt x="67" y="363"/>
                      </a:cubicBezTo>
                      <a:cubicBezTo>
                        <a:pt x="69" y="364"/>
                        <a:pt x="68" y="368"/>
                        <a:pt x="69" y="369"/>
                      </a:cubicBezTo>
                      <a:cubicBezTo>
                        <a:pt x="71" y="369"/>
                        <a:pt x="72" y="370"/>
                        <a:pt x="74" y="370"/>
                      </a:cubicBezTo>
                      <a:cubicBezTo>
                        <a:pt x="76" y="369"/>
                        <a:pt x="77" y="370"/>
                        <a:pt x="78" y="372"/>
                      </a:cubicBezTo>
                      <a:cubicBezTo>
                        <a:pt x="79" y="373"/>
                        <a:pt x="80" y="373"/>
                        <a:pt x="82" y="372"/>
                      </a:cubicBezTo>
                      <a:cubicBezTo>
                        <a:pt x="84" y="371"/>
                        <a:pt x="89" y="373"/>
                        <a:pt x="90" y="374"/>
                      </a:cubicBezTo>
                      <a:cubicBezTo>
                        <a:pt x="91" y="374"/>
                        <a:pt x="90" y="377"/>
                        <a:pt x="90" y="379"/>
                      </a:cubicBezTo>
                      <a:cubicBezTo>
                        <a:pt x="90" y="381"/>
                        <a:pt x="89" y="384"/>
                        <a:pt x="91" y="385"/>
                      </a:cubicBezTo>
                      <a:cubicBezTo>
                        <a:pt x="93" y="386"/>
                        <a:pt x="93" y="389"/>
                        <a:pt x="95" y="390"/>
                      </a:cubicBezTo>
                      <a:cubicBezTo>
                        <a:pt x="97" y="391"/>
                        <a:pt x="98" y="394"/>
                        <a:pt x="100" y="395"/>
                      </a:cubicBezTo>
                      <a:cubicBezTo>
                        <a:pt x="101" y="395"/>
                        <a:pt x="104" y="397"/>
                        <a:pt x="104" y="399"/>
                      </a:cubicBezTo>
                      <a:cubicBezTo>
                        <a:pt x="104" y="400"/>
                        <a:pt x="102" y="402"/>
                        <a:pt x="100" y="402"/>
                      </a:cubicBezTo>
                      <a:cubicBezTo>
                        <a:pt x="98" y="403"/>
                        <a:pt x="95" y="400"/>
                        <a:pt x="94" y="402"/>
                      </a:cubicBezTo>
                      <a:cubicBezTo>
                        <a:pt x="93" y="403"/>
                        <a:pt x="95" y="405"/>
                        <a:pt x="95" y="409"/>
                      </a:cubicBezTo>
                      <a:cubicBezTo>
                        <a:pt x="96" y="413"/>
                        <a:pt x="97" y="413"/>
                        <a:pt x="99" y="413"/>
                      </a:cubicBezTo>
                      <a:cubicBezTo>
                        <a:pt x="101" y="413"/>
                        <a:pt x="101" y="412"/>
                        <a:pt x="103" y="411"/>
                      </a:cubicBezTo>
                      <a:cubicBezTo>
                        <a:pt x="104" y="411"/>
                        <a:pt x="107" y="412"/>
                        <a:pt x="108" y="411"/>
                      </a:cubicBezTo>
                      <a:cubicBezTo>
                        <a:pt x="109" y="411"/>
                        <a:pt x="114" y="410"/>
                        <a:pt x="115" y="412"/>
                      </a:cubicBezTo>
                      <a:cubicBezTo>
                        <a:pt x="115" y="413"/>
                        <a:pt x="116" y="417"/>
                        <a:pt x="116" y="418"/>
                      </a:cubicBezTo>
                      <a:cubicBezTo>
                        <a:pt x="115" y="419"/>
                        <a:pt x="117" y="421"/>
                        <a:pt x="117" y="422"/>
                      </a:cubicBezTo>
                      <a:cubicBezTo>
                        <a:pt x="118" y="424"/>
                        <a:pt x="122" y="423"/>
                        <a:pt x="123" y="424"/>
                      </a:cubicBezTo>
                      <a:cubicBezTo>
                        <a:pt x="125" y="424"/>
                        <a:pt x="127" y="428"/>
                        <a:pt x="127" y="430"/>
                      </a:cubicBezTo>
                      <a:cubicBezTo>
                        <a:pt x="126" y="432"/>
                        <a:pt x="129" y="432"/>
                        <a:pt x="130" y="432"/>
                      </a:cubicBezTo>
                      <a:cubicBezTo>
                        <a:pt x="131" y="431"/>
                        <a:pt x="132" y="433"/>
                        <a:pt x="134" y="433"/>
                      </a:cubicBezTo>
                      <a:cubicBezTo>
                        <a:pt x="135" y="434"/>
                        <a:pt x="137" y="434"/>
                        <a:pt x="138" y="433"/>
                      </a:cubicBezTo>
                      <a:cubicBezTo>
                        <a:pt x="139" y="432"/>
                        <a:pt x="142" y="432"/>
                        <a:pt x="142" y="433"/>
                      </a:cubicBezTo>
                      <a:cubicBezTo>
                        <a:pt x="143" y="434"/>
                        <a:pt x="146" y="436"/>
                        <a:pt x="146" y="437"/>
                      </a:cubicBezTo>
                      <a:cubicBezTo>
                        <a:pt x="146" y="438"/>
                        <a:pt x="150" y="437"/>
                        <a:pt x="153" y="438"/>
                      </a:cubicBezTo>
                      <a:cubicBezTo>
                        <a:pt x="155" y="439"/>
                        <a:pt x="157" y="439"/>
                        <a:pt x="159" y="440"/>
                      </a:cubicBezTo>
                      <a:cubicBezTo>
                        <a:pt x="162" y="441"/>
                        <a:pt x="164" y="441"/>
                        <a:pt x="164" y="443"/>
                      </a:cubicBezTo>
                      <a:cubicBezTo>
                        <a:pt x="164" y="444"/>
                        <a:pt x="162" y="445"/>
                        <a:pt x="162" y="446"/>
                      </a:cubicBezTo>
                      <a:cubicBezTo>
                        <a:pt x="162" y="447"/>
                        <a:pt x="164" y="447"/>
                        <a:pt x="164" y="448"/>
                      </a:cubicBezTo>
                      <a:cubicBezTo>
                        <a:pt x="164" y="450"/>
                        <a:pt x="161" y="450"/>
                        <a:pt x="161" y="450"/>
                      </a:cubicBezTo>
                      <a:cubicBezTo>
                        <a:pt x="160" y="451"/>
                        <a:pt x="162" y="453"/>
                        <a:pt x="163" y="453"/>
                      </a:cubicBezTo>
                      <a:cubicBezTo>
                        <a:pt x="163" y="454"/>
                        <a:pt x="161" y="457"/>
                        <a:pt x="161" y="458"/>
                      </a:cubicBezTo>
                      <a:cubicBezTo>
                        <a:pt x="161" y="459"/>
                        <a:pt x="156" y="458"/>
                        <a:pt x="155" y="458"/>
                      </a:cubicBezTo>
                      <a:cubicBezTo>
                        <a:pt x="153" y="458"/>
                        <a:pt x="150" y="462"/>
                        <a:pt x="148" y="462"/>
                      </a:cubicBezTo>
                      <a:cubicBezTo>
                        <a:pt x="147" y="463"/>
                        <a:pt x="148" y="465"/>
                        <a:pt x="148" y="466"/>
                      </a:cubicBezTo>
                      <a:cubicBezTo>
                        <a:pt x="152" y="465"/>
                        <a:pt x="156" y="465"/>
                        <a:pt x="156" y="466"/>
                      </a:cubicBezTo>
                      <a:cubicBezTo>
                        <a:pt x="157" y="467"/>
                        <a:pt x="148" y="471"/>
                        <a:pt x="146" y="472"/>
                      </a:cubicBezTo>
                      <a:cubicBezTo>
                        <a:pt x="145" y="472"/>
                        <a:pt x="150" y="475"/>
                        <a:pt x="149" y="476"/>
                      </a:cubicBezTo>
                      <a:cubicBezTo>
                        <a:pt x="149" y="478"/>
                        <a:pt x="144" y="478"/>
                        <a:pt x="145" y="481"/>
                      </a:cubicBezTo>
                      <a:cubicBezTo>
                        <a:pt x="145" y="484"/>
                        <a:pt x="143" y="484"/>
                        <a:pt x="140" y="484"/>
                      </a:cubicBezTo>
                      <a:cubicBezTo>
                        <a:pt x="138" y="484"/>
                        <a:pt x="137" y="486"/>
                        <a:pt x="138" y="486"/>
                      </a:cubicBezTo>
                      <a:cubicBezTo>
                        <a:pt x="139" y="487"/>
                        <a:pt x="139" y="490"/>
                        <a:pt x="144" y="491"/>
                      </a:cubicBezTo>
                      <a:cubicBezTo>
                        <a:pt x="150" y="493"/>
                        <a:pt x="155" y="498"/>
                        <a:pt x="159" y="502"/>
                      </a:cubicBezTo>
                      <a:cubicBezTo>
                        <a:pt x="160" y="503"/>
                        <a:pt x="161" y="503"/>
                        <a:pt x="161" y="504"/>
                      </a:cubicBezTo>
                      <a:cubicBezTo>
                        <a:pt x="163" y="503"/>
                        <a:pt x="164" y="503"/>
                        <a:pt x="165" y="503"/>
                      </a:cubicBezTo>
                      <a:cubicBezTo>
                        <a:pt x="167" y="502"/>
                        <a:pt x="172" y="504"/>
                        <a:pt x="174" y="505"/>
                      </a:cubicBezTo>
                      <a:cubicBezTo>
                        <a:pt x="177" y="507"/>
                        <a:pt x="186" y="505"/>
                        <a:pt x="187" y="506"/>
                      </a:cubicBezTo>
                      <a:cubicBezTo>
                        <a:pt x="188" y="508"/>
                        <a:pt x="190" y="510"/>
                        <a:pt x="192" y="510"/>
                      </a:cubicBezTo>
                      <a:cubicBezTo>
                        <a:pt x="193" y="510"/>
                        <a:pt x="195" y="513"/>
                        <a:pt x="197" y="512"/>
                      </a:cubicBezTo>
                      <a:cubicBezTo>
                        <a:pt x="198" y="511"/>
                        <a:pt x="203" y="511"/>
                        <a:pt x="205" y="511"/>
                      </a:cubicBezTo>
                      <a:cubicBezTo>
                        <a:pt x="206" y="511"/>
                        <a:pt x="206" y="512"/>
                        <a:pt x="208" y="512"/>
                      </a:cubicBezTo>
                      <a:cubicBezTo>
                        <a:pt x="209" y="512"/>
                        <a:pt x="209" y="517"/>
                        <a:pt x="210" y="517"/>
                      </a:cubicBezTo>
                      <a:cubicBezTo>
                        <a:pt x="211" y="517"/>
                        <a:pt x="215" y="520"/>
                        <a:pt x="218" y="521"/>
                      </a:cubicBezTo>
                      <a:cubicBezTo>
                        <a:pt x="220" y="521"/>
                        <a:pt x="223" y="525"/>
                        <a:pt x="224" y="525"/>
                      </a:cubicBezTo>
                      <a:cubicBezTo>
                        <a:pt x="225" y="525"/>
                        <a:pt x="227" y="527"/>
                        <a:pt x="227" y="525"/>
                      </a:cubicBezTo>
                      <a:cubicBezTo>
                        <a:pt x="228" y="523"/>
                        <a:pt x="231" y="524"/>
                        <a:pt x="232" y="521"/>
                      </a:cubicBezTo>
                      <a:cubicBezTo>
                        <a:pt x="228" y="516"/>
                        <a:pt x="223" y="510"/>
                        <a:pt x="223" y="507"/>
                      </a:cubicBezTo>
                      <a:cubicBezTo>
                        <a:pt x="223" y="503"/>
                        <a:pt x="225" y="500"/>
                        <a:pt x="220" y="496"/>
                      </a:cubicBezTo>
                      <a:cubicBezTo>
                        <a:pt x="215" y="492"/>
                        <a:pt x="221" y="489"/>
                        <a:pt x="224" y="485"/>
                      </a:cubicBezTo>
                      <a:cubicBezTo>
                        <a:pt x="227" y="481"/>
                        <a:pt x="234" y="479"/>
                        <a:pt x="238" y="476"/>
                      </a:cubicBezTo>
                      <a:cubicBezTo>
                        <a:pt x="238" y="475"/>
                        <a:pt x="237" y="475"/>
                        <a:pt x="236" y="474"/>
                      </a:cubicBezTo>
                      <a:cubicBezTo>
                        <a:pt x="233" y="473"/>
                        <a:pt x="232" y="471"/>
                        <a:pt x="234" y="471"/>
                      </a:cubicBezTo>
                      <a:cubicBezTo>
                        <a:pt x="237" y="470"/>
                        <a:pt x="235" y="469"/>
                        <a:pt x="233" y="466"/>
                      </a:cubicBezTo>
                      <a:cubicBezTo>
                        <a:pt x="230" y="463"/>
                        <a:pt x="229" y="460"/>
                        <a:pt x="228" y="460"/>
                      </a:cubicBezTo>
                      <a:cubicBezTo>
                        <a:pt x="227" y="460"/>
                        <a:pt x="224" y="460"/>
                        <a:pt x="222" y="460"/>
                      </a:cubicBezTo>
                      <a:cubicBezTo>
                        <a:pt x="220" y="461"/>
                        <a:pt x="221" y="459"/>
                        <a:pt x="221" y="456"/>
                      </a:cubicBezTo>
                      <a:cubicBezTo>
                        <a:pt x="221" y="454"/>
                        <a:pt x="217" y="454"/>
                        <a:pt x="216" y="453"/>
                      </a:cubicBezTo>
                      <a:cubicBezTo>
                        <a:pt x="216" y="452"/>
                        <a:pt x="217" y="448"/>
                        <a:pt x="218" y="448"/>
                      </a:cubicBezTo>
                      <a:cubicBezTo>
                        <a:pt x="219" y="448"/>
                        <a:pt x="221" y="447"/>
                        <a:pt x="221" y="445"/>
                      </a:cubicBezTo>
                      <a:cubicBezTo>
                        <a:pt x="221" y="444"/>
                        <a:pt x="217" y="444"/>
                        <a:pt x="218" y="442"/>
                      </a:cubicBezTo>
                      <a:cubicBezTo>
                        <a:pt x="220" y="439"/>
                        <a:pt x="223" y="439"/>
                        <a:pt x="223" y="437"/>
                      </a:cubicBezTo>
                      <a:cubicBezTo>
                        <a:pt x="223" y="434"/>
                        <a:pt x="225" y="432"/>
                        <a:pt x="227" y="434"/>
                      </a:cubicBezTo>
                      <a:cubicBezTo>
                        <a:pt x="230" y="435"/>
                        <a:pt x="231" y="440"/>
                        <a:pt x="234" y="439"/>
                      </a:cubicBezTo>
                      <a:cubicBezTo>
                        <a:pt x="237" y="438"/>
                        <a:pt x="235" y="435"/>
                        <a:pt x="234" y="434"/>
                      </a:cubicBezTo>
                      <a:cubicBezTo>
                        <a:pt x="234" y="433"/>
                        <a:pt x="233" y="430"/>
                        <a:pt x="237" y="430"/>
                      </a:cubicBezTo>
                      <a:cubicBezTo>
                        <a:pt x="240" y="429"/>
                        <a:pt x="238" y="426"/>
                        <a:pt x="241" y="426"/>
                      </a:cubicBezTo>
                      <a:cubicBezTo>
                        <a:pt x="243" y="426"/>
                        <a:pt x="248" y="423"/>
                        <a:pt x="249" y="422"/>
                      </a:cubicBezTo>
                      <a:cubicBezTo>
                        <a:pt x="251" y="421"/>
                        <a:pt x="254" y="419"/>
                        <a:pt x="255" y="420"/>
                      </a:cubicBezTo>
                      <a:cubicBezTo>
                        <a:pt x="257" y="421"/>
                        <a:pt x="259" y="423"/>
                        <a:pt x="260" y="420"/>
                      </a:cubicBezTo>
                      <a:cubicBezTo>
                        <a:pt x="261" y="418"/>
                        <a:pt x="265" y="419"/>
                        <a:pt x="265" y="420"/>
                      </a:cubicBezTo>
                      <a:cubicBezTo>
                        <a:pt x="266" y="422"/>
                        <a:pt x="273" y="422"/>
                        <a:pt x="275" y="423"/>
                      </a:cubicBezTo>
                      <a:cubicBezTo>
                        <a:pt x="277" y="424"/>
                        <a:pt x="281" y="427"/>
                        <a:pt x="281" y="429"/>
                      </a:cubicBezTo>
                      <a:cubicBezTo>
                        <a:pt x="281" y="430"/>
                        <a:pt x="284" y="432"/>
                        <a:pt x="284" y="430"/>
                      </a:cubicBezTo>
                      <a:cubicBezTo>
                        <a:pt x="284" y="427"/>
                        <a:pt x="285" y="428"/>
                        <a:pt x="288" y="430"/>
                      </a:cubicBezTo>
                      <a:cubicBezTo>
                        <a:pt x="291" y="432"/>
                        <a:pt x="295" y="431"/>
                        <a:pt x="296" y="429"/>
                      </a:cubicBezTo>
                      <a:cubicBezTo>
                        <a:pt x="296" y="427"/>
                        <a:pt x="302" y="425"/>
                        <a:pt x="304" y="427"/>
                      </a:cubicBezTo>
                      <a:cubicBezTo>
                        <a:pt x="305" y="428"/>
                        <a:pt x="306" y="429"/>
                        <a:pt x="308" y="427"/>
                      </a:cubicBezTo>
                      <a:cubicBezTo>
                        <a:pt x="310" y="425"/>
                        <a:pt x="315" y="425"/>
                        <a:pt x="316" y="427"/>
                      </a:cubicBezTo>
                      <a:cubicBezTo>
                        <a:pt x="317" y="429"/>
                        <a:pt x="319" y="430"/>
                        <a:pt x="321" y="430"/>
                      </a:cubicBezTo>
                      <a:cubicBezTo>
                        <a:pt x="324" y="430"/>
                        <a:pt x="324" y="433"/>
                        <a:pt x="325" y="432"/>
                      </a:cubicBezTo>
                      <a:cubicBezTo>
                        <a:pt x="327" y="432"/>
                        <a:pt x="326" y="428"/>
                        <a:pt x="328" y="428"/>
                      </a:cubicBezTo>
                      <a:cubicBezTo>
                        <a:pt x="330" y="429"/>
                        <a:pt x="331" y="431"/>
                        <a:pt x="334" y="431"/>
                      </a:cubicBezTo>
                      <a:cubicBezTo>
                        <a:pt x="337" y="431"/>
                        <a:pt x="339" y="430"/>
                        <a:pt x="339" y="428"/>
                      </a:cubicBezTo>
                      <a:cubicBezTo>
                        <a:pt x="339" y="426"/>
                        <a:pt x="339" y="422"/>
                        <a:pt x="337" y="422"/>
                      </a:cubicBezTo>
                      <a:cubicBezTo>
                        <a:pt x="335" y="422"/>
                        <a:pt x="334" y="420"/>
                        <a:pt x="331" y="420"/>
                      </a:cubicBezTo>
                      <a:cubicBezTo>
                        <a:pt x="329" y="420"/>
                        <a:pt x="327" y="417"/>
                        <a:pt x="329" y="416"/>
                      </a:cubicBezTo>
                      <a:cubicBezTo>
                        <a:pt x="331" y="415"/>
                        <a:pt x="335" y="414"/>
                        <a:pt x="334" y="412"/>
                      </a:cubicBezTo>
                      <a:cubicBezTo>
                        <a:pt x="334" y="410"/>
                        <a:pt x="333" y="407"/>
                        <a:pt x="336" y="406"/>
                      </a:cubicBezTo>
                      <a:cubicBezTo>
                        <a:pt x="339" y="406"/>
                        <a:pt x="345" y="406"/>
                        <a:pt x="344" y="405"/>
                      </a:cubicBezTo>
                      <a:cubicBezTo>
                        <a:pt x="344" y="404"/>
                        <a:pt x="338" y="403"/>
                        <a:pt x="337" y="401"/>
                      </a:cubicBezTo>
                      <a:cubicBezTo>
                        <a:pt x="336" y="399"/>
                        <a:pt x="336" y="395"/>
                        <a:pt x="337" y="394"/>
                      </a:cubicBezTo>
                      <a:cubicBezTo>
                        <a:pt x="338" y="394"/>
                        <a:pt x="341" y="395"/>
                        <a:pt x="344" y="394"/>
                      </a:cubicBezTo>
                      <a:cubicBezTo>
                        <a:pt x="346" y="393"/>
                        <a:pt x="350" y="395"/>
                        <a:pt x="353" y="393"/>
                      </a:cubicBezTo>
                      <a:cubicBezTo>
                        <a:pt x="356" y="391"/>
                        <a:pt x="362" y="391"/>
                        <a:pt x="365" y="391"/>
                      </a:cubicBezTo>
                      <a:cubicBezTo>
                        <a:pt x="369" y="391"/>
                        <a:pt x="371" y="388"/>
                        <a:pt x="374" y="388"/>
                      </a:cubicBezTo>
                      <a:cubicBezTo>
                        <a:pt x="376" y="388"/>
                        <a:pt x="383" y="387"/>
                        <a:pt x="385" y="386"/>
                      </a:cubicBezTo>
                      <a:cubicBezTo>
                        <a:pt x="387" y="385"/>
                        <a:pt x="396" y="384"/>
                        <a:pt x="397" y="382"/>
                      </a:cubicBezTo>
                      <a:cubicBezTo>
                        <a:pt x="397" y="380"/>
                        <a:pt x="405" y="379"/>
                        <a:pt x="407" y="380"/>
                      </a:cubicBezTo>
                      <a:cubicBezTo>
                        <a:pt x="409" y="381"/>
                        <a:pt x="411" y="381"/>
                        <a:pt x="413" y="381"/>
                      </a:cubicBezTo>
                      <a:cubicBezTo>
                        <a:pt x="415" y="380"/>
                        <a:pt x="418" y="382"/>
                        <a:pt x="418" y="384"/>
                      </a:cubicBezTo>
                      <a:cubicBezTo>
                        <a:pt x="418" y="386"/>
                        <a:pt x="420" y="388"/>
                        <a:pt x="420" y="389"/>
                      </a:cubicBezTo>
                      <a:cubicBezTo>
                        <a:pt x="419" y="391"/>
                        <a:pt x="418" y="392"/>
                        <a:pt x="419" y="393"/>
                      </a:cubicBezTo>
                      <a:cubicBezTo>
                        <a:pt x="420" y="394"/>
                        <a:pt x="425" y="393"/>
                        <a:pt x="426" y="392"/>
                      </a:cubicBezTo>
                      <a:cubicBezTo>
                        <a:pt x="427" y="390"/>
                        <a:pt x="429" y="392"/>
                        <a:pt x="429" y="394"/>
                      </a:cubicBezTo>
                      <a:cubicBezTo>
                        <a:pt x="429" y="395"/>
                        <a:pt x="431" y="396"/>
                        <a:pt x="431" y="394"/>
                      </a:cubicBezTo>
                      <a:cubicBezTo>
                        <a:pt x="431" y="392"/>
                        <a:pt x="434" y="394"/>
                        <a:pt x="435" y="395"/>
                      </a:cubicBezTo>
                      <a:cubicBezTo>
                        <a:pt x="436" y="396"/>
                        <a:pt x="439" y="393"/>
                        <a:pt x="439" y="395"/>
                      </a:cubicBezTo>
                      <a:cubicBezTo>
                        <a:pt x="439" y="397"/>
                        <a:pt x="434" y="398"/>
                        <a:pt x="436" y="400"/>
                      </a:cubicBezTo>
                      <a:cubicBezTo>
                        <a:pt x="439" y="402"/>
                        <a:pt x="440" y="398"/>
                        <a:pt x="443" y="399"/>
                      </a:cubicBezTo>
                      <a:cubicBezTo>
                        <a:pt x="445" y="400"/>
                        <a:pt x="449" y="396"/>
                        <a:pt x="451" y="395"/>
                      </a:cubicBezTo>
                      <a:cubicBezTo>
                        <a:pt x="454" y="395"/>
                        <a:pt x="456" y="392"/>
                        <a:pt x="459" y="391"/>
                      </a:cubicBezTo>
                      <a:cubicBezTo>
                        <a:pt x="461" y="390"/>
                        <a:pt x="465" y="390"/>
                        <a:pt x="464" y="392"/>
                      </a:cubicBezTo>
                      <a:cubicBezTo>
                        <a:pt x="463" y="393"/>
                        <a:pt x="461" y="396"/>
                        <a:pt x="466" y="398"/>
                      </a:cubicBezTo>
                      <a:cubicBezTo>
                        <a:pt x="472" y="400"/>
                        <a:pt x="478" y="410"/>
                        <a:pt x="481" y="415"/>
                      </a:cubicBezTo>
                      <a:cubicBezTo>
                        <a:pt x="484" y="420"/>
                        <a:pt x="488" y="430"/>
                        <a:pt x="489" y="430"/>
                      </a:cubicBezTo>
                      <a:cubicBezTo>
                        <a:pt x="491" y="430"/>
                        <a:pt x="492" y="425"/>
                        <a:pt x="494" y="425"/>
                      </a:cubicBezTo>
                      <a:cubicBezTo>
                        <a:pt x="496" y="424"/>
                        <a:pt x="498" y="429"/>
                        <a:pt x="500" y="429"/>
                      </a:cubicBezTo>
                      <a:cubicBezTo>
                        <a:pt x="503" y="430"/>
                        <a:pt x="506" y="431"/>
                        <a:pt x="508" y="430"/>
                      </a:cubicBezTo>
                      <a:cubicBezTo>
                        <a:pt x="510" y="430"/>
                        <a:pt x="515" y="427"/>
                        <a:pt x="516" y="428"/>
                      </a:cubicBezTo>
                      <a:cubicBezTo>
                        <a:pt x="518" y="429"/>
                        <a:pt x="520" y="429"/>
                        <a:pt x="521" y="432"/>
                      </a:cubicBezTo>
                      <a:cubicBezTo>
                        <a:pt x="523" y="436"/>
                        <a:pt x="525" y="436"/>
                        <a:pt x="526" y="436"/>
                      </a:cubicBezTo>
                      <a:cubicBezTo>
                        <a:pt x="528" y="436"/>
                        <a:pt x="528" y="438"/>
                        <a:pt x="528" y="439"/>
                      </a:cubicBezTo>
                      <a:cubicBezTo>
                        <a:pt x="528" y="441"/>
                        <a:pt x="531" y="443"/>
                        <a:pt x="532" y="443"/>
                      </a:cubicBezTo>
                      <a:cubicBezTo>
                        <a:pt x="534" y="443"/>
                        <a:pt x="537" y="442"/>
                        <a:pt x="539" y="442"/>
                      </a:cubicBezTo>
                      <a:cubicBezTo>
                        <a:pt x="540" y="441"/>
                        <a:pt x="541" y="440"/>
                        <a:pt x="541" y="442"/>
                      </a:cubicBezTo>
                      <a:cubicBezTo>
                        <a:pt x="542" y="443"/>
                        <a:pt x="544" y="446"/>
                        <a:pt x="545" y="446"/>
                      </a:cubicBezTo>
                      <a:cubicBezTo>
                        <a:pt x="547" y="446"/>
                        <a:pt x="549" y="447"/>
                        <a:pt x="550" y="446"/>
                      </a:cubicBezTo>
                      <a:cubicBezTo>
                        <a:pt x="550" y="445"/>
                        <a:pt x="554" y="444"/>
                        <a:pt x="555" y="444"/>
                      </a:cubicBezTo>
                      <a:cubicBezTo>
                        <a:pt x="557" y="444"/>
                        <a:pt x="562" y="443"/>
                        <a:pt x="563" y="441"/>
                      </a:cubicBezTo>
                      <a:cubicBezTo>
                        <a:pt x="564" y="438"/>
                        <a:pt x="568" y="438"/>
                        <a:pt x="569" y="437"/>
                      </a:cubicBezTo>
                      <a:cubicBezTo>
                        <a:pt x="570" y="436"/>
                        <a:pt x="573" y="435"/>
                        <a:pt x="574" y="433"/>
                      </a:cubicBezTo>
                      <a:cubicBezTo>
                        <a:pt x="575" y="432"/>
                        <a:pt x="579" y="432"/>
                        <a:pt x="579" y="431"/>
                      </a:cubicBezTo>
                      <a:cubicBezTo>
                        <a:pt x="580" y="430"/>
                        <a:pt x="583" y="430"/>
                        <a:pt x="585" y="430"/>
                      </a:cubicBezTo>
                      <a:cubicBezTo>
                        <a:pt x="587" y="431"/>
                        <a:pt x="595" y="432"/>
                        <a:pt x="596" y="432"/>
                      </a:cubicBezTo>
                      <a:cubicBezTo>
                        <a:pt x="598" y="432"/>
                        <a:pt x="598" y="436"/>
                        <a:pt x="599" y="437"/>
                      </a:cubicBezTo>
                      <a:cubicBezTo>
                        <a:pt x="600" y="437"/>
                        <a:pt x="604" y="440"/>
                        <a:pt x="606" y="439"/>
                      </a:cubicBezTo>
                      <a:cubicBezTo>
                        <a:pt x="607" y="438"/>
                        <a:pt x="610" y="437"/>
                        <a:pt x="612" y="439"/>
                      </a:cubicBezTo>
                      <a:cubicBezTo>
                        <a:pt x="614" y="440"/>
                        <a:pt x="617" y="442"/>
                        <a:pt x="618" y="440"/>
                      </a:cubicBezTo>
                      <a:cubicBezTo>
                        <a:pt x="619" y="439"/>
                        <a:pt x="624" y="438"/>
                        <a:pt x="624" y="437"/>
                      </a:cubicBezTo>
                      <a:cubicBezTo>
                        <a:pt x="625" y="436"/>
                        <a:pt x="626" y="433"/>
                        <a:pt x="625" y="432"/>
                      </a:cubicBezTo>
                      <a:cubicBezTo>
                        <a:pt x="623" y="431"/>
                        <a:pt x="622" y="427"/>
                        <a:pt x="622" y="426"/>
                      </a:cubicBezTo>
                      <a:cubicBezTo>
                        <a:pt x="621" y="424"/>
                        <a:pt x="625" y="423"/>
                        <a:pt x="625" y="422"/>
                      </a:cubicBezTo>
                      <a:cubicBezTo>
                        <a:pt x="626" y="420"/>
                        <a:pt x="628" y="420"/>
                        <a:pt x="629" y="419"/>
                      </a:cubicBezTo>
                      <a:cubicBezTo>
                        <a:pt x="630" y="418"/>
                        <a:pt x="631" y="416"/>
                        <a:pt x="632" y="416"/>
                      </a:cubicBezTo>
                      <a:cubicBezTo>
                        <a:pt x="634" y="417"/>
                        <a:pt x="637" y="418"/>
                        <a:pt x="638" y="418"/>
                      </a:cubicBezTo>
                      <a:cubicBezTo>
                        <a:pt x="639" y="419"/>
                        <a:pt x="642" y="420"/>
                        <a:pt x="643" y="420"/>
                      </a:cubicBezTo>
                      <a:cubicBezTo>
                        <a:pt x="645" y="420"/>
                        <a:pt x="647" y="421"/>
                        <a:pt x="649" y="422"/>
                      </a:cubicBezTo>
                      <a:cubicBezTo>
                        <a:pt x="651" y="423"/>
                        <a:pt x="656" y="423"/>
                        <a:pt x="657" y="424"/>
                      </a:cubicBezTo>
                      <a:cubicBezTo>
                        <a:pt x="658" y="426"/>
                        <a:pt x="657" y="430"/>
                        <a:pt x="658" y="431"/>
                      </a:cubicBezTo>
                      <a:cubicBezTo>
                        <a:pt x="659" y="433"/>
                        <a:pt x="662" y="436"/>
                        <a:pt x="663" y="435"/>
                      </a:cubicBezTo>
                      <a:cubicBezTo>
                        <a:pt x="664" y="434"/>
                        <a:pt x="668" y="437"/>
                        <a:pt x="670" y="437"/>
                      </a:cubicBezTo>
                      <a:cubicBezTo>
                        <a:pt x="672" y="437"/>
                        <a:pt x="674" y="434"/>
                        <a:pt x="676" y="434"/>
                      </a:cubicBezTo>
                      <a:cubicBezTo>
                        <a:pt x="677" y="434"/>
                        <a:pt x="682" y="433"/>
                        <a:pt x="683" y="433"/>
                      </a:cubicBezTo>
                      <a:cubicBezTo>
                        <a:pt x="685" y="434"/>
                        <a:pt x="690" y="436"/>
                        <a:pt x="691" y="435"/>
                      </a:cubicBezTo>
                      <a:cubicBezTo>
                        <a:pt x="691" y="435"/>
                        <a:pt x="696" y="435"/>
                        <a:pt x="697" y="437"/>
                      </a:cubicBezTo>
                      <a:cubicBezTo>
                        <a:pt x="697" y="438"/>
                        <a:pt x="703" y="438"/>
                        <a:pt x="703" y="440"/>
                      </a:cubicBezTo>
                      <a:cubicBezTo>
                        <a:pt x="703" y="442"/>
                        <a:pt x="707" y="442"/>
                        <a:pt x="708" y="444"/>
                      </a:cubicBezTo>
                      <a:cubicBezTo>
                        <a:pt x="709" y="446"/>
                        <a:pt x="716" y="445"/>
                        <a:pt x="718" y="446"/>
                      </a:cubicBezTo>
                      <a:cubicBezTo>
                        <a:pt x="719" y="447"/>
                        <a:pt x="728" y="447"/>
                        <a:pt x="729" y="446"/>
                      </a:cubicBezTo>
                      <a:cubicBezTo>
                        <a:pt x="729" y="445"/>
                        <a:pt x="737" y="445"/>
                        <a:pt x="739" y="444"/>
                      </a:cubicBezTo>
                      <a:cubicBezTo>
                        <a:pt x="741" y="442"/>
                        <a:pt x="745" y="443"/>
                        <a:pt x="745" y="441"/>
                      </a:cubicBezTo>
                      <a:cubicBezTo>
                        <a:pt x="746" y="440"/>
                        <a:pt x="750" y="438"/>
                        <a:pt x="752" y="437"/>
                      </a:cubicBezTo>
                      <a:cubicBezTo>
                        <a:pt x="754" y="436"/>
                        <a:pt x="761" y="436"/>
                        <a:pt x="762" y="437"/>
                      </a:cubicBezTo>
                      <a:cubicBezTo>
                        <a:pt x="762" y="439"/>
                        <a:pt x="767" y="440"/>
                        <a:pt x="769" y="439"/>
                      </a:cubicBezTo>
                      <a:cubicBezTo>
                        <a:pt x="771" y="438"/>
                        <a:pt x="776" y="439"/>
                        <a:pt x="776" y="441"/>
                      </a:cubicBezTo>
                      <a:cubicBezTo>
                        <a:pt x="777" y="442"/>
                        <a:pt x="783" y="443"/>
                        <a:pt x="784" y="443"/>
                      </a:cubicBezTo>
                      <a:cubicBezTo>
                        <a:pt x="786" y="442"/>
                        <a:pt x="790" y="439"/>
                        <a:pt x="792" y="439"/>
                      </a:cubicBezTo>
                      <a:cubicBezTo>
                        <a:pt x="793" y="439"/>
                        <a:pt x="796" y="437"/>
                        <a:pt x="795" y="435"/>
                      </a:cubicBezTo>
                      <a:cubicBezTo>
                        <a:pt x="795" y="434"/>
                        <a:pt x="799" y="429"/>
                        <a:pt x="799" y="427"/>
                      </a:cubicBezTo>
                      <a:cubicBezTo>
                        <a:pt x="800" y="425"/>
                        <a:pt x="803" y="420"/>
                        <a:pt x="804" y="419"/>
                      </a:cubicBezTo>
                      <a:cubicBezTo>
                        <a:pt x="805" y="419"/>
                        <a:pt x="808" y="417"/>
                        <a:pt x="808" y="415"/>
                      </a:cubicBezTo>
                      <a:cubicBezTo>
                        <a:pt x="808" y="414"/>
                        <a:pt x="807" y="410"/>
                        <a:pt x="805" y="410"/>
                      </a:cubicBezTo>
                      <a:cubicBezTo>
                        <a:pt x="804" y="410"/>
                        <a:pt x="801" y="410"/>
                        <a:pt x="805" y="405"/>
                      </a:cubicBezTo>
                      <a:cubicBezTo>
                        <a:pt x="808" y="401"/>
                        <a:pt x="814" y="402"/>
                        <a:pt x="815" y="402"/>
                      </a:cubicBezTo>
                      <a:cubicBezTo>
                        <a:pt x="816" y="402"/>
                        <a:pt x="823" y="400"/>
                        <a:pt x="827" y="401"/>
                      </a:cubicBezTo>
                      <a:cubicBezTo>
                        <a:pt x="830" y="402"/>
                        <a:pt x="832" y="401"/>
                        <a:pt x="836" y="403"/>
                      </a:cubicBezTo>
                      <a:cubicBezTo>
                        <a:pt x="839" y="404"/>
                        <a:pt x="844" y="404"/>
                        <a:pt x="846" y="405"/>
                      </a:cubicBezTo>
                      <a:cubicBezTo>
                        <a:pt x="847" y="407"/>
                        <a:pt x="851" y="408"/>
                        <a:pt x="851" y="411"/>
                      </a:cubicBezTo>
                      <a:cubicBezTo>
                        <a:pt x="850" y="414"/>
                        <a:pt x="853" y="413"/>
                        <a:pt x="855" y="419"/>
                      </a:cubicBezTo>
                      <a:cubicBezTo>
                        <a:pt x="856" y="425"/>
                        <a:pt x="859" y="425"/>
                        <a:pt x="859" y="428"/>
                      </a:cubicBezTo>
                      <a:cubicBezTo>
                        <a:pt x="860" y="431"/>
                        <a:pt x="864" y="436"/>
                        <a:pt x="863" y="438"/>
                      </a:cubicBezTo>
                      <a:cubicBezTo>
                        <a:pt x="863" y="440"/>
                        <a:pt x="862" y="442"/>
                        <a:pt x="866" y="442"/>
                      </a:cubicBezTo>
                      <a:cubicBezTo>
                        <a:pt x="871" y="443"/>
                        <a:pt x="873" y="446"/>
                        <a:pt x="874" y="445"/>
                      </a:cubicBezTo>
                      <a:cubicBezTo>
                        <a:pt x="875" y="445"/>
                        <a:pt x="880" y="447"/>
                        <a:pt x="882" y="449"/>
                      </a:cubicBezTo>
                      <a:cubicBezTo>
                        <a:pt x="885" y="451"/>
                        <a:pt x="888" y="450"/>
                        <a:pt x="888" y="453"/>
                      </a:cubicBezTo>
                      <a:cubicBezTo>
                        <a:pt x="888" y="455"/>
                        <a:pt x="890" y="457"/>
                        <a:pt x="890" y="460"/>
                      </a:cubicBezTo>
                      <a:cubicBezTo>
                        <a:pt x="890" y="462"/>
                        <a:pt x="894" y="463"/>
                        <a:pt x="898" y="463"/>
                      </a:cubicBezTo>
                      <a:cubicBezTo>
                        <a:pt x="901" y="462"/>
                        <a:pt x="903" y="464"/>
                        <a:pt x="905" y="461"/>
                      </a:cubicBezTo>
                      <a:cubicBezTo>
                        <a:pt x="906" y="458"/>
                        <a:pt x="911" y="459"/>
                        <a:pt x="913" y="458"/>
                      </a:cubicBezTo>
                      <a:cubicBezTo>
                        <a:pt x="914" y="457"/>
                        <a:pt x="919" y="456"/>
                        <a:pt x="919" y="460"/>
                      </a:cubicBezTo>
                      <a:cubicBezTo>
                        <a:pt x="919" y="464"/>
                        <a:pt x="922" y="465"/>
                        <a:pt x="919" y="466"/>
                      </a:cubicBezTo>
                      <a:cubicBezTo>
                        <a:pt x="917" y="468"/>
                        <a:pt x="916" y="474"/>
                        <a:pt x="915" y="477"/>
                      </a:cubicBezTo>
                      <a:cubicBezTo>
                        <a:pt x="914" y="479"/>
                        <a:pt x="911" y="480"/>
                        <a:pt x="910" y="483"/>
                      </a:cubicBezTo>
                      <a:cubicBezTo>
                        <a:pt x="910" y="486"/>
                        <a:pt x="906" y="486"/>
                        <a:pt x="906" y="488"/>
                      </a:cubicBezTo>
                      <a:cubicBezTo>
                        <a:pt x="906" y="490"/>
                        <a:pt x="902" y="490"/>
                        <a:pt x="899" y="488"/>
                      </a:cubicBezTo>
                      <a:cubicBezTo>
                        <a:pt x="897" y="486"/>
                        <a:pt x="895" y="491"/>
                        <a:pt x="893" y="491"/>
                      </a:cubicBezTo>
                      <a:cubicBezTo>
                        <a:pt x="891" y="491"/>
                        <a:pt x="891" y="495"/>
                        <a:pt x="891" y="497"/>
                      </a:cubicBezTo>
                      <a:cubicBezTo>
                        <a:pt x="892" y="499"/>
                        <a:pt x="891" y="501"/>
                        <a:pt x="892" y="504"/>
                      </a:cubicBezTo>
                      <a:cubicBezTo>
                        <a:pt x="893" y="505"/>
                        <a:pt x="892" y="508"/>
                        <a:pt x="892" y="511"/>
                      </a:cubicBezTo>
                      <a:cubicBezTo>
                        <a:pt x="895" y="509"/>
                        <a:pt x="898" y="508"/>
                        <a:pt x="899" y="508"/>
                      </a:cubicBezTo>
                      <a:cubicBezTo>
                        <a:pt x="902" y="508"/>
                        <a:pt x="905" y="513"/>
                        <a:pt x="908" y="513"/>
                      </a:cubicBezTo>
                      <a:cubicBezTo>
                        <a:pt x="912" y="513"/>
                        <a:pt x="927" y="503"/>
                        <a:pt x="927" y="501"/>
                      </a:cubicBezTo>
                      <a:cubicBezTo>
                        <a:pt x="927" y="500"/>
                        <a:pt x="936" y="491"/>
                        <a:pt x="940" y="487"/>
                      </a:cubicBezTo>
                      <a:cubicBezTo>
                        <a:pt x="944" y="482"/>
                        <a:pt x="950" y="476"/>
                        <a:pt x="952" y="471"/>
                      </a:cubicBezTo>
                      <a:cubicBezTo>
                        <a:pt x="953" y="468"/>
                        <a:pt x="959" y="462"/>
                        <a:pt x="960" y="459"/>
                      </a:cubicBezTo>
                      <a:cubicBezTo>
                        <a:pt x="962" y="457"/>
                        <a:pt x="963" y="457"/>
                        <a:pt x="965" y="451"/>
                      </a:cubicBezTo>
                      <a:cubicBezTo>
                        <a:pt x="968" y="446"/>
                        <a:pt x="968" y="431"/>
                        <a:pt x="969" y="430"/>
                      </a:cubicBezTo>
                      <a:cubicBezTo>
                        <a:pt x="970" y="429"/>
                        <a:pt x="969" y="427"/>
                        <a:pt x="970" y="425"/>
                      </a:cubicBezTo>
                      <a:cubicBezTo>
                        <a:pt x="972" y="424"/>
                        <a:pt x="971" y="421"/>
                        <a:pt x="973" y="419"/>
                      </a:cubicBezTo>
                      <a:cubicBezTo>
                        <a:pt x="976" y="417"/>
                        <a:pt x="975" y="416"/>
                        <a:pt x="975" y="414"/>
                      </a:cubicBezTo>
                      <a:cubicBezTo>
                        <a:pt x="974" y="413"/>
                        <a:pt x="975" y="409"/>
                        <a:pt x="974" y="408"/>
                      </a:cubicBezTo>
                      <a:cubicBezTo>
                        <a:pt x="974" y="407"/>
                        <a:pt x="974" y="406"/>
                        <a:pt x="975" y="406"/>
                      </a:cubicBezTo>
                      <a:cubicBezTo>
                        <a:pt x="977" y="405"/>
                        <a:pt x="974" y="403"/>
                        <a:pt x="972" y="402"/>
                      </a:cubicBezTo>
                      <a:cubicBezTo>
                        <a:pt x="970" y="401"/>
                        <a:pt x="968" y="400"/>
                        <a:pt x="967" y="398"/>
                      </a:cubicBezTo>
                      <a:cubicBezTo>
                        <a:pt x="967" y="395"/>
                        <a:pt x="964" y="393"/>
                        <a:pt x="961" y="393"/>
                      </a:cubicBezTo>
                      <a:cubicBezTo>
                        <a:pt x="958" y="393"/>
                        <a:pt x="954" y="391"/>
                        <a:pt x="954" y="393"/>
                      </a:cubicBezTo>
                      <a:cubicBezTo>
                        <a:pt x="955" y="395"/>
                        <a:pt x="954" y="396"/>
                        <a:pt x="953" y="396"/>
                      </a:cubicBezTo>
                      <a:cubicBezTo>
                        <a:pt x="951" y="396"/>
                        <a:pt x="951" y="397"/>
                        <a:pt x="949" y="399"/>
                      </a:cubicBezTo>
                      <a:cubicBezTo>
                        <a:pt x="948" y="401"/>
                        <a:pt x="942" y="402"/>
                        <a:pt x="945" y="399"/>
                      </a:cubicBezTo>
                      <a:cubicBezTo>
                        <a:pt x="947" y="397"/>
                        <a:pt x="944" y="397"/>
                        <a:pt x="944" y="395"/>
                      </a:cubicBezTo>
                      <a:cubicBezTo>
                        <a:pt x="945" y="392"/>
                        <a:pt x="947" y="390"/>
                        <a:pt x="944" y="391"/>
                      </a:cubicBezTo>
                      <a:cubicBezTo>
                        <a:pt x="941" y="393"/>
                        <a:pt x="941" y="397"/>
                        <a:pt x="939" y="397"/>
                      </a:cubicBezTo>
                      <a:cubicBezTo>
                        <a:pt x="937" y="398"/>
                        <a:pt x="937" y="391"/>
                        <a:pt x="938" y="389"/>
                      </a:cubicBezTo>
                      <a:cubicBezTo>
                        <a:pt x="939" y="387"/>
                        <a:pt x="934" y="389"/>
                        <a:pt x="929" y="389"/>
                      </a:cubicBezTo>
                      <a:cubicBezTo>
                        <a:pt x="924" y="388"/>
                        <a:pt x="925" y="385"/>
                        <a:pt x="929" y="383"/>
                      </a:cubicBezTo>
                      <a:cubicBezTo>
                        <a:pt x="933" y="381"/>
                        <a:pt x="933" y="379"/>
                        <a:pt x="935" y="378"/>
                      </a:cubicBezTo>
                      <a:cubicBezTo>
                        <a:pt x="937" y="377"/>
                        <a:pt x="942" y="373"/>
                        <a:pt x="945" y="372"/>
                      </a:cubicBezTo>
                      <a:cubicBezTo>
                        <a:pt x="948" y="370"/>
                        <a:pt x="949" y="368"/>
                        <a:pt x="949" y="366"/>
                      </a:cubicBezTo>
                      <a:cubicBezTo>
                        <a:pt x="950" y="364"/>
                        <a:pt x="956" y="361"/>
                        <a:pt x="961" y="357"/>
                      </a:cubicBezTo>
                      <a:cubicBezTo>
                        <a:pt x="966" y="353"/>
                        <a:pt x="968" y="351"/>
                        <a:pt x="970" y="348"/>
                      </a:cubicBezTo>
                      <a:cubicBezTo>
                        <a:pt x="971" y="346"/>
                        <a:pt x="978" y="342"/>
                        <a:pt x="979" y="341"/>
                      </a:cubicBezTo>
                      <a:cubicBezTo>
                        <a:pt x="979" y="339"/>
                        <a:pt x="988" y="334"/>
                        <a:pt x="994" y="333"/>
                      </a:cubicBezTo>
                      <a:cubicBezTo>
                        <a:pt x="1000" y="332"/>
                        <a:pt x="1009" y="333"/>
                        <a:pt x="1011" y="335"/>
                      </a:cubicBezTo>
                      <a:cubicBezTo>
                        <a:pt x="1013" y="337"/>
                        <a:pt x="1014" y="336"/>
                        <a:pt x="1015" y="335"/>
                      </a:cubicBezTo>
                      <a:cubicBezTo>
                        <a:pt x="1016" y="334"/>
                        <a:pt x="1019" y="334"/>
                        <a:pt x="1023" y="335"/>
                      </a:cubicBezTo>
                      <a:cubicBezTo>
                        <a:pt x="1027" y="335"/>
                        <a:pt x="1028" y="333"/>
                        <a:pt x="1031" y="334"/>
                      </a:cubicBezTo>
                      <a:cubicBezTo>
                        <a:pt x="1033" y="334"/>
                        <a:pt x="1036" y="335"/>
                        <a:pt x="1037" y="332"/>
                      </a:cubicBezTo>
                      <a:cubicBezTo>
                        <a:pt x="1039" y="328"/>
                        <a:pt x="1047" y="329"/>
                        <a:pt x="1049" y="330"/>
                      </a:cubicBezTo>
                      <a:cubicBezTo>
                        <a:pt x="1050" y="332"/>
                        <a:pt x="1052" y="333"/>
                        <a:pt x="1055" y="332"/>
                      </a:cubicBezTo>
                      <a:cubicBezTo>
                        <a:pt x="1057" y="330"/>
                        <a:pt x="1057" y="334"/>
                        <a:pt x="1060" y="334"/>
                      </a:cubicBezTo>
                      <a:cubicBezTo>
                        <a:pt x="1063" y="335"/>
                        <a:pt x="1061" y="337"/>
                        <a:pt x="1059" y="337"/>
                      </a:cubicBezTo>
                      <a:cubicBezTo>
                        <a:pt x="1056" y="337"/>
                        <a:pt x="1053" y="338"/>
                        <a:pt x="1056" y="340"/>
                      </a:cubicBezTo>
                      <a:cubicBezTo>
                        <a:pt x="1059" y="341"/>
                        <a:pt x="1062" y="338"/>
                        <a:pt x="1064" y="338"/>
                      </a:cubicBezTo>
                      <a:cubicBezTo>
                        <a:pt x="1066" y="339"/>
                        <a:pt x="1070" y="339"/>
                        <a:pt x="1073" y="337"/>
                      </a:cubicBezTo>
                      <a:cubicBezTo>
                        <a:pt x="1076" y="335"/>
                        <a:pt x="1076" y="339"/>
                        <a:pt x="1078" y="337"/>
                      </a:cubicBezTo>
                      <a:cubicBezTo>
                        <a:pt x="1080" y="335"/>
                        <a:pt x="1085" y="335"/>
                        <a:pt x="1087" y="335"/>
                      </a:cubicBezTo>
                      <a:cubicBezTo>
                        <a:pt x="1089" y="335"/>
                        <a:pt x="1087" y="332"/>
                        <a:pt x="1083" y="332"/>
                      </a:cubicBezTo>
                      <a:cubicBezTo>
                        <a:pt x="1080" y="332"/>
                        <a:pt x="1080" y="330"/>
                        <a:pt x="1083" y="326"/>
                      </a:cubicBezTo>
                      <a:cubicBezTo>
                        <a:pt x="1086" y="321"/>
                        <a:pt x="1091" y="318"/>
                        <a:pt x="1095" y="315"/>
                      </a:cubicBezTo>
                      <a:cubicBezTo>
                        <a:pt x="1098" y="312"/>
                        <a:pt x="1101" y="314"/>
                        <a:pt x="1101" y="312"/>
                      </a:cubicBezTo>
                      <a:cubicBezTo>
                        <a:pt x="1101" y="310"/>
                        <a:pt x="1102" y="304"/>
                        <a:pt x="1105" y="304"/>
                      </a:cubicBezTo>
                      <a:cubicBezTo>
                        <a:pt x="1107" y="304"/>
                        <a:pt x="1114" y="305"/>
                        <a:pt x="1118" y="303"/>
                      </a:cubicBezTo>
                      <a:cubicBezTo>
                        <a:pt x="1122" y="301"/>
                        <a:pt x="1122" y="305"/>
                        <a:pt x="1123" y="305"/>
                      </a:cubicBezTo>
                      <a:cubicBezTo>
                        <a:pt x="1125" y="306"/>
                        <a:pt x="1127" y="302"/>
                        <a:pt x="1129" y="303"/>
                      </a:cubicBezTo>
                      <a:cubicBezTo>
                        <a:pt x="1131" y="304"/>
                        <a:pt x="1126" y="307"/>
                        <a:pt x="1125" y="311"/>
                      </a:cubicBezTo>
                      <a:cubicBezTo>
                        <a:pt x="1124" y="314"/>
                        <a:pt x="1128" y="313"/>
                        <a:pt x="1130" y="314"/>
                      </a:cubicBezTo>
                      <a:cubicBezTo>
                        <a:pt x="1132" y="315"/>
                        <a:pt x="1127" y="316"/>
                        <a:pt x="1128" y="317"/>
                      </a:cubicBezTo>
                      <a:cubicBezTo>
                        <a:pt x="1128" y="318"/>
                        <a:pt x="1132" y="318"/>
                        <a:pt x="1137" y="313"/>
                      </a:cubicBezTo>
                      <a:cubicBezTo>
                        <a:pt x="1143" y="308"/>
                        <a:pt x="1147" y="306"/>
                        <a:pt x="1151" y="306"/>
                      </a:cubicBezTo>
                      <a:cubicBezTo>
                        <a:pt x="1154" y="307"/>
                        <a:pt x="1152" y="303"/>
                        <a:pt x="1152" y="299"/>
                      </a:cubicBezTo>
                      <a:cubicBezTo>
                        <a:pt x="1153" y="294"/>
                        <a:pt x="1163" y="292"/>
                        <a:pt x="1166" y="294"/>
                      </a:cubicBezTo>
                      <a:cubicBezTo>
                        <a:pt x="1170" y="295"/>
                        <a:pt x="1169" y="296"/>
                        <a:pt x="1166" y="296"/>
                      </a:cubicBezTo>
                      <a:cubicBezTo>
                        <a:pt x="1163" y="295"/>
                        <a:pt x="1160" y="298"/>
                        <a:pt x="1160" y="302"/>
                      </a:cubicBezTo>
                      <a:cubicBezTo>
                        <a:pt x="1160" y="306"/>
                        <a:pt x="1157" y="307"/>
                        <a:pt x="1159" y="309"/>
                      </a:cubicBezTo>
                      <a:cubicBezTo>
                        <a:pt x="1160" y="310"/>
                        <a:pt x="1156" y="311"/>
                        <a:pt x="1156" y="312"/>
                      </a:cubicBezTo>
                      <a:cubicBezTo>
                        <a:pt x="1156" y="314"/>
                        <a:pt x="1156" y="315"/>
                        <a:pt x="1154" y="316"/>
                      </a:cubicBezTo>
                      <a:cubicBezTo>
                        <a:pt x="1152" y="317"/>
                        <a:pt x="1144" y="317"/>
                        <a:pt x="1143" y="320"/>
                      </a:cubicBezTo>
                      <a:cubicBezTo>
                        <a:pt x="1143" y="324"/>
                        <a:pt x="1139" y="324"/>
                        <a:pt x="1137" y="328"/>
                      </a:cubicBezTo>
                      <a:cubicBezTo>
                        <a:pt x="1135" y="332"/>
                        <a:pt x="1127" y="334"/>
                        <a:pt x="1122" y="341"/>
                      </a:cubicBezTo>
                      <a:cubicBezTo>
                        <a:pt x="1117" y="349"/>
                        <a:pt x="1109" y="349"/>
                        <a:pt x="1109" y="350"/>
                      </a:cubicBezTo>
                      <a:cubicBezTo>
                        <a:pt x="1109" y="352"/>
                        <a:pt x="1103" y="352"/>
                        <a:pt x="1101" y="352"/>
                      </a:cubicBezTo>
                      <a:cubicBezTo>
                        <a:pt x="1099" y="352"/>
                        <a:pt x="1103" y="357"/>
                        <a:pt x="1099" y="362"/>
                      </a:cubicBezTo>
                      <a:cubicBezTo>
                        <a:pt x="1094" y="367"/>
                        <a:pt x="1091" y="373"/>
                        <a:pt x="1091" y="380"/>
                      </a:cubicBezTo>
                      <a:cubicBezTo>
                        <a:pt x="1091" y="387"/>
                        <a:pt x="1094" y="406"/>
                        <a:pt x="1096" y="410"/>
                      </a:cubicBezTo>
                      <a:cubicBezTo>
                        <a:pt x="1098" y="413"/>
                        <a:pt x="1096" y="422"/>
                        <a:pt x="1098" y="424"/>
                      </a:cubicBezTo>
                      <a:cubicBezTo>
                        <a:pt x="1100" y="425"/>
                        <a:pt x="1099" y="428"/>
                        <a:pt x="1100" y="429"/>
                      </a:cubicBezTo>
                      <a:cubicBezTo>
                        <a:pt x="1101" y="430"/>
                        <a:pt x="1106" y="425"/>
                        <a:pt x="1109" y="422"/>
                      </a:cubicBezTo>
                      <a:cubicBezTo>
                        <a:pt x="1112" y="420"/>
                        <a:pt x="1111" y="419"/>
                        <a:pt x="1113" y="418"/>
                      </a:cubicBezTo>
                      <a:cubicBezTo>
                        <a:pt x="1115" y="416"/>
                        <a:pt x="1114" y="411"/>
                        <a:pt x="1114" y="409"/>
                      </a:cubicBezTo>
                      <a:cubicBezTo>
                        <a:pt x="1115" y="408"/>
                        <a:pt x="1119" y="407"/>
                        <a:pt x="1120" y="406"/>
                      </a:cubicBezTo>
                      <a:cubicBezTo>
                        <a:pt x="1121" y="404"/>
                        <a:pt x="1124" y="405"/>
                        <a:pt x="1126" y="404"/>
                      </a:cubicBezTo>
                      <a:cubicBezTo>
                        <a:pt x="1128" y="404"/>
                        <a:pt x="1126" y="400"/>
                        <a:pt x="1125" y="398"/>
                      </a:cubicBezTo>
                      <a:cubicBezTo>
                        <a:pt x="1125" y="395"/>
                        <a:pt x="1130" y="392"/>
                        <a:pt x="1133" y="390"/>
                      </a:cubicBezTo>
                      <a:cubicBezTo>
                        <a:pt x="1136" y="388"/>
                        <a:pt x="1139" y="392"/>
                        <a:pt x="1143" y="389"/>
                      </a:cubicBezTo>
                      <a:cubicBezTo>
                        <a:pt x="1146" y="386"/>
                        <a:pt x="1142" y="382"/>
                        <a:pt x="1141" y="381"/>
                      </a:cubicBezTo>
                      <a:cubicBezTo>
                        <a:pt x="1140" y="379"/>
                        <a:pt x="1144" y="372"/>
                        <a:pt x="1147" y="371"/>
                      </a:cubicBezTo>
                      <a:cubicBezTo>
                        <a:pt x="1149" y="370"/>
                        <a:pt x="1151" y="373"/>
                        <a:pt x="1153" y="371"/>
                      </a:cubicBezTo>
                      <a:cubicBezTo>
                        <a:pt x="1155" y="368"/>
                        <a:pt x="1151" y="365"/>
                        <a:pt x="1149" y="365"/>
                      </a:cubicBezTo>
                      <a:cubicBezTo>
                        <a:pt x="1148" y="365"/>
                        <a:pt x="1147" y="359"/>
                        <a:pt x="1151" y="356"/>
                      </a:cubicBezTo>
                      <a:cubicBezTo>
                        <a:pt x="1155" y="353"/>
                        <a:pt x="1153" y="353"/>
                        <a:pt x="1151" y="352"/>
                      </a:cubicBezTo>
                      <a:cubicBezTo>
                        <a:pt x="1148" y="351"/>
                        <a:pt x="1148" y="352"/>
                        <a:pt x="1146" y="352"/>
                      </a:cubicBezTo>
                      <a:cubicBezTo>
                        <a:pt x="1144" y="352"/>
                        <a:pt x="1141" y="348"/>
                        <a:pt x="1145" y="344"/>
                      </a:cubicBezTo>
                      <a:cubicBezTo>
                        <a:pt x="1148" y="340"/>
                        <a:pt x="1151" y="340"/>
                        <a:pt x="1151" y="337"/>
                      </a:cubicBezTo>
                      <a:cubicBezTo>
                        <a:pt x="1152" y="333"/>
                        <a:pt x="1156" y="328"/>
                        <a:pt x="1157" y="327"/>
                      </a:cubicBezTo>
                      <a:cubicBezTo>
                        <a:pt x="1158" y="325"/>
                        <a:pt x="1163" y="327"/>
                        <a:pt x="1164" y="326"/>
                      </a:cubicBezTo>
                      <a:cubicBezTo>
                        <a:pt x="1166" y="326"/>
                        <a:pt x="1166" y="330"/>
                        <a:pt x="1168" y="328"/>
                      </a:cubicBezTo>
                      <a:cubicBezTo>
                        <a:pt x="1170" y="326"/>
                        <a:pt x="1173" y="320"/>
                        <a:pt x="1176" y="320"/>
                      </a:cubicBezTo>
                      <a:cubicBezTo>
                        <a:pt x="1178" y="320"/>
                        <a:pt x="1177" y="324"/>
                        <a:pt x="1177" y="327"/>
                      </a:cubicBezTo>
                      <a:cubicBezTo>
                        <a:pt x="1178" y="330"/>
                        <a:pt x="1180" y="326"/>
                        <a:pt x="1185" y="323"/>
                      </a:cubicBezTo>
                      <a:cubicBezTo>
                        <a:pt x="1190" y="319"/>
                        <a:pt x="1201" y="320"/>
                        <a:pt x="1205" y="321"/>
                      </a:cubicBezTo>
                      <a:cubicBezTo>
                        <a:pt x="1208" y="323"/>
                        <a:pt x="1209" y="327"/>
                        <a:pt x="1211" y="326"/>
                      </a:cubicBezTo>
                      <a:cubicBezTo>
                        <a:pt x="1214" y="326"/>
                        <a:pt x="1211" y="322"/>
                        <a:pt x="1214" y="322"/>
                      </a:cubicBezTo>
                      <a:cubicBezTo>
                        <a:pt x="1217" y="321"/>
                        <a:pt x="1222" y="318"/>
                        <a:pt x="1226" y="315"/>
                      </a:cubicBezTo>
                      <a:cubicBezTo>
                        <a:pt x="1230" y="312"/>
                        <a:pt x="1229" y="314"/>
                        <a:pt x="1231" y="312"/>
                      </a:cubicBezTo>
                      <a:cubicBezTo>
                        <a:pt x="1233" y="309"/>
                        <a:pt x="1235" y="310"/>
                        <a:pt x="1235" y="309"/>
                      </a:cubicBezTo>
                      <a:cubicBezTo>
                        <a:pt x="1236" y="307"/>
                        <a:pt x="1241" y="304"/>
                        <a:pt x="1249" y="303"/>
                      </a:cubicBezTo>
                      <a:cubicBezTo>
                        <a:pt x="1256" y="301"/>
                        <a:pt x="1266" y="296"/>
                        <a:pt x="1265" y="294"/>
                      </a:cubicBezTo>
                      <a:cubicBezTo>
                        <a:pt x="1265" y="293"/>
                        <a:pt x="1268" y="292"/>
                        <a:pt x="1269" y="294"/>
                      </a:cubicBezTo>
                      <a:cubicBezTo>
                        <a:pt x="1269" y="295"/>
                        <a:pt x="1272" y="295"/>
                        <a:pt x="1276" y="296"/>
                      </a:cubicBezTo>
                      <a:cubicBezTo>
                        <a:pt x="1280" y="296"/>
                        <a:pt x="1282" y="298"/>
                        <a:pt x="1285" y="295"/>
                      </a:cubicBezTo>
                      <a:cubicBezTo>
                        <a:pt x="1288" y="292"/>
                        <a:pt x="1284" y="291"/>
                        <a:pt x="1284" y="288"/>
                      </a:cubicBezTo>
                      <a:cubicBezTo>
                        <a:pt x="1285" y="286"/>
                        <a:pt x="1279" y="283"/>
                        <a:pt x="1280" y="281"/>
                      </a:cubicBezTo>
                      <a:cubicBezTo>
                        <a:pt x="1280" y="278"/>
                        <a:pt x="1276" y="272"/>
                        <a:pt x="1274" y="273"/>
                      </a:cubicBezTo>
                      <a:cubicBezTo>
                        <a:pt x="1273" y="274"/>
                        <a:pt x="1270" y="272"/>
                        <a:pt x="1270" y="270"/>
                      </a:cubicBezTo>
                      <a:cubicBezTo>
                        <a:pt x="1270" y="268"/>
                        <a:pt x="1269" y="266"/>
                        <a:pt x="1267" y="267"/>
                      </a:cubicBezTo>
                      <a:cubicBezTo>
                        <a:pt x="1265" y="269"/>
                        <a:pt x="1261" y="268"/>
                        <a:pt x="1260" y="266"/>
                      </a:cubicBezTo>
                      <a:cubicBezTo>
                        <a:pt x="1260" y="264"/>
                        <a:pt x="1265" y="262"/>
                        <a:pt x="1268" y="264"/>
                      </a:cubicBezTo>
                      <a:cubicBezTo>
                        <a:pt x="1272" y="265"/>
                        <a:pt x="1271" y="267"/>
                        <a:pt x="1273" y="268"/>
                      </a:cubicBezTo>
                      <a:cubicBezTo>
                        <a:pt x="1274" y="269"/>
                        <a:pt x="1279" y="268"/>
                        <a:pt x="1282" y="267"/>
                      </a:cubicBezTo>
                      <a:cubicBezTo>
                        <a:pt x="1284" y="266"/>
                        <a:pt x="1291" y="264"/>
                        <a:pt x="1292" y="262"/>
                      </a:cubicBezTo>
                      <a:cubicBezTo>
                        <a:pt x="1294" y="259"/>
                        <a:pt x="1292" y="259"/>
                        <a:pt x="1295" y="257"/>
                      </a:cubicBezTo>
                      <a:cubicBezTo>
                        <a:pt x="1297" y="256"/>
                        <a:pt x="1295" y="254"/>
                        <a:pt x="1293" y="253"/>
                      </a:cubicBezTo>
                      <a:cubicBezTo>
                        <a:pt x="1291" y="252"/>
                        <a:pt x="1292" y="249"/>
                        <a:pt x="1294" y="249"/>
                      </a:cubicBezTo>
                      <a:cubicBezTo>
                        <a:pt x="1296" y="249"/>
                        <a:pt x="1295" y="246"/>
                        <a:pt x="1297" y="246"/>
                      </a:cubicBezTo>
                      <a:cubicBezTo>
                        <a:pt x="1298" y="246"/>
                        <a:pt x="1298" y="247"/>
                        <a:pt x="1301" y="246"/>
                      </a:cubicBezTo>
                      <a:cubicBezTo>
                        <a:pt x="1304" y="245"/>
                        <a:pt x="1301" y="248"/>
                        <a:pt x="1300" y="250"/>
                      </a:cubicBezTo>
                      <a:cubicBezTo>
                        <a:pt x="1299" y="252"/>
                        <a:pt x="1302" y="254"/>
                        <a:pt x="1303" y="256"/>
                      </a:cubicBezTo>
                      <a:cubicBezTo>
                        <a:pt x="1303" y="257"/>
                        <a:pt x="1308" y="257"/>
                        <a:pt x="1311" y="256"/>
                      </a:cubicBezTo>
                      <a:cubicBezTo>
                        <a:pt x="1314" y="254"/>
                        <a:pt x="1323" y="258"/>
                        <a:pt x="1324" y="260"/>
                      </a:cubicBezTo>
                      <a:cubicBezTo>
                        <a:pt x="1324" y="262"/>
                        <a:pt x="1326" y="265"/>
                        <a:pt x="1329" y="267"/>
                      </a:cubicBezTo>
                      <a:cubicBezTo>
                        <a:pt x="1333" y="269"/>
                        <a:pt x="1337" y="268"/>
                        <a:pt x="1337" y="270"/>
                      </a:cubicBezTo>
                      <a:cubicBezTo>
                        <a:pt x="1338" y="272"/>
                        <a:pt x="1340" y="272"/>
                        <a:pt x="1342" y="272"/>
                      </a:cubicBezTo>
                      <a:cubicBezTo>
                        <a:pt x="1344" y="272"/>
                        <a:pt x="1345" y="274"/>
                        <a:pt x="1347" y="272"/>
                      </a:cubicBezTo>
                      <a:cubicBezTo>
                        <a:pt x="1348" y="271"/>
                        <a:pt x="1349" y="273"/>
                        <a:pt x="1351" y="272"/>
                      </a:cubicBezTo>
                      <a:cubicBezTo>
                        <a:pt x="1353" y="270"/>
                        <a:pt x="1347" y="269"/>
                        <a:pt x="1347" y="267"/>
                      </a:cubicBezTo>
                      <a:cubicBezTo>
                        <a:pt x="1348" y="266"/>
                        <a:pt x="1350" y="268"/>
                        <a:pt x="1351" y="268"/>
                      </a:cubicBezTo>
                      <a:cubicBezTo>
                        <a:pt x="1353" y="268"/>
                        <a:pt x="1351" y="264"/>
                        <a:pt x="1352" y="264"/>
                      </a:cubicBezTo>
                      <a:cubicBezTo>
                        <a:pt x="1353" y="264"/>
                        <a:pt x="1352" y="257"/>
                        <a:pt x="1351" y="256"/>
                      </a:cubicBezTo>
                      <a:cubicBezTo>
                        <a:pt x="1350" y="256"/>
                        <a:pt x="1351" y="253"/>
                        <a:pt x="1353" y="255"/>
                      </a:cubicBezTo>
                      <a:cubicBezTo>
                        <a:pt x="1356" y="257"/>
                        <a:pt x="1360" y="257"/>
                        <a:pt x="1363" y="257"/>
                      </a:cubicBezTo>
                      <a:cubicBezTo>
                        <a:pt x="1365" y="257"/>
                        <a:pt x="1363" y="255"/>
                        <a:pt x="1361" y="255"/>
                      </a:cubicBezTo>
                      <a:cubicBezTo>
                        <a:pt x="1359" y="255"/>
                        <a:pt x="1361" y="253"/>
                        <a:pt x="1362" y="254"/>
                      </a:cubicBezTo>
                      <a:cubicBezTo>
                        <a:pt x="1364" y="255"/>
                        <a:pt x="1367" y="256"/>
                        <a:pt x="1367" y="255"/>
                      </a:cubicBezTo>
                      <a:cubicBezTo>
                        <a:pt x="1367" y="253"/>
                        <a:pt x="1368" y="250"/>
                        <a:pt x="1371" y="250"/>
                      </a:cubicBezTo>
                      <a:cubicBezTo>
                        <a:pt x="1373" y="250"/>
                        <a:pt x="1374" y="249"/>
                        <a:pt x="1372" y="248"/>
                      </a:cubicBezTo>
                      <a:close/>
                      <a:moveTo>
                        <a:pt x="709" y="404"/>
                      </a:moveTo>
                      <a:cubicBezTo>
                        <a:pt x="702" y="410"/>
                        <a:pt x="688" y="412"/>
                        <a:pt x="688" y="417"/>
                      </a:cubicBezTo>
                      <a:cubicBezTo>
                        <a:pt x="688" y="422"/>
                        <a:pt x="672" y="424"/>
                        <a:pt x="671" y="422"/>
                      </a:cubicBezTo>
                      <a:cubicBezTo>
                        <a:pt x="669" y="420"/>
                        <a:pt x="683" y="419"/>
                        <a:pt x="686" y="412"/>
                      </a:cubicBezTo>
                      <a:cubicBezTo>
                        <a:pt x="689" y="405"/>
                        <a:pt x="701" y="401"/>
                        <a:pt x="707" y="392"/>
                      </a:cubicBezTo>
                      <a:cubicBezTo>
                        <a:pt x="712" y="385"/>
                        <a:pt x="715" y="375"/>
                        <a:pt x="718" y="376"/>
                      </a:cubicBezTo>
                      <a:cubicBezTo>
                        <a:pt x="720" y="376"/>
                        <a:pt x="716" y="398"/>
                        <a:pt x="709" y="404"/>
                      </a:cubicBezTo>
                      <a:close/>
                      <a:moveTo>
                        <a:pt x="739" y="125"/>
                      </a:moveTo>
                      <a:cubicBezTo>
                        <a:pt x="738" y="127"/>
                        <a:pt x="733" y="127"/>
                        <a:pt x="734" y="129"/>
                      </a:cubicBezTo>
                      <a:cubicBezTo>
                        <a:pt x="737" y="132"/>
                        <a:pt x="749" y="130"/>
                        <a:pt x="749" y="126"/>
                      </a:cubicBezTo>
                      <a:cubicBezTo>
                        <a:pt x="749" y="122"/>
                        <a:pt x="740" y="123"/>
                        <a:pt x="739" y="125"/>
                      </a:cubicBezTo>
                      <a:close/>
                      <a:moveTo>
                        <a:pt x="306" y="7"/>
                      </a:moveTo>
                      <a:cubicBezTo>
                        <a:pt x="312" y="7"/>
                        <a:pt x="310" y="4"/>
                        <a:pt x="314" y="4"/>
                      </a:cubicBezTo>
                      <a:cubicBezTo>
                        <a:pt x="318" y="5"/>
                        <a:pt x="323" y="4"/>
                        <a:pt x="321" y="2"/>
                      </a:cubicBezTo>
                      <a:cubicBezTo>
                        <a:pt x="319" y="0"/>
                        <a:pt x="305" y="1"/>
                        <a:pt x="306" y="3"/>
                      </a:cubicBezTo>
                      <a:cubicBezTo>
                        <a:pt x="308" y="4"/>
                        <a:pt x="295" y="4"/>
                        <a:pt x="296" y="4"/>
                      </a:cubicBezTo>
                      <a:cubicBezTo>
                        <a:pt x="296" y="6"/>
                        <a:pt x="300" y="7"/>
                        <a:pt x="306" y="7"/>
                      </a:cubicBezTo>
                      <a:close/>
                      <a:moveTo>
                        <a:pt x="277" y="23"/>
                      </a:moveTo>
                      <a:cubicBezTo>
                        <a:pt x="277" y="19"/>
                        <a:pt x="264" y="24"/>
                        <a:pt x="267" y="24"/>
                      </a:cubicBezTo>
                      <a:cubicBezTo>
                        <a:pt x="269" y="25"/>
                        <a:pt x="277" y="27"/>
                        <a:pt x="277" y="23"/>
                      </a:cubicBezTo>
                      <a:close/>
                      <a:moveTo>
                        <a:pt x="307" y="20"/>
                      </a:moveTo>
                      <a:cubicBezTo>
                        <a:pt x="308" y="22"/>
                        <a:pt x="306" y="22"/>
                        <a:pt x="301" y="22"/>
                      </a:cubicBezTo>
                      <a:cubicBezTo>
                        <a:pt x="296" y="22"/>
                        <a:pt x="294" y="25"/>
                        <a:pt x="296" y="27"/>
                      </a:cubicBezTo>
                      <a:cubicBezTo>
                        <a:pt x="299" y="29"/>
                        <a:pt x="312" y="28"/>
                        <a:pt x="314" y="26"/>
                      </a:cubicBezTo>
                      <a:cubicBezTo>
                        <a:pt x="316" y="23"/>
                        <a:pt x="322" y="25"/>
                        <a:pt x="323" y="22"/>
                      </a:cubicBezTo>
                      <a:cubicBezTo>
                        <a:pt x="324" y="19"/>
                        <a:pt x="306" y="18"/>
                        <a:pt x="307" y="20"/>
                      </a:cubicBezTo>
                      <a:close/>
                      <a:moveTo>
                        <a:pt x="348" y="16"/>
                      </a:moveTo>
                      <a:cubicBezTo>
                        <a:pt x="350" y="13"/>
                        <a:pt x="345" y="13"/>
                        <a:pt x="344" y="11"/>
                      </a:cubicBezTo>
                      <a:cubicBezTo>
                        <a:pt x="344" y="9"/>
                        <a:pt x="330" y="9"/>
                        <a:pt x="331" y="11"/>
                      </a:cubicBezTo>
                      <a:cubicBezTo>
                        <a:pt x="332" y="13"/>
                        <a:pt x="322" y="16"/>
                        <a:pt x="325" y="18"/>
                      </a:cubicBezTo>
                      <a:cubicBezTo>
                        <a:pt x="331" y="23"/>
                        <a:pt x="346" y="18"/>
                        <a:pt x="348" y="16"/>
                      </a:cubicBezTo>
                      <a:close/>
                      <a:moveTo>
                        <a:pt x="310" y="12"/>
                      </a:moveTo>
                      <a:cubicBezTo>
                        <a:pt x="311" y="7"/>
                        <a:pt x="302" y="11"/>
                        <a:pt x="296" y="8"/>
                      </a:cubicBezTo>
                      <a:cubicBezTo>
                        <a:pt x="290" y="6"/>
                        <a:pt x="286" y="6"/>
                        <a:pt x="291" y="9"/>
                      </a:cubicBezTo>
                      <a:cubicBezTo>
                        <a:pt x="292" y="11"/>
                        <a:pt x="280" y="12"/>
                        <a:pt x="282" y="14"/>
                      </a:cubicBezTo>
                      <a:cubicBezTo>
                        <a:pt x="286" y="19"/>
                        <a:pt x="309" y="17"/>
                        <a:pt x="310" y="12"/>
                      </a:cubicBezTo>
                      <a:close/>
                      <a:moveTo>
                        <a:pt x="275" y="144"/>
                      </a:moveTo>
                      <a:cubicBezTo>
                        <a:pt x="275" y="146"/>
                        <a:pt x="273" y="148"/>
                        <a:pt x="269" y="148"/>
                      </a:cubicBezTo>
                      <a:cubicBezTo>
                        <a:pt x="264" y="148"/>
                        <a:pt x="271" y="151"/>
                        <a:pt x="272" y="153"/>
                      </a:cubicBezTo>
                      <a:cubicBezTo>
                        <a:pt x="272" y="156"/>
                        <a:pt x="267" y="154"/>
                        <a:pt x="267" y="158"/>
                      </a:cubicBezTo>
                      <a:cubicBezTo>
                        <a:pt x="267" y="162"/>
                        <a:pt x="258" y="158"/>
                        <a:pt x="257" y="163"/>
                      </a:cubicBezTo>
                      <a:cubicBezTo>
                        <a:pt x="256" y="169"/>
                        <a:pt x="261" y="168"/>
                        <a:pt x="265" y="168"/>
                      </a:cubicBezTo>
                      <a:cubicBezTo>
                        <a:pt x="269" y="168"/>
                        <a:pt x="263" y="172"/>
                        <a:pt x="266" y="174"/>
                      </a:cubicBezTo>
                      <a:cubicBezTo>
                        <a:pt x="269" y="176"/>
                        <a:pt x="271" y="175"/>
                        <a:pt x="269" y="171"/>
                      </a:cubicBezTo>
                      <a:cubicBezTo>
                        <a:pt x="267" y="167"/>
                        <a:pt x="279" y="173"/>
                        <a:pt x="276" y="176"/>
                      </a:cubicBezTo>
                      <a:cubicBezTo>
                        <a:pt x="272" y="179"/>
                        <a:pt x="281" y="181"/>
                        <a:pt x="286" y="182"/>
                      </a:cubicBezTo>
                      <a:cubicBezTo>
                        <a:pt x="291" y="182"/>
                        <a:pt x="307" y="185"/>
                        <a:pt x="307" y="182"/>
                      </a:cubicBezTo>
                      <a:cubicBezTo>
                        <a:pt x="307" y="179"/>
                        <a:pt x="301" y="177"/>
                        <a:pt x="296" y="172"/>
                      </a:cubicBezTo>
                      <a:cubicBezTo>
                        <a:pt x="291" y="167"/>
                        <a:pt x="287" y="158"/>
                        <a:pt x="293" y="155"/>
                      </a:cubicBezTo>
                      <a:cubicBezTo>
                        <a:pt x="299" y="151"/>
                        <a:pt x="294" y="149"/>
                        <a:pt x="300" y="145"/>
                      </a:cubicBezTo>
                      <a:cubicBezTo>
                        <a:pt x="305" y="141"/>
                        <a:pt x="302" y="137"/>
                        <a:pt x="307" y="137"/>
                      </a:cubicBezTo>
                      <a:cubicBezTo>
                        <a:pt x="311" y="136"/>
                        <a:pt x="306" y="132"/>
                        <a:pt x="311" y="131"/>
                      </a:cubicBezTo>
                      <a:cubicBezTo>
                        <a:pt x="316" y="131"/>
                        <a:pt x="317" y="125"/>
                        <a:pt x="316" y="124"/>
                      </a:cubicBezTo>
                      <a:cubicBezTo>
                        <a:pt x="315" y="122"/>
                        <a:pt x="321" y="124"/>
                        <a:pt x="324" y="121"/>
                      </a:cubicBezTo>
                      <a:cubicBezTo>
                        <a:pt x="326" y="118"/>
                        <a:pt x="332" y="120"/>
                        <a:pt x="334" y="116"/>
                      </a:cubicBezTo>
                      <a:cubicBezTo>
                        <a:pt x="336" y="112"/>
                        <a:pt x="364" y="103"/>
                        <a:pt x="379" y="99"/>
                      </a:cubicBezTo>
                      <a:cubicBezTo>
                        <a:pt x="394" y="96"/>
                        <a:pt x="405" y="89"/>
                        <a:pt x="400" y="85"/>
                      </a:cubicBezTo>
                      <a:cubicBezTo>
                        <a:pt x="394" y="81"/>
                        <a:pt x="379" y="86"/>
                        <a:pt x="375" y="90"/>
                      </a:cubicBezTo>
                      <a:cubicBezTo>
                        <a:pt x="371" y="93"/>
                        <a:pt x="366" y="91"/>
                        <a:pt x="362" y="93"/>
                      </a:cubicBezTo>
                      <a:cubicBezTo>
                        <a:pt x="358" y="95"/>
                        <a:pt x="350" y="97"/>
                        <a:pt x="346" y="94"/>
                      </a:cubicBezTo>
                      <a:cubicBezTo>
                        <a:pt x="342" y="91"/>
                        <a:pt x="337" y="97"/>
                        <a:pt x="334" y="97"/>
                      </a:cubicBezTo>
                      <a:cubicBezTo>
                        <a:pt x="331" y="97"/>
                        <a:pt x="327" y="100"/>
                        <a:pt x="324" y="100"/>
                      </a:cubicBezTo>
                      <a:cubicBezTo>
                        <a:pt x="321" y="100"/>
                        <a:pt x="314" y="102"/>
                        <a:pt x="314" y="104"/>
                      </a:cubicBezTo>
                      <a:cubicBezTo>
                        <a:pt x="313" y="106"/>
                        <a:pt x="307" y="106"/>
                        <a:pt x="307" y="108"/>
                      </a:cubicBezTo>
                      <a:cubicBezTo>
                        <a:pt x="307" y="111"/>
                        <a:pt x="303" y="113"/>
                        <a:pt x="301" y="111"/>
                      </a:cubicBezTo>
                      <a:cubicBezTo>
                        <a:pt x="298" y="108"/>
                        <a:pt x="295" y="113"/>
                        <a:pt x="299" y="116"/>
                      </a:cubicBezTo>
                      <a:cubicBezTo>
                        <a:pt x="302" y="119"/>
                        <a:pt x="292" y="119"/>
                        <a:pt x="294" y="121"/>
                      </a:cubicBezTo>
                      <a:cubicBezTo>
                        <a:pt x="296" y="123"/>
                        <a:pt x="291" y="124"/>
                        <a:pt x="292" y="126"/>
                      </a:cubicBezTo>
                      <a:cubicBezTo>
                        <a:pt x="293" y="129"/>
                        <a:pt x="288" y="129"/>
                        <a:pt x="285" y="130"/>
                      </a:cubicBezTo>
                      <a:cubicBezTo>
                        <a:pt x="281" y="131"/>
                        <a:pt x="279" y="135"/>
                        <a:pt x="284" y="136"/>
                      </a:cubicBezTo>
                      <a:cubicBezTo>
                        <a:pt x="288" y="136"/>
                        <a:pt x="281" y="137"/>
                        <a:pt x="282" y="140"/>
                      </a:cubicBezTo>
                      <a:cubicBezTo>
                        <a:pt x="282" y="144"/>
                        <a:pt x="274" y="141"/>
                        <a:pt x="275" y="14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6" name="Freeform 149">
                  <a:extLst>
                    <a:ext uri="{FF2B5EF4-FFF2-40B4-BE49-F238E27FC236}">
                      <a16:creationId xmlns:a16="http://schemas.microsoft.com/office/drawing/2014/main" id="{2ADBB7D3-DB39-4A49-93E4-B79EBFE467B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885415" y="-10459068"/>
                  <a:ext cx="3379425" cy="3784828"/>
                </a:xfrm>
                <a:custGeom>
                  <a:avLst/>
                  <a:gdLst>
                    <a:gd name="T0" fmla="*/ 483 w 547"/>
                    <a:gd name="T1" fmla="*/ 226 h 613"/>
                    <a:gd name="T2" fmla="*/ 481 w 547"/>
                    <a:gd name="T3" fmla="*/ 214 h 613"/>
                    <a:gd name="T4" fmla="*/ 439 w 547"/>
                    <a:gd name="T5" fmla="*/ 166 h 613"/>
                    <a:gd name="T6" fmla="*/ 418 w 547"/>
                    <a:gd name="T7" fmla="*/ 113 h 613"/>
                    <a:gd name="T8" fmla="*/ 409 w 547"/>
                    <a:gd name="T9" fmla="*/ 86 h 613"/>
                    <a:gd name="T10" fmla="*/ 409 w 547"/>
                    <a:gd name="T11" fmla="*/ 56 h 613"/>
                    <a:gd name="T12" fmla="*/ 338 w 547"/>
                    <a:gd name="T13" fmla="*/ 50 h 613"/>
                    <a:gd name="T14" fmla="*/ 285 w 547"/>
                    <a:gd name="T15" fmla="*/ 61 h 613"/>
                    <a:gd name="T16" fmla="*/ 230 w 547"/>
                    <a:gd name="T17" fmla="*/ 37 h 613"/>
                    <a:gd name="T18" fmla="*/ 228 w 547"/>
                    <a:gd name="T19" fmla="*/ 5 h 613"/>
                    <a:gd name="T20" fmla="*/ 182 w 547"/>
                    <a:gd name="T21" fmla="*/ 6 h 613"/>
                    <a:gd name="T22" fmla="*/ 100 w 547"/>
                    <a:gd name="T23" fmla="*/ 19 h 613"/>
                    <a:gd name="T24" fmla="*/ 61 w 547"/>
                    <a:gd name="T25" fmla="*/ 64 h 613"/>
                    <a:gd name="T26" fmla="*/ 5 w 547"/>
                    <a:gd name="T27" fmla="*/ 135 h 613"/>
                    <a:gd name="T28" fmla="*/ 3 w 547"/>
                    <a:gd name="T29" fmla="*/ 194 h 613"/>
                    <a:gd name="T30" fmla="*/ 13 w 547"/>
                    <a:gd name="T31" fmla="*/ 222 h 613"/>
                    <a:gd name="T32" fmla="*/ 40 w 547"/>
                    <a:gd name="T33" fmla="*/ 258 h 613"/>
                    <a:gd name="T34" fmla="*/ 117 w 547"/>
                    <a:gd name="T35" fmla="*/ 277 h 613"/>
                    <a:gd name="T36" fmla="*/ 160 w 547"/>
                    <a:gd name="T37" fmla="*/ 266 h 613"/>
                    <a:gd name="T38" fmla="*/ 197 w 547"/>
                    <a:gd name="T39" fmla="*/ 281 h 613"/>
                    <a:gd name="T40" fmla="*/ 219 w 547"/>
                    <a:gd name="T41" fmla="*/ 300 h 613"/>
                    <a:gd name="T42" fmla="*/ 219 w 547"/>
                    <a:gd name="T43" fmla="*/ 317 h 613"/>
                    <a:gd name="T44" fmla="*/ 230 w 547"/>
                    <a:gd name="T45" fmla="*/ 350 h 613"/>
                    <a:gd name="T46" fmla="*/ 251 w 547"/>
                    <a:gd name="T47" fmla="*/ 411 h 613"/>
                    <a:gd name="T48" fmla="*/ 239 w 547"/>
                    <a:gd name="T49" fmla="*/ 471 h 613"/>
                    <a:gd name="T50" fmla="*/ 268 w 547"/>
                    <a:gd name="T51" fmla="*/ 556 h 613"/>
                    <a:gd name="T52" fmla="*/ 288 w 547"/>
                    <a:gd name="T53" fmla="*/ 608 h 613"/>
                    <a:gd name="T54" fmla="*/ 335 w 547"/>
                    <a:gd name="T55" fmla="*/ 604 h 613"/>
                    <a:gd name="T56" fmla="*/ 398 w 547"/>
                    <a:gd name="T57" fmla="*/ 541 h 613"/>
                    <a:gd name="T58" fmla="*/ 417 w 547"/>
                    <a:gd name="T59" fmla="*/ 496 h 613"/>
                    <a:gd name="T60" fmla="*/ 449 w 547"/>
                    <a:gd name="T61" fmla="*/ 456 h 613"/>
                    <a:gd name="T62" fmla="*/ 450 w 547"/>
                    <a:gd name="T63" fmla="*/ 388 h 613"/>
                    <a:gd name="T64" fmla="*/ 463 w 547"/>
                    <a:gd name="T65" fmla="*/ 335 h 613"/>
                    <a:gd name="T66" fmla="*/ 529 w 547"/>
                    <a:gd name="T67" fmla="*/ 267 h 613"/>
                    <a:gd name="T68" fmla="*/ 29 w 547"/>
                    <a:gd name="T69" fmla="*/ 215 h 613"/>
                    <a:gd name="T70" fmla="*/ 48 w 547"/>
                    <a:gd name="T71" fmla="*/ 219 h 613"/>
                    <a:gd name="T72" fmla="*/ 55 w 547"/>
                    <a:gd name="T73" fmla="*/ 250 h 613"/>
                    <a:gd name="T74" fmla="*/ 72 w 547"/>
                    <a:gd name="T75" fmla="*/ 258 h 613"/>
                    <a:gd name="T76" fmla="*/ 117 w 547"/>
                    <a:gd name="T77" fmla="*/ 239 h 613"/>
                    <a:gd name="T78" fmla="*/ 148 w 547"/>
                    <a:gd name="T79" fmla="*/ 229 h 613"/>
                    <a:gd name="T80" fmla="*/ 234 w 547"/>
                    <a:gd name="T81" fmla="*/ 299 h 613"/>
                    <a:gd name="T82" fmla="*/ 237 w 547"/>
                    <a:gd name="T83" fmla="*/ 124 h 613"/>
                    <a:gd name="T84" fmla="*/ 249 w 547"/>
                    <a:gd name="T85" fmla="*/ 206 h 613"/>
                    <a:gd name="T86" fmla="*/ 253 w 547"/>
                    <a:gd name="T87" fmla="*/ 211 h 613"/>
                    <a:gd name="T88" fmla="*/ 265 w 547"/>
                    <a:gd name="T89" fmla="*/ 257 h 613"/>
                    <a:gd name="T90" fmla="*/ 269 w 547"/>
                    <a:gd name="T91" fmla="*/ 297 h 613"/>
                    <a:gd name="T92" fmla="*/ 355 w 547"/>
                    <a:gd name="T93" fmla="*/ 276 h 613"/>
                    <a:gd name="T94" fmla="*/ 368 w 547"/>
                    <a:gd name="T95" fmla="*/ 499 h 613"/>
                    <a:gd name="T96" fmla="*/ 377 w 547"/>
                    <a:gd name="T97" fmla="*/ 440 h 613"/>
                    <a:gd name="T98" fmla="*/ 369 w 547"/>
                    <a:gd name="T99" fmla="*/ 345 h 613"/>
                    <a:gd name="T100" fmla="*/ 380 w 547"/>
                    <a:gd name="T101" fmla="*/ 327 h 613"/>
                    <a:gd name="T102" fmla="*/ 384 w 547"/>
                    <a:gd name="T103" fmla="*/ 502 h 613"/>
                    <a:gd name="T104" fmla="*/ 412 w 547"/>
                    <a:gd name="T105" fmla="*/ 320 h 613"/>
                    <a:gd name="T106" fmla="*/ 408 w 547"/>
                    <a:gd name="T107" fmla="*/ 421 h 613"/>
                    <a:gd name="T108" fmla="*/ 417 w 547"/>
                    <a:gd name="T109" fmla="*/ 432 h 613"/>
                    <a:gd name="T110" fmla="*/ 477 w 547"/>
                    <a:gd name="T111" fmla="*/ 228 h 6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47" h="613">
                      <a:moveTo>
                        <a:pt x="541" y="222"/>
                      </a:moveTo>
                      <a:cubicBezTo>
                        <a:pt x="540" y="224"/>
                        <a:pt x="530" y="226"/>
                        <a:pt x="523" y="226"/>
                      </a:cubicBezTo>
                      <a:cubicBezTo>
                        <a:pt x="517" y="227"/>
                        <a:pt x="513" y="227"/>
                        <a:pt x="511" y="229"/>
                      </a:cubicBezTo>
                      <a:cubicBezTo>
                        <a:pt x="508" y="232"/>
                        <a:pt x="502" y="229"/>
                        <a:pt x="500" y="231"/>
                      </a:cubicBezTo>
                      <a:cubicBezTo>
                        <a:pt x="498" y="234"/>
                        <a:pt x="489" y="236"/>
                        <a:pt x="487" y="230"/>
                      </a:cubicBezTo>
                      <a:cubicBezTo>
                        <a:pt x="486" y="228"/>
                        <a:pt x="484" y="227"/>
                        <a:pt x="483" y="226"/>
                      </a:cubicBezTo>
                      <a:cubicBezTo>
                        <a:pt x="482" y="226"/>
                        <a:pt x="482" y="227"/>
                        <a:pt x="481" y="227"/>
                      </a:cubicBezTo>
                      <a:cubicBezTo>
                        <a:pt x="482" y="227"/>
                        <a:pt x="482" y="226"/>
                        <a:pt x="483" y="226"/>
                      </a:cubicBezTo>
                      <a:cubicBezTo>
                        <a:pt x="481" y="225"/>
                        <a:pt x="479" y="224"/>
                        <a:pt x="478" y="224"/>
                      </a:cubicBezTo>
                      <a:cubicBezTo>
                        <a:pt x="477" y="223"/>
                        <a:pt x="481" y="221"/>
                        <a:pt x="483" y="220"/>
                      </a:cubicBezTo>
                      <a:cubicBezTo>
                        <a:pt x="485" y="220"/>
                        <a:pt x="484" y="217"/>
                        <a:pt x="482" y="215"/>
                      </a:cubicBezTo>
                      <a:cubicBezTo>
                        <a:pt x="482" y="215"/>
                        <a:pt x="482" y="215"/>
                        <a:pt x="481" y="214"/>
                      </a:cubicBezTo>
                      <a:cubicBezTo>
                        <a:pt x="479" y="213"/>
                        <a:pt x="476" y="210"/>
                        <a:pt x="473" y="205"/>
                      </a:cubicBezTo>
                      <a:cubicBezTo>
                        <a:pt x="468" y="199"/>
                        <a:pt x="463" y="196"/>
                        <a:pt x="460" y="196"/>
                      </a:cubicBezTo>
                      <a:cubicBezTo>
                        <a:pt x="457" y="196"/>
                        <a:pt x="457" y="191"/>
                        <a:pt x="455" y="191"/>
                      </a:cubicBezTo>
                      <a:cubicBezTo>
                        <a:pt x="453" y="191"/>
                        <a:pt x="449" y="184"/>
                        <a:pt x="449" y="179"/>
                      </a:cubicBezTo>
                      <a:cubicBezTo>
                        <a:pt x="449" y="177"/>
                        <a:pt x="447" y="173"/>
                        <a:pt x="444" y="170"/>
                      </a:cubicBezTo>
                      <a:cubicBezTo>
                        <a:pt x="442" y="168"/>
                        <a:pt x="441" y="166"/>
                        <a:pt x="439" y="166"/>
                      </a:cubicBezTo>
                      <a:cubicBezTo>
                        <a:pt x="436" y="164"/>
                        <a:pt x="435" y="159"/>
                        <a:pt x="435" y="153"/>
                      </a:cubicBezTo>
                      <a:cubicBezTo>
                        <a:pt x="435" y="147"/>
                        <a:pt x="433" y="142"/>
                        <a:pt x="433" y="140"/>
                      </a:cubicBezTo>
                      <a:cubicBezTo>
                        <a:pt x="433" y="138"/>
                        <a:pt x="429" y="133"/>
                        <a:pt x="426" y="131"/>
                      </a:cubicBezTo>
                      <a:cubicBezTo>
                        <a:pt x="423" y="130"/>
                        <a:pt x="422" y="128"/>
                        <a:pt x="421" y="125"/>
                      </a:cubicBezTo>
                      <a:cubicBezTo>
                        <a:pt x="421" y="124"/>
                        <a:pt x="421" y="123"/>
                        <a:pt x="421" y="122"/>
                      </a:cubicBezTo>
                      <a:cubicBezTo>
                        <a:pt x="422" y="118"/>
                        <a:pt x="419" y="119"/>
                        <a:pt x="418" y="113"/>
                      </a:cubicBezTo>
                      <a:cubicBezTo>
                        <a:pt x="416" y="108"/>
                        <a:pt x="409" y="100"/>
                        <a:pt x="409" y="97"/>
                      </a:cubicBezTo>
                      <a:cubicBezTo>
                        <a:pt x="409" y="94"/>
                        <a:pt x="405" y="92"/>
                        <a:pt x="405" y="89"/>
                      </a:cubicBezTo>
                      <a:cubicBezTo>
                        <a:pt x="405" y="85"/>
                        <a:pt x="403" y="85"/>
                        <a:pt x="400" y="80"/>
                      </a:cubicBezTo>
                      <a:cubicBezTo>
                        <a:pt x="396" y="74"/>
                        <a:pt x="395" y="65"/>
                        <a:pt x="396" y="65"/>
                      </a:cubicBezTo>
                      <a:cubicBezTo>
                        <a:pt x="397" y="65"/>
                        <a:pt x="400" y="73"/>
                        <a:pt x="401" y="75"/>
                      </a:cubicBezTo>
                      <a:cubicBezTo>
                        <a:pt x="403" y="78"/>
                        <a:pt x="407" y="86"/>
                        <a:pt x="409" y="86"/>
                      </a:cubicBezTo>
                      <a:cubicBezTo>
                        <a:pt x="412" y="86"/>
                        <a:pt x="413" y="74"/>
                        <a:pt x="414" y="74"/>
                      </a:cubicBezTo>
                      <a:cubicBezTo>
                        <a:pt x="414" y="74"/>
                        <a:pt x="414" y="75"/>
                        <a:pt x="415" y="75"/>
                      </a:cubicBezTo>
                      <a:cubicBezTo>
                        <a:pt x="415" y="73"/>
                        <a:pt x="415" y="73"/>
                        <a:pt x="415" y="73"/>
                      </a:cubicBezTo>
                      <a:cubicBezTo>
                        <a:pt x="416" y="69"/>
                        <a:pt x="416" y="69"/>
                        <a:pt x="416" y="69"/>
                      </a:cubicBezTo>
                      <a:cubicBezTo>
                        <a:pt x="410" y="55"/>
                        <a:pt x="410" y="55"/>
                        <a:pt x="410" y="55"/>
                      </a:cubicBezTo>
                      <a:cubicBezTo>
                        <a:pt x="410" y="56"/>
                        <a:pt x="410" y="56"/>
                        <a:pt x="409" y="56"/>
                      </a:cubicBezTo>
                      <a:cubicBezTo>
                        <a:pt x="408" y="57"/>
                        <a:pt x="404" y="55"/>
                        <a:pt x="401" y="56"/>
                      </a:cubicBezTo>
                      <a:cubicBezTo>
                        <a:pt x="397" y="57"/>
                        <a:pt x="394" y="56"/>
                        <a:pt x="391" y="54"/>
                      </a:cubicBezTo>
                      <a:cubicBezTo>
                        <a:pt x="387" y="52"/>
                        <a:pt x="375" y="54"/>
                        <a:pt x="374" y="57"/>
                      </a:cubicBezTo>
                      <a:cubicBezTo>
                        <a:pt x="372" y="59"/>
                        <a:pt x="368" y="59"/>
                        <a:pt x="365" y="57"/>
                      </a:cubicBezTo>
                      <a:cubicBezTo>
                        <a:pt x="361" y="56"/>
                        <a:pt x="357" y="54"/>
                        <a:pt x="350" y="53"/>
                      </a:cubicBezTo>
                      <a:cubicBezTo>
                        <a:pt x="344" y="53"/>
                        <a:pt x="339" y="52"/>
                        <a:pt x="338" y="50"/>
                      </a:cubicBezTo>
                      <a:cubicBezTo>
                        <a:pt x="338" y="50"/>
                        <a:pt x="338" y="50"/>
                        <a:pt x="338" y="50"/>
                      </a:cubicBezTo>
                      <a:cubicBezTo>
                        <a:pt x="337" y="48"/>
                        <a:pt x="334" y="48"/>
                        <a:pt x="327" y="47"/>
                      </a:cubicBezTo>
                      <a:cubicBezTo>
                        <a:pt x="320" y="46"/>
                        <a:pt x="323" y="41"/>
                        <a:pt x="315" y="41"/>
                      </a:cubicBezTo>
                      <a:cubicBezTo>
                        <a:pt x="307" y="40"/>
                        <a:pt x="297" y="47"/>
                        <a:pt x="297" y="50"/>
                      </a:cubicBezTo>
                      <a:cubicBezTo>
                        <a:pt x="297" y="53"/>
                        <a:pt x="300" y="57"/>
                        <a:pt x="298" y="60"/>
                      </a:cubicBezTo>
                      <a:cubicBezTo>
                        <a:pt x="295" y="64"/>
                        <a:pt x="289" y="64"/>
                        <a:pt x="285" y="61"/>
                      </a:cubicBezTo>
                      <a:cubicBezTo>
                        <a:pt x="281" y="57"/>
                        <a:pt x="275" y="55"/>
                        <a:pt x="271" y="55"/>
                      </a:cubicBezTo>
                      <a:cubicBezTo>
                        <a:pt x="266" y="55"/>
                        <a:pt x="262" y="52"/>
                        <a:pt x="263" y="50"/>
                      </a:cubicBezTo>
                      <a:cubicBezTo>
                        <a:pt x="263" y="47"/>
                        <a:pt x="261" y="46"/>
                        <a:pt x="257" y="45"/>
                      </a:cubicBezTo>
                      <a:cubicBezTo>
                        <a:pt x="253" y="44"/>
                        <a:pt x="250" y="41"/>
                        <a:pt x="243" y="42"/>
                      </a:cubicBezTo>
                      <a:cubicBezTo>
                        <a:pt x="239" y="43"/>
                        <a:pt x="236" y="41"/>
                        <a:pt x="233" y="40"/>
                      </a:cubicBezTo>
                      <a:cubicBezTo>
                        <a:pt x="232" y="39"/>
                        <a:pt x="230" y="37"/>
                        <a:pt x="230" y="37"/>
                      </a:cubicBezTo>
                      <a:cubicBezTo>
                        <a:pt x="230" y="35"/>
                        <a:pt x="228" y="32"/>
                        <a:pt x="227" y="34"/>
                      </a:cubicBezTo>
                      <a:cubicBezTo>
                        <a:pt x="226" y="35"/>
                        <a:pt x="221" y="34"/>
                        <a:pt x="221" y="31"/>
                      </a:cubicBezTo>
                      <a:cubicBezTo>
                        <a:pt x="220" y="28"/>
                        <a:pt x="224" y="28"/>
                        <a:pt x="227" y="26"/>
                      </a:cubicBezTo>
                      <a:cubicBezTo>
                        <a:pt x="230" y="23"/>
                        <a:pt x="231" y="18"/>
                        <a:pt x="227" y="15"/>
                      </a:cubicBezTo>
                      <a:cubicBezTo>
                        <a:pt x="224" y="12"/>
                        <a:pt x="226" y="10"/>
                        <a:pt x="229" y="8"/>
                      </a:cubicBezTo>
                      <a:cubicBezTo>
                        <a:pt x="231" y="5"/>
                        <a:pt x="229" y="4"/>
                        <a:pt x="228" y="5"/>
                      </a:cubicBezTo>
                      <a:cubicBezTo>
                        <a:pt x="226" y="6"/>
                        <a:pt x="224" y="6"/>
                        <a:pt x="224" y="4"/>
                      </a:cubicBezTo>
                      <a:cubicBezTo>
                        <a:pt x="223" y="1"/>
                        <a:pt x="216" y="0"/>
                        <a:pt x="213" y="3"/>
                      </a:cubicBezTo>
                      <a:cubicBezTo>
                        <a:pt x="212" y="4"/>
                        <a:pt x="210" y="4"/>
                        <a:pt x="208" y="4"/>
                      </a:cubicBezTo>
                      <a:cubicBezTo>
                        <a:pt x="205" y="4"/>
                        <a:pt x="202" y="3"/>
                        <a:pt x="201" y="3"/>
                      </a:cubicBezTo>
                      <a:cubicBezTo>
                        <a:pt x="199" y="2"/>
                        <a:pt x="195" y="3"/>
                        <a:pt x="193" y="4"/>
                      </a:cubicBezTo>
                      <a:cubicBezTo>
                        <a:pt x="190" y="4"/>
                        <a:pt x="184" y="8"/>
                        <a:pt x="182" y="6"/>
                      </a:cubicBezTo>
                      <a:cubicBezTo>
                        <a:pt x="179" y="4"/>
                        <a:pt x="158" y="7"/>
                        <a:pt x="151" y="8"/>
                      </a:cubicBezTo>
                      <a:cubicBezTo>
                        <a:pt x="145" y="8"/>
                        <a:pt x="143" y="14"/>
                        <a:pt x="139" y="14"/>
                      </a:cubicBezTo>
                      <a:cubicBezTo>
                        <a:pt x="135" y="14"/>
                        <a:pt x="129" y="17"/>
                        <a:pt x="126" y="21"/>
                      </a:cubicBezTo>
                      <a:cubicBezTo>
                        <a:pt x="125" y="22"/>
                        <a:pt x="124" y="22"/>
                        <a:pt x="123" y="22"/>
                      </a:cubicBezTo>
                      <a:cubicBezTo>
                        <a:pt x="120" y="22"/>
                        <a:pt x="117" y="20"/>
                        <a:pt x="114" y="20"/>
                      </a:cubicBezTo>
                      <a:cubicBezTo>
                        <a:pt x="110" y="20"/>
                        <a:pt x="103" y="22"/>
                        <a:pt x="100" y="19"/>
                      </a:cubicBezTo>
                      <a:cubicBezTo>
                        <a:pt x="97" y="15"/>
                        <a:pt x="95" y="14"/>
                        <a:pt x="93" y="15"/>
                      </a:cubicBezTo>
                      <a:cubicBezTo>
                        <a:pt x="90" y="16"/>
                        <a:pt x="86" y="28"/>
                        <a:pt x="84" y="31"/>
                      </a:cubicBezTo>
                      <a:cubicBezTo>
                        <a:pt x="82" y="35"/>
                        <a:pt x="75" y="37"/>
                        <a:pt x="72" y="37"/>
                      </a:cubicBezTo>
                      <a:cubicBezTo>
                        <a:pt x="68" y="37"/>
                        <a:pt x="68" y="42"/>
                        <a:pt x="66" y="44"/>
                      </a:cubicBezTo>
                      <a:cubicBezTo>
                        <a:pt x="63" y="46"/>
                        <a:pt x="64" y="49"/>
                        <a:pt x="61" y="52"/>
                      </a:cubicBezTo>
                      <a:cubicBezTo>
                        <a:pt x="58" y="54"/>
                        <a:pt x="60" y="61"/>
                        <a:pt x="61" y="64"/>
                      </a:cubicBezTo>
                      <a:cubicBezTo>
                        <a:pt x="63" y="67"/>
                        <a:pt x="56" y="75"/>
                        <a:pt x="52" y="77"/>
                      </a:cubicBezTo>
                      <a:cubicBezTo>
                        <a:pt x="48" y="80"/>
                        <a:pt x="46" y="84"/>
                        <a:pt x="40" y="85"/>
                      </a:cubicBezTo>
                      <a:cubicBezTo>
                        <a:pt x="37" y="86"/>
                        <a:pt x="35" y="87"/>
                        <a:pt x="34" y="88"/>
                      </a:cubicBezTo>
                      <a:cubicBezTo>
                        <a:pt x="32" y="90"/>
                        <a:pt x="30" y="93"/>
                        <a:pt x="30" y="95"/>
                      </a:cubicBezTo>
                      <a:cubicBezTo>
                        <a:pt x="28" y="99"/>
                        <a:pt x="19" y="105"/>
                        <a:pt x="19" y="110"/>
                      </a:cubicBezTo>
                      <a:cubicBezTo>
                        <a:pt x="19" y="116"/>
                        <a:pt x="10" y="124"/>
                        <a:pt x="5" y="135"/>
                      </a:cubicBezTo>
                      <a:cubicBezTo>
                        <a:pt x="3" y="138"/>
                        <a:pt x="3" y="141"/>
                        <a:pt x="2" y="143"/>
                      </a:cubicBezTo>
                      <a:cubicBezTo>
                        <a:pt x="2" y="148"/>
                        <a:pt x="5" y="150"/>
                        <a:pt x="7" y="152"/>
                      </a:cubicBezTo>
                      <a:cubicBezTo>
                        <a:pt x="9" y="155"/>
                        <a:pt x="5" y="160"/>
                        <a:pt x="9" y="165"/>
                      </a:cubicBezTo>
                      <a:cubicBezTo>
                        <a:pt x="12" y="170"/>
                        <a:pt x="8" y="178"/>
                        <a:pt x="6" y="181"/>
                      </a:cubicBezTo>
                      <a:cubicBezTo>
                        <a:pt x="5" y="182"/>
                        <a:pt x="5" y="185"/>
                        <a:pt x="5" y="188"/>
                      </a:cubicBezTo>
                      <a:cubicBezTo>
                        <a:pt x="4" y="190"/>
                        <a:pt x="4" y="192"/>
                        <a:pt x="3" y="194"/>
                      </a:cubicBezTo>
                      <a:cubicBezTo>
                        <a:pt x="0" y="198"/>
                        <a:pt x="4" y="204"/>
                        <a:pt x="6" y="206"/>
                      </a:cubicBezTo>
                      <a:cubicBezTo>
                        <a:pt x="6" y="206"/>
                        <a:pt x="6" y="206"/>
                        <a:pt x="6" y="207"/>
                      </a:cubicBezTo>
                      <a:cubicBezTo>
                        <a:pt x="6" y="208"/>
                        <a:pt x="5" y="210"/>
                        <a:pt x="5" y="212"/>
                      </a:cubicBezTo>
                      <a:cubicBezTo>
                        <a:pt x="5" y="213"/>
                        <a:pt x="5" y="215"/>
                        <a:pt x="6" y="216"/>
                      </a:cubicBezTo>
                      <a:cubicBezTo>
                        <a:pt x="6" y="216"/>
                        <a:pt x="7" y="216"/>
                        <a:pt x="7" y="217"/>
                      </a:cubicBezTo>
                      <a:cubicBezTo>
                        <a:pt x="9" y="219"/>
                        <a:pt x="9" y="220"/>
                        <a:pt x="13" y="222"/>
                      </a:cubicBezTo>
                      <a:cubicBezTo>
                        <a:pt x="18" y="223"/>
                        <a:pt x="13" y="225"/>
                        <a:pt x="17" y="228"/>
                      </a:cubicBezTo>
                      <a:cubicBezTo>
                        <a:pt x="17" y="228"/>
                        <a:pt x="17" y="228"/>
                        <a:pt x="18" y="228"/>
                      </a:cubicBezTo>
                      <a:cubicBezTo>
                        <a:pt x="21" y="231"/>
                        <a:pt x="20" y="233"/>
                        <a:pt x="24" y="235"/>
                      </a:cubicBezTo>
                      <a:cubicBezTo>
                        <a:pt x="26" y="238"/>
                        <a:pt x="30" y="241"/>
                        <a:pt x="33" y="245"/>
                      </a:cubicBezTo>
                      <a:cubicBezTo>
                        <a:pt x="33" y="246"/>
                        <a:pt x="33" y="247"/>
                        <a:pt x="34" y="248"/>
                      </a:cubicBezTo>
                      <a:cubicBezTo>
                        <a:pt x="36" y="255"/>
                        <a:pt x="37" y="256"/>
                        <a:pt x="40" y="258"/>
                      </a:cubicBezTo>
                      <a:cubicBezTo>
                        <a:pt x="41" y="259"/>
                        <a:pt x="44" y="261"/>
                        <a:pt x="47" y="263"/>
                      </a:cubicBezTo>
                      <a:cubicBezTo>
                        <a:pt x="50" y="265"/>
                        <a:pt x="54" y="267"/>
                        <a:pt x="57" y="270"/>
                      </a:cubicBezTo>
                      <a:cubicBezTo>
                        <a:pt x="63" y="274"/>
                        <a:pt x="72" y="280"/>
                        <a:pt x="76" y="281"/>
                      </a:cubicBezTo>
                      <a:cubicBezTo>
                        <a:pt x="76" y="282"/>
                        <a:pt x="77" y="282"/>
                        <a:pt x="78" y="282"/>
                      </a:cubicBezTo>
                      <a:cubicBezTo>
                        <a:pt x="83" y="282"/>
                        <a:pt x="91" y="278"/>
                        <a:pt x="102" y="277"/>
                      </a:cubicBezTo>
                      <a:cubicBezTo>
                        <a:pt x="108" y="275"/>
                        <a:pt x="113" y="276"/>
                        <a:pt x="117" y="277"/>
                      </a:cubicBezTo>
                      <a:cubicBezTo>
                        <a:pt x="120" y="278"/>
                        <a:pt x="122" y="279"/>
                        <a:pt x="123" y="280"/>
                      </a:cubicBezTo>
                      <a:cubicBezTo>
                        <a:pt x="125" y="280"/>
                        <a:pt x="135" y="275"/>
                        <a:pt x="139" y="273"/>
                      </a:cubicBezTo>
                      <a:cubicBezTo>
                        <a:pt x="142" y="272"/>
                        <a:pt x="146" y="271"/>
                        <a:pt x="148" y="269"/>
                      </a:cubicBezTo>
                      <a:cubicBezTo>
                        <a:pt x="149" y="269"/>
                        <a:pt x="149" y="269"/>
                        <a:pt x="150" y="268"/>
                      </a:cubicBezTo>
                      <a:cubicBezTo>
                        <a:pt x="151" y="267"/>
                        <a:pt x="152" y="267"/>
                        <a:pt x="154" y="267"/>
                      </a:cubicBezTo>
                      <a:cubicBezTo>
                        <a:pt x="156" y="266"/>
                        <a:pt x="158" y="266"/>
                        <a:pt x="160" y="266"/>
                      </a:cubicBezTo>
                      <a:cubicBezTo>
                        <a:pt x="162" y="266"/>
                        <a:pt x="164" y="263"/>
                        <a:pt x="165" y="264"/>
                      </a:cubicBezTo>
                      <a:cubicBezTo>
                        <a:pt x="165" y="264"/>
                        <a:pt x="165" y="264"/>
                        <a:pt x="165" y="264"/>
                      </a:cubicBezTo>
                      <a:cubicBezTo>
                        <a:pt x="167" y="266"/>
                        <a:pt x="173" y="267"/>
                        <a:pt x="177" y="267"/>
                      </a:cubicBezTo>
                      <a:cubicBezTo>
                        <a:pt x="181" y="268"/>
                        <a:pt x="185" y="274"/>
                        <a:pt x="185" y="276"/>
                      </a:cubicBezTo>
                      <a:cubicBezTo>
                        <a:pt x="185" y="278"/>
                        <a:pt x="187" y="282"/>
                        <a:pt x="189" y="283"/>
                      </a:cubicBezTo>
                      <a:cubicBezTo>
                        <a:pt x="191" y="284"/>
                        <a:pt x="195" y="281"/>
                        <a:pt x="197" y="281"/>
                      </a:cubicBezTo>
                      <a:cubicBezTo>
                        <a:pt x="199" y="281"/>
                        <a:pt x="206" y="281"/>
                        <a:pt x="208" y="280"/>
                      </a:cubicBezTo>
                      <a:cubicBezTo>
                        <a:pt x="208" y="279"/>
                        <a:pt x="209" y="279"/>
                        <a:pt x="209" y="280"/>
                      </a:cubicBezTo>
                      <a:cubicBezTo>
                        <a:pt x="210" y="280"/>
                        <a:pt x="211" y="282"/>
                        <a:pt x="213" y="284"/>
                      </a:cubicBezTo>
                      <a:cubicBezTo>
                        <a:pt x="214" y="286"/>
                        <a:pt x="217" y="285"/>
                        <a:pt x="219" y="285"/>
                      </a:cubicBezTo>
                      <a:cubicBezTo>
                        <a:pt x="220" y="286"/>
                        <a:pt x="221" y="292"/>
                        <a:pt x="221" y="293"/>
                      </a:cubicBezTo>
                      <a:cubicBezTo>
                        <a:pt x="221" y="295"/>
                        <a:pt x="219" y="298"/>
                        <a:pt x="219" y="300"/>
                      </a:cubicBezTo>
                      <a:cubicBezTo>
                        <a:pt x="220" y="300"/>
                        <a:pt x="220" y="300"/>
                        <a:pt x="220" y="301"/>
                      </a:cubicBezTo>
                      <a:cubicBezTo>
                        <a:pt x="221" y="302"/>
                        <a:pt x="220" y="305"/>
                        <a:pt x="218" y="306"/>
                      </a:cubicBezTo>
                      <a:cubicBezTo>
                        <a:pt x="215" y="307"/>
                        <a:pt x="215" y="309"/>
                        <a:pt x="217" y="309"/>
                      </a:cubicBezTo>
                      <a:cubicBezTo>
                        <a:pt x="219" y="309"/>
                        <a:pt x="218" y="310"/>
                        <a:pt x="218" y="311"/>
                      </a:cubicBezTo>
                      <a:cubicBezTo>
                        <a:pt x="217" y="312"/>
                        <a:pt x="217" y="312"/>
                        <a:pt x="216" y="313"/>
                      </a:cubicBezTo>
                      <a:cubicBezTo>
                        <a:pt x="215" y="314"/>
                        <a:pt x="219" y="315"/>
                        <a:pt x="219" y="317"/>
                      </a:cubicBezTo>
                      <a:cubicBezTo>
                        <a:pt x="220" y="318"/>
                        <a:pt x="215" y="318"/>
                        <a:pt x="215" y="320"/>
                      </a:cubicBezTo>
                      <a:cubicBezTo>
                        <a:pt x="215" y="322"/>
                        <a:pt x="213" y="324"/>
                        <a:pt x="212" y="325"/>
                      </a:cubicBezTo>
                      <a:cubicBezTo>
                        <a:pt x="210" y="326"/>
                        <a:pt x="216" y="331"/>
                        <a:pt x="216" y="332"/>
                      </a:cubicBezTo>
                      <a:cubicBezTo>
                        <a:pt x="216" y="334"/>
                        <a:pt x="217" y="335"/>
                        <a:pt x="221" y="340"/>
                      </a:cubicBezTo>
                      <a:cubicBezTo>
                        <a:pt x="226" y="344"/>
                        <a:pt x="224" y="345"/>
                        <a:pt x="229" y="350"/>
                      </a:cubicBezTo>
                      <a:cubicBezTo>
                        <a:pt x="230" y="350"/>
                        <a:pt x="230" y="350"/>
                        <a:pt x="230" y="350"/>
                      </a:cubicBezTo>
                      <a:cubicBezTo>
                        <a:pt x="234" y="353"/>
                        <a:pt x="236" y="356"/>
                        <a:pt x="237" y="359"/>
                      </a:cubicBezTo>
                      <a:cubicBezTo>
                        <a:pt x="239" y="362"/>
                        <a:pt x="239" y="365"/>
                        <a:pt x="240" y="368"/>
                      </a:cubicBezTo>
                      <a:cubicBezTo>
                        <a:pt x="240" y="368"/>
                        <a:pt x="240" y="368"/>
                        <a:pt x="240" y="369"/>
                      </a:cubicBezTo>
                      <a:cubicBezTo>
                        <a:pt x="242" y="374"/>
                        <a:pt x="246" y="383"/>
                        <a:pt x="247" y="385"/>
                      </a:cubicBezTo>
                      <a:cubicBezTo>
                        <a:pt x="248" y="388"/>
                        <a:pt x="246" y="390"/>
                        <a:pt x="246" y="394"/>
                      </a:cubicBezTo>
                      <a:cubicBezTo>
                        <a:pt x="246" y="398"/>
                        <a:pt x="250" y="406"/>
                        <a:pt x="251" y="411"/>
                      </a:cubicBezTo>
                      <a:cubicBezTo>
                        <a:pt x="251" y="416"/>
                        <a:pt x="248" y="419"/>
                        <a:pt x="245" y="422"/>
                      </a:cubicBezTo>
                      <a:cubicBezTo>
                        <a:pt x="242" y="426"/>
                        <a:pt x="239" y="433"/>
                        <a:pt x="239" y="438"/>
                      </a:cubicBezTo>
                      <a:cubicBezTo>
                        <a:pt x="239" y="442"/>
                        <a:pt x="235" y="447"/>
                        <a:pt x="235" y="449"/>
                      </a:cubicBezTo>
                      <a:cubicBezTo>
                        <a:pt x="235" y="451"/>
                        <a:pt x="235" y="457"/>
                        <a:pt x="234" y="460"/>
                      </a:cubicBezTo>
                      <a:cubicBezTo>
                        <a:pt x="234" y="460"/>
                        <a:pt x="234" y="460"/>
                        <a:pt x="234" y="460"/>
                      </a:cubicBezTo>
                      <a:cubicBezTo>
                        <a:pt x="234" y="463"/>
                        <a:pt x="236" y="467"/>
                        <a:pt x="239" y="471"/>
                      </a:cubicBezTo>
                      <a:cubicBezTo>
                        <a:pt x="241" y="474"/>
                        <a:pt x="245" y="481"/>
                        <a:pt x="247" y="487"/>
                      </a:cubicBezTo>
                      <a:cubicBezTo>
                        <a:pt x="248" y="493"/>
                        <a:pt x="253" y="499"/>
                        <a:pt x="255" y="504"/>
                      </a:cubicBezTo>
                      <a:cubicBezTo>
                        <a:pt x="256" y="508"/>
                        <a:pt x="254" y="515"/>
                        <a:pt x="255" y="517"/>
                      </a:cubicBezTo>
                      <a:cubicBezTo>
                        <a:pt x="256" y="520"/>
                        <a:pt x="257" y="525"/>
                        <a:pt x="258" y="530"/>
                      </a:cubicBezTo>
                      <a:cubicBezTo>
                        <a:pt x="259" y="535"/>
                        <a:pt x="259" y="545"/>
                        <a:pt x="263" y="550"/>
                      </a:cubicBezTo>
                      <a:cubicBezTo>
                        <a:pt x="265" y="551"/>
                        <a:pt x="267" y="553"/>
                        <a:pt x="268" y="556"/>
                      </a:cubicBezTo>
                      <a:cubicBezTo>
                        <a:pt x="271" y="560"/>
                        <a:pt x="273" y="565"/>
                        <a:pt x="275" y="569"/>
                      </a:cubicBezTo>
                      <a:cubicBezTo>
                        <a:pt x="276" y="575"/>
                        <a:pt x="281" y="581"/>
                        <a:pt x="282" y="585"/>
                      </a:cubicBezTo>
                      <a:cubicBezTo>
                        <a:pt x="283" y="588"/>
                        <a:pt x="285" y="592"/>
                        <a:pt x="282" y="592"/>
                      </a:cubicBezTo>
                      <a:cubicBezTo>
                        <a:pt x="280" y="593"/>
                        <a:pt x="280" y="595"/>
                        <a:pt x="282" y="599"/>
                      </a:cubicBezTo>
                      <a:cubicBezTo>
                        <a:pt x="285" y="603"/>
                        <a:pt x="283" y="605"/>
                        <a:pt x="285" y="606"/>
                      </a:cubicBezTo>
                      <a:cubicBezTo>
                        <a:pt x="287" y="606"/>
                        <a:pt x="287" y="608"/>
                        <a:pt x="288" y="608"/>
                      </a:cubicBezTo>
                      <a:cubicBezTo>
                        <a:pt x="290" y="608"/>
                        <a:pt x="291" y="610"/>
                        <a:pt x="293" y="611"/>
                      </a:cubicBezTo>
                      <a:cubicBezTo>
                        <a:pt x="294" y="613"/>
                        <a:pt x="296" y="613"/>
                        <a:pt x="298" y="611"/>
                      </a:cubicBezTo>
                      <a:cubicBezTo>
                        <a:pt x="299" y="609"/>
                        <a:pt x="303" y="608"/>
                        <a:pt x="307" y="608"/>
                      </a:cubicBezTo>
                      <a:cubicBezTo>
                        <a:pt x="311" y="608"/>
                        <a:pt x="311" y="606"/>
                        <a:pt x="315" y="605"/>
                      </a:cubicBezTo>
                      <a:cubicBezTo>
                        <a:pt x="319" y="604"/>
                        <a:pt x="324" y="604"/>
                        <a:pt x="327" y="605"/>
                      </a:cubicBezTo>
                      <a:cubicBezTo>
                        <a:pt x="331" y="606"/>
                        <a:pt x="333" y="605"/>
                        <a:pt x="335" y="604"/>
                      </a:cubicBezTo>
                      <a:cubicBezTo>
                        <a:pt x="336" y="603"/>
                        <a:pt x="340" y="606"/>
                        <a:pt x="340" y="603"/>
                      </a:cubicBezTo>
                      <a:cubicBezTo>
                        <a:pt x="340" y="600"/>
                        <a:pt x="343" y="601"/>
                        <a:pt x="347" y="601"/>
                      </a:cubicBezTo>
                      <a:cubicBezTo>
                        <a:pt x="350" y="601"/>
                        <a:pt x="357" y="596"/>
                        <a:pt x="363" y="590"/>
                      </a:cubicBezTo>
                      <a:cubicBezTo>
                        <a:pt x="369" y="585"/>
                        <a:pt x="379" y="573"/>
                        <a:pt x="382" y="567"/>
                      </a:cubicBezTo>
                      <a:cubicBezTo>
                        <a:pt x="386" y="561"/>
                        <a:pt x="391" y="557"/>
                        <a:pt x="394" y="554"/>
                      </a:cubicBezTo>
                      <a:cubicBezTo>
                        <a:pt x="396" y="552"/>
                        <a:pt x="397" y="546"/>
                        <a:pt x="398" y="541"/>
                      </a:cubicBezTo>
                      <a:cubicBezTo>
                        <a:pt x="398" y="539"/>
                        <a:pt x="398" y="538"/>
                        <a:pt x="398" y="537"/>
                      </a:cubicBezTo>
                      <a:cubicBezTo>
                        <a:pt x="398" y="533"/>
                        <a:pt x="396" y="536"/>
                        <a:pt x="395" y="534"/>
                      </a:cubicBezTo>
                      <a:cubicBezTo>
                        <a:pt x="394" y="531"/>
                        <a:pt x="401" y="527"/>
                        <a:pt x="407" y="525"/>
                      </a:cubicBezTo>
                      <a:cubicBezTo>
                        <a:pt x="414" y="522"/>
                        <a:pt x="417" y="521"/>
                        <a:pt x="417" y="518"/>
                      </a:cubicBezTo>
                      <a:cubicBezTo>
                        <a:pt x="418" y="516"/>
                        <a:pt x="417" y="509"/>
                        <a:pt x="418" y="507"/>
                      </a:cubicBezTo>
                      <a:cubicBezTo>
                        <a:pt x="419" y="504"/>
                        <a:pt x="418" y="502"/>
                        <a:pt x="417" y="496"/>
                      </a:cubicBezTo>
                      <a:cubicBezTo>
                        <a:pt x="416" y="491"/>
                        <a:pt x="414" y="490"/>
                        <a:pt x="413" y="486"/>
                      </a:cubicBezTo>
                      <a:cubicBezTo>
                        <a:pt x="412" y="483"/>
                        <a:pt x="412" y="480"/>
                        <a:pt x="414" y="480"/>
                      </a:cubicBezTo>
                      <a:cubicBezTo>
                        <a:pt x="416" y="480"/>
                        <a:pt x="416" y="479"/>
                        <a:pt x="418" y="476"/>
                      </a:cubicBezTo>
                      <a:cubicBezTo>
                        <a:pt x="420" y="473"/>
                        <a:pt x="421" y="474"/>
                        <a:pt x="425" y="472"/>
                      </a:cubicBezTo>
                      <a:cubicBezTo>
                        <a:pt x="428" y="469"/>
                        <a:pt x="428" y="466"/>
                        <a:pt x="433" y="462"/>
                      </a:cubicBezTo>
                      <a:cubicBezTo>
                        <a:pt x="438" y="458"/>
                        <a:pt x="444" y="459"/>
                        <a:pt x="449" y="456"/>
                      </a:cubicBezTo>
                      <a:cubicBezTo>
                        <a:pt x="454" y="453"/>
                        <a:pt x="462" y="441"/>
                        <a:pt x="462" y="439"/>
                      </a:cubicBezTo>
                      <a:cubicBezTo>
                        <a:pt x="461" y="437"/>
                        <a:pt x="459" y="427"/>
                        <a:pt x="460" y="423"/>
                      </a:cubicBezTo>
                      <a:cubicBezTo>
                        <a:pt x="460" y="419"/>
                        <a:pt x="459" y="409"/>
                        <a:pt x="459" y="404"/>
                      </a:cubicBezTo>
                      <a:cubicBezTo>
                        <a:pt x="459" y="404"/>
                        <a:pt x="459" y="404"/>
                        <a:pt x="459" y="404"/>
                      </a:cubicBezTo>
                      <a:cubicBezTo>
                        <a:pt x="459" y="399"/>
                        <a:pt x="453" y="401"/>
                        <a:pt x="453" y="396"/>
                      </a:cubicBezTo>
                      <a:cubicBezTo>
                        <a:pt x="453" y="391"/>
                        <a:pt x="450" y="391"/>
                        <a:pt x="450" y="388"/>
                      </a:cubicBezTo>
                      <a:cubicBezTo>
                        <a:pt x="450" y="385"/>
                        <a:pt x="450" y="382"/>
                        <a:pt x="449" y="381"/>
                      </a:cubicBezTo>
                      <a:cubicBezTo>
                        <a:pt x="448" y="381"/>
                        <a:pt x="449" y="378"/>
                        <a:pt x="451" y="375"/>
                      </a:cubicBezTo>
                      <a:cubicBezTo>
                        <a:pt x="453" y="372"/>
                        <a:pt x="447" y="372"/>
                        <a:pt x="446" y="369"/>
                      </a:cubicBezTo>
                      <a:cubicBezTo>
                        <a:pt x="446" y="367"/>
                        <a:pt x="448" y="362"/>
                        <a:pt x="450" y="356"/>
                      </a:cubicBezTo>
                      <a:cubicBezTo>
                        <a:pt x="453" y="349"/>
                        <a:pt x="457" y="340"/>
                        <a:pt x="458" y="339"/>
                      </a:cubicBezTo>
                      <a:cubicBezTo>
                        <a:pt x="460" y="336"/>
                        <a:pt x="461" y="337"/>
                        <a:pt x="463" y="335"/>
                      </a:cubicBezTo>
                      <a:cubicBezTo>
                        <a:pt x="464" y="333"/>
                        <a:pt x="465" y="336"/>
                        <a:pt x="467" y="332"/>
                      </a:cubicBezTo>
                      <a:cubicBezTo>
                        <a:pt x="468" y="332"/>
                        <a:pt x="468" y="331"/>
                        <a:pt x="468" y="331"/>
                      </a:cubicBezTo>
                      <a:cubicBezTo>
                        <a:pt x="471" y="327"/>
                        <a:pt x="480" y="319"/>
                        <a:pt x="486" y="312"/>
                      </a:cubicBezTo>
                      <a:cubicBezTo>
                        <a:pt x="493" y="305"/>
                        <a:pt x="496" y="303"/>
                        <a:pt x="500" y="301"/>
                      </a:cubicBezTo>
                      <a:cubicBezTo>
                        <a:pt x="504" y="299"/>
                        <a:pt x="513" y="290"/>
                        <a:pt x="520" y="282"/>
                      </a:cubicBezTo>
                      <a:cubicBezTo>
                        <a:pt x="524" y="276"/>
                        <a:pt x="529" y="271"/>
                        <a:pt x="529" y="267"/>
                      </a:cubicBezTo>
                      <a:cubicBezTo>
                        <a:pt x="530" y="263"/>
                        <a:pt x="534" y="258"/>
                        <a:pt x="536" y="254"/>
                      </a:cubicBezTo>
                      <a:cubicBezTo>
                        <a:pt x="539" y="251"/>
                        <a:pt x="544" y="241"/>
                        <a:pt x="544" y="238"/>
                      </a:cubicBezTo>
                      <a:cubicBezTo>
                        <a:pt x="544" y="236"/>
                        <a:pt x="546" y="229"/>
                        <a:pt x="547" y="224"/>
                      </a:cubicBezTo>
                      <a:cubicBezTo>
                        <a:pt x="547" y="219"/>
                        <a:pt x="543" y="219"/>
                        <a:pt x="541" y="222"/>
                      </a:cubicBezTo>
                      <a:close/>
                      <a:moveTo>
                        <a:pt x="29" y="216"/>
                      </a:moveTo>
                      <a:cubicBezTo>
                        <a:pt x="29" y="215"/>
                        <a:pt x="29" y="215"/>
                        <a:pt x="29" y="215"/>
                      </a:cubicBezTo>
                      <a:cubicBezTo>
                        <a:pt x="29" y="215"/>
                        <a:pt x="29" y="215"/>
                        <a:pt x="29" y="216"/>
                      </a:cubicBezTo>
                      <a:close/>
                      <a:moveTo>
                        <a:pt x="40" y="198"/>
                      </a:moveTo>
                      <a:cubicBezTo>
                        <a:pt x="40" y="198"/>
                        <a:pt x="40" y="198"/>
                        <a:pt x="40" y="198"/>
                      </a:cubicBezTo>
                      <a:cubicBezTo>
                        <a:pt x="40" y="198"/>
                        <a:pt x="40" y="198"/>
                        <a:pt x="40" y="198"/>
                      </a:cubicBezTo>
                      <a:cubicBezTo>
                        <a:pt x="40" y="198"/>
                        <a:pt x="40" y="198"/>
                        <a:pt x="40" y="198"/>
                      </a:cubicBezTo>
                      <a:close/>
                      <a:moveTo>
                        <a:pt x="48" y="219"/>
                      </a:moveTo>
                      <a:cubicBezTo>
                        <a:pt x="48" y="219"/>
                        <a:pt x="48" y="218"/>
                        <a:pt x="48" y="218"/>
                      </a:cubicBezTo>
                      <a:cubicBezTo>
                        <a:pt x="48" y="218"/>
                        <a:pt x="48" y="219"/>
                        <a:pt x="48" y="219"/>
                      </a:cubicBezTo>
                      <a:close/>
                      <a:moveTo>
                        <a:pt x="48" y="218"/>
                      </a:moveTo>
                      <a:cubicBezTo>
                        <a:pt x="47" y="218"/>
                        <a:pt x="47" y="218"/>
                        <a:pt x="47" y="218"/>
                      </a:cubicBezTo>
                      <a:cubicBezTo>
                        <a:pt x="47" y="218"/>
                        <a:pt x="47" y="218"/>
                        <a:pt x="48" y="218"/>
                      </a:cubicBezTo>
                      <a:close/>
                      <a:moveTo>
                        <a:pt x="55" y="250"/>
                      </a:moveTo>
                      <a:cubicBezTo>
                        <a:pt x="55" y="250"/>
                        <a:pt x="56" y="250"/>
                        <a:pt x="56" y="251"/>
                      </a:cubicBezTo>
                      <a:cubicBezTo>
                        <a:pt x="56" y="251"/>
                        <a:pt x="56" y="251"/>
                        <a:pt x="56" y="251"/>
                      </a:cubicBezTo>
                      <a:cubicBezTo>
                        <a:pt x="56" y="251"/>
                        <a:pt x="56" y="250"/>
                        <a:pt x="55" y="250"/>
                      </a:cubicBezTo>
                      <a:close/>
                      <a:moveTo>
                        <a:pt x="72" y="258"/>
                      </a:moveTo>
                      <a:cubicBezTo>
                        <a:pt x="72" y="258"/>
                        <a:pt x="72" y="258"/>
                        <a:pt x="72" y="258"/>
                      </a:cubicBezTo>
                      <a:cubicBezTo>
                        <a:pt x="72" y="258"/>
                        <a:pt x="72" y="258"/>
                        <a:pt x="72" y="258"/>
                      </a:cubicBezTo>
                      <a:cubicBezTo>
                        <a:pt x="72" y="258"/>
                        <a:pt x="72" y="258"/>
                        <a:pt x="72" y="258"/>
                      </a:cubicBezTo>
                      <a:close/>
                      <a:moveTo>
                        <a:pt x="95" y="233"/>
                      </a:moveTo>
                      <a:cubicBezTo>
                        <a:pt x="95" y="233"/>
                        <a:pt x="95" y="233"/>
                        <a:pt x="95" y="233"/>
                      </a:cubicBezTo>
                      <a:cubicBezTo>
                        <a:pt x="95" y="233"/>
                        <a:pt x="95" y="233"/>
                        <a:pt x="95" y="233"/>
                      </a:cubicBezTo>
                      <a:cubicBezTo>
                        <a:pt x="95" y="233"/>
                        <a:pt x="95" y="233"/>
                        <a:pt x="95" y="233"/>
                      </a:cubicBezTo>
                      <a:close/>
                      <a:moveTo>
                        <a:pt x="117" y="239"/>
                      </a:moveTo>
                      <a:cubicBezTo>
                        <a:pt x="117" y="239"/>
                        <a:pt x="117" y="239"/>
                        <a:pt x="117" y="239"/>
                      </a:cubicBezTo>
                      <a:cubicBezTo>
                        <a:pt x="117" y="239"/>
                        <a:pt x="117" y="239"/>
                        <a:pt x="117" y="239"/>
                      </a:cubicBezTo>
                      <a:cubicBezTo>
                        <a:pt x="117" y="239"/>
                        <a:pt x="117" y="239"/>
                        <a:pt x="117" y="239"/>
                      </a:cubicBezTo>
                      <a:close/>
                      <a:moveTo>
                        <a:pt x="146" y="229"/>
                      </a:moveTo>
                      <a:cubicBezTo>
                        <a:pt x="146" y="229"/>
                        <a:pt x="146" y="229"/>
                        <a:pt x="146" y="229"/>
                      </a:cubicBezTo>
                      <a:cubicBezTo>
                        <a:pt x="147" y="229"/>
                        <a:pt x="147" y="229"/>
                        <a:pt x="148" y="229"/>
                      </a:cubicBezTo>
                      <a:cubicBezTo>
                        <a:pt x="147" y="229"/>
                        <a:pt x="147" y="229"/>
                        <a:pt x="146" y="229"/>
                      </a:cubicBezTo>
                      <a:close/>
                      <a:moveTo>
                        <a:pt x="169" y="221"/>
                      </a:moveTo>
                      <a:cubicBezTo>
                        <a:pt x="169" y="221"/>
                        <a:pt x="169" y="221"/>
                        <a:pt x="169" y="221"/>
                      </a:cubicBezTo>
                      <a:cubicBezTo>
                        <a:pt x="169" y="221"/>
                        <a:pt x="169" y="221"/>
                        <a:pt x="169" y="221"/>
                      </a:cubicBezTo>
                      <a:cubicBezTo>
                        <a:pt x="169" y="221"/>
                        <a:pt x="169" y="221"/>
                        <a:pt x="169" y="221"/>
                      </a:cubicBezTo>
                      <a:close/>
                      <a:moveTo>
                        <a:pt x="234" y="299"/>
                      </a:moveTo>
                      <a:cubicBezTo>
                        <a:pt x="233" y="300"/>
                        <a:pt x="233" y="300"/>
                        <a:pt x="233" y="300"/>
                      </a:cubicBezTo>
                      <a:cubicBezTo>
                        <a:pt x="231" y="300"/>
                        <a:pt x="231" y="300"/>
                        <a:pt x="231" y="300"/>
                      </a:cubicBezTo>
                      <a:cubicBezTo>
                        <a:pt x="234" y="299"/>
                        <a:pt x="234" y="299"/>
                        <a:pt x="234" y="299"/>
                      </a:cubicBezTo>
                      <a:cubicBezTo>
                        <a:pt x="234" y="299"/>
                        <a:pt x="234" y="299"/>
                        <a:pt x="234" y="299"/>
                      </a:cubicBezTo>
                      <a:cubicBezTo>
                        <a:pt x="234" y="299"/>
                        <a:pt x="234" y="299"/>
                        <a:pt x="234" y="299"/>
                      </a:cubicBezTo>
                      <a:close/>
                      <a:moveTo>
                        <a:pt x="237" y="124"/>
                      </a:moveTo>
                      <a:cubicBezTo>
                        <a:pt x="237" y="124"/>
                        <a:pt x="237" y="124"/>
                        <a:pt x="237" y="124"/>
                      </a:cubicBezTo>
                      <a:cubicBezTo>
                        <a:pt x="237" y="124"/>
                        <a:pt x="237" y="124"/>
                        <a:pt x="237" y="124"/>
                      </a:cubicBezTo>
                      <a:cubicBezTo>
                        <a:pt x="237" y="124"/>
                        <a:pt x="237" y="124"/>
                        <a:pt x="237" y="124"/>
                      </a:cubicBezTo>
                      <a:close/>
                      <a:moveTo>
                        <a:pt x="249" y="206"/>
                      </a:moveTo>
                      <a:cubicBezTo>
                        <a:pt x="249" y="206"/>
                        <a:pt x="249" y="206"/>
                        <a:pt x="249" y="206"/>
                      </a:cubicBezTo>
                      <a:cubicBezTo>
                        <a:pt x="249" y="206"/>
                        <a:pt x="249" y="206"/>
                        <a:pt x="249" y="206"/>
                      </a:cubicBezTo>
                      <a:cubicBezTo>
                        <a:pt x="249" y="206"/>
                        <a:pt x="249" y="206"/>
                        <a:pt x="249" y="206"/>
                      </a:cubicBezTo>
                      <a:close/>
                      <a:moveTo>
                        <a:pt x="246" y="300"/>
                      </a:moveTo>
                      <a:cubicBezTo>
                        <a:pt x="246" y="300"/>
                        <a:pt x="246" y="300"/>
                        <a:pt x="246" y="300"/>
                      </a:cubicBezTo>
                      <a:cubicBezTo>
                        <a:pt x="247" y="300"/>
                        <a:pt x="248" y="300"/>
                        <a:pt x="249" y="300"/>
                      </a:cubicBezTo>
                      <a:cubicBezTo>
                        <a:pt x="248" y="300"/>
                        <a:pt x="247" y="300"/>
                        <a:pt x="246" y="300"/>
                      </a:cubicBezTo>
                      <a:close/>
                      <a:moveTo>
                        <a:pt x="253" y="211"/>
                      </a:moveTo>
                      <a:cubicBezTo>
                        <a:pt x="253" y="211"/>
                        <a:pt x="253" y="211"/>
                        <a:pt x="253" y="211"/>
                      </a:cubicBezTo>
                      <a:cubicBezTo>
                        <a:pt x="253" y="211"/>
                        <a:pt x="253" y="211"/>
                        <a:pt x="254" y="211"/>
                      </a:cubicBezTo>
                      <a:cubicBezTo>
                        <a:pt x="254" y="211"/>
                        <a:pt x="254" y="211"/>
                        <a:pt x="253" y="211"/>
                      </a:cubicBezTo>
                      <a:close/>
                      <a:moveTo>
                        <a:pt x="264" y="257"/>
                      </a:moveTo>
                      <a:cubicBezTo>
                        <a:pt x="264" y="257"/>
                        <a:pt x="264" y="257"/>
                        <a:pt x="264" y="257"/>
                      </a:cubicBezTo>
                      <a:cubicBezTo>
                        <a:pt x="264" y="257"/>
                        <a:pt x="264" y="257"/>
                        <a:pt x="265" y="257"/>
                      </a:cubicBezTo>
                      <a:cubicBezTo>
                        <a:pt x="264" y="257"/>
                        <a:pt x="264" y="257"/>
                        <a:pt x="264" y="257"/>
                      </a:cubicBezTo>
                      <a:close/>
                      <a:moveTo>
                        <a:pt x="260" y="128"/>
                      </a:moveTo>
                      <a:cubicBezTo>
                        <a:pt x="254" y="132"/>
                        <a:pt x="254" y="132"/>
                        <a:pt x="254" y="132"/>
                      </a:cubicBezTo>
                      <a:cubicBezTo>
                        <a:pt x="267" y="124"/>
                        <a:pt x="267" y="124"/>
                        <a:pt x="267" y="124"/>
                      </a:cubicBezTo>
                      <a:lnTo>
                        <a:pt x="260" y="128"/>
                      </a:lnTo>
                      <a:close/>
                      <a:moveTo>
                        <a:pt x="269" y="297"/>
                      </a:moveTo>
                      <a:cubicBezTo>
                        <a:pt x="269" y="297"/>
                        <a:pt x="269" y="297"/>
                        <a:pt x="269" y="297"/>
                      </a:cubicBezTo>
                      <a:cubicBezTo>
                        <a:pt x="269" y="296"/>
                        <a:pt x="269" y="296"/>
                        <a:pt x="269" y="296"/>
                      </a:cubicBezTo>
                      <a:cubicBezTo>
                        <a:pt x="269" y="296"/>
                        <a:pt x="269" y="296"/>
                        <a:pt x="269" y="297"/>
                      </a:cubicBezTo>
                      <a:close/>
                      <a:moveTo>
                        <a:pt x="353" y="271"/>
                      </a:moveTo>
                      <a:cubicBezTo>
                        <a:pt x="354" y="275"/>
                        <a:pt x="354" y="275"/>
                        <a:pt x="354" y="275"/>
                      </a:cubicBezTo>
                      <a:cubicBezTo>
                        <a:pt x="355" y="276"/>
                        <a:pt x="355" y="276"/>
                        <a:pt x="355" y="276"/>
                      </a:cubicBezTo>
                      <a:lnTo>
                        <a:pt x="353" y="271"/>
                      </a:lnTo>
                      <a:close/>
                      <a:moveTo>
                        <a:pt x="379" y="337"/>
                      </a:moveTo>
                      <a:cubicBezTo>
                        <a:pt x="379" y="337"/>
                        <a:pt x="379" y="337"/>
                        <a:pt x="379" y="337"/>
                      </a:cubicBezTo>
                      <a:cubicBezTo>
                        <a:pt x="379" y="337"/>
                        <a:pt x="379" y="337"/>
                        <a:pt x="379" y="337"/>
                      </a:cubicBezTo>
                      <a:cubicBezTo>
                        <a:pt x="379" y="337"/>
                        <a:pt x="379" y="337"/>
                        <a:pt x="379" y="337"/>
                      </a:cubicBezTo>
                      <a:close/>
                      <a:moveTo>
                        <a:pt x="368" y="499"/>
                      </a:moveTo>
                      <a:cubicBezTo>
                        <a:pt x="368" y="499"/>
                        <a:pt x="368" y="499"/>
                        <a:pt x="368" y="499"/>
                      </a:cubicBezTo>
                      <a:cubicBezTo>
                        <a:pt x="368" y="498"/>
                        <a:pt x="367" y="496"/>
                        <a:pt x="364" y="496"/>
                      </a:cubicBezTo>
                      <a:cubicBezTo>
                        <a:pt x="367" y="496"/>
                        <a:pt x="368" y="498"/>
                        <a:pt x="368" y="499"/>
                      </a:cubicBezTo>
                      <a:cubicBezTo>
                        <a:pt x="368" y="499"/>
                        <a:pt x="368" y="499"/>
                        <a:pt x="368" y="499"/>
                      </a:cubicBezTo>
                      <a:cubicBezTo>
                        <a:pt x="368" y="499"/>
                        <a:pt x="368" y="499"/>
                        <a:pt x="368" y="499"/>
                      </a:cubicBezTo>
                      <a:close/>
                      <a:moveTo>
                        <a:pt x="377" y="440"/>
                      </a:moveTo>
                      <a:cubicBezTo>
                        <a:pt x="377" y="440"/>
                        <a:pt x="378" y="440"/>
                        <a:pt x="378" y="440"/>
                      </a:cubicBezTo>
                      <a:cubicBezTo>
                        <a:pt x="378" y="440"/>
                        <a:pt x="377" y="440"/>
                        <a:pt x="377" y="440"/>
                      </a:cubicBezTo>
                      <a:close/>
                      <a:moveTo>
                        <a:pt x="382" y="386"/>
                      </a:moveTo>
                      <a:cubicBezTo>
                        <a:pt x="381" y="387"/>
                        <a:pt x="379" y="385"/>
                        <a:pt x="378" y="383"/>
                      </a:cubicBezTo>
                      <a:cubicBezTo>
                        <a:pt x="376" y="380"/>
                        <a:pt x="374" y="376"/>
                        <a:pt x="372" y="375"/>
                      </a:cubicBezTo>
                      <a:cubicBezTo>
                        <a:pt x="368" y="373"/>
                        <a:pt x="367" y="346"/>
                        <a:pt x="369" y="345"/>
                      </a:cubicBezTo>
                      <a:cubicBezTo>
                        <a:pt x="369" y="345"/>
                        <a:pt x="369" y="345"/>
                        <a:pt x="369" y="346"/>
                      </a:cubicBezTo>
                      <a:cubicBezTo>
                        <a:pt x="370" y="347"/>
                        <a:pt x="371" y="350"/>
                        <a:pt x="371" y="354"/>
                      </a:cubicBezTo>
                      <a:cubicBezTo>
                        <a:pt x="373" y="360"/>
                        <a:pt x="374" y="367"/>
                        <a:pt x="376" y="369"/>
                      </a:cubicBezTo>
                      <a:cubicBezTo>
                        <a:pt x="380" y="373"/>
                        <a:pt x="380" y="377"/>
                        <a:pt x="380" y="380"/>
                      </a:cubicBezTo>
                      <a:cubicBezTo>
                        <a:pt x="381" y="382"/>
                        <a:pt x="385" y="385"/>
                        <a:pt x="382" y="386"/>
                      </a:cubicBezTo>
                      <a:close/>
                      <a:moveTo>
                        <a:pt x="380" y="327"/>
                      </a:moveTo>
                      <a:cubicBezTo>
                        <a:pt x="382" y="326"/>
                        <a:pt x="383" y="326"/>
                        <a:pt x="383" y="326"/>
                      </a:cubicBezTo>
                      <a:cubicBezTo>
                        <a:pt x="383" y="326"/>
                        <a:pt x="382" y="326"/>
                        <a:pt x="380" y="327"/>
                      </a:cubicBezTo>
                      <a:close/>
                      <a:moveTo>
                        <a:pt x="384" y="502"/>
                      </a:moveTo>
                      <a:cubicBezTo>
                        <a:pt x="385" y="502"/>
                        <a:pt x="385" y="502"/>
                        <a:pt x="385" y="502"/>
                      </a:cubicBezTo>
                      <a:cubicBezTo>
                        <a:pt x="385" y="502"/>
                        <a:pt x="385" y="502"/>
                        <a:pt x="385" y="502"/>
                      </a:cubicBezTo>
                      <a:cubicBezTo>
                        <a:pt x="385" y="502"/>
                        <a:pt x="385" y="502"/>
                        <a:pt x="384" y="502"/>
                      </a:cubicBezTo>
                      <a:close/>
                      <a:moveTo>
                        <a:pt x="403" y="338"/>
                      </a:moveTo>
                      <a:cubicBezTo>
                        <a:pt x="400" y="339"/>
                        <a:pt x="394" y="336"/>
                        <a:pt x="390" y="338"/>
                      </a:cubicBezTo>
                      <a:cubicBezTo>
                        <a:pt x="387" y="339"/>
                        <a:pt x="388" y="332"/>
                        <a:pt x="390" y="325"/>
                      </a:cubicBezTo>
                      <a:cubicBezTo>
                        <a:pt x="392" y="321"/>
                        <a:pt x="394" y="317"/>
                        <a:pt x="396" y="316"/>
                      </a:cubicBezTo>
                      <a:cubicBezTo>
                        <a:pt x="399" y="316"/>
                        <a:pt x="404" y="316"/>
                        <a:pt x="407" y="317"/>
                      </a:cubicBezTo>
                      <a:cubicBezTo>
                        <a:pt x="410" y="318"/>
                        <a:pt x="412" y="319"/>
                        <a:pt x="412" y="320"/>
                      </a:cubicBezTo>
                      <a:cubicBezTo>
                        <a:pt x="412" y="322"/>
                        <a:pt x="407" y="321"/>
                        <a:pt x="407" y="325"/>
                      </a:cubicBezTo>
                      <a:cubicBezTo>
                        <a:pt x="407" y="325"/>
                        <a:pt x="407" y="325"/>
                        <a:pt x="406" y="326"/>
                      </a:cubicBezTo>
                      <a:cubicBezTo>
                        <a:pt x="406" y="329"/>
                        <a:pt x="405" y="332"/>
                        <a:pt x="403" y="333"/>
                      </a:cubicBezTo>
                      <a:cubicBezTo>
                        <a:pt x="400" y="334"/>
                        <a:pt x="406" y="338"/>
                        <a:pt x="403" y="338"/>
                      </a:cubicBezTo>
                      <a:close/>
                      <a:moveTo>
                        <a:pt x="416" y="433"/>
                      </a:moveTo>
                      <a:cubicBezTo>
                        <a:pt x="414" y="436"/>
                        <a:pt x="408" y="427"/>
                        <a:pt x="408" y="421"/>
                      </a:cubicBezTo>
                      <a:cubicBezTo>
                        <a:pt x="407" y="415"/>
                        <a:pt x="411" y="412"/>
                        <a:pt x="408" y="407"/>
                      </a:cubicBezTo>
                      <a:cubicBezTo>
                        <a:pt x="406" y="402"/>
                        <a:pt x="405" y="397"/>
                        <a:pt x="407" y="396"/>
                      </a:cubicBezTo>
                      <a:cubicBezTo>
                        <a:pt x="407" y="396"/>
                        <a:pt x="407" y="396"/>
                        <a:pt x="408" y="396"/>
                      </a:cubicBezTo>
                      <a:cubicBezTo>
                        <a:pt x="410" y="396"/>
                        <a:pt x="414" y="406"/>
                        <a:pt x="414" y="412"/>
                      </a:cubicBezTo>
                      <a:cubicBezTo>
                        <a:pt x="414" y="413"/>
                        <a:pt x="413" y="414"/>
                        <a:pt x="413" y="415"/>
                      </a:cubicBezTo>
                      <a:cubicBezTo>
                        <a:pt x="412" y="419"/>
                        <a:pt x="416" y="428"/>
                        <a:pt x="417" y="432"/>
                      </a:cubicBezTo>
                      <a:cubicBezTo>
                        <a:pt x="417" y="432"/>
                        <a:pt x="417" y="433"/>
                        <a:pt x="416" y="433"/>
                      </a:cubicBezTo>
                      <a:close/>
                      <a:moveTo>
                        <a:pt x="428" y="193"/>
                      </a:moveTo>
                      <a:cubicBezTo>
                        <a:pt x="428" y="195"/>
                        <a:pt x="428" y="198"/>
                        <a:pt x="429" y="200"/>
                      </a:cubicBezTo>
                      <a:cubicBezTo>
                        <a:pt x="428" y="198"/>
                        <a:pt x="428" y="195"/>
                        <a:pt x="428" y="193"/>
                      </a:cubicBezTo>
                      <a:close/>
                      <a:moveTo>
                        <a:pt x="475" y="228"/>
                      </a:moveTo>
                      <a:cubicBezTo>
                        <a:pt x="476" y="228"/>
                        <a:pt x="477" y="228"/>
                        <a:pt x="477" y="228"/>
                      </a:cubicBezTo>
                      <a:cubicBezTo>
                        <a:pt x="477" y="228"/>
                        <a:pt x="476" y="228"/>
                        <a:pt x="475" y="228"/>
                      </a:cubicBezTo>
                      <a:close/>
                      <a:moveTo>
                        <a:pt x="477" y="228"/>
                      </a:moveTo>
                      <a:cubicBezTo>
                        <a:pt x="478" y="228"/>
                        <a:pt x="478" y="229"/>
                        <a:pt x="479" y="230"/>
                      </a:cubicBezTo>
                      <a:cubicBezTo>
                        <a:pt x="479" y="230"/>
                        <a:pt x="479" y="230"/>
                        <a:pt x="479" y="230"/>
                      </a:cubicBezTo>
                      <a:cubicBezTo>
                        <a:pt x="478" y="229"/>
                        <a:pt x="478" y="228"/>
                        <a:pt x="477" y="22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7" name="Freeform 150">
                  <a:extLst>
                    <a:ext uri="{FF2B5EF4-FFF2-40B4-BE49-F238E27FC236}">
                      <a16:creationId xmlns:a16="http://schemas.microsoft.com/office/drawing/2014/main" id="{2C695605-F0C9-4578-AD13-9F1C049201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921120" y="-7909904"/>
                  <a:ext cx="372970" cy="729723"/>
                </a:xfrm>
                <a:custGeom>
                  <a:avLst/>
                  <a:gdLst>
                    <a:gd name="T0" fmla="*/ 51 w 60"/>
                    <a:gd name="T1" fmla="*/ 3 h 118"/>
                    <a:gd name="T2" fmla="*/ 48 w 60"/>
                    <a:gd name="T3" fmla="*/ 6 h 118"/>
                    <a:gd name="T4" fmla="*/ 47 w 60"/>
                    <a:gd name="T5" fmla="*/ 12 h 118"/>
                    <a:gd name="T6" fmla="*/ 42 w 60"/>
                    <a:gd name="T7" fmla="*/ 15 h 118"/>
                    <a:gd name="T8" fmla="*/ 38 w 60"/>
                    <a:gd name="T9" fmla="*/ 19 h 118"/>
                    <a:gd name="T10" fmla="*/ 38 w 60"/>
                    <a:gd name="T11" fmla="*/ 23 h 118"/>
                    <a:gd name="T12" fmla="*/ 32 w 60"/>
                    <a:gd name="T13" fmla="*/ 28 h 118"/>
                    <a:gd name="T14" fmla="*/ 20 w 60"/>
                    <a:gd name="T15" fmla="*/ 34 h 118"/>
                    <a:gd name="T16" fmla="*/ 10 w 60"/>
                    <a:gd name="T17" fmla="*/ 36 h 118"/>
                    <a:gd name="T18" fmla="*/ 7 w 60"/>
                    <a:gd name="T19" fmla="*/ 46 h 118"/>
                    <a:gd name="T20" fmla="*/ 8 w 60"/>
                    <a:gd name="T21" fmla="*/ 61 h 118"/>
                    <a:gd name="T22" fmla="*/ 6 w 60"/>
                    <a:gd name="T23" fmla="*/ 77 h 118"/>
                    <a:gd name="T24" fmla="*/ 3 w 60"/>
                    <a:gd name="T25" fmla="*/ 96 h 118"/>
                    <a:gd name="T26" fmla="*/ 8 w 60"/>
                    <a:gd name="T27" fmla="*/ 112 h 118"/>
                    <a:gd name="T28" fmla="*/ 22 w 60"/>
                    <a:gd name="T29" fmla="*/ 115 h 118"/>
                    <a:gd name="T30" fmla="*/ 31 w 60"/>
                    <a:gd name="T31" fmla="*/ 112 h 118"/>
                    <a:gd name="T32" fmla="*/ 42 w 60"/>
                    <a:gd name="T33" fmla="*/ 78 h 118"/>
                    <a:gd name="T34" fmla="*/ 51 w 60"/>
                    <a:gd name="T35" fmla="*/ 47 h 118"/>
                    <a:gd name="T36" fmla="*/ 53 w 60"/>
                    <a:gd name="T37" fmla="*/ 38 h 118"/>
                    <a:gd name="T38" fmla="*/ 55 w 60"/>
                    <a:gd name="T39" fmla="*/ 33 h 118"/>
                    <a:gd name="T40" fmla="*/ 59 w 60"/>
                    <a:gd name="T41" fmla="*/ 32 h 118"/>
                    <a:gd name="T42" fmla="*/ 56 w 60"/>
                    <a:gd name="T43" fmla="*/ 17 h 118"/>
                    <a:gd name="T44" fmla="*/ 51 w 60"/>
                    <a:gd name="T45" fmla="*/ 3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0" h="118">
                      <a:moveTo>
                        <a:pt x="51" y="3"/>
                      </a:moveTo>
                      <a:cubicBezTo>
                        <a:pt x="50" y="0"/>
                        <a:pt x="49" y="5"/>
                        <a:pt x="48" y="6"/>
                      </a:cubicBezTo>
                      <a:cubicBezTo>
                        <a:pt x="47" y="7"/>
                        <a:pt x="46" y="10"/>
                        <a:pt x="47" y="12"/>
                      </a:cubicBezTo>
                      <a:cubicBezTo>
                        <a:pt x="47" y="13"/>
                        <a:pt x="44" y="15"/>
                        <a:pt x="42" y="15"/>
                      </a:cubicBezTo>
                      <a:cubicBezTo>
                        <a:pt x="40" y="15"/>
                        <a:pt x="37" y="16"/>
                        <a:pt x="38" y="19"/>
                      </a:cubicBezTo>
                      <a:cubicBezTo>
                        <a:pt x="39" y="21"/>
                        <a:pt x="36" y="21"/>
                        <a:pt x="38" y="23"/>
                      </a:cubicBezTo>
                      <a:cubicBezTo>
                        <a:pt x="39" y="25"/>
                        <a:pt x="35" y="28"/>
                        <a:pt x="32" y="28"/>
                      </a:cubicBezTo>
                      <a:cubicBezTo>
                        <a:pt x="28" y="28"/>
                        <a:pt x="24" y="34"/>
                        <a:pt x="20" y="34"/>
                      </a:cubicBezTo>
                      <a:cubicBezTo>
                        <a:pt x="17" y="33"/>
                        <a:pt x="13" y="36"/>
                        <a:pt x="10" y="36"/>
                      </a:cubicBezTo>
                      <a:cubicBezTo>
                        <a:pt x="7" y="35"/>
                        <a:pt x="9" y="42"/>
                        <a:pt x="7" y="46"/>
                      </a:cubicBezTo>
                      <a:cubicBezTo>
                        <a:pt x="4" y="51"/>
                        <a:pt x="6" y="56"/>
                        <a:pt x="8" y="61"/>
                      </a:cubicBezTo>
                      <a:cubicBezTo>
                        <a:pt x="10" y="66"/>
                        <a:pt x="12" y="70"/>
                        <a:pt x="6" y="77"/>
                      </a:cubicBezTo>
                      <a:cubicBezTo>
                        <a:pt x="0" y="84"/>
                        <a:pt x="1" y="92"/>
                        <a:pt x="3" y="96"/>
                      </a:cubicBezTo>
                      <a:cubicBezTo>
                        <a:pt x="5" y="101"/>
                        <a:pt x="5" y="108"/>
                        <a:pt x="8" y="112"/>
                      </a:cubicBezTo>
                      <a:cubicBezTo>
                        <a:pt x="11" y="115"/>
                        <a:pt x="20" y="118"/>
                        <a:pt x="22" y="115"/>
                      </a:cubicBezTo>
                      <a:cubicBezTo>
                        <a:pt x="25" y="113"/>
                        <a:pt x="28" y="116"/>
                        <a:pt x="31" y="112"/>
                      </a:cubicBezTo>
                      <a:cubicBezTo>
                        <a:pt x="33" y="109"/>
                        <a:pt x="38" y="90"/>
                        <a:pt x="42" y="78"/>
                      </a:cubicBezTo>
                      <a:cubicBezTo>
                        <a:pt x="46" y="66"/>
                        <a:pt x="52" y="50"/>
                        <a:pt x="51" y="47"/>
                      </a:cubicBezTo>
                      <a:cubicBezTo>
                        <a:pt x="51" y="44"/>
                        <a:pt x="54" y="42"/>
                        <a:pt x="53" y="38"/>
                      </a:cubicBezTo>
                      <a:cubicBezTo>
                        <a:pt x="51" y="34"/>
                        <a:pt x="53" y="30"/>
                        <a:pt x="55" y="33"/>
                      </a:cubicBezTo>
                      <a:cubicBezTo>
                        <a:pt x="56" y="36"/>
                        <a:pt x="59" y="36"/>
                        <a:pt x="59" y="32"/>
                      </a:cubicBezTo>
                      <a:cubicBezTo>
                        <a:pt x="60" y="28"/>
                        <a:pt x="57" y="22"/>
                        <a:pt x="56" y="17"/>
                      </a:cubicBezTo>
                      <a:cubicBezTo>
                        <a:pt x="56" y="11"/>
                        <a:pt x="51" y="6"/>
                        <a:pt x="51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8" name="Freeform 151">
                  <a:extLst>
                    <a:ext uri="{FF2B5EF4-FFF2-40B4-BE49-F238E27FC236}">
                      <a16:creationId xmlns:a16="http://schemas.microsoft.com/office/drawing/2014/main" id="{0F661C24-5AEF-4F82-9992-C00A91619F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908209" y="-7459097"/>
                  <a:ext cx="162161" cy="129728"/>
                </a:xfrm>
                <a:custGeom>
                  <a:avLst/>
                  <a:gdLst>
                    <a:gd name="T0" fmla="*/ 0 w 26"/>
                    <a:gd name="T1" fmla="*/ 3 h 21"/>
                    <a:gd name="T2" fmla="*/ 23 w 26"/>
                    <a:gd name="T3" fmla="*/ 19 h 21"/>
                    <a:gd name="T4" fmla="*/ 0 w 26"/>
                    <a:gd name="T5" fmla="*/ 3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6" h="21">
                      <a:moveTo>
                        <a:pt x="0" y="3"/>
                      </a:moveTo>
                      <a:cubicBezTo>
                        <a:pt x="0" y="0"/>
                        <a:pt x="26" y="17"/>
                        <a:pt x="23" y="19"/>
                      </a:cubicBezTo>
                      <a:cubicBezTo>
                        <a:pt x="20" y="21"/>
                        <a:pt x="0" y="6"/>
                        <a:pt x="0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9" name="Freeform 152">
                  <a:extLst>
                    <a:ext uri="{FF2B5EF4-FFF2-40B4-BE49-F238E27FC236}">
                      <a16:creationId xmlns:a16="http://schemas.microsoft.com/office/drawing/2014/main" id="{46E4234E-740B-415D-B063-321103FEBA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65999" y="-10663389"/>
                  <a:ext cx="376212" cy="259457"/>
                </a:xfrm>
                <a:custGeom>
                  <a:avLst/>
                  <a:gdLst>
                    <a:gd name="T0" fmla="*/ 50 w 61"/>
                    <a:gd name="T1" fmla="*/ 34 h 42"/>
                    <a:gd name="T2" fmla="*/ 53 w 61"/>
                    <a:gd name="T3" fmla="*/ 36 h 42"/>
                    <a:gd name="T4" fmla="*/ 59 w 61"/>
                    <a:gd name="T5" fmla="*/ 38 h 42"/>
                    <a:gd name="T6" fmla="*/ 61 w 61"/>
                    <a:gd name="T7" fmla="*/ 37 h 42"/>
                    <a:gd name="T8" fmla="*/ 60 w 61"/>
                    <a:gd name="T9" fmla="*/ 26 h 42"/>
                    <a:gd name="T10" fmla="*/ 52 w 61"/>
                    <a:gd name="T11" fmla="*/ 21 h 42"/>
                    <a:gd name="T12" fmla="*/ 51 w 61"/>
                    <a:gd name="T13" fmla="*/ 14 h 42"/>
                    <a:gd name="T14" fmla="*/ 40 w 61"/>
                    <a:gd name="T15" fmla="*/ 15 h 42"/>
                    <a:gd name="T16" fmla="*/ 33 w 61"/>
                    <a:gd name="T17" fmla="*/ 14 h 42"/>
                    <a:gd name="T18" fmla="*/ 26 w 61"/>
                    <a:gd name="T19" fmla="*/ 13 h 42"/>
                    <a:gd name="T20" fmla="*/ 15 w 61"/>
                    <a:gd name="T21" fmla="*/ 13 h 42"/>
                    <a:gd name="T22" fmla="*/ 20 w 61"/>
                    <a:gd name="T23" fmla="*/ 8 h 42"/>
                    <a:gd name="T24" fmla="*/ 23 w 61"/>
                    <a:gd name="T25" fmla="*/ 8 h 42"/>
                    <a:gd name="T26" fmla="*/ 26 w 61"/>
                    <a:gd name="T27" fmla="*/ 1 h 42"/>
                    <a:gd name="T28" fmla="*/ 20 w 61"/>
                    <a:gd name="T29" fmla="*/ 2 h 42"/>
                    <a:gd name="T30" fmla="*/ 14 w 61"/>
                    <a:gd name="T31" fmla="*/ 4 h 42"/>
                    <a:gd name="T32" fmla="*/ 10 w 61"/>
                    <a:gd name="T33" fmla="*/ 8 h 42"/>
                    <a:gd name="T34" fmla="*/ 8 w 61"/>
                    <a:gd name="T35" fmla="*/ 13 h 42"/>
                    <a:gd name="T36" fmla="*/ 0 w 61"/>
                    <a:gd name="T37" fmla="*/ 15 h 42"/>
                    <a:gd name="T38" fmla="*/ 5 w 61"/>
                    <a:gd name="T39" fmla="*/ 22 h 42"/>
                    <a:gd name="T40" fmla="*/ 6 w 61"/>
                    <a:gd name="T41" fmla="*/ 29 h 42"/>
                    <a:gd name="T42" fmla="*/ 3 w 61"/>
                    <a:gd name="T43" fmla="*/ 37 h 42"/>
                    <a:gd name="T44" fmla="*/ 6 w 61"/>
                    <a:gd name="T45" fmla="*/ 38 h 42"/>
                    <a:gd name="T46" fmla="*/ 15 w 61"/>
                    <a:gd name="T47" fmla="*/ 35 h 42"/>
                    <a:gd name="T48" fmla="*/ 22 w 61"/>
                    <a:gd name="T49" fmla="*/ 32 h 42"/>
                    <a:gd name="T50" fmla="*/ 30 w 61"/>
                    <a:gd name="T51" fmla="*/ 25 h 42"/>
                    <a:gd name="T52" fmla="*/ 33 w 61"/>
                    <a:gd name="T53" fmla="*/ 31 h 42"/>
                    <a:gd name="T54" fmla="*/ 33 w 61"/>
                    <a:gd name="T55" fmla="*/ 41 h 42"/>
                    <a:gd name="T56" fmla="*/ 37 w 61"/>
                    <a:gd name="T57" fmla="*/ 41 h 42"/>
                    <a:gd name="T58" fmla="*/ 41 w 61"/>
                    <a:gd name="T59" fmla="*/ 40 h 42"/>
                    <a:gd name="T60" fmla="*/ 50 w 61"/>
                    <a:gd name="T61" fmla="*/ 34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61" h="42">
                      <a:moveTo>
                        <a:pt x="50" y="34"/>
                      </a:moveTo>
                      <a:cubicBezTo>
                        <a:pt x="52" y="35"/>
                        <a:pt x="51" y="36"/>
                        <a:pt x="53" y="36"/>
                      </a:cubicBezTo>
                      <a:cubicBezTo>
                        <a:pt x="54" y="36"/>
                        <a:pt x="57" y="36"/>
                        <a:pt x="59" y="38"/>
                      </a:cubicBezTo>
                      <a:cubicBezTo>
                        <a:pt x="60" y="37"/>
                        <a:pt x="61" y="37"/>
                        <a:pt x="61" y="37"/>
                      </a:cubicBezTo>
                      <a:cubicBezTo>
                        <a:pt x="61" y="37"/>
                        <a:pt x="60" y="29"/>
                        <a:pt x="60" y="26"/>
                      </a:cubicBezTo>
                      <a:cubicBezTo>
                        <a:pt x="59" y="24"/>
                        <a:pt x="52" y="21"/>
                        <a:pt x="52" y="21"/>
                      </a:cubicBezTo>
                      <a:cubicBezTo>
                        <a:pt x="51" y="14"/>
                        <a:pt x="51" y="14"/>
                        <a:pt x="51" y="14"/>
                      </a:cubicBezTo>
                      <a:cubicBezTo>
                        <a:pt x="51" y="14"/>
                        <a:pt x="42" y="16"/>
                        <a:pt x="40" y="15"/>
                      </a:cubicBezTo>
                      <a:cubicBezTo>
                        <a:pt x="38" y="14"/>
                        <a:pt x="35" y="16"/>
                        <a:pt x="33" y="14"/>
                      </a:cubicBezTo>
                      <a:cubicBezTo>
                        <a:pt x="32" y="12"/>
                        <a:pt x="29" y="15"/>
                        <a:pt x="26" y="13"/>
                      </a:cubicBezTo>
                      <a:cubicBezTo>
                        <a:pt x="23" y="12"/>
                        <a:pt x="15" y="14"/>
                        <a:pt x="15" y="13"/>
                      </a:cubicBezTo>
                      <a:cubicBezTo>
                        <a:pt x="14" y="11"/>
                        <a:pt x="18" y="7"/>
                        <a:pt x="20" y="8"/>
                      </a:cubicBezTo>
                      <a:cubicBezTo>
                        <a:pt x="21" y="8"/>
                        <a:pt x="22" y="8"/>
                        <a:pt x="23" y="8"/>
                      </a:cubicBezTo>
                      <a:cubicBezTo>
                        <a:pt x="24" y="6"/>
                        <a:pt x="26" y="2"/>
                        <a:pt x="26" y="1"/>
                      </a:cubicBezTo>
                      <a:cubicBezTo>
                        <a:pt x="25" y="0"/>
                        <a:pt x="22" y="1"/>
                        <a:pt x="20" y="2"/>
                      </a:cubicBezTo>
                      <a:cubicBezTo>
                        <a:pt x="18" y="4"/>
                        <a:pt x="15" y="2"/>
                        <a:pt x="14" y="4"/>
                      </a:cubicBezTo>
                      <a:cubicBezTo>
                        <a:pt x="13" y="6"/>
                        <a:pt x="12" y="8"/>
                        <a:pt x="10" y="8"/>
                      </a:cubicBezTo>
                      <a:cubicBezTo>
                        <a:pt x="8" y="8"/>
                        <a:pt x="10" y="12"/>
                        <a:pt x="8" y="13"/>
                      </a:cubicBezTo>
                      <a:cubicBezTo>
                        <a:pt x="5" y="14"/>
                        <a:pt x="1" y="13"/>
                        <a:pt x="0" y="15"/>
                      </a:cubicBezTo>
                      <a:cubicBezTo>
                        <a:pt x="0" y="18"/>
                        <a:pt x="5" y="19"/>
                        <a:pt x="5" y="22"/>
                      </a:cubicBezTo>
                      <a:cubicBezTo>
                        <a:pt x="5" y="24"/>
                        <a:pt x="8" y="27"/>
                        <a:pt x="6" y="29"/>
                      </a:cubicBezTo>
                      <a:cubicBezTo>
                        <a:pt x="4" y="30"/>
                        <a:pt x="3" y="33"/>
                        <a:pt x="3" y="37"/>
                      </a:cubicBezTo>
                      <a:cubicBezTo>
                        <a:pt x="4" y="38"/>
                        <a:pt x="6" y="39"/>
                        <a:pt x="6" y="38"/>
                      </a:cubicBezTo>
                      <a:cubicBezTo>
                        <a:pt x="8" y="35"/>
                        <a:pt x="15" y="38"/>
                        <a:pt x="15" y="35"/>
                      </a:cubicBezTo>
                      <a:cubicBezTo>
                        <a:pt x="15" y="33"/>
                        <a:pt x="22" y="34"/>
                        <a:pt x="22" y="32"/>
                      </a:cubicBezTo>
                      <a:cubicBezTo>
                        <a:pt x="22" y="29"/>
                        <a:pt x="27" y="24"/>
                        <a:pt x="30" y="25"/>
                      </a:cubicBezTo>
                      <a:cubicBezTo>
                        <a:pt x="32" y="25"/>
                        <a:pt x="29" y="30"/>
                        <a:pt x="33" y="31"/>
                      </a:cubicBezTo>
                      <a:cubicBezTo>
                        <a:pt x="36" y="33"/>
                        <a:pt x="31" y="39"/>
                        <a:pt x="33" y="41"/>
                      </a:cubicBezTo>
                      <a:cubicBezTo>
                        <a:pt x="34" y="42"/>
                        <a:pt x="35" y="41"/>
                        <a:pt x="37" y="41"/>
                      </a:cubicBezTo>
                      <a:cubicBezTo>
                        <a:pt x="38" y="41"/>
                        <a:pt x="40" y="40"/>
                        <a:pt x="41" y="40"/>
                      </a:cubicBezTo>
                      <a:cubicBezTo>
                        <a:pt x="44" y="37"/>
                        <a:pt x="49" y="33"/>
                        <a:pt x="50" y="3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0" name="Freeform 153">
                  <a:extLst>
                    <a:ext uri="{FF2B5EF4-FFF2-40B4-BE49-F238E27FC236}">
                      <a16:creationId xmlns:a16="http://schemas.microsoft.com/office/drawing/2014/main" id="{9696AEDF-D348-4A58-B1B9-A7D3CF0C00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53492" y="-9790967"/>
                  <a:ext cx="45405" cy="90810"/>
                </a:xfrm>
                <a:custGeom>
                  <a:avLst/>
                  <a:gdLst>
                    <a:gd name="T0" fmla="*/ 6 w 7"/>
                    <a:gd name="T1" fmla="*/ 14 h 15"/>
                    <a:gd name="T2" fmla="*/ 3 w 7"/>
                    <a:gd name="T3" fmla="*/ 11 h 15"/>
                    <a:gd name="T4" fmla="*/ 0 w 7"/>
                    <a:gd name="T5" fmla="*/ 5 h 15"/>
                    <a:gd name="T6" fmla="*/ 3 w 7"/>
                    <a:gd name="T7" fmla="*/ 3 h 15"/>
                    <a:gd name="T8" fmla="*/ 4 w 7"/>
                    <a:gd name="T9" fmla="*/ 9 h 15"/>
                    <a:gd name="T10" fmla="*/ 6 w 7"/>
                    <a:gd name="T11" fmla="*/ 14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15">
                      <a:moveTo>
                        <a:pt x="6" y="14"/>
                      </a:moveTo>
                      <a:cubicBezTo>
                        <a:pt x="6" y="15"/>
                        <a:pt x="3" y="12"/>
                        <a:pt x="3" y="11"/>
                      </a:cubicBezTo>
                      <a:cubicBezTo>
                        <a:pt x="3" y="9"/>
                        <a:pt x="0" y="8"/>
                        <a:pt x="0" y="5"/>
                      </a:cubicBezTo>
                      <a:cubicBezTo>
                        <a:pt x="0" y="2"/>
                        <a:pt x="1" y="0"/>
                        <a:pt x="3" y="3"/>
                      </a:cubicBezTo>
                      <a:cubicBezTo>
                        <a:pt x="5" y="6"/>
                        <a:pt x="4" y="8"/>
                        <a:pt x="4" y="9"/>
                      </a:cubicBezTo>
                      <a:cubicBezTo>
                        <a:pt x="4" y="10"/>
                        <a:pt x="7" y="12"/>
                        <a:pt x="6" y="1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1" name="Freeform 154">
                  <a:extLst>
                    <a:ext uri="{FF2B5EF4-FFF2-40B4-BE49-F238E27FC236}">
                      <a16:creationId xmlns:a16="http://schemas.microsoft.com/office/drawing/2014/main" id="{6C0E9BAF-4231-4590-8CAB-75CA195DAF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129716" y="-9038542"/>
                  <a:ext cx="55136" cy="48649"/>
                </a:xfrm>
                <a:custGeom>
                  <a:avLst/>
                  <a:gdLst>
                    <a:gd name="T0" fmla="*/ 2 w 9"/>
                    <a:gd name="T1" fmla="*/ 7 h 8"/>
                    <a:gd name="T2" fmla="*/ 1 w 9"/>
                    <a:gd name="T3" fmla="*/ 3 h 8"/>
                    <a:gd name="T4" fmla="*/ 7 w 9"/>
                    <a:gd name="T5" fmla="*/ 1 h 8"/>
                    <a:gd name="T6" fmla="*/ 8 w 9"/>
                    <a:gd name="T7" fmla="*/ 6 h 8"/>
                    <a:gd name="T8" fmla="*/ 2 w 9"/>
                    <a:gd name="T9" fmla="*/ 7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2" y="7"/>
                      </a:moveTo>
                      <a:cubicBezTo>
                        <a:pt x="0" y="6"/>
                        <a:pt x="3" y="4"/>
                        <a:pt x="1" y="3"/>
                      </a:cubicBezTo>
                      <a:cubicBezTo>
                        <a:pt x="0" y="2"/>
                        <a:pt x="5" y="0"/>
                        <a:pt x="7" y="1"/>
                      </a:cubicBezTo>
                      <a:cubicBezTo>
                        <a:pt x="9" y="3"/>
                        <a:pt x="9" y="5"/>
                        <a:pt x="8" y="6"/>
                      </a:cubicBezTo>
                      <a:cubicBezTo>
                        <a:pt x="6" y="7"/>
                        <a:pt x="2" y="8"/>
                        <a:pt x="2" y="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2" name="Freeform 155">
                  <a:extLst>
                    <a:ext uri="{FF2B5EF4-FFF2-40B4-BE49-F238E27FC236}">
                      <a16:creationId xmlns:a16="http://schemas.microsoft.com/office/drawing/2014/main" id="{44B7448E-1A64-4CA8-AF77-873EEC31D1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888688" y="-10686093"/>
                  <a:ext cx="165405" cy="139459"/>
                </a:xfrm>
                <a:custGeom>
                  <a:avLst/>
                  <a:gdLst>
                    <a:gd name="T0" fmla="*/ 25 w 27"/>
                    <a:gd name="T1" fmla="*/ 18 h 23"/>
                    <a:gd name="T2" fmla="*/ 20 w 27"/>
                    <a:gd name="T3" fmla="*/ 12 h 23"/>
                    <a:gd name="T4" fmla="*/ 17 w 27"/>
                    <a:gd name="T5" fmla="*/ 5 h 23"/>
                    <a:gd name="T6" fmla="*/ 15 w 27"/>
                    <a:gd name="T7" fmla="*/ 1 h 23"/>
                    <a:gd name="T8" fmla="*/ 8 w 27"/>
                    <a:gd name="T9" fmla="*/ 0 h 23"/>
                    <a:gd name="T10" fmla="*/ 0 w 27"/>
                    <a:gd name="T11" fmla="*/ 2 h 23"/>
                    <a:gd name="T12" fmla="*/ 1 w 27"/>
                    <a:gd name="T13" fmla="*/ 8 h 23"/>
                    <a:gd name="T14" fmla="*/ 8 w 27"/>
                    <a:gd name="T15" fmla="*/ 11 h 23"/>
                    <a:gd name="T16" fmla="*/ 9 w 27"/>
                    <a:gd name="T17" fmla="*/ 14 h 23"/>
                    <a:gd name="T18" fmla="*/ 10 w 27"/>
                    <a:gd name="T19" fmla="*/ 14 h 23"/>
                    <a:gd name="T20" fmla="*/ 12 w 27"/>
                    <a:gd name="T21" fmla="*/ 15 h 23"/>
                    <a:gd name="T22" fmla="*/ 16 w 27"/>
                    <a:gd name="T23" fmla="*/ 17 h 23"/>
                    <a:gd name="T24" fmla="*/ 20 w 27"/>
                    <a:gd name="T25" fmla="*/ 19 h 23"/>
                    <a:gd name="T26" fmla="*/ 21 w 27"/>
                    <a:gd name="T27" fmla="*/ 23 h 23"/>
                    <a:gd name="T28" fmla="*/ 27 w 27"/>
                    <a:gd name="T29" fmla="*/ 22 h 23"/>
                    <a:gd name="T30" fmla="*/ 25 w 27"/>
                    <a:gd name="T31" fmla="*/ 18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7" h="23">
                      <a:moveTo>
                        <a:pt x="25" y="18"/>
                      </a:moveTo>
                      <a:cubicBezTo>
                        <a:pt x="25" y="16"/>
                        <a:pt x="20" y="14"/>
                        <a:pt x="20" y="12"/>
                      </a:cubicBezTo>
                      <a:cubicBezTo>
                        <a:pt x="20" y="10"/>
                        <a:pt x="17" y="7"/>
                        <a:pt x="17" y="5"/>
                      </a:cubicBezTo>
                      <a:cubicBezTo>
                        <a:pt x="17" y="4"/>
                        <a:pt x="16" y="2"/>
                        <a:pt x="15" y="1"/>
                      </a:cubicBezTo>
                      <a:cubicBezTo>
                        <a:pt x="13" y="0"/>
                        <a:pt x="10" y="0"/>
                        <a:pt x="8" y="0"/>
                      </a:cubicBezTo>
                      <a:cubicBezTo>
                        <a:pt x="5" y="0"/>
                        <a:pt x="3" y="1"/>
                        <a:pt x="0" y="2"/>
                      </a:cubicBezTo>
                      <a:cubicBezTo>
                        <a:pt x="1" y="4"/>
                        <a:pt x="0" y="5"/>
                        <a:pt x="1" y="8"/>
                      </a:cubicBezTo>
                      <a:cubicBezTo>
                        <a:pt x="3" y="12"/>
                        <a:pt x="6" y="10"/>
                        <a:pt x="8" y="11"/>
                      </a:cubicBezTo>
                      <a:cubicBezTo>
                        <a:pt x="8" y="11"/>
                        <a:pt x="9" y="12"/>
                        <a:pt x="9" y="14"/>
                      </a:cubicBezTo>
                      <a:cubicBezTo>
                        <a:pt x="9" y="14"/>
                        <a:pt x="9" y="14"/>
                        <a:pt x="10" y="14"/>
                      </a:cubicBezTo>
                      <a:cubicBezTo>
                        <a:pt x="11" y="14"/>
                        <a:pt x="12" y="15"/>
                        <a:pt x="12" y="15"/>
                      </a:cubicBezTo>
                      <a:cubicBezTo>
                        <a:pt x="14" y="16"/>
                        <a:pt x="15" y="17"/>
                        <a:pt x="16" y="17"/>
                      </a:cubicBezTo>
                      <a:cubicBezTo>
                        <a:pt x="17" y="18"/>
                        <a:pt x="18" y="16"/>
                        <a:pt x="20" y="19"/>
                      </a:cubicBezTo>
                      <a:cubicBezTo>
                        <a:pt x="21" y="21"/>
                        <a:pt x="22" y="21"/>
                        <a:pt x="21" y="23"/>
                      </a:cubicBezTo>
                      <a:cubicBezTo>
                        <a:pt x="23" y="23"/>
                        <a:pt x="25" y="23"/>
                        <a:pt x="27" y="22"/>
                      </a:cubicBezTo>
                      <a:cubicBezTo>
                        <a:pt x="26" y="20"/>
                        <a:pt x="25" y="19"/>
                        <a:pt x="25" y="1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3" name="Freeform 156">
                  <a:extLst>
                    <a:ext uri="{FF2B5EF4-FFF2-40B4-BE49-F238E27FC236}">
                      <a16:creationId xmlns:a16="http://schemas.microsoft.com/office/drawing/2014/main" id="{4FC0D5E9-E19E-4AD5-9962-EBD570A270D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8814096" y="-10718525"/>
                  <a:ext cx="246484" cy="197837"/>
                </a:xfrm>
                <a:custGeom>
                  <a:avLst/>
                  <a:gdLst>
                    <a:gd name="T0" fmla="*/ 38 w 40"/>
                    <a:gd name="T1" fmla="*/ 10 h 32"/>
                    <a:gd name="T2" fmla="*/ 30 w 40"/>
                    <a:gd name="T3" fmla="*/ 1 h 32"/>
                    <a:gd name="T4" fmla="*/ 25 w 40"/>
                    <a:gd name="T5" fmla="*/ 5 h 32"/>
                    <a:gd name="T6" fmla="*/ 22 w 40"/>
                    <a:gd name="T7" fmla="*/ 5 h 32"/>
                    <a:gd name="T8" fmla="*/ 16 w 40"/>
                    <a:gd name="T9" fmla="*/ 1 h 32"/>
                    <a:gd name="T10" fmla="*/ 13 w 40"/>
                    <a:gd name="T11" fmla="*/ 0 h 32"/>
                    <a:gd name="T12" fmla="*/ 11 w 40"/>
                    <a:gd name="T13" fmla="*/ 3 h 32"/>
                    <a:gd name="T14" fmla="*/ 14 w 40"/>
                    <a:gd name="T15" fmla="*/ 6 h 32"/>
                    <a:gd name="T16" fmla="*/ 8 w 40"/>
                    <a:gd name="T17" fmla="*/ 6 h 32"/>
                    <a:gd name="T18" fmla="*/ 2 w 40"/>
                    <a:gd name="T19" fmla="*/ 4 h 32"/>
                    <a:gd name="T20" fmla="*/ 5 w 40"/>
                    <a:gd name="T21" fmla="*/ 10 h 32"/>
                    <a:gd name="T22" fmla="*/ 8 w 40"/>
                    <a:gd name="T23" fmla="*/ 17 h 32"/>
                    <a:gd name="T24" fmla="*/ 13 w 40"/>
                    <a:gd name="T25" fmla="*/ 23 h 32"/>
                    <a:gd name="T26" fmla="*/ 15 w 40"/>
                    <a:gd name="T27" fmla="*/ 27 h 32"/>
                    <a:gd name="T28" fmla="*/ 24 w 40"/>
                    <a:gd name="T29" fmla="*/ 21 h 32"/>
                    <a:gd name="T30" fmla="*/ 26 w 40"/>
                    <a:gd name="T31" fmla="*/ 28 h 32"/>
                    <a:gd name="T32" fmla="*/ 31 w 40"/>
                    <a:gd name="T33" fmla="*/ 32 h 32"/>
                    <a:gd name="T34" fmla="*/ 33 w 40"/>
                    <a:gd name="T35" fmla="*/ 28 h 32"/>
                    <a:gd name="T36" fmla="*/ 38 w 40"/>
                    <a:gd name="T37" fmla="*/ 10 h 32"/>
                    <a:gd name="T38" fmla="*/ 4 w 40"/>
                    <a:gd name="T39" fmla="*/ 22 h 32"/>
                    <a:gd name="T40" fmla="*/ 0 w 40"/>
                    <a:gd name="T41" fmla="*/ 20 h 32"/>
                    <a:gd name="T42" fmla="*/ 3 w 40"/>
                    <a:gd name="T43" fmla="*/ 25 h 32"/>
                    <a:gd name="T44" fmla="*/ 8 w 40"/>
                    <a:gd name="T45" fmla="*/ 28 h 32"/>
                    <a:gd name="T46" fmla="*/ 9 w 40"/>
                    <a:gd name="T47" fmla="*/ 28 h 32"/>
                    <a:gd name="T48" fmla="*/ 8 w 40"/>
                    <a:gd name="T49" fmla="*/ 24 h 32"/>
                    <a:gd name="T50" fmla="*/ 4 w 40"/>
                    <a:gd name="T51" fmla="*/ 2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0" h="32">
                      <a:moveTo>
                        <a:pt x="38" y="10"/>
                      </a:moveTo>
                      <a:cubicBezTo>
                        <a:pt x="37" y="9"/>
                        <a:pt x="34" y="5"/>
                        <a:pt x="30" y="1"/>
                      </a:cubicBezTo>
                      <a:cubicBezTo>
                        <a:pt x="29" y="4"/>
                        <a:pt x="26" y="3"/>
                        <a:pt x="25" y="5"/>
                      </a:cubicBezTo>
                      <a:cubicBezTo>
                        <a:pt x="25" y="7"/>
                        <a:pt x="23" y="5"/>
                        <a:pt x="22" y="5"/>
                      </a:cubicBezTo>
                      <a:cubicBezTo>
                        <a:pt x="21" y="5"/>
                        <a:pt x="18" y="1"/>
                        <a:pt x="16" y="1"/>
                      </a:cubicBezTo>
                      <a:cubicBezTo>
                        <a:pt x="15" y="1"/>
                        <a:pt x="14" y="0"/>
                        <a:pt x="13" y="0"/>
                      </a:cubicBezTo>
                      <a:cubicBezTo>
                        <a:pt x="12" y="1"/>
                        <a:pt x="11" y="2"/>
                        <a:pt x="11" y="3"/>
                      </a:cubicBezTo>
                      <a:cubicBezTo>
                        <a:pt x="12" y="4"/>
                        <a:pt x="15" y="5"/>
                        <a:pt x="14" y="6"/>
                      </a:cubicBezTo>
                      <a:cubicBezTo>
                        <a:pt x="13" y="7"/>
                        <a:pt x="9" y="7"/>
                        <a:pt x="8" y="6"/>
                      </a:cubicBezTo>
                      <a:cubicBezTo>
                        <a:pt x="7" y="5"/>
                        <a:pt x="3" y="3"/>
                        <a:pt x="2" y="4"/>
                      </a:cubicBezTo>
                      <a:cubicBezTo>
                        <a:pt x="2" y="5"/>
                        <a:pt x="6" y="9"/>
                        <a:pt x="5" y="10"/>
                      </a:cubicBezTo>
                      <a:cubicBezTo>
                        <a:pt x="5" y="12"/>
                        <a:pt x="8" y="15"/>
                        <a:pt x="8" y="17"/>
                      </a:cubicBezTo>
                      <a:cubicBezTo>
                        <a:pt x="8" y="19"/>
                        <a:pt x="13" y="21"/>
                        <a:pt x="13" y="23"/>
                      </a:cubicBezTo>
                      <a:cubicBezTo>
                        <a:pt x="13" y="24"/>
                        <a:pt x="14" y="25"/>
                        <a:pt x="15" y="27"/>
                      </a:cubicBezTo>
                      <a:cubicBezTo>
                        <a:pt x="18" y="25"/>
                        <a:pt x="22" y="22"/>
                        <a:pt x="24" y="21"/>
                      </a:cubicBezTo>
                      <a:cubicBezTo>
                        <a:pt x="28" y="19"/>
                        <a:pt x="26" y="27"/>
                        <a:pt x="26" y="28"/>
                      </a:cubicBezTo>
                      <a:cubicBezTo>
                        <a:pt x="25" y="29"/>
                        <a:pt x="28" y="31"/>
                        <a:pt x="31" y="32"/>
                      </a:cubicBezTo>
                      <a:cubicBezTo>
                        <a:pt x="31" y="31"/>
                        <a:pt x="32" y="29"/>
                        <a:pt x="33" y="28"/>
                      </a:cubicBezTo>
                      <a:cubicBezTo>
                        <a:pt x="37" y="23"/>
                        <a:pt x="40" y="15"/>
                        <a:pt x="38" y="10"/>
                      </a:cubicBezTo>
                      <a:close/>
                      <a:moveTo>
                        <a:pt x="4" y="22"/>
                      </a:moveTo>
                      <a:cubicBezTo>
                        <a:pt x="3" y="22"/>
                        <a:pt x="2" y="21"/>
                        <a:pt x="0" y="20"/>
                      </a:cubicBezTo>
                      <a:cubicBezTo>
                        <a:pt x="0" y="22"/>
                        <a:pt x="0" y="24"/>
                        <a:pt x="3" y="25"/>
                      </a:cubicBezTo>
                      <a:cubicBezTo>
                        <a:pt x="6" y="26"/>
                        <a:pt x="1" y="27"/>
                        <a:pt x="8" y="28"/>
                      </a:cubicBezTo>
                      <a:cubicBezTo>
                        <a:pt x="8" y="28"/>
                        <a:pt x="9" y="28"/>
                        <a:pt x="9" y="28"/>
                      </a:cubicBezTo>
                      <a:cubicBezTo>
                        <a:pt x="10" y="26"/>
                        <a:pt x="9" y="26"/>
                        <a:pt x="8" y="24"/>
                      </a:cubicBezTo>
                      <a:cubicBezTo>
                        <a:pt x="6" y="21"/>
                        <a:pt x="5" y="23"/>
                        <a:pt x="4" y="2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4" name="Freeform 157">
                  <a:extLst>
                    <a:ext uri="{FF2B5EF4-FFF2-40B4-BE49-F238E27FC236}">
                      <a16:creationId xmlns:a16="http://schemas.microsoft.com/office/drawing/2014/main" id="{5AC19B36-7855-4045-AA69-203F3D3E65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22752" y="-10514202"/>
                  <a:ext cx="710264" cy="512427"/>
                </a:xfrm>
                <a:custGeom>
                  <a:avLst/>
                  <a:gdLst>
                    <a:gd name="T0" fmla="*/ 111 w 115"/>
                    <a:gd name="T1" fmla="*/ 12 h 83"/>
                    <a:gd name="T2" fmla="*/ 108 w 115"/>
                    <a:gd name="T3" fmla="*/ 10 h 83"/>
                    <a:gd name="T4" fmla="*/ 99 w 115"/>
                    <a:gd name="T5" fmla="*/ 16 h 83"/>
                    <a:gd name="T6" fmla="*/ 95 w 115"/>
                    <a:gd name="T7" fmla="*/ 17 h 83"/>
                    <a:gd name="T8" fmla="*/ 91 w 115"/>
                    <a:gd name="T9" fmla="*/ 17 h 83"/>
                    <a:gd name="T10" fmla="*/ 91 w 115"/>
                    <a:gd name="T11" fmla="*/ 7 h 83"/>
                    <a:gd name="T12" fmla="*/ 88 w 115"/>
                    <a:gd name="T13" fmla="*/ 1 h 83"/>
                    <a:gd name="T14" fmla="*/ 80 w 115"/>
                    <a:gd name="T15" fmla="*/ 8 h 83"/>
                    <a:gd name="T16" fmla="*/ 73 w 115"/>
                    <a:gd name="T17" fmla="*/ 11 h 83"/>
                    <a:gd name="T18" fmla="*/ 64 w 115"/>
                    <a:gd name="T19" fmla="*/ 14 h 83"/>
                    <a:gd name="T20" fmla="*/ 57 w 115"/>
                    <a:gd name="T21" fmla="*/ 12 h 83"/>
                    <a:gd name="T22" fmla="*/ 51 w 115"/>
                    <a:gd name="T23" fmla="*/ 9 h 83"/>
                    <a:gd name="T24" fmla="*/ 44 w 115"/>
                    <a:gd name="T25" fmla="*/ 8 h 83"/>
                    <a:gd name="T26" fmla="*/ 38 w 115"/>
                    <a:gd name="T27" fmla="*/ 12 h 83"/>
                    <a:gd name="T28" fmla="*/ 33 w 115"/>
                    <a:gd name="T29" fmla="*/ 20 h 83"/>
                    <a:gd name="T30" fmla="*/ 22 w 115"/>
                    <a:gd name="T31" fmla="*/ 27 h 83"/>
                    <a:gd name="T32" fmla="*/ 15 w 115"/>
                    <a:gd name="T33" fmla="*/ 29 h 83"/>
                    <a:gd name="T34" fmla="*/ 9 w 115"/>
                    <a:gd name="T35" fmla="*/ 28 h 83"/>
                    <a:gd name="T36" fmla="*/ 5 w 115"/>
                    <a:gd name="T37" fmla="*/ 31 h 83"/>
                    <a:gd name="T38" fmla="*/ 2 w 115"/>
                    <a:gd name="T39" fmla="*/ 38 h 83"/>
                    <a:gd name="T40" fmla="*/ 1 w 115"/>
                    <a:gd name="T41" fmla="*/ 45 h 83"/>
                    <a:gd name="T42" fmla="*/ 1 w 115"/>
                    <a:gd name="T43" fmla="*/ 53 h 83"/>
                    <a:gd name="T44" fmla="*/ 3 w 115"/>
                    <a:gd name="T45" fmla="*/ 62 h 83"/>
                    <a:gd name="T46" fmla="*/ 10 w 115"/>
                    <a:gd name="T47" fmla="*/ 67 h 83"/>
                    <a:gd name="T48" fmla="*/ 2 w 115"/>
                    <a:gd name="T49" fmla="*/ 78 h 83"/>
                    <a:gd name="T50" fmla="*/ 4 w 115"/>
                    <a:gd name="T51" fmla="*/ 81 h 83"/>
                    <a:gd name="T52" fmla="*/ 16 w 115"/>
                    <a:gd name="T53" fmla="*/ 82 h 83"/>
                    <a:gd name="T54" fmla="*/ 49 w 115"/>
                    <a:gd name="T55" fmla="*/ 78 h 83"/>
                    <a:gd name="T56" fmla="*/ 48 w 115"/>
                    <a:gd name="T57" fmla="*/ 70 h 83"/>
                    <a:gd name="T58" fmla="*/ 54 w 115"/>
                    <a:gd name="T59" fmla="*/ 66 h 83"/>
                    <a:gd name="T60" fmla="*/ 60 w 115"/>
                    <a:gd name="T61" fmla="*/ 65 h 83"/>
                    <a:gd name="T62" fmla="*/ 68 w 115"/>
                    <a:gd name="T63" fmla="*/ 62 h 83"/>
                    <a:gd name="T64" fmla="*/ 72 w 115"/>
                    <a:gd name="T65" fmla="*/ 58 h 83"/>
                    <a:gd name="T66" fmla="*/ 75 w 115"/>
                    <a:gd name="T67" fmla="*/ 50 h 83"/>
                    <a:gd name="T68" fmla="*/ 80 w 115"/>
                    <a:gd name="T69" fmla="*/ 46 h 83"/>
                    <a:gd name="T70" fmla="*/ 78 w 115"/>
                    <a:gd name="T71" fmla="*/ 41 h 83"/>
                    <a:gd name="T72" fmla="*/ 87 w 115"/>
                    <a:gd name="T73" fmla="*/ 41 h 83"/>
                    <a:gd name="T74" fmla="*/ 87 w 115"/>
                    <a:gd name="T75" fmla="*/ 35 h 83"/>
                    <a:gd name="T76" fmla="*/ 91 w 115"/>
                    <a:gd name="T77" fmla="*/ 29 h 83"/>
                    <a:gd name="T78" fmla="*/ 90 w 115"/>
                    <a:gd name="T79" fmla="*/ 25 h 83"/>
                    <a:gd name="T80" fmla="*/ 91 w 115"/>
                    <a:gd name="T81" fmla="*/ 20 h 83"/>
                    <a:gd name="T82" fmla="*/ 92 w 115"/>
                    <a:gd name="T83" fmla="*/ 20 h 83"/>
                    <a:gd name="T84" fmla="*/ 96 w 115"/>
                    <a:gd name="T85" fmla="*/ 19 h 83"/>
                    <a:gd name="T86" fmla="*/ 107 w 115"/>
                    <a:gd name="T87" fmla="*/ 15 h 83"/>
                    <a:gd name="T88" fmla="*/ 115 w 115"/>
                    <a:gd name="T89" fmla="*/ 13 h 83"/>
                    <a:gd name="T90" fmla="*/ 111 w 115"/>
                    <a:gd name="T91" fmla="*/ 12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15" h="83">
                      <a:moveTo>
                        <a:pt x="111" y="12"/>
                      </a:moveTo>
                      <a:cubicBezTo>
                        <a:pt x="109" y="12"/>
                        <a:pt x="110" y="11"/>
                        <a:pt x="108" y="10"/>
                      </a:cubicBezTo>
                      <a:cubicBezTo>
                        <a:pt x="107" y="9"/>
                        <a:pt x="102" y="13"/>
                        <a:pt x="99" y="16"/>
                      </a:cubicBezTo>
                      <a:cubicBezTo>
                        <a:pt x="98" y="16"/>
                        <a:pt x="96" y="17"/>
                        <a:pt x="95" y="17"/>
                      </a:cubicBezTo>
                      <a:cubicBezTo>
                        <a:pt x="93" y="17"/>
                        <a:pt x="92" y="18"/>
                        <a:pt x="91" y="17"/>
                      </a:cubicBezTo>
                      <a:cubicBezTo>
                        <a:pt x="89" y="15"/>
                        <a:pt x="94" y="9"/>
                        <a:pt x="91" y="7"/>
                      </a:cubicBezTo>
                      <a:cubicBezTo>
                        <a:pt x="87" y="6"/>
                        <a:pt x="90" y="1"/>
                        <a:pt x="88" y="1"/>
                      </a:cubicBezTo>
                      <a:cubicBezTo>
                        <a:pt x="85" y="0"/>
                        <a:pt x="80" y="5"/>
                        <a:pt x="80" y="8"/>
                      </a:cubicBezTo>
                      <a:cubicBezTo>
                        <a:pt x="80" y="10"/>
                        <a:pt x="73" y="9"/>
                        <a:pt x="73" y="11"/>
                      </a:cubicBezTo>
                      <a:cubicBezTo>
                        <a:pt x="73" y="14"/>
                        <a:pt x="66" y="11"/>
                        <a:pt x="64" y="14"/>
                      </a:cubicBezTo>
                      <a:cubicBezTo>
                        <a:pt x="63" y="16"/>
                        <a:pt x="60" y="12"/>
                        <a:pt x="57" y="12"/>
                      </a:cubicBezTo>
                      <a:cubicBezTo>
                        <a:pt x="55" y="12"/>
                        <a:pt x="54" y="9"/>
                        <a:pt x="51" y="9"/>
                      </a:cubicBezTo>
                      <a:cubicBezTo>
                        <a:pt x="48" y="10"/>
                        <a:pt x="46" y="9"/>
                        <a:pt x="44" y="8"/>
                      </a:cubicBezTo>
                      <a:cubicBezTo>
                        <a:pt x="42" y="8"/>
                        <a:pt x="40" y="13"/>
                        <a:pt x="38" y="12"/>
                      </a:cubicBezTo>
                      <a:cubicBezTo>
                        <a:pt x="35" y="11"/>
                        <a:pt x="34" y="17"/>
                        <a:pt x="33" y="20"/>
                      </a:cubicBezTo>
                      <a:cubicBezTo>
                        <a:pt x="32" y="23"/>
                        <a:pt x="21" y="23"/>
                        <a:pt x="22" y="27"/>
                      </a:cubicBezTo>
                      <a:cubicBezTo>
                        <a:pt x="22" y="30"/>
                        <a:pt x="15" y="31"/>
                        <a:pt x="15" y="29"/>
                      </a:cubicBezTo>
                      <a:cubicBezTo>
                        <a:pt x="14" y="27"/>
                        <a:pt x="10" y="28"/>
                        <a:pt x="9" y="28"/>
                      </a:cubicBezTo>
                      <a:cubicBezTo>
                        <a:pt x="8" y="27"/>
                        <a:pt x="5" y="28"/>
                        <a:pt x="5" y="31"/>
                      </a:cubicBezTo>
                      <a:cubicBezTo>
                        <a:pt x="6" y="35"/>
                        <a:pt x="3" y="36"/>
                        <a:pt x="2" y="38"/>
                      </a:cubicBezTo>
                      <a:cubicBezTo>
                        <a:pt x="2" y="39"/>
                        <a:pt x="0" y="43"/>
                        <a:pt x="1" y="45"/>
                      </a:cubicBezTo>
                      <a:cubicBezTo>
                        <a:pt x="3" y="47"/>
                        <a:pt x="0" y="50"/>
                        <a:pt x="1" y="53"/>
                      </a:cubicBezTo>
                      <a:cubicBezTo>
                        <a:pt x="3" y="57"/>
                        <a:pt x="2" y="61"/>
                        <a:pt x="3" y="62"/>
                      </a:cubicBezTo>
                      <a:cubicBezTo>
                        <a:pt x="3" y="64"/>
                        <a:pt x="9" y="63"/>
                        <a:pt x="10" y="67"/>
                      </a:cubicBezTo>
                      <a:cubicBezTo>
                        <a:pt x="12" y="70"/>
                        <a:pt x="3" y="76"/>
                        <a:pt x="2" y="78"/>
                      </a:cubicBezTo>
                      <a:cubicBezTo>
                        <a:pt x="2" y="79"/>
                        <a:pt x="3" y="80"/>
                        <a:pt x="4" y="81"/>
                      </a:cubicBezTo>
                      <a:cubicBezTo>
                        <a:pt x="7" y="81"/>
                        <a:pt x="12" y="81"/>
                        <a:pt x="16" y="82"/>
                      </a:cubicBezTo>
                      <a:cubicBezTo>
                        <a:pt x="21" y="83"/>
                        <a:pt x="48" y="79"/>
                        <a:pt x="49" y="78"/>
                      </a:cubicBezTo>
                      <a:cubicBezTo>
                        <a:pt x="49" y="77"/>
                        <a:pt x="48" y="71"/>
                        <a:pt x="48" y="70"/>
                      </a:cubicBezTo>
                      <a:cubicBezTo>
                        <a:pt x="48" y="69"/>
                        <a:pt x="51" y="66"/>
                        <a:pt x="54" y="66"/>
                      </a:cubicBezTo>
                      <a:cubicBezTo>
                        <a:pt x="57" y="66"/>
                        <a:pt x="60" y="67"/>
                        <a:pt x="60" y="65"/>
                      </a:cubicBezTo>
                      <a:cubicBezTo>
                        <a:pt x="60" y="63"/>
                        <a:pt x="68" y="60"/>
                        <a:pt x="68" y="62"/>
                      </a:cubicBezTo>
                      <a:cubicBezTo>
                        <a:pt x="69" y="64"/>
                        <a:pt x="72" y="63"/>
                        <a:pt x="72" y="58"/>
                      </a:cubicBezTo>
                      <a:cubicBezTo>
                        <a:pt x="72" y="54"/>
                        <a:pt x="72" y="50"/>
                        <a:pt x="75" y="50"/>
                      </a:cubicBezTo>
                      <a:cubicBezTo>
                        <a:pt x="78" y="50"/>
                        <a:pt x="80" y="48"/>
                        <a:pt x="80" y="46"/>
                      </a:cubicBezTo>
                      <a:cubicBezTo>
                        <a:pt x="80" y="45"/>
                        <a:pt x="77" y="42"/>
                        <a:pt x="78" y="41"/>
                      </a:cubicBezTo>
                      <a:cubicBezTo>
                        <a:pt x="78" y="40"/>
                        <a:pt x="86" y="44"/>
                        <a:pt x="87" y="41"/>
                      </a:cubicBezTo>
                      <a:cubicBezTo>
                        <a:pt x="88" y="39"/>
                        <a:pt x="86" y="37"/>
                        <a:pt x="87" y="35"/>
                      </a:cubicBezTo>
                      <a:cubicBezTo>
                        <a:pt x="88" y="33"/>
                        <a:pt x="91" y="31"/>
                        <a:pt x="91" y="29"/>
                      </a:cubicBezTo>
                      <a:cubicBezTo>
                        <a:pt x="91" y="27"/>
                        <a:pt x="91" y="26"/>
                        <a:pt x="90" y="25"/>
                      </a:cubicBezTo>
                      <a:cubicBezTo>
                        <a:pt x="88" y="23"/>
                        <a:pt x="89" y="21"/>
                        <a:pt x="91" y="20"/>
                      </a:cubicBezTo>
                      <a:cubicBezTo>
                        <a:pt x="91" y="20"/>
                        <a:pt x="92" y="20"/>
                        <a:pt x="92" y="20"/>
                      </a:cubicBezTo>
                      <a:cubicBezTo>
                        <a:pt x="94" y="20"/>
                        <a:pt x="95" y="19"/>
                        <a:pt x="96" y="19"/>
                      </a:cubicBezTo>
                      <a:cubicBezTo>
                        <a:pt x="99" y="16"/>
                        <a:pt x="105" y="15"/>
                        <a:pt x="107" y="15"/>
                      </a:cubicBezTo>
                      <a:cubicBezTo>
                        <a:pt x="109" y="16"/>
                        <a:pt x="113" y="15"/>
                        <a:pt x="115" y="13"/>
                      </a:cubicBezTo>
                      <a:cubicBezTo>
                        <a:pt x="114" y="12"/>
                        <a:pt x="112" y="12"/>
                        <a:pt x="111" y="1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5" name="Freeform 158">
                  <a:extLst>
                    <a:ext uri="{FF2B5EF4-FFF2-40B4-BE49-F238E27FC236}">
                      <a16:creationId xmlns:a16="http://schemas.microsoft.com/office/drawing/2014/main" id="{1E420831-3F9B-46A3-9C2D-0DFABF5203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00049" y="-10433122"/>
                  <a:ext cx="823775" cy="739452"/>
                </a:xfrm>
                <a:custGeom>
                  <a:avLst/>
                  <a:gdLst>
                    <a:gd name="T0" fmla="*/ 122 w 133"/>
                    <a:gd name="T1" fmla="*/ 6 h 120"/>
                    <a:gd name="T2" fmla="*/ 113 w 133"/>
                    <a:gd name="T3" fmla="*/ 1 h 120"/>
                    <a:gd name="T4" fmla="*/ 103 w 133"/>
                    <a:gd name="T5" fmla="*/ 2 h 120"/>
                    <a:gd name="T6" fmla="*/ 88 w 133"/>
                    <a:gd name="T7" fmla="*/ 7 h 120"/>
                    <a:gd name="T8" fmla="*/ 86 w 133"/>
                    <a:gd name="T9" fmla="*/ 12 h 120"/>
                    <a:gd name="T10" fmla="*/ 83 w 133"/>
                    <a:gd name="T11" fmla="*/ 22 h 120"/>
                    <a:gd name="T12" fmla="*/ 74 w 133"/>
                    <a:gd name="T13" fmla="*/ 28 h 120"/>
                    <a:gd name="T14" fmla="*/ 71 w 133"/>
                    <a:gd name="T15" fmla="*/ 37 h 120"/>
                    <a:gd name="T16" fmla="*/ 64 w 133"/>
                    <a:gd name="T17" fmla="*/ 49 h 120"/>
                    <a:gd name="T18" fmla="*/ 50 w 133"/>
                    <a:gd name="T19" fmla="*/ 53 h 120"/>
                    <a:gd name="T20" fmla="*/ 45 w 133"/>
                    <a:gd name="T21" fmla="*/ 65 h 120"/>
                    <a:gd name="T22" fmla="*/ 0 w 133"/>
                    <a:gd name="T23" fmla="*/ 68 h 120"/>
                    <a:gd name="T24" fmla="*/ 12 w 133"/>
                    <a:gd name="T25" fmla="*/ 79 h 120"/>
                    <a:gd name="T26" fmla="*/ 18 w 133"/>
                    <a:gd name="T27" fmla="*/ 94 h 120"/>
                    <a:gd name="T28" fmla="*/ 5 w 133"/>
                    <a:gd name="T29" fmla="*/ 104 h 120"/>
                    <a:gd name="T30" fmla="*/ 20 w 133"/>
                    <a:gd name="T31" fmla="*/ 105 h 120"/>
                    <a:gd name="T32" fmla="*/ 40 w 133"/>
                    <a:gd name="T33" fmla="*/ 104 h 120"/>
                    <a:gd name="T34" fmla="*/ 50 w 133"/>
                    <a:gd name="T35" fmla="*/ 111 h 120"/>
                    <a:gd name="T36" fmla="*/ 58 w 133"/>
                    <a:gd name="T37" fmla="*/ 119 h 120"/>
                    <a:gd name="T38" fmla="*/ 60 w 133"/>
                    <a:gd name="T39" fmla="*/ 119 h 120"/>
                    <a:gd name="T40" fmla="*/ 75 w 133"/>
                    <a:gd name="T41" fmla="*/ 114 h 120"/>
                    <a:gd name="T42" fmla="*/ 78 w 133"/>
                    <a:gd name="T43" fmla="*/ 105 h 120"/>
                    <a:gd name="T44" fmla="*/ 70 w 133"/>
                    <a:gd name="T45" fmla="*/ 91 h 120"/>
                    <a:gd name="T46" fmla="*/ 82 w 133"/>
                    <a:gd name="T47" fmla="*/ 84 h 120"/>
                    <a:gd name="T48" fmla="*/ 92 w 133"/>
                    <a:gd name="T49" fmla="*/ 78 h 120"/>
                    <a:gd name="T50" fmla="*/ 101 w 133"/>
                    <a:gd name="T51" fmla="*/ 65 h 120"/>
                    <a:gd name="T52" fmla="*/ 110 w 133"/>
                    <a:gd name="T53" fmla="*/ 57 h 120"/>
                    <a:gd name="T54" fmla="*/ 116 w 133"/>
                    <a:gd name="T55" fmla="*/ 45 h 120"/>
                    <a:gd name="T56" fmla="*/ 107 w 133"/>
                    <a:gd name="T57" fmla="*/ 34 h 120"/>
                    <a:gd name="T58" fmla="*/ 110 w 133"/>
                    <a:gd name="T59" fmla="*/ 22 h 120"/>
                    <a:gd name="T60" fmla="*/ 130 w 133"/>
                    <a:gd name="T61" fmla="*/ 21 h 120"/>
                    <a:gd name="T62" fmla="*/ 127 w 133"/>
                    <a:gd name="T63" fmla="*/ 12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33" h="120">
                      <a:moveTo>
                        <a:pt x="127" y="12"/>
                      </a:moveTo>
                      <a:cubicBezTo>
                        <a:pt x="123" y="11"/>
                        <a:pt x="122" y="7"/>
                        <a:pt x="122" y="6"/>
                      </a:cubicBezTo>
                      <a:cubicBezTo>
                        <a:pt x="122" y="5"/>
                        <a:pt x="118" y="3"/>
                        <a:pt x="115" y="0"/>
                      </a:cubicBezTo>
                      <a:cubicBezTo>
                        <a:pt x="115" y="0"/>
                        <a:pt x="114" y="1"/>
                        <a:pt x="113" y="1"/>
                      </a:cubicBezTo>
                      <a:cubicBezTo>
                        <a:pt x="112" y="0"/>
                        <a:pt x="112" y="0"/>
                        <a:pt x="111" y="0"/>
                      </a:cubicBezTo>
                      <a:cubicBezTo>
                        <a:pt x="109" y="2"/>
                        <a:pt x="105" y="3"/>
                        <a:pt x="103" y="2"/>
                      </a:cubicBezTo>
                      <a:cubicBezTo>
                        <a:pt x="101" y="2"/>
                        <a:pt x="95" y="3"/>
                        <a:pt x="92" y="6"/>
                      </a:cubicBezTo>
                      <a:cubicBezTo>
                        <a:pt x="91" y="6"/>
                        <a:pt x="90" y="7"/>
                        <a:pt x="88" y="7"/>
                      </a:cubicBezTo>
                      <a:cubicBezTo>
                        <a:pt x="88" y="7"/>
                        <a:pt x="87" y="7"/>
                        <a:pt x="87" y="7"/>
                      </a:cubicBezTo>
                      <a:cubicBezTo>
                        <a:pt x="85" y="8"/>
                        <a:pt x="84" y="10"/>
                        <a:pt x="86" y="12"/>
                      </a:cubicBezTo>
                      <a:cubicBezTo>
                        <a:pt x="87" y="13"/>
                        <a:pt x="87" y="14"/>
                        <a:pt x="87" y="16"/>
                      </a:cubicBezTo>
                      <a:cubicBezTo>
                        <a:pt x="87" y="18"/>
                        <a:pt x="84" y="20"/>
                        <a:pt x="83" y="22"/>
                      </a:cubicBezTo>
                      <a:cubicBezTo>
                        <a:pt x="82" y="24"/>
                        <a:pt x="84" y="26"/>
                        <a:pt x="83" y="28"/>
                      </a:cubicBezTo>
                      <a:cubicBezTo>
                        <a:pt x="82" y="31"/>
                        <a:pt x="74" y="27"/>
                        <a:pt x="74" y="28"/>
                      </a:cubicBezTo>
                      <a:cubicBezTo>
                        <a:pt x="73" y="29"/>
                        <a:pt x="76" y="32"/>
                        <a:pt x="76" y="33"/>
                      </a:cubicBezTo>
                      <a:cubicBezTo>
                        <a:pt x="76" y="35"/>
                        <a:pt x="74" y="37"/>
                        <a:pt x="71" y="37"/>
                      </a:cubicBezTo>
                      <a:cubicBezTo>
                        <a:pt x="68" y="37"/>
                        <a:pt x="68" y="41"/>
                        <a:pt x="68" y="45"/>
                      </a:cubicBezTo>
                      <a:cubicBezTo>
                        <a:pt x="68" y="50"/>
                        <a:pt x="65" y="51"/>
                        <a:pt x="64" y="49"/>
                      </a:cubicBezTo>
                      <a:cubicBezTo>
                        <a:pt x="64" y="47"/>
                        <a:pt x="56" y="50"/>
                        <a:pt x="56" y="52"/>
                      </a:cubicBezTo>
                      <a:cubicBezTo>
                        <a:pt x="56" y="54"/>
                        <a:pt x="53" y="53"/>
                        <a:pt x="50" y="53"/>
                      </a:cubicBezTo>
                      <a:cubicBezTo>
                        <a:pt x="47" y="53"/>
                        <a:pt x="44" y="56"/>
                        <a:pt x="44" y="57"/>
                      </a:cubicBezTo>
                      <a:cubicBezTo>
                        <a:pt x="44" y="58"/>
                        <a:pt x="45" y="64"/>
                        <a:pt x="45" y="65"/>
                      </a:cubicBezTo>
                      <a:cubicBezTo>
                        <a:pt x="44" y="66"/>
                        <a:pt x="17" y="70"/>
                        <a:pt x="12" y="69"/>
                      </a:cubicBezTo>
                      <a:cubicBezTo>
                        <a:pt x="8" y="68"/>
                        <a:pt x="3" y="68"/>
                        <a:pt x="0" y="68"/>
                      </a:cubicBezTo>
                      <a:cubicBezTo>
                        <a:pt x="1" y="69"/>
                        <a:pt x="3" y="71"/>
                        <a:pt x="4" y="72"/>
                      </a:cubicBezTo>
                      <a:cubicBezTo>
                        <a:pt x="5" y="75"/>
                        <a:pt x="8" y="77"/>
                        <a:pt x="12" y="79"/>
                      </a:cubicBezTo>
                      <a:cubicBezTo>
                        <a:pt x="16" y="81"/>
                        <a:pt x="14" y="87"/>
                        <a:pt x="16" y="88"/>
                      </a:cubicBezTo>
                      <a:cubicBezTo>
                        <a:pt x="18" y="89"/>
                        <a:pt x="20" y="94"/>
                        <a:pt x="18" y="94"/>
                      </a:cubicBezTo>
                      <a:cubicBezTo>
                        <a:pt x="15" y="94"/>
                        <a:pt x="13" y="95"/>
                        <a:pt x="10" y="96"/>
                      </a:cubicBezTo>
                      <a:cubicBezTo>
                        <a:pt x="8" y="97"/>
                        <a:pt x="5" y="101"/>
                        <a:pt x="5" y="104"/>
                      </a:cubicBezTo>
                      <a:cubicBezTo>
                        <a:pt x="5" y="105"/>
                        <a:pt x="5" y="106"/>
                        <a:pt x="5" y="106"/>
                      </a:cubicBezTo>
                      <a:cubicBezTo>
                        <a:pt x="12" y="107"/>
                        <a:pt x="20" y="106"/>
                        <a:pt x="20" y="105"/>
                      </a:cubicBezTo>
                      <a:cubicBezTo>
                        <a:pt x="22" y="104"/>
                        <a:pt x="25" y="103"/>
                        <a:pt x="27" y="104"/>
                      </a:cubicBezTo>
                      <a:cubicBezTo>
                        <a:pt x="28" y="106"/>
                        <a:pt x="36" y="106"/>
                        <a:pt x="40" y="104"/>
                      </a:cubicBezTo>
                      <a:cubicBezTo>
                        <a:pt x="43" y="102"/>
                        <a:pt x="46" y="104"/>
                        <a:pt x="46" y="106"/>
                      </a:cubicBezTo>
                      <a:cubicBezTo>
                        <a:pt x="46" y="108"/>
                        <a:pt x="48" y="109"/>
                        <a:pt x="50" y="111"/>
                      </a:cubicBezTo>
                      <a:cubicBezTo>
                        <a:pt x="51" y="112"/>
                        <a:pt x="50" y="114"/>
                        <a:pt x="51" y="116"/>
                      </a:cubicBezTo>
                      <a:cubicBezTo>
                        <a:pt x="52" y="118"/>
                        <a:pt x="55" y="118"/>
                        <a:pt x="58" y="119"/>
                      </a:cubicBezTo>
                      <a:cubicBezTo>
                        <a:pt x="59" y="119"/>
                        <a:pt x="59" y="120"/>
                        <a:pt x="60" y="120"/>
                      </a:cubicBezTo>
                      <a:cubicBezTo>
                        <a:pt x="60" y="120"/>
                        <a:pt x="60" y="119"/>
                        <a:pt x="60" y="119"/>
                      </a:cubicBezTo>
                      <a:cubicBezTo>
                        <a:pt x="62" y="117"/>
                        <a:pt x="62" y="113"/>
                        <a:pt x="67" y="114"/>
                      </a:cubicBezTo>
                      <a:cubicBezTo>
                        <a:pt x="72" y="115"/>
                        <a:pt x="72" y="113"/>
                        <a:pt x="75" y="114"/>
                      </a:cubicBezTo>
                      <a:cubicBezTo>
                        <a:pt x="78" y="115"/>
                        <a:pt x="80" y="114"/>
                        <a:pt x="81" y="112"/>
                      </a:cubicBezTo>
                      <a:cubicBezTo>
                        <a:pt x="82" y="110"/>
                        <a:pt x="80" y="107"/>
                        <a:pt x="78" y="105"/>
                      </a:cubicBezTo>
                      <a:cubicBezTo>
                        <a:pt x="77" y="103"/>
                        <a:pt x="74" y="100"/>
                        <a:pt x="75" y="97"/>
                      </a:cubicBezTo>
                      <a:cubicBezTo>
                        <a:pt x="75" y="94"/>
                        <a:pt x="70" y="94"/>
                        <a:pt x="70" y="91"/>
                      </a:cubicBezTo>
                      <a:cubicBezTo>
                        <a:pt x="70" y="89"/>
                        <a:pt x="75" y="84"/>
                        <a:pt x="76" y="83"/>
                      </a:cubicBezTo>
                      <a:cubicBezTo>
                        <a:pt x="77" y="83"/>
                        <a:pt x="81" y="86"/>
                        <a:pt x="82" y="84"/>
                      </a:cubicBezTo>
                      <a:cubicBezTo>
                        <a:pt x="83" y="82"/>
                        <a:pt x="86" y="83"/>
                        <a:pt x="87" y="84"/>
                      </a:cubicBezTo>
                      <a:cubicBezTo>
                        <a:pt x="89" y="84"/>
                        <a:pt x="91" y="81"/>
                        <a:pt x="92" y="78"/>
                      </a:cubicBezTo>
                      <a:cubicBezTo>
                        <a:pt x="92" y="75"/>
                        <a:pt x="97" y="75"/>
                        <a:pt x="98" y="74"/>
                      </a:cubicBezTo>
                      <a:cubicBezTo>
                        <a:pt x="99" y="73"/>
                        <a:pt x="101" y="66"/>
                        <a:pt x="101" y="65"/>
                      </a:cubicBezTo>
                      <a:cubicBezTo>
                        <a:pt x="102" y="64"/>
                        <a:pt x="106" y="65"/>
                        <a:pt x="106" y="61"/>
                      </a:cubicBezTo>
                      <a:cubicBezTo>
                        <a:pt x="106" y="58"/>
                        <a:pt x="108" y="57"/>
                        <a:pt x="110" y="57"/>
                      </a:cubicBezTo>
                      <a:cubicBezTo>
                        <a:pt x="112" y="56"/>
                        <a:pt x="111" y="53"/>
                        <a:pt x="112" y="51"/>
                      </a:cubicBezTo>
                      <a:cubicBezTo>
                        <a:pt x="112" y="48"/>
                        <a:pt x="113" y="45"/>
                        <a:pt x="116" y="45"/>
                      </a:cubicBezTo>
                      <a:cubicBezTo>
                        <a:pt x="118" y="44"/>
                        <a:pt x="115" y="41"/>
                        <a:pt x="112" y="41"/>
                      </a:cubicBezTo>
                      <a:cubicBezTo>
                        <a:pt x="109" y="42"/>
                        <a:pt x="107" y="34"/>
                        <a:pt x="107" y="34"/>
                      </a:cubicBezTo>
                      <a:cubicBezTo>
                        <a:pt x="107" y="34"/>
                        <a:pt x="107" y="27"/>
                        <a:pt x="106" y="26"/>
                      </a:cubicBezTo>
                      <a:cubicBezTo>
                        <a:pt x="104" y="25"/>
                        <a:pt x="106" y="22"/>
                        <a:pt x="110" y="22"/>
                      </a:cubicBezTo>
                      <a:cubicBezTo>
                        <a:pt x="113" y="22"/>
                        <a:pt x="120" y="25"/>
                        <a:pt x="122" y="24"/>
                      </a:cubicBezTo>
                      <a:cubicBezTo>
                        <a:pt x="124" y="22"/>
                        <a:pt x="129" y="21"/>
                        <a:pt x="130" y="21"/>
                      </a:cubicBezTo>
                      <a:cubicBezTo>
                        <a:pt x="131" y="20"/>
                        <a:pt x="132" y="17"/>
                        <a:pt x="133" y="16"/>
                      </a:cubicBezTo>
                      <a:cubicBezTo>
                        <a:pt x="131" y="15"/>
                        <a:pt x="129" y="13"/>
                        <a:pt x="127" y="1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6" name="Freeform 159">
                  <a:extLst>
                    <a:ext uri="{FF2B5EF4-FFF2-40B4-BE49-F238E27FC236}">
                      <a16:creationId xmlns:a16="http://schemas.microsoft.com/office/drawing/2014/main" id="{5C97574C-503D-40C2-B99B-6AB2C7F73F7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6485471" y="-9959614"/>
                  <a:ext cx="839992" cy="1414040"/>
                </a:xfrm>
                <a:custGeom>
                  <a:avLst/>
                  <a:gdLst>
                    <a:gd name="T0" fmla="*/ 33 w 136"/>
                    <a:gd name="T1" fmla="*/ 98 h 229"/>
                    <a:gd name="T2" fmla="*/ 40 w 136"/>
                    <a:gd name="T3" fmla="*/ 110 h 229"/>
                    <a:gd name="T4" fmla="*/ 48 w 136"/>
                    <a:gd name="T5" fmla="*/ 140 h 229"/>
                    <a:gd name="T6" fmla="*/ 48 w 136"/>
                    <a:gd name="T7" fmla="*/ 152 h 229"/>
                    <a:gd name="T8" fmla="*/ 46 w 136"/>
                    <a:gd name="T9" fmla="*/ 171 h 229"/>
                    <a:gd name="T10" fmla="*/ 59 w 136"/>
                    <a:gd name="T11" fmla="*/ 185 h 229"/>
                    <a:gd name="T12" fmla="*/ 70 w 136"/>
                    <a:gd name="T13" fmla="*/ 213 h 229"/>
                    <a:gd name="T14" fmla="*/ 93 w 136"/>
                    <a:gd name="T15" fmla="*/ 228 h 229"/>
                    <a:gd name="T16" fmla="*/ 88 w 136"/>
                    <a:gd name="T17" fmla="*/ 201 h 229"/>
                    <a:gd name="T18" fmla="*/ 78 w 136"/>
                    <a:gd name="T19" fmla="*/ 189 h 229"/>
                    <a:gd name="T20" fmla="*/ 68 w 136"/>
                    <a:gd name="T21" fmla="*/ 182 h 229"/>
                    <a:gd name="T22" fmla="*/ 59 w 136"/>
                    <a:gd name="T23" fmla="*/ 166 h 229"/>
                    <a:gd name="T24" fmla="*/ 55 w 136"/>
                    <a:gd name="T25" fmla="*/ 149 h 229"/>
                    <a:gd name="T26" fmla="*/ 66 w 136"/>
                    <a:gd name="T27" fmla="*/ 131 h 229"/>
                    <a:gd name="T28" fmla="*/ 81 w 136"/>
                    <a:gd name="T29" fmla="*/ 140 h 229"/>
                    <a:gd name="T30" fmla="*/ 83 w 136"/>
                    <a:gd name="T31" fmla="*/ 147 h 229"/>
                    <a:gd name="T32" fmla="*/ 89 w 136"/>
                    <a:gd name="T33" fmla="*/ 153 h 229"/>
                    <a:gd name="T34" fmla="*/ 96 w 136"/>
                    <a:gd name="T35" fmla="*/ 154 h 229"/>
                    <a:gd name="T36" fmla="*/ 97 w 136"/>
                    <a:gd name="T37" fmla="*/ 164 h 229"/>
                    <a:gd name="T38" fmla="*/ 109 w 136"/>
                    <a:gd name="T39" fmla="*/ 162 h 229"/>
                    <a:gd name="T40" fmla="*/ 113 w 136"/>
                    <a:gd name="T41" fmla="*/ 154 h 229"/>
                    <a:gd name="T42" fmla="*/ 129 w 136"/>
                    <a:gd name="T43" fmla="*/ 148 h 229"/>
                    <a:gd name="T44" fmla="*/ 133 w 136"/>
                    <a:gd name="T45" fmla="*/ 119 h 229"/>
                    <a:gd name="T46" fmla="*/ 112 w 136"/>
                    <a:gd name="T47" fmla="*/ 95 h 229"/>
                    <a:gd name="T48" fmla="*/ 107 w 136"/>
                    <a:gd name="T49" fmla="*/ 78 h 229"/>
                    <a:gd name="T50" fmla="*/ 116 w 136"/>
                    <a:gd name="T51" fmla="*/ 67 h 229"/>
                    <a:gd name="T52" fmla="*/ 123 w 136"/>
                    <a:gd name="T53" fmla="*/ 62 h 229"/>
                    <a:gd name="T54" fmla="*/ 113 w 136"/>
                    <a:gd name="T55" fmla="*/ 54 h 229"/>
                    <a:gd name="T56" fmla="*/ 104 w 136"/>
                    <a:gd name="T57" fmla="*/ 46 h 229"/>
                    <a:gd name="T58" fmla="*/ 92 w 136"/>
                    <a:gd name="T59" fmla="*/ 51 h 229"/>
                    <a:gd name="T60" fmla="*/ 79 w 136"/>
                    <a:gd name="T61" fmla="*/ 52 h 229"/>
                    <a:gd name="T62" fmla="*/ 74 w 136"/>
                    <a:gd name="T63" fmla="*/ 54 h 229"/>
                    <a:gd name="T64" fmla="*/ 72 w 136"/>
                    <a:gd name="T65" fmla="*/ 64 h 229"/>
                    <a:gd name="T66" fmla="*/ 65 w 136"/>
                    <a:gd name="T67" fmla="*/ 61 h 229"/>
                    <a:gd name="T68" fmla="*/ 55 w 136"/>
                    <a:gd name="T69" fmla="*/ 56 h 229"/>
                    <a:gd name="T70" fmla="*/ 52 w 136"/>
                    <a:gd name="T71" fmla="*/ 47 h 229"/>
                    <a:gd name="T72" fmla="*/ 42 w 136"/>
                    <a:gd name="T73" fmla="*/ 39 h 229"/>
                    <a:gd name="T74" fmla="*/ 48 w 136"/>
                    <a:gd name="T75" fmla="*/ 24 h 229"/>
                    <a:gd name="T76" fmla="*/ 46 w 136"/>
                    <a:gd name="T77" fmla="*/ 9 h 229"/>
                    <a:gd name="T78" fmla="*/ 39 w 136"/>
                    <a:gd name="T79" fmla="*/ 2 h 229"/>
                    <a:gd name="T80" fmla="*/ 38 w 136"/>
                    <a:gd name="T81" fmla="*/ 3 h 229"/>
                    <a:gd name="T82" fmla="*/ 37 w 136"/>
                    <a:gd name="T83" fmla="*/ 12 h 229"/>
                    <a:gd name="T84" fmla="*/ 27 w 136"/>
                    <a:gd name="T85" fmla="*/ 15 h 229"/>
                    <a:gd name="T86" fmla="*/ 19 w 136"/>
                    <a:gd name="T87" fmla="*/ 31 h 229"/>
                    <a:gd name="T88" fmla="*/ 10 w 136"/>
                    <a:gd name="T89" fmla="*/ 40 h 229"/>
                    <a:gd name="T90" fmla="*/ 6 w 136"/>
                    <a:gd name="T91" fmla="*/ 57 h 229"/>
                    <a:gd name="T92" fmla="*/ 0 w 136"/>
                    <a:gd name="T93" fmla="*/ 65 h 229"/>
                    <a:gd name="T94" fmla="*/ 16 w 136"/>
                    <a:gd name="T95" fmla="*/ 90 h 229"/>
                    <a:gd name="T96" fmla="*/ 18 w 136"/>
                    <a:gd name="T97" fmla="*/ 107 h 229"/>
                    <a:gd name="T98" fmla="*/ 120 w 136"/>
                    <a:gd name="T99" fmla="*/ 120 h 229"/>
                    <a:gd name="T100" fmla="*/ 120 w 136"/>
                    <a:gd name="T101" fmla="*/ 120 h 229"/>
                    <a:gd name="T102" fmla="*/ 105 w 136"/>
                    <a:gd name="T103" fmla="*/ 123 h 229"/>
                    <a:gd name="T104" fmla="*/ 105 w 136"/>
                    <a:gd name="T105" fmla="*/ 123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36" h="229">
                      <a:moveTo>
                        <a:pt x="26" y="106"/>
                      </a:moveTo>
                      <a:cubicBezTo>
                        <a:pt x="28" y="103"/>
                        <a:pt x="32" y="101"/>
                        <a:pt x="33" y="98"/>
                      </a:cubicBezTo>
                      <a:cubicBezTo>
                        <a:pt x="34" y="95"/>
                        <a:pt x="36" y="99"/>
                        <a:pt x="37" y="101"/>
                      </a:cubicBezTo>
                      <a:cubicBezTo>
                        <a:pt x="39" y="103"/>
                        <a:pt x="40" y="106"/>
                        <a:pt x="40" y="110"/>
                      </a:cubicBezTo>
                      <a:cubicBezTo>
                        <a:pt x="41" y="114"/>
                        <a:pt x="41" y="124"/>
                        <a:pt x="45" y="127"/>
                      </a:cubicBezTo>
                      <a:cubicBezTo>
                        <a:pt x="48" y="131"/>
                        <a:pt x="49" y="138"/>
                        <a:pt x="48" y="140"/>
                      </a:cubicBezTo>
                      <a:cubicBezTo>
                        <a:pt x="47" y="143"/>
                        <a:pt x="49" y="147"/>
                        <a:pt x="49" y="150"/>
                      </a:cubicBezTo>
                      <a:cubicBezTo>
                        <a:pt x="49" y="150"/>
                        <a:pt x="48" y="151"/>
                        <a:pt x="48" y="152"/>
                      </a:cubicBezTo>
                      <a:cubicBezTo>
                        <a:pt x="48" y="155"/>
                        <a:pt x="47" y="161"/>
                        <a:pt x="46" y="164"/>
                      </a:cubicBezTo>
                      <a:cubicBezTo>
                        <a:pt x="45" y="167"/>
                        <a:pt x="44" y="171"/>
                        <a:pt x="46" y="171"/>
                      </a:cubicBezTo>
                      <a:cubicBezTo>
                        <a:pt x="49" y="171"/>
                        <a:pt x="53" y="176"/>
                        <a:pt x="57" y="181"/>
                      </a:cubicBezTo>
                      <a:cubicBezTo>
                        <a:pt x="58" y="182"/>
                        <a:pt x="59" y="184"/>
                        <a:pt x="59" y="185"/>
                      </a:cubicBezTo>
                      <a:cubicBezTo>
                        <a:pt x="61" y="189"/>
                        <a:pt x="62" y="194"/>
                        <a:pt x="62" y="197"/>
                      </a:cubicBezTo>
                      <a:cubicBezTo>
                        <a:pt x="62" y="202"/>
                        <a:pt x="69" y="210"/>
                        <a:pt x="70" y="213"/>
                      </a:cubicBezTo>
                      <a:cubicBezTo>
                        <a:pt x="71" y="216"/>
                        <a:pt x="73" y="217"/>
                        <a:pt x="78" y="220"/>
                      </a:cubicBezTo>
                      <a:cubicBezTo>
                        <a:pt x="82" y="224"/>
                        <a:pt x="91" y="229"/>
                        <a:pt x="93" y="228"/>
                      </a:cubicBezTo>
                      <a:cubicBezTo>
                        <a:pt x="95" y="227"/>
                        <a:pt x="90" y="219"/>
                        <a:pt x="88" y="217"/>
                      </a:cubicBezTo>
                      <a:cubicBezTo>
                        <a:pt x="85" y="214"/>
                        <a:pt x="87" y="207"/>
                        <a:pt x="88" y="201"/>
                      </a:cubicBezTo>
                      <a:cubicBezTo>
                        <a:pt x="88" y="196"/>
                        <a:pt x="83" y="196"/>
                        <a:pt x="81" y="193"/>
                      </a:cubicBezTo>
                      <a:cubicBezTo>
                        <a:pt x="80" y="189"/>
                        <a:pt x="78" y="191"/>
                        <a:pt x="78" y="189"/>
                      </a:cubicBezTo>
                      <a:cubicBezTo>
                        <a:pt x="77" y="189"/>
                        <a:pt x="77" y="188"/>
                        <a:pt x="77" y="188"/>
                      </a:cubicBezTo>
                      <a:cubicBezTo>
                        <a:pt x="75" y="185"/>
                        <a:pt x="71" y="183"/>
                        <a:pt x="68" y="182"/>
                      </a:cubicBezTo>
                      <a:cubicBezTo>
                        <a:pt x="64" y="182"/>
                        <a:pt x="62" y="176"/>
                        <a:pt x="62" y="173"/>
                      </a:cubicBezTo>
                      <a:cubicBezTo>
                        <a:pt x="62" y="170"/>
                        <a:pt x="59" y="168"/>
                        <a:pt x="59" y="166"/>
                      </a:cubicBezTo>
                      <a:cubicBezTo>
                        <a:pt x="59" y="163"/>
                        <a:pt x="57" y="163"/>
                        <a:pt x="54" y="162"/>
                      </a:cubicBezTo>
                      <a:cubicBezTo>
                        <a:pt x="51" y="161"/>
                        <a:pt x="55" y="152"/>
                        <a:pt x="55" y="149"/>
                      </a:cubicBezTo>
                      <a:cubicBezTo>
                        <a:pt x="55" y="146"/>
                        <a:pt x="61" y="136"/>
                        <a:pt x="59" y="133"/>
                      </a:cubicBezTo>
                      <a:cubicBezTo>
                        <a:pt x="58" y="130"/>
                        <a:pt x="65" y="127"/>
                        <a:pt x="66" y="131"/>
                      </a:cubicBezTo>
                      <a:cubicBezTo>
                        <a:pt x="67" y="134"/>
                        <a:pt x="67" y="136"/>
                        <a:pt x="72" y="135"/>
                      </a:cubicBezTo>
                      <a:cubicBezTo>
                        <a:pt x="77" y="135"/>
                        <a:pt x="77" y="139"/>
                        <a:pt x="81" y="140"/>
                      </a:cubicBezTo>
                      <a:cubicBezTo>
                        <a:pt x="81" y="140"/>
                        <a:pt x="81" y="140"/>
                        <a:pt x="81" y="140"/>
                      </a:cubicBezTo>
                      <a:cubicBezTo>
                        <a:pt x="84" y="142"/>
                        <a:pt x="83" y="145"/>
                        <a:pt x="83" y="147"/>
                      </a:cubicBezTo>
                      <a:cubicBezTo>
                        <a:pt x="84" y="150"/>
                        <a:pt x="87" y="148"/>
                        <a:pt x="88" y="148"/>
                      </a:cubicBezTo>
                      <a:cubicBezTo>
                        <a:pt x="90" y="148"/>
                        <a:pt x="87" y="151"/>
                        <a:pt x="89" y="153"/>
                      </a:cubicBezTo>
                      <a:cubicBezTo>
                        <a:pt x="90" y="154"/>
                        <a:pt x="94" y="151"/>
                        <a:pt x="95" y="153"/>
                      </a:cubicBezTo>
                      <a:cubicBezTo>
                        <a:pt x="95" y="154"/>
                        <a:pt x="96" y="154"/>
                        <a:pt x="96" y="154"/>
                      </a:cubicBezTo>
                      <a:cubicBezTo>
                        <a:pt x="97" y="156"/>
                        <a:pt x="98" y="156"/>
                        <a:pt x="99" y="157"/>
                      </a:cubicBezTo>
                      <a:cubicBezTo>
                        <a:pt x="101" y="158"/>
                        <a:pt x="97" y="160"/>
                        <a:pt x="97" y="164"/>
                      </a:cubicBezTo>
                      <a:cubicBezTo>
                        <a:pt x="97" y="168"/>
                        <a:pt x="100" y="169"/>
                        <a:pt x="101" y="167"/>
                      </a:cubicBezTo>
                      <a:cubicBezTo>
                        <a:pt x="102" y="166"/>
                        <a:pt x="107" y="162"/>
                        <a:pt x="109" y="162"/>
                      </a:cubicBezTo>
                      <a:cubicBezTo>
                        <a:pt x="110" y="161"/>
                        <a:pt x="109" y="159"/>
                        <a:pt x="110" y="159"/>
                      </a:cubicBezTo>
                      <a:cubicBezTo>
                        <a:pt x="112" y="159"/>
                        <a:pt x="112" y="156"/>
                        <a:pt x="113" y="154"/>
                      </a:cubicBezTo>
                      <a:cubicBezTo>
                        <a:pt x="113" y="153"/>
                        <a:pt x="115" y="153"/>
                        <a:pt x="118" y="154"/>
                      </a:cubicBezTo>
                      <a:cubicBezTo>
                        <a:pt x="120" y="154"/>
                        <a:pt x="124" y="151"/>
                        <a:pt x="129" y="148"/>
                      </a:cubicBezTo>
                      <a:cubicBezTo>
                        <a:pt x="133" y="146"/>
                        <a:pt x="133" y="145"/>
                        <a:pt x="135" y="138"/>
                      </a:cubicBezTo>
                      <a:cubicBezTo>
                        <a:pt x="136" y="130"/>
                        <a:pt x="133" y="121"/>
                        <a:pt x="133" y="119"/>
                      </a:cubicBezTo>
                      <a:cubicBezTo>
                        <a:pt x="133" y="117"/>
                        <a:pt x="127" y="106"/>
                        <a:pt x="125" y="106"/>
                      </a:cubicBezTo>
                      <a:cubicBezTo>
                        <a:pt x="123" y="106"/>
                        <a:pt x="114" y="97"/>
                        <a:pt x="112" y="95"/>
                      </a:cubicBezTo>
                      <a:cubicBezTo>
                        <a:pt x="111" y="94"/>
                        <a:pt x="111" y="91"/>
                        <a:pt x="109" y="89"/>
                      </a:cubicBezTo>
                      <a:cubicBezTo>
                        <a:pt x="106" y="87"/>
                        <a:pt x="106" y="82"/>
                        <a:pt x="107" y="78"/>
                      </a:cubicBezTo>
                      <a:cubicBezTo>
                        <a:pt x="107" y="75"/>
                        <a:pt x="113" y="74"/>
                        <a:pt x="112" y="71"/>
                      </a:cubicBezTo>
                      <a:cubicBezTo>
                        <a:pt x="112" y="69"/>
                        <a:pt x="113" y="67"/>
                        <a:pt x="116" y="67"/>
                      </a:cubicBezTo>
                      <a:cubicBezTo>
                        <a:pt x="118" y="66"/>
                        <a:pt x="121" y="64"/>
                        <a:pt x="122" y="62"/>
                      </a:cubicBezTo>
                      <a:cubicBezTo>
                        <a:pt x="122" y="62"/>
                        <a:pt x="122" y="62"/>
                        <a:pt x="123" y="62"/>
                      </a:cubicBezTo>
                      <a:cubicBezTo>
                        <a:pt x="122" y="61"/>
                        <a:pt x="121" y="61"/>
                        <a:pt x="121" y="60"/>
                      </a:cubicBezTo>
                      <a:cubicBezTo>
                        <a:pt x="119" y="60"/>
                        <a:pt x="113" y="56"/>
                        <a:pt x="113" y="54"/>
                      </a:cubicBezTo>
                      <a:cubicBezTo>
                        <a:pt x="113" y="53"/>
                        <a:pt x="116" y="50"/>
                        <a:pt x="111" y="50"/>
                      </a:cubicBezTo>
                      <a:cubicBezTo>
                        <a:pt x="106" y="49"/>
                        <a:pt x="105" y="47"/>
                        <a:pt x="104" y="46"/>
                      </a:cubicBezTo>
                      <a:cubicBezTo>
                        <a:pt x="103" y="45"/>
                        <a:pt x="99" y="48"/>
                        <a:pt x="98" y="50"/>
                      </a:cubicBezTo>
                      <a:cubicBezTo>
                        <a:pt x="96" y="53"/>
                        <a:pt x="95" y="50"/>
                        <a:pt x="92" y="51"/>
                      </a:cubicBezTo>
                      <a:cubicBezTo>
                        <a:pt x="89" y="53"/>
                        <a:pt x="87" y="49"/>
                        <a:pt x="85" y="51"/>
                      </a:cubicBezTo>
                      <a:cubicBezTo>
                        <a:pt x="84" y="53"/>
                        <a:pt x="81" y="50"/>
                        <a:pt x="79" y="52"/>
                      </a:cubicBezTo>
                      <a:cubicBezTo>
                        <a:pt x="79" y="53"/>
                        <a:pt x="78" y="53"/>
                        <a:pt x="77" y="54"/>
                      </a:cubicBezTo>
                      <a:cubicBezTo>
                        <a:pt x="76" y="54"/>
                        <a:pt x="74" y="54"/>
                        <a:pt x="74" y="54"/>
                      </a:cubicBezTo>
                      <a:cubicBezTo>
                        <a:pt x="73" y="53"/>
                        <a:pt x="72" y="57"/>
                        <a:pt x="73" y="58"/>
                      </a:cubicBezTo>
                      <a:cubicBezTo>
                        <a:pt x="74" y="59"/>
                        <a:pt x="75" y="65"/>
                        <a:pt x="72" y="64"/>
                      </a:cubicBezTo>
                      <a:cubicBezTo>
                        <a:pt x="70" y="64"/>
                        <a:pt x="70" y="60"/>
                        <a:pt x="68" y="60"/>
                      </a:cubicBezTo>
                      <a:cubicBezTo>
                        <a:pt x="68" y="60"/>
                        <a:pt x="67" y="60"/>
                        <a:pt x="65" y="61"/>
                      </a:cubicBezTo>
                      <a:cubicBezTo>
                        <a:pt x="61" y="63"/>
                        <a:pt x="59" y="61"/>
                        <a:pt x="60" y="59"/>
                      </a:cubicBezTo>
                      <a:cubicBezTo>
                        <a:pt x="60" y="56"/>
                        <a:pt x="57" y="56"/>
                        <a:pt x="55" y="56"/>
                      </a:cubicBezTo>
                      <a:cubicBezTo>
                        <a:pt x="53" y="56"/>
                        <a:pt x="55" y="53"/>
                        <a:pt x="55" y="51"/>
                      </a:cubicBezTo>
                      <a:cubicBezTo>
                        <a:pt x="56" y="49"/>
                        <a:pt x="55" y="48"/>
                        <a:pt x="52" y="47"/>
                      </a:cubicBezTo>
                      <a:cubicBezTo>
                        <a:pt x="50" y="47"/>
                        <a:pt x="49" y="42"/>
                        <a:pt x="50" y="41"/>
                      </a:cubicBezTo>
                      <a:cubicBezTo>
                        <a:pt x="51" y="39"/>
                        <a:pt x="45" y="38"/>
                        <a:pt x="42" y="39"/>
                      </a:cubicBezTo>
                      <a:cubicBezTo>
                        <a:pt x="40" y="41"/>
                        <a:pt x="42" y="37"/>
                        <a:pt x="41" y="36"/>
                      </a:cubicBezTo>
                      <a:cubicBezTo>
                        <a:pt x="40" y="34"/>
                        <a:pt x="44" y="28"/>
                        <a:pt x="48" y="24"/>
                      </a:cubicBezTo>
                      <a:cubicBezTo>
                        <a:pt x="51" y="21"/>
                        <a:pt x="50" y="16"/>
                        <a:pt x="50" y="13"/>
                      </a:cubicBezTo>
                      <a:cubicBezTo>
                        <a:pt x="50" y="9"/>
                        <a:pt x="48" y="9"/>
                        <a:pt x="46" y="9"/>
                      </a:cubicBezTo>
                      <a:cubicBezTo>
                        <a:pt x="45" y="9"/>
                        <a:pt x="45" y="6"/>
                        <a:pt x="45" y="4"/>
                      </a:cubicBezTo>
                      <a:cubicBezTo>
                        <a:pt x="45" y="2"/>
                        <a:pt x="41" y="0"/>
                        <a:pt x="39" y="2"/>
                      </a:cubicBezTo>
                      <a:cubicBezTo>
                        <a:pt x="39" y="2"/>
                        <a:pt x="38" y="2"/>
                        <a:pt x="38" y="3"/>
                      </a:cubicBezTo>
                      <a:cubicBezTo>
                        <a:pt x="38" y="3"/>
                        <a:pt x="38" y="3"/>
                        <a:pt x="38" y="3"/>
                      </a:cubicBezTo>
                      <a:cubicBezTo>
                        <a:pt x="38" y="3"/>
                        <a:pt x="37" y="6"/>
                        <a:pt x="36" y="6"/>
                      </a:cubicBezTo>
                      <a:cubicBezTo>
                        <a:pt x="35" y="7"/>
                        <a:pt x="35" y="9"/>
                        <a:pt x="37" y="12"/>
                      </a:cubicBezTo>
                      <a:cubicBezTo>
                        <a:pt x="39" y="15"/>
                        <a:pt x="34" y="13"/>
                        <a:pt x="33" y="12"/>
                      </a:cubicBezTo>
                      <a:cubicBezTo>
                        <a:pt x="33" y="10"/>
                        <a:pt x="29" y="13"/>
                        <a:pt x="27" y="15"/>
                      </a:cubicBezTo>
                      <a:cubicBezTo>
                        <a:pt x="24" y="17"/>
                        <a:pt x="21" y="18"/>
                        <a:pt x="21" y="21"/>
                      </a:cubicBezTo>
                      <a:cubicBezTo>
                        <a:pt x="21" y="25"/>
                        <a:pt x="18" y="28"/>
                        <a:pt x="19" y="31"/>
                      </a:cubicBezTo>
                      <a:cubicBezTo>
                        <a:pt x="20" y="34"/>
                        <a:pt x="16" y="39"/>
                        <a:pt x="16" y="41"/>
                      </a:cubicBezTo>
                      <a:cubicBezTo>
                        <a:pt x="16" y="42"/>
                        <a:pt x="11" y="40"/>
                        <a:pt x="10" y="40"/>
                      </a:cubicBezTo>
                      <a:cubicBezTo>
                        <a:pt x="9" y="40"/>
                        <a:pt x="9" y="46"/>
                        <a:pt x="8" y="48"/>
                      </a:cubicBezTo>
                      <a:cubicBezTo>
                        <a:pt x="7" y="50"/>
                        <a:pt x="8" y="57"/>
                        <a:pt x="6" y="57"/>
                      </a:cubicBezTo>
                      <a:cubicBezTo>
                        <a:pt x="4" y="57"/>
                        <a:pt x="2" y="63"/>
                        <a:pt x="2" y="63"/>
                      </a:cubicBezTo>
                      <a:cubicBezTo>
                        <a:pt x="2" y="63"/>
                        <a:pt x="1" y="64"/>
                        <a:pt x="0" y="65"/>
                      </a:cubicBezTo>
                      <a:cubicBezTo>
                        <a:pt x="1" y="69"/>
                        <a:pt x="4" y="72"/>
                        <a:pt x="7" y="73"/>
                      </a:cubicBezTo>
                      <a:cubicBezTo>
                        <a:pt x="12" y="75"/>
                        <a:pt x="15" y="85"/>
                        <a:pt x="16" y="90"/>
                      </a:cubicBezTo>
                      <a:cubicBezTo>
                        <a:pt x="18" y="95"/>
                        <a:pt x="17" y="100"/>
                        <a:pt x="15" y="103"/>
                      </a:cubicBezTo>
                      <a:cubicBezTo>
                        <a:pt x="13" y="105"/>
                        <a:pt x="16" y="106"/>
                        <a:pt x="18" y="107"/>
                      </a:cubicBezTo>
                      <a:cubicBezTo>
                        <a:pt x="21" y="108"/>
                        <a:pt x="24" y="109"/>
                        <a:pt x="26" y="106"/>
                      </a:cubicBezTo>
                      <a:close/>
                      <a:moveTo>
                        <a:pt x="120" y="120"/>
                      </a:moveTo>
                      <a:cubicBezTo>
                        <a:pt x="120" y="121"/>
                        <a:pt x="120" y="122"/>
                        <a:pt x="120" y="123"/>
                      </a:cubicBezTo>
                      <a:cubicBezTo>
                        <a:pt x="120" y="122"/>
                        <a:pt x="120" y="121"/>
                        <a:pt x="120" y="120"/>
                      </a:cubicBezTo>
                      <a:cubicBezTo>
                        <a:pt x="120" y="120"/>
                        <a:pt x="120" y="120"/>
                        <a:pt x="120" y="120"/>
                      </a:cubicBezTo>
                      <a:close/>
                      <a:moveTo>
                        <a:pt x="105" y="123"/>
                      </a:moveTo>
                      <a:cubicBezTo>
                        <a:pt x="105" y="123"/>
                        <a:pt x="104" y="123"/>
                        <a:pt x="103" y="122"/>
                      </a:cubicBezTo>
                      <a:cubicBezTo>
                        <a:pt x="104" y="123"/>
                        <a:pt x="105" y="123"/>
                        <a:pt x="105" y="12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7" name="Freeform 160">
                  <a:extLst>
                    <a:ext uri="{FF2B5EF4-FFF2-40B4-BE49-F238E27FC236}">
                      <a16:creationId xmlns:a16="http://schemas.microsoft.com/office/drawing/2014/main" id="{CE7FE51B-DD48-49DE-A43A-E546901B6F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256293" y="-9058001"/>
                  <a:ext cx="123242" cy="168647"/>
                </a:xfrm>
                <a:custGeom>
                  <a:avLst/>
                  <a:gdLst>
                    <a:gd name="T0" fmla="*/ 15 w 20"/>
                    <a:gd name="T1" fmla="*/ 11 h 27"/>
                    <a:gd name="T2" fmla="*/ 18 w 20"/>
                    <a:gd name="T3" fmla="*/ 3 h 27"/>
                    <a:gd name="T4" fmla="*/ 11 w 20"/>
                    <a:gd name="T5" fmla="*/ 11 h 27"/>
                    <a:gd name="T6" fmla="*/ 1 w 20"/>
                    <a:gd name="T7" fmla="*/ 25 h 27"/>
                    <a:gd name="T8" fmla="*/ 15 w 20"/>
                    <a:gd name="T9" fmla="*/ 11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27">
                      <a:moveTo>
                        <a:pt x="15" y="11"/>
                      </a:moveTo>
                      <a:cubicBezTo>
                        <a:pt x="20" y="8"/>
                        <a:pt x="19" y="5"/>
                        <a:pt x="18" y="3"/>
                      </a:cubicBezTo>
                      <a:cubicBezTo>
                        <a:pt x="16" y="0"/>
                        <a:pt x="15" y="7"/>
                        <a:pt x="11" y="11"/>
                      </a:cubicBezTo>
                      <a:cubicBezTo>
                        <a:pt x="8" y="16"/>
                        <a:pt x="0" y="23"/>
                        <a:pt x="1" y="25"/>
                      </a:cubicBezTo>
                      <a:cubicBezTo>
                        <a:pt x="2" y="27"/>
                        <a:pt x="11" y="14"/>
                        <a:pt x="15" y="1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8" name="Freeform 161">
                  <a:extLst>
                    <a:ext uri="{FF2B5EF4-FFF2-40B4-BE49-F238E27FC236}">
                      <a16:creationId xmlns:a16="http://schemas.microsoft.com/office/drawing/2014/main" id="{7B93EB1C-DE81-4DA2-A7E4-37D7E2A7B7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100619" y="-9174757"/>
                  <a:ext cx="87568" cy="81081"/>
                </a:xfrm>
                <a:custGeom>
                  <a:avLst/>
                  <a:gdLst>
                    <a:gd name="T0" fmla="*/ 9 w 14"/>
                    <a:gd name="T1" fmla="*/ 11 h 13"/>
                    <a:gd name="T2" fmla="*/ 1 w 14"/>
                    <a:gd name="T3" fmla="*/ 3 h 13"/>
                    <a:gd name="T4" fmla="*/ 9 w 14"/>
                    <a:gd name="T5" fmla="*/ 1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3">
                      <a:moveTo>
                        <a:pt x="9" y="11"/>
                      </a:moveTo>
                      <a:cubicBezTo>
                        <a:pt x="14" y="10"/>
                        <a:pt x="0" y="0"/>
                        <a:pt x="1" y="3"/>
                      </a:cubicBezTo>
                      <a:cubicBezTo>
                        <a:pt x="2" y="6"/>
                        <a:pt x="3" y="13"/>
                        <a:pt x="9" y="1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9" name="Freeform 162">
                  <a:extLst>
                    <a:ext uri="{FF2B5EF4-FFF2-40B4-BE49-F238E27FC236}">
                      <a16:creationId xmlns:a16="http://schemas.microsoft.com/office/drawing/2014/main" id="{059E8C5F-EE29-44F0-A300-75CD658C34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928730" y="-8996379"/>
                  <a:ext cx="51891" cy="48649"/>
                </a:xfrm>
                <a:custGeom>
                  <a:avLst/>
                  <a:gdLst>
                    <a:gd name="T0" fmla="*/ 6 w 8"/>
                    <a:gd name="T1" fmla="*/ 2 h 8"/>
                    <a:gd name="T2" fmla="*/ 1 w 8"/>
                    <a:gd name="T3" fmla="*/ 6 h 8"/>
                    <a:gd name="T4" fmla="*/ 6 w 8"/>
                    <a:gd name="T5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8">
                      <a:moveTo>
                        <a:pt x="6" y="2"/>
                      </a:moveTo>
                      <a:cubicBezTo>
                        <a:pt x="5" y="0"/>
                        <a:pt x="0" y="4"/>
                        <a:pt x="1" y="6"/>
                      </a:cubicBezTo>
                      <a:cubicBezTo>
                        <a:pt x="1" y="8"/>
                        <a:pt x="8" y="5"/>
                        <a:pt x="6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0" name="Freeform 163">
                  <a:extLst>
                    <a:ext uri="{FF2B5EF4-FFF2-40B4-BE49-F238E27FC236}">
                      <a16:creationId xmlns:a16="http://schemas.microsoft.com/office/drawing/2014/main" id="{270AF905-6683-4F3D-867F-EF441773AC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126564" y="-9427727"/>
                  <a:ext cx="304862" cy="450807"/>
                </a:xfrm>
                <a:custGeom>
                  <a:avLst/>
                  <a:gdLst>
                    <a:gd name="T0" fmla="*/ 3 w 49"/>
                    <a:gd name="T1" fmla="*/ 30 h 73"/>
                    <a:gd name="T2" fmla="*/ 5 w 49"/>
                    <a:gd name="T3" fmla="*/ 37 h 73"/>
                    <a:gd name="T4" fmla="*/ 13 w 49"/>
                    <a:gd name="T5" fmla="*/ 39 h 73"/>
                    <a:gd name="T6" fmla="*/ 20 w 49"/>
                    <a:gd name="T7" fmla="*/ 42 h 73"/>
                    <a:gd name="T8" fmla="*/ 30 w 49"/>
                    <a:gd name="T9" fmla="*/ 49 h 73"/>
                    <a:gd name="T10" fmla="*/ 32 w 49"/>
                    <a:gd name="T11" fmla="*/ 56 h 73"/>
                    <a:gd name="T12" fmla="*/ 36 w 49"/>
                    <a:gd name="T13" fmla="*/ 59 h 73"/>
                    <a:gd name="T14" fmla="*/ 40 w 49"/>
                    <a:gd name="T15" fmla="*/ 69 h 73"/>
                    <a:gd name="T16" fmla="*/ 42 w 49"/>
                    <a:gd name="T17" fmla="*/ 67 h 73"/>
                    <a:gd name="T18" fmla="*/ 46 w 49"/>
                    <a:gd name="T19" fmla="*/ 63 h 73"/>
                    <a:gd name="T20" fmla="*/ 44 w 49"/>
                    <a:gd name="T21" fmla="*/ 53 h 73"/>
                    <a:gd name="T22" fmla="*/ 35 w 49"/>
                    <a:gd name="T23" fmla="*/ 46 h 73"/>
                    <a:gd name="T24" fmla="*/ 29 w 49"/>
                    <a:gd name="T25" fmla="*/ 39 h 73"/>
                    <a:gd name="T26" fmla="*/ 18 w 49"/>
                    <a:gd name="T27" fmla="*/ 37 h 73"/>
                    <a:gd name="T28" fmla="*/ 14 w 49"/>
                    <a:gd name="T29" fmla="*/ 30 h 73"/>
                    <a:gd name="T30" fmla="*/ 19 w 49"/>
                    <a:gd name="T31" fmla="*/ 19 h 73"/>
                    <a:gd name="T32" fmla="*/ 19 w 49"/>
                    <a:gd name="T33" fmla="*/ 5 h 73"/>
                    <a:gd name="T34" fmla="*/ 18 w 49"/>
                    <a:gd name="T35" fmla="*/ 3 h 73"/>
                    <a:gd name="T36" fmla="*/ 6 w 49"/>
                    <a:gd name="T37" fmla="*/ 2 h 73"/>
                    <a:gd name="T38" fmla="*/ 4 w 49"/>
                    <a:gd name="T39" fmla="*/ 20 h 73"/>
                    <a:gd name="T40" fmla="*/ 0 w 49"/>
                    <a:gd name="T41" fmla="*/ 20 h 73"/>
                    <a:gd name="T42" fmla="*/ 3 w 49"/>
                    <a:gd name="T43" fmla="*/ 30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9" h="73">
                      <a:moveTo>
                        <a:pt x="3" y="30"/>
                      </a:moveTo>
                      <a:cubicBezTo>
                        <a:pt x="4" y="30"/>
                        <a:pt x="6" y="33"/>
                        <a:pt x="5" y="37"/>
                      </a:cubicBezTo>
                      <a:cubicBezTo>
                        <a:pt x="4" y="40"/>
                        <a:pt x="8" y="41"/>
                        <a:pt x="13" y="39"/>
                      </a:cubicBezTo>
                      <a:cubicBezTo>
                        <a:pt x="17" y="38"/>
                        <a:pt x="16" y="42"/>
                        <a:pt x="20" y="42"/>
                      </a:cubicBezTo>
                      <a:cubicBezTo>
                        <a:pt x="25" y="41"/>
                        <a:pt x="31" y="47"/>
                        <a:pt x="30" y="49"/>
                      </a:cubicBezTo>
                      <a:cubicBezTo>
                        <a:pt x="29" y="51"/>
                        <a:pt x="30" y="58"/>
                        <a:pt x="32" y="56"/>
                      </a:cubicBezTo>
                      <a:cubicBezTo>
                        <a:pt x="34" y="54"/>
                        <a:pt x="38" y="56"/>
                        <a:pt x="36" y="59"/>
                      </a:cubicBezTo>
                      <a:cubicBezTo>
                        <a:pt x="33" y="63"/>
                        <a:pt x="39" y="66"/>
                        <a:pt x="40" y="69"/>
                      </a:cubicBezTo>
                      <a:cubicBezTo>
                        <a:pt x="40" y="73"/>
                        <a:pt x="43" y="70"/>
                        <a:pt x="42" y="67"/>
                      </a:cubicBezTo>
                      <a:cubicBezTo>
                        <a:pt x="42" y="64"/>
                        <a:pt x="43" y="65"/>
                        <a:pt x="46" y="63"/>
                      </a:cubicBezTo>
                      <a:cubicBezTo>
                        <a:pt x="49" y="60"/>
                        <a:pt x="46" y="57"/>
                        <a:pt x="44" y="53"/>
                      </a:cubicBezTo>
                      <a:cubicBezTo>
                        <a:pt x="42" y="49"/>
                        <a:pt x="35" y="50"/>
                        <a:pt x="35" y="46"/>
                      </a:cubicBezTo>
                      <a:cubicBezTo>
                        <a:pt x="35" y="43"/>
                        <a:pt x="29" y="41"/>
                        <a:pt x="29" y="39"/>
                      </a:cubicBezTo>
                      <a:cubicBezTo>
                        <a:pt x="29" y="37"/>
                        <a:pt x="22" y="35"/>
                        <a:pt x="18" y="37"/>
                      </a:cubicBezTo>
                      <a:cubicBezTo>
                        <a:pt x="14" y="40"/>
                        <a:pt x="17" y="33"/>
                        <a:pt x="14" y="30"/>
                      </a:cubicBezTo>
                      <a:cubicBezTo>
                        <a:pt x="11" y="27"/>
                        <a:pt x="16" y="22"/>
                        <a:pt x="19" y="19"/>
                      </a:cubicBezTo>
                      <a:cubicBezTo>
                        <a:pt x="23" y="15"/>
                        <a:pt x="18" y="8"/>
                        <a:pt x="19" y="5"/>
                      </a:cubicBezTo>
                      <a:cubicBezTo>
                        <a:pt x="19" y="3"/>
                        <a:pt x="19" y="2"/>
                        <a:pt x="18" y="3"/>
                      </a:cubicBezTo>
                      <a:cubicBezTo>
                        <a:pt x="16" y="4"/>
                        <a:pt x="9" y="0"/>
                        <a:pt x="6" y="2"/>
                      </a:cubicBezTo>
                      <a:cubicBezTo>
                        <a:pt x="3" y="4"/>
                        <a:pt x="6" y="19"/>
                        <a:pt x="4" y="20"/>
                      </a:cubicBezTo>
                      <a:cubicBezTo>
                        <a:pt x="3" y="22"/>
                        <a:pt x="1" y="18"/>
                        <a:pt x="0" y="20"/>
                      </a:cubicBezTo>
                      <a:cubicBezTo>
                        <a:pt x="0" y="22"/>
                        <a:pt x="1" y="30"/>
                        <a:pt x="3" y="3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1" name="Freeform 164">
                  <a:extLst>
                    <a:ext uri="{FF2B5EF4-FFF2-40B4-BE49-F238E27FC236}">
                      <a16:creationId xmlns:a16="http://schemas.microsoft.com/office/drawing/2014/main" id="{156635D2-1640-4A01-B137-62FE0264F5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032512" y="-8989893"/>
                  <a:ext cx="259457" cy="230269"/>
                </a:xfrm>
                <a:custGeom>
                  <a:avLst/>
                  <a:gdLst>
                    <a:gd name="T0" fmla="*/ 39 w 42"/>
                    <a:gd name="T1" fmla="*/ 24 h 37"/>
                    <a:gd name="T2" fmla="*/ 37 w 42"/>
                    <a:gd name="T3" fmla="*/ 6 h 37"/>
                    <a:gd name="T4" fmla="*/ 31 w 42"/>
                    <a:gd name="T5" fmla="*/ 5 h 37"/>
                    <a:gd name="T6" fmla="*/ 27 w 42"/>
                    <a:gd name="T7" fmla="*/ 10 h 37"/>
                    <a:gd name="T8" fmla="*/ 22 w 42"/>
                    <a:gd name="T9" fmla="*/ 13 h 37"/>
                    <a:gd name="T10" fmla="*/ 15 w 42"/>
                    <a:gd name="T11" fmla="*/ 12 h 37"/>
                    <a:gd name="T12" fmla="*/ 6 w 42"/>
                    <a:gd name="T13" fmla="*/ 17 h 37"/>
                    <a:gd name="T14" fmla="*/ 3 w 42"/>
                    <a:gd name="T15" fmla="*/ 25 h 37"/>
                    <a:gd name="T16" fmla="*/ 10 w 42"/>
                    <a:gd name="T17" fmla="*/ 22 h 37"/>
                    <a:gd name="T18" fmla="*/ 16 w 42"/>
                    <a:gd name="T19" fmla="*/ 19 h 37"/>
                    <a:gd name="T20" fmla="*/ 22 w 42"/>
                    <a:gd name="T21" fmla="*/ 33 h 37"/>
                    <a:gd name="T22" fmla="*/ 31 w 42"/>
                    <a:gd name="T23" fmla="*/ 37 h 37"/>
                    <a:gd name="T24" fmla="*/ 30 w 42"/>
                    <a:gd name="T25" fmla="*/ 27 h 37"/>
                    <a:gd name="T26" fmla="*/ 39 w 42"/>
                    <a:gd name="T27" fmla="*/ 24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2" h="37">
                      <a:moveTo>
                        <a:pt x="39" y="24"/>
                      </a:moveTo>
                      <a:cubicBezTo>
                        <a:pt x="42" y="20"/>
                        <a:pt x="37" y="12"/>
                        <a:pt x="37" y="6"/>
                      </a:cubicBezTo>
                      <a:cubicBezTo>
                        <a:pt x="37" y="0"/>
                        <a:pt x="29" y="2"/>
                        <a:pt x="31" y="5"/>
                      </a:cubicBezTo>
                      <a:cubicBezTo>
                        <a:pt x="33" y="9"/>
                        <a:pt x="27" y="6"/>
                        <a:pt x="27" y="10"/>
                      </a:cubicBezTo>
                      <a:cubicBezTo>
                        <a:pt x="26" y="13"/>
                        <a:pt x="22" y="10"/>
                        <a:pt x="22" y="13"/>
                      </a:cubicBezTo>
                      <a:cubicBezTo>
                        <a:pt x="22" y="16"/>
                        <a:pt x="17" y="13"/>
                        <a:pt x="15" y="12"/>
                      </a:cubicBezTo>
                      <a:cubicBezTo>
                        <a:pt x="13" y="10"/>
                        <a:pt x="9" y="16"/>
                        <a:pt x="6" y="17"/>
                      </a:cubicBezTo>
                      <a:cubicBezTo>
                        <a:pt x="2" y="18"/>
                        <a:pt x="0" y="26"/>
                        <a:pt x="3" y="25"/>
                      </a:cubicBezTo>
                      <a:cubicBezTo>
                        <a:pt x="5" y="25"/>
                        <a:pt x="7" y="21"/>
                        <a:pt x="10" y="22"/>
                      </a:cubicBezTo>
                      <a:cubicBezTo>
                        <a:pt x="13" y="22"/>
                        <a:pt x="12" y="19"/>
                        <a:pt x="16" y="19"/>
                      </a:cubicBezTo>
                      <a:cubicBezTo>
                        <a:pt x="20" y="20"/>
                        <a:pt x="17" y="32"/>
                        <a:pt x="22" y="33"/>
                      </a:cubicBezTo>
                      <a:cubicBezTo>
                        <a:pt x="28" y="34"/>
                        <a:pt x="28" y="37"/>
                        <a:pt x="31" y="37"/>
                      </a:cubicBezTo>
                      <a:cubicBezTo>
                        <a:pt x="33" y="37"/>
                        <a:pt x="30" y="30"/>
                        <a:pt x="30" y="27"/>
                      </a:cubicBezTo>
                      <a:cubicBezTo>
                        <a:pt x="31" y="25"/>
                        <a:pt x="36" y="27"/>
                        <a:pt x="39" y="2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2" name="Freeform 165">
                  <a:extLst>
                    <a:ext uri="{FF2B5EF4-FFF2-40B4-BE49-F238E27FC236}">
                      <a16:creationId xmlns:a16="http://schemas.microsoft.com/office/drawing/2014/main" id="{4C3BA750-B53C-4BAF-BB8E-D70618F87A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038999" y="-9087189"/>
                  <a:ext cx="123242" cy="152432"/>
                </a:xfrm>
                <a:custGeom>
                  <a:avLst/>
                  <a:gdLst>
                    <a:gd name="T0" fmla="*/ 10 w 20"/>
                    <a:gd name="T1" fmla="*/ 25 h 25"/>
                    <a:gd name="T2" fmla="*/ 19 w 20"/>
                    <a:gd name="T3" fmla="*/ 12 h 25"/>
                    <a:gd name="T4" fmla="*/ 16 w 20"/>
                    <a:gd name="T5" fmla="*/ 10 h 25"/>
                    <a:gd name="T6" fmla="*/ 4 w 20"/>
                    <a:gd name="T7" fmla="*/ 1 h 25"/>
                    <a:gd name="T8" fmla="*/ 4 w 20"/>
                    <a:gd name="T9" fmla="*/ 12 h 25"/>
                    <a:gd name="T10" fmla="*/ 9 w 20"/>
                    <a:gd name="T11" fmla="*/ 9 h 25"/>
                    <a:gd name="T12" fmla="*/ 9 w 20"/>
                    <a:gd name="T13" fmla="*/ 16 h 25"/>
                    <a:gd name="T14" fmla="*/ 10 w 20"/>
                    <a:gd name="T15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25">
                      <a:moveTo>
                        <a:pt x="10" y="25"/>
                      </a:moveTo>
                      <a:cubicBezTo>
                        <a:pt x="14" y="25"/>
                        <a:pt x="20" y="14"/>
                        <a:pt x="19" y="12"/>
                      </a:cubicBezTo>
                      <a:cubicBezTo>
                        <a:pt x="18" y="10"/>
                        <a:pt x="15" y="13"/>
                        <a:pt x="16" y="10"/>
                      </a:cubicBezTo>
                      <a:cubicBezTo>
                        <a:pt x="17" y="8"/>
                        <a:pt x="7" y="0"/>
                        <a:pt x="4" y="1"/>
                      </a:cubicBezTo>
                      <a:cubicBezTo>
                        <a:pt x="0" y="2"/>
                        <a:pt x="1" y="12"/>
                        <a:pt x="4" y="12"/>
                      </a:cubicBezTo>
                      <a:cubicBezTo>
                        <a:pt x="5" y="12"/>
                        <a:pt x="8" y="12"/>
                        <a:pt x="9" y="9"/>
                      </a:cubicBezTo>
                      <a:cubicBezTo>
                        <a:pt x="9" y="7"/>
                        <a:pt x="11" y="14"/>
                        <a:pt x="9" y="16"/>
                      </a:cubicBezTo>
                      <a:cubicBezTo>
                        <a:pt x="7" y="18"/>
                        <a:pt x="7" y="24"/>
                        <a:pt x="10" y="2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3" name="Freeform 166">
                  <a:extLst>
                    <a:ext uri="{FF2B5EF4-FFF2-40B4-BE49-F238E27FC236}">
                      <a16:creationId xmlns:a16="http://schemas.microsoft.com/office/drawing/2014/main" id="{B3B07248-2B81-416E-995C-1EC29E1181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742774" y="-8354223"/>
                  <a:ext cx="35676" cy="45405"/>
                </a:xfrm>
                <a:custGeom>
                  <a:avLst/>
                  <a:gdLst>
                    <a:gd name="T0" fmla="*/ 2 w 6"/>
                    <a:gd name="T1" fmla="*/ 4 h 7"/>
                    <a:gd name="T2" fmla="*/ 6 w 6"/>
                    <a:gd name="T3" fmla="*/ 2 h 7"/>
                    <a:gd name="T4" fmla="*/ 2 w 6"/>
                    <a:gd name="T5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7">
                      <a:moveTo>
                        <a:pt x="2" y="4"/>
                      </a:moveTo>
                      <a:cubicBezTo>
                        <a:pt x="4" y="7"/>
                        <a:pt x="6" y="4"/>
                        <a:pt x="6" y="2"/>
                      </a:cubicBezTo>
                      <a:cubicBezTo>
                        <a:pt x="6" y="0"/>
                        <a:pt x="0" y="1"/>
                        <a:pt x="2" y="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4" name="Freeform 167">
                  <a:extLst>
                    <a:ext uri="{FF2B5EF4-FFF2-40B4-BE49-F238E27FC236}">
                      <a16:creationId xmlns:a16="http://schemas.microsoft.com/office/drawing/2014/main" id="{58C65EDE-37B0-4EDA-9E4A-C045CC0E40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187095" y="-8451520"/>
                  <a:ext cx="35676" cy="61622"/>
                </a:xfrm>
                <a:custGeom>
                  <a:avLst/>
                  <a:gdLst>
                    <a:gd name="T0" fmla="*/ 0 w 6"/>
                    <a:gd name="T1" fmla="*/ 4 h 10"/>
                    <a:gd name="T2" fmla="*/ 4 w 6"/>
                    <a:gd name="T3" fmla="*/ 8 h 10"/>
                    <a:gd name="T4" fmla="*/ 0 w 6"/>
                    <a:gd name="T5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10">
                      <a:moveTo>
                        <a:pt x="0" y="4"/>
                      </a:moveTo>
                      <a:cubicBezTo>
                        <a:pt x="0" y="5"/>
                        <a:pt x="2" y="10"/>
                        <a:pt x="4" y="8"/>
                      </a:cubicBezTo>
                      <a:cubicBezTo>
                        <a:pt x="6" y="7"/>
                        <a:pt x="2" y="0"/>
                        <a:pt x="0" y="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5" name="Freeform 168">
                  <a:extLst>
                    <a:ext uri="{FF2B5EF4-FFF2-40B4-BE49-F238E27FC236}">
                      <a16:creationId xmlns:a16="http://schemas.microsoft.com/office/drawing/2014/main" id="{0B53372C-0262-4884-A9A3-1CB012088B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261688" y="-8568275"/>
                  <a:ext cx="48649" cy="71351"/>
                </a:xfrm>
                <a:custGeom>
                  <a:avLst/>
                  <a:gdLst>
                    <a:gd name="T0" fmla="*/ 1 w 8"/>
                    <a:gd name="T1" fmla="*/ 2 h 12"/>
                    <a:gd name="T2" fmla="*/ 6 w 8"/>
                    <a:gd name="T3" fmla="*/ 9 h 12"/>
                    <a:gd name="T4" fmla="*/ 1 w 8"/>
                    <a:gd name="T5" fmla="*/ 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12">
                      <a:moveTo>
                        <a:pt x="1" y="2"/>
                      </a:moveTo>
                      <a:cubicBezTo>
                        <a:pt x="0" y="5"/>
                        <a:pt x="3" y="12"/>
                        <a:pt x="6" y="9"/>
                      </a:cubicBezTo>
                      <a:cubicBezTo>
                        <a:pt x="8" y="6"/>
                        <a:pt x="1" y="0"/>
                        <a:pt x="1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6" name="Freeform 169">
                  <a:extLst>
                    <a:ext uri="{FF2B5EF4-FFF2-40B4-BE49-F238E27FC236}">
                      <a16:creationId xmlns:a16="http://schemas.microsoft.com/office/drawing/2014/main" id="{E6428E70-B94E-40E9-9495-7E47C98460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204402" y="-8581248"/>
                  <a:ext cx="350267" cy="395672"/>
                </a:xfrm>
                <a:custGeom>
                  <a:avLst/>
                  <a:gdLst>
                    <a:gd name="T0" fmla="*/ 41 w 57"/>
                    <a:gd name="T1" fmla="*/ 13 h 64"/>
                    <a:gd name="T2" fmla="*/ 55 w 57"/>
                    <a:gd name="T3" fmla="*/ 4 h 64"/>
                    <a:gd name="T4" fmla="*/ 46 w 57"/>
                    <a:gd name="T5" fmla="*/ 8 h 64"/>
                    <a:gd name="T6" fmla="*/ 26 w 57"/>
                    <a:gd name="T7" fmla="*/ 5 h 64"/>
                    <a:gd name="T8" fmla="*/ 16 w 57"/>
                    <a:gd name="T9" fmla="*/ 9 h 64"/>
                    <a:gd name="T10" fmla="*/ 11 w 57"/>
                    <a:gd name="T11" fmla="*/ 21 h 64"/>
                    <a:gd name="T12" fmla="*/ 4 w 57"/>
                    <a:gd name="T13" fmla="*/ 37 h 64"/>
                    <a:gd name="T14" fmla="*/ 9 w 57"/>
                    <a:gd name="T15" fmla="*/ 45 h 64"/>
                    <a:gd name="T16" fmla="*/ 12 w 57"/>
                    <a:gd name="T17" fmla="*/ 53 h 64"/>
                    <a:gd name="T18" fmla="*/ 12 w 57"/>
                    <a:gd name="T19" fmla="*/ 63 h 64"/>
                    <a:gd name="T20" fmla="*/ 17 w 57"/>
                    <a:gd name="T21" fmla="*/ 55 h 64"/>
                    <a:gd name="T22" fmla="*/ 16 w 57"/>
                    <a:gd name="T23" fmla="*/ 40 h 64"/>
                    <a:gd name="T24" fmla="*/ 21 w 57"/>
                    <a:gd name="T25" fmla="*/ 44 h 64"/>
                    <a:gd name="T26" fmla="*/ 25 w 57"/>
                    <a:gd name="T27" fmla="*/ 52 h 64"/>
                    <a:gd name="T28" fmla="*/ 32 w 57"/>
                    <a:gd name="T29" fmla="*/ 53 h 64"/>
                    <a:gd name="T30" fmla="*/ 33 w 57"/>
                    <a:gd name="T31" fmla="*/ 46 h 64"/>
                    <a:gd name="T32" fmla="*/ 31 w 57"/>
                    <a:gd name="T33" fmla="*/ 37 h 64"/>
                    <a:gd name="T34" fmla="*/ 28 w 57"/>
                    <a:gd name="T35" fmla="*/ 30 h 64"/>
                    <a:gd name="T36" fmla="*/ 41 w 57"/>
                    <a:gd name="T37" fmla="*/ 22 h 64"/>
                    <a:gd name="T38" fmla="*/ 24 w 57"/>
                    <a:gd name="T39" fmla="*/ 26 h 64"/>
                    <a:gd name="T40" fmla="*/ 14 w 57"/>
                    <a:gd name="T41" fmla="*/ 19 h 64"/>
                    <a:gd name="T42" fmla="*/ 41 w 57"/>
                    <a:gd name="T43" fmla="*/ 1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57" h="64">
                      <a:moveTo>
                        <a:pt x="41" y="13"/>
                      </a:moveTo>
                      <a:cubicBezTo>
                        <a:pt x="46" y="15"/>
                        <a:pt x="53" y="8"/>
                        <a:pt x="55" y="4"/>
                      </a:cubicBezTo>
                      <a:cubicBezTo>
                        <a:pt x="57" y="0"/>
                        <a:pt x="50" y="5"/>
                        <a:pt x="46" y="8"/>
                      </a:cubicBezTo>
                      <a:cubicBezTo>
                        <a:pt x="42" y="10"/>
                        <a:pt x="31" y="7"/>
                        <a:pt x="26" y="5"/>
                      </a:cubicBezTo>
                      <a:cubicBezTo>
                        <a:pt x="21" y="4"/>
                        <a:pt x="21" y="9"/>
                        <a:pt x="16" y="9"/>
                      </a:cubicBezTo>
                      <a:cubicBezTo>
                        <a:pt x="12" y="10"/>
                        <a:pt x="13" y="20"/>
                        <a:pt x="11" y="21"/>
                      </a:cubicBezTo>
                      <a:cubicBezTo>
                        <a:pt x="8" y="23"/>
                        <a:pt x="8" y="30"/>
                        <a:pt x="4" y="37"/>
                      </a:cubicBezTo>
                      <a:cubicBezTo>
                        <a:pt x="0" y="44"/>
                        <a:pt x="6" y="45"/>
                        <a:pt x="9" y="45"/>
                      </a:cubicBezTo>
                      <a:cubicBezTo>
                        <a:pt x="13" y="45"/>
                        <a:pt x="12" y="50"/>
                        <a:pt x="12" y="53"/>
                      </a:cubicBezTo>
                      <a:cubicBezTo>
                        <a:pt x="11" y="57"/>
                        <a:pt x="9" y="64"/>
                        <a:pt x="12" y="63"/>
                      </a:cubicBezTo>
                      <a:cubicBezTo>
                        <a:pt x="16" y="61"/>
                        <a:pt x="19" y="57"/>
                        <a:pt x="17" y="55"/>
                      </a:cubicBezTo>
                      <a:cubicBezTo>
                        <a:pt x="14" y="53"/>
                        <a:pt x="15" y="43"/>
                        <a:pt x="16" y="40"/>
                      </a:cubicBezTo>
                      <a:cubicBezTo>
                        <a:pt x="17" y="38"/>
                        <a:pt x="23" y="39"/>
                        <a:pt x="21" y="44"/>
                      </a:cubicBezTo>
                      <a:cubicBezTo>
                        <a:pt x="19" y="48"/>
                        <a:pt x="25" y="47"/>
                        <a:pt x="25" y="52"/>
                      </a:cubicBezTo>
                      <a:cubicBezTo>
                        <a:pt x="25" y="56"/>
                        <a:pt x="28" y="54"/>
                        <a:pt x="32" y="53"/>
                      </a:cubicBezTo>
                      <a:cubicBezTo>
                        <a:pt x="36" y="51"/>
                        <a:pt x="35" y="49"/>
                        <a:pt x="33" y="46"/>
                      </a:cubicBezTo>
                      <a:cubicBezTo>
                        <a:pt x="30" y="44"/>
                        <a:pt x="35" y="39"/>
                        <a:pt x="31" y="37"/>
                      </a:cubicBezTo>
                      <a:cubicBezTo>
                        <a:pt x="27" y="35"/>
                        <a:pt x="25" y="31"/>
                        <a:pt x="28" y="30"/>
                      </a:cubicBezTo>
                      <a:cubicBezTo>
                        <a:pt x="32" y="30"/>
                        <a:pt x="42" y="24"/>
                        <a:pt x="41" y="22"/>
                      </a:cubicBezTo>
                      <a:cubicBezTo>
                        <a:pt x="39" y="19"/>
                        <a:pt x="25" y="22"/>
                        <a:pt x="24" y="26"/>
                      </a:cubicBezTo>
                      <a:cubicBezTo>
                        <a:pt x="23" y="31"/>
                        <a:pt x="13" y="26"/>
                        <a:pt x="14" y="19"/>
                      </a:cubicBezTo>
                      <a:cubicBezTo>
                        <a:pt x="15" y="11"/>
                        <a:pt x="35" y="10"/>
                        <a:pt x="41" y="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7" name="Freeform 170">
                  <a:extLst>
                    <a:ext uri="{FF2B5EF4-FFF2-40B4-BE49-F238E27FC236}">
                      <a16:creationId xmlns:a16="http://schemas.microsoft.com/office/drawing/2014/main" id="{735ACFE4-FF33-4B88-87D4-0ABE967E34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766569" y="-8600707"/>
                  <a:ext cx="97296" cy="142701"/>
                </a:xfrm>
                <a:custGeom>
                  <a:avLst/>
                  <a:gdLst>
                    <a:gd name="T0" fmla="*/ 11 w 16"/>
                    <a:gd name="T1" fmla="*/ 16 h 23"/>
                    <a:gd name="T2" fmla="*/ 14 w 16"/>
                    <a:gd name="T3" fmla="*/ 10 h 23"/>
                    <a:gd name="T4" fmla="*/ 9 w 16"/>
                    <a:gd name="T5" fmla="*/ 8 h 23"/>
                    <a:gd name="T6" fmla="*/ 4 w 16"/>
                    <a:gd name="T7" fmla="*/ 5 h 23"/>
                    <a:gd name="T8" fmla="*/ 8 w 16"/>
                    <a:gd name="T9" fmla="*/ 22 h 23"/>
                    <a:gd name="T10" fmla="*/ 11 w 16"/>
                    <a:gd name="T11" fmla="*/ 16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23">
                      <a:moveTo>
                        <a:pt x="11" y="16"/>
                      </a:moveTo>
                      <a:cubicBezTo>
                        <a:pt x="16" y="17"/>
                        <a:pt x="14" y="13"/>
                        <a:pt x="14" y="10"/>
                      </a:cubicBezTo>
                      <a:cubicBezTo>
                        <a:pt x="14" y="7"/>
                        <a:pt x="9" y="10"/>
                        <a:pt x="9" y="8"/>
                      </a:cubicBezTo>
                      <a:cubicBezTo>
                        <a:pt x="9" y="6"/>
                        <a:pt x="8" y="0"/>
                        <a:pt x="4" y="5"/>
                      </a:cubicBezTo>
                      <a:cubicBezTo>
                        <a:pt x="0" y="10"/>
                        <a:pt x="5" y="23"/>
                        <a:pt x="8" y="22"/>
                      </a:cubicBezTo>
                      <a:cubicBezTo>
                        <a:pt x="11" y="22"/>
                        <a:pt x="6" y="16"/>
                        <a:pt x="11" y="1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8" name="Freeform 171">
                  <a:extLst>
                    <a:ext uri="{FF2B5EF4-FFF2-40B4-BE49-F238E27FC236}">
                      <a16:creationId xmlns:a16="http://schemas.microsoft.com/office/drawing/2014/main" id="{2B66EB88-77CE-4E63-B3EE-FDE74DFB3C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957918" y="-8033147"/>
                  <a:ext cx="97296" cy="74595"/>
                </a:xfrm>
                <a:custGeom>
                  <a:avLst/>
                  <a:gdLst>
                    <a:gd name="T0" fmla="*/ 14 w 16"/>
                    <a:gd name="T1" fmla="*/ 0 h 12"/>
                    <a:gd name="T2" fmla="*/ 11 w 16"/>
                    <a:gd name="T3" fmla="*/ 1 h 12"/>
                    <a:gd name="T4" fmla="*/ 10 w 16"/>
                    <a:gd name="T5" fmla="*/ 3 h 12"/>
                    <a:gd name="T6" fmla="*/ 7 w 16"/>
                    <a:gd name="T7" fmla="*/ 2 h 12"/>
                    <a:gd name="T8" fmla="*/ 3 w 16"/>
                    <a:gd name="T9" fmla="*/ 11 h 12"/>
                    <a:gd name="T10" fmla="*/ 13 w 16"/>
                    <a:gd name="T11" fmla="*/ 5 h 12"/>
                    <a:gd name="T12" fmla="*/ 15 w 16"/>
                    <a:gd name="T13" fmla="*/ 4 h 12"/>
                    <a:gd name="T14" fmla="*/ 15 w 16"/>
                    <a:gd name="T15" fmla="*/ 3 h 12"/>
                    <a:gd name="T16" fmla="*/ 16 w 16"/>
                    <a:gd name="T17" fmla="*/ 2 h 12"/>
                    <a:gd name="T18" fmla="*/ 14 w 16"/>
                    <a:gd name="T1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6" h="12">
                      <a:moveTo>
                        <a:pt x="14" y="0"/>
                      </a:moveTo>
                      <a:cubicBezTo>
                        <a:pt x="13" y="0"/>
                        <a:pt x="12" y="1"/>
                        <a:pt x="11" y="1"/>
                      </a:cubicBezTo>
                      <a:cubicBezTo>
                        <a:pt x="11" y="2"/>
                        <a:pt x="10" y="3"/>
                        <a:pt x="10" y="3"/>
                      </a:cubicBezTo>
                      <a:cubicBezTo>
                        <a:pt x="9" y="4"/>
                        <a:pt x="8" y="3"/>
                        <a:pt x="7" y="2"/>
                      </a:cubicBezTo>
                      <a:cubicBezTo>
                        <a:pt x="3" y="4"/>
                        <a:pt x="0" y="9"/>
                        <a:pt x="3" y="11"/>
                      </a:cubicBezTo>
                      <a:cubicBezTo>
                        <a:pt x="6" y="12"/>
                        <a:pt x="11" y="8"/>
                        <a:pt x="13" y="5"/>
                      </a:cubicBezTo>
                      <a:cubicBezTo>
                        <a:pt x="14" y="5"/>
                        <a:pt x="14" y="4"/>
                        <a:pt x="15" y="4"/>
                      </a:cubicBezTo>
                      <a:cubicBezTo>
                        <a:pt x="15" y="3"/>
                        <a:pt x="15" y="3"/>
                        <a:pt x="15" y="3"/>
                      </a:cubicBezTo>
                      <a:cubicBezTo>
                        <a:pt x="16" y="3"/>
                        <a:pt x="16" y="3"/>
                        <a:pt x="16" y="2"/>
                      </a:cubicBezTo>
                      <a:cubicBezTo>
                        <a:pt x="15" y="1"/>
                        <a:pt x="14" y="0"/>
                        <a:pt x="14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9" name="Freeform 172">
                  <a:extLst>
                    <a:ext uri="{FF2B5EF4-FFF2-40B4-BE49-F238E27FC236}">
                      <a16:creationId xmlns:a16="http://schemas.microsoft.com/office/drawing/2014/main" id="{EA37AFCB-5F46-4572-AB31-90D20909DB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821703" y="-8347737"/>
                  <a:ext cx="74595" cy="68108"/>
                </a:xfrm>
                <a:custGeom>
                  <a:avLst/>
                  <a:gdLst>
                    <a:gd name="T0" fmla="*/ 1 w 12"/>
                    <a:gd name="T1" fmla="*/ 5 h 11"/>
                    <a:gd name="T2" fmla="*/ 10 w 12"/>
                    <a:gd name="T3" fmla="*/ 7 h 11"/>
                    <a:gd name="T4" fmla="*/ 1 w 12"/>
                    <a:gd name="T5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2" h="11">
                      <a:moveTo>
                        <a:pt x="1" y="5"/>
                      </a:moveTo>
                      <a:cubicBezTo>
                        <a:pt x="2" y="9"/>
                        <a:pt x="8" y="11"/>
                        <a:pt x="10" y="7"/>
                      </a:cubicBezTo>
                      <a:cubicBezTo>
                        <a:pt x="12" y="4"/>
                        <a:pt x="0" y="0"/>
                        <a:pt x="1" y="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0" name="Freeform 173">
                  <a:extLst>
                    <a:ext uri="{FF2B5EF4-FFF2-40B4-BE49-F238E27FC236}">
                      <a16:creationId xmlns:a16="http://schemas.microsoft.com/office/drawing/2014/main" id="{9DDEADAC-7962-4B54-8155-FE316B8F63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724406" y="-8347737"/>
                  <a:ext cx="155674" cy="61622"/>
                </a:xfrm>
                <a:custGeom>
                  <a:avLst/>
                  <a:gdLst>
                    <a:gd name="T0" fmla="*/ 17 w 25"/>
                    <a:gd name="T1" fmla="*/ 1 h 10"/>
                    <a:gd name="T2" fmla="*/ 1 w 25"/>
                    <a:gd name="T3" fmla="*/ 4 h 10"/>
                    <a:gd name="T4" fmla="*/ 12 w 25"/>
                    <a:gd name="T5" fmla="*/ 6 h 10"/>
                    <a:gd name="T6" fmla="*/ 22 w 25"/>
                    <a:gd name="T7" fmla="*/ 10 h 10"/>
                    <a:gd name="T8" fmla="*/ 17 w 25"/>
                    <a:gd name="T9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" h="10">
                      <a:moveTo>
                        <a:pt x="17" y="1"/>
                      </a:moveTo>
                      <a:cubicBezTo>
                        <a:pt x="11" y="0"/>
                        <a:pt x="0" y="1"/>
                        <a:pt x="1" y="4"/>
                      </a:cubicBezTo>
                      <a:cubicBezTo>
                        <a:pt x="2" y="7"/>
                        <a:pt x="7" y="6"/>
                        <a:pt x="12" y="6"/>
                      </a:cubicBezTo>
                      <a:cubicBezTo>
                        <a:pt x="17" y="6"/>
                        <a:pt x="20" y="10"/>
                        <a:pt x="22" y="10"/>
                      </a:cubicBezTo>
                      <a:cubicBezTo>
                        <a:pt x="25" y="10"/>
                        <a:pt x="23" y="3"/>
                        <a:pt x="17" y="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1" name="Freeform 174">
                  <a:extLst>
                    <a:ext uri="{FF2B5EF4-FFF2-40B4-BE49-F238E27FC236}">
                      <a16:creationId xmlns:a16="http://schemas.microsoft.com/office/drawing/2014/main" id="{2BF43798-8234-442A-8C2B-B9CF945EF4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575219" y="-8477465"/>
                  <a:ext cx="505941" cy="444321"/>
                </a:xfrm>
                <a:custGeom>
                  <a:avLst/>
                  <a:gdLst>
                    <a:gd name="T0" fmla="*/ 55 w 82"/>
                    <a:gd name="T1" fmla="*/ 12 h 72"/>
                    <a:gd name="T2" fmla="*/ 47 w 82"/>
                    <a:gd name="T3" fmla="*/ 18 h 72"/>
                    <a:gd name="T4" fmla="*/ 34 w 82"/>
                    <a:gd name="T5" fmla="*/ 26 h 72"/>
                    <a:gd name="T6" fmla="*/ 26 w 82"/>
                    <a:gd name="T7" fmla="*/ 6 h 72"/>
                    <a:gd name="T8" fmla="*/ 7 w 82"/>
                    <a:gd name="T9" fmla="*/ 4 h 72"/>
                    <a:gd name="T10" fmla="*/ 1 w 82"/>
                    <a:gd name="T11" fmla="*/ 9 h 72"/>
                    <a:gd name="T12" fmla="*/ 5 w 82"/>
                    <a:gd name="T13" fmla="*/ 11 h 72"/>
                    <a:gd name="T14" fmla="*/ 9 w 82"/>
                    <a:gd name="T15" fmla="*/ 17 h 72"/>
                    <a:gd name="T16" fmla="*/ 22 w 82"/>
                    <a:gd name="T17" fmla="*/ 17 h 72"/>
                    <a:gd name="T18" fmla="*/ 22 w 82"/>
                    <a:gd name="T19" fmla="*/ 20 h 72"/>
                    <a:gd name="T20" fmla="*/ 15 w 82"/>
                    <a:gd name="T21" fmla="*/ 21 h 72"/>
                    <a:gd name="T22" fmla="*/ 10 w 82"/>
                    <a:gd name="T23" fmla="*/ 22 h 72"/>
                    <a:gd name="T24" fmla="*/ 15 w 82"/>
                    <a:gd name="T25" fmla="*/ 29 h 72"/>
                    <a:gd name="T26" fmla="*/ 20 w 82"/>
                    <a:gd name="T27" fmla="*/ 29 h 72"/>
                    <a:gd name="T28" fmla="*/ 29 w 82"/>
                    <a:gd name="T29" fmla="*/ 32 h 72"/>
                    <a:gd name="T30" fmla="*/ 36 w 82"/>
                    <a:gd name="T31" fmla="*/ 36 h 72"/>
                    <a:gd name="T32" fmla="*/ 58 w 82"/>
                    <a:gd name="T33" fmla="*/ 43 h 72"/>
                    <a:gd name="T34" fmla="*/ 63 w 82"/>
                    <a:gd name="T35" fmla="*/ 53 h 72"/>
                    <a:gd name="T36" fmla="*/ 63 w 82"/>
                    <a:gd name="T37" fmla="*/ 60 h 72"/>
                    <a:gd name="T38" fmla="*/ 55 w 82"/>
                    <a:gd name="T39" fmla="*/ 66 h 72"/>
                    <a:gd name="T40" fmla="*/ 74 w 82"/>
                    <a:gd name="T41" fmla="*/ 65 h 72"/>
                    <a:gd name="T42" fmla="*/ 82 w 82"/>
                    <a:gd name="T43" fmla="*/ 72 h 72"/>
                    <a:gd name="T44" fmla="*/ 82 w 82"/>
                    <a:gd name="T45" fmla="*/ 21 h 72"/>
                    <a:gd name="T46" fmla="*/ 55 w 82"/>
                    <a:gd name="T47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82" h="72">
                      <a:moveTo>
                        <a:pt x="55" y="12"/>
                      </a:moveTo>
                      <a:cubicBezTo>
                        <a:pt x="51" y="12"/>
                        <a:pt x="51" y="18"/>
                        <a:pt x="47" y="18"/>
                      </a:cubicBezTo>
                      <a:cubicBezTo>
                        <a:pt x="44" y="18"/>
                        <a:pt x="40" y="24"/>
                        <a:pt x="34" y="26"/>
                      </a:cubicBezTo>
                      <a:cubicBezTo>
                        <a:pt x="29" y="28"/>
                        <a:pt x="28" y="10"/>
                        <a:pt x="26" y="6"/>
                      </a:cubicBezTo>
                      <a:cubicBezTo>
                        <a:pt x="23" y="3"/>
                        <a:pt x="9" y="0"/>
                        <a:pt x="7" y="4"/>
                      </a:cubicBezTo>
                      <a:cubicBezTo>
                        <a:pt x="6" y="8"/>
                        <a:pt x="1" y="6"/>
                        <a:pt x="1" y="9"/>
                      </a:cubicBezTo>
                      <a:cubicBezTo>
                        <a:pt x="0" y="12"/>
                        <a:pt x="2" y="11"/>
                        <a:pt x="5" y="11"/>
                      </a:cubicBezTo>
                      <a:cubicBezTo>
                        <a:pt x="8" y="11"/>
                        <a:pt x="8" y="14"/>
                        <a:pt x="9" y="17"/>
                      </a:cubicBezTo>
                      <a:cubicBezTo>
                        <a:pt x="11" y="20"/>
                        <a:pt x="19" y="18"/>
                        <a:pt x="22" y="17"/>
                      </a:cubicBezTo>
                      <a:cubicBezTo>
                        <a:pt x="25" y="17"/>
                        <a:pt x="26" y="21"/>
                        <a:pt x="22" y="20"/>
                      </a:cubicBezTo>
                      <a:cubicBezTo>
                        <a:pt x="17" y="18"/>
                        <a:pt x="17" y="22"/>
                        <a:pt x="15" y="21"/>
                      </a:cubicBezTo>
                      <a:cubicBezTo>
                        <a:pt x="12" y="20"/>
                        <a:pt x="8" y="21"/>
                        <a:pt x="10" y="22"/>
                      </a:cubicBezTo>
                      <a:cubicBezTo>
                        <a:pt x="12" y="24"/>
                        <a:pt x="15" y="26"/>
                        <a:pt x="15" y="29"/>
                      </a:cubicBezTo>
                      <a:cubicBezTo>
                        <a:pt x="15" y="33"/>
                        <a:pt x="20" y="32"/>
                        <a:pt x="20" y="29"/>
                      </a:cubicBezTo>
                      <a:cubicBezTo>
                        <a:pt x="20" y="26"/>
                        <a:pt x="23" y="30"/>
                        <a:pt x="29" y="32"/>
                      </a:cubicBezTo>
                      <a:cubicBezTo>
                        <a:pt x="34" y="33"/>
                        <a:pt x="30" y="35"/>
                        <a:pt x="36" y="36"/>
                      </a:cubicBezTo>
                      <a:cubicBezTo>
                        <a:pt x="41" y="36"/>
                        <a:pt x="54" y="40"/>
                        <a:pt x="58" y="43"/>
                      </a:cubicBezTo>
                      <a:cubicBezTo>
                        <a:pt x="63" y="47"/>
                        <a:pt x="60" y="49"/>
                        <a:pt x="63" y="53"/>
                      </a:cubicBezTo>
                      <a:cubicBezTo>
                        <a:pt x="66" y="56"/>
                        <a:pt x="67" y="60"/>
                        <a:pt x="63" y="60"/>
                      </a:cubicBezTo>
                      <a:cubicBezTo>
                        <a:pt x="58" y="60"/>
                        <a:pt x="54" y="64"/>
                        <a:pt x="55" y="66"/>
                      </a:cubicBezTo>
                      <a:cubicBezTo>
                        <a:pt x="56" y="68"/>
                        <a:pt x="70" y="65"/>
                        <a:pt x="74" y="65"/>
                      </a:cubicBezTo>
                      <a:cubicBezTo>
                        <a:pt x="76" y="65"/>
                        <a:pt x="78" y="69"/>
                        <a:pt x="82" y="72"/>
                      </a:cubicBezTo>
                      <a:cubicBezTo>
                        <a:pt x="82" y="21"/>
                        <a:pt x="82" y="21"/>
                        <a:pt x="82" y="21"/>
                      </a:cubicBezTo>
                      <a:cubicBezTo>
                        <a:pt x="72" y="18"/>
                        <a:pt x="58" y="11"/>
                        <a:pt x="55" y="1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2" name="Freeform 175">
                  <a:extLst>
                    <a:ext uri="{FF2B5EF4-FFF2-40B4-BE49-F238E27FC236}">
                      <a16:creationId xmlns:a16="http://schemas.microsoft.com/office/drawing/2014/main" id="{90BFAD9E-30DD-4894-AD9E-8DE9C20E07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139537" y="-8075307"/>
                  <a:ext cx="243242" cy="42163"/>
                </a:xfrm>
                <a:custGeom>
                  <a:avLst/>
                  <a:gdLst>
                    <a:gd name="T0" fmla="*/ 33 w 39"/>
                    <a:gd name="T1" fmla="*/ 1 h 7"/>
                    <a:gd name="T2" fmla="*/ 16 w 39"/>
                    <a:gd name="T3" fmla="*/ 2 h 7"/>
                    <a:gd name="T4" fmla="*/ 1 w 39"/>
                    <a:gd name="T5" fmla="*/ 5 h 7"/>
                    <a:gd name="T6" fmla="*/ 14 w 39"/>
                    <a:gd name="T7" fmla="*/ 7 h 7"/>
                    <a:gd name="T8" fmla="*/ 30 w 39"/>
                    <a:gd name="T9" fmla="*/ 3 h 7"/>
                    <a:gd name="T10" fmla="*/ 33 w 39"/>
                    <a:gd name="T11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" h="7">
                      <a:moveTo>
                        <a:pt x="33" y="1"/>
                      </a:moveTo>
                      <a:cubicBezTo>
                        <a:pt x="26" y="0"/>
                        <a:pt x="22" y="5"/>
                        <a:pt x="16" y="2"/>
                      </a:cubicBezTo>
                      <a:cubicBezTo>
                        <a:pt x="9" y="0"/>
                        <a:pt x="0" y="2"/>
                        <a:pt x="1" y="5"/>
                      </a:cubicBezTo>
                      <a:cubicBezTo>
                        <a:pt x="2" y="6"/>
                        <a:pt x="7" y="7"/>
                        <a:pt x="14" y="7"/>
                      </a:cubicBezTo>
                      <a:cubicBezTo>
                        <a:pt x="20" y="7"/>
                        <a:pt x="26" y="4"/>
                        <a:pt x="30" y="3"/>
                      </a:cubicBezTo>
                      <a:cubicBezTo>
                        <a:pt x="35" y="3"/>
                        <a:pt x="39" y="2"/>
                        <a:pt x="33" y="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3" name="Freeform 176">
                  <a:extLst>
                    <a:ext uri="{FF2B5EF4-FFF2-40B4-BE49-F238E27FC236}">
                      <a16:creationId xmlns:a16="http://schemas.microsoft.com/office/drawing/2014/main" id="{03304F60-534A-4DAA-A714-49FEBA317C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694127" y="-8821246"/>
                  <a:ext cx="544859" cy="548104"/>
                </a:xfrm>
                <a:custGeom>
                  <a:avLst/>
                  <a:gdLst>
                    <a:gd name="T0" fmla="*/ 67 w 88"/>
                    <a:gd name="T1" fmla="*/ 67 h 89"/>
                    <a:gd name="T2" fmla="*/ 71 w 88"/>
                    <a:gd name="T3" fmla="*/ 54 h 89"/>
                    <a:gd name="T4" fmla="*/ 83 w 88"/>
                    <a:gd name="T5" fmla="*/ 47 h 89"/>
                    <a:gd name="T6" fmla="*/ 78 w 88"/>
                    <a:gd name="T7" fmla="*/ 41 h 89"/>
                    <a:gd name="T8" fmla="*/ 75 w 88"/>
                    <a:gd name="T9" fmla="*/ 34 h 89"/>
                    <a:gd name="T10" fmla="*/ 73 w 88"/>
                    <a:gd name="T11" fmla="*/ 27 h 89"/>
                    <a:gd name="T12" fmla="*/ 73 w 88"/>
                    <a:gd name="T13" fmla="*/ 21 h 89"/>
                    <a:gd name="T14" fmla="*/ 74 w 88"/>
                    <a:gd name="T15" fmla="*/ 21 h 89"/>
                    <a:gd name="T16" fmla="*/ 79 w 88"/>
                    <a:gd name="T17" fmla="*/ 16 h 89"/>
                    <a:gd name="T18" fmla="*/ 87 w 88"/>
                    <a:gd name="T19" fmla="*/ 13 h 89"/>
                    <a:gd name="T20" fmla="*/ 81 w 88"/>
                    <a:gd name="T21" fmla="*/ 8 h 89"/>
                    <a:gd name="T22" fmla="*/ 74 w 88"/>
                    <a:gd name="T23" fmla="*/ 6 h 89"/>
                    <a:gd name="T24" fmla="*/ 67 w 88"/>
                    <a:gd name="T25" fmla="*/ 0 h 89"/>
                    <a:gd name="T26" fmla="*/ 60 w 88"/>
                    <a:gd name="T27" fmla="*/ 8 h 89"/>
                    <a:gd name="T28" fmla="*/ 56 w 88"/>
                    <a:gd name="T29" fmla="*/ 14 h 89"/>
                    <a:gd name="T30" fmla="*/ 54 w 88"/>
                    <a:gd name="T31" fmla="*/ 16 h 89"/>
                    <a:gd name="T32" fmla="*/ 50 w 88"/>
                    <a:gd name="T33" fmla="*/ 18 h 89"/>
                    <a:gd name="T34" fmla="*/ 45 w 88"/>
                    <a:gd name="T35" fmla="*/ 17 h 89"/>
                    <a:gd name="T36" fmla="*/ 45 w 88"/>
                    <a:gd name="T37" fmla="*/ 17 h 89"/>
                    <a:gd name="T38" fmla="*/ 37 w 88"/>
                    <a:gd name="T39" fmla="*/ 28 h 89"/>
                    <a:gd name="T40" fmla="*/ 26 w 88"/>
                    <a:gd name="T41" fmla="*/ 31 h 89"/>
                    <a:gd name="T42" fmla="*/ 21 w 88"/>
                    <a:gd name="T43" fmla="*/ 42 h 89"/>
                    <a:gd name="T44" fmla="*/ 9 w 88"/>
                    <a:gd name="T45" fmla="*/ 39 h 89"/>
                    <a:gd name="T46" fmla="*/ 8 w 88"/>
                    <a:gd name="T47" fmla="*/ 39 h 89"/>
                    <a:gd name="T48" fmla="*/ 3 w 88"/>
                    <a:gd name="T49" fmla="*/ 50 h 89"/>
                    <a:gd name="T50" fmla="*/ 7 w 88"/>
                    <a:gd name="T51" fmla="*/ 61 h 89"/>
                    <a:gd name="T52" fmla="*/ 14 w 88"/>
                    <a:gd name="T53" fmla="*/ 69 h 89"/>
                    <a:gd name="T54" fmla="*/ 21 w 88"/>
                    <a:gd name="T55" fmla="*/ 80 h 89"/>
                    <a:gd name="T56" fmla="*/ 28 w 88"/>
                    <a:gd name="T57" fmla="*/ 83 h 89"/>
                    <a:gd name="T58" fmla="*/ 38 w 88"/>
                    <a:gd name="T59" fmla="*/ 82 h 89"/>
                    <a:gd name="T60" fmla="*/ 49 w 88"/>
                    <a:gd name="T61" fmla="*/ 86 h 89"/>
                    <a:gd name="T62" fmla="*/ 60 w 88"/>
                    <a:gd name="T63" fmla="*/ 84 h 89"/>
                    <a:gd name="T64" fmla="*/ 67 w 88"/>
                    <a:gd name="T65" fmla="*/ 67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88" h="89">
                      <a:moveTo>
                        <a:pt x="67" y="67"/>
                      </a:moveTo>
                      <a:cubicBezTo>
                        <a:pt x="71" y="64"/>
                        <a:pt x="72" y="59"/>
                        <a:pt x="71" y="54"/>
                      </a:cubicBezTo>
                      <a:cubicBezTo>
                        <a:pt x="71" y="49"/>
                        <a:pt x="82" y="49"/>
                        <a:pt x="83" y="47"/>
                      </a:cubicBezTo>
                      <a:cubicBezTo>
                        <a:pt x="85" y="45"/>
                        <a:pt x="81" y="42"/>
                        <a:pt x="78" y="41"/>
                      </a:cubicBezTo>
                      <a:cubicBezTo>
                        <a:pt x="75" y="39"/>
                        <a:pt x="77" y="36"/>
                        <a:pt x="75" y="34"/>
                      </a:cubicBezTo>
                      <a:cubicBezTo>
                        <a:pt x="73" y="33"/>
                        <a:pt x="70" y="28"/>
                        <a:pt x="73" y="27"/>
                      </a:cubicBezTo>
                      <a:cubicBezTo>
                        <a:pt x="76" y="27"/>
                        <a:pt x="71" y="23"/>
                        <a:pt x="73" y="21"/>
                      </a:cubicBezTo>
                      <a:cubicBezTo>
                        <a:pt x="74" y="21"/>
                        <a:pt x="74" y="21"/>
                        <a:pt x="74" y="21"/>
                      </a:cubicBezTo>
                      <a:cubicBezTo>
                        <a:pt x="77" y="19"/>
                        <a:pt x="81" y="18"/>
                        <a:pt x="79" y="16"/>
                      </a:cubicBezTo>
                      <a:cubicBezTo>
                        <a:pt x="77" y="14"/>
                        <a:pt x="86" y="16"/>
                        <a:pt x="87" y="13"/>
                      </a:cubicBezTo>
                      <a:cubicBezTo>
                        <a:pt x="88" y="10"/>
                        <a:pt x="83" y="8"/>
                        <a:pt x="81" y="8"/>
                      </a:cubicBezTo>
                      <a:cubicBezTo>
                        <a:pt x="79" y="9"/>
                        <a:pt x="74" y="8"/>
                        <a:pt x="74" y="6"/>
                      </a:cubicBezTo>
                      <a:cubicBezTo>
                        <a:pt x="74" y="4"/>
                        <a:pt x="70" y="0"/>
                        <a:pt x="67" y="0"/>
                      </a:cubicBezTo>
                      <a:cubicBezTo>
                        <a:pt x="64" y="0"/>
                        <a:pt x="61" y="6"/>
                        <a:pt x="60" y="8"/>
                      </a:cubicBezTo>
                      <a:cubicBezTo>
                        <a:pt x="60" y="10"/>
                        <a:pt x="56" y="10"/>
                        <a:pt x="56" y="14"/>
                      </a:cubicBezTo>
                      <a:cubicBezTo>
                        <a:pt x="56" y="15"/>
                        <a:pt x="55" y="15"/>
                        <a:pt x="54" y="16"/>
                      </a:cubicBezTo>
                      <a:cubicBezTo>
                        <a:pt x="53" y="16"/>
                        <a:pt x="50" y="16"/>
                        <a:pt x="50" y="18"/>
                      </a:cubicBezTo>
                      <a:cubicBezTo>
                        <a:pt x="50" y="20"/>
                        <a:pt x="47" y="17"/>
                        <a:pt x="45" y="17"/>
                      </a:cubicBezTo>
                      <a:cubicBezTo>
                        <a:pt x="45" y="17"/>
                        <a:pt x="45" y="17"/>
                        <a:pt x="45" y="17"/>
                      </a:cubicBezTo>
                      <a:cubicBezTo>
                        <a:pt x="43" y="17"/>
                        <a:pt x="38" y="23"/>
                        <a:pt x="37" y="28"/>
                      </a:cubicBezTo>
                      <a:cubicBezTo>
                        <a:pt x="37" y="32"/>
                        <a:pt x="32" y="31"/>
                        <a:pt x="26" y="31"/>
                      </a:cubicBezTo>
                      <a:cubicBezTo>
                        <a:pt x="19" y="32"/>
                        <a:pt x="22" y="39"/>
                        <a:pt x="21" y="42"/>
                      </a:cubicBezTo>
                      <a:cubicBezTo>
                        <a:pt x="19" y="44"/>
                        <a:pt x="12" y="39"/>
                        <a:pt x="9" y="39"/>
                      </a:cubicBezTo>
                      <a:cubicBezTo>
                        <a:pt x="8" y="39"/>
                        <a:pt x="8" y="38"/>
                        <a:pt x="8" y="39"/>
                      </a:cubicBezTo>
                      <a:cubicBezTo>
                        <a:pt x="5" y="39"/>
                        <a:pt x="0" y="47"/>
                        <a:pt x="3" y="50"/>
                      </a:cubicBezTo>
                      <a:cubicBezTo>
                        <a:pt x="6" y="53"/>
                        <a:pt x="5" y="58"/>
                        <a:pt x="7" y="61"/>
                      </a:cubicBezTo>
                      <a:cubicBezTo>
                        <a:pt x="8" y="63"/>
                        <a:pt x="14" y="64"/>
                        <a:pt x="14" y="69"/>
                      </a:cubicBezTo>
                      <a:cubicBezTo>
                        <a:pt x="14" y="74"/>
                        <a:pt x="18" y="82"/>
                        <a:pt x="21" y="80"/>
                      </a:cubicBezTo>
                      <a:cubicBezTo>
                        <a:pt x="24" y="78"/>
                        <a:pt x="27" y="81"/>
                        <a:pt x="28" y="83"/>
                      </a:cubicBezTo>
                      <a:cubicBezTo>
                        <a:pt x="29" y="85"/>
                        <a:pt x="36" y="81"/>
                        <a:pt x="38" y="82"/>
                      </a:cubicBezTo>
                      <a:cubicBezTo>
                        <a:pt x="41" y="82"/>
                        <a:pt x="48" y="83"/>
                        <a:pt x="49" y="86"/>
                      </a:cubicBezTo>
                      <a:cubicBezTo>
                        <a:pt x="49" y="89"/>
                        <a:pt x="56" y="86"/>
                        <a:pt x="60" y="84"/>
                      </a:cubicBezTo>
                      <a:cubicBezTo>
                        <a:pt x="65" y="83"/>
                        <a:pt x="62" y="69"/>
                        <a:pt x="67" y="6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4" name="Freeform 177">
                  <a:extLst>
                    <a:ext uri="{FF2B5EF4-FFF2-40B4-BE49-F238E27FC236}">
                      <a16:creationId xmlns:a16="http://schemas.microsoft.com/office/drawing/2014/main" id="{680606FD-545A-4235-A340-3B1913C97D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843315" y="-8205036"/>
                  <a:ext cx="525400" cy="171891"/>
                </a:xfrm>
                <a:custGeom>
                  <a:avLst/>
                  <a:gdLst>
                    <a:gd name="T0" fmla="*/ 72 w 85"/>
                    <a:gd name="T1" fmla="*/ 19 h 28"/>
                    <a:gd name="T2" fmla="*/ 58 w 85"/>
                    <a:gd name="T3" fmla="*/ 17 h 28"/>
                    <a:gd name="T4" fmla="*/ 66 w 85"/>
                    <a:gd name="T5" fmla="*/ 12 h 28"/>
                    <a:gd name="T6" fmla="*/ 57 w 85"/>
                    <a:gd name="T7" fmla="*/ 12 h 28"/>
                    <a:gd name="T8" fmla="*/ 40 w 85"/>
                    <a:gd name="T9" fmla="*/ 10 h 28"/>
                    <a:gd name="T10" fmla="*/ 23 w 85"/>
                    <a:gd name="T11" fmla="*/ 6 h 28"/>
                    <a:gd name="T12" fmla="*/ 4 w 85"/>
                    <a:gd name="T13" fmla="*/ 5 h 28"/>
                    <a:gd name="T14" fmla="*/ 1 w 85"/>
                    <a:gd name="T15" fmla="*/ 10 h 28"/>
                    <a:gd name="T16" fmla="*/ 7 w 85"/>
                    <a:gd name="T17" fmla="*/ 11 h 28"/>
                    <a:gd name="T18" fmla="*/ 11 w 85"/>
                    <a:gd name="T19" fmla="*/ 15 h 28"/>
                    <a:gd name="T20" fmla="*/ 25 w 85"/>
                    <a:gd name="T21" fmla="*/ 17 h 28"/>
                    <a:gd name="T22" fmla="*/ 40 w 85"/>
                    <a:gd name="T23" fmla="*/ 20 h 28"/>
                    <a:gd name="T24" fmla="*/ 60 w 85"/>
                    <a:gd name="T25" fmla="*/ 24 h 28"/>
                    <a:gd name="T26" fmla="*/ 71 w 85"/>
                    <a:gd name="T27" fmla="*/ 24 h 28"/>
                    <a:gd name="T28" fmla="*/ 81 w 85"/>
                    <a:gd name="T29" fmla="*/ 24 h 28"/>
                    <a:gd name="T30" fmla="*/ 72 w 85"/>
                    <a:gd name="T31" fmla="*/ 19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5" h="28">
                      <a:moveTo>
                        <a:pt x="72" y="19"/>
                      </a:moveTo>
                      <a:cubicBezTo>
                        <a:pt x="72" y="17"/>
                        <a:pt x="63" y="19"/>
                        <a:pt x="58" y="17"/>
                      </a:cubicBezTo>
                      <a:cubicBezTo>
                        <a:pt x="54" y="15"/>
                        <a:pt x="63" y="14"/>
                        <a:pt x="66" y="12"/>
                      </a:cubicBezTo>
                      <a:cubicBezTo>
                        <a:pt x="70" y="10"/>
                        <a:pt x="65" y="9"/>
                        <a:pt x="57" y="12"/>
                      </a:cubicBezTo>
                      <a:cubicBezTo>
                        <a:pt x="49" y="14"/>
                        <a:pt x="41" y="6"/>
                        <a:pt x="40" y="10"/>
                      </a:cubicBezTo>
                      <a:cubicBezTo>
                        <a:pt x="40" y="13"/>
                        <a:pt x="27" y="8"/>
                        <a:pt x="23" y="6"/>
                      </a:cubicBezTo>
                      <a:cubicBezTo>
                        <a:pt x="20" y="3"/>
                        <a:pt x="7" y="0"/>
                        <a:pt x="4" y="5"/>
                      </a:cubicBezTo>
                      <a:cubicBezTo>
                        <a:pt x="2" y="9"/>
                        <a:pt x="0" y="5"/>
                        <a:pt x="1" y="10"/>
                      </a:cubicBezTo>
                      <a:cubicBezTo>
                        <a:pt x="1" y="12"/>
                        <a:pt x="4" y="11"/>
                        <a:pt x="7" y="11"/>
                      </a:cubicBezTo>
                      <a:cubicBezTo>
                        <a:pt x="9" y="11"/>
                        <a:pt x="8" y="15"/>
                        <a:pt x="11" y="15"/>
                      </a:cubicBezTo>
                      <a:cubicBezTo>
                        <a:pt x="14" y="16"/>
                        <a:pt x="24" y="19"/>
                        <a:pt x="25" y="17"/>
                      </a:cubicBezTo>
                      <a:cubicBezTo>
                        <a:pt x="26" y="14"/>
                        <a:pt x="36" y="17"/>
                        <a:pt x="40" y="20"/>
                      </a:cubicBezTo>
                      <a:cubicBezTo>
                        <a:pt x="45" y="24"/>
                        <a:pt x="56" y="24"/>
                        <a:pt x="60" y="24"/>
                      </a:cubicBezTo>
                      <a:cubicBezTo>
                        <a:pt x="65" y="23"/>
                        <a:pt x="69" y="26"/>
                        <a:pt x="71" y="24"/>
                      </a:cubicBezTo>
                      <a:cubicBezTo>
                        <a:pt x="73" y="22"/>
                        <a:pt x="76" y="28"/>
                        <a:pt x="81" y="24"/>
                      </a:cubicBezTo>
                      <a:cubicBezTo>
                        <a:pt x="85" y="21"/>
                        <a:pt x="73" y="22"/>
                        <a:pt x="72" y="1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5" name="Freeform 178">
                  <a:extLst>
                    <a:ext uri="{FF2B5EF4-FFF2-40B4-BE49-F238E27FC236}">
                      <a16:creationId xmlns:a16="http://schemas.microsoft.com/office/drawing/2014/main" id="{B1F7A549-E3CA-4668-B82B-9010CA9D4A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355742" y="-8779085"/>
                  <a:ext cx="574049" cy="599995"/>
                </a:xfrm>
                <a:custGeom>
                  <a:avLst/>
                  <a:gdLst>
                    <a:gd name="T0" fmla="*/ 86 w 93"/>
                    <a:gd name="T1" fmla="*/ 83 h 97"/>
                    <a:gd name="T2" fmla="*/ 88 w 93"/>
                    <a:gd name="T3" fmla="*/ 75 h 97"/>
                    <a:gd name="T4" fmla="*/ 91 w 93"/>
                    <a:gd name="T5" fmla="*/ 73 h 97"/>
                    <a:gd name="T6" fmla="*/ 91 w 93"/>
                    <a:gd name="T7" fmla="*/ 68 h 97"/>
                    <a:gd name="T8" fmla="*/ 85 w 93"/>
                    <a:gd name="T9" fmla="*/ 61 h 97"/>
                    <a:gd name="T10" fmla="*/ 84 w 93"/>
                    <a:gd name="T11" fmla="*/ 65 h 97"/>
                    <a:gd name="T12" fmla="*/ 87 w 93"/>
                    <a:gd name="T13" fmla="*/ 69 h 97"/>
                    <a:gd name="T14" fmla="*/ 82 w 93"/>
                    <a:gd name="T15" fmla="*/ 67 h 97"/>
                    <a:gd name="T16" fmla="*/ 77 w 93"/>
                    <a:gd name="T17" fmla="*/ 63 h 97"/>
                    <a:gd name="T18" fmla="*/ 70 w 93"/>
                    <a:gd name="T19" fmla="*/ 56 h 97"/>
                    <a:gd name="T20" fmla="*/ 68 w 93"/>
                    <a:gd name="T21" fmla="*/ 50 h 97"/>
                    <a:gd name="T22" fmla="*/ 64 w 93"/>
                    <a:gd name="T23" fmla="*/ 43 h 97"/>
                    <a:gd name="T24" fmla="*/ 60 w 93"/>
                    <a:gd name="T25" fmla="*/ 39 h 97"/>
                    <a:gd name="T26" fmla="*/ 56 w 93"/>
                    <a:gd name="T27" fmla="*/ 35 h 97"/>
                    <a:gd name="T28" fmla="*/ 51 w 93"/>
                    <a:gd name="T29" fmla="*/ 33 h 97"/>
                    <a:gd name="T30" fmla="*/ 44 w 93"/>
                    <a:gd name="T31" fmla="*/ 30 h 97"/>
                    <a:gd name="T32" fmla="*/ 37 w 93"/>
                    <a:gd name="T33" fmla="*/ 23 h 97"/>
                    <a:gd name="T34" fmla="*/ 24 w 93"/>
                    <a:gd name="T35" fmla="*/ 11 h 97"/>
                    <a:gd name="T36" fmla="*/ 12 w 93"/>
                    <a:gd name="T37" fmla="*/ 6 h 97"/>
                    <a:gd name="T38" fmla="*/ 2 w 93"/>
                    <a:gd name="T39" fmla="*/ 3 h 97"/>
                    <a:gd name="T40" fmla="*/ 13 w 93"/>
                    <a:gd name="T41" fmla="*/ 18 h 97"/>
                    <a:gd name="T42" fmla="*/ 24 w 93"/>
                    <a:gd name="T43" fmla="*/ 30 h 97"/>
                    <a:gd name="T44" fmla="*/ 32 w 93"/>
                    <a:gd name="T45" fmla="*/ 46 h 97"/>
                    <a:gd name="T46" fmla="*/ 45 w 93"/>
                    <a:gd name="T47" fmla="*/ 64 h 97"/>
                    <a:gd name="T48" fmla="*/ 57 w 93"/>
                    <a:gd name="T49" fmla="*/ 78 h 97"/>
                    <a:gd name="T50" fmla="*/ 71 w 93"/>
                    <a:gd name="T51" fmla="*/ 91 h 97"/>
                    <a:gd name="T52" fmla="*/ 75 w 93"/>
                    <a:gd name="T53" fmla="*/ 95 h 97"/>
                    <a:gd name="T54" fmla="*/ 84 w 93"/>
                    <a:gd name="T55" fmla="*/ 95 h 97"/>
                    <a:gd name="T56" fmla="*/ 86 w 93"/>
                    <a:gd name="T57" fmla="*/ 83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93" h="97">
                      <a:moveTo>
                        <a:pt x="86" y="83"/>
                      </a:moveTo>
                      <a:cubicBezTo>
                        <a:pt x="86" y="80"/>
                        <a:pt x="88" y="76"/>
                        <a:pt x="88" y="75"/>
                      </a:cubicBezTo>
                      <a:cubicBezTo>
                        <a:pt x="88" y="73"/>
                        <a:pt x="89" y="72"/>
                        <a:pt x="91" y="73"/>
                      </a:cubicBezTo>
                      <a:cubicBezTo>
                        <a:pt x="93" y="73"/>
                        <a:pt x="93" y="68"/>
                        <a:pt x="91" y="68"/>
                      </a:cubicBezTo>
                      <a:cubicBezTo>
                        <a:pt x="90" y="67"/>
                        <a:pt x="89" y="61"/>
                        <a:pt x="85" y="61"/>
                      </a:cubicBezTo>
                      <a:cubicBezTo>
                        <a:pt x="81" y="61"/>
                        <a:pt x="81" y="65"/>
                        <a:pt x="84" y="65"/>
                      </a:cubicBezTo>
                      <a:cubicBezTo>
                        <a:pt x="86" y="65"/>
                        <a:pt x="87" y="67"/>
                        <a:pt x="87" y="69"/>
                      </a:cubicBezTo>
                      <a:cubicBezTo>
                        <a:pt x="86" y="71"/>
                        <a:pt x="85" y="67"/>
                        <a:pt x="82" y="67"/>
                      </a:cubicBezTo>
                      <a:cubicBezTo>
                        <a:pt x="78" y="68"/>
                        <a:pt x="81" y="63"/>
                        <a:pt x="77" y="63"/>
                      </a:cubicBezTo>
                      <a:cubicBezTo>
                        <a:pt x="73" y="63"/>
                        <a:pt x="74" y="56"/>
                        <a:pt x="70" y="56"/>
                      </a:cubicBezTo>
                      <a:cubicBezTo>
                        <a:pt x="66" y="56"/>
                        <a:pt x="65" y="53"/>
                        <a:pt x="68" y="50"/>
                      </a:cubicBezTo>
                      <a:cubicBezTo>
                        <a:pt x="71" y="48"/>
                        <a:pt x="64" y="46"/>
                        <a:pt x="64" y="43"/>
                      </a:cubicBezTo>
                      <a:cubicBezTo>
                        <a:pt x="64" y="40"/>
                        <a:pt x="60" y="42"/>
                        <a:pt x="60" y="39"/>
                      </a:cubicBezTo>
                      <a:cubicBezTo>
                        <a:pt x="60" y="37"/>
                        <a:pt x="58" y="38"/>
                        <a:pt x="56" y="35"/>
                      </a:cubicBezTo>
                      <a:cubicBezTo>
                        <a:pt x="53" y="32"/>
                        <a:pt x="52" y="35"/>
                        <a:pt x="51" y="33"/>
                      </a:cubicBezTo>
                      <a:cubicBezTo>
                        <a:pt x="49" y="31"/>
                        <a:pt x="46" y="30"/>
                        <a:pt x="44" y="30"/>
                      </a:cubicBezTo>
                      <a:cubicBezTo>
                        <a:pt x="43" y="31"/>
                        <a:pt x="39" y="27"/>
                        <a:pt x="37" y="23"/>
                      </a:cubicBezTo>
                      <a:cubicBezTo>
                        <a:pt x="36" y="20"/>
                        <a:pt x="25" y="15"/>
                        <a:pt x="24" y="11"/>
                      </a:cubicBezTo>
                      <a:cubicBezTo>
                        <a:pt x="22" y="7"/>
                        <a:pt x="19" y="6"/>
                        <a:pt x="12" y="6"/>
                      </a:cubicBezTo>
                      <a:cubicBezTo>
                        <a:pt x="6" y="6"/>
                        <a:pt x="3" y="0"/>
                        <a:pt x="2" y="3"/>
                      </a:cubicBezTo>
                      <a:cubicBezTo>
                        <a:pt x="0" y="7"/>
                        <a:pt x="9" y="16"/>
                        <a:pt x="13" y="18"/>
                      </a:cubicBezTo>
                      <a:cubicBezTo>
                        <a:pt x="17" y="21"/>
                        <a:pt x="19" y="29"/>
                        <a:pt x="24" y="30"/>
                      </a:cubicBezTo>
                      <a:cubicBezTo>
                        <a:pt x="28" y="30"/>
                        <a:pt x="29" y="45"/>
                        <a:pt x="32" y="46"/>
                      </a:cubicBezTo>
                      <a:cubicBezTo>
                        <a:pt x="36" y="46"/>
                        <a:pt x="44" y="58"/>
                        <a:pt x="45" y="64"/>
                      </a:cubicBezTo>
                      <a:cubicBezTo>
                        <a:pt x="46" y="71"/>
                        <a:pt x="54" y="74"/>
                        <a:pt x="57" y="78"/>
                      </a:cubicBezTo>
                      <a:cubicBezTo>
                        <a:pt x="59" y="83"/>
                        <a:pt x="70" y="89"/>
                        <a:pt x="71" y="91"/>
                      </a:cubicBezTo>
                      <a:cubicBezTo>
                        <a:pt x="72" y="93"/>
                        <a:pt x="74" y="97"/>
                        <a:pt x="75" y="95"/>
                      </a:cubicBezTo>
                      <a:cubicBezTo>
                        <a:pt x="76" y="93"/>
                        <a:pt x="81" y="95"/>
                        <a:pt x="84" y="95"/>
                      </a:cubicBezTo>
                      <a:cubicBezTo>
                        <a:pt x="86" y="95"/>
                        <a:pt x="87" y="86"/>
                        <a:pt x="86" y="8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6" name="Freeform 179">
                  <a:extLst>
                    <a:ext uri="{FF2B5EF4-FFF2-40B4-BE49-F238E27FC236}">
                      <a16:creationId xmlns:a16="http://schemas.microsoft.com/office/drawing/2014/main" id="{BEA48F9B-E2DC-45E8-9237-A4E31811CD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324401" y="-8088280"/>
                  <a:ext cx="162161" cy="74595"/>
                </a:xfrm>
                <a:custGeom>
                  <a:avLst/>
                  <a:gdLst>
                    <a:gd name="T0" fmla="*/ 12 w 26"/>
                    <a:gd name="T1" fmla="*/ 3 h 12"/>
                    <a:gd name="T2" fmla="*/ 5 w 26"/>
                    <a:gd name="T3" fmla="*/ 3 h 12"/>
                    <a:gd name="T4" fmla="*/ 1 w 26"/>
                    <a:gd name="T5" fmla="*/ 8 h 12"/>
                    <a:gd name="T6" fmla="*/ 13 w 26"/>
                    <a:gd name="T7" fmla="*/ 10 h 12"/>
                    <a:gd name="T8" fmla="*/ 24 w 26"/>
                    <a:gd name="T9" fmla="*/ 6 h 12"/>
                    <a:gd name="T10" fmla="*/ 12 w 26"/>
                    <a:gd name="T11" fmla="*/ 3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" h="12">
                      <a:moveTo>
                        <a:pt x="12" y="3"/>
                      </a:moveTo>
                      <a:cubicBezTo>
                        <a:pt x="11" y="5"/>
                        <a:pt x="7" y="5"/>
                        <a:pt x="5" y="3"/>
                      </a:cubicBezTo>
                      <a:cubicBezTo>
                        <a:pt x="3" y="2"/>
                        <a:pt x="0" y="6"/>
                        <a:pt x="1" y="8"/>
                      </a:cubicBezTo>
                      <a:cubicBezTo>
                        <a:pt x="2" y="9"/>
                        <a:pt x="7" y="12"/>
                        <a:pt x="13" y="10"/>
                      </a:cubicBezTo>
                      <a:cubicBezTo>
                        <a:pt x="19" y="7"/>
                        <a:pt x="23" y="9"/>
                        <a:pt x="24" y="6"/>
                      </a:cubicBezTo>
                      <a:cubicBezTo>
                        <a:pt x="26" y="3"/>
                        <a:pt x="13" y="0"/>
                        <a:pt x="12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7" name="Freeform 180">
                  <a:extLst>
                    <a:ext uri="{FF2B5EF4-FFF2-40B4-BE49-F238E27FC236}">
                      <a16:creationId xmlns:a16="http://schemas.microsoft.com/office/drawing/2014/main" id="{55D25102-D2CF-4D92-8966-A3EC885C4B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181700" y="-8013687"/>
                  <a:ext cx="100541" cy="61622"/>
                </a:xfrm>
                <a:custGeom>
                  <a:avLst/>
                  <a:gdLst>
                    <a:gd name="T0" fmla="*/ 1 w 16"/>
                    <a:gd name="T1" fmla="*/ 2 h 10"/>
                    <a:gd name="T2" fmla="*/ 8 w 16"/>
                    <a:gd name="T3" fmla="*/ 6 h 10"/>
                    <a:gd name="T4" fmla="*/ 16 w 16"/>
                    <a:gd name="T5" fmla="*/ 6 h 10"/>
                    <a:gd name="T6" fmla="*/ 1 w 16"/>
                    <a:gd name="T7" fmla="*/ 2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10">
                      <a:moveTo>
                        <a:pt x="1" y="2"/>
                      </a:moveTo>
                      <a:cubicBezTo>
                        <a:pt x="3" y="4"/>
                        <a:pt x="7" y="4"/>
                        <a:pt x="8" y="6"/>
                      </a:cubicBezTo>
                      <a:cubicBezTo>
                        <a:pt x="10" y="7"/>
                        <a:pt x="16" y="10"/>
                        <a:pt x="16" y="6"/>
                      </a:cubicBezTo>
                      <a:cubicBezTo>
                        <a:pt x="16" y="2"/>
                        <a:pt x="0" y="0"/>
                        <a:pt x="1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8" name="Freeform 181">
                  <a:extLst>
                    <a:ext uri="{FF2B5EF4-FFF2-40B4-BE49-F238E27FC236}">
                      <a16:creationId xmlns:a16="http://schemas.microsoft.com/office/drawing/2014/main" id="{3550AF73-D97E-4738-9BE6-C6245D3B447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4915757" y="-8075307"/>
                  <a:ext cx="168647" cy="68108"/>
                </a:xfrm>
                <a:custGeom>
                  <a:avLst/>
                  <a:gdLst>
                    <a:gd name="T0" fmla="*/ 3 w 27"/>
                    <a:gd name="T1" fmla="*/ 8 h 11"/>
                    <a:gd name="T2" fmla="*/ 0 w 27"/>
                    <a:gd name="T3" fmla="*/ 9 h 11"/>
                    <a:gd name="T4" fmla="*/ 3 w 27"/>
                    <a:gd name="T5" fmla="*/ 10 h 11"/>
                    <a:gd name="T6" fmla="*/ 4 w 27"/>
                    <a:gd name="T7" fmla="*/ 8 h 11"/>
                    <a:gd name="T8" fmla="*/ 3 w 27"/>
                    <a:gd name="T9" fmla="*/ 8 h 11"/>
                    <a:gd name="T10" fmla="*/ 3 w 27"/>
                    <a:gd name="T11" fmla="*/ 8 h 11"/>
                    <a:gd name="T12" fmla="*/ 14 w 27"/>
                    <a:gd name="T13" fmla="*/ 2 h 11"/>
                    <a:gd name="T14" fmla="*/ 7 w 27"/>
                    <a:gd name="T15" fmla="*/ 6 h 11"/>
                    <a:gd name="T16" fmla="*/ 7 w 27"/>
                    <a:gd name="T17" fmla="*/ 7 h 11"/>
                    <a:gd name="T18" fmla="*/ 9 w 27"/>
                    <a:gd name="T19" fmla="*/ 9 h 11"/>
                    <a:gd name="T20" fmla="*/ 26 w 27"/>
                    <a:gd name="T21" fmla="*/ 2 h 11"/>
                    <a:gd name="T22" fmla="*/ 14 w 27"/>
                    <a:gd name="T23" fmla="*/ 2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7" h="11">
                      <a:moveTo>
                        <a:pt x="3" y="8"/>
                      </a:moveTo>
                      <a:cubicBezTo>
                        <a:pt x="2" y="8"/>
                        <a:pt x="1" y="8"/>
                        <a:pt x="0" y="9"/>
                      </a:cubicBezTo>
                      <a:cubicBezTo>
                        <a:pt x="1" y="10"/>
                        <a:pt x="2" y="11"/>
                        <a:pt x="3" y="10"/>
                      </a:cubicBezTo>
                      <a:cubicBezTo>
                        <a:pt x="3" y="10"/>
                        <a:pt x="4" y="9"/>
                        <a:pt x="4" y="8"/>
                      </a:cubicBezTo>
                      <a:cubicBezTo>
                        <a:pt x="4" y="8"/>
                        <a:pt x="3" y="8"/>
                        <a:pt x="3" y="8"/>
                      </a:cubicBezTo>
                      <a:cubicBezTo>
                        <a:pt x="3" y="8"/>
                        <a:pt x="3" y="8"/>
                        <a:pt x="3" y="8"/>
                      </a:cubicBezTo>
                      <a:close/>
                      <a:moveTo>
                        <a:pt x="14" y="2"/>
                      </a:moveTo>
                      <a:cubicBezTo>
                        <a:pt x="11" y="2"/>
                        <a:pt x="10" y="4"/>
                        <a:pt x="7" y="6"/>
                      </a:cubicBezTo>
                      <a:cubicBezTo>
                        <a:pt x="7" y="6"/>
                        <a:pt x="7" y="7"/>
                        <a:pt x="7" y="7"/>
                      </a:cubicBezTo>
                      <a:cubicBezTo>
                        <a:pt x="7" y="7"/>
                        <a:pt x="8" y="8"/>
                        <a:pt x="9" y="9"/>
                      </a:cubicBezTo>
                      <a:cubicBezTo>
                        <a:pt x="14" y="7"/>
                        <a:pt x="25" y="3"/>
                        <a:pt x="26" y="2"/>
                      </a:cubicBezTo>
                      <a:cubicBezTo>
                        <a:pt x="27" y="0"/>
                        <a:pt x="19" y="2"/>
                        <a:pt x="14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9" name="Freeform 182">
                  <a:extLst>
                    <a:ext uri="{FF2B5EF4-FFF2-40B4-BE49-F238E27FC236}">
                      <a16:creationId xmlns:a16="http://schemas.microsoft.com/office/drawing/2014/main" id="{5C29873B-EFF3-44E4-BFAA-C1E8B0B5F5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695158" y="-11046088"/>
                  <a:ext cx="577291" cy="622696"/>
                </a:xfrm>
                <a:custGeom>
                  <a:avLst/>
                  <a:gdLst>
                    <a:gd name="T0" fmla="*/ 65 w 93"/>
                    <a:gd name="T1" fmla="*/ 88 h 101"/>
                    <a:gd name="T2" fmla="*/ 55 w 93"/>
                    <a:gd name="T3" fmla="*/ 88 h 101"/>
                    <a:gd name="T4" fmla="*/ 48 w 93"/>
                    <a:gd name="T5" fmla="*/ 91 h 101"/>
                    <a:gd name="T6" fmla="*/ 56 w 93"/>
                    <a:gd name="T7" fmla="*/ 96 h 101"/>
                    <a:gd name="T8" fmla="*/ 66 w 93"/>
                    <a:gd name="T9" fmla="*/ 101 h 101"/>
                    <a:gd name="T10" fmla="*/ 68 w 93"/>
                    <a:gd name="T11" fmla="*/ 96 h 101"/>
                    <a:gd name="T12" fmla="*/ 71 w 93"/>
                    <a:gd name="T13" fmla="*/ 88 h 101"/>
                    <a:gd name="T14" fmla="*/ 65 w 93"/>
                    <a:gd name="T15" fmla="*/ 88 h 101"/>
                    <a:gd name="T16" fmla="*/ 19 w 93"/>
                    <a:gd name="T17" fmla="*/ 61 h 101"/>
                    <a:gd name="T18" fmla="*/ 13 w 93"/>
                    <a:gd name="T19" fmla="*/ 62 h 101"/>
                    <a:gd name="T20" fmla="*/ 16 w 93"/>
                    <a:gd name="T21" fmla="*/ 73 h 101"/>
                    <a:gd name="T22" fmla="*/ 19 w 93"/>
                    <a:gd name="T23" fmla="*/ 80 h 101"/>
                    <a:gd name="T24" fmla="*/ 25 w 93"/>
                    <a:gd name="T25" fmla="*/ 77 h 101"/>
                    <a:gd name="T26" fmla="*/ 26 w 93"/>
                    <a:gd name="T27" fmla="*/ 64 h 101"/>
                    <a:gd name="T28" fmla="*/ 19 w 93"/>
                    <a:gd name="T29" fmla="*/ 61 h 101"/>
                    <a:gd name="T30" fmla="*/ 77 w 93"/>
                    <a:gd name="T31" fmla="*/ 57 h 101"/>
                    <a:gd name="T32" fmla="*/ 71 w 93"/>
                    <a:gd name="T33" fmla="*/ 52 h 101"/>
                    <a:gd name="T34" fmla="*/ 58 w 93"/>
                    <a:gd name="T35" fmla="*/ 39 h 101"/>
                    <a:gd name="T36" fmla="*/ 47 w 93"/>
                    <a:gd name="T37" fmla="*/ 28 h 101"/>
                    <a:gd name="T38" fmla="*/ 47 w 93"/>
                    <a:gd name="T39" fmla="*/ 20 h 101"/>
                    <a:gd name="T40" fmla="*/ 51 w 93"/>
                    <a:gd name="T41" fmla="*/ 15 h 101"/>
                    <a:gd name="T42" fmla="*/ 51 w 93"/>
                    <a:gd name="T43" fmla="*/ 5 h 101"/>
                    <a:gd name="T44" fmla="*/ 47 w 93"/>
                    <a:gd name="T45" fmla="*/ 4 h 101"/>
                    <a:gd name="T46" fmla="*/ 46 w 93"/>
                    <a:gd name="T47" fmla="*/ 0 h 101"/>
                    <a:gd name="T48" fmla="*/ 39 w 93"/>
                    <a:gd name="T49" fmla="*/ 1 h 101"/>
                    <a:gd name="T50" fmla="*/ 34 w 93"/>
                    <a:gd name="T51" fmla="*/ 3 h 101"/>
                    <a:gd name="T52" fmla="*/ 33 w 93"/>
                    <a:gd name="T53" fmla="*/ 2 h 101"/>
                    <a:gd name="T54" fmla="*/ 32 w 93"/>
                    <a:gd name="T55" fmla="*/ 4 h 101"/>
                    <a:gd name="T56" fmla="*/ 30 w 93"/>
                    <a:gd name="T57" fmla="*/ 6 h 101"/>
                    <a:gd name="T58" fmla="*/ 28 w 93"/>
                    <a:gd name="T59" fmla="*/ 7 h 101"/>
                    <a:gd name="T60" fmla="*/ 24 w 93"/>
                    <a:gd name="T61" fmla="*/ 8 h 101"/>
                    <a:gd name="T62" fmla="*/ 21 w 93"/>
                    <a:gd name="T63" fmla="*/ 9 h 101"/>
                    <a:gd name="T64" fmla="*/ 19 w 93"/>
                    <a:gd name="T65" fmla="*/ 12 h 101"/>
                    <a:gd name="T66" fmla="*/ 15 w 93"/>
                    <a:gd name="T67" fmla="*/ 7 h 101"/>
                    <a:gd name="T68" fmla="*/ 11 w 93"/>
                    <a:gd name="T69" fmla="*/ 12 h 101"/>
                    <a:gd name="T70" fmla="*/ 4 w 93"/>
                    <a:gd name="T71" fmla="*/ 13 h 101"/>
                    <a:gd name="T72" fmla="*/ 5 w 93"/>
                    <a:gd name="T73" fmla="*/ 17 h 101"/>
                    <a:gd name="T74" fmla="*/ 3 w 93"/>
                    <a:gd name="T75" fmla="*/ 20 h 101"/>
                    <a:gd name="T76" fmla="*/ 1 w 93"/>
                    <a:gd name="T77" fmla="*/ 22 h 101"/>
                    <a:gd name="T78" fmla="*/ 4 w 93"/>
                    <a:gd name="T79" fmla="*/ 26 h 101"/>
                    <a:gd name="T80" fmla="*/ 6 w 93"/>
                    <a:gd name="T81" fmla="*/ 30 h 101"/>
                    <a:gd name="T82" fmla="*/ 9 w 93"/>
                    <a:gd name="T83" fmla="*/ 31 h 101"/>
                    <a:gd name="T84" fmla="*/ 8 w 93"/>
                    <a:gd name="T85" fmla="*/ 34 h 101"/>
                    <a:gd name="T86" fmla="*/ 12 w 93"/>
                    <a:gd name="T87" fmla="*/ 33 h 101"/>
                    <a:gd name="T88" fmla="*/ 18 w 93"/>
                    <a:gd name="T89" fmla="*/ 28 h 101"/>
                    <a:gd name="T90" fmla="*/ 29 w 93"/>
                    <a:gd name="T91" fmla="*/ 33 h 101"/>
                    <a:gd name="T92" fmla="*/ 32 w 93"/>
                    <a:gd name="T93" fmla="*/ 37 h 101"/>
                    <a:gd name="T94" fmla="*/ 39 w 93"/>
                    <a:gd name="T95" fmla="*/ 47 h 101"/>
                    <a:gd name="T96" fmla="*/ 50 w 93"/>
                    <a:gd name="T97" fmla="*/ 57 h 101"/>
                    <a:gd name="T98" fmla="*/ 58 w 93"/>
                    <a:gd name="T99" fmla="*/ 60 h 101"/>
                    <a:gd name="T100" fmla="*/ 65 w 93"/>
                    <a:gd name="T101" fmla="*/ 65 h 101"/>
                    <a:gd name="T102" fmla="*/ 71 w 93"/>
                    <a:gd name="T103" fmla="*/ 69 h 101"/>
                    <a:gd name="T104" fmla="*/ 73 w 93"/>
                    <a:gd name="T105" fmla="*/ 74 h 101"/>
                    <a:gd name="T106" fmla="*/ 74 w 93"/>
                    <a:gd name="T107" fmla="*/ 83 h 101"/>
                    <a:gd name="T108" fmla="*/ 74 w 93"/>
                    <a:gd name="T109" fmla="*/ 89 h 101"/>
                    <a:gd name="T110" fmla="*/ 78 w 93"/>
                    <a:gd name="T111" fmla="*/ 82 h 101"/>
                    <a:gd name="T112" fmla="*/ 83 w 93"/>
                    <a:gd name="T113" fmla="*/ 78 h 101"/>
                    <a:gd name="T114" fmla="*/ 79 w 93"/>
                    <a:gd name="T115" fmla="*/ 71 h 101"/>
                    <a:gd name="T116" fmla="*/ 87 w 93"/>
                    <a:gd name="T117" fmla="*/ 68 h 101"/>
                    <a:gd name="T118" fmla="*/ 93 w 93"/>
                    <a:gd name="T119" fmla="*/ 68 h 101"/>
                    <a:gd name="T120" fmla="*/ 77 w 93"/>
                    <a:gd name="T121" fmla="*/ 57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93" h="101">
                      <a:moveTo>
                        <a:pt x="65" y="88"/>
                      </a:moveTo>
                      <a:cubicBezTo>
                        <a:pt x="60" y="89"/>
                        <a:pt x="58" y="89"/>
                        <a:pt x="55" y="88"/>
                      </a:cubicBezTo>
                      <a:cubicBezTo>
                        <a:pt x="52" y="86"/>
                        <a:pt x="47" y="89"/>
                        <a:pt x="48" y="91"/>
                      </a:cubicBezTo>
                      <a:cubicBezTo>
                        <a:pt x="49" y="92"/>
                        <a:pt x="50" y="94"/>
                        <a:pt x="56" y="96"/>
                      </a:cubicBezTo>
                      <a:cubicBezTo>
                        <a:pt x="62" y="97"/>
                        <a:pt x="63" y="101"/>
                        <a:pt x="66" y="101"/>
                      </a:cubicBezTo>
                      <a:cubicBezTo>
                        <a:pt x="68" y="101"/>
                        <a:pt x="68" y="99"/>
                        <a:pt x="68" y="96"/>
                      </a:cubicBezTo>
                      <a:cubicBezTo>
                        <a:pt x="67" y="93"/>
                        <a:pt x="71" y="89"/>
                        <a:pt x="71" y="88"/>
                      </a:cubicBezTo>
                      <a:cubicBezTo>
                        <a:pt x="71" y="88"/>
                        <a:pt x="69" y="87"/>
                        <a:pt x="65" y="88"/>
                      </a:cubicBezTo>
                      <a:close/>
                      <a:moveTo>
                        <a:pt x="19" y="61"/>
                      </a:moveTo>
                      <a:cubicBezTo>
                        <a:pt x="16" y="63"/>
                        <a:pt x="14" y="60"/>
                        <a:pt x="13" y="62"/>
                      </a:cubicBezTo>
                      <a:cubicBezTo>
                        <a:pt x="11" y="65"/>
                        <a:pt x="17" y="68"/>
                        <a:pt x="16" y="73"/>
                      </a:cubicBezTo>
                      <a:cubicBezTo>
                        <a:pt x="15" y="77"/>
                        <a:pt x="16" y="83"/>
                        <a:pt x="19" y="80"/>
                      </a:cubicBezTo>
                      <a:cubicBezTo>
                        <a:pt x="22" y="78"/>
                        <a:pt x="23" y="79"/>
                        <a:pt x="25" y="77"/>
                      </a:cubicBezTo>
                      <a:cubicBezTo>
                        <a:pt x="26" y="75"/>
                        <a:pt x="25" y="67"/>
                        <a:pt x="26" y="64"/>
                      </a:cubicBezTo>
                      <a:cubicBezTo>
                        <a:pt x="27" y="60"/>
                        <a:pt x="21" y="59"/>
                        <a:pt x="19" y="61"/>
                      </a:cubicBezTo>
                      <a:close/>
                      <a:moveTo>
                        <a:pt x="77" y="57"/>
                      </a:moveTo>
                      <a:cubicBezTo>
                        <a:pt x="74" y="55"/>
                        <a:pt x="76" y="52"/>
                        <a:pt x="71" y="52"/>
                      </a:cubicBezTo>
                      <a:cubicBezTo>
                        <a:pt x="66" y="53"/>
                        <a:pt x="60" y="46"/>
                        <a:pt x="58" y="39"/>
                      </a:cubicBezTo>
                      <a:cubicBezTo>
                        <a:pt x="57" y="32"/>
                        <a:pt x="49" y="32"/>
                        <a:pt x="47" y="28"/>
                      </a:cubicBezTo>
                      <a:cubicBezTo>
                        <a:pt x="45" y="24"/>
                        <a:pt x="49" y="23"/>
                        <a:pt x="47" y="20"/>
                      </a:cubicBezTo>
                      <a:cubicBezTo>
                        <a:pt x="46" y="18"/>
                        <a:pt x="48" y="16"/>
                        <a:pt x="51" y="15"/>
                      </a:cubicBezTo>
                      <a:cubicBezTo>
                        <a:pt x="51" y="11"/>
                        <a:pt x="51" y="7"/>
                        <a:pt x="51" y="5"/>
                      </a:cubicBezTo>
                      <a:cubicBezTo>
                        <a:pt x="49" y="4"/>
                        <a:pt x="48" y="4"/>
                        <a:pt x="47" y="4"/>
                      </a:cubicBezTo>
                      <a:cubicBezTo>
                        <a:pt x="46" y="3"/>
                        <a:pt x="46" y="0"/>
                        <a:pt x="46" y="0"/>
                      </a:cubicBezTo>
                      <a:cubicBezTo>
                        <a:pt x="45" y="0"/>
                        <a:pt x="40" y="0"/>
                        <a:pt x="39" y="1"/>
                      </a:cubicBezTo>
                      <a:cubicBezTo>
                        <a:pt x="38" y="2"/>
                        <a:pt x="36" y="4"/>
                        <a:pt x="34" y="3"/>
                      </a:cubicBezTo>
                      <a:cubicBezTo>
                        <a:pt x="34" y="3"/>
                        <a:pt x="33" y="2"/>
                        <a:pt x="33" y="2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2" y="4"/>
                        <a:pt x="31" y="6"/>
                        <a:pt x="30" y="6"/>
                      </a:cubicBezTo>
                      <a:cubicBezTo>
                        <a:pt x="29" y="6"/>
                        <a:pt x="28" y="5"/>
                        <a:pt x="28" y="7"/>
                      </a:cubicBezTo>
                      <a:cubicBezTo>
                        <a:pt x="28" y="8"/>
                        <a:pt x="25" y="8"/>
                        <a:pt x="24" y="8"/>
                      </a:cubicBezTo>
                      <a:cubicBezTo>
                        <a:pt x="23" y="7"/>
                        <a:pt x="21" y="8"/>
                        <a:pt x="21" y="9"/>
                      </a:cubicBezTo>
                      <a:cubicBezTo>
                        <a:pt x="21" y="11"/>
                        <a:pt x="21" y="14"/>
                        <a:pt x="19" y="12"/>
                      </a:cubicBezTo>
                      <a:cubicBezTo>
                        <a:pt x="17" y="10"/>
                        <a:pt x="15" y="6"/>
                        <a:pt x="15" y="7"/>
                      </a:cubicBezTo>
                      <a:cubicBezTo>
                        <a:pt x="14" y="7"/>
                        <a:pt x="12" y="12"/>
                        <a:pt x="11" y="12"/>
                      </a:cubicBezTo>
                      <a:cubicBezTo>
                        <a:pt x="10" y="12"/>
                        <a:pt x="6" y="13"/>
                        <a:pt x="4" y="13"/>
                      </a:cubicBezTo>
                      <a:cubicBezTo>
                        <a:pt x="3" y="15"/>
                        <a:pt x="4" y="16"/>
                        <a:pt x="5" y="17"/>
                      </a:cubicBezTo>
                      <a:cubicBezTo>
                        <a:pt x="6" y="17"/>
                        <a:pt x="4" y="19"/>
                        <a:pt x="3" y="20"/>
                      </a:cubicBezTo>
                      <a:cubicBezTo>
                        <a:pt x="2" y="20"/>
                        <a:pt x="0" y="20"/>
                        <a:pt x="1" y="22"/>
                      </a:cubicBezTo>
                      <a:cubicBezTo>
                        <a:pt x="3" y="24"/>
                        <a:pt x="5" y="24"/>
                        <a:pt x="4" y="26"/>
                      </a:cubicBezTo>
                      <a:cubicBezTo>
                        <a:pt x="3" y="28"/>
                        <a:pt x="4" y="30"/>
                        <a:pt x="6" y="30"/>
                      </a:cubicBezTo>
                      <a:cubicBezTo>
                        <a:pt x="7" y="30"/>
                        <a:pt x="10" y="30"/>
                        <a:pt x="9" y="31"/>
                      </a:cubicBezTo>
                      <a:cubicBezTo>
                        <a:pt x="9" y="32"/>
                        <a:pt x="9" y="33"/>
                        <a:pt x="8" y="34"/>
                      </a:cubicBezTo>
                      <a:cubicBezTo>
                        <a:pt x="10" y="33"/>
                        <a:pt x="11" y="33"/>
                        <a:pt x="12" y="33"/>
                      </a:cubicBezTo>
                      <a:cubicBezTo>
                        <a:pt x="15" y="31"/>
                        <a:pt x="14" y="29"/>
                        <a:pt x="18" y="28"/>
                      </a:cubicBezTo>
                      <a:cubicBezTo>
                        <a:pt x="22" y="27"/>
                        <a:pt x="28" y="30"/>
                        <a:pt x="29" y="33"/>
                      </a:cubicBezTo>
                      <a:cubicBezTo>
                        <a:pt x="31" y="35"/>
                        <a:pt x="31" y="35"/>
                        <a:pt x="32" y="37"/>
                      </a:cubicBezTo>
                      <a:cubicBezTo>
                        <a:pt x="32" y="39"/>
                        <a:pt x="34" y="43"/>
                        <a:pt x="39" y="47"/>
                      </a:cubicBezTo>
                      <a:cubicBezTo>
                        <a:pt x="45" y="51"/>
                        <a:pt x="47" y="55"/>
                        <a:pt x="50" y="57"/>
                      </a:cubicBezTo>
                      <a:cubicBezTo>
                        <a:pt x="53" y="58"/>
                        <a:pt x="56" y="58"/>
                        <a:pt x="58" y="60"/>
                      </a:cubicBezTo>
                      <a:cubicBezTo>
                        <a:pt x="60" y="62"/>
                        <a:pt x="62" y="63"/>
                        <a:pt x="65" y="65"/>
                      </a:cubicBezTo>
                      <a:cubicBezTo>
                        <a:pt x="68" y="66"/>
                        <a:pt x="68" y="69"/>
                        <a:pt x="71" y="69"/>
                      </a:cubicBezTo>
                      <a:cubicBezTo>
                        <a:pt x="73" y="70"/>
                        <a:pt x="72" y="72"/>
                        <a:pt x="73" y="74"/>
                      </a:cubicBezTo>
                      <a:cubicBezTo>
                        <a:pt x="75" y="76"/>
                        <a:pt x="75" y="80"/>
                        <a:pt x="74" y="83"/>
                      </a:cubicBezTo>
                      <a:cubicBezTo>
                        <a:pt x="72" y="85"/>
                        <a:pt x="73" y="89"/>
                        <a:pt x="74" y="89"/>
                      </a:cubicBezTo>
                      <a:cubicBezTo>
                        <a:pt x="75" y="89"/>
                        <a:pt x="78" y="85"/>
                        <a:pt x="78" y="82"/>
                      </a:cubicBezTo>
                      <a:cubicBezTo>
                        <a:pt x="78" y="80"/>
                        <a:pt x="81" y="80"/>
                        <a:pt x="83" y="78"/>
                      </a:cubicBezTo>
                      <a:cubicBezTo>
                        <a:pt x="85" y="75"/>
                        <a:pt x="80" y="75"/>
                        <a:pt x="79" y="71"/>
                      </a:cubicBezTo>
                      <a:cubicBezTo>
                        <a:pt x="78" y="68"/>
                        <a:pt x="83" y="65"/>
                        <a:pt x="87" y="68"/>
                      </a:cubicBezTo>
                      <a:cubicBezTo>
                        <a:pt x="91" y="71"/>
                        <a:pt x="93" y="72"/>
                        <a:pt x="93" y="68"/>
                      </a:cubicBezTo>
                      <a:cubicBezTo>
                        <a:pt x="93" y="64"/>
                        <a:pt x="80" y="59"/>
                        <a:pt x="77" y="5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300" name="Freeform 183">
                  <a:extLst>
                    <a:ext uri="{FF2B5EF4-FFF2-40B4-BE49-F238E27FC236}">
                      <a16:creationId xmlns:a16="http://schemas.microsoft.com/office/drawing/2014/main" id="{D6A9995B-CEF8-4327-89A0-375088CD4A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117866" y="-10815821"/>
                  <a:ext cx="61622" cy="77837"/>
                </a:xfrm>
                <a:custGeom>
                  <a:avLst/>
                  <a:gdLst>
                    <a:gd name="T0" fmla="*/ 3 w 10"/>
                    <a:gd name="T1" fmla="*/ 0 h 13"/>
                    <a:gd name="T2" fmla="*/ 0 w 10"/>
                    <a:gd name="T3" fmla="*/ 6 h 13"/>
                    <a:gd name="T4" fmla="*/ 0 w 10"/>
                    <a:gd name="T5" fmla="*/ 9 h 13"/>
                    <a:gd name="T6" fmla="*/ 6 w 10"/>
                    <a:gd name="T7" fmla="*/ 13 h 13"/>
                    <a:gd name="T8" fmla="*/ 6 w 10"/>
                    <a:gd name="T9" fmla="*/ 13 h 13"/>
                    <a:gd name="T10" fmla="*/ 10 w 10"/>
                    <a:gd name="T11" fmla="*/ 8 h 13"/>
                    <a:gd name="T12" fmla="*/ 3 w 10"/>
                    <a:gd name="T13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13">
                      <a:moveTo>
                        <a:pt x="3" y="0"/>
                      </a:moveTo>
                      <a:cubicBezTo>
                        <a:pt x="2" y="3"/>
                        <a:pt x="0" y="6"/>
                        <a:pt x="0" y="6"/>
                      </a:cubicBezTo>
                      <a:cubicBezTo>
                        <a:pt x="0" y="7"/>
                        <a:pt x="0" y="8"/>
                        <a:pt x="0" y="9"/>
                      </a:cubicBezTo>
                      <a:cubicBezTo>
                        <a:pt x="2" y="11"/>
                        <a:pt x="4" y="12"/>
                        <a:pt x="6" y="13"/>
                      </a:cubicBezTo>
                      <a:cubicBezTo>
                        <a:pt x="6" y="13"/>
                        <a:pt x="6" y="13"/>
                        <a:pt x="6" y="13"/>
                      </a:cubicBezTo>
                      <a:cubicBezTo>
                        <a:pt x="7" y="11"/>
                        <a:pt x="8" y="8"/>
                        <a:pt x="10" y="8"/>
                      </a:cubicBezTo>
                      <a:cubicBezTo>
                        <a:pt x="8" y="5"/>
                        <a:pt x="5" y="2"/>
                        <a:pt x="3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301" name="Freeform 184">
                  <a:extLst>
                    <a:ext uri="{FF2B5EF4-FFF2-40B4-BE49-F238E27FC236}">
                      <a16:creationId xmlns:a16="http://schemas.microsoft.com/office/drawing/2014/main" id="{1AAE0136-E629-4161-AF09-FE8B932E2F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108135" y="-10990955"/>
                  <a:ext cx="210810" cy="246484"/>
                </a:xfrm>
                <a:custGeom>
                  <a:avLst/>
                  <a:gdLst>
                    <a:gd name="T0" fmla="*/ 30 w 34"/>
                    <a:gd name="T1" fmla="*/ 27 h 40"/>
                    <a:gd name="T2" fmla="*/ 30 w 34"/>
                    <a:gd name="T3" fmla="*/ 21 h 40"/>
                    <a:gd name="T4" fmla="*/ 30 w 34"/>
                    <a:gd name="T5" fmla="*/ 17 h 40"/>
                    <a:gd name="T6" fmla="*/ 21 w 34"/>
                    <a:gd name="T7" fmla="*/ 14 h 40"/>
                    <a:gd name="T8" fmla="*/ 20 w 34"/>
                    <a:gd name="T9" fmla="*/ 9 h 40"/>
                    <a:gd name="T10" fmla="*/ 17 w 34"/>
                    <a:gd name="T11" fmla="*/ 6 h 40"/>
                    <a:gd name="T12" fmla="*/ 14 w 34"/>
                    <a:gd name="T13" fmla="*/ 2 h 40"/>
                    <a:gd name="T14" fmla="*/ 14 w 34"/>
                    <a:gd name="T15" fmla="*/ 1 h 40"/>
                    <a:gd name="T16" fmla="*/ 12 w 34"/>
                    <a:gd name="T17" fmla="*/ 1 h 40"/>
                    <a:gd name="T18" fmla="*/ 9 w 34"/>
                    <a:gd name="T19" fmla="*/ 0 h 40"/>
                    <a:gd name="T20" fmla="*/ 0 w 34"/>
                    <a:gd name="T21" fmla="*/ 2 h 40"/>
                    <a:gd name="T22" fmla="*/ 2 w 34"/>
                    <a:gd name="T23" fmla="*/ 7 h 40"/>
                    <a:gd name="T24" fmla="*/ 5 w 34"/>
                    <a:gd name="T25" fmla="*/ 13 h 40"/>
                    <a:gd name="T26" fmla="*/ 4 w 34"/>
                    <a:gd name="T27" fmla="*/ 25 h 40"/>
                    <a:gd name="T28" fmla="*/ 1 w 34"/>
                    <a:gd name="T29" fmla="*/ 28 h 40"/>
                    <a:gd name="T30" fmla="*/ 8 w 34"/>
                    <a:gd name="T31" fmla="*/ 36 h 40"/>
                    <a:gd name="T32" fmla="*/ 8 w 34"/>
                    <a:gd name="T33" fmla="*/ 36 h 40"/>
                    <a:gd name="T34" fmla="*/ 15 w 34"/>
                    <a:gd name="T35" fmla="*/ 40 h 40"/>
                    <a:gd name="T36" fmla="*/ 29 w 34"/>
                    <a:gd name="T37" fmla="*/ 37 h 40"/>
                    <a:gd name="T38" fmla="*/ 29 w 34"/>
                    <a:gd name="T39" fmla="*/ 35 h 40"/>
                    <a:gd name="T40" fmla="*/ 32 w 34"/>
                    <a:gd name="T41" fmla="*/ 32 h 40"/>
                    <a:gd name="T42" fmla="*/ 30 w 34"/>
                    <a:gd name="T43" fmla="*/ 27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4" h="40">
                      <a:moveTo>
                        <a:pt x="30" y="27"/>
                      </a:moveTo>
                      <a:cubicBezTo>
                        <a:pt x="28" y="25"/>
                        <a:pt x="28" y="22"/>
                        <a:pt x="30" y="21"/>
                      </a:cubicBezTo>
                      <a:cubicBezTo>
                        <a:pt x="31" y="20"/>
                        <a:pt x="30" y="18"/>
                        <a:pt x="30" y="17"/>
                      </a:cubicBezTo>
                      <a:cubicBezTo>
                        <a:pt x="30" y="15"/>
                        <a:pt x="22" y="14"/>
                        <a:pt x="21" y="14"/>
                      </a:cubicBezTo>
                      <a:cubicBezTo>
                        <a:pt x="20" y="14"/>
                        <a:pt x="22" y="9"/>
                        <a:pt x="20" y="9"/>
                      </a:cubicBezTo>
                      <a:cubicBezTo>
                        <a:pt x="18" y="9"/>
                        <a:pt x="17" y="8"/>
                        <a:pt x="17" y="6"/>
                      </a:cubicBezTo>
                      <a:cubicBezTo>
                        <a:pt x="17" y="5"/>
                        <a:pt x="14" y="2"/>
                        <a:pt x="14" y="2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3" y="1"/>
                        <a:pt x="12" y="1"/>
                        <a:pt x="12" y="1"/>
                      </a:cubicBezTo>
                      <a:cubicBezTo>
                        <a:pt x="11" y="1"/>
                        <a:pt x="9" y="0"/>
                        <a:pt x="9" y="0"/>
                      </a:cubicBezTo>
                      <a:cubicBezTo>
                        <a:pt x="9" y="0"/>
                        <a:pt x="4" y="1"/>
                        <a:pt x="0" y="2"/>
                      </a:cubicBezTo>
                      <a:cubicBezTo>
                        <a:pt x="1" y="4"/>
                        <a:pt x="1" y="7"/>
                        <a:pt x="2" y="7"/>
                      </a:cubicBezTo>
                      <a:cubicBezTo>
                        <a:pt x="5" y="8"/>
                        <a:pt x="4" y="11"/>
                        <a:pt x="5" y="13"/>
                      </a:cubicBezTo>
                      <a:cubicBezTo>
                        <a:pt x="6" y="15"/>
                        <a:pt x="6" y="25"/>
                        <a:pt x="4" y="25"/>
                      </a:cubicBezTo>
                      <a:cubicBezTo>
                        <a:pt x="4" y="25"/>
                        <a:pt x="3" y="27"/>
                        <a:pt x="1" y="28"/>
                      </a:cubicBezTo>
                      <a:cubicBezTo>
                        <a:pt x="3" y="30"/>
                        <a:pt x="6" y="33"/>
                        <a:pt x="8" y="36"/>
                      </a:cubicBezTo>
                      <a:cubicBezTo>
                        <a:pt x="8" y="36"/>
                        <a:pt x="8" y="36"/>
                        <a:pt x="8" y="36"/>
                      </a:cubicBezTo>
                      <a:cubicBezTo>
                        <a:pt x="10" y="36"/>
                        <a:pt x="15" y="40"/>
                        <a:pt x="15" y="40"/>
                      </a:cubicBezTo>
                      <a:cubicBezTo>
                        <a:pt x="15" y="40"/>
                        <a:pt x="24" y="38"/>
                        <a:pt x="29" y="37"/>
                      </a:cubicBezTo>
                      <a:cubicBezTo>
                        <a:pt x="29" y="36"/>
                        <a:pt x="29" y="35"/>
                        <a:pt x="29" y="35"/>
                      </a:cubicBezTo>
                      <a:cubicBezTo>
                        <a:pt x="29" y="34"/>
                        <a:pt x="30" y="32"/>
                        <a:pt x="32" y="32"/>
                      </a:cubicBezTo>
                      <a:cubicBezTo>
                        <a:pt x="34" y="32"/>
                        <a:pt x="31" y="28"/>
                        <a:pt x="30" y="2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</p:grpSp>
          <p:sp>
            <p:nvSpPr>
              <p:cNvPr id="155" name="Freeform 119">
                <a:extLst>
                  <a:ext uri="{FF2B5EF4-FFF2-40B4-BE49-F238E27FC236}">
                    <a16:creationId xmlns:a16="http://schemas.microsoft.com/office/drawing/2014/main" id="{B0966F30-AE2F-4B8E-820F-D3BCAEB65C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795399" y="2225469"/>
                <a:ext cx="2975448" cy="2023764"/>
              </a:xfrm>
              <a:custGeom>
                <a:avLst/>
                <a:gdLst>
                  <a:gd name="T0" fmla="*/ 249 w 817"/>
                  <a:gd name="T1" fmla="*/ 164 h 556"/>
                  <a:gd name="T2" fmla="*/ 218 w 817"/>
                  <a:gd name="T3" fmla="*/ 25 h 556"/>
                  <a:gd name="T4" fmla="*/ 132 w 817"/>
                  <a:gd name="T5" fmla="*/ 15 h 556"/>
                  <a:gd name="T6" fmla="*/ 96 w 817"/>
                  <a:gd name="T7" fmla="*/ 8 h 556"/>
                  <a:gd name="T8" fmla="*/ 66 w 817"/>
                  <a:gd name="T9" fmla="*/ 15 h 556"/>
                  <a:gd name="T10" fmla="*/ 13 w 817"/>
                  <a:gd name="T11" fmla="*/ 42 h 556"/>
                  <a:gd name="T12" fmla="*/ 50 w 817"/>
                  <a:gd name="T13" fmla="*/ 74 h 556"/>
                  <a:gd name="T14" fmla="*/ 12 w 817"/>
                  <a:gd name="T15" fmla="*/ 76 h 556"/>
                  <a:gd name="T16" fmla="*/ 42 w 817"/>
                  <a:gd name="T17" fmla="*/ 97 h 556"/>
                  <a:gd name="T18" fmla="*/ 30 w 817"/>
                  <a:gd name="T19" fmla="*/ 113 h 556"/>
                  <a:gd name="T20" fmla="*/ 32 w 817"/>
                  <a:gd name="T21" fmla="*/ 156 h 556"/>
                  <a:gd name="T22" fmla="*/ 68 w 817"/>
                  <a:gd name="T23" fmla="*/ 168 h 556"/>
                  <a:gd name="T24" fmla="*/ 72 w 817"/>
                  <a:gd name="T25" fmla="*/ 192 h 556"/>
                  <a:gd name="T26" fmla="*/ 60 w 817"/>
                  <a:gd name="T27" fmla="*/ 205 h 556"/>
                  <a:gd name="T28" fmla="*/ 104 w 817"/>
                  <a:gd name="T29" fmla="*/ 178 h 556"/>
                  <a:gd name="T30" fmla="*/ 123 w 817"/>
                  <a:gd name="T31" fmla="*/ 152 h 556"/>
                  <a:gd name="T32" fmla="*/ 136 w 817"/>
                  <a:gd name="T33" fmla="*/ 143 h 556"/>
                  <a:gd name="T34" fmla="*/ 161 w 817"/>
                  <a:gd name="T35" fmla="*/ 154 h 556"/>
                  <a:gd name="T36" fmla="*/ 177 w 817"/>
                  <a:gd name="T37" fmla="*/ 144 h 556"/>
                  <a:gd name="T38" fmla="*/ 196 w 817"/>
                  <a:gd name="T39" fmla="*/ 152 h 556"/>
                  <a:gd name="T40" fmla="*/ 242 w 817"/>
                  <a:gd name="T41" fmla="*/ 166 h 556"/>
                  <a:gd name="T42" fmla="*/ 267 w 817"/>
                  <a:gd name="T43" fmla="*/ 177 h 556"/>
                  <a:gd name="T44" fmla="*/ 268 w 817"/>
                  <a:gd name="T45" fmla="*/ 187 h 556"/>
                  <a:gd name="T46" fmla="*/ 277 w 817"/>
                  <a:gd name="T47" fmla="*/ 188 h 556"/>
                  <a:gd name="T48" fmla="*/ 285 w 817"/>
                  <a:gd name="T49" fmla="*/ 196 h 556"/>
                  <a:gd name="T50" fmla="*/ 282 w 817"/>
                  <a:gd name="T51" fmla="*/ 214 h 556"/>
                  <a:gd name="T52" fmla="*/ 300 w 817"/>
                  <a:gd name="T53" fmla="*/ 214 h 556"/>
                  <a:gd name="T54" fmla="*/ 10 w 817"/>
                  <a:gd name="T55" fmla="*/ 223 h 556"/>
                  <a:gd name="T56" fmla="*/ 127 w 817"/>
                  <a:gd name="T57" fmla="*/ 171 h 556"/>
                  <a:gd name="T58" fmla="*/ 126 w 817"/>
                  <a:gd name="T59" fmla="*/ 183 h 556"/>
                  <a:gd name="T60" fmla="*/ 17 w 817"/>
                  <a:gd name="T61" fmla="*/ 156 h 556"/>
                  <a:gd name="T62" fmla="*/ 100 w 817"/>
                  <a:gd name="T63" fmla="*/ 544 h 556"/>
                  <a:gd name="T64" fmla="*/ 66 w 817"/>
                  <a:gd name="T65" fmla="*/ 528 h 556"/>
                  <a:gd name="T66" fmla="*/ 790 w 817"/>
                  <a:gd name="T67" fmla="*/ 306 h 556"/>
                  <a:gd name="T68" fmla="*/ 720 w 817"/>
                  <a:gd name="T69" fmla="*/ 334 h 556"/>
                  <a:gd name="T70" fmla="*/ 692 w 817"/>
                  <a:gd name="T71" fmla="*/ 344 h 556"/>
                  <a:gd name="T72" fmla="*/ 662 w 817"/>
                  <a:gd name="T73" fmla="*/ 319 h 556"/>
                  <a:gd name="T74" fmla="*/ 679 w 817"/>
                  <a:gd name="T75" fmla="*/ 305 h 556"/>
                  <a:gd name="T76" fmla="*/ 646 w 817"/>
                  <a:gd name="T77" fmla="*/ 297 h 556"/>
                  <a:gd name="T78" fmla="*/ 623 w 817"/>
                  <a:gd name="T79" fmla="*/ 285 h 556"/>
                  <a:gd name="T80" fmla="*/ 589 w 817"/>
                  <a:gd name="T81" fmla="*/ 276 h 556"/>
                  <a:gd name="T82" fmla="*/ 365 w 817"/>
                  <a:gd name="T83" fmla="*/ 285 h 556"/>
                  <a:gd name="T84" fmla="*/ 359 w 817"/>
                  <a:gd name="T85" fmla="*/ 304 h 556"/>
                  <a:gd name="T86" fmla="*/ 360 w 817"/>
                  <a:gd name="T87" fmla="*/ 377 h 556"/>
                  <a:gd name="T88" fmla="*/ 387 w 817"/>
                  <a:gd name="T89" fmla="*/ 417 h 556"/>
                  <a:gd name="T90" fmla="*/ 440 w 817"/>
                  <a:gd name="T91" fmla="*/ 439 h 556"/>
                  <a:gd name="T92" fmla="*/ 513 w 817"/>
                  <a:gd name="T93" fmla="*/ 457 h 556"/>
                  <a:gd name="T94" fmla="*/ 556 w 817"/>
                  <a:gd name="T95" fmla="*/ 484 h 556"/>
                  <a:gd name="T96" fmla="*/ 578 w 817"/>
                  <a:gd name="T97" fmla="*/ 471 h 556"/>
                  <a:gd name="T98" fmla="*/ 608 w 817"/>
                  <a:gd name="T99" fmla="*/ 459 h 556"/>
                  <a:gd name="T100" fmla="*/ 635 w 817"/>
                  <a:gd name="T101" fmla="*/ 462 h 556"/>
                  <a:gd name="T102" fmla="*/ 668 w 817"/>
                  <a:gd name="T103" fmla="*/ 459 h 556"/>
                  <a:gd name="T104" fmla="*/ 696 w 817"/>
                  <a:gd name="T105" fmla="*/ 492 h 556"/>
                  <a:gd name="T106" fmla="*/ 699 w 817"/>
                  <a:gd name="T107" fmla="*/ 451 h 556"/>
                  <a:gd name="T108" fmla="*/ 737 w 817"/>
                  <a:gd name="T109" fmla="*/ 411 h 556"/>
                  <a:gd name="T110" fmla="*/ 741 w 817"/>
                  <a:gd name="T111" fmla="*/ 391 h 556"/>
                  <a:gd name="T112" fmla="*/ 744 w 817"/>
                  <a:gd name="T113" fmla="*/ 388 h 556"/>
                  <a:gd name="T114" fmla="*/ 764 w 817"/>
                  <a:gd name="T115" fmla="*/ 360 h 556"/>
                  <a:gd name="T116" fmla="*/ 785 w 817"/>
                  <a:gd name="T117" fmla="*/ 343 h 556"/>
                  <a:gd name="T118" fmla="*/ 817 w 817"/>
                  <a:gd name="T119" fmla="*/ 317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17" h="556">
                    <a:moveTo>
                      <a:pt x="307" y="204"/>
                    </a:moveTo>
                    <a:cubicBezTo>
                      <a:pt x="308" y="201"/>
                      <a:pt x="308" y="199"/>
                      <a:pt x="299" y="195"/>
                    </a:cubicBezTo>
                    <a:cubicBezTo>
                      <a:pt x="290" y="192"/>
                      <a:pt x="291" y="189"/>
                      <a:pt x="285" y="178"/>
                    </a:cubicBezTo>
                    <a:cubicBezTo>
                      <a:pt x="279" y="168"/>
                      <a:pt x="268" y="163"/>
                      <a:pt x="268" y="159"/>
                    </a:cubicBezTo>
                    <a:cubicBezTo>
                      <a:pt x="268" y="155"/>
                      <a:pt x="257" y="155"/>
                      <a:pt x="257" y="158"/>
                    </a:cubicBezTo>
                    <a:cubicBezTo>
                      <a:pt x="257" y="161"/>
                      <a:pt x="252" y="162"/>
                      <a:pt x="249" y="164"/>
                    </a:cubicBezTo>
                    <a:cubicBezTo>
                      <a:pt x="247" y="166"/>
                      <a:pt x="245" y="163"/>
                      <a:pt x="243" y="160"/>
                    </a:cubicBezTo>
                    <a:cubicBezTo>
                      <a:pt x="241" y="157"/>
                      <a:pt x="235" y="154"/>
                      <a:pt x="235" y="152"/>
                    </a:cubicBezTo>
                    <a:cubicBezTo>
                      <a:pt x="235" y="150"/>
                      <a:pt x="234" y="146"/>
                      <a:pt x="229" y="148"/>
                    </a:cubicBezTo>
                    <a:cubicBezTo>
                      <a:pt x="225" y="150"/>
                      <a:pt x="223" y="148"/>
                      <a:pt x="222" y="149"/>
                    </a:cubicBezTo>
                    <a:cubicBezTo>
                      <a:pt x="221" y="151"/>
                      <a:pt x="218" y="148"/>
                      <a:pt x="218" y="148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6" y="25"/>
                      <a:pt x="215" y="25"/>
                      <a:pt x="214" y="24"/>
                    </a:cubicBezTo>
                    <a:cubicBezTo>
                      <a:pt x="209" y="22"/>
                      <a:pt x="201" y="19"/>
                      <a:pt x="197" y="20"/>
                    </a:cubicBezTo>
                    <a:cubicBezTo>
                      <a:pt x="193" y="21"/>
                      <a:pt x="185" y="22"/>
                      <a:pt x="182" y="20"/>
                    </a:cubicBezTo>
                    <a:cubicBezTo>
                      <a:pt x="179" y="19"/>
                      <a:pt x="175" y="18"/>
                      <a:pt x="169" y="18"/>
                    </a:cubicBezTo>
                    <a:cubicBezTo>
                      <a:pt x="163" y="19"/>
                      <a:pt x="160" y="15"/>
                      <a:pt x="152" y="13"/>
                    </a:cubicBezTo>
                    <a:cubicBezTo>
                      <a:pt x="145" y="12"/>
                      <a:pt x="134" y="14"/>
                      <a:pt x="132" y="15"/>
                    </a:cubicBezTo>
                    <a:cubicBezTo>
                      <a:pt x="129" y="16"/>
                      <a:pt x="130" y="12"/>
                      <a:pt x="127" y="13"/>
                    </a:cubicBezTo>
                    <a:cubicBezTo>
                      <a:pt x="123" y="13"/>
                      <a:pt x="126" y="11"/>
                      <a:pt x="124" y="8"/>
                    </a:cubicBezTo>
                    <a:cubicBezTo>
                      <a:pt x="122" y="6"/>
                      <a:pt x="113" y="8"/>
                      <a:pt x="110" y="9"/>
                    </a:cubicBezTo>
                    <a:cubicBezTo>
                      <a:pt x="107" y="9"/>
                      <a:pt x="106" y="7"/>
                      <a:pt x="106" y="5"/>
                    </a:cubicBezTo>
                    <a:cubicBezTo>
                      <a:pt x="106" y="4"/>
                      <a:pt x="103" y="4"/>
                      <a:pt x="102" y="6"/>
                    </a:cubicBezTo>
                    <a:cubicBezTo>
                      <a:pt x="101" y="9"/>
                      <a:pt x="97" y="9"/>
                      <a:pt x="96" y="8"/>
                    </a:cubicBezTo>
                    <a:cubicBezTo>
                      <a:pt x="94" y="6"/>
                      <a:pt x="99" y="6"/>
                      <a:pt x="99" y="4"/>
                    </a:cubicBezTo>
                    <a:cubicBezTo>
                      <a:pt x="99" y="2"/>
                      <a:pt x="94" y="1"/>
                      <a:pt x="93" y="1"/>
                    </a:cubicBezTo>
                    <a:cubicBezTo>
                      <a:pt x="91" y="0"/>
                      <a:pt x="88" y="3"/>
                      <a:pt x="84" y="6"/>
                    </a:cubicBezTo>
                    <a:cubicBezTo>
                      <a:pt x="81" y="9"/>
                      <a:pt x="75" y="9"/>
                      <a:pt x="72" y="9"/>
                    </a:cubicBezTo>
                    <a:cubicBezTo>
                      <a:pt x="68" y="8"/>
                      <a:pt x="64" y="9"/>
                      <a:pt x="64" y="11"/>
                    </a:cubicBezTo>
                    <a:cubicBezTo>
                      <a:pt x="64" y="13"/>
                      <a:pt x="68" y="13"/>
                      <a:pt x="66" y="15"/>
                    </a:cubicBezTo>
                    <a:cubicBezTo>
                      <a:pt x="63" y="18"/>
                      <a:pt x="63" y="12"/>
                      <a:pt x="60" y="15"/>
                    </a:cubicBezTo>
                    <a:cubicBezTo>
                      <a:pt x="58" y="17"/>
                      <a:pt x="50" y="17"/>
                      <a:pt x="48" y="17"/>
                    </a:cubicBezTo>
                    <a:cubicBezTo>
                      <a:pt x="47" y="16"/>
                      <a:pt x="41" y="23"/>
                      <a:pt x="39" y="25"/>
                    </a:cubicBezTo>
                    <a:cubicBezTo>
                      <a:pt x="37" y="26"/>
                      <a:pt x="40" y="28"/>
                      <a:pt x="35" y="33"/>
                    </a:cubicBezTo>
                    <a:cubicBezTo>
                      <a:pt x="31" y="38"/>
                      <a:pt x="18" y="37"/>
                      <a:pt x="15" y="37"/>
                    </a:cubicBezTo>
                    <a:cubicBezTo>
                      <a:pt x="12" y="37"/>
                      <a:pt x="14" y="40"/>
                      <a:pt x="13" y="42"/>
                    </a:cubicBezTo>
                    <a:cubicBezTo>
                      <a:pt x="12" y="44"/>
                      <a:pt x="15" y="46"/>
                      <a:pt x="22" y="48"/>
                    </a:cubicBezTo>
                    <a:cubicBezTo>
                      <a:pt x="29" y="50"/>
                      <a:pt x="34" y="60"/>
                      <a:pt x="35" y="62"/>
                    </a:cubicBezTo>
                    <a:cubicBezTo>
                      <a:pt x="36" y="64"/>
                      <a:pt x="45" y="62"/>
                      <a:pt x="49" y="62"/>
                    </a:cubicBezTo>
                    <a:cubicBezTo>
                      <a:pt x="52" y="63"/>
                      <a:pt x="48" y="68"/>
                      <a:pt x="51" y="69"/>
                    </a:cubicBezTo>
                    <a:cubicBezTo>
                      <a:pt x="54" y="71"/>
                      <a:pt x="59" y="69"/>
                      <a:pt x="60" y="71"/>
                    </a:cubicBezTo>
                    <a:cubicBezTo>
                      <a:pt x="61" y="74"/>
                      <a:pt x="54" y="71"/>
                      <a:pt x="50" y="74"/>
                    </a:cubicBezTo>
                    <a:cubicBezTo>
                      <a:pt x="47" y="76"/>
                      <a:pt x="45" y="78"/>
                      <a:pt x="43" y="76"/>
                    </a:cubicBezTo>
                    <a:cubicBezTo>
                      <a:pt x="42" y="74"/>
                      <a:pt x="36" y="75"/>
                      <a:pt x="33" y="75"/>
                    </a:cubicBezTo>
                    <a:cubicBezTo>
                      <a:pt x="30" y="76"/>
                      <a:pt x="33" y="72"/>
                      <a:pt x="33" y="70"/>
                    </a:cubicBezTo>
                    <a:cubicBezTo>
                      <a:pt x="33" y="68"/>
                      <a:pt x="29" y="67"/>
                      <a:pt x="23" y="70"/>
                    </a:cubicBezTo>
                    <a:cubicBezTo>
                      <a:pt x="17" y="74"/>
                      <a:pt x="19" y="72"/>
                      <a:pt x="19" y="75"/>
                    </a:cubicBezTo>
                    <a:cubicBezTo>
                      <a:pt x="18" y="78"/>
                      <a:pt x="15" y="73"/>
                      <a:pt x="12" y="76"/>
                    </a:cubicBezTo>
                    <a:cubicBezTo>
                      <a:pt x="8" y="78"/>
                      <a:pt x="2" y="80"/>
                      <a:pt x="1" y="82"/>
                    </a:cubicBezTo>
                    <a:cubicBezTo>
                      <a:pt x="0" y="84"/>
                      <a:pt x="9" y="86"/>
                      <a:pt x="12" y="87"/>
                    </a:cubicBezTo>
                    <a:cubicBezTo>
                      <a:pt x="16" y="87"/>
                      <a:pt x="8" y="90"/>
                      <a:pt x="11" y="90"/>
                    </a:cubicBezTo>
                    <a:cubicBezTo>
                      <a:pt x="14" y="91"/>
                      <a:pt x="13" y="94"/>
                      <a:pt x="17" y="96"/>
                    </a:cubicBezTo>
                    <a:cubicBezTo>
                      <a:pt x="22" y="99"/>
                      <a:pt x="32" y="96"/>
                      <a:pt x="34" y="96"/>
                    </a:cubicBezTo>
                    <a:cubicBezTo>
                      <a:pt x="37" y="96"/>
                      <a:pt x="39" y="100"/>
                      <a:pt x="42" y="97"/>
                    </a:cubicBezTo>
                    <a:cubicBezTo>
                      <a:pt x="44" y="95"/>
                      <a:pt x="52" y="89"/>
                      <a:pt x="56" y="92"/>
                    </a:cubicBezTo>
                    <a:cubicBezTo>
                      <a:pt x="60" y="96"/>
                      <a:pt x="51" y="95"/>
                      <a:pt x="53" y="98"/>
                    </a:cubicBezTo>
                    <a:cubicBezTo>
                      <a:pt x="56" y="100"/>
                      <a:pt x="58" y="106"/>
                      <a:pt x="54" y="108"/>
                    </a:cubicBezTo>
                    <a:cubicBezTo>
                      <a:pt x="50" y="111"/>
                      <a:pt x="47" y="109"/>
                      <a:pt x="45" y="109"/>
                    </a:cubicBezTo>
                    <a:cubicBezTo>
                      <a:pt x="42" y="109"/>
                      <a:pt x="44" y="113"/>
                      <a:pt x="40" y="116"/>
                    </a:cubicBezTo>
                    <a:cubicBezTo>
                      <a:pt x="37" y="118"/>
                      <a:pt x="34" y="113"/>
                      <a:pt x="30" y="113"/>
                    </a:cubicBezTo>
                    <a:cubicBezTo>
                      <a:pt x="26" y="113"/>
                      <a:pt x="27" y="118"/>
                      <a:pt x="27" y="121"/>
                    </a:cubicBezTo>
                    <a:cubicBezTo>
                      <a:pt x="27" y="124"/>
                      <a:pt x="20" y="121"/>
                      <a:pt x="19" y="127"/>
                    </a:cubicBezTo>
                    <a:cubicBezTo>
                      <a:pt x="17" y="133"/>
                      <a:pt x="10" y="128"/>
                      <a:pt x="15" y="134"/>
                    </a:cubicBezTo>
                    <a:cubicBezTo>
                      <a:pt x="19" y="140"/>
                      <a:pt x="19" y="136"/>
                      <a:pt x="22" y="139"/>
                    </a:cubicBezTo>
                    <a:cubicBezTo>
                      <a:pt x="26" y="141"/>
                      <a:pt x="18" y="146"/>
                      <a:pt x="22" y="147"/>
                    </a:cubicBezTo>
                    <a:cubicBezTo>
                      <a:pt x="25" y="147"/>
                      <a:pt x="29" y="154"/>
                      <a:pt x="32" y="156"/>
                    </a:cubicBezTo>
                    <a:cubicBezTo>
                      <a:pt x="34" y="158"/>
                      <a:pt x="38" y="155"/>
                      <a:pt x="41" y="155"/>
                    </a:cubicBezTo>
                    <a:cubicBezTo>
                      <a:pt x="45" y="154"/>
                      <a:pt x="43" y="149"/>
                      <a:pt x="45" y="151"/>
                    </a:cubicBezTo>
                    <a:cubicBezTo>
                      <a:pt x="48" y="153"/>
                      <a:pt x="51" y="159"/>
                      <a:pt x="49" y="160"/>
                    </a:cubicBezTo>
                    <a:cubicBezTo>
                      <a:pt x="47" y="162"/>
                      <a:pt x="48" y="166"/>
                      <a:pt x="48" y="168"/>
                    </a:cubicBezTo>
                    <a:cubicBezTo>
                      <a:pt x="48" y="171"/>
                      <a:pt x="56" y="170"/>
                      <a:pt x="57" y="167"/>
                    </a:cubicBezTo>
                    <a:cubicBezTo>
                      <a:pt x="57" y="165"/>
                      <a:pt x="64" y="164"/>
                      <a:pt x="68" y="168"/>
                    </a:cubicBezTo>
                    <a:cubicBezTo>
                      <a:pt x="71" y="172"/>
                      <a:pt x="73" y="173"/>
                      <a:pt x="73" y="170"/>
                    </a:cubicBezTo>
                    <a:cubicBezTo>
                      <a:pt x="73" y="167"/>
                      <a:pt x="76" y="163"/>
                      <a:pt x="76" y="166"/>
                    </a:cubicBezTo>
                    <a:cubicBezTo>
                      <a:pt x="76" y="168"/>
                      <a:pt x="79" y="169"/>
                      <a:pt x="85" y="167"/>
                    </a:cubicBezTo>
                    <a:cubicBezTo>
                      <a:pt x="90" y="164"/>
                      <a:pt x="88" y="167"/>
                      <a:pt x="85" y="170"/>
                    </a:cubicBezTo>
                    <a:cubicBezTo>
                      <a:pt x="81" y="175"/>
                      <a:pt x="85" y="182"/>
                      <a:pt x="82" y="183"/>
                    </a:cubicBezTo>
                    <a:cubicBezTo>
                      <a:pt x="79" y="184"/>
                      <a:pt x="77" y="191"/>
                      <a:pt x="72" y="192"/>
                    </a:cubicBezTo>
                    <a:cubicBezTo>
                      <a:pt x="68" y="192"/>
                      <a:pt x="60" y="201"/>
                      <a:pt x="59" y="202"/>
                    </a:cubicBezTo>
                    <a:cubicBezTo>
                      <a:pt x="58" y="204"/>
                      <a:pt x="48" y="200"/>
                      <a:pt x="46" y="204"/>
                    </a:cubicBezTo>
                    <a:cubicBezTo>
                      <a:pt x="45" y="208"/>
                      <a:pt x="39" y="211"/>
                      <a:pt x="40" y="212"/>
                    </a:cubicBezTo>
                    <a:cubicBezTo>
                      <a:pt x="42" y="214"/>
                      <a:pt x="50" y="209"/>
                      <a:pt x="50" y="207"/>
                    </a:cubicBezTo>
                    <a:cubicBezTo>
                      <a:pt x="50" y="205"/>
                      <a:pt x="51" y="206"/>
                      <a:pt x="53" y="207"/>
                    </a:cubicBezTo>
                    <a:cubicBezTo>
                      <a:pt x="54" y="209"/>
                      <a:pt x="58" y="206"/>
                      <a:pt x="60" y="205"/>
                    </a:cubicBezTo>
                    <a:cubicBezTo>
                      <a:pt x="61" y="204"/>
                      <a:pt x="64" y="204"/>
                      <a:pt x="65" y="204"/>
                    </a:cubicBezTo>
                    <a:cubicBezTo>
                      <a:pt x="67" y="204"/>
                      <a:pt x="68" y="202"/>
                      <a:pt x="73" y="201"/>
                    </a:cubicBezTo>
                    <a:cubicBezTo>
                      <a:pt x="77" y="201"/>
                      <a:pt x="76" y="199"/>
                      <a:pt x="77" y="197"/>
                    </a:cubicBezTo>
                    <a:cubicBezTo>
                      <a:pt x="78" y="194"/>
                      <a:pt x="90" y="189"/>
                      <a:pt x="92" y="188"/>
                    </a:cubicBezTo>
                    <a:cubicBezTo>
                      <a:pt x="94" y="188"/>
                      <a:pt x="93" y="184"/>
                      <a:pt x="95" y="184"/>
                    </a:cubicBezTo>
                    <a:cubicBezTo>
                      <a:pt x="98" y="184"/>
                      <a:pt x="101" y="181"/>
                      <a:pt x="104" y="178"/>
                    </a:cubicBezTo>
                    <a:cubicBezTo>
                      <a:pt x="107" y="176"/>
                      <a:pt x="108" y="177"/>
                      <a:pt x="110" y="176"/>
                    </a:cubicBezTo>
                    <a:cubicBezTo>
                      <a:pt x="112" y="175"/>
                      <a:pt x="111" y="171"/>
                      <a:pt x="113" y="170"/>
                    </a:cubicBezTo>
                    <a:cubicBezTo>
                      <a:pt x="115" y="170"/>
                      <a:pt x="117" y="168"/>
                      <a:pt x="117" y="166"/>
                    </a:cubicBezTo>
                    <a:cubicBezTo>
                      <a:pt x="117" y="164"/>
                      <a:pt x="111" y="164"/>
                      <a:pt x="111" y="163"/>
                    </a:cubicBezTo>
                    <a:cubicBezTo>
                      <a:pt x="110" y="162"/>
                      <a:pt x="115" y="157"/>
                      <a:pt x="117" y="157"/>
                    </a:cubicBezTo>
                    <a:cubicBezTo>
                      <a:pt x="119" y="157"/>
                      <a:pt x="122" y="155"/>
                      <a:pt x="123" y="152"/>
                    </a:cubicBezTo>
                    <a:cubicBezTo>
                      <a:pt x="123" y="149"/>
                      <a:pt x="126" y="149"/>
                      <a:pt x="128" y="146"/>
                    </a:cubicBezTo>
                    <a:cubicBezTo>
                      <a:pt x="130" y="144"/>
                      <a:pt x="130" y="142"/>
                      <a:pt x="132" y="142"/>
                    </a:cubicBezTo>
                    <a:cubicBezTo>
                      <a:pt x="134" y="141"/>
                      <a:pt x="137" y="138"/>
                      <a:pt x="139" y="137"/>
                    </a:cubicBezTo>
                    <a:cubicBezTo>
                      <a:pt x="142" y="135"/>
                      <a:pt x="139" y="139"/>
                      <a:pt x="144" y="139"/>
                    </a:cubicBezTo>
                    <a:cubicBezTo>
                      <a:pt x="149" y="139"/>
                      <a:pt x="148" y="143"/>
                      <a:pt x="144" y="142"/>
                    </a:cubicBezTo>
                    <a:cubicBezTo>
                      <a:pt x="140" y="140"/>
                      <a:pt x="139" y="140"/>
                      <a:pt x="136" y="143"/>
                    </a:cubicBezTo>
                    <a:cubicBezTo>
                      <a:pt x="132" y="146"/>
                      <a:pt x="135" y="147"/>
                      <a:pt x="132" y="151"/>
                    </a:cubicBezTo>
                    <a:cubicBezTo>
                      <a:pt x="130" y="154"/>
                      <a:pt x="130" y="156"/>
                      <a:pt x="133" y="157"/>
                    </a:cubicBezTo>
                    <a:cubicBezTo>
                      <a:pt x="136" y="157"/>
                      <a:pt x="133" y="159"/>
                      <a:pt x="130" y="160"/>
                    </a:cubicBezTo>
                    <a:cubicBezTo>
                      <a:pt x="127" y="161"/>
                      <a:pt x="129" y="163"/>
                      <a:pt x="133" y="163"/>
                    </a:cubicBezTo>
                    <a:cubicBezTo>
                      <a:pt x="137" y="163"/>
                      <a:pt x="144" y="157"/>
                      <a:pt x="149" y="154"/>
                    </a:cubicBezTo>
                    <a:cubicBezTo>
                      <a:pt x="155" y="151"/>
                      <a:pt x="159" y="154"/>
                      <a:pt x="161" y="154"/>
                    </a:cubicBezTo>
                    <a:cubicBezTo>
                      <a:pt x="162" y="153"/>
                      <a:pt x="159" y="150"/>
                      <a:pt x="161" y="149"/>
                    </a:cubicBezTo>
                    <a:cubicBezTo>
                      <a:pt x="163" y="149"/>
                      <a:pt x="159" y="148"/>
                      <a:pt x="157" y="145"/>
                    </a:cubicBezTo>
                    <a:cubicBezTo>
                      <a:pt x="156" y="141"/>
                      <a:pt x="159" y="143"/>
                      <a:pt x="160" y="141"/>
                    </a:cubicBezTo>
                    <a:cubicBezTo>
                      <a:pt x="161" y="138"/>
                      <a:pt x="163" y="139"/>
                      <a:pt x="165" y="140"/>
                    </a:cubicBezTo>
                    <a:cubicBezTo>
                      <a:pt x="166" y="142"/>
                      <a:pt x="169" y="139"/>
                      <a:pt x="170" y="143"/>
                    </a:cubicBezTo>
                    <a:cubicBezTo>
                      <a:pt x="172" y="146"/>
                      <a:pt x="174" y="142"/>
                      <a:pt x="177" y="144"/>
                    </a:cubicBezTo>
                    <a:cubicBezTo>
                      <a:pt x="180" y="146"/>
                      <a:pt x="176" y="146"/>
                      <a:pt x="173" y="147"/>
                    </a:cubicBezTo>
                    <a:cubicBezTo>
                      <a:pt x="170" y="147"/>
                      <a:pt x="172" y="151"/>
                      <a:pt x="174" y="149"/>
                    </a:cubicBezTo>
                    <a:cubicBezTo>
                      <a:pt x="176" y="148"/>
                      <a:pt x="178" y="146"/>
                      <a:pt x="180" y="148"/>
                    </a:cubicBezTo>
                    <a:cubicBezTo>
                      <a:pt x="183" y="150"/>
                      <a:pt x="183" y="149"/>
                      <a:pt x="185" y="148"/>
                    </a:cubicBezTo>
                    <a:cubicBezTo>
                      <a:pt x="187" y="146"/>
                      <a:pt x="187" y="148"/>
                      <a:pt x="187" y="149"/>
                    </a:cubicBezTo>
                    <a:cubicBezTo>
                      <a:pt x="187" y="151"/>
                      <a:pt x="191" y="151"/>
                      <a:pt x="196" y="152"/>
                    </a:cubicBezTo>
                    <a:cubicBezTo>
                      <a:pt x="201" y="153"/>
                      <a:pt x="211" y="152"/>
                      <a:pt x="214" y="151"/>
                    </a:cubicBezTo>
                    <a:cubicBezTo>
                      <a:pt x="216" y="151"/>
                      <a:pt x="215" y="155"/>
                      <a:pt x="221" y="156"/>
                    </a:cubicBezTo>
                    <a:cubicBezTo>
                      <a:pt x="226" y="157"/>
                      <a:pt x="228" y="151"/>
                      <a:pt x="231" y="153"/>
                    </a:cubicBezTo>
                    <a:cubicBezTo>
                      <a:pt x="233" y="155"/>
                      <a:pt x="231" y="156"/>
                      <a:pt x="229" y="158"/>
                    </a:cubicBezTo>
                    <a:cubicBezTo>
                      <a:pt x="227" y="160"/>
                      <a:pt x="231" y="160"/>
                      <a:pt x="233" y="161"/>
                    </a:cubicBezTo>
                    <a:cubicBezTo>
                      <a:pt x="235" y="162"/>
                      <a:pt x="240" y="163"/>
                      <a:pt x="242" y="166"/>
                    </a:cubicBezTo>
                    <a:cubicBezTo>
                      <a:pt x="245" y="168"/>
                      <a:pt x="246" y="170"/>
                      <a:pt x="252" y="173"/>
                    </a:cubicBezTo>
                    <a:cubicBezTo>
                      <a:pt x="257" y="176"/>
                      <a:pt x="252" y="166"/>
                      <a:pt x="256" y="169"/>
                    </a:cubicBezTo>
                    <a:cubicBezTo>
                      <a:pt x="261" y="173"/>
                      <a:pt x="259" y="169"/>
                      <a:pt x="263" y="173"/>
                    </a:cubicBezTo>
                    <a:cubicBezTo>
                      <a:pt x="266" y="176"/>
                      <a:pt x="265" y="171"/>
                      <a:pt x="264" y="166"/>
                    </a:cubicBezTo>
                    <a:cubicBezTo>
                      <a:pt x="262" y="161"/>
                      <a:pt x="265" y="164"/>
                      <a:pt x="267" y="167"/>
                    </a:cubicBezTo>
                    <a:cubicBezTo>
                      <a:pt x="268" y="169"/>
                      <a:pt x="268" y="174"/>
                      <a:pt x="267" y="177"/>
                    </a:cubicBezTo>
                    <a:cubicBezTo>
                      <a:pt x="266" y="180"/>
                      <a:pt x="261" y="178"/>
                      <a:pt x="261" y="176"/>
                    </a:cubicBezTo>
                    <a:cubicBezTo>
                      <a:pt x="262" y="174"/>
                      <a:pt x="256" y="175"/>
                      <a:pt x="256" y="177"/>
                    </a:cubicBezTo>
                    <a:cubicBezTo>
                      <a:pt x="256" y="180"/>
                      <a:pt x="260" y="185"/>
                      <a:pt x="262" y="185"/>
                    </a:cubicBezTo>
                    <a:cubicBezTo>
                      <a:pt x="265" y="186"/>
                      <a:pt x="263" y="190"/>
                      <a:pt x="265" y="191"/>
                    </a:cubicBezTo>
                    <a:cubicBezTo>
                      <a:pt x="267" y="191"/>
                      <a:pt x="267" y="196"/>
                      <a:pt x="269" y="195"/>
                    </a:cubicBezTo>
                    <a:cubicBezTo>
                      <a:pt x="270" y="195"/>
                      <a:pt x="270" y="189"/>
                      <a:pt x="268" y="187"/>
                    </a:cubicBezTo>
                    <a:cubicBezTo>
                      <a:pt x="266" y="184"/>
                      <a:pt x="267" y="181"/>
                      <a:pt x="269" y="181"/>
                    </a:cubicBezTo>
                    <a:cubicBezTo>
                      <a:pt x="271" y="182"/>
                      <a:pt x="269" y="186"/>
                      <a:pt x="270" y="187"/>
                    </a:cubicBezTo>
                    <a:cubicBezTo>
                      <a:pt x="271" y="188"/>
                      <a:pt x="273" y="186"/>
                      <a:pt x="275" y="184"/>
                    </a:cubicBezTo>
                    <a:cubicBezTo>
                      <a:pt x="278" y="183"/>
                      <a:pt x="274" y="179"/>
                      <a:pt x="275" y="177"/>
                    </a:cubicBezTo>
                    <a:cubicBezTo>
                      <a:pt x="276" y="174"/>
                      <a:pt x="279" y="178"/>
                      <a:pt x="280" y="182"/>
                    </a:cubicBezTo>
                    <a:cubicBezTo>
                      <a:pt x="281" y="186"/>
                      <a:pt x="277" y="186"/>
                      <a:pt x="277" y="188"/>
                    </a:cubicBezTo>
                    <a:cubicBezTo>
                      <a:pt x="277" y="190"/>
                      <a:pt x="274" y="189"/>
                      <a:pt x="273" y="190"/>
                    </a:cubicBezTo>
                    <a:cubicBezTo>
                      <a:pt x="272" y="191"/>
                      <a:pt x="272" y="198"/>
                      <a:pt x="274" y="198"/>
                    </a:cubicBezTo>
                    <a:cubicBezTo>
                      <a:pt x="275" y="198"/>
                      <a:pt x="276" y="192"/>
                      <a:pt x="277" y="195"/>
                    </a:cubicBezTo>
                    <a:cubicBezTo>
                      <a:pt x="278" y="198"/>
                      <a:pt x="281" y="191"/>
                      <a:pt x="282" y="194"/>
                    </a:cubicBezTo>
                    <a:cubicBezTo>
                      <a:pt x="283" y="197"/>
                      <a:pt x="287" y="200"/>
                      <a:pt x="289" y="200"/>
                    </a:cubicBezTo>
                    <a:cubicBezTo>
                      <a:pt x="290" y="199"/>
                      <a:pt x="288" y="196"/>
                      <a:pt x="285" y="196"/>
                    </a:cubicBezTo>
                    <a:cubicBezTo>
                      <a:pt x="283" y="196"/>
                      <a:pt x="283" y="191"/>
                      <a:pt x="286" y="191"/>
                    </a:cubicBezTo>
                    <a:cubicBezTo>
                      <a:pt x="288" y="191"/>
                      <a:pt x="292" y="197"/>
                      <a:pt x="292" y="199"/>
                    </a:cubicBezTo>
                    <a:cubicBezTo>
                      <a:pt x="292" y="201"/>
                      <a:pt x="290" y="201"/>
                      <a:pt x="288" y="203"/>
                    </a:cubicBezTo>
                    <a:cubicBezTo>
                      <a:pt x="286" y="206"/>
                      <a:pt x="283" y="200"/>
                      <a:pt x="281" y="200"/>
                    </a:cubicBezTo>
                    <a:cubicBezTo>
                      <a:pt x="279" y="200"/>
                      <a:pt x="281" y="204"/>
                      <a:pt x="282" y="206"/>
                    </a:cubicBezTo>
                    <a:cubicBezTo>
                      <a:pt x="283" y="209"/>
                      <a:pt x="279" y="212"/>
                      <a:pt x="282" y="214"/>
                    </a:cubicBezTo>
                    <a:cubicBezTo>
                      <a:pt x="285" y="216"/>
                      <a:pt x="284" y="213"/>
                      <a:pt x="285" y="211"/>
                    </a:cubicBezTo>
                    <a:cubicBezTo>
                      <a:pt x="285" y="210"/>
                      <a:pt x="288" y="212"/>
                      <a:pt x="289" y="213"/>
                    </a:cubicBezTo>
                    <a:cubicBezTo>
                      <a:pt x="291" y="214"/>
                      <a:pt x="291" y="210"/>
                      <a:pt x="291" y="209"/>
                    </a:cubicBezTo>
                    <a:cubicBezTo>
                      <a:pt x="291" y="207"/>
                      <a:pt x="294" y="208"/>
                      <a:pt x="295" y="210"/>
                    </a:cubicBezTo>
                    <a:cubicBezTo>
                      <a:pt x="297" y="212"/>
                      <a:pt x="297" y="208"/>
                      <a:pt x="299" y="208"/>
                    </a:cubicBezTo>
                    <a:cubicBezTo>
                      <a:pt x="301" y="208"/>
                      <a:pt x="300" y="212"/>
                      <a:pt x="300" y="214"/>
                    </a:cubicBezTo>
                    <a:cubicBezTo>
                      <a:pt x="300" y="216"/>
                      <a:pt x="303" y="212"/>
                      <a:pt x="303" y="214"/>
                    </a:cubicBezTo>
                    <a:cubicBezTo>
                      <a:pt x="303" y="215"/>
                      <a:pt x="303" y="215"/>
                      <a:pt x="303" y="215"/>
                    </a:cubicBezTo>
                    <a:cubicBezTo>
                      <a:pt x="305" y="214"/>
                      <a:pt x="307" y="212"/>
                      <a:pt x="308" y="211"/>
                    </a:cubicBezTo>
                    <a:cubicBezTo>
                      <a:pt x="312" y="209"/>
                      <a:pt x="306" y="207"/>
                      <a:pt x="307" y="204"/>
                    </a:cubicBezTo>
                    <a:close/>
                    <a:moveTo>
                      <a:pt x="6" y="229"/>
                    </a:moveTo>
                    <a:cubicBezTo>
                      <a:pt x="10" y="227"/>
                      <a:pt x="12" y="225"/>
                      <a:pt x="10" y="223"/>
                    </a:cubicBezTo>
                    <a:cubicBezTo>
                      <a:pt x="8" y="221"/>
                      <a:pt x="3" y="231"/>
                      <a:pt x="6" y="229"/>
                    </a:cubicBezTo>
                    <a:close/>
                    <a:moveTo>
                      <a:pt x="36" y="213"/>
                    </a:moveTo>
                    <a:cubicBezTo>
                      <a:pt x="32" y="212"/>
                      <a:pt x="22" y="218"/>
                      <a:pt x="25" y="219"/>
                    </a:cubicBezTo>
                    <a:cubicBezTo>
                      <a:pt x="28" y="219"/>
                      <a:pt x="29" y="216"/>
                      <a:pt x="32" y="216"/>
                    </a:cubicBezTo>
                    <a:cubicBezTo>
                      <a:pt x="35" y="216"/>
                      <a:pt x="40" y="215"/>
                      <a:pt x="36" y="213"/>
                    </a:cubicBezTo>
                    <a:close/>
                    <a:moveTo>
                      <a:pt x="127" y="171"/>
                    </a:moveTo>
                    <a:cubicBezTo>
                      <a:pt x="127" y="169"/>
                      <a:pt x="124" y="169"/>
                      <a:pt x="120" y="174"/>
                    </a:cubicBezTo>
                    <a:cubicBezTo>
                      <a:pt x="117" y="178"/>
                      <a:pt x="114" y="180"/>
                      <a:pt x="113" y="182"/>
                    </a:cubicBezTo>
                    <a:cubicBezTo>
                      <a:pt x="113" y="184"/>
                      <a:pt x="109" y="181"/>
                      <a:pt x="107" y="184"/>
                    </a:cubicBezTo>
                    <a:cubicBezTo>
                      <a:pt x="106" y="186"/>
                      <a:pt x="108" y="192"/>
                      <a:pt x="111" y="190"/>
                    </a:cubicBezTo>
                    <a:cubicBezTo>
                      <a:pt x="113" y="188"/>
                      <a:pt x="113" y="190"/>
                      <a:pt x="115" y="190"/>
                    </a:cubicBezTo>
                    <a:cubicBezTo>
                      <a:pt x="117" y="190"/>
                      <a:pt x="124" y="185"/>
                      <a:pt x="126" y="183"/>
                    </a:cubicBezTo>
                    <a:cubicBezTo>
                      <a:pt x="127" y="180"/>
                      <a:pt x="123" y="179"/>
                      <a:pt x="122" y="178"/>
                    </a:cubicBezTo>
                    <a:cubicBezTo>
                      <a:pt x="122" y="176"/>
                      <a:pt x="126" y="176"/>
                      <a:pt x="128" y="175"/>
                    </a:cubicBezTo>
                    <a:cubicBezTo>
                      <a:pt x="130" y="174"/>
                      <a:pt x="126" y="173"/>
                      <a:pt x="127" y="171"/>
                    </a:cubicBezTo>
                    <a:close/>
                    <a:moveTo>
                      <a:pt x="13" y="150"/>
                    </a:moveTo>
                    <a:cubicBezTo>
                      <a:pt x="13" y="147"/>
                      <a:pt x="5" y="150"/>
                      <a:pt x="6" y="153"/>
                    </a:cubicBezTo>
                    <a:cubicBezTo>
                      <a:pt x="7" y="155"/>
                      <a:pt x="14" y="157"/>
                      <a:pt x="17" y="156"/>
                    </a:cubicBezTo>
                    <a:cubicBezTo>
                      <a:pt x="20" y="155"/>
                      <a:pt x="21" y="152"/>
                      <a:pt x="19" y="151"/>
                    </a:cubicBezTo>
                    <a:cubicBezTo>
                      <a:pt x="17" y="149"/>
                      <a:pt x="13" y="153"/>
                      <a:pt x="13" y="150"/>
                    </a:cubicBezTo>
                    <a:close/>
                    <a:moveTo>
                      <a:pt x="100" y="544"/>
                    </a:moveTo>
                    <a:cubicBezTo>
                      <a:pt x="95" y="545"/>
                      <a:pt x="98" y="556"/>
                      <a:pt x="100" y="554"/>
                    </a:cubicBezTo>
                    <a:cubicBezTo>
                      <a:pt x="102" y="553"/>
                      <a:pt x="105" y="552"/>
                      <a:pt x="106" y="551"/>
                    </a:cubicBezTo>
                    <a:cubicBezTo>
                      <a:pt x="107" y="548"/>
                      <a:pt x="104" y="543"/>
                      <a:pt x="100" y="544"/>
                    </a:cubicBezTo>
                    <a:close/>
                    <a:moveTo>
                      <a:pt x="94" y="537"/>
                    </a:moveTo>
                    <a:cubicBezTo>
                      <a:pt x="91" y="538"/>
                      <a:pt x="93" y="542"/>
                      <a:pt x="95" y="541"/>
                    </a:cubicBezTo>
                    <a:cubicBezTo>
                      <a:pt x="98" y="539"/>
                      <a:pt x="97" y="537"/>
                      <a:pt x="94" y="537"/>
                    </a:cubicBezTo>
                    <a:close/>
                    <a:moveTo>
                      <a:pt x="66" y="528"/>
                    </a:moveTo>
                    <a:cubicBezTo>
                      <a:pt x="69" y="531"/>
                      <a:pt x="70" y="530"/>
                      <a:pt x="71" y="528"/>
                    </a:cubicBezTo>
                    <a:cubicBezTo>
                      <a:pt x="72" y="526"/>
                      <a:pt x="64" y="525"/>
                      <a:pt x="66" y="528"/>
                    </a:cubicBezTo>
                    <a:close/>
                    <a:moveTo>
                      <a:pt x="79" y="534"/>
                    </a:moveTo>
                    <a:cubicBezTo>
                      <a:pt x="80" y="536"/>
                      <a:pt x="82" y="537"/>
                      <a:pt x="84" y="534"/>
                    </a:cubicBezTo>
                    <a:cubicBezTo>
                      <a:pt x="85" y="532"/>
                      <a:pt x="77" y="530"/>
                      <a:pt x="79" y="534"/>
                    </a:cubicBezTo>
                    <a:close/>
                    <a:moveTo>
                      <a:pt x="811" y="295"/>
                    </a:moveTo>
                    <a:cubicBezTo>
                      <a:pt x="810" y="292"/>
                      <a:pt x="803" y="294"/>
                      <a:pt x="800" y="292"/>
                    </a:cubicBezTo>
                    <a:cubicBezTo>
                      <a:pt x="797" y="289"/>
                      <a:pt x="791" y="301"/>
                      <a:pt x="790" y="306"/>
                    </a:cubicBezTo>
                    <a:cubicBezTo>
                      <a:pt x="789" y="311"/>
                      <a:pt x="780" y="316"/>
                      <a:pt x="780" y="316"/>
                    </a:cubicBezTo>
                    <a:cubicBezTo>
                      <a:pt x="780" y="316"/>
                      <a:pt x="754" y="317"/>
                      <a:pt x="752" y="317"/>
                    </a:cubicBezTo>
                    <a:cubicBezTo>
                      <a:pt x="751" y="317"/>
                      <a:pt x="745" y="322"/>
                      <a:pt x="741" y="325"/>
                    </a:cubicBezTo>
                    <a:cubicBezTo>
                      <a:pt x="741" y="325"/>
                      <a:pt x="742" y="325"/>
                      <a:pt x="742" y="325"/>
                    </a:cubicBezTo>
                    <a:cubicBezTo>
                      <a:pt x="744" y="330"/>
                      <a:pt x="735" y="333"/>
                      <a:pt x="726" y="333"/>
                    </a:cubicBezTo>
                    <a:cubicBezTo>
                      <a:pt x="723" y="333"/>
                      <a:pt x="721" y="333"/>
                      <a:pt x="720" y="334"/>
                    </a:cubicBezTo>
                    <a:cubicBezTo>
                      <a:pt x="720" y="335"/>
                      <a:pt x="720" y="336"/>
                      <a:pt x="720" y="337"/>
                    </a:cubicBezTo>
                    <a:cubicBezTo>
                      <a:pt x="720" y="337"/>
                      <a:pt x="719" y="338"/>
                      <a:pt x="718" y="339"/>
                    </a:cubicBezTo>
                    <a:cubicBezTo>
                      <a:pt x="716" y="342"/>
                      <a:pt x="705" y="347"/>
                      <a:pt x="699" y="350"/>
                    </a:cubicBezTo>
                    <a:cubicBezTo>
                      <a:pt x="692" y="354"/>
                      <a:pt x="683" y="352"/>
                      <a:pt x="683" y="347"/>
                    </a:cubicBezTo>
                    <a:cubicBezTo>
                      <a:pt x="683" y="341"/>
                      <a:pt x="688" y="342"/>
                      <a:pt x="689" y="345"/>
                    </a:cubicBezTo>
                    <a:cubicBezTo>
                      <a:pt x="690" y="346"/>
                      <a:pt x="691" y="345"/>
                      <a:pt x="692" y="344"/>
                    </a:cubicBezTo>
                    <a:cubicBezTo>
                      <a:pt x="691" y="342"/>
                      <a:pt x="691" y="340"/>
                      <a:pt x="691" y="338"/>
                    </a:cubicBezTo>
                    <a:cubicBezTo>
                      <a:pt x="689" y="337"/>
                      <a:pt x="692" y="329"/>
                      <a:pt x="688" y="327"/>
                    </a:cubicBezTo>
                    <a:cubicBezTo>
                      <a:pt x="684" y="326"/>
                      <a:pt x="679" y="333"/>
                      <a:pt x="680" y="329"/>
                    </a:cubicBezTo>
                    <a:cubicBezTo>
                      <a:pt x="680" y="324"/>
                      <a:pt x="687" y="320"/>
                      <a:pt x="683" y="314"/>
                    </a:cubicBezTo>
                    <a:cubicBezTo>
                      <a:pt x="679" y="308"/>
                      <a:pt x="672" y="308"/>
                      <a:pt x="670" y="313"/>
                    </a:cubicBezTo>
                    <a:cubicBezTo>
                      <a:pt x="669" y="317"/>
                      <a:pt x="664" y="315"/>
                      <a:pt x="662" y="319"/>
                    </a:cubicBezTo>
                    <a:cubicBezTo>
                      <a:pt x="660" y="322"/>
                      <a:pt x="659" y="330"/>
                      <a:pt x="660" y="336"/>
                    </a:cubicBezTo>
                    <a:cubicBezTo>
                      <a:pt x="661" y="342"/>
                      <a:pt x="660" y="344"/>
                      <a:pt x="654" y="348"/>
                    </a:cubicBezTo>
                    <a:cubicBezTo>
                      <a:pt x="649" y="351"/>
                      <a:pt x="646" y="343"/>
                      <a:pt x="648" y="332"/>
                    </a:cubicBezTo>
                    <a:cubicBezTo>
                      <a:pt x="650" y="325"/>
                      <a:pt x="654" y="318"/>
                      <a:pt x="650" y="318"/>
                    </a:cubicBezTo>
                    <a:cubicBezTo>
                      <a:pt x="646" y="318"/>
                      <a:pt x="655" y="310"/>
                      <a:pt x="662" y="308"/>
                    </a:cubicBezTo>
                    <a:cubicBezTo>
                      <a:pt x="670" y="306"/>
                      <a:pt x="679" y="307"/>
                      <a:pt x="679" y="305"/>
                    </a:cubicBezTo>
                    <a:cubicBezTo>
                      <a:pt x="679" y="304"/>
                      <a:pt x="679" y="304"/>
                      <a:pt x="680" y="304"/>
                    </a:cubicBezTo>
                    <a:cubicBezTo>
                      <a:pt x="678" y="303"/>
                      <a:pt x="677" y="302"/>
                      <a:pt x="675" y="301"/>
                    </a:cubicBezTo>
                    <a:cubicBezTo>
                      <a:pt x="675" y="301"/>
                      <a:pt x="675" y="302"/>
                      <a:pt x="674" y="302"/>
                    </a:cubicBezTo>
                    <a:cubicBezTo>
                      <a:pt x="671" y="304"/>
                      <a:pt x="672" y="299"/>
                      <a:pt x="667" y="299"/>
                    </a:cubicBezTo>
                    <a:cubicBezTo>
                      <a:pt x="661" y="299"/>
                      <a:pt x="656" y="304"/>
                      <a:pt x="652" y="302"/>
                    </a:cubicBezTo>
                    <a:cubicBezTo>
                      <a:pt x="648" y="299"/>
                      <a:pt x="650" y="297"/>
                      <a:pt x="646" y="297"/>
                    </a:cubicBezTo>
                    <a:cubicBezTo>
                      <a:pt x="642" y="297"/>
                      <a:pt x="649" y="289"/>
                      <a:pt x="643" y="292"/>
                    </a:cubicBezTo>
                    <a:cubicBezTo>
                      <a:pt x="637" y="296"/>
                      <a:pt x="629" y="303"/>
                      <a:pt x="625" y="300"/>
                    </a:cubicBezTo>
                    <a:cubicBezTo>
                      <a:pt x="621" y="296"/>
                      <a:pt x="617" y="301"/>
                      <a:pt x="614" y="298"/>
                    </a:cubicBezTo>
                    <a:cubicBezTo>
                      <a:pt x="612" y="295"/>
                      <a:pt x="624" y="287"/>
                      <a:pt x="630" y="288"/>
                    </a:cubicBezTo>
                    <a:cubicBezTo>
                      <a:pt x="632" y="288"/>
                      <a:pt x="633" y="287"/>
                      <a:pt x="635" y="286"/>
                    </a:cubicBezTo>
                    <a:cubicBezTo>
                      <a:pt x="631" y="285"/>
                      <a:pt x="625" y="282"/>
                      <a:pt x="623" y="285"/>
                    </a:cubicBezTo>
                    <a:cubicBezTo>
                      <a:pt x="621" y="287"/>
                      <a:pt x="618" y="285"/>
                      <a:pt x="616" y="283"/>
                    </a:cubicBezTo>
                    <a:cubicBezTo>
                      <a:pt x="614" y="281"/>
                      <a:pt x="612" y="284"/>
                      <a:pt x="609" y="281"/>
                    </a:cubicBezTo>
                    <a:cubicBezTo>
                      <a:pt x="607" y="277"/>
                      <a:pt x="604" y="280"/>
                      <a:pt x="602" y="280"/>
                    </a:cubicBezTo>
                    <a:cubicBezTo>
                      <a:pt x="600" y="281"/>
                      <a:pt x="598" y="279"/>
                      <a:pt x="595" y="278"/>
                    </a:cubicBezTo>
                    <a:cubicBezTo>
                      <a:pt x="592" y="277"/>
                      <a:pt x="594" y="274"/>
                      <a:pt x="592" y="272"/>
                    </a:cubicBezTo>
                    <a:cubicBezTo>
                      <a:pt x="589" y="270"/>
                      <a:pt x="589" y="276"/>
                      <a:pt x="589" y="276"/>
                    </a:cubicBezTo>
                    <a:cubicBezTo>
                      <a:pt x="367" y="277"/>
                      <a:pt x="367" y="277"/>
                      <a:pt x="367" y="277"/>
                    </a:cubicBezTo>
                    <a:cubicBezTo>
                      <a:pt x="368" y="277"/>
                      <a:pt x="368" y="277"/>
                      <a:pt x="368" y="278"/>
                    </a:cubicBezTo>
                    <a:cubicBezTo>
                      <a:pt x="371" y="281"/>
                      <a:pt x="369" y="283"/>
                      <a:pt x="370" y="286"/>
                    </a:cubicBezTo>
                    <a:cubicBezTo>
                      <a:pt x="371" y="290"/>
                      <a:pt x="370" y="294"/>
                      <a:pt x="367" y="294"/>
                    </a:cubicBezTo>
                    <a:cubicBezTo>
                      <a:pt x="364" y="294"/>
                      <a:pt x="364" y="291"/>
                      <a:pt x="366" y="290"/>
                    </a:cubicBezTo>
                    <a:cubicBezTo>
                      <a:pt x="368" y="289"/>
                      <a:pt x="367" y="285"/>
                      <a:pt x="365" y="285"/>
                    </a:cubicBezTo>
                    <a:cubicBezTo>
                      <a:pt x="364" y="285"/>
                      <a:pt x="363" y="284"/>
                      <a:pt x="363" y="282"/>
                    </a:cubicBezTo>
                    <a:cubicBezTo>
                      <a:pt x="360" y="283"/>
                      <a:pt x="356" y="283"/>
                      <a:pt x="351" y="282"/>
                    </a:cubicBezTo>
                    <a:cubicBezTo>
                      <a:pt x="351" y="282"/>
                      <a:pt x="351" y="283"/>
                      <a:pt x="351" y="283"/>
                    </a:cubicBezTo>
                    <a:cubicBezTo>
                      <a:pt x="351" y="285"/>
                      <a:pt x="352" y="290"/>
                      <a:pt x="355" y="294"/>
                    </a:cubicBezTo>
                    <a:cubicBezTo>
                      <a:pt x="358" y="297"/>
                      <a:pt x="356" y="300"/>
                      <a:pt x="359" y="301"/>
                    </a:cubicBezTo>
                    <a:cubicBezTo>
                      <a:pt x="361" y="303"/>
                      <a:pt x="361" y="304"/>
                      <a:pt x="359" y="304"/>
                    </a:cubicBezTo>
                    <a:cubicBezTo>
                      <a:pt x="356" y="303"/>
                      <a:pt x="358" y="306"/>
                      <a:pt x="357" y="311"/>
                    </a:cubicBezTo>
                    <a:cubicBezTo>
                      <a:pt x="356" y="316"/>
                      <a:pt x="356" y="327"/>
                      <a:pt x="356" y="331"/>
                    </a:cubicBezTo>
                    <a:cubicBezTo>
                      <a:pt x="355" y="334"/>
                      <a:pt x="351" y="340"/>
                      <a:pt x="354" y="343"/>
                    </a:cubicBezTo>
                    <a:cubicBezTo>
                      <a:pt x="356" y="347"/>
                      <a:pt x="358" y="352"/>
                      <a:pt x="356" y="356"/>
                    </a:cubicBezTo>
                    <a:cubicBezTo>
                      <a:pt x="355" y="361"/>
                      <a:pt x="355" y="364"/>
                      <a:pt x="357" y="367"/>
                    </a:cubicBezTo>
                    <a:cubicBezTo>
                      <a:pt x="359" y="370"/>
                      <a:pt x="358" y="376"/>
                      <a:pt x="360" y="377"/>
                    </a:cubicBezTo>
                    <a:cubicBezTo>
                      <a:pt x="362" y="379"/>
                      <a:pt x="364" y="381"/>
                      <a:pt x="366" y="384"/>
                    </a:cubicBezTo>
                    <a:cubicBezTo>
                      <a:pt x="368" y="388"/>
                      <a:pt x="369" y="386"/>
                      <a:pt x="370" y="389"/>
                    </a:cubicBezTo>
                    <a:cubicBezTo>
                      <a:pt x="370" y="392"/>
                      <a:pt x="370" y="393"/>
                      <a:pt x="373" y="394"/>
                    </a:cubicBezTo>
                    <a:cubicBezTo>
                      <a:pt x="376" y="395"/>
                      <a:pt x="374" y="398"/>
                      <a:pt x="374" y="400"/>
                    </a:cubicBezTo>
                    <a:cubicBezTo>
                      <a:pt x="374" y="402"/>
                      <a:pt x="378" y="405"/>
                      <a:pt x="383" y="409"/>
                    </a:cubicBezTo>
                    <a:cubicBezTo>
                      <a:pt x="387" y="413"/>
                      <a:pt x="383" y="417"/>
                      <a:pt x="387" y="417"/>
                    </a:cubicBezTo>
                    <a:cubicBezTo>
                      <a:pt x="390" y="417"/>
                      <a:pt x="393" y="419"/>
                      <a:pt x="397" y="421"/>
                    </a:cubicBezTo>
                    <a:cubicBezTo>
                      <a:pt x="400" y="423"/>
                      <a:pt x="401" y="422"/>
                      <a:pt x="403" y="422"/>
                    </a:cubicBezTo>
                    <a:cubicBezTo>
                      <a:pt x="406" y="423"/>
                      <a:pt x="410" y="428"/>
                      <a:pt x="411" y="431"/>
                    </a:cubicBezTo>
                    <a:cubicBezTo>
                      <a:pt x="411" y="433"/>
                      <a:pt x="412" y="434"/>
                      <a:pt x="413" y="436"/>
                    </a:cubicBezTo>
                    <a:cubicBezTo>
                      <a:pt x="431" y="434"/>
                      <a:pt x="431" y="434"/>
                      <a:pt x="431" y="434"/>
                    </a:cubicBezTo>
                    <a:cubicBezTo>
                      <a:pt x="431" y="434"/>
                      <a:pt x="437" y="438"/>
                      <a:pt x="440" y="439"/>
                    </a:cubicBezTo>
                    <a:cubicBezTo>
                      <a:pt x="443" y="439"/>
                      <a:pt x="461" y="446"/>
                      <a:pt x="461" y="446"/>
                    </a:cubicBezTo>
                    <a:cubicBezTo>
                      <a:pt x="484" y="446"/>
                      <a:pt x="484" y="446"/>
                      <a:pt x="484" y="446"/>
                    </a:cubicBezTo>
                    <a:cubicBezTo>
                      <a:pt x="486" y="442"/>
                      <a:pt x="486" y="442"/>
                      <a:pt x="486" y="442"/>
                    </a:cubicBezTo>
                    <a:cubicBezTo>
                      <a:pt x="499" y="442"/>
                      <a:pt x="499" y="442"/>
                      <a:pt x="499" y="442"/>
                    </a:cubicBezTo>
                    <a:cubicBezTo>
                      <a:pt x="499" y="442"/>
                      <a:pt x="507" y="450"/>
                      <a:pt x="508" y="450"/>
                    </a:cubicBezTo>
                    <a:cubicBezTo>
                      <a:pt x="509" y="451"/>
                      <a:pt x="513" y="454"/>
                      <a:pt x="513" y="457"/>
                    </a:cubicBezTo>
                    <a:cubicBezTo>
                      <a:pt x="513" y="459"/>
                      <a:pt x="514" y="461"/>
                      <a:pt x="516" y="462"/>
                    </a:cubicBezTo>
                    <a:cubicBezTo>
                      <a:pt x="518" y="463"/>
                      <a:pt x="525" y="467"/>
                      <a:pt x="525" y="467"/>
                    </a:cubicBezTo>
                    <a:cubicBezTo>
                      <a:pt x="526" y="466"/>
                      <a:pt x="528" y="459"/>
                      <a:pt x="532" y="459"/>
                    </a:cubicBezTo>
                    <a:cubicBezTo>
                      <a:pt x="535" y="459"/>
                      <a:pt x="545" y="462"/>
                      <a:pt x="546" y="467"/>
                    </a:cubicBezTo>
                    <a:cubicBezTo>
                      <a:pt x="548" y="473"/>
                      <a:pt x="552" y="477"/>
                      <a:pt x="554" y="478"/>
                    </a:cubicBezTo>
                    <a:cubicBezTo>
                      <a:pt x="555" y="479"/>
                      <a:pt x="554" y="483"/>
                      <a:pt x="556" y="484"/>
                    </a:cubicBezTo>
                    <a:cubicBezTo>
                      <a:pt x="557" y="486"/>
                      <a:pt x="557" y="489"/>
                      <a:pt x="558" y="489"/>
                    </a:cubicBezTo>
                    <a:cubicBezTo>
                      <a:pt x="559" y="489"/>
                      <a:pt x="566" y="493"/>
                      <a:pt x="569" y="493"/>
                    </a:cubicBezTo>
                    <a:cubicBezTo>
                      <a:pt x="570" y="493"/>
                      <a:pt x="571" y="494"/>
                      <a:pt x="572" y="494"/>
                    </a:cubicBezTo>
                    <a:cubicBezTo>
                      <a:pt x="573" y="488"/>
                      <a:pt x="566" y="487"/>
                      <a:pt x="570" y="484"/>
                    </a:cubicBezTo>
                    <a:cubicBezTo>
                      <a:pt x="575" y="481"/>
                      <a:pt x="570" y="478"/>
                      <a:pt x="572" y="476"/>
                    </a:cubicBezTo>
                    <a:cubicBezTo>
                      <a:pt x="574" y="475"/>
                      <a:pt x="578" y="474"/>
                      <a:pt x="578" y="471"/>
                    </a:cubicBezTo>
                    <a:cubicBezTo>
                      <a:pt x="578" y="469"/>
                      <a:pt x="580" y="469"/>
                      <a:pt x="583" y="470"/>
                    </a:cubicBezTo>
                    <a:cubicBezTo>
                      <a:pt x="586" y="470"/>
                      <a:pt x="591" y="465"/>
                      <a:pt x="591" y="463"/>
                    </a:cubicBezTo>
                    <a:cubicBezTo>
                      <a:pt x="590" y="461"/>
                      <a:pt x="591" y="461"/>
                      <a:pt x="595" y="461"/>
                    </a:cubicBezTo>
                    <a:cubicBezTo>
                      <a:pt x="598" y="462"/>
                      <a:pt x="597" y="458"/>
                      <a:pt x="600" y="458"/>
                    </a:cubicBezTo>
                    <a:cubicBezTo>
                      <a:pt x="602" y="459"/>
                      <a:pt x="603" y="460"/>
                      <a:pt x="604" y="459"/>
                    </a:cubicBezTo>
                    <a:cubicBezTo>
                      <a:pt x="604" y="457"/>
                      <a:pt x="606" y="457"/>
                      <a:pt x="608" y="459"/>
                    </a:cubicBezTo>
                    <a:cubicBezTo>
                      <a:pt x="609" y="462"/>
                      <a:pt x="614" y="462"/>
                      <a:pt x="614" y="460"/>
                    </a:cubicBezTo>
                    <a:cubicBezTo>
                      <a:pt x="615" y="457"/>
                      <a:pt x="617" y="460"/>
                      <a:pt x="620" y="462"/>
                    </a:cubicBezTo>
                    <a:cubicBezTo>
                      <a:pt x="622" y="465"/>
                      <a:pt x="623" y="464"/>
                      <a:pt x="626" y="464"/>
                    </a:cubicBezTo>
                    <a:cubicBezTo>
                      <a:pt x="630" y="464"/>
                      <a:pt x="630" y="463"/>
                      <a:pt x="630" y="461"/>
                    </a:cubicBezTo>
                    <a:cubicBezTo>
                      <a:pt x="630" y="459"/>
                      <a:pt x="634" y="466"/>
                      <a:pt x="637" y="466"/>
                    </a:cubicBezTo>
                    <a:cubicBezTo>
                      <a:pt x="640" y="467"/>
                      <a:pt x="638" y="464"/>
                      <a:pt x="635" y="462"/>
                    </a:cubicBezTo>
                    <a:cubicBezTo>
                      <a:pt x="633" y="460"/>
                      <a:pt x="636" y="459"/>
                      <a:pt x="634" y="458"/>
                    </a:cubicBezTo>
                    <a:cubicBezTo>
                      <a:pt x="631" y="456"/>
                      <a:pt x="636" y="454"/>
                      <a:pt x="641" y="454"/>
                    </a:cubicBezTo>
                    <a:cubicBezTo>
                      <a:pt x="645" y="454"/>
                      <a:pt x="645" y="455"/>
                      <a:pt x="646" y="453"/>
                    </a:cubicBezTo>
                    <a:cubicBezTo>
                      <a:pt x="648" y="450"/>
                      <a:pt x="649" y="453"/>
                      <a:pt x="649" y="455"/>
                    </a:cubicBezTo>
                    <a:cubicBezTo>
                      <a:pt x="649" y="457"/>
                      <a:pt x="656" y="454"/>
                      <a:pt x="660" y="454"/>
                    </a:cubicBezTo>
                    <a:cubicBezTo>
                      <a:pt x="664" y="454"/>
                      <a:pt x="667" y="457"/>
                      <a:pt x="668" y="459"/>
                    </a:cubicBezTo>
                    <a:cubicBezTo>
                      <a:pt x="668" y="461"/>
                      <a:pt x="671" y="462"/>
                      <a:pt x="673" y="460"/>
                    </a:cubicBezTo>
                    <a:cubicBezTo>
                      <a:pt x="676" y="458"/>
                      <a:pt x="678" y="455"/>
                      <a:pt x="681" y="458"/>
                    </a:cubicBezTo>
                    <a:cubicBezTo>
                      <a:pt x="683" y="460"/>
                      <a:pt x="686" y="463"/>
                      <a:pt x="689" y="466"/>
                    </a:cubicBezTo>
                    <a:cubicBezTo>
                      <a:pt x="692" y="469"/>
                      <a:pt x="687" y="473"/>
                      <a:pt x="689" y="476"/>
                    </a:cubicBezTo>
                    <a:cubicBezTo>
                      <a:pt x="691" y="478"/>
                      <a:pt x="689" y="481"/>
                      <a:pt x="692" y="484"/>
                    </a:cubicBezTo>
                    <a:cubicBezTo>
                      <a:pt x="696" y="486"/>
                      <a:pt x="693" y="491"/>
                      <a:pt x="696" y="492"/>
                    </a:cubicBezTo>
                    <a:cubicBezTo>
                      <a:pt x="698" y="493"/>
                      <a:pt x="701" y="497"/>
                      <a:pt x="701" y="499"/>
                    </a:cubicBezTo>
                    <a:cubicBezTo>
                      <a:pt x="701" y="501"/>
                      <a:pt x="707" y="503"/>
                      <a:pt x="707" y="500"/>
                    </a:cubicBezTo>
                    <a:cubicBezTo>
                      <a:pt x="707" y="497"/>
                      <a:pt x="710" y="493"/>
                      <a:pt x="711" y="490"/>
                    </a:cubicBezTo>
                    <a:cubicBezTo>
                      <a:pt x="711" y="488"/>
                      <a:pt x="709" y="477"/>
                      <a:pt x="706" y="474"/>
                    </a:cubicBezTo>
                    <a:cubicBezTo>
                      <a:pt x="704" y="471"/>
                      <a:pt x="707" y="470"/>
                      <a:pt x="704" y="467"/>
                    </a:cubicBezTo>
                    <a:cubicBezTo>
                      <a:pt x="701" y="463"/>
                      <a:pt x="699" y="456"/>
                      <a:pt x="699" y="451"/>
                    </a:cubicBezTo>
                    <a:cubicBezTo>
                      <a:pt x="700" y="446"/>
                      <a:pt x="706" y="437"/>
                      <a:pt x="709" y="434"/>
                    </a:cubicBezTo>
                    <a:cubicBezTo>
                      <a:pt x="712" y="431"/>
                      <a:pt x="715" y="433"/>
                      <a:pt x="716" y="430"/>
                    </a:cubicBezTo>
                    <a:cubicBezTo>
                      <a:pt x="717" y="427"/>
                      <a:pt x="720" y="424"/>
                      <a:pt x="723" y="424"/>
                    </a:cubicBezTo>
                    <a:cubicBezTo>
                      <a:pt x="725" y="424"/>
                      <a:pt x="727" y="424"/>
                      <a:pt x="727" y="422"/>
                    </a:cubicBezTo>
                    <a:cubicBezTo>
                      <a:pt x="728" y="420"/>
                      <a:pt x="731" y="417"/>
                      <a:pt x="736" y="416"/>
                    </a:cubicBezTo>
                    <a:cubicBezTo>
                      <a:pt x="741" y="415"/>
                      <a:pt x="738" y="413"/>
                      <a:pt x="737" y="411"/>
                    </a:cubicBezTo>
                    <a:cubicBezTo>
                      <a:pt x="735" y="408"/>
                      <a:pt x="738" y="406"/>
                      <a:pt x="739" y="408"/>
                    </a:cubicBezTo>
                    <a:cubicBezTo>
                      <a:pt x="740" y="409"/>
                      <a:pt x="742" y="409"/>
                      <a:pt x="744" y="408"/>
                    </a:cubicBezTo>
                    <a:cubicBezTo>
                      <a:pt x="746" y="407"/>
                      <a:pt x="750" y="403"/>
                      <a:pt x="746" y="403"/>
                    </a:cubicBezTo>
                    <a:cubicBezTo>
                      <a:pt x="742" y="403"/>
                      <a:pt x="741" y="402"/>
                      <a:pt x="744" y="401"/>
                    </a:cubicBezTo>
                    <a:cubicBezTo>
                      <a:pt x="746" y="400"/>
                      <a:pt x="744" y="395"/>
                      <a:pt x="741" y="395"/>
                    </a:cubicBezTo>
                    <a:cubicBezTo>
                      <a:pt x="738" y="395"/>
                      <a:pt x="739" y="393"/>
                      <a:pt x="741" y="391"/>
                    </a:cubicBezTo>
                    <a:cubicBezTo>
                      <a:pt x="743" y="389"/>
                      <a:pt x="738" y="386"/>
                      <a:pt x="735" y="384"/>
                    </a:cubicBezTo>
                    <a:cubicBezTo>
                      <a:pt x="733" y="383"/>
                      <a:pt x="737" y="382"/>
                      <a:pt x="739" y="382"/>
                    </a:cubicBezTo>
                    <a:cubicBezTo>
                      <a:pt x="740" y="381"/>
                      <a:pt x="739" y="373"/>
                      <a:pt x="740" y="371"/>
                    </a:cubicBezTo>
                    <a:cubicBezTo>
                      <a:pt x="741" y="369"/>
                      <a:pt x="744" y="369"/>
                      <a:pt x="743" y="371"/>
                    </a:cubicBezTo>
                    <a:cubicBezTo>
                      <a:pt x="741" y="373"/>
                      <a:pt x="740" y="376"/>
                      <a:pt x="742" y="379"/>
                    </a:cubicBezTo>
                    <a:cubicBezTo>
                      <a:pt x="744" y="382"/>
                      <a:pt x="745" y="384"/>
                      <a:pt x="744" y="388"/>
                    </a:cubicBezTo>
                    <a:cubicBezTo>
                      <a:pt x="743" y="393"/>
                      <a:pt x="745" y="392"/>
                      <a:pt x="748" y="386"/>
                    </a:cubicBezTo>
                    <a:cubicBezTo>
                      <a:pt x="750" y="381"/>
                      <a:pt x="751" y="376"/>
                      <a:pt x="749" y="376"/>
                    </a:cubicBezTo>
                    <a:cubicBezTo>
                      <a:pt x="747" y="375"/>
                      <a:pt x="747" y="370"/>
                      <a:pt x="749" y="372"/>
                    </a:cubicBezTo>
                    <a:cubicBezTo>
                      <a:pt x="751" y="375"/>
                      <a:pt x="752" y="375"/>
                      <a:pt x="755" y="372"/>
                    </a:cubicBezTo>
                    <a:cubicBezTo>
                      <a:pt x="758" y="369"/>
                      <a:pt x="761" y="363"/>
                      <a:pt x="759" y="362"/>
                    </a:cubicBezTo>
                    <a:cubicBezTo>
                      <a:pt x="757" y="361"/>
                      <a:pt x="760" y="359"/>
                      <a:pt x="764" y="360"/>
                    </a:cubicBezTo>
                    <a:cubicBezTo>
                      <a:pt x="767" y="360"/>
                      <a:pt x="775" y="357"/>
                      <a:pt x="775" y="356"/>
                    </a:cubicBezTo>
                    <a:cubicBezTo>
                      <a:pt x="777" y="353"/>
                      <a:pt x="763" y="358"/>
                      <a:pt x="763" y="356"/>
                    </a:cubicBezTo>
                    <a:cubicBezTo>
                      <a:pt x="763" y="354"/>
                      <a:pt x="772" y="352"/>
                      <a:pt x="776" y="352"/>
                    </a:cubicBezTo>
                    <a:cubicBezTo>
                      <a:pt x="780" y="352"/>
                      <a:pt x="778" y="346"/>
                      <a:pt x="780" y="349"/>
                    </a:cubicBezTo>
                    <a:cubicBezTo>
                      <a:pt x="782" y="351"/>
                      <a:pt x="784" y="350"/>
                      <a:pt x="787" y="349"/>
                    </a:cubicBezTo>
                    <a:cubicBezTo>
                      <a:pt x="789" y="348"/>
                      <a:pt x="787" y="344"/>
                      <a:pt x="785" y="343"/>
                    </a:cubicBezTo>
                    <a:cubicBezTo>
                      <a:pt x="782" y="342"/>
                      <a:pt x="787" y="340"/>
                      <a:pt x="786" y="339"/>
                    </a:cubicBezTo>
                    <a:cubicBezTo>
                      <a:pt x="785" y="337"/>
                      <a:pt x="788" y="331"/>
                      <a:pt x="791" y="330"/>
                    </a:cubicBezTo>
                    <a:cubicBezTo>
                      <a:pt x="794" y="329"/>
                      <a:pt x="793" y="327"/>
                      <a:pt x="796" y="327"/>
                    </a:cubicBezTo>
                    <a:cubicBezTo>
                      <a:pt x="798" y="327"/>
                      <a:pt x="799" y="324"/>
                      <a:pt x="801" y="321"/>
                    </a:cubicBezTo>
                    <a:cubicBezTo>
                      <a:pt x="804" y="319"/>
                      <a:pt x="808" y="325"/>
                      <a:pt x="811" y="322"/>
                    </a:cubicBezTo>
                    <a:cubicBezTo>
                      <a:pt x="813" y="320"/>
                      <a:pt x="815" y="319"/>
                      <a:pt x="817" y="317"/>
                    </a:cubicBezTo>
                    <a:cubicBezTo>
                      <a:pt x="808" y="305"/>
                      <a:pt x="811" y="297"/>
                      <a:pt x="811" y="29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56" name="Freeform 127">
                <a:extLst>
                  <a:ext uri="{FF2B5EF4-FFF2-40B4-BE49-F238E27FC236}">
                    <a16:creationId xmlns:a16="http://schemas.microsoft.com/office/drawing/2014/main" id="{589F608E-8F13-41A5-A0DA-41985C14A5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509679" y="2743993"/>
                <a:ext cx="294296" cy="450999"/>
              </a:xfrm>
              <a:custGeom>
                <a:avLst/>
                <a:gdLst>
                  <a:gd name="T0" fmla="*/ 5 w 81"/>
                  <a:gd name="T1" fmla="*/ 68 h 124"/>
                  <a:gd name="T2" fmla="*/ 1 w 81"/>
                  <a:gd name="T3" fmla="*/ 77 h 124"/>
                  <a:gd name="T4" fmla="*/ 11 w 81"/>
                  <a:gd name="T5" fmla="*/ 77 h 124"/>
                  <a:gd name="T6" fmla="*/ 20 w 81"/>
                  <a:gd name="T7" fmla="*/ 75 h 124"/>
                  <a:gd name="T8" fmla="*/ 81 w 81"/>
                  <a:gd name="T9" fmla="*/ 96 h 124"/>
                  <a:gd name="T10" fmla="*/ 68 w 81"/>
                  <a:gd name="T11" fmla="*/ 91 h 124"/>
                  <a:gd name="T12" fmla="*/ 65 w 81"/>
                  <a:gd name="T13" fmla="*/ 82 h 124"/>
                  <a:gd name="T14" fmla="*/ 54 w 81"/>
                  <a:gd name="T15" fmla="*/ 63 h 124"/>
                  <a:gd name="T16" fmla="*/ 41 w 81"/>
                  <a:gd name="T17" fmla="*/ 57 h 124"/>
                  <a:gd name="T18" fmla="*/ 50 w 81"/>
                  <a:gd name="T19" fmla="*/ 38 h 124"/>
                  <a:gd name="T20" fmla="*/ 33 w 81"/>
                  <a:gd name="T21" fmla="*/ 35 h 124"/>
                  <a:gd name="T22" fmla="*/ 40 w 81"/>
                  <a:gd name="T23" fmla="*/ 23 h 124"/>
                  <a:gd name="T24" fmla="*/ 28 w 81"/>
                  <a:gd name="T25" fmla="*/ 27 h 124"/>
                  <a:gd name="T26" fmla="*/ 19 w 81"/>
                  <a:gd name="T27" fmla="*/ 39 h 124"/>
                  <a:gd name="T28" fmla="*/ 12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2 h 124"/>
                  <a:gd name="T38" fmla="*/ 36 w 81"/>
                  <a:gd name="T39" fmla="*/ 69 h 124"/>
                  <a:gd name="T40" fmla="*/ 39 w 81"/>
                  <a:gd name="T41" fmla="*/ 76 h 124"/>
                  <a:gd name="T42" fmla="*/ 41 w 81"/>
                  <a:gd name="T43" fmla="*/ 86 h 124"/>
                  <a:gd name="T44" fmla="*/ 30 w 81"/>
                  <a:gd name="T45" fmla="*/ 88 h 124"/>
                  <a:gd name="T46" fmla="*/ 32 w 81"/>
                  <a:gd name="T47" fmla="*/ 96 h 124"/>
                  <a:gd name="T48" fmla="*/ 28 w 81"/>
                  <a:gd name="T49" fmla="*/ 105 h 124"/>
                  <a:gd name="T50" fmla="*/ 41 w 81"/>
                  <a:gd name="T51" fmla="*/ 107 h 124"/>
                  <a:gd name="T52" fmla="*/ 33 w 81"/>
                  <a:gd name="T53" fmla="*/ 110 h 124"/>
                  <a:gd name="T54" fmla="*/ 28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8 h 124"/>
                  <a:gd name="T64" fmla="*/ 81 w 81"/>
                  <a:gd name="T65" fmla="*/ 96 h 124"/>
                  <a:gd name="T66" fmla="*/ 14 w 81"/>
                  <a:gd name="T67" fmla="*/ 29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2" y="63"/>
                      <a:pt x="9" y="68"/>
                      <a:pt x="5" y="68"/>
                    </a:cubicBezTo>
                    <a:cubicBezTo>
                      <a:pt x="5" y="70"/>
                      <a:pt x="4" y="72"/>
                      <a:pt x="3" y="72"/>
                    </a:cubicBezTo>
                    <a:cubicBezTo>
                      <a:pt x="2" y="73"/>
                      <a:pt x="0" y="77"/>
                      <a:pt x="1" y="77"/>
                    </a:cubicBezTo>
                    <a:cubicBezTo>
                      <a:pt x="3" y="77"/>
                      <a:pt x="6" y="80"/>
                      <a:pt x="6" y="78"/>
                    </a:cubicBezTo>
                    <a:cubicBezTo>
                      <a:pt x="7" y="76"/>
                      <a:pt x="8" y="73"/>
                      <a:pt x="11" y="77"/>
                    </a:cubicBezTo>
                    <a:cubicBezTo>
                      <a:pt x="12" y="77"/>
                      <a:pt x="13" y="78"/>
                      <a:pt x="14" y="79"/>
                    </a:cubicBezTo>
                    <a:cubicBezTo>
                      <a:pt x="14" y="77"/>
                      <a:pt x="18" y="77"/>
                      <a:pt x="20" y="75"/>
                    </a:cubicBezTo>
                    <a:cubicBezTo>
                      <a:pt x="22" y="73"/>
                      <a:pt x="19" y="69"/>
                      <a:pt x="16" y="66"/>
                    </a:cubicBezTo>
                    <a:close/>
                    <a:moveTo>
                      <a:pt x="81" y="96"/>
                    </a:moveTo>
                    <a:cubicBezTo>
                      <a:pt x="81" y="92"/>
                      <a:pt x="73" y="89"/>
                      <a:pt x="72" y="91"/>
                    </a:cubicBezTo>
                    <a:cubicBezTo>
                      <a:pt x="71" y="93"/>
                      <a:pt x="69" y="93"/>
                      <a:pt x="68" y="91"/>
                    </a:cubicBezTo>
                    <a:cubicBezTo>
                      <a:pt x="67" y="89"/>
                      <a:pt x="69" y="87"/>
                      <a:pt x="68" y="87"/>
                    </a:cubicBezTo>
                    <a:cubicBezTo>
                      <a:pt x="67" y="86"/>
                      <a:pt x="65" y="83"/>
                      <a:pt x="65" y="82"/>
                    </a:cubicBezTo>
                    <a:cubicBezTo>
                      <a:pt x="66" y="81"/>
                      <a:pt x="63" y="73"/>
                      <a:pt x="59" y="72"/>
                    </a:cubicBezTo>
                    <a:cubicBezTo>
                      <a:pt x="55" y="71"/>
                      <a:pt x="55" y="66"/>
                      <a:pt x="54" y="63"/>
                    </a:cubicBezTo>
                    <a:cubicBezTo>
                      <a:pt x="53" y="60"/>
                      <a:pt x="51" y="61"/>
                      <a:pt x="49" y="59"/>
                    </a:cubicBezTo>
                    <a:cubicBezTo>
                      <a:pt x="47" y="56"/>
                      <a:pt x="43" y="57"/>
                      <a:pt x="41" y="57"/>
                    </a:cubicBezTo>
                    <a:cubicBezTo>
                      <a:pt x="40" y="57"/>
                      <a:pt x="41" y="54"/>
                      <a:pt x="44" y="52"/>
                    </a:cubicBezTo>
                    <a:cubicBezTo>
                      <a:pt x="47" y="50"/>
                      <a:pt x="50" y="40"/>
                      <a:pt x="50" y="38"/>
                    </a:cubicBezTo>
                    <a:cubicBezTo>
                      <a:pt x="50" y="36"/>
                      <a:pt x="38" y="36"/>
                      <a:pt x="36" y="37"/>
                    </a:cubicBezTo>
                    <a:cubicBezTo>
                      <a:pt x="33" y="39"/>
                      <a:pt x="31" y="36"/>
                      <a:pt x="33" y="35"/>
                    </a:cubicBezTo>
                    <a:cubicBezTo>
                      <a:pt x="35" y="34"/>
                      <a:pt x="39" y="30"/>
                      <a:pt x="39" y="28"/>
                    </a:cubicBezTo>
                    <a:cubicBezTo>
                      <a:pt x="39" y="26"/>
                      <a:pt x="42" y="25"/>
                      <a:pt x="40" y="23"/>
                    </a:cubicBezTo>
                    <a:cubicBezTo>
                      <a:pt x="38" y="22"/>
                      <a:pt x="38" y="25"/>
                      <a:pt x="37" y="27"/>
                    </a:cubicBezTo>
                    <a:cubicBezTo>
                      <a:pt x="35" y="28"/>
                      <a:pt x="32" y="27"/>
                      <a:pt x="28" y="27"/>
                    </a:cubicBezTo>
                    <a:cubicBezTo>
                      <a:pt x="24" y="26"/>
                      <a:pt x="23" y="31"/>
                      <a:pt x="23" y="33"/>
                    </a:cubicBezTo>
                    <a:cubicBezTo>
                      <a:pt x="23" y="36"/>
                      <a:pt x="19" y="37"/>
                      <a:pt x="19" y="39"/>
                    </a:cubicBezTo>
                    <a:cubicBezTo>
                      <a:pt x="20" y="41"/>
                      <a:pt x="18" y="42"/>
                      <a:pt x="17" y="41"/>
                    </a:cubicBezTo>
                    <a:cubicBezTo>
                      <a:pt x="16" y="40"/>
                      <a:pt x="15" y="38"/>
                      <a:pt x="12" y="39"/>
                    </a:cubicBezTo>
                    <a:cubicBezTo>
                      <a:pt x="10" y="41"/>
                      <a:pt x="15" y="44"/>
                      <a:pt x="18" y="44"/>
                    </a:cubicBezTo>
                    <a:cubicBezTo>
                      <a:pt x="21" y="45"/>
                      <a:pt x="16" y="47"/>
                      <a:pt x="15" y="50"/>
                    </a:cubicBezTo>
                    <a:cubicBezTo>
                      <a:pt x="15" y="53"/>
                      <a:pt x="19" y="52"/>
                      <a:pt x="20" y="54"/>
                    </a:cubicBezTo>
                    <a:cubicBezTo>
                      <a:pt x="20" y="57"/>
                      <a:pt x="13" y="57"/>
                      <a:pt x="13" y="59"/>
                    </a:cubicBezTo>
                    <a:cubicBezTo>
                      <a:pt x="13" y="62"/>
                      <a:pt x="17" y="58"/>
                      <a:pt x="19" y="57"/>
                    </a:cubicBezTo>
                    <a:cubicBezTo>
                      <a:pt x="20" y="56"/>
                      <a:pt x="18" y="63"/>
                      <a:pt x="22" y="62"/>
                    </a:cubicBezTo>
                    <a:cubicBezTo>
                      <a:pt x="26" y="62"/>
                      <a:pt x="25" y="56"/>
                      <a:pt x="27" y="56"/>
                    </a:cubicBezTo>
                    <a:cubicBezTo>
                      <a:pt x="28" y="56"/>
                      <a:pt x="26" y="59"/>
                      <a:pt x="27" y="62"/>
                    </a:cubicBezTo>
                    <a:cubicBezTo>
                      <a:pt x="28" y="64"/>
                      <a:pt x="24" y="68"/>
                      <a:pt x="24" y="70"/>
                    </a:cubicBezTo>
                    <a:cubicBezTo>
                      <a:pt x="25" y="71"/>
                      <a:pt x="33" y="71"/>
                      <a:pt x="36" y="69"/>
                    </a:cubicBezTo>
                    <a:cubicBezTo>
                      <a:pt x="39" y="66"/>
                      <a:pt x="40" y="69"/>
                      <a:pt x="38" y="71"/>
                    </a:cubicBezTo>
                    <a:cubicBezTo>
                      <a:pt x="36" y="73"/>
                      <a:pt x="37" y="75"/>
                      <a:pt x="39" y="76"/>
                    </a:cubicBezTo>
                    <a:cubicBezTo>
                      <a:pt x="42" y="77"/>
                      <a:pt x="42" y="77"/>
                      <a:pt x="41" y="79"/>
                    </a:cubicBezTo>
                    <a:cubicBezTo>
                      <a:pt x="40" y="81"/>
                      <a:pt x="41" y="84"/>
                      <a:pt x="41" y="86"/>
                    </a:cubicBezTo>
                    <a:cubicBezTo>
                      <a:pt x="40" y="88"/>
                      <a:pt x="33" y="88"/>
                      <a:pt x="33" y="87"/>
                    </a:cubicBezTo>
                    <a:cubicBezTo>
                      <a:pt x="32" y="85"/>
                      <a:pt x="29" y="86"/>
                      <a:pt x="30" y="88"/>
                    </a:cubicBezTo>
                    <a:cubicBezTo>
                      <a:pt x="31" y="89"/>
                      <a:pt x="27" y="91"/>
                      <a:pt x="28" y="93"/>
                    </a:cubicBezTo>
                    <a:cubicBezTo>
                      <a:pt x="28" y="94"/>
                      <a:pt x="32" y="94"/>
                      <a:pt x="32" y="96"/>
                    </a:cubicBezTo>
                    <a:cubicBezTo>
                      <a:pt x="32" y="98"/>
                      <a:pt x="29" y="100"/>
                      <a:pt x="25" y="101"/>
                    </a:cubicBezTo>
                    <a:cubicBezTo>
                      <a:pt x="20" y="103"/>
                      <a:pt x="26" y="106"/>
                      <a:pt x="28" y="105"/>
                    </a:cubicBezTo>
                    <a:cubicBezTo>
                      <a:pt x="30" y="103"/>
                      <a:pt x="29" y="106"/>
                      <a:pt x="33" y="106"/>
                    </a:cubicBezTo>
                    <a:cubicBezTo>
                      <a:pt x="36" y="106"/>
                      <a:pt x="37" y="108"/>
                      <a:pt x="41" y="107"/>
                    </a:cubicBezTo>
                    <a:cubicBezTo>
                      <a:pt x="44" y="106"/>
                      <a:pt x="44" y="107"/>
                      <a:pt x="42" y="109"/>
                    </a:cubicBezTo>
                    <a:cubicBezTo>
                      <a:pt x="39" y="111"/>
                      <a:pt x="35" y="109"/>
                      <a:pt x="33" y="110"/>
                    </a:cubicBezTo>
                    <a:cubicBezTo>
                      <a:pt x="30" y="111"/>
                      <a:pt x="21" y="121"/>
                      <a:pt x="23" y="123"/>
                    </a:cubicBezTo>
                    <a:cubicBezTo>
                      <a:pt x="24" y="124"/>
                      <a:pt x="25" y="121"/>
                      <a:pt x="28" y="119"/>
                    </a:cubicBezTo>
                    <a:cubicBezTo>
                      <a:pt x="32" y="118"/>
                      <a:pt x="32" y="120"/>
                      <a:pt x="34" y="121"/>
                    </a:cubicBezTo>
                    <a:cubicBezTo>
                      <a:pt x="36" y="121"/>
                      <a:pt x="36" y="117"/>
                      <a:pt x="38" y="117"/>
                    </a:cubicBezTo>
                    <a:cubicBezTo>
                      <a:pt x="40" y="117"/>
                      <a:pt x="41" y="116"/>
                      <a:pt x="44" y="116"/>
                    </a:cubicBezTo>
                    <a:cubicBezTo>
                      <a:pt x="47" y="117"/>
                      <a:pt x="49" y="116"/>
                      <a:pt x="50" y="114"/>
                    </a:cubicBezTo>
                    <a:cubicBezTo>
                      <a:pt x="52" y="113"/>
                      <a:pt x="55" y="117"/>
                      <a:pt x="57" y="116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10"/>
                    </a:cubicBezTo>
                    <a:cubicBezTo>
                      <a:pt x="79" y="108"/>
                      <a:pt x="76" y="108"/>
                      <a:pt x="73" y="108"/>
                    </a:cubicBezTo>
                    <a:cubicBezTo>
                      <a:pt x="71" y="108"/>
                      <a:pt x="71" y="106"/>
                      <a:pt x="74" y="103"/>
                    </a:cubicBezTo>
                    <a:cubicBezTo>
                      <a:pt x="76" y="101"/>
                      <a:pt x="80" y="99"/>
                      <a:pt x="81" y="96"/>
                    </a:cubicBezTo>
                    <a:close/>
                    <a:moveTo>
                      <a:pt x="9" y="36"/>
                    </a:moveTo>
                    <a:cubicBezTo>
                      <a:pt x="12" y="36"/>
                      <a:pt x="16" y="30"/>
                      <a:pt x="14" y="29"/>
                    </a:cubicBezTo>
                    <a:cubicBezTo>
                      <a:pt x="13" y="27"/>
                      <a:pt x="7" y="36"/>
                      <a:pt x="9" y="36"/>
                    </a:cubicBezTo>
                    <a:close/>
                    <a:moveTo>
                      <a:pt x="55" y="10"/>
                    </a:moveTo>
                    <a:cubicBezTo>
                      <a:pt x="57" y="8"/>
                      <a:pt x="59" y="0"/>
                      <a:pt x="56" y="1"/>
                    </a:cubicBezTo>
                    <a:cubicBezTo>
                      <a:pt x="53" y="2"/>
                      <a:pt x="54" y="11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57" name="Freeform 101">
                <a:extLst>
                  <a:ext uri="{FF2B5EF4-FFF2-40B4-BE49-F238E27FC236}">
                    <a16:creationId xmlns:a16="http://schemas.microsoft.com/office/drawing/2014/main" id="{BC5FFCD4-66E6-4DC5-A770-39D3328B66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608025" y="3158489"/>
                <a:ext cx="429978" cy="361182"/>
              </a:xfrm>
              <a:custGeom>
                <a:avLst/>
                <a:gdLst>
                  <a:gd name="T0" fmla="*/ 103 w 118"/>
                  <a:gd name="T1" fmla="*/ 23 h 99"/>
                  <a:gd name="T2" fmla="*/ 99 w 118"/>
                  <a:gd name="T3" fmla="*/ 21 h 99"/>
                  <a:gd name="T4" fmla="*/ 94 w 118"/>
                  <a:gd name="T5" fmla="*/ 19 h 99"/>
                  <a:gd name="T6" fmla="*/ 86 w 118"/>
                  <a:gd name="T7" fmla="*/ 17 h 99"/>
                  <a:gd name="T8" fmla="*/ 81 w 118"/>
                  <a:gd name="T9" fmla="*/ 15 h 99"/>
                  <a:gd name="T10" fmla="*/ 79 w 118"/>
                  <a:gd name="T11" fmla="*/ 11 h 99"/>
                  <a:gd name="T12" fmla="*/ 76 w 118"/>
                  <a:gd name="T13" fmla="*/ 13 h 99"/>
                  <a:gd name="T14" fmla="*/ 73 w 118"/>
                  <a:gd name="T15" fmla="*/ 10 h 99"/>
                  <a:gd name="T16" fmla="*/ 68 w 118"/>
                  <a:gd name="T17" fmla="*/ 7 h 99"/>
                  <a:gd name="T18" fmla="*/ 64 w 118"/>
                  <a:gd name="T19" fmla="*/ 4 h 99"/>
                  <a:gd name="T20" fmla="*/ 61 w 118"/>
                  <a:gd name="T21" fmla="*/ 1 h 99"/>
                  <a:gd name="T22" fmla="*/ 60 w 118"/>
                  <a:gd name="T23" fmla="*/ 0 h 99"/>
                  <a:gd name="T24" fmla="*/ 58 w 118"/>
                  <a:gd name="T25" fmla="*/ 0 h 99"/>
                  <a:gd name="T26" fmla="*/ 54 w 118"/>
                  <a:gd name="T27" fmla="*/ 7 h 99"/>
                  <a:gd name="T28" fmla="*/ 45 w 118"/>
                  <a:gd name="T29" fmla="*/ 13 h 99"/>
                  <a:gd name="T30" fmla="*/ 40 w 118"/>
                  <a:gd name="T31" fmla="*/ 19 h 99"/>
                  <a:gd name="T32" fmla="*/ 30 w 118"/>
                  <a:gd name="T33" fmla="*/ 15 h 99"/>
                  <a:gd name="T34" fmla="*/ 25 w 118"/>
                  <a:gd name="T35" fmla="*/ 18 h 99"/>
                  <a:gd name="T36" fmla="*/ 26 w 118"/>
                  <a:gd name="T37" fmla="*/ 27 h 99"/>
                  <a:gd name="T38" fmla="*/ 19 w 118"/>
                  <a:gd name="T39" fmla="*/ 27 h 99"/>
                  <a:gd name="T40" fmla="*/ 14 w 118"/>
                  <a:gd name="T41" fmla="*/ 24 h 99"/>
                  <a:gd name="T42" fmla="*/ 7 w 118"/>
                  <a:gd name="T43" fmla="*/ 25 h 99"/>
                  <a:gd name="T44" fmla="*/ 2 w 118"/>
                  <a:gd name="T45" fmla="*/ 29 h 99"/>
                  <a:gd name="T46" fmla="*/ 3 w 118"/>
                  <a:gd name="T47" fmla="*/ 34 h 99"/>
                  <a:gd name="T48" fmla="*/ 13 w 118"/>
                  <a:gd name="T49" fmla="*/ 37 h 99"/>
                  <a:gd name="T50" fmla="*/ 20 w 118"/>
                  <a:gd name="T51" fmla="*/ 39 h 99"/>
                  <a:gd name="T52" fmla="*/ 23 w 118"/>
                  <a:gd name="T53" fmla="*/ 43 h 99"/>
                  <a:gd name="T54" fmla="*/ 29 w 118"/>
                  <a:gd name="T55" fmla="*/ 50 h 99"/>
                  <a:gd name="T56" fmla="*/ 31 w 118"/>
                  <a:gd name="T57" fmla="*/ 56 h 99"/>
                  <a:gd name="T58" fmla="*/ 30 w 118"/>
                  <a:gd name="T59" fmla="*/ 66 h 99"/>
                  <a:gd name="T60" fmla="*/ 26 w 118"/>
                  <a:gd name="T61" fmla="*/ 80 h 99"/>
                  <a:gd name="T62" fmla="*/ 26 w 118"/>
                  <a:gd name="T63" fmla="*/ 80 h 99"/>
                  <a:gd name="T64" fmla="*/ 30 w 118"/>
                  <a:gd name="T65" fmla="*/ 82 h 99"/>
                  <a:gd name="T66" fmla="*/ 38 w 118"/>
                  <a:gd name="T67" fmla="*/ 86 h 99"/>
                  <a:gd name="T68" fmla="*/ 45 w 118"/>
                  <a:gd name="T69" fmla="*/ 86 h 99"/>
                  <a:gd name="T70" fmla="*/ 48 w 118"/>
                  <a:gd name="T71" fmla="*/ 86 h 99"/>
                  <a:gd name="T72" fmla="*/ 58 w 118"/>
                  <a:gd name="T73" fmla="*/ 89 h 99"/>
                  <a:gd name="T74" fmla="*/ 66 w 118"/>
                  <a:gd name="T75" fmla="*/ 89 h 99"/>
                  <a:gd name="T76" fmla="*/ 66 w 118"/>
                  <a:gd name="T77" fmla="*/ 87 h 99"/>
                  <a:gd name="T78" fmla="*/ 72 w 118"/>
                  <a:gd name="T79" fmla="*/ 79 h 99"/>
                  <a:gd name="T80" fmla="*/ 87 w 118"/>
                  <a:gd name="T81" fmla="*/ 82 h 99"/>
                  <a:gd name="T82" fmla="*/ 96 w 118"/>
                  <a:gd name="T83" fmla="*/ 79 h 99"/>
                  <a:gd name="T84" fmla="*/ 101 w 118"/>
                  <a:gd name="T85" fmla="*/ 76 h 99"/>
                  <a:gd name="T86" fmla="*/ 102 w 118"/>
                  <a:gd name="T87" fmla="*/ 73 h 99"/>
                  <a:gd name="T88" fmla="*/ 99 w 118"/>
                  <a:gd name="T89" fmla="*/ 72 h 99"/>
                  <a:gd name="T90" fmla="*/ 97 w 118"/>
                  <a:gd name="T91" fmla="*/ 68 h 99"/>
                  <a:gd name="T92" fmla="*/ 94 w 118"/>
                  <a:gd name="T93" fmla="*/ 64 h 99"/>
                  <a:gd name="T94" fmla="*/ 96 w 118"/>
                  <a:gd name="T95" fmla="*/ 62 h 99"/>
                  <a:gd name="T96" fmla="*/ 98 w 118"/>
                  <a:gd name="T97" fmla="*/ 59 h 99"/>
                  <a:gd name="T98" fmla="*/ 97 w 118"/>
                  <a:gd name="T99" fmla="*/ 55 h 99"/>
                  <a:gd name="T100" fmla="*/ 95 w 118"/>
                  <a:gd name="T101" fmla="*/ 51 h 99"/>
                  <a:gd name="T102" fmla="*/ 92 w 118"/>
                  <a:gd name="T103" fmla="*/ 50 h 99"/>
                  <a:gd name="T104" fmla="*/ 91 w 118"/>
                  <a:gd name="T105" fmla="*/ 48 h 99"/>
                  <a:gd name="T106" fmla="*/ 96 w 118"/>
                  <a:gd name="T107" fmla="*/ 41 h 99"/>
                  <a:gd name="T108" fmla="*/ 100 w 118"/>
                  <a:gd name="T109" fmla="*/ 38 h 99"/>
                  <a:gd name="T110" fmla="*/ 102 w 118"/>
                  <a:gd name="T111" fmla="*/ 32 h 99"/>
                  <a:gd name="T112" fmla="*/ 105 w 118"/>
                  <a:gd name="T113" fmla="*/ 25 h 99"/>
                  <a:gd name="T114" fmla="*/ 103 w 118"/>
                  <a:gd name="T115" fmla="*/ 23 h 99"/>
                  <a:gd name="T116" fmla="*/ 116 w 118"/>
                  <a:gd name="T117" fmla="*/ 83 h 99"/>
                  <a:gd name="T118" fmla="*/ 111 w 118"/>
                  <a:gd name="T119" fmla="*/ 87 h 99"/>
                  <a:gd name="T120" fmla="*/ 114 w 118"/>
                  <a:gd name="T121" fmla="*/ 98 h 99"/>
                  <a:gd name="T122" fmla="*/ 116 w 118"/>
                  <a:gd name="T123" fmla="*/ 83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" h="99">
                    <a:moveTo>
                      <a:pt x="103" y="23"/>
                    </a:moveTo>
                    <a:cubicBezTo>
                      <a:pt x="102" y="23"/>
                      <a:pt x="101" y="21"/>
                      <a:pt x="99" y="21"/>
                    </a:cubicBezTo>
                    <a:cubicBezTo>
                      <a:pt x="97" y="21"/>
                      <a:pt x="95" y="20"/>
                      <a:pt x="94" y="19"/>
                    </a:cubicBezTo>
                    <a:cubicBezTo>
                      <a:pt x="93" y="17"/>
                      <a:pt x="87" y="17"/>
                      <a:pt x="86" y="17"/>
                    </a:cubicBezTo>
                    <a:cubicBezTo>
                      <a:pt x="84" y="18"/>
                      <a:pt x="83" y="14"/>
                      <a:pt x="81" y="15"/>
                    </a:cubicBezTo>
                    <a:cubicBezTo>
                      <a:pt x="80" y="15"/>
                      <a:pt x="79" y="12"/>
                      <a:pt x="79" y="11"/>
                    </a:cubicBezTo>
                    <a:cubicBezTo>
                      <a:pt x="79" y="9"/>
                      <a:pt x="77" y="12"/>
                      <a:pt x="76" y="13"/>
                    </a:cubicBezTo>
                    <a:cubicBezTo>
                      <a:pt x="74" y="13"/>
                      <a:pt x="73" y="11"/>
                      <a:pt x="73" y="10"/>
                    </a:cubicBezTo>
                    <a:cubicBezTo>
                      <a:pt x="73" y="9"/>
                      <a:pt x="70" y="8"/>
                      <a:pt x="68" y="7"/>
                    </a:cubicBezTo>
                    <a:cubicBezTo>
                      <a:pt x="67" y="6"/>
                      <a:pt x="65" y="3"/>
                      <a:pt x="64" y="4"/>
                    </a:cubicBezTo>
                    <a:cubicBezTo>
                      <a:pt x="63" y="6"/>
                      <a:pt x="61" y="3"/>
                      <a:pt x="61" y="1"/>
                    </a:cubicBezTo>
                    <a:cubicBezTo>
                      <a:pt x="61" y="1"/>
                      <a:pt x="61" y="1"/>
                      <a:pt x="60" y="0"/>
                    </a:cubicBezTo>
                    <a:cubicBezTo>
                      <a:pt x="60" y="0"/>
                      <a:pt x="59" y="0"/>
                      <a:pt x="58" y="0"/>
                    </a:cubicBezTo>
                    <a:cubicBezTo>
                      <a:pt x="56" y="0"/>
                      <a:pt x="53" y="3"/>
                      <a:pt x="54" y="7"/>
                    </a:cubicBezTo>
                    <a:cubicBezTo>
                      <a:pt x="54" y="12"/>
                      <a:pt x="50" y="13"/>
                      <a:pt x="45" y="13"/>
                    </a:cubicBezTo>
                    <a:cubicBezTo>
                      <a:pt x="40" y="13"/>
                      <a:pt x="42" y="17"/>
                      <a:pt x="40" y="19"/>
                    </a:cubicBezTo>
                    <a:cubicBezTo>
                      <a:pt x="38" y="20"/>
                      <a:pt x="31" y="18"/>
                      <a:pt x="30" y="15"/>
                    </a:cubicBezTo>
                    <a:cubicBezTo>
                      <a:pt x="29" y="13"/>
                      <a:pt x="23" y="15"/>
                      <a:pt x="25" y="18"/>
                    </a:cubicBezTo>
                    <a:cubicBezTo>
                      <a:pt x="28" y="21"/>
                      <a:pt x="28" y="26"/>
                      <a:pt x="26" y="27"/>
                    </a:cubicBezTo>
                    <a:cubicBezTo>
                      <a:pt x="25" y="28"/>
                      <a:pt x="21" y="25"/>
                      <a:pt x="19" y="27"/>
                    </a:cubicBezTo>
                    <a:cubicBezTo>
                      <a:pt x="17" y="28"/>
                      <a:pt x="17" y="25"/>
                      <a:pt x="14" y="24"/>
                    </a:cubicBezTo>
                    <a:cubicBezTo>
                      <a:pt x="12" y="23"/>
                      <a:pt x="11" y="25"/>
                      <a:pt x="7" y="25"/>
                    </a:cubicBezTo>
                    <a:cubicBezTo>
                      <a:pt x="2" y="25"/>
                      <a:pt x="0" y="27"/>
                      <a:pt x="2" y="29"/>
                    </a:cubicBezTo>
                    <a:cubicBezTo>
                      <a:pt x="3" y="31"/>
                      <a:pt x="1" y="32"/>
                      <a:pt x="3" y="34"/>
                    </a:cubicBezTo>
                    <a:cubicBezTo>
                      <a:pt x="4" y="35"/>
                      <a:pt x="9" y="35"/>
                      <a:pt x="13" y="37"/>
                    </a:cubicBezTo>
                    <a:cubicBezTo>
                      <a:pt x="17" y="39"/>
                      <a:pt x="18" y="38"/>
                      <a:pt x="20" y="39"/>
                    </a:cubicBezTo>
                    <a:cubicBezTo>
                      <a:pt x="22" y="41"/>
                      <a:pt x="23" y="40"/>
                      <a:pt x="23" y="43"/>
                    </a:cubicBezTo>
                    <a:cubicBezTo>
                      <a:pt x="23" y="46"/>
                      <a:pt x="25" y="49"/>
                      <a:pt x="29" y="50"/>
                    </a:cubicBezTo>
                    <a:cubicBezTo>
                      <a:pt x="33" y="51"/>
                      <a:pt x="30" y="53"/>
                      <a:pt x="31" y="56"/>
                    </a:cubicBezTo>
                    <a:cubicBezTo>
                      <a:pt x="33" y="58"/>
                      <a:pt x="30" y="62"/>
                      <a:pt x="30" y="66"/>
                    </a:cubicBezTo>
                    <a:cubicBezTo>
                      <a:pt x="31" y="69"/>
                      <a:pt x="28" y="79"/>
                      <a:pt x="26" y="80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81"/>
                      <a:pt x="30" y="82"/>
                      <a:pt x="30" y="82"/>
                    </a:cubicBezTo>
                    <a:cubicBezTo>
                      <a:pt x="32" y="84"/>
                      <a:pt x="36" y="85"/>
                      <a:pt x="38" y="86"/>
                    </a:cubicBezTo>
                    <a:cubicBezTo>
                      <a:pt x="41" y="88"/>
                      <a:pt x="45" y="87"/>
                      <a:pt x="45" y="86"/>
                    </a:cubicBezTo>
                    <a:cubicBezTo>
                      <a:pt x="45" y="84"/>
                      <a:pt x="47" y="85"/>
                      <a:pt x="48" y="86"/>
                    </a:cubicBezTo>
                    <a:cubicBezTo>
                      <a:pt x="50" y="88"/>
                      <a:pt x="55" y="88"/>
                      <a:pt x="58" y="89"/>
                    </a:cubicBezTo>
                    <a:cubicBezTo>
                      <a:pt x="60" y="89"/>
                      <a:pt x="63" y="89"/>
                      <a:pt x="66" y="89"/>
                    </a:cubicBezTo>
                    <a:cubicBezTo>
                      <a:pt x="66" y="88"/>
                      <a:pt x="66" y="88"/>
                      <a:pt x="66" y="87"/>
                    </a:cubicBezTo>
                    <a:cubicBezTo>
                      <a:pt x="64" y="82"/>
                      <a:pt x="68" y="80"/>
                      <a:pt x="72" y="79"/>
                    </a:cubicBezTo>
                    <a:cubicBezTo>
                      <a:pt x="76" y="78"/>
                      <a:pt x="85" y="81"/>
                      <a:pt x="87" y="82"/>
                    </a:cubicBezTo>
                    <a:cubicBezTo>
                      <a:pt x="89" y="84"/>
                      <a:pt x="92" y="83"/>
                      <a:pt x="96" y="79"/>
                    </a:cubicBezTo>
                    <a:cubicBezTo>
                      <a:pt x="98" y="77"/>
                      <a:pt x="100" y="76"/>
                      <a:pt x="101" y="76"/>
                    </a:cubicBezTo>
                    <a:cubicBezTo>
                      <a:pt x="102" y="75"/>
                      <a:pt x="102" y="74"/>
                      <a:pt x="102" y="73"/>
                    </a:cubicBezTo>
                    <a:cubicBezTo>
                      <a:pt x="103" y="72"/>
                      <a:pt x="100" y="72"/>
                      <a:pt x="99" y="72"/>
                    </a:cubicBezTo>
                    <a:cubicBezTo>
                      <a:pt x="97" y="72"/>
                      <a:pt x="96" y="70"/>
                      <a:pt x="97" y="68"/>
                    </a:cubicBezTo>
                    <a:cubicBezTo>
                      <a:pt x="98" y="66"/>
                      <a:pt x="96" y="66"/>
                      <a:pt x="94" y="64"/>
                    </a:cubicBezTo>
                    <a:cubicBezTo>
                      <a:pt x="93" y="62"/>
                      <a:pt x="95" y="62"/>
                      <a:pt x="96" y="62"/>
                    </a:cubicBezTo>
                    <a:cubicBezTo>
                      <a:pt x="97" y="61"/>
                      <a:pt x="99" y="59"/>
                      <a:pt x="98" y="59"/>
                    </a:cubicBezTo>
                    <a:cubicBezTo>
                      <a:pt x="97" y="58"/>
                      <a:pt x="96" y="57"/>
                      <a:pt x="97" y="55"/>
                    </a:cubicBezTo>
                    <a:cubicBezTo>
                      <a:pt x="98" y="53"/>
                      <a:pt x="95" y="52"/>
                      <a:pt x="95" y="51"/>
                    </a:cubicBezTo>
                    <a:cubicBezTo>
                      <a:pt x="95" y="49"/>
                      <a:pt x="93" y="48"/>
                      <a:pt x="92" y="50"/>
                    </a:cubicBezTo>
                    <a:cubicBezTo>
                      <a:pt x="90" y="52"/>
                      <a:pt x="90" y="51"/>
                      <a:pt x="91" y="48"/>
                    </a:cubicBezTo>
                    <a:cubicBezTo>
                      <a:pt x="92" y="45"/>
                      <a:pt x="96" y="43"/>
                      <a:pt x="96" y="41"/>
                    </a:cubicBezTo>
                    <a:cubicBezTo>
                      <a:pt x="96" y="40"/>
                      <a:pt x="98" y="38"/>
                      <a:pt x="100" y="38"/>
                    </a:cubicBezTo>
                    <a:cubicBezTo>
                      <a:pt x="102" y="38"/>
                      <a:pt x="101" y="34"/>
                      <a:pt x="102" y="32"/>
                    </a:cubicBezTo>
                    <a:cubicBezTo>
                      <a:pt x="102" y="30"/>
                      <a:pt x="103" y="27"/>
                      <a:pt x="105" y="25"/>
                    </a:cubicBezTo>
                    <a:cubicBezTo>
                      <a:pt x="107" y="23"/>
                      <a:pt x="104" y="22"/>
                      <a:pt x="103" y="23"/>
                    </a:cubicBezTo>
                    <a:close/>
                    <a:moveTo>
                      <a:pt x="116" y="83"/>
                    </a:moveTo>
                    <a:cubicBezTo>
                      <a:pt x="115" y="83"/>
                      <a:pt x="114" y="85"/>
                      <a:pt x="111" y="87"/>
                    </a:cubicBezTo>
                    <a:cubicBezTo>
                      <a:pt x="108" y="89"/>
                      <a:pt x="111" y="99"/>
                      <a:pt x="114" y="98"/>
                    </a:cubicBezTo>
                    <a:cubicBezTo>
                      <a:pt x="118" y="98"/>
                      <a:pt x="117" y="83"/>
                      <a:pt x="116" y="8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58" name="Freeform 134">
                <a:extLst>
                  <a:ext uri="{FF2B5EF4-FFF2-40B4-BE49-F238E27FC236}">
                    <a16:creationId xmlns:a16="http://schemas.microsoft.com/office/drawing/2014/main" id="{8BC91260-3FC5-4213-8AA2-D775922731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911532" y="3063723"/>
                <a:ext cx="1760045" cy="1217315"/>
              </a:xfrm>
              <a:custGeom>
                <a:avLst/>
                <a:gdLst>
                  <a:gd name="T0" fmla="*/ 459 w 483"/>
                  <a:gd name="T1" fmla="*/ 63 h 335"/>
                  <a:gd name="T2" fmla="*/ 435 w 483"/>
                  <a:gd name="T3" fmla="*/ 45 h 335"/>
                  <a:gd name="T4" fmla="*/ 416 w 483"/>
                  <a:gd name="T5" fmla="*/ 19 h 335"/>
                  <a:gd name="T6" fmla="*/ 388 w 483"/>
                  <a:gd name="T7" fmla="*/ 1 h 335"/>
                  <a:gd name="T8" fmla="*/ 369 w 483"/>
                  <a:gd name="T9" fmla="*/ 15 h 335"/>
                  <a:gd name="T10" fmla="*/ 353 w 483"/>
                  <a:gd name="T11" fmla="*/ 39 h 335"/>
                  <a:gd name="T12" fmla="*/ 329 w 483"/>
                  <a:gd name="T13" fmla="*/ 52 h 335"/>
                  <a:gd name="T14" fmla="*/ 344 w 483"/>
                  <a:gd name="T15" fmla="*/ 62 h 335"/>
                  <a:gd name="T16" fmla="*/ 343 w 483"/>
                  <a:gd name="T17" fmla="*/ 75 h 335"/>
                  <a:gd name="T18" fmla="*/ 301 w 483"/>
                  <a:gd name="T19" fmla="*/ 91 h 335"/>
                  <a:gd name="T20" fmla="*/ 271 w 483"/>
                  <a:gd name="T21" fmla="*/ 116 h 335"/>
                  <a:gd name="T22" fmla="*/ 224 w 483"/>
                  <a:gd name="T23" fmla="*/ 119 h 335"/>
                  <a:gd name="T24" fmla="*/ 172 w 483"/>
                  <a:gd name="T25" fmla="*/ 112 h 335"/>
                  <a:gd name="T26" fmla="*/ 150 w 483"/>
                  <a:gd name="T27" fmla="*/ 90 h 335"/>
                  <a:gd name="T28" fmla="*/ 129 w 483"/>
                  <a:gd name="T29" fmla="*/ 64 h 335"/>
                  <a:gd name="T30" fmla="*/ 109 w 483"/>
                  <a:gd name="T31" fmla="*/ 47 h 335"/>
                  <a:gd name="T32" fmla="*/ 98 w 483"/>
                  <a:gd name="T33" fmla="*/ 54 h 335"/>
                  <a:gd name="T34" fmla="*/ 79 w 483"/>
                  <a:gd name="T35" fmla="*/ 69 h 335"/>
                  <a:gd name="T36" fmla="*/ 63 w 483"/>
                  <a:gd name="T37" fmla="*/ 87 h 335"/>
                  <a:gd name="T38" fmla="*/ 55 w 483"/>
                  <a:gd name="T39" fmla="*/ 107 h 335"/>
                  <a:gd name="T40" fmla="*/ 37 w 483"/>
                  <a:gd name="T41" fmla="*/ 126 h 335"/>
                  <a:gd name="T42" fmla="*/ 14 w 483"/>
                  <a:gd name="T43" fmla="*/ 133 h 335"/>
                  <a:gd name="T44" fmla="*/ 0 w 483"/>
                  <a:gd name="T45" fmla="*/ 143 h 335"/>
                  <a:gd name="T46" fmla="*/ 10 w 483"/>
                  <a:gd name="T47" fmla="*/ 166 h 335"/>
                  <a:gd name="T48" fmla="*/ 28 w 483"/>
                  <a:gd name="T49" fmla="*/ 182 h 335"/>
                  <a:gd name="T50" fmla="*/ 42 w 483"/>
                  <a:gd name="T51" fmla="*/ 177 h 335"/>
                  <a:gd name="T52" fmla="*/ 40 w 483"/>
                  <a:gd name="T53" fmla="*/ 197 h 335"/>
                  <a:gd name="T54" fmla="*/ 40 w 483"/>
                  <a:gd name="T55" fmla="*/ 217 h 335"/>
                  <a:gd name="T56" fmla="*/ 55 w 483"/>
                  <a:gd name="T57" fmla="*/ 230 h 335"/>
                  <a:gd name="T58" fmla="*/ 98 w 483"/>
                  <a:gd name="T59" fmla="*/ 248 h 335"/>
                  <a:gd name="T60" fmla="*/ 116 w 483"/>
                  <a:gd name="T61" fmla="*/ 252 h 335"/>
                  <a:gd name="T62" fmla="*/ 130 w 483"/>
                  <a:gd name="T63" fmla="*/ 248 h 335"/>
                  <a:gd name="T64" fmla="*/ 149 w 483"/>
                  <a:gd name="T65" fmla="*/ 243 h 335"/>
                  <a:gd name="T66" fmla="*/ 173 w 483"/>
                  <a:gd name="T67" fmla="*/ 243 h 335"/>
                  <a:gd name="T68" fmla="*/ 186 w 483"/>
                  <a:gd name="T69" fmla="*/ 252 h 335"/>
                  <a:gd name="T70" fmla="*/ 182 w 483"/>
                  <a:gd name="T71" fmla="*/ 282 h 335"/>
                  <a:gd name="T72" fmla="*/ 195 w 483"/>
                  <a:gd name="T73" fmla="*/ 299 h 335"/>
                  <a:gd name="T74" fmla="*/ 212 w 483"/>
                  <a:gd name="T75" fmla="*/ 307 h 335"/>
                  <a:gd name="T76" fmla="*/ 225 w 483"/>
                  <a:gd name="T77" fmla="*/ 294 h 335"/>
                  <a:gd name="T78" fmla="*/ 251 w 483"/>
                  <a:gd name="T79" fmla="*/ 293 h 335"/>
                  <a:gd name="T80" fmla="*/ 267 w 483"/>
                  <a:gd name="T81" fmla="*/ 303 h 335"/>
                  <a:gd name="T82" fmla="*/ 280 w 483"/>
                  <a:gd name="T83" fmla="*/ 314 h 335"/>
                  <a:gd name="T84" fmla="*/ 317 w 483"/>
                  <a:gd name="T85" fmla="*/ 295 h 335"/>
                  <a:gd name="T86" fmla="*/ 345 w 483"/>
                  <a:gd name="T87" fmla="*/ 280 h 335"/>
                  <a:gd name="T88" fmla="*/ 359 w 483"/>
                  <a:gd name="T89" fmla="*/ 263 h 335"/>
                  <a:gd name="T90" fmla="*/ 373 w 483"/>
                  <a:gd name="T91" fmla="*/ 246 h 335"/>
                  <a:gd name="T92" fmla="*/ 376 w 483"/>
                  <a:gd name="T93" fmla="*/ 231 h 335"/>
                  <a:gd name="T94" fmla="*/ 372 w 483"/>
                  <a:gd name="T95" fmla="*/ 219 h 335"/>
                  <a:gd name="T96" fmla="*/ 370 w 483"/>
                  <a:gd name="T97" fmla="*/ 207 h 335"/>
                  <a:gd name="T98" fmla="*/ 360 w 483"/>
                  <a:gd name="T99" fmla="*/ 180 h 335"/>
                  <a:gd name="T100" fmla="*/ 382 w 483"/>
                  <a:gd name="T101" fmla="*/ 168 h 335"/>
                  <a:gd name="T102" fmla="*/ 354 w 483"/>
                  <a:gd name="T103" fmla="*/ 160 h 335"/>
                  <a:gd name="T104" fmla="*/ 365 w 483"/>
                  <a:gd name="T105" fmla="*/ 137 h 335"/>
                  <a:gd name="T106" fmla="*/ 378 w 483"/>
                  <a:gd name="T107" fmla="*/ 149 h 335"/>
                  <a:gd name="T108" fmla="*/ 414 w 483"/>
                  <a:gd name="T109" fmla="*/ 128 h 335"/>
                  <a:gd name="T110" fmla="*/ 432 w 483"/>
                  <a:gd name="T111" fmla="*/ 120 h 335"/>
                  <a:gd name="T112" fmla="*/ 452 w 483"/>
                  <a:gd name="T113" fmla="*/ 113 h 335"/>
                  <a:gd name="T114" fmla="*/ 454 w 483"/>
                  <a:gd name="T115" fmla="*/ 91 h 335"/>
                  <a:gd name="T116" fmla="*/ 476 w 483"/>
                  <a:gd name="T117" fmla="*/ 77 h 335"/>
                  <a:gd name="T118" fmla="*/ 368 w 483"/>
                  <a:gd name="T119" fmla="*/ 299 h 335"/>
                  <a:gd name="T120" fmla="*/ 271 w 483"/>
                  <a:gd name="T121" fmla="*/ 328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3" h="335">
                    <a:moveTo>
                      <a:pt x="480" y="60"/>
                    </a:moveTo>
                    <a:cubicBezTo>
                      <a:pt x="480" y="56"/>
                      <a:pt x="475" y="57"/>
                      <a:pt x="474" y="58"/>
                    </a:cubicBezTo>
                    <a:cubicBezTo>
                      <a:pt x="472" y="59"/>
                      <a:pt x="467" y="58"/>
                      <a:pt x="466" y="61"/>
                    </a:cubicBezTo>
                    <a:cubicBezTo>
                      <a:pt x="464" y="64"/>
                      <a:pt x="462" y="62"/>
                      <a:pt x="459" y="63"/>
                    </a:cubicBezTo>
                    <a:cubicBezTo>
                      <a:pt x="455" y="63"/>
                      <a:pt x="451" y="62"/>
                      <a:pt x="451" y="60"/>
                    </a:cubicBezTo>
                    <a:cubicBezTo>
                      <a:pt x="451" y="57"/>
                      <a:pt x="449" y="55"/>
                      <a:pt x="449" y="53"/>
                    </a:cubicBezTo>
                    <a:cubicBezTo>
                      <a:pt x="449" y="50"/>
                      <a:pt x="446" y="51"/>
                      <a:pt x="443" y="49"/>
                    </a:cubicBezTo>
                    <a:cubicBezTo>
                      <a:pt x="441" y="47"/>
                      <a:pt x="436" y="45"/>
                      <a:pt x="435" y="45"/>
                    </a:cubicBezTo>
                    <a:cubicBezTo>
                      <a:pt x="434" y="46"/>
                      <a:pt x="432" y="43"/>
                      <a:pt x="427" y="42"/>
                    </a:cubicBezTo>
                    <a:cubicBezTo>
                      <a:pt x="423" y="42"/>
                      <a:pt x="424" y="40"/>
                      <a:pt x="424" y="38"/>
                    </a:cubicBezTo>
                    <a:cubicBezTo>
                      <a:pt x="425" y="36"/>
                      <a:pt x="421" y="31"/>
                      <a:pt x="420" y="28"/>
                    </a:cubicBezTo>
                    <a:cubicBezTo>
                      <a:pt x="420" y="25"/>
                      <a:pt x="417" y="25"/>
                      <a:pt x="416" y="19"/>
                    </a:cubicBezTo>
                    <a:cubicBezTo>
                      <a:pt x="414" y="13"/>
                      <a:pt x="411" y="14"/>
                      <a:pt x="412" y="11"/>
                    </a:cubicBezTo>
                    <a:cubicBezTo>
                      <a:pt x="412" y="8"/>
                      <a:pt x="408" y="7"/>
                      <a:pt x="407" y="5"/>
                    </a:cubicBezTo>
                    <a:cubicBezTo>
                      <a:pt x="405" y="4"/>
                      <a:pt x="400" y="4"/>
                      <a:pt x="397" y="3"/>
                    </a:cubicBezTo>
                    <a:cubicBezTo>
                      <a:pt x="393" y="1"/>
                      <a:pt x="391" y="2"/>
                      <a:pt x="388" y="1"/>
                    </a:cubicBezTo>
                    <a:cubicBezTo>
                      <a:pt x="384" y="0"/>
                      <a:pt x="377" y="2"/>
                      <a:pt x="376" y="2"/>
                    </a:cubicBezTo>
                    <a:cubicBezTo>
                      <a:pt x="375" y="2"/>
                      <a:pt x="369" y="1"/>
                      <a:pt x="366" y="5"/>
                    </a:cubicBezTo>
                    <a:cubicBezTo>
                      <a:pt x="362" y="10"/>
                      <a:pt x="365" y="10"/>
                      <a:pt x="366" y="10"/>
                    </a:cubicBezTo>
                    <a:cubicBezTo>
                      <a:pt x="368" y="10"/>
                      <a:pt x="369" y="14"/>
                      <a:pt x="369" y="15"/>
                    </a:cubicBezTo>
                    <a:cubicBezTo>
                      <a:pt x="369" y="17"/>
                      <a:pt x="366" y="19"/>
                      <a:pt x="365" y="19"/>
                    </a:cubicBezTo>
                    <a:cubicBezTo>
                      <a:pt x="364" y="20"/>
                      <a:pt x="361" y="25"/>
                      <a:pt x="360" y="27"/>
                    </a:cubicBezTo>
                    <a:cubicBezTo>
                      <a:pt x="360" y="29"/>
                      <a:pt x="356" y="34"/>
                      <a:pt x="356" y="35"/>
                    </a:cubicBezTo>
                    <a:cubicBezTo>
                      <a:pt x="357" y="37"/>
                      <a:pt x="354" y="39"/>
                      <a:pt x="353" y="39"/>
                    </a:cubicBezTo>
                    <a:cubicBezTo>
                      <a:pt x="351" y="39"/>
                      <a:pt x="347" y="42"/>
                      <a:pt x="345" y="43"/>
                    </a:cubicBezTo>
                    <a:cubicBezTo>
                      <a:pt x="344" y="43"/>
                      <a:pt x="338" y="42"/>
                      <a:pt x="337" y="41"/>
                    </a:cubicBezTo>
                    <a:cubicBezTo>
                      <a:pt x="337" y="40"/>
                      <a:pt x="336" y="40"/>
                      <a:pt x="336" y="39"/>
                    </a:cubicBezTo>
                    <a:cubicBezTo>
                      <a:pt x="329" y="52"/>
                      <a:pt x="329" y="52"/>
                      <a:pt x="329" y="52"/>
                    </a:cubicBezTo>
                    <a:cubicBezTo>
                      <a:pt x="329" y="56"/>
                      <a:pt x="329" y="56"/>
                      <a:pt x="329" y="56"/>
                    </a:cubicBezTo>
                    <a:cubicBezTo>
                      <a:pt x="329" y="56"/>
                      <a:pt x="324" y="58"/>
                      <a:pt x="328" y="61"/>
                    </a:cubicBezTo>
                    <a:cubicBezTo>
                      <a:pt x="331" y="64"/>
                      <a:pt x="331" y="61"/>
                      <a:pt x="336" y="61"/>
                    </a:cubicBezTo>
                    <a:cubicBezTo>
                      <a:pt x="341" y="61"/>
                      <a:pt x="343" y="65"/>
                      <a:pt x="344" y="62"/>
                    </a:cubicBezTo>
                    <a:cubicBezTo>
                      <a:pt x="345" y="60"/>
                      <a:pt x="349" y="58"/>
                      <a:pt x="351" y="61"/>
                    </a:cubicBezTo>
                    <a:cubicBezTo>
                      <a:pt x="354" y="64"/>
                      <a:pt x="362" y="69"/>
                      <a:pt x="362" y="72"/>
                    </a:cubicBezTo>
                    <a:cubicBezTo>
                      <a:pt x="361" y="75"/>
                      <a:pt x="357" y="74"/>
                      <a:pt x="353" y="73"/>
                    </a:cubicBezTo>
                    <a:cubicBezTo>
                      <a:pt x="350" y="72"/>
                      <a:pt x="346" y="75"/>
                      <a:pt x="343" y="75"/>
                    </a:cubicBezTo>
                    <a:cubicBezTo>
                      <a:pt x="340" y="75"/>
                      <a:pt x="336" y="76"/>
                      <a:pt x="333" y="79"/>
                    </a:cubicBezTo>
                    <a:cubicBezTo>
                      <a:pt x="330" y="82"/>
                      <a:pt x="331" y="85"/>
                      <a:pt x="326" y="86"/>
                    </a:cubicBezTo>
                    <a:cubicBezTo>
                      <a:pt x="321" y="87"/>
                      <a:pt x="319" y="86"/>
                      <a:pt x="314" y="90"/>
                    </a:cubicBezTo>
                    <a:cubicBezTo>
                      <a:pt x="309" y="93"/>
                      <a:pt x="303" y="92"/>
                      <a:pt x="301" y="91"/>
                    </a:cubicBezTo>
                    <a:cubicBezTo>
                      <a:pt x="299" y="90"/>
                      <a:pt x="295" y="89"/>
                      <a:pt x="293" y="93"/>
                    </a:cubicBezTo>
                    <a:cubicBezTo>
                      <a:pt x="291" y="96"/>
                      <a:pt x="296" y="98"/>
                      <a:pt x="295" y="102"/>
                    </a:cubicBezTo>
                    <a:cubicBezTo>
                      <a:pt x="295" y="106"/>
                      <a:pt x="290" y="105"/>
                      <a:pt x="286" y="110"/>
                    </a:cubicBezTo>
                    <a:cubicBezTo>
                      <a:pt x="281" y="115"/>
                      <a:pt x="275" y="117"/>
                      <a:pt x="271" y="116"/>
                    </a:cubicBezTo>
                    <a:cubicBezTo>
                      <a:pt x="267" y="116"/>
                      <a:pt x="260" y="113"/>
                      <a:pt x="253" y="117"/>
                    </a:cubicBezTo>
                    <a:cubicBezTo>
                      <a:pt x="246" y="120"/>
                      <a:pt x="242" y="124"/>
                      <a:pt x="239" y="124"/>
                    </a:cubicBezTo>
                    <a:cubicBezTo>
                      <a:pt x="236" y="123"/>
                      <a:pt x="236" y="120"/>
                      <a:pt x="233" y="121"/>
                    </a:cubicBezTo>
                    <a:cubicBezTo>
                      <a:pt x="229" y="121"/>
                      <a:pt x="227" y="120"/>
                      <a:pt x="224" y="119"/>
                    </a:cubicBezTo>
                    <a:cubicBezTo>
                      <a:pt x="222" y="117"/>
                      <a:pt x="220" y="120"/>
                      <a:pt x="216" y="117"/>
                    </a:cubicBezTo>
                    <a:cubicBezTo>
                      <a:pt x="212" y="113"/>
                      <a:pt x="204" y="114"/>
                      <a:pt x="201" y="113"/>
                    </a:cubicBezTo>
                    <a:cubicBezTo>
                      <a:pt x="198" y="113"/>
                      <a:pt x="186" y="113"/>
                      <a:pt x="182" y="113"/>
                    </a:cubicBezTo>
                    <a:cubicBezTo>
                      <a:pt x="178" y="112"/>
                      <a:pt x="172" y="114"/>
                      <a:pt x="172" y="112"/>
                    </a:cubicBezTo>
                    <a:cubicBezTo>
                      <a:pt x="171" y="110"/>
                      <a:pt x="168" y="108"/>
                      <a:pt x="167" y="104"/>
                    </a:cubicBezTo>
                    <a:cubicBezTo>
                      <a:pt x="166" y="99"/>
                      <a:pt x="163" y="97"/>
                      <a:pt x="161" y="97"/>
                    </a:cubicBezTo>
                    <a:cubicBezTo>
                      <a:pt x="158" y="96"/>
                      <a:pt x="158" y="94"/>
                      <a:pt x="156" y="93"/>
                    </a:cubicBezTo>
                    <a:cubicBezTo>
                      <a:pt x="154" y="93"/>
                      <a:pt x="153" y="90"/>
                      <a:pt x="150" y="90"/>
                    </a:cubicBezTo>
                    <a:cubicBezTo>
                      <a:pt x="146" y="90"/>
                      <a:pt x="133" y="88"/>
                      <a:pt x="131" y="85"/>
                    </a:cubicBezTo>
                    <a:cubicBezTo>
                      <a:pt x="130" y="82"/>
                      <a:pt x="133" y="82"/>
                      <a:pt x="133" y="79"/>
                    </a:cubicBezTo>
                    <a:cubicBezTo>
                      <a:pt x="133" y="76"/>
                      <a:pt x="135" y="72"/>
                      <a:pt x="134" y="71"/>
                    </a:cubicBezTo>
                    <a:cubicBezTo>
                      <a:pt x="132" y="69"/>
                      <a:pt x="130" y="67"/>
                      <a:pt x="129" y="64"/>
                    </a:cubicBezTo>
                    <a:cubicBezTo>
                      <a:pt x="129" y="62"/>
                      <a:pt x="125" y="59"/>
                      <a:pt x="123" y="59"/>
                    </a:cubicBezTo>
                    <a:cubicBezTo>
                      <a:pt x="120" y="59"/>
                      <a:pt x="118" y="57"/>
                      <a:pt x="115" y="55"/>
                    </a:cubicBezTo>
                    <a:cubicBezTo>
                      <a:pt x="113" y="53"/>
                      <a:pt x="111" y="53"/>
                      <a:pt x="110" y="47"/>
                    </a:cubicBezTo>
                    <a:cubicBezTo>
                      <a:pt x="109" y="47"/>
                      <a:pt x="109" y="47"/>
                      <a:pt x="109" y="47"/>
                    </a:cubicBezTo>
                    <a:cubicBezTo>
                      <a:pt x="108" y="46"/>
                      <a:pt x="107" y="46"/>
                      <a:pt x="106" y="46"/>
                    </a:cubicBezTo>
                    <a:cubicBezTo>
                      <a:pt x="106" y="46"/>
                      <a:pt x="105" y="46"/>
                      <a:pt x="104" y="45"/>
                    </a:cubicBezTo>
                    <a:cubicBezTo>
                      <a:pt x="103" y="47"/>
                      <a:pt x="101" y="48"/>
                      <a:pt x="101" y="50"/>
                    </a:cubicBezTo>
                    <a:cubicBezTo>
                      <a:pt x="101" y="52"/>
                      <a:pt x="100" y="54"/>
                      <a:pt x="98" y="54"/>
                    </a:cubicBezTo>
                    <a:cubicBezTo>
                      <a:pt x="95" y="54"/>
                      <a:pt x="93" y="56"/>
                      <a:pt x="93" y="60"/>
                    </a:cubicBezTo>
                    <a:cubicBezTo>
                      <a:pt x="92" y="65"/>
                      <a:pt x="95" y="65"/>
                      <a:pt x="94" y="67"/>
                    </a:cubicBezTo>
                    <a:cubicBezTo>
                      <a:pt x="93" y="69"/>
                      <a:pt x="88" y="71"/>
                      <a:pt x="86" y="70"/>
                    </a:cubicBezTo>
                    <a:cubicBezTo>
                      <a:pt x="85" y="69"/>
                      <a:pt x="81" y="69"/>
                      <a:pt x="79" y="69"/>
                    </a:cubicBezTo>
                    <a:cubicBezTo>
                      <a:pt x="76" y="69"/>
                      <a:pt x="74" y="65"/>
                      <a:pt x="73" y="69"/>
                    </a:cubicBezTo>
                    <a:cubicBezTo>
                      <a:pt x="73" y="73"/>
                      <a:pt x="67" y="83"/>
                      <a:pt x="68" y="85"/>
                    </a:cubicBezTo>
                    <a:cubicBezTo>
                      <a:pt x="70" y="86"/>
                      <a:pt x="71" y="88"/>
                      <a:pt x="68" y="88"/>
                    </a:cubicBezTo>
                    <a:cubicBezTo>
                      <a:pt x="66" y="88"/>
                      <a:pt x="64" y="88"/>
                      <a:pt x="63" y="87"/>
                    </a:cubicBezTo>
                    <a:cubicBezTo>
                      <a:pt x="61" y="86"/>
                      <a:pt x="58" y="88"/>
                      <a:pt x="55" y="88"/>
                    </a:cubicBezTo>
                    <a:cubicBezTo>
                      <a:pt x="54" y="88"/>
                      <a:pt x="49" y="91"/>
                      <a:pt x="50" y="91"/>
                    </a:cubicBezTo>
                    <a:cubicBezTo>
                      <a:pt x="52" y="92"/>
                      <a:pt x="52" y="97"/>
                      <a:pt x="52" y="98"/>
                    </a:cubicBezTo>
                    <a:cubicBezTo>
                      <a:pt x="52" y="100"/>
                      <a:pt x="56" y="106"/>
                      <a:pt x="55" y="107"/>
                    </a:cubicBezTo>
                    <a:cubicBezTo>
                      <a:pt x="55" y="109"/>
                      <a:pt x="51" y="111"/>
                      <a:pt x="51" y="113"/>
                    </a:cubicBezTo>
                    <a:cubicBezTo>
                      <a:pt x="51" y="116"/>
                      <a:pt x="52" y="118"/>
                      <a:pt x="51" y="118"/>
                    </a:cubicBezTo>
                    <a:cubicBezTo>
                      <a:pt x="49" y="119"/>
                      <a:pt x="45" y="121"/>
                      <a:pt x="43" y="122"/>
                    </a:cubicBezTo>
                    <a:cubicBezTo>
                      <a:pt x="42" y="123"/>
                      <a:pt x="38" y="123"/>
                      <a:pt x="37" y="126"/>
                    </a:cubicBezTo>
                    <a:cubicBezTo>
                      <a:pt x="36" y="128"/>
                      <a:pt x="35" y="130"/>
                      <a:pt x="31" y="129"/>
                    </a:cubicBezTo>
                    <a:cubicBezTo>
                      <a:pt x="28" y="129"/>
                      <a:pt x="26" y="128"/>
                      <a:pt x="24" y="131"/>
                    </a:cubicBezTo>
                    <a:cubicBezTo>
                      <a:pt x="21" y="134"/>
                      <a:pt x="20" y="133"/>
                      <a:pt x="19" y="134"/>
                    </a:cubicBezTo>
                    <a:cubicBezTo>
                      <a:pt x="17" y="136"/>
                      <a:pt x="15" y="133"/>
                      <a:pt x="14" y="133"/>
                    </a:cubicBezTo>
                    <a:cubicBezTo>
                      <a:pt x="12" y="132"/>
                      <a:pt x="10" y="134"/>
                      <a:pt x="9" y="134"/>
                    </a:cubicBezTo>
                    <a:cubicBezTo>
                      <a:pt x="7" y="134"/>
                      <a:pt x="6" y="137"/>
                      <a:pt x="4" y="137"/>
                    </a:cubicBezTo>
                    <a:cubicBezTo>
                      <a:pt x="3" y="138"/>
                      <a:pt x="1" y="137"/>
                      <a:pt x="1" y="139"/>
                    </a:cubicBezTo>
                    <a:cubicBezTo>
                      <a:pt x="1" y="141"/>
                      <a:pt x="1" y="142"/>
                      <a:pt x="0" y="14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" y="150"/>
                      <a:pt x="1" y="150"/>
                      <a:pt x="1" y="150"/>
                    </a:cubicBezTo>
                    <a:cubicBezTo>
                      <a:pt x="1" y="150"/>
                      <a:pt x="8" y="153"/>
                      <a:pt x="9" y="155"/>
                    </a:cubicBezTo>
                    <a:cubicBezTo>
                      <a:pt x="9" y="158"/>
                      <a:pt x="10" y="166"/>
                      <a:pt x="10" y="166"/>
                    </a:cubicBezTo>
                    <a:cubicBezTo>
                      <a:pt x="10" y="166"/>
                      <a:pt x="10" y="166"/>
                      <a:pt x="10" y="166"/>
                    </a:cubicBezTo>
                    <a:cubicBezTo>
                      <a:pt x="13" y="169"/>
                      <a:pt x="17" y="171"/>
                      <a:pt x="17" y="172"/>
                    </a:cubicBezTo>
                    <a:cubicBezTo>
                      <a:pt x="17" y="173"/>
                      <a:pt x="18" y="177"/>
                      <a:pt x="22" y="178"/>
                    </a:cubicBezTo>
                    <a:cubicBezTo>
                      <a:pt x="24" y="179"/>
                      <a:pt x="26" y="181"/>
                      <a:pt x="28" y="182"/>
                    </a:cubicBezTo>
                    <a:cubicBezTo>
                      <a:pt x="28" y="181"/>
                      <a:pt x="28" y="181"/>
                      <a:pt x="28" y="181"/>
                    </a:cubicBezTo>
                    <a:cubicBezTo>
                      <a:pt x="31" y="181"/>
                      <a:pt x="31" y="181"/>
                      <a:pt x="31" y="181"/>
                    </a:cubicBezTo>
                    <a:cubicBezTo>
                      <a:pt x="31" y="181"/>
                      <a:pt x="32" y="181"/>
                      <a:pt x="33" y="182"/>
                    </a:cubicBezTo>
                    <a:cubicBezTo>
                      <a:pt x="34" y="180"/>
                      <a:pt x="39" y="177"/>
                      <a:pt x="42" y="177"/>
                    </a:cubicBezTo>
                    <a:cubicBezTo>
                      <a:pt x="45" y="177"/>
                      <a:pt x="52" y="183"/>
                      <a:pt x="52" y="185"/>
                    </a:cubicBezTo>
                    <a:cubicBezTo>
                      <a:pt x="51" y="187"/>
                      <a:pt x="46" y="194"/>
                      <a:pt x="43" y="194"/>
                    </a:cubicBezTo>
                    <a:cubicBezTo>
                      <a:pt x="43" y="194"/>
                      <a:pt x="41" y="194"/>
                      <a:pt x="40" y="195"/>
                    </a:cubicBezTo>
                    <a:cubicBezTo>
                      <a:pt x="40" y="196"/>
                      <a:pt x="40" y="197"/>
                      <a:pt x="40" y="197"/>
                    </a:cubicBezTo>
                    <a:cubicBezTo>
                      <a:pt x="40" y="199"/>
                      <a:pt x="42" y="202"/>
                      <a:pt x="44" y="204"/>
                    </a:cubicBezTo>
                    <a:cubicBezTo>
                      <a:pt x="46" y="207"/>
                      <a:pt x="41" y="209"/>
                      <a:pt x="39" y="207"/>
                    </a:cubicBezTo>
                    <a:cubicBezTo>
                      <a:pt x="37" y="205"/>
                      <a:pt x="36" y="209"/>
                      <a:pt x="37" y="211"/>
                    </a:cubicBezTo>
                    <a:cubicBezTo>
                      <a:pt x="39" y="212"/>
                      <a:pt x="38" y="217"/>
                      <a:pt x="40" y="217"/>
                    </a:cubicBezTo>
                    <a:cubicBezTo>
                      <a:pt x="42" y="217"/>
                      <a:pt x="44" y="222"/>
                      <a:pt x="47" y="222"/>
                    </a:cubicBezTo>
                    <a:cubicBezTo>
                      <a:pt x="49" y="222"/>
                      <a:pt x="52" y="226"/>
                      <a:pt x="52" y="226"/>
                    </a:cubicBezTo>
                    <a:cubicBezTo>
                      <a:pt x="52" y="226"/>
                      <a:pt x="55" y="228"/>
                      <a:pt x="55" y="229"/>
                    </a:cubicBezTo>
                    <a:cubicBezTo>
                      <a:pt x="55" y="230"/>
                      <a:pt x="55" y="230"/>
                      <a:pt x="55" y="230"/>
                    </a:cubicBezTo>
                    <a:cubicBezTo>
                      <a:pt x="58" y="230"/>
                      <a:pt x="60" y="230"/>
                      <a:pt x="60" y="228"/>
                    </a:cubicBezTo>
                    <a:cubicBezTo>
                      <a:pt x="60" y="227"/>
                      <a:pt x="64" y="227"/>
                      <a:pt x="66" y="230"/>
                    </a:cubicBezTo>
                    <a:cubicBezTo>
                      <a:pt x="69" y="232"/>
                      <a:pt x="79" y="239"/>
                      <a:pt x="83" y="242"/>
                    </a:cubicBezTo>
                    <a:cubicBezTo>
                      <a:pt x="86" y="245"/>
                      <a:pt x="95" y="248"/>
                      <a:pt x="98" y="248"/>
                    </a:cubicBezTo>
                    <a:cubicBezTo>
                      <a:pt x="101" y="248"/>
                      <a:pt x="104" y="250"/>
                      <a:pt x="109" y="250"/>
                    </a:cubicBezTo>
                    <a:cubicBezTo>
                      <a:pt x="109" y="250"/>
                      <a:pt x="110" y="250"/>
                      <a:pt x="111" y="250"/>
                    </a:cubicBezTo>
                    <a:cubicBezTo>
                      <a:pt x="111" y="249"/>
                      <a:pt x="112" y="249"/>
                      <a:pt x="113" y="248"/>
                    </a:cubicBezTo>
                    <a:cubicBezTo>
                      <a:pt x="115" y="246"/>
                      <a:pt x="116" y="249"/>
                      <a:pt x="116" y="252"/>
                    </a:cubicBezTo>
                    <a:cubicBezTo>
                      <a:pt x="115" y="253"/>
                      <a:pt x="116" y="255"/>
                      <a:pt x="116" y="256"/>
                    </a:cubicBezTo>
                    <a:cubicBezTo>
                      <a:pt x="117" y="255"/>
                      <a:pt x="118" y="253"/>
                      <a:pt x="118" y="252"/>
                    </a:cubicBezTo>
                    <a:cubicBezTo>
                      <a:pt x="120" y="248"/>
                      <a:pt x="122" y="248"/>
                      <a:pt x="124" y="247"/>
                    </a:cubicBezTo>
                    <a:cubicBezTo>
                      <a:pt x="125" y="246"/>
                      <a:pt x="127" y="246"/>
                      <a:pt x="130" y="248"/>
                    </a:cubicBezTo>
                    <a:cubicBezTo>
                      <a:pt x="134" y="250"/>
                      <a:pt x="135" y="246"/>
                      <a:pt x="140" y="251"/>
                    </a:cubicBezTo>
                    <a:cubicBezTo>
                      <a:pt x="141" y="250"/>
                      <a:pt x="142" y="250"/>
                      <a:pt x="142" y="250"/>
                    </a:cubicBezTo>
                    <a:cubicBezTo>
                      <a:pt x="143" y="250"/>
                      <a:pt x="145" y="248"/>
                      <a:pt x="146" y="246"/>
                    </a:cubicBezTo>
                    <a:cubicBezTo>
                      <a:pt x="148" y="245"/>
                      <a:pt x="148" y="243"/>
                      <a:pt x="149" y="243"/>
                    </a:cubicBezTo>
                    <a:cubicBezTo>
                      <a:pt x="151" y="243"/>
                      <a:pt x="152" y="241"/>
                      <a:pt x="156" y="239"/>
                    </a:cubicBezTo>
                    <a:cubicBezTo>
                      <a:pt x="161" y="236"/>
                      <a:pt x="164" y="240"/>
                      <a:pt x="166" y="238"/>
                    </a:cubicBezTo>
                    <a:cubicBezTo>
                      <a:pt x="168" y="237"/>
                      <a:pt x="170" y="236"/>
                      <a:pt x="170" y="238"/>
                    </a:cubicBezTo>
                    <a:cubicBezTo>
                      <a:pt x="170" y="239"/>
                      <a:pt x="173" y="241"/>
                      <a:pt x="173" y="243"/>
                    </a:cubicBezTo>
                    <a:cubicBezTo>
                      <a:pt x="174" y="245"/>
                      <a:pt x="177" y="246"/>
                      <a:pt x="178" y="246"/>
                    </a:cubicBezTo>
                    <a:cubicBezTo>
                      <a:pt x="178" y="245"/>
                      <a:pt x="179" y="245"/>
                      <a:pt x="179" y="245"/>
                    </a:cubicBezTo>
                    <a:cubicBezTo>
                      <a:pt x="181" y="243"/>
                      <a:pt x="185" y="245"/>
                      <a:pt x="185" y="247"/>
                    </a:cubicBezTo>
                    <a:cubicBezTo>
                      <a:pt x="185" y="249"/>
                      <a:pt x="185" y="252"/>
                      <a:pt x="186" y="252"/>
                    </a:cubicBezTo>
                    <a:cubicBezTo>
                      <a:pt x="188" y="252"/>
                      <a:pt x="190" y="252"/>
                      <a:pt x="190" y="256"/>
                    </a:cubicBezTo>
                    <a:cubicBezTo>
                      <a:pt x="190" y="259"/>
                      <a:pt x="191" y="264"/>
                      <a:pt x="188" y="267"/>
                    </a:cubicBezTo>
                    <a:cubicBezTo>
                      <a:pt x="184" y="271"/>
                      <a:pt x="180" y="277"/>
                      <a:pt x="181" y="279"/>
                    </a:cubicBezTo>
                    <a:cubicBezTo>
                      <a:pt x="182" y="280"/>
                      <a:pt x="180" y="284"/>
                      <a:pt x="182" y="282"/>
                    </a:cubicBezTo>
                    <a:cubicBezTo>
                      <a:pt x="185" y="281"/>
                      <a:pt x="191" y="282"/>
                      <a:pt x="190" y="284"/>
                    </a:cubicBezTo>
                    <a:cubicBezTo>
                      <a:pt x="189" y="285"/>
                      <a:pt x="190" y="290"/>
                      <a:pt x="192" y="290"/>
                    </a:cubicBezTo>
                    <a:cubicBezTo>
                      <a:pt x="195" y="291"/>
                      <a:pt x="196" y="292"/>
                      <a:pt x="195" y="294"/>
                    </a:cubicBezTo>
                    <a:cubicBezTo>
                      <a:pt x="195" y="296"/>
                      <a:pt x="193" y="299"/>
                      <a:pt x="195" y="299"/>
                    </a:cubicBezTo>
                    <a:cubicBezTo>
                      <a:pt x="197" y="299"/>
                      <a:pt x="200" y="299"/>
                      <a:pt x="200" y="302"/>
                    </a:cubicBezTo>
                    <a:cubicBezTo>
                      <a:pt x="199" y="304"/>
                      <a:pt x="201" y="306"/>
                      <a:pt x="205" y="304"/>
                    </a:cubicBezTo>
                    <a:cubicBezTo>
                      <a:pt x="207" y="303"/>
                      <a:pt x="208" y="303"/>
                      <a:pt x="208" y="303"/>
                    </a:cubicBezTo>
                    <a:cubicBezTo>
                      <a:pt x="210" y="303"/>
                      <a:pt x="210" y="307"/>
                      <a:pt x="212" y="307"/>
                    </a:cubicBezTo>
                    <a:cubicBezTo>
                      <a:pt x="215" y="308"/>
                      <a:pt x="214" y="302"/>
                      <a:pt x="213" y="301"/>
                    </a:cubicBezTo>
                    <a:cubicBezTo>
                      <a:pt x="212" y="300"/>
                      <a:pt x="213" y="296"/>
                      <a:pt x="214" y="297"/>
                    </a:cubicBezTo>
                    <a:cubicBezTo>
                      <a:pt x="215" y="298"/>
                      <a:pt x="218" y="297"/>
                      <a:pt x="219" y="295"/>
                    </a:cubicBezTo>
                    <a:cubicBezTo>
                      <a:pt x="221" y="293"/>
                      <a:pt x="224" y="296"/>
                      <a:pt x="225" y="294"/>
                    </a:cubicBezTo>
                    <a:cubicBezTo>
                      <a:pt x="227" y="292"/>
                      <a:pt x="229" y="296"/>
                      <a:pt x="232" y="294"/>
                    </a:cubicBezTo>
                    <a:cubicBezTo>
                      <a:pt x="235" y="293"/>
                      <a:pt x="236" y="296"/>
                      <a:pt x="238" y="293"/>
                    </a:cubicBezTo>
                    <a:cubicBezTo>
                      <a:pt x="239" y="291"/>
                      <a:pt x="243" y="288"/>
                      <a:pt x="244" y="289"/>
                    </a:cubicBezTo>
                    <a:cubicBezTo>
                      <a:pt x="245" y="290"/>
                      <a:pt x="246" y="292"/>
                      <a:pt x="251" y="293"/>
                    </a:cubicBezTo>
                    <a:cubicBezTo>
                      <a:pt x="256" y="293"/>
                      <a:pt x="253" y="296"/>
                      <a:pt x="253" y="297"/>
                    </a:cubicBezTo>
                    <a:cubicBezTo>
                      <a:pt x="253" y="299"/>
                      <a:pt x="259" y="303"/>
                      <a:pt x="261" y="303"/>
                    </a:cubicBezTo>
                    <a:cubicBezTo>
                      <a:pt x="261" y="304"/>
                      <a:pt x="262" y="304"/>
                      <a:pt x="263" y="305"/>
                    </a:cubicBezTo>
                    <a:cubicBezTo>
                      <a:pt x="264" y="304"/>
                      <a:pt x="267" y="305"/>
                      <a:pt x="267" y="303"/>
                    </a:cubicBezTo>
                    <a:cubicBezTo>
                      <a:pt x="268" y="301"/>
                      <a:pt x="271" y="302"/>
                      <a:pt x="272" y="304"/>
                    </a:cubicBezTo>
                    <a:cubicBezTo>
                      <a:pt x="273" y="305"/>
                      <a:pt x="274" y="306"/>
                      <a:pt x="276" y="304"/>
                    </a:cubicBezTo>
                    <a:cubicBezTo>
                      <a:pt x="279" y="302"/>
                      <a:pt x="280" y="306"/>
                      <a:pt x="279" y="307"/>
                    </a:cubicBezTo>
                    <a:cubicBezTo>
                      <a:pt x="277" y="308"/>
                      <a:pt x="278" y="312"/>
                      <a:pt x="280" y="314"/>
                    </a:cubicBezTo>
                    <a:cubicBezTo>
                      <a:pt x="283" y="316"/>
                      <a:pt x="283" y="313"/>
                      <a:pt x="283" y="311"/>
                    </a:cubicBezTo>
                    <a:cubicBezTo>
                      <a:pt x="282" y="308"/>
                      <a:pt x="286" y="306"/>
                      <a:pt x="294" y="304"/>
                    </a:cubicBezTo>
                    <a:cubicBezTo>
                      <a:pt x="301" y="301"/>
                      <a:pt x="309" y="296"/>
                      <a:pt x="310" y="295"/>
                    </a:cubicBezTo>
                    <a:cubicBezTo>
                      <a:pt x="310" y="293"/>
                      <a:pt x="315" y="297"/>
                      <a:pt x="317" y="295"/>
                    </a:cubicBezTo>
                    <a:cubicBezTo>
                      <a:pt x="320" y="293"/>
                      <a:pt x="329" y="293"/>
                      <a:pt x="331" y="293"/>
                    </a:cubicBezTo>
                    <a:cubicBezTo>
                      <a:pt x="334" y="293"/>
                      <a:pt x="334" y="290"/>
                      <a:pt x="336" y="288"/>
                    </a:cubicBezTo>
                    <a:cubicBezTo>
                      <a:pt x="339" y="286"/>
                      <a:pt x="338" y="285"/>
                      <a:pt x="341" y="285"/>
                    </a:cubicBezTo>
                    <a:cubicBezTo>
                      <a:pt x="344" y="284"/>
                      <a:pt x="345" y="281"/>
                      <a:pt x="345" y="280"/>
                    </a:cubicBezTo>
                    <a:cubicBezTo>
                      <a:pt x="345" y="278"/>
                      <a:pt x="351" y="278"/>
                      <a:pt x="351" y="276"/>
                    </a:cubicBezTo>
                    <a:cubicBezTo>
                      <a:pt x="351" y="275"/>
                      <a:pt x="355" y="274"/>
                      <a:pt x="355" y="272"/>
                    </a:cubicBezTo>
                    <a:cubicBezTo>
                      <a:pt x="355" y="271"/>
                      <a:pt x="357" y="271"/>
                      <a:pt x="358" y="269"/>
                    </a:cubicBezTo>
                    <a:cubicBezTo>
                      <a:pt x="359" y="268"/>
                      <a:pt x="358" y="264"/>
                      <a:pt x="359" y="263"/>
                    </a:cubicBezTo>
                    <a:cubicBezTo>
                      <a:pt x="361" y="263"/>
                      <a:pt x="359" y="260"/>
                      <a:pt x="358" y="259"/>
                    </a:cubicBezTo>
                    <a:cubicBezTo>
                      <a:pt x="358" y="258"/>
                      <a:pt x="362" y="258"/>
                      <a:pt x="364" y="257"/>
                    </a:cubicBezTo>
                    <a:cubicBezTo>
                      <a:pt x="366" y="255"/>
                      <a:pt x="367" y="253"/>
                      <a:pt x="368" y="251"/>
                    </a:cubicBezTo>
                    <a:cubicBezTo>
                      <a:pt x="368" y="249"/>
                      <a:pt x="371" y="247"/>
                      <a:pt x="373" y="246"/>
                    </a:cubicBezTo>
                    <a:cubicBezTo>
                      <a:pt x="374" y="246"/>
                      <a:pt x="375" y="242"/>
                      <a:pt x="375" y="240"/>
                    </a:cubicBezTo>
                    <a:cubicBezTo>
                      <a:pt x="374" y="237"/>
                      <a:pt x="377" y="238"/>
                      <a:pt x="376" y="237"/>
                    </a:cubicBezTo>
                    <a:cubicBezTo>
                      <a:pt x="374" y="236"/>
                      <a:pt x="376" y="233"/>
                      <a:pt x="379" y="232"/>
                    </a:cubicBezTo>
                    <a:cubicBezTo>
                      <a:pt x="382" y="231"/>
                      <a:pt x="378" y="230"/>
                      <a:pt x="376" y="231"/>
                    </a:cubicBezTo>
                    <a:cubicBezTo>
                      <a:pt x="374" y="232"/>
                      <a:pt x="373" y="227"/>
                      <a:pt x="371" y="229"/>
                    </a:cubicBezTo>
                    <a:cubicBezTo>
                      <a:pt x="370" y="231"/>
                      <a:pt x="366" y="228"/>
                      <a:pt x="369" y="227"/>
                    </a:cubicBezTo>
                    <a:cubicBezTo>
                      <a:pt x="371" y="227"/>
                      <a:pt x="375" y="224"/>
                      <a:pt x="377" y="223"/>
                    </a:cubicBezTo>
                    <a:cubicBezTo>
                      <a:pt x="379" y="223"/>
                      <a:pt x="374" y="219"/>
                      <a:pt x="372" y="219"/>
                    </a:cubicBezTo>
                    <a:cubicBezTo>
                      <a:pt x="370" y="219"/>
                      <a:pt x="367" y="214"/>
                      <a:pt x="365" y="214"/>
                    </a:cubicBezTo>
                    <a:cubicBezTo>
                      <a:pt x="363" y="214"/>
                      <a:pt x="367" y="212"/>
                      <a:pt x="369" y="213"/>
                    </a:cubicBezTo>
                    <a:cubicBezTo>
                      <a:pt x="372" y="215"/>
                      <a:pt x="375" y="216"/>
                      <a:pt x="377" y="215"/>
                    </a:cubicBezTo>
                    <a:cubicBezTo>
                      <a:pt x="378" y="214"/>
                      <a:pt x="372" y="209"/>
                      <a:pt x="370" y="207"/>
                    </a:cubicBezTo>
                    <a:cubicBezTo>
                      <a:pt x="368" y="206"/>
                      <a:pt x="370" y="203"/>
                      <a:pt x="368" y="202"/>
                    </a:cubicBezTo>
                    <a:cubicBezTo>
                      <a:pt x="367" y="201"/>
                      <a:pt x="364" y="195"/>
                      <a:pt x="363" y="193"/>
                    </a:cubicBezTo>
                    <a:cubicBezTo>
                      <a:pt x="362" y="190"/>
                      <a:pt x="357" y="189"/>
                      <a:pt x="356" y="188"/>
                    </a:cubicBezTo>
                    <a:cubicBezTo>
                      <a:pt x="355" y="186"/>
                      <a:pt x="356" y="182"/>
                      <a:pt x="360" y="180"/>
                    </a:cubicBezTo>
                    <a:cubicBezTo>
                      <a:pt x="364" y="179"/>
                      <a:pt x="362" y="176"/>
                      <a:pt x="364" y="176"/>
                    </a:cubicBezTo>
                    <a:cubicBezTo>
                      <a:pt x="365" y="176"/>
                      <a:pt x="367" y="176"/>
                      <a:pt x="368" y="173"/>
                    </a:cubicBezTo>
                    <a:cubicBezTo>
                      <a:pt x="369" y="170"/>
                      <a:pt x="372" y="172"/>
                      <a:pt x="373" y="170"/>
                    </a:cubicBezTo>
                    <a:cubicBezTo>
                      <a:pt x="374" y="169"/>
                      <a:pt x="380" y="169"/>
                      <a:pt x="382" y="168"/>
                    </a:cubicBezTo>
                    <a:cubicBezTo>
                      <a:pt x="384" y="166"/>
                      <a:pt x="380" y="162"/>
                      <a:pt x="378" y="162"/>
                    </a:cubicBezTo>
                    <a:cubicBezTo>
                      <a:pt x="375" y="163"/>
                      <a:pt x="372" y="162"/>
                      <a:pt x="370" y="159"/>
                    </a:cubicBezTo>
                    <a:cubicBezTo>
                      <a:pt x="368" y="156"/>
                      <a:pt x="363" y="164"/>
                      <a:pt x="359" y="166"/>
                    </a:cubicBezTo>
                    <a:cubicBezTo>
                      <a:pt x="355" y="168"/>
                      <a:pt x="353" y="163"/>
                      <a:pt x="354" y="160"/>
                    </a:cubicBezTo>
                    <a:cubicBezTo>
                      <a:pt x="355" y="157"/>
                      <a:pt x="351" y="157"/>
                      <a:pt x="346" y="157"/>
                    </a:cubicBezTo>
                    <a:cubicBezTo>
                      <a:pt x="340" y="157"/>
                      <a:pt x="342" y="147"/>
                      <a:pt x="346" y="147"/>
                    </a:cubicBezTo>
                    <a:cubicBezTo>
                      <a:pt x="349" y="147"/>
                      <a:pt x="354" y="150"/>
                      <a:pt x="356" y="144"/>
                    </a:cubicBezTo>
                    <a:cubicBezTo>
                      <a:pt x="358" y="138"/>
                      <a:pt x="360" y="143"/>
                      <a:pt x="365" y="137"/>
                    </a:cubicBezTo>
                    <a:cubicBezTo>
                      <a:pt x="369" y="132"/>
                      <a:pt x="375" y="129"/>
                      <a:pt x="379" y="132"/>
                    </a:cubicBezTo>
                    <a:cubicBezTo>
                      <a:pt x="383" y="135"/>
                      <a:pt x="374" y="140"/>
                      <a:pt x="373" y="143"/>
                    </a:cubicBezTo>
                    <a:cubicBezTo>
                      <a:pt x="372" y="146"/>
                      <a:pt x="374" y="147"/>
                      <a:pt x="372" y="149"/>
                    </a:cubicBezTo>
                    <a:cubicBezTo>
                      <a:pt x="370" y="152"/>
                      <a:pt x="373" y="152"/>
                      <a:pt x="378" y="149"/>
                    </a:cubicBezTo>
                    <a:cubicBezTo>
                      <a:pt x="382" y="146"/>
                      <a:pt x="388" y="143"/>
                      <a:pt x="392" y="141"/>
                    </a:cubicBezTo>
                    <a:cubicBezTo>
                      <a:pt x="394" y="140"/>
                      <a:pt x="395" y="140"/>
                      <a:pt x="396" y="140"/>
                    </a:cubicBezTo>
                    <a:cubicBezTo>
                      <a:pt x="397" y="139"/>
                      <a:pt x="398" y="137"/>
                      <a:pt x="399" y="137"/>
                    </a:cubicBezTo>
                    <a:cubicBezTo>
                      <a:pt x="402" y="135"/>
                      <a:pt x="412" y="131"/>
                      <a:pt x="414" y="128"/>
                    </a:cubicBezTo>
                    <a:cubicBezTo>
                      <a:pt x="415" y="126"/>
                      <a:pt x="417" y="123"/>
                      <a:pt x="419" y="123"/>
                    </a:cubicBezTo>
                    <a:cubicBezTo>
                      <a:pt x="421" y="123"/>
                      <a:pt x="421" y="125"/>
                      <a:pt x="424" y="125"/>
                    </a:cubicBezTo>
                    <a:cubicBezTo>
                      <a:pt x="427" y="125"/>
                      <a:pt x="431" y="126"/>
                      <a:pt x="429" y="123"/>
                    </a:cubicBezTo>
                    <a:cubicBezTo>
                      <a:pt x="428" y="121"/>
                      <a:pt x="429" y="121"/>
                      <a:pt x="432" y="120"/>
                    </a:cubicBezTo>
                    <a:cubicBezTo>
                      <a:pt x="436" y="120"/>
                      <a:pt x="435" y="116"/>
                      <a:pt x="438" y="116"/>
                    </a:cubicBezTo>
                    <a:cubicBezTo>
                      <a:pt x="441" y="116"/>
                      <a:pt x="440" y="110"/>
                      <a:pt x="443" y="110"/>
                    </a:cubicBezTo>
                    <a:cubicBezTo>
                      <a:pt x="445" y="110"/>
                      <a:pt x="446" y="113"/>
                      <a:pt x="449" y="112"/>
                    </a:cubicBezTo>
                    <a:cubicBezTo>
                      <a:pt x="450" y="112"/>
                      <a:pt x="451" y="112"/>
                      <a:pt x="452" y="113"/>
                    </a:cubicBezTo>
                    <a:cubicBezTo>
                      <a:pt x="452" y="112"/>
                      <a:pt x="453" y="112"/>
                      <a:pt x="453" y="111"/>
                    </a:cubicBezTo>
                    <a:cubicBezTo>
                      <a:pt x="453" y="108"/>
                      <a:pt x="454" y="105"/>
                      <a:pt x="453" y="104"/>
                    </a:cubicBezTo>
                    <a:cubicBezTo>
                      <a:pt x="452" y="101"/>
                      <a:pt x="453" y="99"/>
                      <a:pt x="452" y="97"/>
                    </a:cubicBezTo>
                    <a:cubicBezTo>
                      <a:pt x="452" y="95"/>
                      <a:pt x="452" y="91"/>
                      <a:pt x="454" y="91"/>
                    </a:cubicBezTo>
                    <a:cubicBezTo>
                      <a:pt x="456" y="91"/>
                      <a:pt x="458" y="86"/>
                      <a:pt x="460" y="88"/>
                    </a:cubicBezTo>
                    <a:cubicBezTo>
                      <a:pt x="463" y="90"/>
                      <a:pt x="467" y="90"/>
                      <a:pt x="467" y="88"/>
                    </a:cubicBezTo>
                    <a:cubicBezTo>
                      <a:pt x="467" y="86"/>
                      <a:pt x="471" y="86"/>
                      <a:pt x="471" y="83"/>
                    </a:cubicBezTo>
                    <a:cubicBezTo>
                      <a:pt x="472" y="80"/>
                      <a:pt x="475" y="79"/>
                      <a:pt x="476" y="77"/>
                    </a:cubicBezTo>
                    <a:cubicBezTo>
                      <a:pt x="477" y="74"/>
                      <a:pt x="478" y="68"/>
                      <a:pt x="480" y="66"/>
                    </a:cubicBezTo>
                    <a:cubicBezTo>
                      <a:pt x="483" y="65"/>
                      <a:pt x="480" y="64"/>
                      <a:pt x="480" y="60"/>
                    </a:cubicBezTo>
                    <a:close/>
                    <a:moveTo>
                      <a:pt x="364" y="285"/>
                    </a:moveTo>
                    <a:cubicBezTo>
                      <a:pt x="361" y="295"/>
                      <a:pt x="367" y="299"/>
                      <a:pt x="368" y="299"/>
                    </a:cubicBezTo>
                    <a:cubicBezTo>
                      <a:pt x="370" y="297"/>
                      <a:pt x="380" y="277"/>
                      <a:pt x="378" y="274"/>
                    </a:cubicBezTo>
                    <a:cubicBezTo>
                      <a:pt x="376" y="271"/>
                      <a:pt x="366" y="276"/>
                      <a:pt x="364" y="285"/>
                    </a:cubicBezTo>
                    <a:close/>
                    <a:moveTo>
                      <a:pt x="279" y="317"/>
                    </a:moveTo>
                    <a:cubicBezTo>
                      <a:pt x="276" y="317"/>
                      <a:pt x="268" y="322"/>
                      <a:pt x="271" y="328"/>
                    </a:cubicBezTo>
                    <a:cubicBezTo>
                      <a:pt x="274" y="335"/>
                      <a:pt x="284" y="330"/>
                      <a:pt x="284" y="328"/>
                    </a:cubicBezTo>
                    <a:cubicBezTo>
                      <a:pt x="285" y="325"/>
                      <a:pt x="289" y="320"/>
                      <a:pt x="289" y="318"/>
                    </a:cubicBezTo>
                    <a:cubicBezTo>
                      <a:pt x="288" y="316"/>
                      <a:pt x="282" y="317"/>
                      <a:pt x="279" y="3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59" name="Freeform 93">
                <a:extLst>
                  <a:ext uri="{FF2B5EF4-FFF2-40B4-BE49-F238E27FC236}">
                    <a16:creationId xmlns:a16="http://schemas.microsoft.com/office/drawing/2014/main" id="{F38C9100-A790-45F0-A2B5-AB7234CE7D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33430" y="3005651"/>
                <a:ext cx="261809" cy="294296"/>
              </a:xfrm>
              <a:custGeom>
                <a:avLst/>
                <a:gdLst>
                  <a:gd name="T0" fmla="*/ 9 w 72"/>
                  <a:gd name="T1" fmla="*/ 21 h 81"/>
                  <a:gd name="T2" fmla="*/ 5 w 72"/>
                  <a:gd name="T3" fmla="*/ 25 h 81"/>
                  <a:gd name="T4" fmla="*/ 8 w 72"/>
                  <a:gd name="T5" fmla="*/ 29 h 81"/>
                  <a:gd name="T6" fmla="*/ 6 w 72"/>
                  <a:gd name="T7" fmla="*/ 32 h 81"/>
                  <a:gd name="T8" fmla="*/ 2 w 72"/>
                  <a:gd name="T9" fmla="*/ 34 h 81"/>
                  <a:gd name="T10" fmla="*/ 1 w 72"/>
                  <a:gd name="T11" fmla="*/ 38 h 81"/>
                  <a:gd name="T12" fmla="*/ 0 w 72"/>
                  <a:gd name="T13" fmla="*/ 44 h 81"/>
                  <a:gd name="T14" fmla="*/ 2 w 72"/>
                  <a:gd name="T15" fmla="*/ 49 h 81"/>
                  <a:gd name="T16" fmla="*/ 1 w 72"/>
                  <a:gd name="T17" fmla="*/ 52 h 81"/>
                  <a:gd name="T18" fmla="*/ 3 w 72"/>
                  <a:gd name="T19" fmla="*/ 59 h 81"/>
                  <a:gd name="T20" fmla="*/ 5 w 72"/>
                  <a:gd name="T21" fmla="*/ 60 h 81"/>
                  <a:gd name="T22" fmla="*/ 10 w 72"/>
                  <a:gd name="T23" fmla="*/ 62 h 81"/>
                  <a:gd name="T24" fmla="*/ 14 w 72"/>
                  <a:gd name="T25" fmla="*/ 64 h 81"/>
                  <a:gd name="T26" fmla="*/ 16 w 72"/>
                  <a:gd name="T27" fmla="*/ 66 h 81"/>
                  <a:gd name="T28" fmla="*/ 13 w 72"/>
                  <a:gd name="T29" fmla="*/ 73 h 81"/>
                  <a:gd name="T30" fmla="*/ 12 w 72"/>
                  <a:gd name="T31" fmla="*/ 78 h 81"/>
                  <a:gd name="T32" fmla="*/ 19 w 72"/>
                  <a:gd name="T33" fmla="*/ 77 h 81"/>
                  <a:gd name="T34" fmla="*/ 24 w 72"/>
                  <a:gd name="T35" fmla="*/ 77 h 81"/>
                  <a:gd name="T36" fmla="*/ 29 w 72"/>
                  <a:gd name="T37" fmla="*/ 79 h 81"/>
                  <a:gd name="T38" fmla="*/ 30 w 72"/>
                  <a:gd name="T39" fmla="*/ 78 h 81"/>
                  <a:gd name="T40" fmla="*/ 35 w 72"/>
                  <a:gd name="T41" fmla="*/ 80 h 81"/>
                  <a:gd name="T42" fmla="*/ 39 w 72"/>
                  <a:gd name="T43" fmla="*/ 79 h 81"/>
                  <a:gd name="T44" fmla="*/ 44 w 72"/>
                  <a:gd name="T45" fmla="*/ 79 h 81"/>
                  <a:gd name="T46" fmla="*/ 52 w 72"/>
                  <a:gd name="T47" fmla="*/ 77 h 81"/>
                  <a:gd name="T48" fmla="*/ 55 w 72"/>
                  <a:gd name="T49" fmla="*/ 75 h 81"/>
                  <a:gd name="T50" fmla="*/ 59 w 72"/>
                  <a:gd name="T51" fmla="*/ 70 h 81"/>
                  <a:gd name="T52" fmla="*/ 63 w 72"/>
                  <a:gd name="T53" fmla="*/ 66 h 81"/>
                  <a:gd name="T54" fmla="*/ 55 w 72"/>
                  <a:gd name="T55" fmla="*/ 60 h 81"/>
                  <a:gd name="T56" fmla="*/ 52 w 72"/>
                  <a:gd name="T57" fmla="*/ 53 h 81"/>
                  <a:gd name="T58" fmla="*/ 51 w 72"/>
                  <a:gd name="T59" fmla="*/ 49 h 81"/>
                  <a:gd name="T60" fmla="*/ 60 w 72"/>
                  <a:gd name="T61" fmla="*/ 46 h 81"/>
                  <a:gd name="T62" fmla="*/ 66 w 72"/>
                  <a:gd name="T63" fmla="*/ 43 h 81"/>
                  <a:gd name="T64" fmla="*/ 71 w 72"/>
                  <a:gd name="T65" fmla="*/ 42 h 81"/>
                  <a:gd name="T66" fmla="*/ 71 w 72"/>
                  <a:gd name="T67" fmla="*/ 38 h 81"/>
                  <a:gd name="T68" fmla="*/ 69 w 72"/>
                  <a:gd name="T69" fmla="*/ 31 h 81"/>
                  <a:gd name="T70" fmla="*/ 68 w 72"/>
                  <a:gd name="T71" fmla="*/ 27 h 81"/>
                  <a:gd name="T72" fmla="*/ 66 w 72"/>
                  <a:gd name="T73" fmla="*/ 23 h 81"/>
                  <a:gd name="T74" fmla="*/ 66 w 72"/>
                  <a:gd name="T75" fmla="*/ 20 h 81"/>
                  <a:gd name="T76" fmla="*/ 66 w 72"/>
                  <a:gd name="T77" fmla="*/ 12 h 81"/>
                  <a:gd name="T78" fmla="*/ 66 w 72"/>
                  <a:gd name="T79" fmla="*/ 11 h 81"/>
                  <a:gd name="T80" fmla="*/ 65 w 72"/>
                  <a:gd name="T81" fmla="*/ 10 h 81"/>
                  <a:gd name="T82" fmla="*/ 60 w 72"/>
                  <a:gd name="T83" fmla="*/ 7 h 81"/>
                  <a:gd name="T84" fmla="*/ 61 w 72"/>
                  <a:gd name="T85" fmla="*/ 2 h 81"/>
                  <a:gd name="T86" fmla="*/ 54 w 72"/>
                  <a:gd name="T87" fmla="*/ 4 h 81"/>
                  <a:gd name="T88" fmla="*/ 45 w 72"/>
                  <a:gd name="T89" fmla="*/ 10 h 81"/>
                  <a:gd name="T90" fmla="*/ 41 w 72"/>
                  <a:gd name="T91" fmla="*/ 7 h 81"/>
                  <a:gd name="T92" fmla="*/ 38 w 72"/>
                  <a:gd name="T93" fmla="*/ 5 h 81"/>
                  <a:gd name="T94" fmla="*/ 32 w 72"/>
                  <a:gd name="T95" fmla="*/ 2 h 81"/>
                  <a:gd name="T96" fmla="*/ 31 w 72"/>
                  <a:gd name="T97" fmla="*/ 0 h 81"/>
                  <a:gd name="T98" fmla="*/ 28 w 72"/>
                  <a:gd name="T99" fmla="*/ 0 h 81"/>
                  <a:gd name="T100" fmla="*/ 21 w 72"/>
                  <a:gd name="T101" fmla="*/ 0 h 81"/>
                  <a:gd name="T102" fmla="*/ 22 w 72"/>
                  <a:gd name="T103" fmla="*/ 4 h 81"/>
                  <a:gd name="T104" fmla="*/ 25 w 72"/>
                  <a:gd name="T105" fmla="*/ 10 h 81"/>
                  <a:gd name="T106" fmla="*/ 21 w 72"/>
                  <a:gd name="T107" fmla="*/ 14 h 81"/>
                  <a:gd name="T108" fmla="*/ 15 w 72"/>
                  <a:gd name="T109" fmla="*/ 13 h 81"/>
                  <a:gd name="T110" fmla="*/ 9 w 72"/>
                  <a:gd name="T111" fmla="*/ 14 h 81"/>
                  <a:gd name="T112" fmla="*/ 9 w 72"/>
                  <a:gd name="T113" fmla="*/ 15 h 81"/>
                  <a:gd name="T114" fmla="*/ 9 w 72"/>
                  <a:gd name="T115" fmla="*/ 2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2" h="81">
                    <a:moveTo>
                      <a:pt x="9" y="21"/>
                    </a:moveTo>
                    <a:cubicBezTo>
                      <a:pt x="7" y="24"/>
                      <a:pt x="5" y="24"/>
                      <a:pt x="5" y="25"/>
                    </a:cubicBezTo>
                    <a:cubicBezTo>
                      <a:pt x="6" y="25"/>
                      <a:pt x="8" y="28"/>
                      <a:pt x="8" y="29"/>
                    </a:cubicBezTo>
                    <a:cubicBezTo>
                      <a:pt x="7" y="30"/>
                      <a:pt x="6" y="29"/>
                      <a:pt x="6" y="32"/>
                    </a:cubicBezTo>
                    <a:cubicBezTo>
                      <a:pt x="6" y="34"/>
                      <a:pt x="3" y="34"/>
                      <a:pt x="2" y="34"/>
                    </a:cubicBezTo>
                    <a:cubicBezTo>
                      <a:pt x="0" y="34"/>
                      <a:pt x="2" y="36"/>
                      <a:pt x="1" y="38"/>
                    </a:cubicBezTo>
                    <a:cubicBezTo>
                      <a:pt x="0" y="39"/>
                      <a:pt x="0" y="43"/>
                      <a:pt x="0" y="44"/>
                    </a:cubicBezTo>
                    <a:cubicBezTo>
                      <a:pt x="0" y="45"/>
                      <a:pt x="3" y="48"/>
                      <a:pt x="2" y="49"/>
                    </a:cubicBezTo>
                    <a:cubicBezTo>
                      <a:pt x="2" y="50"/>
                      <a:pt x="0" y="51"/>
                      <a:pt x="1" y="52"/>
                    </a:cubicBezTo>
                    <a:cubicBezTo>
                      <a:pt x="1" y="53"/>
                      <a:pt x="3" y="54"/>
                      <a:pt x="3" y="59"/>
                    </a:cubicBezTo>
                    <a:cubicBezTo>
                      <a:pt x="4" y="59"/>
                      <a:pt x="5" y="59"/>
                      <a:pt x="5" y="60"/>
                    </a:cubicBezTo>
                    <a:cubicBezTo>
                      <a:pt x="6" y="61"/>
                      <a:pt x="8" y="62"/>
                      <a:pt x="10" y="62"/>
                    </a:cubicBezTo>
                    <a:cubicBezTo>
                      <a:pt x="12" y="62"/>
                      <a:pt x="13" y="64"/>
                      <a:pt x="14" y="64"/>
                    </a:cubicBezTo>
                    <a:cubicBezTo>
                      <a:pt x="15" y="63"/>
                      <a:pt x="18" y="64"/>
                      <a:pt x="16" y="66"/>
                    </a:cubicBezTo>
                    <a:cubicBezTo>
                      <a:pt x="14" y="68"/>
                      <a:pt x="13" y="71"/>
                      <a:pt x="13" y="73"/>
                    </a:cubicBezTo>
                    <a:cubicBezTo>
                      <a:pt x="12" y="74"/>
                      <a:pt x="12" y="76"/>
                      <a:pt x="12" y="78"/>
                    </a:cubicBezTo>
                    <a:cubicBezTo>
                      <a:pt x="14" y="78"/>
                      <a:pt x="18" y="78"/>
                      <a:pt x="19" y="77"/>
                    </a:cubicBezTo>
                    <a:cubicBezTo>
                      <a:pt x="21" y="77"/>
                      <a:pt x="22" y="77"/>
                      <a:pt x="24" y="77"/>
                    </a:cubicBezTo>
                    <a:cubicBezTo>
                      <a:pt x="26" y="78"/>
                      <a:pt x="28" y="79"/>
                      <a:pt x="29" y="79"/>
                    </a:cubicBezTo>
                    <a:cubicBezTo>
                      <a:pt x="29" y="79"/>
                      <a:pt x="29" y="78"/>
                      <a:pt x="30" y="78"/>
                    </a:cubicBezTo>
                    <a:cubicBezTo>
                      <a:pt x="32" y="78"/>
                      <a:pt x="33" y="81"/>
                      <a:pt x="35" y="80"/>
                    </a:cubicBezTo>
                    <a:cubicBezTo>
                      <a:pt x="36" y="78"/>
                      <a:pt x="38" y="78"/>
                      <a:pt x="39" y="79"/>
                    </a:cubicBezTo>
                    <a:cubicBezTo>
                      <a:pt x="41" y="80"/>
                      <a:pt x="43" y="80"/>
                      <a:pt x="44" y="79"/>
                    </a:cubicBezTo>
                    <a:cubicBezTo>
                      <a:pt x="45" y="77"/>
                      <a:pt x="51" y="76"/>
                      <a:pt x="52" y="77"/>
                    </a:cubicBezTo>
                    <a:cubicBezTo>
                      <a:pt x="53" y="77"/>
                      <a:pt x="57" y="79"/>
                      <a:pt x="55" y="75"/>
                    </a:cubicBezTo>
                    <a:cubicBezTo>
                      <a:pt x="54" y="70"/>
                      <a:pt x="58" y="71"/>
                      <a:pt x="59" y="70"/>
                    </a:cubicBezTo>
                    <a:cubicBezTo>
                      <a:pt x="59" y="68"/>
                      <a:pt x="64" y="67"/>
                      <a:pt x="63" y="66"/>
                    </a:cubicBezTo>
                    <a:cubicBezTo>
                      <a:pt x="62" y="65"/>
                      <a:pt x="56" y="61"/>
                      <a:pt x="55" y="60"/>
                    </a:cubicBezTo>
                    <a:cubicBezTo>
                      <a:pt x="53" y="59"/>
                      <a:pt x="53" y="55"/>
                      <a:pt x="52" y="53"/>
                    </a:cubicBezTo>
                    <a:cubicBezTo>
                      <a:pt x="51" y="51"/>
                      <a:pt x="49" y="49"/>
                      <a:pt x="51" y="49"/>
                    </a:cubicBezTo>
                    <a:cubicBezTo>
                      <a:pt x="54" y="48"/>
                      <a:pt x="58" y="47"/>
                      <a:pt x="60" y="46"/>
                    </a:cubicBezTo>
                    <a:cubicBezTo>
                      <a:pt x="62" y="44"/>
                      <a:pt x="65" y="44"/>
                      <a:pt x="66" y="43"/>
                    </a:cubicBezTo>
                    <a:cubicBezTo>
                      <a:pt x="68" y="41"/>
                      <a:pt x="70" y="43"/>
                      <a:pt x="71" y="42"/>
                    </a:cubicBezTo>
                    <a:cubicBezTo>
                      <a:pt x="71" y="41"/>
                      <a:pt x="72" y="39"/>
                      <a:pt x="71" y="38"/>
                    </a:cubicBezTo>
                    <a:cubicBezTo>
                      <a:pt x="70" y="37"/>
                      <a:pt x="69" y="35"/>
                      <a:pt x="69" y="31"/>
                    </a:cubicBezTo>
                    <a:cubicBezTo>
                      <a:pt x="69" y="28"/>
                      <a:pt x="68" y="29"/>
                      <a:pt x="68" y="27"/>
                    </a:cubicBezTo>
                    <a:cubicBezTo>
                      <a:pt x="68" y="26"/>
                      <a:pt x="67" y="24"/>
                      <a:pt x="66" y="23"/>
                    </a:cubicBezTo>
                    <a:cubicBezTo>
                      <a:pt x="65" y="23"/>
                      <a:pt x="64" y="22"/>
                      <a:pt x="66" y="20"/>
                    </a:cubicBezTo>
                    <a:cubicBezTo>
                      <a:pt x="67" y="18"/>
                      <a:pt x="66" y="13"/>
                      <a:pt x="66" y="12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5" y="11"/>
                      <a:pt x="65" y="10"/>
                      <a:pt x="65" y="10"/>
                    </a:cubicBezTo>
                    <a:cubicBezTo>
                      <a:pt x="65" y="8"/>
                      <a:pt x="63" y="7"/>
                      <a:pt x="60" y="7"/>
                    </a:cubicBezTo>
                    <a:cubicBezTo>
                      <a:pt x="57" y="7"/>
                      <a:pt x="62" y="4"/>
                      <a:pt x="61" y="2"/>
                    </a:cubicBezTo>
                    <a:cubicBezTo>
                      <a:pt x="60" y="1"/>
                      <a:pt x="57" y="5"/>
                      <a:pt x="54" y="4"/>
                    </a:cubicBezTo>
                    <a:cubicBezTo>
                      <a:pt x="51" y="3"/>
                      <a:pt x="47" y="8"/>
                      <a:pt x="45" y="10"/>
                    </a:cubicBezTo>
                    <a:cubicBezTo>
                      <a:pt x="42" y="12"/>
                      <a:pt x="39" y="9"/>
                      <a:pt x="41" y="7"/>
                    </a:cubicBezTo>
                    <a:cubicBezTo>
                      <a:pt x="43" y="4"/>
                      <a:pt x="41" y="4"/>
                      <a:pt x="38" y="5"/>
                    </a:cubicBezTo>
                    <a:cubicBezTo>
                      <a:pt x="35" y="6"/>
                      <a:pt x="32" y="5"/>
                      <a:pt x="32" y="2"/>
                    </a:cubicBezTo>
                    <a:cubicBezTo>
                      <a:pt x="32" y="2"/>
                      <a:pt x="32" y="1"/>
                      <a:pt x="31" y="0"/>
                    </a:cubicBezTo>
                    <a:cubicBezTo>
                      <a:pt x="30" y="1"/>
                      <a:pt x="29" y="1"/>
                      <a:pt x="28" y="0"/>
                    </a:cubicBezTo>
                    <a:cubicBezTo>
                      <a:pt x="27" y="0"/>
                      <a:pt x="24" y="0"/>
                      <a:pt x="21" y="0"/>
                    </a:cubicBezTo>
                    <a:cubicBezTo>
                      <a:pt x="22" y="1"/>
                      <a:pt x="23" y="2"/>
                      <a:pt x="22" y="4"/>
                    </a:cubicBezTo>
                    <a:cubicBezTo>
                      <a:pt x="21" y="6"/>
                      <a:pt x="23" y="7"/>
                      <a:pt x="25" y="10"/>
                    </a:cubicBezTo>
                    <a:cubicBezTo>
                      <a:pt x="26" y="13"/>
                      <a:pt x="21" y="12"/>
                      <a:pt x="21" y="14"/>
                    </a:cubicBezTo>
                    <a:cubicBezTo>
                      <a:pt x="21" y="16"/>
                      <a:pt x="17" y="14"/>
                      <a:pt x="15" y="13"/>
                    </a:cubicBezTo>
                    <a:cubicBezTo>
                      <a:pt x="14" y="12"/>
                      <a:pt x="9" y="13"/>
                      <a:pt x="9" y="14"/>
                    </a:cubicBezTo>
                    <a:cubicBezTo>
                      <a:pt x="9" y="14"/>
                      <a:pt x="9" y="15"/>
                      <a:pt x="9" y="15"/>
                    </a:cubicBezTo>
                    <a:cubicBezTo>
                      <a:pt x="10" y="18"/>
                      <a:pt x="10" y="20"/>
                      <a:pt x="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0" name="Freeform 104">
                <a:extLst>
                  <a:ext uri="{FF2B5EF4-FFF2-40B4-BE49-F238E27FC236}">
                    <a16:creationId xmlns:a16="http://schemas.microsoft.com/office/drawing/2014/main" id="{084D9FFD-0D66-4E27-A302-8FDCF061C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96994" y="3813232"/>
                <a:ext cx="892443" cy="552283"/>
              </a:xfrm>
              <a:custGeom>
                <a:avLst/>
                <a:gdLst>
                  <a:gd name="T0" fmla="*/ 214 w 245"/>
                  <a:gd name="T1" fmla="*/ 142 h 152"/>
                  <a:gd name="T2" fmla="*/ 211 w 245"/>
                  <a:gd name="T3" fmla="*/ 128 h 152"/>
                  <a:gd name="T4" fmla="*/ 231 w 245"/>
                  <a:gd name="T5" fmla="*/ 123 h 152"/>
                  <a:gd name="T6" fmla="*/ 238 w 245"/>
                  <a:gd name="T7" fmla="*/ 115 h 152"/>
                  <a:gd name="T8" fmla="*/ 244 w 245"/>
                  <a:gd name="T9" fmla="*/ 99 h 152"/>
                  <a:gd name="T10" fmla="*/ 224 w 245"/>
                  <a:gd name="T11" fmla="*/ 98 h 152"/>
                  <a:gd name="T12" fmla="*/ 212 w 245"/>
                  <a:gd name="T13" fmla="*/ 114 h 152"/>
                  <a:gd name="T14" fmla="*/ 200 w 245"/>
                  <a:gd name="T15" fmla="*/ 121 h 152"/>
                  <a:gd name="T16" fmla="*/ 172 w 245"/>
                  <a:gd name="T17" fmla="*/ 121 h 152"/>
                  <a:gd name="T18" fmla="*/ 159 w 245"/>
                  <a:gd name="T19" fmla="*/ 102 h 152"/>
                  <a:gd name="T20" fmla="*/ 159 w 245"/>
                  <a:gd name="T21" fmla="*/ 64 h 152"/>
                  <a:gd name="T22" fmla="*/ 156 w 245"/>
                  <a:gd name="T23" fmla="*/ 59 h 152"/>
                  <a:gd name="T24" fmla="*/ 143 w 245"/>
                  <a:gd name="T25" fmla="*/ 50 h 152"/>
                  <a:gd name="T26" fmla="*/ 133 w 245"/>
                  <a:gd name="T27" fmla="*/ 33 h 152"/>
                  <a:gd name="T28" fmla="*/ 112 w 245"/>
                  <a:gd name="T29" fmla="*/ 33 h 152"/>
                  <a:gd name="T30" fmla="*/ 100 w 245"/>
                  <a:gd name="T31" fmla="*/ 23 h 152"/>
                  <a:gd name="T32" fmla="*/ 86 w 245"/>
                  <a:gd name="T33" fmla="*/ 8 h 152"/>
                  <a:gd name="T34" fmla="*/ 71 w 245"/>
                  <a:gd name="T35" fmla="*/ 12 h 152"/>
                  <a:gd name="T36" fmla="*/ 27 w 245"/>
                  <a:gd name="T37" fmla="*/ 5 h 152"/>
                  <a:gd name="T38" fmla="*/ 0 w 245"/>
                  <a:gd name="T39" fmla="*/ 2 h 152"/>
                  <a:gd name="T40" fmla="*/ 11 w 245"/>
                  <a:gd name="T41" fmla="*/ 25 h 152"/>
                  <a:gd name="T42" fmla="*/ 25 w 245"/>
                  <a:gd name="T43" fmla="*/ 43 h 152"/>
                  <a:gd name="T44" fmla="*/ 28 w 245"/>
                  <a:gd name="T45" fmla="*/ 51 h 152"/>
                  <a:gd name="T46" fmla="*/ 39 w 245"/>
                  <a:gd name="T47" fmla="*/ 67 h 152"/>
                  <a:gd name="T48" fmla="*/ 57 w 245"/>
                  <a:gd name="T49" fmla="*/ 85 h 152"/>
                  <a:gd name="T50" fmla="*/ 59 w 245"/>
                  <a:gd name="T51" fmla="*/ 76 h 152"/>
                  <a:gd name="T52" fmla="*/ 50 w 245"/>
                  <a:gd name="T53" fmla="*/ 66 h 152"/>
                  <a:gd name="T54" fmla="*/ 36 w 245"/>
                  <a:gd name="T55" fmla="*/ 43 h 152"/>
                  <a:gd name="T56" fmla="*/ 31 w 245"/>
                  <a:gd name="T57" fmla="*/ 30 h 152"/>
                  <a:gd name="T58" fmla="*/ 20 w 245"/>
                  <a:gd name="T59" fmla="*/ 21 h 152"/>
                  <a:gd name="T60" fmla="*/ 20 w 245"/>
                  <a:gd name="T61" fmla="*/ 8 h 152"/>
                  <a:gd name="T62" fmla="*/ 27 w 245"/>
                  <a:gd name="T63" fmla="*/ 11 h 152"/>
                  <a:gd name="T64" fmla="*/ 34 w 245"/>
                  <a:gd name="T65" fmla="*/ 22 h 152"/>
                  <a:gd name="T66" fmla="*/ 39 w 245"/>
                  <a:gd name="T67" fmla="*/ 34 h 152"/>
                  <a:gd name="T68" fmla="*/ 52 w 245"/>
                  <a:gd name="T69" fmla="*/ 43 h 152"/>
                  <a:gd name="T70" fmla="*/ 61 w 245"/>
                  <a:gd name="T71" fmla="*/ 53 h 152"/>
                  <a:gd name="T72" fmla="*/ 68 w 245"/>
                  <a:gd name="T73" fmla="*/ 64 h 152"/>
                  <a:gd name="T74" fmla="*/ 91 w 245"/>
                  <a:gd name="T75" fmla="*/ 89 h 152"/>
                  <a:gd name="T76" fmla="*/ 95 w 245"/>
                  <a:gd name="T77" fmla="*/ 104 h 152"/>
                  <a:gd name="T78" fmla="*/ 99 w 245"/>
                  <a:gd name="T79" fmla="*/ 116 h 152"/>
                  <a:gd name="T80" fmla="*/ 123 w 245"/>
                  <a:gd name="T81" fmla="*/ 128 h 152"/>
                  <a:gd name="T82" fmla="*/ 157 w 245"/>
                  <a:gd name="T83" fmla="*/ 144 h 152"/>
                  <a:gd name="T84" fmla="*/ 188 w 245"/>
                  <a:gd name="T85" fmla="*/ 145 h 152"/>
                  <a:gd name="T86" fmla="*/ 204 w 245"/>
                  <a:gd name="T87" fmla="*/ 143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5" h="152">
                    <a:moveTo>
                      <a:pt x="204" y="143"/>
                    </a:moveTo>
                    <a:cubicBezTo>
                      <a:pt x="204" y="143"/>
                      <a:pt x="213" y="144"/>
                      <a:pt x="214" y="142"/>
                    </a:cubicBezTo>
                    <a:cubicBezTo>
                      <a:pt x="215" y="140"/>
                      <a:pt x="208" y="135"/>
                      <a:pt x="208" y="134"/>
                    </a:cubicBezTo>
                    <a:cubicBezTo>
                      <a:pt x="209" y="134"/>
                      <a:pt x="210" y="128"/>
                      <a:pt x="211" y="128"/>
                    </a:cubicBezTo>
                    <a:cubicBezTo>
                      <a:pt x="212" y="128"/>
                      <a:pt x="225" y="129"/>
                      <a:pt x="226" y="128"/>
                    </a:cubicBezTo>
                    <a:cubicBezTo>
                      <a:pt x="226" y="128"/>
                      <a:pt x="229" y="124"/>
                      <a:pt x="231" y="123"/>
                    </a:cubicBezTo>
                    <a:cubicBezTo>
                      <a:pt x="232" y="123"/>
                      <a:pt x="233" y="124"/>
                      <a:pt x="235" y="126"/>
                    </a:cubicBezTo>
                    <a:cubicBezTo>
                      <a:pt x="237" y="124"/>
                      <a:pt x="238" y="119"/>
                      <a:pt x="238" y="115"/>
                    </a:cubicBezTo>
                    <a:cubicBezTo>
                      <a:pt x="239" y="110"/>
                      <a:pt x="237" y="108"/>
                      <a:pt x="240" y="106"/>
                    </a:cubicBezTo>
                    <a:cubicBezTo>
                      <a:pt x="242" y="103"/>
                      <a:pt x="245" y="103"/>
                      <a:pt x="244" y="99"/>
                    </a:cubicBezTo>
                    <a:cubicBezTo>
                      <a:pt x="243" y="95"/>
                      <a:pt x="240" y="99"/>
                      <a:pt x="237" y="97"/>
                    </a:cubicBezTo>
                    <a:cubicBezTo>
                      <a:pt x="234" y="96"/>
                      <a:pt x="232" y="97"/>
                      <a:pt x="224" y="98"/>
                    </a:cubicBezTo>
                    <a:cubicBezTo>
                      <a:pt x="217" y="99"/>
                      <a:pt x="214" y="102"/>
                      <a:pt x="214" y="107"/>
                    </a:cubicBezTo>
                    <a:cubicBezTo>
                      <a:pt x="214" y="112"/>
                      <a:pt x="212" y="110"/>
                      <a:pt x="212" y="114"/>
                    </a:cubicBezTo>
                    <a:cubicBezTo>
                      <a:pt x="212" y="119"/>
                      <a:pt x="206" y="119"/>
                      <a:pt x="206" y="122"/>
                    </a:cubicBezTo>
                    <a:cubicBezTo>
                      <a:pt x="207" y="124"/>
                      <a:pt x="202" y="122"/>
                      <a:pt x="200" y="121"/>
                    </a:cubicBezTo>
                    <a:cubicBezTo>
                      <a:pt x="199" y="120"/>
                      <a:pt x="184" y="125"/>
                      <a:pt x="181" y="125"/>
                    </a:cubicBezTo>
                    <a:cubicBezTo>
                      <a:pt x="179" y="125"/>
                      <a:pt x="175" y="121"/>
                      <a:pt x="172" y="121"/>
                    </a:cubicBezTo>
                    <a:cubicBezTo>
                      <a:pt x="169" y="121"/>
                      <a:pt x="168" y="116"/>
                      <a:pt x="168" y="112"/>
                    </a:cubicBezTo>
                    <a:cubicBezTo>
                      <a:pt x="167" y="109"/>
                      <a:pt x="162" y="105"/>
                      <a:pt x="159" y="102"/>
                    </a:cubicBezTo>
                    <a:cubicBezTo>
                      <a:pt x="157" y="99"/>
                      <a:pt x="156" y="91"/>
                      <a:pt x="156" y="86"/>
                    </a:cubicBezTo>
                    <a:cubicBezTo>
                      <a:pt x="156" y="81"/>
                      <a:pt x="155" y="73"/>
                      <a:pt x="159" y="64"/>
                    </a:cubicBezTo>
                    <a:cubicBezTo>
                      <a:pt x="159" y="63"/>
                      <a:pt x="159" y="61"/>
                      <a:pt x="159" y="60"/>
                    </a:cubicBezTo>
                    <a:cubicBezTo>
                      <a:pt x="158" y="60"/>
                      <a:pt x="157" y="59"/>
                      <a:pt x="156" y="59"/>
                    </a:cubicBezTo>
                    <a:cubicBezTo>
                      <a:pt x="153" y="59"/>
                      <a:pt x="146" y="55"/>
                      <a:pt x="145" y="55"/>
                    </a:cubicBezTo>
                    <a:cubicBezTo>
                      <a:pt x="144" y="55"/>
                      <a:pt x="144" y="52"/>
                      <a:pt x="143" y="50"/>
                    </a:cubicBezTo>
                    <a:cubicBezTo>
                      <a:pt x="141" y="49"/>
                      <a:pt x="142" y="45"/>
                      <a:pt x="141" y="44"/>
                    </a:cubicBezTo>
                    <a:cubicBezTo>
                      <a:pt x="139" y="43"/>
                      <a:pt x="135" y="39"/>
                      <a:pt x="133" y="33"/>
                    </a:cubicBezTo>
                    <a:cubicBezTo>
                      <a:pt x="132" y="28"/>
                      <a:pt x="122" y="25"/>
                      <a:pt x="119" y="25"/>
                    </a:cubicBezTo>
                    <a:cubicBezTo>
                      <a:pt x="115" y="25"/>
                      <a:pt x="113" y="32"/>
                      <a:pt x="112" y="33"/>
                    </a:cubicBezTo>
                    <a:cubicBezTo>
                      <a:pt x="112" y="33"/>
                      <a:pt x="105" y="29"/>
                      <a:pt x="103" y="28"/>
                    </a:cubicBezTo>
                    <a:cubicBezTo>
                      <a:pt x="101" y="27"/>
                      <a:pt x="100" y="25"/>
                      <a:pt x="100" y="23"/>
                    </a:cubicBezTo>
                    <a:cubicBezTo>
                      <a:pt x="100" y="20"/>
                      <a:pt x="96" y="17"/>
                      <a:pt x="95" y="16"/>
                    </a:cubicBezTo>
                    <a:cubicBezTo>
                      <a:pt x="94" y="16"/>
                      <a:pt x="86" y="8"/>
                      <a:pt x="86" y="8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12"/>
                      <a:pt x="30" y="5"/>
                      <a:pt x="27" y="5"/>
                    </a:cubicBezTo>
                    <a:cubicBezTo>
                      <a:pt x="24" y="4"/>
                      <a:pt x="18" y="0"/>
                      <a:pt x="18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2" y="6"/>
                      <a:pt x="4" y="9"/>
                    </a:cubicBezTo>
                    <a:cubicBezTo>
                      <a:pt x="8" y="14"/>
                      <a:pt x="10" y="22"/>
                      <a:pt x="11" y="25"/>
                    </a:cubicBezTo>
                    <a:cubicBezTo>
                      <a:pt x="11" y="27"/>
                      <a:pt x="16" y="30"/>
                      <a:pt x="21" y="33"/>
                    </a:cubicBezTo>
                    <a:cubicBezTo>
                      <a:pt x="25" y="35"/>
                      <a:pt x="25" y="42"/>
                      <a:pt x="25" y="43"/>
                    </a:cubicBezTo>
                    <a:cubicBezTo>
                      <a:pt x="24" y="45"/>
                      <a:pt x="19" y="42"/>
                      <a:pt x="18" y="44"/>
                    </a:cubicBezTo>
                    <a:cubicBezTo>
                      <a:pt x="18" y="45"/>
                      <a:pt x="25" y="52"/>
                      <a:pt x="28" y="51"/>
                    </a:cubicBezTo>
                    <a:cubicBezTo>
                      <a:pt x="31" y="51"/>
                      <a:pt x="32" y="53"/>
                      <a:pt x="37" y="57"/>
                    </a:cubicBezTo>
                    <a:cubicBezTo>
                      <a:pt x="41" y="61"/>
                      <a:pt x="41" y="65"/>
                      <a:pt x="39" y="67"/>
                    </a:cubicBezTo>
                    <a:cubicBezTo>
                      <a:pt x="37" y="68"/>
                      <a:pt x="43" y="71"/>
                      <a:pt x="49" y="75"/>
                    </a:cubicBezTo>
                    <a:cubicBezTo>
                      <a:pt x="54" y="79"/>
                      <a:pt x="57" y="83"/>
                      <a:pt x="57" y="85"/>
                    </a:cubicBezTo>
                    <a:cubicBezTo>
                      <a:pt x="58" y="87"/>
                      <a:pt x="60" y="85"/>
                      <a:pt x="61" y="83"/>
                    </a:cubicBezTo>
                    <a:cubicBezTo>
                      <a:pt x="62" y="80"/>
                      <a:pt x="59" y="79"/>
                      <a:pt x="59" y="76"/>
                    </a:cubicBezTo>
                    <a:cubicBezTo>
                      <a:pt x="59" y="73"/>
                      <a:pt x="55" y="74"/>
                      <a:pt x="52" y="73"/>
                    </a:cubicBezTo>
                    <a:cubicBezTo>
                      <a:pt x="50" y="73"/>
                      <a:pt x="53" y="68"/>
                      <a:pt x="50" y="66"/>
                    </a:cubicBezTo>
                    <a:cubicBezTo>
                      <a:pt x="48" y="64"/>
                      <a:pt x="46" y="59"/>
                      <a:pt x="45" y="55"/>
                    </a:cubicBezTo>
                    <a:cubicBezTo>
                      <a:pt x="44" y="51"/>
                      <a:pt x="39" y="47"/>
                      <a:pt x="36" y="43"/>
                    </a:cubicBezTo>
                    <a:cubicBezTo>
                      <a:pt x="34" y="38"/>
                      <a:pt x="32" y="35"/>
                      <a:pt x="30" y="34"/>
                    </a:cubicBezTo>
                    <a:cubicBezTo>
                      <a:pt x="28" y="33"/>
                      <a:pt x="32" y="31"/>
                      <a:pt x="31" y="30"/>
                    </a:cubicBezTo>
                    <a:cubicBezTo>
                      <a:pt x="29" y="28"/>
                      <a:pt x="27" y="28"/>
                      <a:pt x="25" y="27"/>
                    </a:cubicBezTo>
                    <a:cubicBezTo>
                      <a:pt x="22" y="26"/>
                      <a:pt x="20" y="24"/>
                      <a:pt x="20" y="21"/>
                    </a:cubicBezTo>
                    <a:cubicBezTo>
                      <a:pt x="20" y="18"/>
                      <a:pt x="18" y="11"/>
                      <a:pt x="17" y="9"/>
                    </a:cubicBezTo>
                    <a:cubicBezTo>
                      <a:pt x="17" y="7"/>
                      <a:pt x="19" y="7"/>
                      <a:pt x="20" y="8"/>
                    </a:cubicBezTo>
                    <a:cubicBezTo>
                      <a:pt x="21" y="9"/>
                      <a:pt x="22" y="10"/>
                      <a:pt x="23" y="9"/>
                    </a:cubicBezTo>
                    <a:cubicBezTo>
                      <a:pt x="24" y="9"/>
                      <a:pt x="27" y="9"/>
                      <a:pt x="27" y="11"/>
                    </a:cubicBezTo>
                    <a:cubicBezTo>
                      <a:pt x="28" y="13"/>
                      <a:pt x="31" y="11"/>
                      <a:pt x="33" y="12"/>
                    </a:cubicBezTo>
                    <a:cubicBezTo>
                      <a:pt x="34" y="13"/>
                      <a:pt x="30" y="14"/>
                      <a:pt x="34" y="22"/>
                    </a:cubicBezTo>
                    <a:cubicBezTo>
                      <a:pt x="39" y="31"/>
                      <a:pt x="36" y="26"/>
                      <a:pt x="36" y="32"/>
                    </a:cubicBezTo>
                    <a:cubicBezTo>
                      <a:pt x="36" y="37"/>
                      <a:pt x="39" y="35"/>
                      <a:pt x="39" y="34"/>
                    </a:cubicBezTo>
                    <a:cubicBezTo>
                      <a:pt x="40" y="33"/>
                      <a:pt x="43" y="35"/>
                      <a:pt x="45" y="38"/>
                    </a:cubicBezTo>
                    <a:cubicBezTo>
                      <a:pt x="47" y="41"/>
                      <a:pt x="52" y="41"/>
                      <a:pt x="52" y="43"/>
                    </a:cubicBezTo>
                    <a:cubicBezTo>
                      <a:pt x="52" y="45"/>
                      <a:pt x="53" y="48"/>
                      <a:pt x="56" y="48"/>
                    </a:cubicBezTo>
                    <a:cubicBezTo>
                      <a:pt x="59" y="49"/>
                      <a:pt x="59" y="52"/>
                      <a:pt x="61" y="53"/>
                    </a:cubicBezTo>
                    <a:cubicBezTo>
                      <a:pt x="63" y="53"/>
                      <a:pt x="64" y="55"/>
                      <a:pt x="63" y="57"/>
                    </a:cubicBezTo>
                    <a:cubicBezTo>
                      <a:pt x="62" y="60"/>
                      <a:pt x="63" y="62"/>
                      <a:pt x="68" y="64"/>
                    </a:cubicBezTo>
                    <a:cubicBezTo>
                      <a:pt x="73" y="66"/>
                      <a:pt x="70" y="66"/>
                      <a:pt x="74" y="70"/>
                    </a:cubicBezTo>
                    <a:cubicBezTo>
                      <a:pt x="78" y="73"/>
                      <a:pt x="89" y="86"/>
                      <a:pt x="91" y="89"/>
                    </a:cubicBezTo>
                    <a:cubicBezTo>
                      <a:pt x="94" y="92"/>
                      <a:pt x="95" y="95"/>
                      <a:pt x="95" y="98"/>
                    </a:cubicBezTo>
                    <a:cubicBezTo>
                      <a:pt x="96" y="100"/>
                      <a:pt x="94" y="101"/>
                      <a:pt x="95" y="104"/>
                    </a:cubicBezTo>
                    <a:cubicBezTo>
                      <a:pt x="96" y="106"/>
                      <a:pt x="92" y="105"/>
                      <a:pt x="93" y="106"/>
                    </a:cubicBezTo>
                    <a:cubicBezTo>
                      <a:pt x="93" y="108"/>
                      <a:pt x="95" y="116"/>
                      <a:pt x="99" y="116"/>
                    </a:cubicBezTo>
                    <a:cubicBezTo>
                      <a:pt x="103" y="117"/>
                      <a:pt x="107" y="122"/>
                      <a:pt x="111" y="124"/>
                    </a:cubicBezTo>
                    <a:cubicBezTo>
                      <a:pt x="114" y="127"/>
                      <a:pt x="119" y="126"/>
                      <a:pt x="123" y="128"/>
                    </a:cubicBezTo>
                    <a:cubicBezTo>
                      <a:pt x="128" y="130"/>
                      <a:pt x="132" y="134"/>
                      <a:pt x="139" y="136"/>
                    </a:cubicBezTo>
                    <a:cubicBezTo>
                      <a:pt x="146" y="138"/>
                      <a:pt x="153" y="141"/>
                      <a:pt x="157" y="144"/>
                    </a:cubicBezTo>
                    <a:cubicBezTo>
                      <a:pt x="162" y="147"/>
                      <a:pt x="167" y="146"/>
                      <a:pt x="174" y="143"/>
                    </a:cubicBezTo>
                    <a:cubicBezTo>
                      <a:pt x="180" y="141"/>
                      <a:pt x="185" y="144"/>
                      <a:pt x="188" y="145"/>
                    </a:cubicBezTo>
                    <a:cubicBezTo>
                      <a:pt x="190" y="146"/>
                      <a:pt x="194" y="149"/>
                      <a:pt x="197" y="152"/>
                    </a:cubicBezTo>
                    <a:cubicBezTo>
                      <a:pt x="200" y="148"/>
                      <a:pt x="203" y="143"/>
                      <a:pt x="204" y="1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1" name="Freeform 182">
                <a:extLst>
                  <a:ext uri="{FF2B5EF4-FFF2-40B4-BE49-F238E27FC236}">
                    <a16:creationId xmlns:a16="http://schemas.microsoft.com/office/drawing/2014/main" id="{FAD95D07-C5C6-48C5-860D-4BE9EE69F9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944979" y="3310003"/>
                <a:ext cx="340160" cy="366915"/>
              </a:xfrm>
              <a:custGeom>
                <a:avLst/>
                <a:gdLst>
                  <a:gd name="T0" fmla="*/ 65 w 93"/>
                  <a:gd name="T1" fmla="*/ 88 h 101"/>
                  <a:gd name="T2" fmla="*/ 55 w 93"/>
                  <a:gd name="T3" fmla="*/ 88 h 101"/>
                  <a:gd name="T4" fmla="*/ 48 w 93"/>
                  <a:gd name="T5" fmla="*/ 91 h 101"/>
                  <a:gd name="T6" fmla="*/ 56 w 93"/>
                  <a:gd name="T7" fmla="*/ 96 h 101"/>
                  <a:gd name="T8" fmla="*/ 66 w 93"/>
                  <a:gd name="T9" fmla="*/ 101 h 101"/>
                  <a:gd name="T10" fmla="*/ 68 w 93"/>
                  <a:gd name="T11" fmla="*/ 96 h 101"/>
                  <a:gd name="T12" fmla="*/ 71 w 93"/>
                  <a:gd name="T13" fmla="*/ 88 h 101"/>
                  <a:gd name="T14" fmla="*/ 65 w 93"/>
                  <a:gd name="T15" fmla="*/ 88 h 101"/>
                  <a:gd name="T16" fmla="*/ 19 w 93"/>
                  <a:gd name="T17" fmla="*/ 61 h 101"/>
                  <a:gd name="T18" fmla="*/ 13 w 93"/>
                  <a:gd name="T19" fmla="*/ 62 h 101"/>
                  <a:gd name="T20" fmla="*/ 16 w 93"/>
                  <a:gd name="T21" fmla="*/ 73 h 101"/>
                  <a:gd name="T22" fmla="*/ 19 w 93"/>
                  <a:gd name="T23" fmla="*/ 80 h 101"/>
                  <a:gd name="T24" fmla="*/ 25 w 93"/>
                  <a:gd name="T25" fmla="*/ 77 h 101"/>
                  <a:gd name="T26" fmla="*/ 26 w 93"/>
                  <a:gd name="T27" fmla="*/ 64 h 101"/>
                  <a:gd name="T28" fmla="*/ 19 w 93"/>
                  <a:gd name="T29" fmla="*/ 61 h 101"/>
                  <a:gd name="T30" fmla="*/ 77 w 93"/>
                  <a:gd name="T31" fmla="*/ 57 h 101"/>
                  <a:gd name="T32" fmla="*/ 71 w 93"/>
                  <a:gd name="T33" fmla="*/ 52 h 101"/>
                  <a:gd name="T34" fmla="*/ 58 w 93"/>
                  <a:gd name="T35" fmla="*/ 39 h 101"/>
                  <a:gd name="T36" fmla="*/ 47 w 93"/>
                  <a:gd name="T37" fmla="*/ 28 h 101"/>
                  <a:gd name="T38" fmla="*/ 47 w 93"/>
                  <a:gd name="T39" fmla="*/ 20 h 101"/>
                  <a:gd name="T40" fmla="*/ 51 w 93"/>
                  <a:gd name="T41" fmla="*/ 15 h 101"/>
                  <a:gd name="T42" fmla="*/ 51 w 93"/>
                  <a:gd name="T43" fmla="*/ 5 h 101"/>
                  <a:gd name="T44" fmla="*/ 47 w 93"/>
                  <a:gd name="T45" fmla="*/ 4 h 101"/>
                  <a:gd name="T46" fmla="*/ 46 w 93"/>
                  <a:gd name="T47" fmla="*/ 0 h 101"/>
                  <a:gd name="T48" fmla="*/ 39 w 93"/>
                  <a:gd name="T49" fmla="*/ 1 h 101"/>
                  <a:gd name="T50" fmla="*/ 34 w 93"/>
                  <a:gd name="T51" fmla="*/ 3 h 101"/>
                  <a:gd name="T52" fmla="*/ 33 w 93"/>
                  <a:gd name="T53" fmla="*/ 2 h 101"/>
                  <a:gd name="T54" fmla="*/ 32 w 93"/>
                  <a:gd name="T55" fmla="*/ 4 h 101"/>
                  <a:gd name="T56" fmla="*/ 30 w 93"/>
                  <a:gd name="T57" fmla="*/ 6 h 101"/>
                  <a:gd name="T58" fmla="*/ 28 w 93"/>
                  <a:gd name="T59" fmla="*/ 7 h 101"/>
                  <a:gd name="T60" fmla="*/ 24 w 93"/>
                  <a:gd name="T61" fmla="*/ 8 h 101"/>
                  <a:gd name="T62" fmla="*/ 21 w 93"/>
                  <a:gd name="T63" fmla="*/ 9 h 101"/>
                  <a:gd name="T64" fmla="*/ 19 w 93"/>
                  <a:gd name="T65" fmla="*/ 12 h 101"/>
                  <a:gd name="T66" fmla="*/ 15 w 93"/>
                  <a:gd name="T67" fmla="*/ 7 h 101"/>
                  <a:gd name="T68" fmla="*/ 11 w 93"/>
                  <a:gd name="T69" fmla="*/ 12 h 101"/>
                  <a:gd name="T70" fmla="*/ 4 w 93"/>
                  <a:gd name="T71" fmla="*/ 13 h 101"/>
                  <a:gd name="T72" fmla="*/ 5 w 93"/>
                  <a:gd name="T73" fmla="*/ 17 h 101"/>
                  <a:gd name="T74" fmla="*/ 3 w 93"/>
                  <a:gd name="T75" fmla="*/ 20 h 101"/>
                  <a:gd name="T76" fmla="*/ 1 w 93"/>
                  <a:gd name="T77" fmla="*/ 22 h 101"/>
                  <a:gd name="T78" fmla="*/ 4 w 93"/>
                  <a:gd name="T79" fmla="*/ 26 h 101"/>
                  <a:gd name="T80" fmla="*/ 6 w 93"/>
                  <a:gd name="T81" fmla="*/ 30 h 101"/>
                  <a:gd name="T82" fmla="*/ 9 w 93"/>
                  <a:gd name="T83" fmla="*/ 31 h 101"/>
                  <a:gd name="T84" fmla="*/ 8 w 93"/>
                  <a:gd name="T85" fmla="*/ 34 h 101"/>
                  <a:gd name="T86" fmla="*/ 12 w 93"/>
                  <a:gd name="T87" fmla="*/ 33 h 101"/>
                  <a:gd name="T88" fmla="*/ 18 w 93"/>
                  <a:gd name="T89" fmla="*/ 28 h 101"/>
                  <a:gd name="T90" fmla="*/ 29 w 93"/>
                  <a:gd name="T91" fmla="*/ 33 h 101"/>
                  <a:gd name="T92" fmla="*/ 32 w 93"/>
                  <a:gd name="T93" fmla="*/ 37 h 101"/>
                  <a:gd name="T94" fmla="*/ 39 w 93"/>
                  <a:gd name="T95" fmla="*/ 47 h 101"/>
                  <a:gd name="T96" fmla="*/ 50 w 93"/>
                  <a:gd name="T97" fmla="*/ 57 h 101"/>
                  <a:gd name="T98" fmla="*/ 58 w 93"/>
                  <a:gd name="T99" fmla="*/ 60 h 101"/>
                  <a:gd name="T100" fmla="*/ 65 w 93"/>
                  <a:gd name="T101" fmla="*/ 65 h 101"/>
                  <a:gd name="T102" fmla="*/ 71 w 93"/>
                  <a:gd name="T103" fmla="*/ 69 h 101"/>
                  <a:gd name="T104" fmla="*/ 73 w 93"/>
                  <a:gd name="T105" fmla="*/ 74 h 101"/>
                  <a:gd name="T106" fmla="*/ 74 w 93"/>
                  <a:gd name="T107" fmla="*/ 83 h 101"/>
                  <a:gd name="T108" fmla="*/ 74 w 93"/>
                  <a:gd name="T109" fmla="*/ 89 h 101"/>
                  <a:gd name="T110" fmla="*/ 78 w 93"/>
                  <a:gd name="T111" fmla="*/ 82 h 101"/>
                  <a:gd name="T112" fmla="*/ 83 w 93"/>
                  <a:gd name="T113" fmla="*/ 78 h 101"/>
                  <a:gd name="T114" fmla="*/ 79 w 93"/>
                  <a:gd name="T115" fmla="*/ 71 h 101"/>
                  <a:gd name="T116" fmla="*/ 87 w 93"/>
                  <a:gd name="T117" fmla="*/ 68 h 101"/>
                  <a:gd name="T118" fmla="*/ 93 w 93"/>
                  <a:gd name="T119" fmla="*/ 68 h 101"/>
                  <a:gd name="T120" fmla="*/ 77 w 93"/>
                  <a:gd name="T121" fmla="*/ 5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101">
                    <a:moveTo>
                      <a:pt x="65" y="88"/>
                    </a:moveTo>
                    <a:cubicBezTo>
                      <a:pt x="60" y="89"/>
                      <a:pt x="58" y="89"/>
                      <a:pt x="55" y="88"/>
                    </a:cubicBezTo>
                    <a:cubicBezTo>
                      <a:pt x="52" y="86"/>
                      <a:pt x="47" y="89"/>
                      <a:pt x="48" y="91"/>
                    </a:cubicBezTo>
                    <a:cubicBezTo>
                      <a:pt x="49" y="92"/>
                      <a:pt x="50" y="94"/>
                      <a:pt x="56" y="96"/>
                    </a:cubicBezTo>
                    <a:cubicBezTo>
                      <a:pt x="62" y="97"/>
                      <a:pt x="63" y="101"/>
                      <a:pt x="66" y="101"/>
                    </a:cubicBezTo>
                    <a:cubicBezTo>
                      <a:pt x="68" y="101"/>
                      <a:pt x="68" y="99"/>
                      <a:pt x="68" y="96"/>
                    </a:cubicBezTo>
                    <a:cubicBezTo>
                      <a:pt x="67" y="93"/>
                      <a:pt x="71" y="89"/>
                      <a:pt x="71" y="88"/>
                    </a:cubicBezTo>
                    <a:cubicBezTo>
                      <a:pt x="71" y="88"/>
                      <a:pt x="69" y="87"/>
                      <a:pt x="65" y="88"/>
                    </a:cubicBezTo>
                    <a:close/>
                    <a:moveTo>
                      <a:pt x="19" y="61"/>
                    </a:moveTo>
                    <a:cubicBezTo>
                      <a:pt x="16" y="63"/>
                      <a:pt x="14" y="60"/>
                      <a:pt x="13" y="62"/>
                    </a:cubicBezTo>
                    <a:cubicBezTo>
                      <a:pt x="11" y="65"/>
                      <a:pt x="17" y="68"/>
                      <a:pt x="16" y="73"/>
                    </a:cubicBezTo>
                    <a:cubicBezTo>
                      <a:pt x="15" y="77"/>
                      <a:pt x="16" y="83"/>
                      <a:pt x="19" y="80"/>
                    </a:cubicBezTo>
                    <a:cubicBezTo>
                      <a:pt x="22" y="78"/>
                      <a:pt x="23" y="79"/>
                      <a:pt x="25" y="77"/>
                    </a:cubicBezTo>
                    <a:cubicBezTo>
                      <a:pt x="26" y="75"/>
                      <a:pt x="25" y="67"/>
                      <a:pt x="26" y="64"/>
                    </a:cubicBezTo>
                    <a:cubicBezTo>
                      <a:pt x="27" y="60"/>
                      <a:pt x="21" y="59"/>
                      <a:pt x="19" y="61"/>
                    </a:cubicBezTo>
                    <a:close/>
                    <a:moveTo>
                      <a:pt x="77" y="57"/>
                    </a:moveTo>
                    <a:cubicBezTo>
                      <a:pt x="74" y="55"/>
                      <a:pt x="76" y="52"/>
                      <a:pt x="71" y="52"/>
                    </a:cubicBezTo>
                    <a:cubicBezTo>
                      <a:pt x="66" y="53"/>
                      <a:pt x="60" y="46"/>
                      <a:pt x="58" y="39"/>
                    </a:cubicBezTo>
                    <a:cubicBezTo>
                      <a:pt x="57" y="32"/>
                      <a:pt x="49" y="32"/>
                      <a:pt x="47" y="28"/>
                    </a:cubicBezTo>
                    <a:cubicBezTo>
                      <a:pt x="45" y="24"/>
                      <a:pt x="49" y="23"/>
                      <a:pt x="47" y="20"/>
                    </a:cubicBezTo>
                    <a:cubicBezTo>
                      <a:pt x="46" y="18"/>
                      <a:pt x="48" y="16"/>
                      <a:pt x="51" y="15"/>
                    </a:cubicBezTo>
                    <a:cubicBezTo>
                      <a:pt x="51" y="11"/>
                      <a:pt x="51" y="7"/>
                      <a:pt x="51" y="5"/>
                    </a:cubicBezTo>
                    <a:cubicBezTo>
                      <a:pt x="49" y="4"/>
                      <a:pt x="48" y="4"/>
                      <a:pt x="47" y="4"/>
                    </a:cubicBezTo>
                    <a:cubicBezTo>
                      <a:pt x="46" y="3"/>
                      <a:pt x="46" y="0"/>
                      <a:pt x="46" y="0"/>
                    </a:cubicBezTo>
                    <a:cubicBezTo>
                      <a:pt x="45" y="0"/>
                      <a:pt x="40" y="0"/>
                      <a:pt x="39" y="1"/>
                    </a:cubicBezTo>
                    <a:cubicBezTo>
                      <a:pt x="38" y="2"/>
                      <a:pt x="36" y="4"/>
                      <a:pt x="34" y="3"/>
                    </a:cubicBezTo>
                    <a:cubicBezTo>
                      <a:pt x="34" y="3"/>
                      <a:pt x="33" y="2"/>
                      <a:pt x="33" y="2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32" y="4"/>
                      <a:pt x="31" y="6"/>
                      <a:pt x="30" y="6"/>
                    </a:cubicBezTo>
                    <a:cubicBezTo>
                      <a:pt x="29" y="6"/>
                      <a:pt x="28" y="5"/>
                      <a:pt x="28" y="7"/>
                    </a:cubicBezTo>
                    <a:cubicBezTo>
                      <a:pt x="28" y="8"/>
                      <a:pt x="25" y="8"/>
                      <a:pt x="24" y="8"/>
                    </a:cubicBezTo>
                    <a:cubicBezTo>
                      <a:pt x="23" y="7"/>
                      <a:pt x="21" y="8"/>
                      <a:pt x="21" y="9"/>
                    </a:cubicBezTo>
                    <a:cubicBezTo>
                      <a:pt x="21" y="11"/>
                      <a:pt x="21" y="14"/>
                      <a:pt x="19" y="12"/>
                    </a:cubicBezTo>
                    <a:cubicBezTo>
                      <a:pt x="17" y="10"/>
                      <a:pt x="15" y="6"/>
                      <a:pt x="15" y="7"/>
                    </a:cubicBezTo>
                    <a:cubicBezTo>
                      <a:pt x="14" y="7"/>
                      <a:pt x="12" y="12"/>
                      <a:pt x="11" y="12"/>
                    </a:cubicBezTo>
                    <a:cubicBezTo>
                      <a:pt x="10" y="12"/>
                      <a:pt x="6" y="13"/>
                      <a:pt x="4" y="13"/>
                    </a:cubicBezTo>
                    <a:cubicBezTo>
                      <a:pt x="3" y="15"/>
                      <a:pt x="4" y="16"/>
                      <a:pt x="5" y="17"/>
                    </a:cubicBezTo>
                    <a:cubicBezTo>
                      <a:pt x="6" y="17"/>
                      <a:pt x="4" y="19"/>
                      <a:pt x="3" y="20"/>
                    </a:cubicBezTo>
                    <a:cubicBezTo>
                      <a:pt x="2" y="20"/>
                      <a:pt x="0" y="20"/>
                      <a:pt x="1" y="22"/>
                    </a:cubicBezTo>
                    <a:cubicBezTo>
                      <a:pt x="3" y="24"/>
                      <a:pt x="5" y="24"/>
                      <a:pt x="4" y="26"/>
                    </a:cubicBezTo>
                    <a:cubicBezTo>
                      <a:pt x="3" y="28"/>
                      <a:pt x="4" y="30"/>
                      <a:pt x="6" y="30"/>
                    </a:cubicBezTo>
                    <a:cubicBezTo>
                      <a:pt x="7" y="30"/>
                      <a:pt x="10" y="30"/>
                      <a:pt x="9" y="31"/>
                    </a:cubicBezTo>
                    <a:cubicBezTo>
                      <a:pt x="9" y="32"/>
                      <a:pt x="9" y="33"/>
                      <a:pt x="8" y="34"/>
                    </a:cubicBezTo>
                    <a:cubicBezTo>
                      <a:pt x="10" y="33"/>
                      <a:pt x="11" y="33"/>
                      <a:pt x="12" y="33"/>
                    </a:cubicBezTo>
                    <a:cubicBezTo>
                      <a:pt x="15" y="31"/>
                      <a:pt x="14" y="29"/>
                      <a:pt x="18" y="28"/>
                    </a:cubicBezTo>
                    <a:cubicBezTo>
                      <a:pt x="22" y="27"/>
                      <a:pt x="28" y="30"/>
                      <a:pt x="29" y="33"/>
                    </a:cubicBezTo>
                    <a:cubicBezTo>
                      <a:pt x="31" y="35"/>
                      <a:pt x="31" y="35"/>
                      <a:pt x="32" y="37"/>
                    </a:cubicBezTo>
                    <a:cubicBezTo>
                      <a:pt x="32" y="39"/>
                      <a:pt x="34" y="43"/>
                      <a:pt x="39" y="47"/>
                    </a:cubicBezTo>
                    <a:cubicBezTo>
                      <a:pt x="45" y="51"/>
                      <a:pt x="47" y="55"/>
                      <a:pt x="50" y="57"/>
                    </a:cubicBezTo>
                    <a:cubicBezTo>
                      <a:pt x="53" y="58"/>
                      <a:pt x="56" y="58"/>
                      <a:pt x="58" y="60"/>
                    </a:cubicBezTo>
                    <a:cubicBezTo>
                      <a:pt x="60" y="62"/>
                      <a:pt x="62" y="63"/>
                      <a:pt x="65" y="65"/>
                    </a:cubicBezTo>
                    <a:cubicBezTo>
                      <a:pt x="68" y="66"/>
                      <a:pt x="68" y="69"/>
                      <a:pt x="71" y="69"/>
                    </a:cubicBezTo>
                    <a:cubicBezTo>
                      <a:pt x="73" y="70"/>
                      <a:pt x="72" y="72"/>
                      <a:pt x="73" y="74"/>
                    </a:cubicBezTo>
                    <a:cubicBezTo>
                      <a:pt x="75" y="76"/>
                      <a:pt x="75" y="80"/>
                      <a:pt x="74" y="83"/>
                    </a:cubicBezTo>
                    <a:cubicBezTo>
                      <a:pt x="72" y="85"/>
                      <a:pt x="73" y="89"/>
                      <a:pt x="74" y="89"/>
                    </a:cubicBezTo>
                    <a:cubicBezTo>
                      <a:pt x="75" y="89"/>
                      <a:pt x="78" y="85"/>
                      <a:pt x="78" y="82"/>
                    </a:cubicBezTo>
                    <a:cubicBezTo>
                      <a:pt x="78" y="80"/>
                      <a:pt x="81" y="80"/>
                      <a:pt x="83" y="78"/>
                    </a:cubicBezTo>
                    <a:cubicBezTo>
                      <a:pt x="85" y="75"/>
                      <a:pt x="80" y="75"/>
                      <a:pt x="79" y="71"/>
                    </a:cubicBezTo>
                    <a:cubicBezTo>
                      <a:pt x="78" y="68"/>
                      <a:pt x="83" y="65"/>
                      <a:pt x="87" y="68"/>
                    </a:cubicBezTo>
                    <a:cubicBezTo>
                      <a:pt x="91" y="71"/>
                      <a:pt x="93" y="72"/>
                      <a:pt x="93" y="68"/>
                    </a:cubicBezTo>
                    <a:cubicBezTo>
                      <a:pt x="93" y="64"/>
                      <a:pt x="80" y="59"/>
                      <a:pt x="77" y="5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2" name="Freeform 72">
                <a:extLst>
                  <a:ext uri="{FF2B5EF4-FFF2-40B4-BE49-F238E27FC236}">
                    <a16:creationId xmlns:a16="http://schemas.microsoft.com/office/drawing/2014/main" id="{25721E4C-9B54-4048-95D3-ECE730281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67332" y="2991273"/>
                <a:ext cx="282829" cy="233145"/>
              </a:xfrm>
              <a:custGeom>
                <a:avLst/>
                <a:gdLst>
                  <a:gd name="T0" fmla="*/ 2 w 78"/>
                  <a:gd name="T1" fmla="*/ 14 h 64"/>
                  <a:gd name="T2" fmla="*/ 2 w 78"/>
                  <a:gd name="T3" fmla="*/ 22 h 64"/>
                  <a:gd name="T4" fmla="*/ 2 w 78"/>
                  <a:gd name="T5" fmla="*/ 25 h 64"/>
                  <a:gd name="T6" fmla="*/ 4 w 78"/>
                  <a:gd name="T7" fmla="*/ 29 h 64"/>
                  <a:gd name="T8" fmla="*/ 5 w 78"/>
                  <a:gd name="T9" fmla="*/ 33 h 64"/>
                  <a:gd name="T10" fmla="*/ 7 w 78"/>
                  <a:gd name="T11" fmla="*/ 40 h 64"/>
                  <a:gd name="T12" fmla="*/ 7 w 78"/>
                  <a:gd name="T13" fmla="*/ 44 h 64"/>
                  <a:gd name="T14" fmla="*/ 12 w 78"/>
                  <a:gd name="T15" fmla="*/ 46 h 64"/>
                  <a:gd name="T16" fmla="*/ 17 w 78"/>
                  <a:gd name="T17" fmla="*/ 50 h 64"/>
                  <a:gd name="T18" fmla="*/ 21 w 78"/>
                  <a:gd name="T19" fmla="*/ 52 h 64"/>
                  <a:gd name="T20" fmla="*/ 26 w 78"/>
                  <a:gd name="T21" fmla="*/ 51 h 64"/>
                  <a:gd name="T22" fmla="*/ 28 w 78"/>
                  <a:gd name="T23" fmla="*/ 54 h 64"/>
                  <a:gd name="T24" fmla="*/ 33 w 78"/>
                  <a:gd name="T25" fmla="*/ 55 h 64"/>
                  <a:gd name="T26" fmla="*/ 37 w 78"/>
                  <a:gd name="T27" fmla="*/ 60 h 64"/>
                  <a:gd name="T28" fmla="*/ 42 w 78"/>
                  <a:gd name="T29" fmla="*/ 59 h 64"/>
                  <a:gd name="T30" fmla="*/ 49 w 78"/>
                  <a:gd name="T31" fmla="*/ 60 h 64"/>
                  <a:gd name="T32" fmla="*/ 55 w 78"/>
                  <a:gd name="T33" fmla="*/ 61 h 64"/>
                  <a:gd name="T34" fmla="*/ 62 w 78"/>
                  <a:gd name="T35" fmla="*/ 62 h 64"/>
                  <a:gd name="T36" fmla="*/ 66 w 78"/>
                  <a:gd name="T37" fmla="*/ 64 h 64"/>
                  <a:gd name="T38" fmla="*/ 66 w 78"/>
                  <a:gd name="T39" fmla="*/ 58 h 64"/>
                  <a:gd name="T40" fmla="*/ 74 w 78"/>
                  <a:gd name="T41" fmla="*/ 51 h 64"/>
                  <a:gd name="T42" fmla="*/ 77 w 78"/>
                  <a:gd name="T43" fmla="*/ 48 h 64"/>
                  <a:gd name="T44" fmla="*/ 74 w 78"/>
                  <a:gd name="T45" fmla="*/ 40 h 64"/>
                  <a:gd name="T46" fmla="*/ 73 w 78"/>
                  <a:gd name="T47" fmla="*/ 33 h 64"/>
                  <a:gd name="T48" fmla="*/ 71 w 78"/>
                  <a:gd name="T49" fmla="*/ 29 h 64"/>
                  <a:gd name="T50" fmla="*/ 75 w 78"/>
                  <a:gd name="T51" fmla="*/ 25 h 64"/>
                  <a:gd name="T52" fmla="*/ 75 w 78"/>
                  <a:gd name="T53" fmla="*/ 18 h 64"/>
                  <a:gd name="T54" fmla="*/ 74 w 78"/>
                  <a:gd name="T55" fmla="*/ 12 h 64"/>
                  <a:gd name="T56" fmla="*/ 68 w 78"/>
                  <a:gd name="T57" fmla="*/ 7 h 64"/>
                  <a:gd name="T58" fmla="*/ 67 w 78"/>
                  <a:gd name="T59" fmla="*/ 7 h 64"/>
                  <a:gd name="T60" fmla="*/ 46 w 78"/>
                  <a:gd name="T61" fmla="*/ 6 h 64"/>
                  <a:gd name="T62" fmla="*/ 42 w 78"/>
                  <a:gd name="T63" fmla="*/ 4 h 64"/>
                  <a:gd name="T64" fmla="*/ 38 w 78"/>
                  <a:gd name="T65" fmla="*/ 7 h 64"/>
                  <a:gd name="T66" fmla="*/ 34 w 78"/>
                  <a:gd name="T67" fmla="*/ 2 h 64"/>
                  <a:gd name="T68" fmla="*/ 17 w 78"/>
                  <a:gd name="T69" fmla="*/ 7 h 64"/>
                  <a:gd name="T70" fmla="*/ 4 w 78"/>
                  <a:gd name="T71" fmla="*/ 11 h 64"/>
                  <a:gd name="T72" fmla="*/ 2 w 78"/>
                  <a:gd name="T73" fmla="*/ 13 h 64"/>
                  <a:gd name="T74" fmla="*/ 2 w 78"/>
                  <a:gd name="T75" fmla="*/ 1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8" h="64">
                    <a:moveTo>
                      <a:pt x="2" y="14"/>
                    </a:moveTo>
                    <a:cubicBezTo>
                      <a:pt x="2" y="15"/>
                      <a:pt x="3" y="20"/>
                      <a:pt x="2" y="22"/>
                    </a:cubicBezTo>
                    <a:cubicBezTo>
                      <a:pt x="0" y="24"/>
                      <a:pt x="1" y="25"/>
                      <a:pt x="2" y="25"/>
                    </a:cubicBezTo>
                    <a:cubicBezTo>
                      <a:pt x="3" y="26"/>
                      <a:pt x="4" y="28"/>
                      <a:pt x="4" y="29"/>
                    </a:cubicBezTo>
                    <a:cubicBezTo>
                      <a:pt x="4" y="31"/>
                      <a:pt x="5" y="30"/>
                      <a:pt x="5" y="33"/>
                    </a:cubicBezTo>
                    <a:cubicBezTo>
                      <a:pt x="5" y="37"/>
                      <a:pt x="6" y="39"/>
                      <a:pt x="7" y="40"/>
                    </a:cubicBezTo>
                    <a:cubicBezTo>
                      <a:pt x="8" y="41"/>
                      <a:pt x="8" y="42"/>
                      <a:pt x="7" y="44"/>
                    </a:cubicBezTo>
                    <a:cubicBezTo>
                      <a:pt x="9" y="45"/>
                      <a:pt x="10" y="46"/>
                      <a:pt x="12" y="46"/>
                    </a:cubicBezTo>
                    <a:cubicBezTo>
                      <a:pt x="16" y="48"/>
                      <a:pt x="17" y="49"/>
                      <a:pt x="17" y="50"/>
                    </a:cubicBezTo>
                    <a:cubicBezTo>
                      <a:pt x="17" y="51"/>
                      <a:pt x="21" y="54"/>
                      <a:pt x="21" y="52"/>
                    </a:cubicBezTo>
                    <a:cubicBezTo>
                      <a:pt x="22" y="50"/>
                      <a:pt x="24" y="51"/>
                      <a:pt x="26" y="51"/>
                    </a:cubicBezTo>
                    <a:cubicBezTo>
                      <a:pt x="28" y="51"/>
                      <a:pt x="28" y="53"/>
                      <a:pt x="28" y="54"/>
                    </a:cubicBezTo>
                    <a:cubicBezTo>
                      <a:pt x="28" y="55"/>
                      <a:pt x="32" y="54"/>
                      <a:pt x="33" y="55"/>
                    </a:cubicBezTo>
                    <a:cubicBezTo>
                      <a:pt x="35" y="56"/>
                      <a:pt x="35" y="59"/>
                      <a:pt x="37" y="60"/>
                    </a:cubicBezTo>
                    <a:cubicBezTo>
                      <a:pt x="39" y="61"/>
                      <a:pt x="41" y="59"/>
                      <a:pt x="42" y="59"/>
                    </a:cubicBezTo>
                    <a:cubicBezTo>
                      <a:pt x="43" y="60"/>
                      <a:pt x="47" y="61"/>
                      <a:pt x="49" y="60"/>
                    </a:cubicBezTo>
                    <a:cubicBezTo>
                      <a:pt x="51" y="59"/>
                      <a:pt x="52" y="61"/>
                      <a:pt x="55" y="61"/>
                    </a:cubicBezTo>
                    <a:cubicBezTo>
                      <a:pt x="58" y="61"/>
                      <a:pt x="61" y="62"/>
                      <a:pt x="62" y="62"/>
                    </a:cubicBezTo>
                    <a:cubicBezTo>
                      <a:pt x="62" y="63"/>
                      <a:pt x="64" y="63"/>
                      <a:pt x="66" y="64"/>
                    </a:cubicBezTo>
                    <a:cubicBezTo>
                      <a:pt x="67" y="62"/>
                      <a:pt x="66" y="59"/>
                      <a:pt x="66" y="58"/>
                    </a:cubicBezTo>
                    <a:cubicBezTo>
                      <a:pt x="66" y="57"/>
                      <a:pt x="73" y="52"/>
                      <a:pt x="74" y="51"/>
                    </a:cubicBezTo>
                    <a:cubicBezTo>
                      <a:pt x="75" y="49"/>
                      <a:pt x="76" y="49"/>
                      <a:pt x="77" y="48"/>
                    </a:cubicBezTo>
                    <a:cubicBezTo>
                      <a:pt x="78" y="46"/>
                      <a:pt x="75" y="41"/>
                      <a:pt x="74" y="40"/>
                    </a:cubicBezTo>
                    <a:cubicBezTo>
                      <a:pt x="73" y="39"/>
                      <a:pt x="73" y="35"/>
                      <a:pt x="73" y="33"/>
                    </a:cubicBezTo>
                    <a:cubicBezTo>
                      <a:pt x="74" y="31"/>
                      <a:pt x="71" y="30"/>
                      <a:pt x="71" y="29"/>
                    </a:cubicBezTo>
                    <a:cubicBezTo>
                      <a:pt x="71" y="27"/>
                      <a:pt x="74" y="25"/>
                      <a:pt x="75" y="25"/>
                    </a:cubicBezTo>
                    <a:cubicBezTo>
                      <a:pt x="77" y="24"/>
                      <a:pt x="76" y="19"/>
                      <a:pt x="75" y="18"/>
                    </a:cubicBezTo>
                    <a:cubicBezTo>
                      <a:pt x="74" y="16"/>
                      <a:pt x="73" y="14"/>
                      <a:pt x="74" y="12"/>
                    </a:cubicBezTo>
                    <a:cubicBezTo>
                      <a:pt x="75" y="9"/>
                      <a:pt x="68" y="7"/>
                      <a:pt x="68" y="7"/>
                    </a:cubicBezTo>
                    <a:cubicBezTo>
                      <a:pt x="67" y="7"/>
                      <a:pt x="67" y="7"/>
                      <a:pt x="67" y="7"/>
                    </a:cubicBezTo>
                    <a:cubicBezTo>
                      <a:pt x="62" y="8"/>
                      <a:pt x="47" y="6"/>
                      <a:pt x="46" y="6"/>
                    </a:cubicBezTo>
                    <a:cubicBezTo>
                      <a:pt x="46" y="6"/>
                      <a:pt x="44" y="5"/>
                      <a:pt x="42" y="4"/>
                    </a:cubicBezTo>
                    <a:cubicBezTo>
                      <a:pt x="42" y="6"/>
                      <a:pt x="40" y="7"/>
                      <a:pt x="38" y="7"/>
                    </a:cubicBezTo>
                    <a:cubicBezTo>
                      <a:pt x="34" y="7"/>
                      <a:pt x="34" y="3"/>
                      <a:pt x="34" y="2"/>
                    </a:cubicBezTo>
                    <a:cubicBezTo>
                      <a:pt x="34" y="0"/>
                      <a:pt x="20" y="3"/>
                      <a:pt x="17" y="7"/>
                    </a:cubicBezTo>
                    <a:cubicBezTo>
                      <a:pt x="13" y="10"/>
                      <a:pt x="4" y="9"/>
                      <a:pt x="4" y="11"/>
                    </a:cubicBezTo>
                    <a:cubicBezTo>
                      <a:pt x="4" y="12"/>
                      <a:pt x="3" y="13"/>
                      <a:pt x="2" y="13"/>
                    </a:cubicBezTo>
                    <a:cubicBezTo>
                      <a:pt x="2" y="13"/>
                      <a:pt x="2" y="13"/>
                      <a:pt x="2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3" name="Freeform 129">
                <a:extLst>
                  <a:ext uri="{FF2B5EF4-FFF2-40B4-BE49-F238E27FC236}">
                    <a16:creationId xmlns:a16="http://schemas.microsoft.com/office/drawing/2014/main" id="{558F7B36-5486-47C8-8003-90B83FD11E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073138" y="2344354"/>
                <a:ext cx="363093" cy="642101"/>
              </a:xfrm>
              <a:custGeom>
                <a:avLst/>
                <a:gdLst>
                  <a:gd name="T0" fmla="*/ 98 w 100"/>
                  <a:gd name="T1" fmla="*/ 37 h 176"/>
                  <a:gd name="T2" fmla="*/ 96 w 100"/>
                  <a:gd name="T3" fmla="*/ 23 h 176"/>
                  <a:gd name="T4" fmla="*/ 84 w 100"/>
                  <a:gd name="T5" fmla="*/ 9 h 176"/>
                  <a:gd name="T6" fmla="*/ 70 w 100"/>
                  <a:gd name="T7" fmla="*/ 8 h 176"/>
                  <a:gd name="T8" fmla="*/ 56 w 100"/>
                  <a:gd name="T9" fmla="*/ 8 h 176"/>
                  <a:gd name="T10" fmla="*/ 48 w 100"/>
                  <a:gd name="T11" fmla="*/ 16 h 176"/>
                  <a:gd name="T12" fmla="*/ 40 w 100"/>
                  <a:gd name="T13" fmla="*/ 26 h 176"/>
                  <a:gd name="T14" fmla="*/ 34 w 100"/>
                  <a:gd name="T15" fmla="*/ 37 h 176"/>
                  <a:gd name="T16" fmla="*/ 26 w 100"/>
                  <a:gd name="T17" fmla="*/ 43 h 176"/>
                  <a:gd name="T18" fmla="*/ 20 w 100"/>
                  <a:gd name="T19" fmla="*/ 60 h 176"/>
                  <a:gd name="T20" fmla="*/ 22 w 100"/>
                  <a:gd name="T21" fmla="*/ 69 h 176"/>
                  <a:gd name="T22" fmla="*/ 9 w 100"/>
                  <a:gd name="T23" fmla="*/ 75 h 176"/>
                  <a:gd name="T24" fmla="*/ 8 w 100"/>
                  <a:gd name="T25" fmla="*/ 91 h 176"/>
                  <a:gd name="T26" fmla="*/ 13 w 100"/>
                  <a:gd name="T27" fmla="*/ 104 h 176"/>
                  <a:gd name="T28" fmla="*/ 10 w 100"/>
                  <a:gd name="T29" fmla="*/ 112 h 176"/>
                  <a:gd name="T30" fmla="*/ 5 w 100"/>
                  <a:gd name="T31" fmla="*/ 122 h 176"/>
                  <a:gd name="T32" fmla="*/ 2 w 100"/>
                  <a:gd name="T33" fmla="*/ 134 h 176"/>
                  <a:gd name="T34" fmla="*/ 0 w 100"/>
                  <a:gd name="T35" fmla="*/ 134 h 176"/>
                  <a:gd name="T36" fmla="*/ 6 w 100"/>
                  <a:gd name="T37" fmla="*/ 150 h 176"/>
                  <a:gd name="T38" fmla="*/ 12 w 100"/>
                  <a:gd name="T39" fmla="*/ 164 h 176"/>
                  <a:gd name="T40" fmla="*/ 14 w 100"/>
                  <a:gd name="T41" fmla="*/ 174 h 176"/>
                  <a:gd name="T42" fmla="*/ 24 w 100"/>
                  <a:gd name="T43" fmla="*/ 169 h 176"/>
                  <a:gd name="T44" fmla="*/ 33 w 100"/>
                  <a:gd name="T45" fmla="*/ 166 h 176"/>
                  <a:gd name="T46" fmla="*/ 40 w 100"/>
                  <a:gd name="T47" fmla="*/ 164 h 176"/>
                  <a:gd name="T48" fmla="*/ 42 w 100"/>
                  <a:gd name="T49" fmla="*/ 156 h 176"/>
                  <a:gd name="T50" fmla="*/ 43 w 100"/>
                  <a:gd name="T51" fmla="*/ 139 h 176"/>
                  <a:gd name="T52" fmla="*/ 55 w 100"/>
                  <a:gd name="T53" fmla="*/ 128 h 176"/>
                  <a:gd name="T54" fmla="*/ 52 w 100"/>
                  <a:gd name="T55" fmla="*/ 113 h 176"/>
                  <a:gd name="T56" fmla="*/ 45 w 100"/>
                  <a:gd name="T57" fmla="*/ 102 h 176"/>
                  <a:gd name="T58" fmla="*/ 51 w 100"/>
                  <a:gd name="T59" fmla="*/ 88 h 176"/>
                  <a:gd name="T60" fmla="*/ 60 w 100"/>
                  <a:gd name="T61" fmla="*/ 78 h 176"/>
                  <a:gd name="T62" fmla="*/ 80 w 100"/>
                  <a:gd name="T63" fmla="*/ 65 h 176"/>
                  <a:gd name="T64" fmla="*/ 82 w 100"/>
                  <a:gd name="T65" fmla="*/ 50 h 176"/>
                  <a:gd name="T66" fmla="*/ 96 w 100"/>
                  <a:gd name="T67" fmla="*/ 45 h 176"/>
                  <a:gd name="T68" fmla="*/ 99 w 100"/>
                  <a:gd name="T69" fmla="*/ 42 h 176"/>
                  <a:gd name="T70" fmla="*/ 53 w 100"/>
                  <a:gd name="T71" fmla="*/ 15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0" h="176">
                    <a:moveTo>
                      <a:pt x="99" y="42"/>
                    </a:moveTo>
                    <a:cubicBezTo>
                      <a:pt x="98" y="40"/>
                      <a:pt x="96" y="37"/>
                      <a:pt x="98" y="37"/>
                    </a:cubicBezTo>
                    <a:cubicBezTo>
                      <a:pt x="99" y="37"/>
                      <a:pt x="100" y="32"/>
                      <a:pt x="98" y="30"/>
                    </a:cubicBezTo>
                    <a:cubicBezTo>
                      <a:pt x="96" y="29"/>
                      <a:pt x="98" y="24"/>
                      <a:pt x="96" y="23"/>
                    </a:cubicBezTo>
                    <a:cubicBezTo>
                      <a:pt x="94" y="22"/>
                      <a:pt x="95" y="18"/>
                      <a:pt x="96" y="16"/>
                    </a:cubicBezTo>
                    <a:cubicBezTo>
                      <a:pt x="96" y="13"/>
                      <a:pt x="88" y="11"/>
                      <a:pt x="84" y="9"/>
                    </a:cubicBezTo>
                    <a:cubicBezTo>
                      <a:pt x="80" y="7"/>
                      <a:pt x="78" y="4"/>
                      <a:pt x="75" y="2"/>
                    </a:cubicBezTo>
                    <a:cubicBezTo>
                      <a:pt x="71" y="0"/>
                      <a:pt x="70" y="5"/>
                      <a:pt x="70" y="8"/>
                    </a:cubicBezTo>
                    <a:cubicBezTo>
                      <a:pt x="70" y="11"/>
                      <a:pt x="67" y="11"/>
                      <a:pt x="65" y="9"/>
                    </a:cubicBezTo>
                    <a:cubicBezTo>
                      <a:pt x="62" y="8"/>
                      <a:pt x="60" y="9"/>
                      <a:pt x="56" y="8"/>
                    </a:cubicBezTo>
                    <a:cubicBezTo>
                      <a:pt x="53" y="6"/>
                      <a:pt x="54" y="11"/>
                      <a:pt x="54" y="14"/>
                    </a:cubicBezTo>
                    <a:cubicBezTo>
                      <a:pt x="54" y="16"/>
                      <a:pt x="51" y="16"/>
                      <a:pt x="48" y="16"/>
                    </a:cubicBezTo>
                    <a:cubicBezTo>
                      <a:pt x="46" y="16"/>
                      <a:pt x="42" y="18"/>
                      <a:pt x="42" y="21"/>
                    </a:cubicBezTo>
                    <a:cubicBezTo>
                      <a:pt x="42" y="23"/>
                      <a:pt x="39" y="25"/>
                      <a:pt x="40" y="26"/>
                    </a:cubicBezTo>
                    <a:cubicBezTo>
                      <a:pt x="41" y="28"/>
                      <a:pt x="39" y="29"/>
                      <a:pt x="38" y="30"/>
                    </a:cubicBezTo>
                    <a:cubicBezTo>
                      <a:pt x="36" y="32"/>
                      <a:pt x="35" y="35"/>
                      <a:pt x="34" y="37"/>
                    </a:cubicBezTo>
                    <a:cubicBezTo>
                      <a:pt x="33" y="38"/>
                      <a:pt x="34" y="40"/>
                      <a:pt x="32" y="41"/>
                    </a:cubicBezTo>
                    <a:cubicBezTo>
                      <a:pt x="30" y="43"/>
                      <a:pt x="27" y="42"/>
                      <a:pt x="26" y="43"/>
                    </a:cubicBezTo>
                    <a:cubicBezTo>
                      <a:pt x="25" y="44"/>
                      <a:pt x="26" y="47"/>
                      <a:pt x="26" y="50"/>
                    </a:cubicBezTo>
                    <a:cubicBezTo>
                      <a:pt x="25" y="53"/>
                      <a:pt x="23" y="57"/>
                      <a:pt x="20" y="60"/>
                    </a:cubicBezTo>
                    <a:cubicBezTo>
                      <a:pt x="18" y="63"/>
                      <a:pt x="21" y="64"/>
                      <a:pt x="22" y="64"/>
                    </a:cubicBezTo>
                    <a:cubicBezTo>
                      <a:pt x="23" y="65"/>
                      <a:pt x="23" y="67"/>
                      <a:pt x="22" y="69"/>
                    </a:cubicBezTo>
                    <a:cubicBezTo>
                      <a:pt x="21" y="71"/>
                      <a:pt x="18" y="70"/>
                      <a:pt x="17" y="69"/>
                    </a:cubicBezTo>
                    <a:cubicBezTo>
                      <a:pt x="15" y="69"/>
                      <a:pt x="11" y="71"/>
                      <a:pt x="9" y="75"/>
                    </a:cubicBezTo>
                    <a:cubicBezTo>
                      <a:pt x="7" y="79"/>
                      <a:pt x="7" y="81"/>
                      <a:pt x="8" y="83"/>
                    </a:cubicBezTo>
                    <a:cubicBezTo>
                      <a:pt x="9" y="85"/>
                      <a:pt x="6" y="87"/>
                      <a:pt x="8" y="91"/>
                    </a:cubicBezTo>
                    <a:cubicBezTo>
                      <a:pt x="10" y="95"/>
                      <a:pt x="7" y="95"/>
                      <a:pt x="8" y="98"/>
                    </a:cubicBezTo>
                    <a:cubicBezTo>
                      <a:pt x="8" y="102"/>
                      <a:pt x="13" y="101"/>
                      <a:pt x="13" y="104"/>
                    </a:cubicBezTo>
                    <a:cubicBezTo>
                      <a:pt x="13" y="107"/>
                      <a:pt x="12" y="108"/>
                      <a:pt x="10" y="108"/>
                    </a:cubicBezTo>
                    <a:cubicBezTo>
                      <a:pt x="8" y="108"/>
                      <a:pt x="9" y="111"/>
                      <a:pt x="10" y="112"/>
                    </a:cubicBezTo>
                    <a:cubicBezTo>
                      <a:pt x="12" y="113"/>
                      <a:pt x="12" y="118"/>
                      <a:pt x="11" y="120"/>
                    </a:cubicBezTo>
                    <a:cubicBezTo>
                      <a:pt x="10" y="121"/>
                      <a:pt x="5" y="120"/>
                      <a:pt x="5" y="122"/>
                    </a:cubicBezTo>
                    <a:cubicBezTo>
                      <a:pt x="6" y="124"/>
                      <a:pt x="4" y="127"/>
                      <a:pt x="4" y="128"/>
                    </a:cubicBezTo>
                    <a:cubicBezTo>
                      <a:pt x="4" y="130"/>
                      <a:pt x="4" y="135"/>
                      <a:pt x="2" y="134"/>
                    </a:cubicBezTo>
                    <a:cubicBezTo>
                      <a:pt x="2" y="133"/>
                      <a:pt x="1" y="133"/>
                      <a:pt x="0" y="133"/>
                    </a:cubicBezTo>
                    <a:cubicBezTo>
                      <a:pt x="0" y="133"/>
                      <a:pt x="0" y="134"/>
                      <a:pt x="0" y="134"/>
                    </a:cubicBezTo>
                    <a:cubicBezTo>
                      <a:pt x="0" y="137"/>
                      <a:pt x="1" y="140"/>
                      <a:pt x="3" y="142"/>
                    </a:cubicBezTo>
                    <a:cubicBezTo>
                      <a:pt x="6" y="144"/>
                      <a:pt x="4" y="147"/>
                      <a:pt x="6" y="150"/>
                    </a:cubicBezTo>
                    <a:cubicBezTo>
                      <a:pt x="9" y="153"/>
                      <a:pt x="8" y="156"/>
                      <a:pt x="10" y="158"/>
                    </a:cubicBezTo>
                    <a:cubicBezTo>
                      <a:pt x="13" y="160"/>
                      <a:pt x="13" y="161"/>
                      <a:pt x="12" y="164"/>
                    </a:cubicBezTo>
                    <a:cubicBezTo>
                      <a:pt x="11" y="166"/>
                      <a:pt x="14" y="166"/>
                      <a:pt x="14" y="167"/>
                    </a:cubicBezTo>
                    <a:cubicBezTo>
                      <a:pt x="14" y="169"/>
                      <a:pt x="14" y="173"/>
                      <a:pt x="14" y="174"/>
                    </a:cubicBezTo>
                    <a:cubicBezTo>
                      <a:pt x="15" y="176"/>
                      <a:pt x="17" y="174"/>
                      <a:pt x="21" y="174"/>
                    </a:cubicBezTo>
                    <a:cubicBezTo>
                      <a:pt x="24" y="174"/>
                      <a:pt x="24" y="172"/>
                      <a:pt x="24" y="169"/>
                    </a:cubicBezTo>
                    <a:cubicBezTo>
                      <a:pt x="24" y="167"/>
                      <a:pt x="26" y="168"/>
                      <a:pt x="26" y="167"/>
                    </a:cubicBezTo>
                    <a:cubicBezTo>
                      <a:pt x="27" y="165"/>
                      <a:pt x="30" y="165"/>
                      <a:pt x="33" y="166"/>
                    </a:cubicBezTo>
                    <a:cubicBezTo>
                      <a:pt x="36" y="167"/>
                      <a:pt x="37" y="165"/>
                      <a:pt x="37" y="162"/>
                    </a:cubicBezTo>
                    <a:cubicBezTo>
                      <a:pt x="38" y="160"/>
                      <a:pt x="39" y="163"/>
                      <a:pt x="40" y="164"/>
                    </a:cubicBezTo>
                    <a:cubicBezTo>
                      <a:pt x="41" y="164"/>
                      <a:pt x="44" y="159"/>
                      <a:pt x="45" y="156"/>
                    </a:cubicBezTo>
                    <a:cubicBezTo>
                      <a:pt x="46" y="153"/>
                      <a:pt x="45" y="153"/>
                      <a:pt x="42" y="156"/>
                    </a:cubicBezTo>
                    <a:cubicBezTo>
                      <a:pt x="39" y="160"/>
                      <a:pt x="41" y="153"/>
                      <a:pt x="42" y="151"/>
                    </a:cubicBezTo>
                    <a:cubicBezTo>
                      <a:pt x="43" y="148"/>
                      <a:pt x="43" y="141"/>
                      <a:pt x="43" y="139"/>
                    </a:cubicBezTo>
                    <a:cubicBezTo>
                      <a:pt x="44" y="138"/>
                      <a:pt x="44" y="135"/>
                      <a:pt x="48" y="135"/>
                    </a:cubicBezTo>
                    <a:cubicBezTo>
                      <a:pt x="51" y="134"/>
                      <a:pt x="56" y="130"/>
                      <a:pt x="55" y="128"/>
                    </a:cubicBezTo>
                    <a:cubicBezTo>
                      <a:pt x="54" y="126"/>
                      <a:pt x="60" y="123"/>
                      <a:pt x="60" y="121"/>
                    </a:cubicBezTo>
                    <a:cubicBezTo>
                      <a:pt x="60" y="120"/>
                      <a:pt x="54" y="114"/>
                      <a:pt x="52" y="113"/>
                    </a:cubicBezTo>
                    <a:cubicBezTo>
                      <a:pt x="50" y="112"/>
                      <a:pt x="46" y="113"/>
                      <a:pt x="46" y="111"/>
                    </a:cubicBezTo>
                    <a:cubicBezTo>
                      <a:pt x="47" y="110"/>
                      <a:pt x="46" y="105"/>
                      <a:pt x="45" y="102"/>
                    </a:cubicBezTo>
                    <a:cubicBezTo>
                      <a:pt x="45" y="100"/>
                      <a:pt x="48" y="97"/>
                      <a:pt x="48" y="94"/>
                    </a:cubicBezTo>
                    <a:cubicBezTo>
                      <a:pt x="48" y="92"/>
                      <a:pt x="48" y="89"/>
                      <a:pt x="51" y="88"/>
                    </a:cubicBezTo>
                    <a:cubicBezTo>
                      <a:pt x="53" y="87"/>
                      <a:pt x="51" y="85"/>
                      <a:pt x="54" y="85"/>
                    </a:cubicBezTo>
                    <a:cubicBezTo>
                      <a:pt x="57" y="84"/>
                      <a:pt x="57" y="80"/>
                      <a:pt x="60" y="78"/>
                    </a:cubicBezTo>
                    <a:cubicBezTo>
                      <a:pt x="63" y="77"/>
                      <a:pt x="63" y="76"/>
                      <a:pt x="68" y="74"/>
                    </a:cubicBezTo>
                    <a:cubicBezTo>
                      <a:pt x="72" y="72"/>
                      <a:pt x="79" y="67"/>
                      <a:pt x="80" y="65"/>
                    </a:cubicBezTo>
                    <a:cubicBezTo>
                      <a:pt x="81" y="62"/>
                      <a:pt x="76" y="59"/>
                      <a:pt x="79" y="57"/>
                    </a:cubicBezTo>
                    <a:cubicBezTo>
                      <a:pt x="83" y="54"/>
                      <a:pt x="80" y="51"/>
                      <a:pt x="82" y="50"/>
                    </a:cubicBezTo>
                    <a:cubicBezTo>
                      <a:pt x="85" y="49"/>
                      <a:pt x="86" y="48"/>
                      <a:pt x="87" y="46"/>
                    </a:cubicBezTo>
                    <a:cubicBezTo>
                      <a:pt x="89" y="44"/>
                      <a:pt x="92" y="46"/>
                      <a:pt x="96" y="45"/>
                    </a:cubicBezTo>
                    <a:cubicBezTo>
                      <a:pt x="97" y="45"/>
                      <a:pt x="99" y="45"/>
                      <a:pt x="100" y="46"/>
                    </a:cubicBezTo>
                    <a:cubicBezTo>
                      <a:pt x="100" y="44"/>
                      <a:pt x="100" y="42"/>
                      <a:pt x="99" y="42"/>
                    </a:cubicBezTo>
                    <a:close/>
                    <a:moveTo>
                      <a:pt x="59" y="146"/>
                    </a:moveTo>
                    <a:cubicBezTo>
                      <a:pt x="54" y="146"/>
                      <a:pt x="52" y="155"/>
                      <a:pt x="53" y="157"/>
                    </a:cubicBezTo>
                    <a:cubicBezTo>
                      <a:pt x="54" y="158"/>
                      <a:pt x="63" y="146"/>
                      <a:pt x="59" y="1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03942FE5-9A9D-4F1D-937A-4330D86D2258}"/>
                  </a:ext>
                </a:extLst>
              </p:cNvPr>
              <p:cNvSpPr/>
              <p:nvPr/>
            </p:nvSpPr>
            <p:spPr>
              <a:xfrm>
                <a:off x="23536824" y="4181533"/>
                <a:ext cx="231648" cy="599048"/>
              </a:xfrm>
              <a:custGeom>
                <a:avLst/>
                <a:gdLst>
                  <a:gd name="connsiteX0" fmla="*/ 219075 w 226520"/>
                  <a:gd name="connsiteY0" fmla="*/ 578643 h 585787"/>
                  <a:gd name="connsiteX1" fmla="*/ 211932 w 226520"/>
                  <a:gd name="connsiteY1" fmla="*/ 566737 h 585787"/>
                  <a:gd name="connsiteX2" fmla="*/ 207169 w 226520"/>
                  <a:gd name="connsiteY2" fmla="*/ 552450 h 585787"/>
                  <a:gd name="connsiteX3" fmla="*/ 204788 w 226520"/>
                  <a:gd name="connsiteY3" fmla="*/ 545306 h 585787"/>
                  <a:gd name="connsiteX4" fmla="*/ 200025 w 226520"/>
                  <a:gd name="connsiteY4" fmla="*/ 538162 h 585787"/>
                  <a:gd name="connsiteX5" fmla="*/ 195263 w 226520"/>
                  <a:gd name="connsiteY5" fmla="*/ 523875 h 585787"/>
                  <a:gd name="connsiteX6" fmla="*/ 190500 w 226520"/>
                  <a:gd name="connsiteY6" fmla="*/ 471487 h 585787"/>
                  <a:gd name="connsiteX7" fmla="*/ 176213 w 226520"/>
                  <a:gd name="connsiteY7" fmla="*/ 461962 h 585787"/>
                  <a:gd name="connsiteX8" fmla="*/ 169069 w 226520"/>
                  <a:gd name="connsiteY8" fmla="*/ 457200 h 585787"/>
                  <a:gd name="connsiteX9" fmla="*/ 152400 w 226520"/>
                  <a:gd name="connsiteY9" fmla="*/ 450056 h 585787"/>
                  <a:gd name="connsiteX10" fmla="*/ 140494 w 226520"/>
                  <a:gd name="connsiteY10" fmla="*/ 428625 h 585787"/>
                  <a:gd name="connsiteX11" fmla="*/ 135732 w 226520"/>
                  <a:gd name="connsiteY11" fmla="*/ 421481 h 585787"/>
                  <a:gd name="connsiteX12" fmla="*/ 133350 w 226520"/>
                  <a:gd name="connsiteY12" fmla="*/ 414337 h 585787"/>
                  <a:gd name="connsiteX13" fmla="*/ 119063 w 226520"/>
                  <a:gd name="connsiteY13" fmla="*/ 404812 h 585787"/>
                  <a:gd name="connsiteX14" fmla="*/ 114300 w 226520"/>
                  <a:gd name="connsiteY14" fmla="*/ 397668 h 585787"/>
                  <a:gd name="connsiteX15" fmla="*/ 107157 w 226520"/>
                  <a:gd name="connsiteY15" fmla="*/ 395287 h 585787"/>
                  <a:gd name="connsiteX16" fmla="*/ 104775 w 226520"/>
                  <a:gd name="connsiteY16" fmla="*/ 388143 h 585787"/>
                  <a:gd name="connsiteX17" fmla="*/ 100013 w 226520"/>
                  <a:gd name="connsiteY17" fmla="*/ 381000 h 585787"/>
                  <a:gd name="connsiteX18" fmla="*/ 97632 w 226520"/>
                  <a:gd name="connsiteY18" fmla="*/ 373856 h 585787"/>
                  <a:gd name="connsiteX19" fmla="*/ 90488 w 226520"/>
                  <a:gd name="connsiteY19" fmla="*/ 359568 h 585787"/>
                  <a:gd name="connsiteX20" fmla="*/ 85725 w 226520"/>
                  <a:gd name="connsiteY20" fmla="*/ 335756 h 585787"/>
                  <a:gd name="connsiteX21" fmla="*/ 80963 w 226520"/>
                  <a:gd name="connsiteY21" fmla="*/ 328612 h 585787"/>
                  <a:gd name="connsiteX22" fmla="*/ 83344 w 226520"/>
                  <a:gd name="connsiteY22" fmla="*/ 302418 h 585787"/>
                  <a:gd name="connsiteX23" fmla="*/ 92869 w 226520"/>
                  <a:gd name="connsiteY23" fmla="*/ 288131 h 585787"/>
                  <a:gd name="connsiteX24" fmla="*/ 95250 w 226520"/>
                  <a:gd name="connsiteY24" fmla="*/ 280987 h 585787"/>
                  <a:gd name="connsiteX25" fmla="*/ 97632 w 226520"/>
                  <a:gd name="connsiteY25" fmla="*/ 250031 h 585787"/>
                  <a:gd name="connsiteX26" fmla="*/ 104775 w 226520"/>
                  <a:gd name="connsiteY26" fmla="*/ 235743 h 585787"/>
                  <a:gd name="connsiteX27" fmla="*/ 111919 w 226520"/>
                  <a:gd name="connsiteY27" fmla="*/ 228600 h 585787"/>
                  <a:gd name="connsiteX28" fmla="*/ 121444 w 226520"/>
                  <a:gd name="connsiteY28" fmla="*/ 214312 h 585787"/>
                  <a:gd name="connsiteX29" fmla="*/ 126207 w 226520"/>
                  <a:gd name="connsiteY29" fmla="*/ 207168 h 585787"/>
                  <a:gd name="connsiteX30" fmla="*/ 133350 w 226520"/>
                  <a:gd name="connsiteY30" fmla="*/ 202406 h 585787"/>
                  <a:gd name="connsiteX31" fmla="*/ 140494 w 226520"/>
                  <a:gd name="connsiteY31" fmla="*/ 183356 h 585787"/>
                  <a:gd name="connsiteX32" fmla="*/ 145257 w 226520"/>
                  <a:gd name="connsiteY32" fmla="*/ 173831 h 585787"/>
                  <a:gd name="connsiteX33" fmla="*/ 152400 w 226520"/>
                  <a:gd name="connsiteY33" fmla="*/ 150018 h 585787"/>
                  <a:gd name="connsiteX34" fmla="*/ 154782 w 226520"/>
                  <a:gd name="connsiteY34" fmla="*/ 126206 h 585787"/>
                  <a:gd name="connsiteX35" fmla="*/ 154782 w 226520"/>
                  <a:gd name="connsiteY35" fmla="*/ 78581 h 585787"/>
                  <a:gd name="connsiteX36" fmla="*/ 138113 w 226520"/>
                  <a:gd name="connsiteY36" fmla="*/ 66675 h 585787"/>
                  <a:gd name="connsiteX37" fmla="*/ 123825 w 226520"/>
                  <a:gd name="connsiteY37" fmla="*/ 52387 h 585787"/>
                  <a:gd name="connsiteX38" fmla="*/ 109538 w 226520"/>
                  <a:gd name="connsiteY38" fmla="*/ 45243 h 585787"/>
                  <a:gd name="connsiteX39" fmla="*/ 102394 w 226520"/>
                  <a:gd name="connsiteY39" fmla="*/ 40481 h 585787"/>
                  <a:gd name="connsiteX40" fmla="*/ 92869 w 226520"/>
                  <a:gd name="connsiteY40" fmla="*/ 38100 h 585787"/>
                  <a:gd name="connsiteX41" fmla="*/ 85725 w 226520"/>
                  <a:gd name="connsiteY41" fmla="*/ 35718 h 585787"/>
                  <a:gd name="connsiteX42" fmla="*/ 69057 w 226520"/>
                  <a:gd name="connsiteY42" fmla="*/ 26193 h 585787"/>
                  <a:gd name="connsiteX43" fmla="*/ 47625 w 226520"/>
                  <a:gd name="connsiteY43" fmla="*/ 14287 h 585787"/>
                  <a:gd name="connsiteX44" fmla="*/ 40482 w 226520"/>
                  <a:gd name="connsiteY44" fmla="*/ 7143 h 585787"/>
                  <a:gd name="connsiteX45" fmla="*/ 33338 w 226520"/>
                  <a:gd name="connsiteY45" fmla="*/ 4762 h 585787"/>
                  <a:gd name="connsiteX46" fmla="*/ 23813 w 226520"/>
                  <a:gd name="connsiteY46" fmla="*/ 0 h 585787"/>
                  <a:gd name="connsiteX47" fmla="*/ 11907 w 226520"/>
                  <a:gd name="connsiteY47" fmla="*/ 11906 h 585787"/>
                  <a:gd name="connsiteX48" fmla="*/ 4763 w 226520"/>
                  <a:gd name="connsiteY48" fmla="*/ 16668 h 585787"/>
                  <a:gd name="connsiteX49" fmla="*/ 2382 w 226520"/>
                  <a:gd name="connsiteY49" fmla="*/ 28575 h 585787"/>
                  <a:gd name="connsiteX50" fmla="*/ 0 w 226520"/>
                  <a:gd name="connsiteY50" fmla="*/ 38100 h 585787"/>
                  <a:gd name="connsiteX51" fmla="*/ 7144 w 226520"/>
                  <a:gd name="connsiteY51" fmla="*/ 64293 h 585787"/>
                  <a:gd name="connsiteX52" fmla="*/ 16669 w 226520"/>
                  <a:gd name="connsiteY52" fmla="*/ 90487 h 585787"/>
                  <a:gd name="connsiteX53" fmla="*/ 23813 w 226520"/>
                  <a:gd name="connsiteY53" fmla="*/ 116681 h 585787"/>
                  <a:gd name="connsiteX54" fmla="*/ 26194 w 226520"/>
                  <a:gd name="connsiteY54" fmla="*/ 133350 h 585787"/>
                  <a:gd name="connsiteX55" fmla="*/ 30957 w 226520"/>
                  <a:gd name="connsiteY55" fmla="*/ 161925 h 585787"/>
                  <a:gd name="connsiteX56" fmla="*/ 35719 w 226520"/>
                  <a:gd name="connsiteY56" fmla="*/ 171450 h 585787"/>
                  <a:gd name="connsiteX57" fmla="*/ 47625 w 226520"/>
                  <a:gd name="connsiteY57" fmla="*/ 192881 h 585787"/>
                  <a:gd name="connsiteX58" fmla="*/ 52388 w 226520"/>
                  <a:gd name="connsiteY58" fmla="*/ 223837 h 585787"/>
                  <a:gd name="connsiteX59" fmla="*/ 54769 w 226520"/>
                  <a:gd name="connsiteY59" fmla="*/ 235743 h 585787"/>
                  <a:gd name="connsiteX60" fmla="*/ 52388 w 226520"/>
                  <a:gd name="connsiteY60" fmla="*/ 335756 h 585787"/>
                  <a:gd name="connsiteX61" fmla="*/ 47625 w 226520"/>
                  <a:gd name="connsiteY61" fmla="*/ 342900 h 585787"/>
                  <a:gd name="connsiteX62" fmla="*/ 45244 w 226520"/>
                  <a:gd name="connsiteY62" fmla="*/ 350043 h 585787"/>
                  <a:gd name="connsiteX63" fmla="*/ 40482 w 226520"/>
                  <a:gd name="connsiteY63" fmla="*/ 359568 h 585787"/>
                  <a:gd name="connsiteX64" fmla="*/ 30957 w 226520"/>
                  <a:gd name="connsiteY64" fmla="*/ 381000 h 585787"/>
                  <a:gd name="connsiteX65" fmla="*/ 38100 w 226520"/>
                  <a:gd name="connsiteY65" fmla="*/ 385762 h 585787"/>
                  <a:gd name="connsiteX66" fmla="*/ 61913 w 226520"/>
                  <a:gd name="connsiteY66" fmla="*/ 390525 h 585787"/>
                  <a:gd name="connsiteX67" fmla="*/ 88107 w 226520"/>
                  <a:gd name="connsiteY67" fmla="*/ 409575 h 585787"/>
                  <a:gd name="connsiteX68" fmla="*/ 95250 w 226520"/>
                  <a:gd name="connsiteY68" fmla="*/ 416718 h 585787"/>
                  <a:gd name="connsiteX69" fmla="*/ 104775 w 226520"/>
                  <a:gd name="connsiteY69" fmla="*/ 433387 h 585787"/>
                  <a:gd name="connsiteX70" fmla="*/ 107157 w 226520"/>
                  <a:gd name="connsiteY70" fmla="*/ 440531 h 585787"/>
                  <a:gd name="connsiteX71" fmla="*/ 109538 w 226520"/>
                  <a:gd name="connsiteY71" fmla="*/ 492918 h 585787"/>
                  <a:gd name="connsiteX72" fmla="*/ 114300 w 226520"/>
                  <a:gd name="connsiteY72" fmla="*/ 500062 h 585787"/>
                  <a:gd name="connsiteX73" fmla="*/ 133350 w 226520"/>
                  <a:gd name="connsiteY73" fmla="*/ 521493 h 585787"/>
                  <a:gd name="connsiteX74" fmla="*/ 140494 w 226520"/>
                  <a:gd name="connsiteY74" fmla="*/ 526256 h 585787"/>
                  <a:gd name="connsiteX75" fmla="*/ 152400 w 226520"/>
                  <a:gd name="connsiteY75" fmla="*/ 538162 h 585787"/>
                  <a:gd name="connsiteX76" fmla="*/ 166688 w 226520"/>
                  <a:gd name="connsiteY76" fmla="*/ 550068 h 585787"/>
                  <a:gd name="connsiteX77" fmla="*/ 173832 w 226520"/>
                  <a:gd name="connsiteY77" fmla="*/ 554831 h 585787"/>
                  <a:gd name="connsiteX78" fmla="*/ 180975 w 226520"/>
                  <a:gd name="connsiteY78" fmla="*/ 557212 h 585787"/>
                  <a:gd name="connsiteX79" fmla="*/ 185738 w 226520"/>
                  <a:gd name="connsiteY79" fmla="*/ 564356 h 585787"/>
                  <a:gd name="connsiteX80" fmla="*/ 192882 w 226520"/>
                  <a:gd name="connsiteY80" fmla="*/ 569118 h 585787"/>
                  <a:gd name="connsiteX81" fmla="*/ 209550 w 226520"/>
                  <a:gd name="connsiteY81" fmla="*/ 578643 h 585787"/>
                  <a:gd name="connsiteX82" fmla="*/ 226219 w 226520"/>
                  <a:gd name="connsiteY82" fmla="*/ 585787 h 585787"/>
                  <a:gd name="connsiteX83" fmla="*/ 219075 w 226520"/>
                  <a:gd name="connsiteY83" fmla="*/ 578643 h 585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26520" h="585787">
                    <a:moveTo>
                      <a:pt x="219075" y="578643"/>
                    </a:moveTo>
                    <a:cubicBezTo>
                      <a:pt x="216694" y="575468"/>
                      <a:pt x="213847" y="570950"/>
                      <a:pt x="211932" y="566737"/>
                    </a:cubicBezTo>
                    <a:cubicBezTo>
                      <a:pt x="209855" y="562167"/>
                      <a:pt x="208757" y="557212"/>
                      <a:pt x="207169" y="552450"/>
                    </a:cubicBezTo>
                    <a:cubicBezTo>
                      <a:pt x="206375" y="550069"/>
                      <a:pt x="206180" y="547394"/>
                      <a:pt x="204788" y="545306"/>
                    </a:cubicBezTo>
                    <a:lnTo>
                      <a:pt x="200025" y="538162"/>
                    </a:lnTo>
                    <a:cubicBezTo>
                      <a:pt x="198438" y="533400"/>
                      <a:pt x="195718" y="528874"/>
                      <a:pt x="195263" y="523875"/>
                    </a:cubicBezTo>
                    <a:cubicBezTo>
                      <a:pt x="193675" y="506412"/>
                      <a:pt x="193939" y="488681"/>
                      <a:pt x="190500" y="471487"/>
                    </a:cubicBezTo>
                    <a:cubicBezTo>
                      <a:pt x="188995" y="463963"/>
                      <a:pt x="181026" y="464368"/>
                      <a:pt x="176213" y="461962"/>
                    </a:cubicBezTo>
                    <a:cubicBezTo>
                      <a:pt x="173653" y="460682"/>
                      <a:pt x="171554" y="458620"/>
                      <a:pt x="169069" y="457200"/>
                    </a:cubicBezTo>
                    <a:cubicBezTo>
                      <a:pt x="160826" y="452490"/>
                      <a:pt x="160417" y="452728"/>
                      <a:pt x="152400" y="450056"/>
                    </a:cubicBezTo>
                    <a:cubicBezTo>
                      <a:pt x="129986" y="427638"/>
                      <a:pt x="163796" y="463583"/>
                      <a:pt x="140494" y="428625"/>
                    </a:cubicBezTo>
                    <a:cubicBezTo>
                      <a:pt x="138907" y="426244"/>
                      <a:pt x="137012" y="424041"/>
                      <a:pt x="135732" y="421481"/>
                    </a:cubicBezTo>
                    <a:cubicBezTo>
                      <a:pt x="134609" y="419236"/>
                      <a:pt x="135125" y="416112"/>
                      <a:pt x="133350" y="414337"/>
                    </a:cubicBezTo>
                    <a:cubicBezTo>
                      <a:pt x="129303" y="410290"/>
                      <a:pt x="119063" y="404812"/>
                      <a:pt x="119063" y="404812"/>
                    </a:cubicBezTo>
                    <a:cubicBezTo>
                      <a:pt x="117475" y="402431"/>
                      <a:pt x="116535" y="399456"/>
                      <a:pt x="114300" y="397668"/>
                    </a:cubicBezTo>
                    <a:cubicBezTo>
                      <a:pt x="112340" y="396100"/>
                      <a:pt x="108932" y="397062"/>
                      <a:pt x="107157" y="395287"/>
                    </a:cubicBezTo>
                    <a:cubicBezTo>
                      <a:pt x="105382" y="393512"/>
                      <a:pt x="105898" y="390388"/>
                      <a:pt x="104775" y="388143"/>
                    </a:cubicBezTo>
                    <a:cubicBezTo>
                      <a:pt x="103495" y="385584"/>
                      <a:pt x="101600" y="383381"/>
                      <a:pt x="100013" y="381000"/>
                    </a:cubicBezTo>
                    <a:cubicBezTo>
                      <a:pt x="99219" y="378619"/>
                      <a:pt x="98755" y="376101"/>
                      <a:pt x="97632" y="373856"/>
                    </a:cubicBezTo>
                    <a:cubicBezTo>
                      <a:pt x="88400" y="355391"/>
                      <a:pt x="96473" y="377524"/>
                      <a:pt x="90488" y="359568"/>
                    </a:cubicBezTo>
                    <a:cubicBezTo>
                      <a:pt x="89609" y="353417"/>
                      <a:pt x="89052" y="342409"/>
                      <a:pt x="85725" y="335756"/>
                    </a:cubicBezTo>
                    <a:cubicBezTo>
                      <a:pt x="84445" y="333196"/>
                      <a:pt x="82550" y="330993"/>
                      <a:pt x="80963" y="328612"/>
                    </a:cubicBezTo>
                    <a:cubicBezTo>
                      <a:pt x="81757" y="319881"/>
                      <a:pt x="80870" y="310829"/>
                      <a:pt x="83344" y="302418"/>
                    </a:cubicBezTo>
                    <a:cubicBezTo>
                      <a:pt x="84959" y="296927"/>
                      <a:pt x="91059" y="293561"/>
                      <a:pt x="92869" y="288131"/>
                    </a:cubicBezTo>
                    <a:lnTo>
                      <a:pt x="95250" y="280987"/>
                    </a:lnTo>
                    <a:cubicBezTo>
                      <a:pt x="96044" y="270668"/>
                      <a:pt x="96348" y="260300"/>
                      <a:pt x="97632" y="250031"/>
                    </a:cubicBezTo>
                    <a:cubicBezTo>
                      <a:pt x="98264" y="244977"/>
                      <a:pt x="101647" y="239497"/>
                      <a:pt x="104775" y="235743"/>
                    </a:cubicBezTo>
                    <a:cubicBezTo>
                      <a:pt x="106931" y="233156"/>
                      <a:pt x="109852" y="231258"/>
                      <a:pt x="111919" y="228600"/>
                    </a:cubicBezTo>
                    <a:cubicBezTo>
                      <a:pt x="115433" y="224082"/>
                      <a:pt x="118269" y="219075"/>
                      <a:pt x="121444" y="214312"/>
                    </a:cubicBezTo>
                    <a:cubicBezTo>
                      <a:pt x="123032" y="211931"/>
                      <a:pt x="123826" y="208756"/>
                      <a:pt x="126207" y="207168"/>
                    </a:cubicBezTo>
                    <a:lnTo>
                      <a:pt x="133350" y="202406"/>
                    </a:lnTo>
                    <a:cubicBezTo>
                      <a:pt x="146611" y="175887"/>
                      <a:pt x="130767" y="209294"/>
                      <a:pt x="140494" y="183356"/>
                    </a:cubicBezTo>
                    <a:cubicBezTo>
                      <a:pt x="141740" y="180032"/>
                      <a:pt x="143939" y="177127"/>
                      <a:pt x="145257" y="173831"/>
                    </a:cubicBezTo>
                    <a:cubicBezTo>
                      <a:pt x="149121" y="164172"/>
                      <a:pt x="150062" y="159372"/>
                      <a:pt x="152400" y="150018"/>
                    </a:cubicBezTo>
                    <a:cubicBezTo>
                      <a:pt x="153194" y="142081"/>
                      <a:pt x="153901" y="134134"/>
                      <a:pt x="154782" y="126206"/>
                    </a:cubicBezTo>
                    <a:cubicBezTo>
                      <a:pt x="156807" y="107982"/>
                      <a:pt x="159996" y="98135"/>
                      <a:pt x="154782" y="78581"/>
                    </a:cubicBezTo>
                    <a:cubicBezTo>
                      <a:pt x="153297" y="73011"/>
                      <a:pt x="142040" y="68638"/>
                      <a:pt x="138113" y="66675"/>
                    </a:cubicBezTo>
                    <a:cubicBezTo>
                      <a:pt x="133350" y="61912"/>
                      <a:pt x="129429" y="56123"/>
                      <a:pt x="123825" y="52387"/>
                    </a:cubicBezTo>
                    <a:cubicBezTo>
                      <a:pt x="103361" y="38744"/>
                      <a:pt x="129250" y="55099"/>
                      <a:pt x="109538" y="45243"/>
                    </a:cubicBezTo>
                    <a:cubicBezTo>
                      <a:pt x="106978" y="43963"/>
                      <a:pt x="105025" y="41608"/>
                      <a:pt x="102394" y="40481"/>
                    </a:cubicBezTo>
                    <a:cubicBezTo>
                      <a:pt x="99386" y="39192"/>
                      <a:pt x="96016" y="38999"/>
                      <a:pt x="92869" y="38100"/>
                    </a:cubicBezTo>
                    <a:cubicBezTo>
                      <a:pt x="90455" y="37410"/>
                      <a:pt x="88106" y="36512"/>
                      <a:pt x="85725" y="35718"/>
                    </a:cubicBezTo>
                    <a:cubicBezTo>
                      <a:pt x="54478" y="12285"/>
                      <a:pt x="92433" y="39181"/>
                      <a:pt x="69057" y="26193"/>
                    </a:cubicBezTo>
                    <a:cubicBezTo>
                      <a:pt x="44500" y="12549"/>
                      <a:pt x="63787" y="19673"/>
                      <a:pt x="47625" y="14287"/>
                    </a:cubicBezTo>
                    <a:cubicBezTo>
                      <a:pt x="45244" y="11906"/>
                      <a:pt x="43284" y="9011"/>
                      <a:pt x="40482" y="7143"/>
                    </a:cubicBezTo>
                    <a:cubicBezTo>
                      <a:pt x="38393" y="5751"/>
                      <a:pt x="35645" y="5751"/>
                      <a:pt x="33338" y="4762"/>
                    </a:cubicBezTo>
                    <a:cubicBezTo>
                      <a:pt x="30075" y="3364"/>
                      <a:pt x="26988" y="1587"/>
                      <a:pt x="23813" y="0"/>
                    </a:cubicBezTo>
                    <a:cubicBezTo>
                      <a:pt x="4762" y="12699"/>
                      <a:pt x="27782" y="-3969"/>
                      <a:pt x="11907" y="11906"/>
                    </a:cubicBezTo>
                    <a:cubicBezTo>
                      <a:pt x="9883" y="13930"/>
                      <a:pt x="7144" y="15081"/>
                      <a:pt x="4763" y="16668"/>
                    </a:cubicBezTo>
                    <a:cubicBezTo>
                      <a:pt x="3969" y="20637"/>
                      <a:pt x="3260" y="24624"/>
                      <a:pt x="2382" y="28575"/>
                    </a:cubicBezTo>
                    <a:cubicBezTo>
                      <a:pt x="1672" y="31770"/>
                      <a:pt x="0" y="34827"/>
                      <a:pt x="0" y="38100"/>
                    </a:cubicBezTo>
                    <a:cubicBezTo>
                      <a:pt x="0" y="52129"/>
                      <a:pt x="3320" y="51866"/>
                      <a:pt x="7144" y="64293"/>
                    </a:cubicBezTo>
                    <a:cubicBezTo>
                      <a:pt x="14939" y="89627"/>
                      <a:pt x="7254" y="76363"/>
                      <a:pt x="16669" y="90487"/>
                    </a:cubicBezTo>
                    <a:cubicBezTo>
                      <a:pt x="22041" y="111972"/>
                      <a:pt x="19362" y="103327"/>
                      <a:pt x="23813" y="116681"/>
                    </a:cubicBezTo>
                    <a:cubicBezTo>
                      <a:pt x="24607" y="122237"/>
                      <a:pt x="25498" y="127781"/>
                      <a:pt x="26194" y="133350"/>
                    </a:cubicBezTo>
                    <a:cubicBezTo>
                      <a:pt x="27755" y="145840"/>
                      <a:pt x="26685" y="151956"/>
                      <a:pt x="30957" y="161925"/>
                    </a:cubicBezTo>
                    <a:cubicBezTo>
                      <a:pt x="32355" y="165188"/>
                      <a:pt x="33893" y="168406"/>
                      <a:pt x="35719" y="171450"/>
                    </a:cubicBezTo>
                    <a:cubicBezTo>
                      <a:pt x="42222" y="182289"/>
                      <a:pt x="45370" y="182735"/>
                      <a:pt x="47625" y="192881"/>
                    </a:cubicBezTo>
                    <a:cubicBezTo>
                      <a:pt x="49387" y="200809"/>
                      <a:pt x="51118" y="216217"/>
                      <a:pt x="52388" y="223837"/>
                    </a:cubicBezTo>
                    <a:cubicBezTo>
                      <a:pt x="53053" y="227829"/>
                      <a:pt x="53975" y="231774"/>
                      <a:pt x="54769" y="235743"/>
                    </a:cubicBezTo>
                    <a:cubicBezTo>
                      <a:pt x="53975" y="269081"/>
                      <a:pt x="54606" y="302483"/>
                      <a:pt x="52388" y="335756"/>
                    </a:cubicBezTo>
                    <a:cubicBezTo>
                      <a:pt x="52198" y="338612"/>
                      <a:pt x="48905" y="340340"/>
                      <a:pt x="47625" y="342900"/>
                    </a:cubicBezTo>
                    <a:cubicBezTo>
                      <a:pt x="46503" y="345145"/>
                      <a:pt x="46233" y="347736"/>
                      <a:pt x="45244" y="350043"/>
                    </a:cubicBezTo>
                    <a:cubicBezTo>
                      <a:pt x="43846" y="353306"/>
                      <a:pt x="41800" y="356272"/>
                      <a:pt x="40482" y="359568"/>
                    </a:cubicBezTo>
                    <a:cubicBezTo>
                      <a:pt x="31981" y="380821"/>
                      <a:pt x="40118" y="367256"/>
                      <a:pt x="30957" y="381000"/>
                    </a:cubicBezTo>
                    <a:cubicBezTo>
                      <a:pt x="33338" y="382587"/>
                      <a:pt x="35470" y="384635"/>
                      <a:pt x="38100" y="385762"/>
                    </a:cubicBezTo>
                    <a:cubicBezTo>
                      <a:pt x="42618" y="387698"/>
                      <a:pt x="58694" y="389988"/>
                      <a:pt x="61913" y="390525"/>
                    </a:cubicBezTo>
                    <a:cubicBezTo>
                      <a:pt x="69894" y="395845"/>
                      <a:pt x="82766" y="404234"/>
                      <a:pt x="88107" y="409575"/>
                    </a:cubicBezTo>
                    <a:cubicBezTo>
                      <a:pt x="90488" y="411956"/>
                      <a:pt x="93094" y="414131"/>
                      <a:pt x="95250" y="416718"/>
                    </a:cubicBezTo>
                    <a:cubicBezTo>
                      <a:pt x="98769" y="420941"/>
                      <a:pt x="102718" y="428588"/>
                      <a:pt x="104775" y="433387"/>
                    </a:cubicBezTo>
                    <a:cubicBezTo>
                      <a:pt x="105764" y="435694"/>
                      <a:pt x="106363" y="438150"/>
                      <a:pt x="107157" y="440531"/>
                    </a:cubicBezTo>
                    <a:cubicBezTo>
                      <a:pt x="107951" y="457993"/>
                      <a:pt x="107456" y="475562"/>
                      <a:pt x="109538" y="492918"/>
                    </a:cubicBezTo>
                    <a:cubicBezTo>
                      <a:pt x="109879" y="495760"/>
                      <a:pt x="113020" y="497502"/>
                      <a:pt x="114300" y="500062"/>
                    </a:cubicBezTo>
                    <a:cubicBezTo>
                      <a:pt x="123771" y="519004"/>
                      <a:pt x="112049" y="507292"/>
                      <a:pt x="133350" y="521493"/>
                    </a:cubicBezTo>
                    <a:lnTo>
                      <a:pt x="140494" y="526256"/>
                    </a:lnTo>
                    <a:cubicBezTo>
                      <a:pt x="153196" y="545308"/>
                      <a:pt x="136525" y="522287"/>
                      <a:pt x="152400" y="538162"/>
                    </a:cubicBezTo>
                    <a:cubicBezTo>
                      <a:pt x="165374" y="551136"/>
                      <a:pt x="153044" y="545521"/>
                      <a:pt x="166688" y="550068"/>
                    </a:cubicBezTo>
                    <a:cubicBezTo>
                      <a:pt x="169069" y="551656"/>
                      <a:pt x="171272" y="553551"/>
                      <a:pt x="173832" y="554831"/>
                    </a:cubicBezTo>
                    <a:cubicBezTo>
                      <a:pt x="176077" y="555953"/>
                      <a:pt x="179015" y="555644"/>
                      <a:pt x="180975" y="557212"/>
                    </a:cubicBezTo>
                    <a:cubicBezTo>
                      <a:pt x="183210" y="559000"/>
                      <a:pt x="183714" y="562332"/>
                      <a:pt x="185738" y="564356"/>
                    </a:cubicBezTo>
                    <a:cubicBezTo>
                      <a:pt x="187762" y="566380"/>
                      <a:pt x="190553" y="567455"/>
                      <a:pt x="192882" y="569118"/>
                    </a:cubicBezTo>
                    <a:cubicBezTo>
                      <a:pt x="211612" y="582496"/>
                      <a:pt x="194091" y="572017"/>
                      <a:pt x="209550" y="578643"/>
                    </a:cubicBezTo>
                    <a:cubicBezTo>
                      <a:pt x="211722" y="579574"/>
                      <a:pt x="222494" y="585787"/>
                      <a:pt x="226219" y="585787"/>
                    </a:cubicBezTo>
                    <a:cubicBezTo>
                      <a:pt x="227994" y="585787"/>
                      <a:pt x="221456" y="581818"/>
                      <a:pt x="219075" y="578643"/>
                    </a:cubicBezTo>
                    <a:close/>
                  </a:path>
                </a:pathLst>
              </a:custGeom>
              <a:grpFill/>
              <a:ln w="3175">
                <a:solidFill>
                  <a:srgbClr val="D9D9D9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65" name="Freeform 133">
                <a:extLst>
                  <a:ext uri="{FF2B5EF4-FFF2-40B4-BE49-F238E27FC236}">
                    <a16:creationId xmlns:a16="http://schemas.microsoft.com/office/drawing/2014/main" id="{3FE86B4B-FE51-45F6-9DDF-98B9B4BE31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17682" y="3361251"/>
                <a:ext cx="502597" cy="502597"/>
              </a:xfrm>
              <a:custGeom>
                <a:avLst/>
                <a:gdLst>
                  <a:gd name="T0" fmla="*/ 122 w 138"/>
                  <a:gd name="T1" fmla="*/ 17 h 138"/>
                  <a:gd name="T2" fmla="*/ 100 w 138"/>
                  <a:gd name="T3" fmla="*/ 6 h 138"/>
                  <a:gd name="T4" fmla="*/ 97 w 138"/>
                  <a:gd name="T5" fmla="*/ 22 h 138"/>
                  <a:gd name="T6" fmla="*/ 87 w 138"/>
                  <a:gd name="T7" fmla="*/ 29 h 138"/>
                  <a:gd name="T8" fmla="*/ 85 w 138"/>
                  <a:gd name="T9" fmla="*/ 40 h 138"/>
                  <a:gd name="T10" fmla="*/ 94 w 138"/>
                  <a:gd name="T11" fmla="*/ 38 h 138"/>
                  <a:gd name="T12" fmla="*/ 96 w 138"/>
                  <a:gd name="T13" fmla="*/ 31 h 138"/>
                  <a:gd name="T14" fmla="*/ 113 w 138"/>
                  <a:gd name="T15" fmla="*/ 32 h 138"/>
                  <a:gd name="T16" fmla="*/ 129 w 138"/>
                  <a:gd name="T17" fmla="*/ 23 h 138"/>
                  <a:gd name="T18" fmla="*/ 130 w 138"/>
                  <a:gd name="T19" fmla="*/ 15 h 138"/>
                  <a:gd name="T20" fmla="*/ 85 w 138"/>
                  <a:gd name="T21" fmla="*/ 58 h 138"/>
                  <a:gd name="T22" fmla="*/ 76 w 138"/>
                  <a:gd name="T23" fmla="*/ 77 h 138"/>
                  <a:gd name="T24" fmla="*/ 64 w 138"/>
                  <a:gd name="T25" fmla="*/ 80 h 138"/>
                  <a:gd name="T26" fmla="*/ 53 w 138"/>
                  <a:gd name="T27" fmla="*/ 94 h 138"/>
                  <a:gd name="T28" fmla="*/ 38 w 138"/>
                  <a:gd name="T29" fmla="*/ 97 h 138"/>
                  <a:gd name="T30" fmla="*/ 14 w 138"/>
                  <a:gd name="T31" fmla="*/ 107 h 138"/>
                  <a:gd name="T32" fmla="*/ 22 w 138"/>
                  <a:gd name="T33" fmla="*/ 110 h 138"/>
                  <a:gd name="T34" fmla="*/ 46 w 138"/>
                  <a:gd name="T35" fmla="*/ 112 h 138"/>
                  <a:gd name="T36" fmla="*/ 58 w 138"/>
                  <a:gd name="T37" fmla="*/ 106 h 138"/>
                  <a:gd name="T38" fmla="*/ 71 w 138"/>
                  <a:gd name="T39" fmla="*/ 104 h 138"/>
                  <a:gd name="T40" fmla="*/ 82 w 138"/>
                  <a:gd name="T41" fmla="*/ 100 h 138"/>
                  <a:gd name="T42" fmla="*/ 91 w 138"/>
                  <a:gd name="T43" fmla="*/ 87 h 138"/>
                  <a:gd name="T44" fmla="*/ 101 w 138"/>
                  <a:gd name="T45" fmla="*/ 66 h 138"/>
                  <a:gd name="T46" fmla="*/ 87 w 138"/>
                  <a:gd name="T47" fmla="*/ 47 h 138"/>
                  <a:gd name="T48" fmla="*/ 27 w 138"/>
                  <a:gd name="T49" fmla="*/ 111 h 138"/>
                  <a:gd name="T50" fmla="*/ 30 w 138"/>
                  <a:gd name="T51" fmla="*/ 120 h 138"/>
                  <a:gd name="T52" fmla="*/ 42 w 138"/>
                  <a:gd name="T53" fmla="*/ 110 h 138"/>
                  <a:gd name="T54" fmla="*/ 18 w 138"/>
                  <a:gd name="T55" fmla="*/ 119 h 138"/>
                  <a:gd name="T56" fmla="*/ 5 w 138"/>
                  <a:gd name="T57" fmla="*/ 116 h 138"/>
                  <a:gd name="T58" fmla="*/ 6 w 138"/>
                  <a:gd name="T59" fmla="*/ 119 h 138"/>
                  <a:gd name="T60" fmla="*/ 11 w 138"/>
                  <a:gd name="T61" fmla="*/ 137 h 138"/>
                  <a:gd name="T62" fmla="*/ 18 w 138"/>
                  <a:gd name="T63" fmla="*/ 11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8" h="138">
                    <a:moveTo>
                      <a:pt x="130" y="15"/>
                    </a:moveTo>
                    <a:cubicBezTo>
                      <a:pt x="129" y="13"/>
                      <a:pt x="126" y="16"/>
                      <a:pt x="122" y="17"/>
                    </a:cubicBezTo>
                    <a:cubicBezTo>
                      <a:pt x="119" y="17"/>
                      <a:pt x="108" y="8"/>
                      <a:pt x="105" y="4"/>
                    </a:cubicBezTo>
                    <a:cubicBezTo>
                      <a:pt x="102" y="0"/>
                      <a:pt x="97" y="3"/>
                      <a:pt x="100" y="6"/>
                    </a:cubicBezTo>
                    <a:cubicBezTo>
                      <a:pt x="102" y="9"/>
                      <a:pt x="99" y="10"/>
                      <a:pt x="99" y="15"/>
                    </a:cubicBezTo>
                    <a:cubicBezTo>
                      <a:pt x="99" y="19"/>
                      <a:pt x="96" y="19"/>
                      <a:pt x="97" y="22"/>
                    </a:cubicBezTo>
                    <a:cubicBezTo>
                      <a:pt x="97" y="25"/>
                      <a:pt x="93" y="24"/>
                      <a:pt x="90" y="25"/>
                    </a:cubicBezTo>
                    <a:cubicBezTo>
                      <a:pt x="87" y="25"/>
                      <a:pt x="90" y="28"/>
                      <a:pt x="87" y="29"/>
                    </a:cubicBezTo>
                    <a:cubicBezTo>
                      <a:pt x="84" y="31"/>
                      <a:pt x="84" y="33"/>
                      <a:pt x="85" y="34"/>
                    </a:cubicBezTo>
                    <a:cubicBezTo>
                      <a:pt x="87" y="35"/>
                      <a:pt x="86" y="38"/>
                      <a:pt x="85" y="40"/>
                    </a:cubicBezTo>
                    <a:cubicBezTo>
                      <a:pt x="85" y="42"/>
                      <a:pt x="88" y="41"/>
                      <a:pt x="90" y="39"/>
                    </a:cubicBezTo>
                    <a:cubicBezTo>
                      <a:pt x="91" y="36"/>
                      <a:pt x="93" y="40"/>
                      <a:pt x="94" y="38"/>
                    </a:cubicBezTo>
                    <a:cubicBezTo>
                      <a:pt x="94" y="35"/>
                      <a:pt x="89" y="34"/>
                      <a:pt x="89" y="32"/>
                    </a:cubicBezTo>
                    <a:cubicBezTo>
                      <a:pt x="89" y="29"/>
                      <a:pt x="93" y="32"/>
                      <a:pt x="96" y="31"/>
                    </a:cubicBezTo>
                    <a:cubicBezTo>
                      <a:pt x="99" y="30"/>
                      <a:pt x="104" y="31"/>
                      <a:pt x="108" y="34"/>
                    </a:cubicBezTo>
                    <a:cubicBezTo>
                      <a:pt x="111" y="37"/>
                      <a:pt x="112" y="36"/>
                      <a:pt x="113" y="32"/>
                    </a:cubicBezTo>
                    <a:cubicBezTo>
                      <a:pt x="114" y="28"/>
                      <a:pt x="119" y="26"/>
                      <a:pt x="125" y="26"/>
                    </a:cubicBezTo>
                    <a:cubicBezTo>
                      <a:pt x="130" y="26"/>
                      <a:pt x="131" y="24"/>
                      <a:pt x="129" y="23"/>
                    </a:cubicBezTo>
                    <a:cubicBezTo>
                      <a:pt x="127" y="21"/>
                      <a:pt x="138" y="15"/>
                      <a:pt x="138" y="13"/>
                    </a:cubicBezTo>
                    <a:cubicBezTo>
                      <a:pt x="138" y="11"/>
                      <a:pt x="132" y="17"/>
                      <a:pt x="130" y="15"/>
                    </a:cubicBezTo>
                    <a:close/>
                    <a:moveTo>
                      <a:pt x="87" y="47"/>
                    </a:moveTo>
                    <a:cubicBezTo>
                      <a:pt x="84" y="49"/>
                      <a:pt x="83" y="56"/>
                      <a:pt x="85" y="58"/>
                    </a:cubicBezTo>
                    <a:cubicBezTo>
                      <a:pt x="88" y="60"/>
                      <a:pt x="81" y="64"/>
                      <a:pt x="81" y="69"/>
                    </a:cubicBezTo>
                    <a:cubicBezTo>
                      <a:pt x="81" y="73"/>
                      <a:pt x="77" y="73"/>
                      <a:pt x="76" y="77"/>
                    </a:cubicBezTo>
                    <a:cubicBezTo>
                      <a:pt x="76" y="80"/>
                      <a:pt x="73" y="79"/>
                      <a:pt x="69" y="82"/>
                    </a:cubicBezTo>
                    <a:cubicBezTo>
                      <a:pt x="65" y="85"/>
                      <a:pt x="63" y="82"/>
                      <a:pt x="64" y="80"/>
                    </a:cubicBezTo>
                    <a:cubicBezTo>
                      <a:pt x="65" y="78"/>
                      <a:pt x="57" y="81"/>
                      <a:pt x="58" y="86"/>
                    </a:cubicBezTo>
                    <a:cubicBezTo>
                      <a:pt x="58" y="91"/>
                      <a:pt x="51" y="92"/>
                      <a:pt x="53" y="94"/>
                    </a:cubicBezTo>
                    <a:cubicBezTo>
                      <a:pt x="54" y="97"/>
                      <a:pt x="47" y="98"/>
                      <a:pt x="48" y="96"/>
                    </a:cubicBezTo>
                    <a:cubicBezTo>
                      <a:pt x="48" y="94"/>
                      <a:pt x="43" y="95"/>
                      <a:pt x="38" y="97"/>
                    </a:cubicBezTo>
                    <a:cubicBezTo>
                      <a:pt x="32" y="99"/>
                      <a:pt x="29" y="95"/>
                      <a:pt x="26" y="98"/>
                    </a:cubicBezTo>
                    <a:cubicBezTo>
                      <a:pt x="23" y="101"/>
                      <a:pt x="18" y="106"/>
                      <a:pt x="14" y="107"/>
                    </a:cubicBezTo>
                    <a:cubicBezTo>
                      <a:pt x="10" y="108"/>
                      <a:pt x="12" y="113"/>
                      <a:pt x="14" y="112"/>
                    </a:cubicBezTo>
                    <a:cubicBezTo>
                      <a:pt x="17" y="110"/>
                      <a:pt x="21" y="112"/>
                      <a:pt x="22" y="110"/>
                    </a:cubicBezTo>
                    <a:cubicBezTo>
                      <a:pt x="24" y="108"/>
                      <a:pt x="36" y="105"/>
                      <a:pt x="43" y="105"/>
                    </a:cubicBezTo>
                    <a:cubicBezTo>
                      <a:pt x="50" y="104"/>
                      <a:pt x="46" y="108"/>
                      <a:pt x="46" y="112"/>
                    </a:cubicBezTo>
                    <a:cubicBezTo>
                      <a:pt x="46" y="116"/>
                      <a:pt x="52" y="115"/>
                      <a:pt x="56" y="111"/>
                    </a:cubicBezTo>
                    <a:cubicBezTo>
                      <a:pt x="59" y="108"/>
                      <a:pt x="61" y="108"/>
                      <a:pt x="58" y="106"/>
                    </a:cubicBezTo>
                    <a:cubicBezTo>
                      <a:pt x="56" y="104"/>
                      <a:pt x="59" y="102"/>
                      <a:pt x="61" y="105"/>
                    </a:cubicBezTo>
                    <a:cubicBezTo>
                      <a:pt x="63" y="108"/>
                      <a:pt x="69" y="108"/>
                      <a:pt x="71" y="104"/>
                    </a:cubicBezTo>
                    <a:cubicBezTo>
                      <a:pt x="73" y="100"/>
                      <a:pt x="74" y="105"/>
                      <a:pt x="77" y="104"/>
                    </a:cubicBezTo>
                    <a:cubicBezTo>
                      <a:pt x="80" y="104"/>
                      <a:pt x="81" y="97"/>
                      <a:pt x="82" y="100"/>
                    </a:cubicBezTo>
                    <a:cubicBezTo>
                      <a:pt x="82" y="102"/>
                      <a:pt x="86" y="102"/>
                      <a:pt x="89" y="99"/>
                    </a:cubicBezTo>
                    <a:cubicBezTo>
                      <a:pt x="92" y="95"/>
                      <a:pt x="90" y="90"/>
                      <a:pt x="91" y="87"/>
                    </a:cubicBezTo>
                    <a:cubicBezTo>
                      <a:pt x="93" y="84"/>
                      <a:pt x="95" y="78"/>
                      <a:pt x="93" y="75"/>
                    </a:cubicBezTo>
                    <a:cubicBezTo>
                      <a:pt x="91" y="71"/>
                      <a:pt x="98" y="69"/>
                      <a:pt x="101" y="66"/>
                    </a:cubicBezTo>
                    <a:cubicBezTo>
                      <a:pt x="104" y="63"/>
                      <a:pt x="97" y="49"/>
                      <a:pt x="97" y="45"/>
                    </a:cubicBezTo>
                    <a:cubicBezTo>
                      <a:pt x="97" y="40"/>
                      <a:pt x="89" y="46"/>
                      <a:pt x="87" y="47"/>
                    </a:cubicBezTo>
                    <a:close/>
                    <a:moveTo>
                      <a:pt x="34" y="109"/>
                    </a:moveTo>
                    <a:cubicBezTo>
                      <a:pt x="33" y="112"/>
                      <a:pt x="31" y="111"/>
                      <a:pt x="27" y="111"/>
                    </a:cubicBezTo>
                    <a:cubicBezTo>
                      <a:pt x="23" y="112"/>
                      <a:pt x="23" y="121"/>
                      <a:pt x="26" y="122"/>
                    </a:cubicBezTo>
                    <a:cubicBezTo>
                      <a:pt x="28" y="123"/>
                      <a:pt x="29" y="123"/>
                      <a:pt x="30" y="120"/>
                    </a:cubicBezTo>
                    <a:cubicBezTo>
                      <a:pt x="31" y="117"/>
                      <a:pt x="35" y="116"/>
                      <a:pt x="37" y="117"/>
                    </a:cubicBezTo>
                    <a:cubicBezTo>
                      <a:pt x="39" y="119"/>
                      <a:pt x="42" y="114"/>
                      <a:pt x="42" y="110"/>
                    </a:cubicBezTo>
                    <a:cubicBezTo>
                      <a:pt x="42" y="107"/>
                      <a:pt x="35" y="107"/>
                      <a:pt x="34" y="109"/>
                    </a:cubicBezTo>
                    <a:close/>
                    <a:moveTo>
                      <a:pt x="18" y="119"/>
                    </a:moveTo>
                    <a:cubicBezTo>
                      <a:pt x="18" y="116"/>
                      <a:pt x="13" y="117"/>
                      <a:pt x="12" y="114"/>
                    </a:cubicBezTo>
                    <a:cubicBezTo>
                      <a:pt x="12" y="112"/>
                      <a:pt x="9" y="114"/>
                      <a:pt x="5" y="116"/>
                    </a:cubicBezTo>
                    <a:cubicBezTo>
                      <a:pt x="2" y="119"/>
                      <a:pt x="0" y="119"/>
                      <a:pt x="2" y="122"/>
                    </a:cubicBezTo>
                    <a:cubicBezTo>
                      <a:pt x="3" y="124"/>
                      <a:pt x="5" y="122"/>
                      <a:pt x="6" y="119"/>
                    </a:cubicBezTo>
                    <a:cubicBezTo>
                      <a:pt x="7" y="117"/>
                      <a:pt x="10" y="123"/>
                      <a:pt x="8" y="128"/>
                    </a:cubicBezTo>
                    <a:cubicBezTo>
                      <a:pt x="5" y="132"/>
                      <a:pt x="8" y="138"/>
                      <a:pt x="11" y="137"/>
                    </a:cubicBezTo>
                    <a:cubicBezTo>
                      <a:pt x="13" y="137"/>
                      <a:pt x="16" y="128"/>
                      <a:pt x="20" y="124"/>
                    </a:cubicBezTo>
                    <a:cubicBezTo>
                      <a:pt x="23" y="119"/>
                      <a:pt x="18" y="121"/>
                      <a:pt x="18" y="1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6" name="Freeform 81">
                <a:extLst>
                  <a:ext uri="{FF2B5EF4-FFF2-40B4-BE49-F238E27FC236}">
                    <a16:creationId xmlns:a16="http://schemas.microsoft.com/office/drawing/2014/main" id="{197E45A0-723D-480C-B405-9C79990F9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50026" y="3056821"/>
                <a:ext cx="120393" cy="105107"/>
              </a:xfrm>
              <a:custGeom>
                <a:avLst/>
                <a:gdLst>
                  <a:gd name="T0" fmla="*/ 10 w 33"/>
                  <a:gd name="T1" fmla="*/ 22 h 29"/>
                  <a:gd name="T2" fmla="*/ 16 w 33"/>
                  <a:gd name="T3" fmla="*/ 23 h 29"/>
                  <a:gd name="T4" fmla="*/ 21 w 33"/>
                  <a:gd name="T5" fmla="*/ 27 h 29"/>
                  <a:gd name="T6" fmla="*/ 23 w 33"/>
                  <a:gd name="T7" fmla="*/ 29 h 29"/>
                  <a:gd name="T8" fmla="*/ 24 w 33"/>
                  <a:gd name="T9" fmla="*/ 23 h 29"/>
                  <a:gd name="T10" fmla="*/ 25 w 33"/>
                  <a:gd name="T11" fmla="*/ 19 h 29"/>
                  <a:gd name="T12" fmla="*/ 29 w 33"/>
                  <a:gd name="T13" fmla="*/ 17 h 29"/>
                  <a:gd name="T14" fmla="*/ 31 w 33"/>
                  <a:gd name="T15" fmla="*/ 14 h 29"/>
                  <a:gd name="T16" fmla="*/ 28 w 33"/>
                  <a:gd name="T17" fmla="*/ 10 h 29"/>
                  <a:gd name="T18" fmla="*/ 32 w 33"/>
                  <a:gd name="T19" fmla="*/ 6 h 29"/>
                  <a:gd name="T20" fmla="*/ 32 w 33"/>
                  <a:gd name="T21" fmla="*/ 0 h 29"/>
                  <a:gd name="T22" fmla="*/ 30 w 33"/>
                  <a:gd name="T23" fmla="*/ 1 h 29"/>
                  <a:gd name="T24" fmla="*/ 22 w 33"/>
                  <a:gd name="T25" fmla="*/ 2 h 29"/>
                  <a:gd name="T26" fmla="*/ 18 w 33"/>
                  <a:gd name="T27" fmla="*/ 7 h 29"/>
                  <a:gd name="T28" fmla="*/ 15 w 33"/>
                  <a:gd name="T29" fmla="*/ 7 h 29"/>
                  <a:gd name="T30" fmla="*/ 11 w 33"/>
                  <a:gd name="T31" fmla="*/ 9 h 29"/>
                  <a:gd name="T32" fmla="*/ 7 w 33"/>
                  <a:gd name="T33" fmla="*/ 16 h 29"/>
                  <a:gd name="T34" fmla="*/ 1 w 33"/>
                  <a:gd name="T35" fmla="*/ 23 h 29"/>
                  <a:gd name="T36" fmla="*/ 0 w 33"/>
                  <a:gd name="T37" fmla="*/ 24 h 29"/>
                  <a:gd name="T38" fmla="*/ 3 w 33"/>
                  <a:gd name="T39" fmla="*/ 25 h 29"/>
                  <a:gd name="T40" fmla="*/ 10 w 33"/>
                  <a:gd name="T41" fmla="*/ 2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9">
                    <a:moveTo>
                      <a:pt x="10" y="22"/>
                    </a:moveTo>
                    <a:cubicBezTo>
                      <a:pt x="12" y="21"/>
                      <a:pt x="14" y="22"/>
                      <a:pt x="16" y="23"/>
                    </a:cubicBezTo>
                    <a:cubicBezTo>
                      <a:pt x="17" y="25"/>
                      <a:pt x="19" y="25"/>
                      <a:pt x="21" y="27"/>
                    </a:cubicBezTo>
                    <a:cubicBezTo>
                      <a:pt x="22" y="28"/>
                      <a:pt x="23" y="28"/>
                      <a:pt x="23" y="29"/>
                    </a:cubicBezTo>
                    <a:cubicBezTo>
                      <a:pt x="23" y="27"/>
                      <a:pt x="23" y="24"/>
                      <a:pt x="24" y="23"/>
                    </a:cubicBezTo>
                    <a:cubicBezTo>
                      <a:pt x="25" y="21"/>
                      <a:pt x="23" y="19"/>
                      <a:pt x="25" y="19"/>
                    </a:cubicBezTo>
                    <a:cubicBezTo>
                      <a:pt x="26" y="19"/>
                      <a:pt x="29" y="19"/>
                      <a:pt x="29" y="17"/>
                    </a:cubicBezTo>
                    <a:cubicBezTo>
                      <a:pt x="29" y="14"/>
                      <a:pt x="30" y="15"/>
                      <a:pt x="31" y="14"/>
                    </a:cubicBezTo>
                    <a:cubicBezTo>
                      <a:pt x="31" y="13"/>
                      <a:pt x="29" y="10"/>
                      <a:pt x="28" y="10"/>
                    </a:cubicBezTo>
                    <a:cubicBezTo>
                      <a:pt x="28" y="9"/>
                      <a:pt x="30" y="9"/>
                      <a:pt x="32" y="6"/>
                    </a:cubicBezTo>
                    <a:cubicBezTo>
                      <a:pt x="33" y="5"/>
                      <a:pt x="33" y="3"/>
                      <a:pt x="32" y="0"/>
                    </a:cubicBezTo>
                    <a:cubicBezTo>
                      <a:pt x="32" y="1"/>
                      <a:pt x="31" y="2"/>
                      <a:pt x="30" y="1"/>
                    </a:cubicBezTo>
                    <a:cubicBezTo>
                      <a:pt x="28" y="0"/>
                      <a:pt x="25" y="1"/>
                      <a:pt x="22" y="2"/>
                    </a:cubicBezTo>
                    <a:cubicBezTo>
                      <a:pt x="18" y="2"/>
                      <a:pt x="17" y="6"/>
                      <a:pt x="18" y="7"/>
                    </a:cubicBezTo>
                    <a:cubicBezTo>
                      <a:pt x="20" y="9"/>
                      <a:pt x="15" y="9"/>
                      <a:pt x="15" y="7"/>
                    </a:cubicBezTo>
                    <a:cubicBezTo>
                      <a:pt x="14" y="5"/>
                      <a:pt x="11" y="7"/>
                      <a:pt x="11" y="9"/>
                    </a:cubicBezTo>
                    <a:cubicBezTo>
                      <a:pt x="11" y="12"/>
                      <a:pt x="7" y="13"/>
                      <a:pt x="7" y="16"/>
                    </a:cubicBezTo>
                    <a:cubicBezTo>
                      <a:pt x="8" y="19"/>
                      <a:pt x="4" y="22"/>
                      <a:pt x="1" y="23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" y="25"/>
                      <a:pt x="2" y="25"/>
                      <a:pt x="3" y="25"/>
                    </a:cubicBezTo>
                    <a:cubicBezTo>
                      <a:pt x="5" y="25"/>
                      <a:pt x="9" y="24"/>
                      <a:pt x="1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6D5F5145-BC39-4D0C-9C25-B2950BFF4B88}"/>
                  </a:ext>
                </a:extLst>
              </p:cNvPr>
              <p:cNvSpPr/>
              <p:nvPr/>
            </p:nvSpPr>
            <p:spPr>
              <a:xfrm>
                <a:off x="18606652" y="4461088"/>
                <a:ext cx="1099676" cy="1231215"/>
              </a:xfrm>
              <a:custGeom>
                <a:avLst/>
                <a:gdLst>
                  <a:gd name="connsiteX0" fmla="*/ 31394 w 1075334"/>
                  <a:gd name="connsiteY0" fmla="*/ 121920 h 1203960"/>
                  <a:gd name="connsiteX1" fmla="*/ 39014 w 1075334"/>
                  <a:gd name="connsiteY1" fmla="*/ 190500 h 1203960"/>
                  <a:gd name="connsiteX2" fmla="*/ 46634 w 1075334"/>
                  <a:gd name="connsiteY2" fmla="*/ 236220 h 1203960"/>
                  <a:gd name="connsiteX3" fmla="*/ 115214 w 1075334"/>
                  <a:gd name="connsiteY3" fmla="*/ 297180 h 1203960"/>
                  <a:gd name="connsiteX4" fmla="*/ 160934 w 1075334"/>
                  <a:gd name="connsiteY4" fmla="*/ 312420 h 1203960"/>
                  <a:gd name="connsiteX5" fmla="*/ 153314 w 1075334"/>
                  <a:gd name="connsiteY5" fmla="*/ 403860 h 1203960"/>
                  <a:gd name="connsiteX6" fmla="*/ 138074 w 1075334"/>
                  <a:gd name="connsiteY6" fmla="*/ 449580 h 1203960"/>
                  <a:gd name="connsiteX7" fmla="*/ 130454 w 1075334"/>
                  <a:gd name="connsiteY7" fmla="*/ 525780 h 1203960"/>
                  <a:gd name="connsiteX8" fmla="*/ 138074 w 1075334"/>
                  <a:gd name="connsiteY8" fmla="*/ 548640 h 1203960"/>
                  <a:gd name="connsiteX9" fmla="*/ 160934 w 1075334"/>
                  <a:gd name="connsiteY9" fmla="*/ 563880 h 1203960"/>
                  <a:gd name="connsiteX10" fmla="*/ 176174 w 1075334"/>
                  <a:gd name="connsiteY10" fmla="*/ 586740 h 1203960"/>
                  <a:gd name="connsiteX11" fmla="*/ 183794 w 1075334"/>
                  <a:gd name="connsiteY11" fmla="*/ 617220 h 1203960"/>
                  <a:gd name="connsiteX12" fmla="*/ 191414 w 1075334"/>
                  <a:gd name="connsiteY12" fmla="*/ 701040 h 1203960"/>
                  <a:gd name="connsiteX13" fmla="*/ 229514 w 1075334"/>
                  <a:gd name="connsiteY13" fmla="*/ 731520 h 1203960"/>
                  <a:gd name="connsiteX14" fmla="*/ 282854 w 1075334"/>
                  <a:gd name="connsiteY14" fmla="*/ 762000 h 1203960"/>
                  <a:gd name="connsiteX15" fmla="*/ 328574 w 1075334"/>
                  <a:gd name="connsiteY15" fmla="*/ 784860 h 1203960"/>
                  <a:gd name="connsiteX16" fmla="*/ 343814 w 1075334"/>
                  <a:gd name="connsiteY16" fmla="*/ 807720 h 1203960"/>
                  <a:gd name="connsiteX17" fmla="*/ 389534 w 1075334"/>
                  <a:gd name="connsiteY17" fmla="*/ 845820 h 1203960"/>
                  <a:gd name="connsiteX18" fmla="*/ 442874 w 1075334"/>
                  <a:gd name="connsiteY18" fmla="*/ 906780 h 1203960"/>
                  <a:gd name="connsiteX19" fmla="*/ 450494 w 1075334"/>
                  <a:gd name="connsiteY19" fmla="*/ 960120 h 1203960"/>
                  <a:gd name="connsiteX20" fmla="*/ 480974 w 1075334"/>
                  <a:gd name="connsiteY20" fmla="*/ 1005840 h 1203960"/>
                  <a:gd name="connsiteX21" fmla="*/ 496214 w 1075334"/>
                  <a:gd name="connsiteY21" fmla="*/ 1028700 h 1203960"/>
                  <a:gd name="connsiteX22" fmla="*/ 503834 w 1075334"/>
                  <a:gd name="connsiteY22" fmla="*/ 1051560 h 1203960"/>
                  <a:gd name="connsiteX23" fmla="*/ 549554 w 1075334"/>
                  <a:gd name="connsiteY23" fmla="*/ 1074420 h 1203960"/>
                  <a:gd name="connsiteX24" fmla="*/ 572414 w 1075334"/>
                  <a:gd name="connsiteY24" fmla="*/ 1120140 h 1203960"/>
                  <a:gd name="connsiteX25" fmla="*/ 587654 w 1075334"/>
                  <a:gd name="connsiteY25" fmla="*/ 1143000 h 1203960"/>
                  <a:gd name="connsiteX26" fmla="*/ 595274 w 1075334"/>
                  <a:gd name="connsiteY26" fmla="*/ 1165860 h 1203960"/>
                  <a:gd name="connsiteX27" fmla="*/ 618134 w 1075334"/>
                  <a:gd name="connsiteY27" fmla="*/ 1188720 h 1203960"/>
                  <a:gd name="connsiteX28" fmla="*/ 663854 w 1075334"/>
                  <a:gd name="connsiteY28" fmla="*/ 1203960 h 1203960"/>
                  <a:gd name="connsiteX29" fmla="*/ 679094 w 1075334"/>
                  <a:gd name="connsiteY29" fmla="*/ 1158240 h 1203960"/>
                  <a:gd name="connsiteX30" fmla="*/ 686714 w 1075334"/>
                  <a:gd name="connsiteY30" fmla="*/ 1135380 h 1203960"/>
                  <a:gd name="connsiteX31" fmla="*/ 694334 w 1075334"/>
                  <a:gd name="connsiteY31" fmla="*/ 1097280 h 1203960"/>
                  <a:gd name="connsiteX32" fmla="*/ 740054 w 1075334"/>
                  <a:gd name="connsiteY32" fmla="*/ 1059180 h 1203960"/>
                  <a:gd name="connsiteX33" fmla="*/ 762914 w 1075334"/>
                  <a:gd name="connsiteY33" fmla="*/ 1051560 h 1203960"/>
                  <a:gd name="connsiteX34" fmla="*/ 785774 w 1075334"/>
                  <a:gd name="connsiteY34" fmla="*/ 1036320 h 1203960"/>
                  <a:gd name="connsiteX35" fmla="*/ 846734 w 1075334"/>
                  <a:gd name="connsiteY35" fmla="*/ 1021080 h 1203960"/>
                  <a:gd name="connsiteX36" fmla="*/ 892454 w 1075334"/>
                  <a:gd name="connsiteY36" fmla="*/ 1013460 h 1203960"/>
                  <a:gd name="connsiteX37" fmla="*/ 907694 w 1075334"/>
                  <a:gd name="connsiteY37" fmla="*/ 990600 h 1203960"/>
                  <a:gd name="connsiteX38" fmla="*/ 922934 w 1075334"/>
                  <a:gd name="connsiteY38" fmla="*/ 944880 h 1203960"/>
                  <a:gd name="connsiteX39" fmla="*/ 938174 w 1075334"/>
                  <a:gd name="connsiteY39" fmla="*/ 922020 h 1203960"/>
                  <a:gd name="connsiteX40" fmla="*/ 945794 w 1075334"/>
                  <a:gd name="connsiteY40" fmla="*/ 838200 h 1203960"/>
                  <a:gd name="connsiteX41" fmla="*/ 953414 w 1075334"/>
                  <a:gd name="connsiteY41" fmla="*/ 807720 h 1203960"/>
                  <a:gd name="connsiteX42" fmla="*/ 945794 w 1075334"/>
                  <a:gd name="connsiteY42" fmla="*/ 777240 h 1203960"/>
                  <a:gd name="connsiteX43" fmla="*/ 976274 w 1075334"/>
                  <a:gd name="connsiteY43" fmla="*/ 685800 h 1203960"/>
                  <a:gd name="connsiteX44" fmla="*/ 999134 w 1075334"/>
                  <a:gd name="connsiteY44" fmla="*/ 678180 h 1203960"/>
                  <a:gd name="connsiteX45" fmla="*/ 1029614 w 1075334"/>
                  <a:gd name="connsiteY45" fmla="*/ 685800 h 1203960"/>
                  <a:gd name="connsiteX46" fmla="*/ 1037234 w 1075334"/>
                  <a:gd name="connsiteY46" fmla="*/ 662940 h 1203960"/>
                  <a:gd name="connsiteX47" fmla="*/ 1075334 w 1075334"/>
                  <a:gd name="connsiteY47" fmla="*/ 624840 h 1203960"/>
                  <a:gd name="connsiteX48" fmla="*/ 1060094 w 1075334"/>
                  <a:gd name="connsiteY48" fmla="*/ 541020 h 1203960"/>
                  <a:gd name="connsiteX49" fmla="*/ 1052474 w 1075334"/>
                  <a:gd name="connsiteY49" fmla="*/ 518160 h 1203960"/>
                  <a:gd name="connsiteX50" fmla="*/ 1029614 w 1075334"/>
                  <a:gd name="connsiteY50" fmla="*/ 510540 h 1203960"/>
                  <a:gd name="connsiteX51" fmla="*/ 983894 w 1075334"/>
                  <a:gd name="connsiteY51" fmla="*/ 480060 h 1203960"/>
                  <a:gd name="connsiteX52" fmla="*/ 930554 w 1075334"/>
                  <a:gd name="connsiteY52" fmla="*/ 441960 h 1203960"/>
                  <a:gd name="connsiteX53" fmla="*/ 900074 w 1075334"/>
                  <a:gd name="connsiteY53" fmla="*/ 426720 h 1203960"/>
                  <a:gd name="connsiteX54" fmla="*/ 823874 w 1075334"/>
                  <a:gd name="connsiteY54" fmla="*/ 434340 h 1203960"/>
                  <a:gd name="connsiteX55" fmla="*/ 778154 w 1075334"/>
                  <a:gd name="connsiteY55" fmla="*/ 419100 h 1203960"/>
                  <a:gd name="connsiteX56" fmla="*/ 770534 w 1075334"/>
                  <a:gd name="connsiteY56" fmla="*/ 388620 h 1203960"/>
                  <a:gd name="connsiteX57" fmla="*/ 724814 w 1075334"/>
                  <a:gd name="connsiteY57" fmla="*/ 365760 h 1203960"/>
                  <a:gd name="connsiteX58" fmla="*/ 648614 w 1075334"/>
                  <a:gd name="connsiteY58" fmla="*/ 365760 h 1203960"/>
                  <a:gd name="connsiteX59" fmla="*/ 640994 w 1075334"/>
                  <a:gd name="connsiteY59" fmla="*/ 342900 h 1203960"/>
                  <a:gd name="connsiteX60" fmla="*/ 602894 w 1075334"/>
                  <a:gd name="connsiteY60" fmla="*/ 350520 h 1203960"/>
                  <a:gd name="connsiteX61" fmla="*/ 618134 w 1075334"/>
                  <a:gd name="connsiteY61" fmla="*/ 304800 h 1203960"/>
                  <a:gd name="connsiteX62" fmla="*/ 587654 w 1075334"/>
                  <a:gd name="connsiteY62" fmla="*/ 251460 h 1203960"/>
                  <a:gd name="connsiteX63" fmla="*/ 526694 w 1075334"/>
                  <a:gd name="connsiteY63" fmla="*/ 182880 h 1203960"/>
                  <a:gd name="connsiteX64" fmla="*/ 465734 w 1075334"/>
                  <a:gd name="connsiteY64" fmla="*/ 175260 h 1203960"/>
                  <a:gd name="connsiteX65" fmla="*/ 442874 w 1075334"/>
                  <a:gd name="connsiteY65" fmla="*/ 167640 h 1203960"/>
                  <a:gd name="connsiteX66" fmla="*/ 420014 w 1075334"/>
                  <a:gd name="connsiteY66" fmla="*/ 121920 h 1203960"/>
                  <a:gd name="connsiteX67" fmla="*/ 359054 w 1075334"/>
                  <a:gd name="connsiteY67" fmla="*/ 106680 h 1203960"/>
                  <a:gd name="connsiteX68" fmla="*/ 336194 w 1075334"/>
                  <a:gd name="connsiteY68" fmla="*/ 99060 h 1203960"/>
                  <a:gd name="connsiteX69" fmla="*/ 320954 w 1075334"/>
                  <a:gd name="connsiteY69" fmla="*/ 76200 h 1203960"/>
                  <a:gd name="connsiteX70" fmla="*/ 199034 w 1075334"/>
                  <a:gd name="connsiteY70" fmla="*/ 45720 h 1203960"/>
                  <a:gd name="connsiteX71" fmla="*/ 183794 w 1075334"/>
                  <a:gd name="connsiteY71" fmla="*/ 22860 h 1203960"/>
                  <a:gd name="connsiteX72" fmla="*/ 69494 w 1075334"/>
                  <a:gd name="connsiteY72" fmla="*/ 0 h 1203960"/>
                  <a:gd name="connsiteX73" fmla="*/ 8534 w 1075334"/>
                  <a:gd name="connsiteY73" fmla="*/ 7620 h 1203960"/>
                  <a:gd name="connsiteX74" fmla="*/ 914 w 1075334"/>
                  <a:gd name="connsiteY74" fmla="*/ 30480 h 1203960"/>
                  <a:gd name="connsiteX75" fmla="*/ 23774 w 1075334"/>
                  <a:gd name="connsiteY75" fmla="*/ 53340 h 1203960"/>
                  <a:gd name="connsiteX76" fmla="*/ 39014 w 1075334"/>
                  <a:gd name="connsiteY76" fmla="*/ 76200 h 1203960"/>
                  <a:gd name="connsiteX77" fmla="*/ 31394 w 1075334"/>
                  <a:gd name="connsiteY77" fmla="*/ 121920 h 1203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075334" h="1203960">
                    <a:moveTo>
                      <a:pt x="31394" y="121920"/>
                    </a:moveTo>
                    <a:cubicBezTo>
                      <a:pt x="31394" y="140970"/>
                      <a:pt x="35974" y="167701"/>
                      <a:pt x="39014" y="190500"/>
                    </a:cubicBezTo>
                    <a:cubicBezTo>
                      <a:pt x="41056" y="205815"/>
                      <a:pt x="38849" y="222874"/>
                      <a:pt x="46634" y="236220"/>
                    </a:cubicBezTo>
                    <a:cubicBezTo>
                      <a:pt x="52669" y="246566"/>
                      <a:pt x="94036" y="287767"/>
                      <a:pt x="115214" y="297180"/>
                    </a:cubicBezTo>
                    <a:cubicBezTo>
                      <a:pt x="129894" y="303704"/>
                      <a:pt x="160934" y="312420"/>
                      <a:pt x="160934" y="312420"/>
                    </a:cubicBezTo>
                    <a:cubicBezTo>
                      <a:pt x="158394" y="342900"/>
                      <a:pt x="158342" y="373691"/>
                      <a:pt x="153314" y="403860"/>
                    </a:cubicBezTo>
                    <a:cubicBezTo>
                      <a:pt x="150673" y="419706"/>
                      <a:pt x="141034" y="433791"/>
                      <a:pt x="138074" y="449580"/>
                    </a:cubicBezTo>
                    <a:cubicBezTo>
                      <a:pt x="133370" y="474669"/>
                      <a:pt x="132994" y="500380"/>
                      <a:pt x="130454" y="525780"/>
                    </a:cubicBezTo>
                    <a:cubicBezTo>
                      <a:pt x="132994" y="533400"/>
                      <a:pt x="133056" y="542368"/>
                      <a:pt x="138074" y="548640"/>
                    </a:cubicBezTo>
                    <a:cubicBezTo>
                      <a:pt x="143795" y="555791"/>
                      <a:pt x="154458" y="557404"/>
                      <a:pt x="160934" y="563880"/>
                    </a:cubicBezTo>
                    <a:cubicBezTo>
                      <a:pt x="167410" y="570356"/>
                      <a:pt x="171094" y="579120"/>
                      <a:pt x="176174" y="586740"/>
                    </a:cubicBezTo>
                    <a:cubicBezTo>
                      <a:pt x="178714" y="596900"/>
                      <a:pt x="182410" y="606839"/>
                      <a:pt x="183794" y="617220"/>
                    </a:cubicBezTo>
                    <a:cubicBezTo>
                      <a:pt x="187502" y="645029"/>
                      <a:pt x="185536" y="673608"/>
                      <a:pt x="191414" y="701040"/>
                    </a:cubicBezTo>
                    <a:cubicBezTo>
                      <a:pt x="197202" y="728048"/>
                      <a:pt x="210164" y="723227"/>
                      <a:pt x="229514" y="731520"/>
                    </a:cubicBezTo>
                    <a:cubicBezTo>
                      <a:pt x="323028" y="771597"/>
                      <a:pt x="206327" y="723736"/>
                      <a:pt x="282854" y="762000"/>
                    </a:cubicBezTo>
                    <a:cubicBezTo>
                      <a:pt x="345950" y="793548"/>
                      <a:pt x="263060" y="741184"/>
                      <a:pt x="328574" y="784860"/>
                    </a:cubicBezTo>
                    <a:cubicBezTo>
                      <a:pt x="333654" y="792480"/>
                      <a:pt x="337338" y="801244"/>
                      <a:pt x="343814" y="807720"/>
                    </a:cubicBezTo>
                    <a:cubicBezTo>
                      <a:pt x="387841" y="851747"/>
                      <a:pt x="345842" y="789645"/>
                      <a:pt x="389534" y="845820"/>
                    </a:cubicBezTo>
                    <a:cubicBezTo>
                      <a:pt x="437403" y="907366"/>
                      <a:pt x="398619" y="877277"/>
                      <a:pt x="442874" y="906780"/>
                    </a:cubicBezTo>
                    <a:cubicBezTo>
                      <a:pt x="445414" y="924560"/>
                      <a:pt x="444047" y="943357"/>
                      <a:pt x="450494" y="960120"/>
                    </a:cubicBezTo>
                    <a:cubicBezTo>
                      <a:pt x="457069" y="977215"/>
                      <a:pt x="470814" y="990600"/>
                      <a:pt x="480974" y="1005840"/>
                    </a:cubicBezTo>
                    <a:cubicBezTo>
                      <a:pt x="486054" y="1013460"/>
                      <a:pt x="493318" y="1020012"/>
                      <a:pt x="496214" y="1028700"/>
                    </a:cubicBezTo>
                    <a:cubicBezTo>
                      <a:pt x="498754" y="1036320"/>
                      <a:pt x="498816" y="1045288"/>
                      <a:pt x="503834" y="1051560"/>
                    </a:cubicBezTo>
                    <a:cubicBezTo>
                      <a:pt x="514577" y="1064989"/>
                      <a:pt x="534495" y="1069400"/>
                      <a:pt x="549554" y="1074420"/>
                    </a:cubicBezTo>
                    <a:cubicBezTo>
                      <a:pt x="593230" y="1139934"/>
                      <a:pt x="540866" y="1057044"/>
                      <a:pt x="572414" y="1120140"/>
                    </a:cubicBezTo>
                    <a:cubicBezTo>
                      <a:pt x="576510" y="1128331"/>
                      <a:pt x="583558" y="1134809"/>
                      <a:pt x="587654" y="1143000"/>
                    </a:cubicBezTo>
                    <a:cubicBezTo>
                      <a:pt x="591246" y="1150184"/>
                      <a:pt x="590819" y="1159177"/>
                      <a:pt x="595274" y="1165860"/>
                    </a:cubicBezTo>
                    <a:cubicBezTo>
                      <a:pt x="601252" y="1174826"/>
                      <a:pt x="608714" y="1183487"/>
                      <a:pt x="618134" y="1188720"/>
                    </a:cubicBezTo>
                    <a:cubicBezTo>
                      <a:pt x="632177" y="1196522"/>
                      <a:pt x="663854" y="1203960"/>
                      <a:pt x="663854" y="1203960"/>
                    </a:cubicBezTo>
                    <a:lnTo>
                      <a:pt x="679094" y="1158240"/>
                    </a:lnTo>
                    <a:cubicBezTo>
                      <a:pt x="681634" y="1150620"/>
                      <a:pt x="685139" y="1143256"/>
                      <a:pt x="686714" y="1135380"/>
                    </a:cubicBezTo>
                    <a:cubicBezTo>
                      <a:pt x="689254" y="1122680"/>
                      <a:pt x="688542" y="1108864"/>
                      <a:pt x="694334" y="1097280"/>
                    </a:cubicBezTo>
                    <a:cubicBezTo>
                      <a:pt x="699951" y="1086045"/>
                      <a:pt x="728384" y="1065015"/>
                      <a:pt x="740054" y="1059180"/>
                    </a:cubicBezTo>
                    <a:cubicBezTo>
                      <a:pt x="747238" y="1055588"/>
                      <a:pt x="755730" y="1055152"/>
                      <a:pt x="762914" y="1051560"/>
                    </a:cubicBezTo>
                    <a:cubicBezTo>
                      <a:pt x="771105" y="1047464"/>
                      <a:pt x="778154" y="1041400"/>
                      <a:pt x="785774" y="1036320"/>
                    </a:cubicBezTo>
                    <a:cubicBezTo>
                      <a:pt x="800379" y="992505"/>
                      <a:pt x="782524" y="1021080"/>
                      <a:pt x="846734" y="1021080"/>
                    </a:cubicBezTo>
                    <a:cubicBezTo>
                      <a:pt x="862184" y="1021080"/>
                      <a:pt x="877214" y="1016000"/>
                      <a:pt x="892454" y="1013460"/>
                    </a:cubicBezTo>
                    <a:cubicBezTo>
                      <a:pt x="897534" y="1005840"/>
                      <a:pt x="903975" y="998969"/>
                      <a:pt x="907694" y="990600"/>
                    </a:cubicBezTo>
                    <a:cubicBezTo>
                      <a:pt x="914218" y="975920"/>
                      <a:pt x="914023" y="958246"/>
                      <a:pt x="922934" y="944880"/>
                    </a:cubicBezTo>
                    <a:lnTo>
                      <a:pt x="938174" y="922020"/>
                    </a:lnTo>
                    <a:cubicBezTo>
                      <a:pt x="940714" y="894080"/>
                      <a:pt x="942086" y="866009"/>
                      <a:pt x="945794" y="838200"/>
                    </a:cubicBezTo>
                    <a:cubicBezTo>
                      <a:pt x="947178" y="827819"/>
                      <a:pt x="953414" y="818193"/>
                      <a:pt x="953414" y="807720"/>
                    </a:cubicBezTo>
                    <a:cubicBezTo>
                      <a:pt x="953414" y="797247"/>
                      <a:pt x="948334" y="787400"/>
                      <a:pt x="945794" y="777240"/>
                    </a:cubicBezTo>
                    <a:cubicBezTo>
                      <a:pt x="952169" y="713492"/>
                      <a:pt x="932948" y="707463"/>
                      <a:pt x="976274" y="685800"/>
                    </a:cubicBezTo>
                    <a:cubicBezTo>
                      <a:pt x="983458" y="682208"/>
                      <a:pt x="991514" y="680720"/>
                      <a:pt x="999134" y="678180"/>
                    </a:cubicBezTo>
                    <a:cubicBezTo>
                      <a:pt x="1009294" y="680720"/>
                      <a:pt x="1019890" y="689689"/>
                      <a:pt x="1029614" y="685800"/>
                    </a:cubicBezTo>
                    <a:cubicBezTo>
                      <a:pt x="1037072" y="682817"/>
                      <a:pt x="1033642" y="670124"/>
                      <a:pt x="1037234" y="662940"/>
                    </a:cubicBezTo>
                    <a:cubicBezTo>
                      <a:pt x="1049934" y="637540"/>
                      <a:pt x="1052474" y="640080"/>
                      <a:pt x="1075334" y="624840"/>
                    </a:cubicBezTo>
                    <a:cubicBezTo>
                      <a:pt x="1069167" y="581671"/>
                      <a:pt x="1070359" y="576948"/>
                      <a:pt x="1060094" y="541020"/>
                    </a:cubicBezTo>
                    <a:cubicBezTo>
                      <a:pt x="1057887" y="533297"/>
                      <a:pt x="1058154" y="523840"/>
                      <a:pt x="1052474" y="518160"/>
                    </a:cubicBezTo>
                    <a:cubicBezTo>
                      <a:pt x="1046794" y="512480"/>
                      <a:pt x="1037234" y="513080"/>
                      <a:pt x="1029614" y="510540"/>
                    </a:cubicBezTo>
                    <a:cubicBezTo>
                      <a:pt x="986279" y="467205"/>
                      <a:pt x="1028005" y="502116"/>
                      <a:pt x="983894" y="480060"/>
                    </a:cubicBezTo>
                    <a:cubicBezTo>
                      <a:pt x="967774" y="472000"/>
                      <a:pt x="944360" y="450589"/>
                      <a:pt x="930554" y="441960"/>
                    </a:cubicBezTo>
                    <a:cubicBezTo>
                      <a:pt x="920921" y="435940"/>
                      <a:pt x="910234" y="431800"/>
                      <a:pt x="900074" y="426720"/>
                    </a:cubicBezTo>
                    <a:cubicBezTo>
                      <a:pt x="874674" y="429260"/>
                      <a:pt x="849351" y="435932"/>
                      <a:pt x="823874" y="434340"/>
                    </a:cubicBezTo>
                    <a:cubicBezTo>
                      <a:pt x="807841" y="433338"/>
                      <a:pt x="778154" y="419100"/>
                      <a:pt x="778154" y="419100"/>
                    </a:cubicBezTo>
                    <a:cubicBezTo>
                      <a:pt x="775614" y="408940"/>
                      <a:pt x="776343" y="397334"/>
                      <a:pt x="770534" y="388620"/>
                    </a:cubicBezTo>
                    <a:cubicBezTo>
                      <a:pt x="762093" y="375959"/>
                      <a:pt x="737854" y="370107"/>
                      <a:pt x="724814" y="365760"/>
                    </a:cubicBezTo>
                    <a:cubicBezTo>
                      <a:pt x="715566" y="367081"/>
                      <a:pt x="665239" y="382385"/>
                      <a:pt x="648614" y="365760"/>
                    </a:cubicBezTo>
                    <a:cubicBezTo>
                      <a:pt x="642934" y="360080"/>
                      <a:pt x="643534" y="350520"/>
                      <a:pt x="640994" y="342900"/>
                    </a:cubicBezTo>
                    <a:cubicBezTo>
                      <a:pt x="628294" y="345440"/>
                      <a:pt x="609557" y="361626"/>
                      <a:pt x="602894" y="350520"/>
                    </a:cubicBezTo>
                    <a:cubicBezTo>
                      <a:pt x="594629" y="336745"/>
                      <a:pt x="618134" y="304800"/>
                      <a:pt x="618134" y="304800"/>
                    </a:cubicBezTo>
                    <a:cubicBezTo>
                      <a:pt x="604804" y="251481"/>
                      <a:pt x="621105" y="294469"/>
                      <a:pt x="587654" y="251460"/>
                    </a:cubicBezTo>
                    <a:cubicBezTo>
                      <a:pt x="570164" y="228973"/>
                      <a:pt x="557935" y="193294"/>
                      <a:pt x="526694" y="182880"/>
                    </a:cubicBezTo>
                    <a:cubicBezTo>
                      <a:pt x="507267" y="176404"/>
                      <a:pt x="486054" y="177800"/>
                      <a:pt x="465734" y="175260"/>
                    </a:cubicBezTo>
                    <a:cubicBezTo>
                      <a:pt x="458114" y="172720"/>
                      <a:pt x="448554" y="173320"/>
                      <a:pt x="442874" y="167640"/>
                    </a:cubicBezTo>
                    <a:cubicBezTo>
                      <a:pt x="424842" y="149608"/>
                      <a:pt x="448279" y="136053"/>
                      <a:pt x="420014" y="121920"/>
                    </a:cubicBezTo>
                    <a:cubicBezTo>
                      <a:pt x="401280" y="112553"/>
                      <a:pt x="378925" y="113304"/>
                      <a:pt x="359054" y="106680"/>
                    </a:cubicBezTo>
                    <a:lnTo>
                      <a:pt x="336194" y="99060"/>
                    </a:lnTo>
                    <a:cubicBezTo>
                      <a:pt x="331114" y="91440"/>
                      <a:pt x="325050" y="84391"/>
                      <a:pt x="320954" y="76200"/>
                    </a:cubicBezTo>
                    <a:cubicBezTo>
                      <a:pt x="291072" y="16436"/>
                      <a:pt x="369777" y="57103"/>
                      <a:pt x="199034" y="45720"/>
                    </a:cubicBezTo>
                    <a:cubicBezTo>
                      <a:pt x="193954" y="38100"/>
                      <a:pt x="190270" y="29336"/>
                      <a:pt x="183794" y="22860"/>
                    </a:cubicBezTo>
                    <a:cubicBezTo>
                      <a:pt x="153052" y="-7882"/>
                      <a:pt x="111392" y="3491"/>
                      <a:pt x="69494" y="0"/>
                    </a:cubicBezTo>
                    <a:cubicBezTo>
                      <a:pt x="49174" y="2540"/>
                      <a:pt x="27247" y="-697"/>
                      <a:pt x="8534" y="7620"/>
                    </a:cubicBezTo>
                    <a:cubicBezTo>
                      <a:pt x="1194" y="10882"/>
                      <a:pt x="-1626" y="22860"/>
                      <a:pt x="914" y="30480"/>
                    </a:cubicBezTo>
                    <a:cubicBezTo>
                      <a:pt x="4322" y="40703"/>
                      <a:pt x="16875" y="45061"/>
                      <a:pt x="23774" y="53340"/>
                    </a:cubicBezTo>
                    <a:cubicBezTo>
                      <a:pt x="29637" y="60375"/>
                      <a:pt x="33934" y="68580"/>
                      <a:pt x="39014" y="76200"/>
                    </a:cubicBezTo>
                    <a:cubicBezTo>
                      <a:pt x="30016" y="112190"/>
                      <a:pt x="31394" y="102870"/>
                      <a:pt x="31394" y="121920"/>
                    </a:cubicBezTo>
                    <a:close/>
                  </a:path>
                </a:pathLst>
              </a:custGeom>
              <a:grpFill/>
              <a:ln w="3175">
                <a:solidFill>
                  <a:srgbClr val="D9D9D9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68" name="Freeform 120">
                <a:extLst>
                  <a:ext uri="{FF2B5EF4-FFF2-40B4-BE49-F238E27FC236}">
                    <a16:creationId xmlns:a16="http://schemas.microsoft.com/office/drawing/2014/main" id="{1D74282E-D585-4DDC-A5AE-E84B599E8A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468086" y="3436774"/>
                <a:ext cx="374556" cy="269454"/>
              </a:xfrm>
              <a:custGeom>
                <a:avLst/>
                <a:gdLst>
                  <a:gd name="T0" fmla="*/ 102 w 103"/>
                  <a:gd name="T1" fmla="*/ 13 h 74"/>
                  <a:gd name="T2" fmla="*/ 94 w 103"/>
                  <a:gd name="T3" fmla="*/ 13 h 74"/>
                  <a:gd name="T4" fmla="*/ 84 w 103"/>
                  <a:gd name="T5" fmla="*/ 10 h 74"/>
                  <a:gd name="T6" fmla="*/ 81 w 103"/>
                  <a:gd name="T7" fmla="*/ 10 h 74"/>
                  <a:gd name="T8" fmla="*/ 74 w 103"/>
                  <a:gd name="T9" fmla="*/ 10 h 74"/>
                  <a:gd name="T10" fmla="*/ 66 w 103"/>
                  <a:gd name="T11" fmla="*/ 6 h 74"/>
                  <a:gd name="T12" fmla="*/ 62 w 103"/>
                  <a:gd name="T13" fmla="*/ 4 h 74"/>
                  <a:gd name="T14" fmla="*/ 48 w 103"/>
                  <a:gd name="T15" fmla="*/ 3 h 74"/>
                  <a:gd name="T16" fmla="*/ 21 w 103"/>
                  <a:gd name="T17" fmla="*/ 2 h 74"/>
                  <a:gd name="T18" fmla="*/ 12 w 103"/>
                  <a:gd name="T19" fmla="*/ 0 h 74"/>
                  <a:gd name="T20" fmla="*/ 5 w 103"/>
                  <a:gd name="T21" fmla="*/ 4 h 74"/>
                  <a:gd name="T22" fmla="*/ 3 w 103"/>
                  <a:gd name="T23" fmla="*/ 10 h 74"/>
                  <a:gd name="T24" fmla="*/ 5 w 103"/>
                  <a:gd name="T25" fmla="*/ 18 h 74"/>
                  <a:gd name="T26" fmla="*/ 7 w 103"/>
                  <a:gd name="T27" fmla="*/ 17 h 74"/>
                  <a:gd name="T28" fmla="*/ 10 w 103"/>
                  <a:gd name="T29" fmla="*/ 17 h 74"/>
                  <a:gd name="T30" fmla="*/ 15 w 103"/>
                  <a:gd name="T31" fmla="*/ 18 h 74"/>
                  <a:gd name="T32" fmla="*/ 18 w 103"/>
                  <a:gd name="T33" fmla="*/ 18 h 74"/>
                  <a:gd name="T34" fmla="*/ 23 w 103"/>
                  <a:gd name="T35" fmla="*/ 19 h 74"/>
                  <a:gd name="T36" fmla="*/ 25 w 103"/>
                  <a:gd name="T37" fmla="*/ 22 h 74"/>
                  <a:gd name="T38" fmla="*/ 20 w 103"/>
                  <a:gd name="T39" fmla="*/ 27 h 74"/>
                  <a:gd name="T40" fmla="*/ 20 w 103"/>
                  <a:gd name="T41" fmla="*/ 34 h 74"/>
                  <a:gd name="T42" fmla="*/ 19 w 103"/>
                  <a:gd name="T43" fmla="*/ 40 h 74"/>
                  <a:gd name="T44" fmla="*/ 17 w 103"/>
                  <a:gd name="T45" fmla="*/ 43 h 74"/>
                  <a:gd name="T46" fmla="*/ 19 w 103"/>
                  <a:gd name="T47" fmla="*/ 47 h 74"/>
                  <a:gd name="T48" fmla="*/ 17 w 103"/>
                  <a:gd name="T49" fmla="*/ 52 h 74"/>
                  <a:gd name="T50" fmla="*/ 19 w 103"/>
                  <a:gd name="T51" fmla="*/ 56 h 74"/>
                  <a:gd name="T52" fmla="*/ 16 w 103"/>
                  <a:gd name="T53" fmla="*/ 61 h 74"/>
                  <a:gd name="T54" fmla="*/ 17 w 103"/>
                  <a:gd name="T55" fmla="*/ 63 h 74"/>
                  <a:gd name="T56" fmla="*/ 21 w 103"/>
                  <a:gd name="T57" fmla="*/ 64 h 74"/>
                  <a:gd name="T58" fmla="*/ 31 w 103"/>
                  <a:gd name="T59" fmla="*/ 73 h 74"/>
                  <a:gd name="T60" fmla="*/ 33 w 103"/>
                  <a:gd name="T61" fmla="*/ 70 h 74"/>
                  <a:gd name="T62" fmla="*/ 37 w 103"/>
                  <a:gd name="T63" fmla="*/ 70 h 74"/>
                  <a:gd name="T64" fmla="*/ 45 w 103"/>
                  <a:gd name="T65" fmla="*/ 67 h 74"/>
                  <a:gd name="T66" fmla="*/ 55 w 103"/>
                  <a:gd name="T67" fmla="*/ 67 h 74"/>
                  <a:gd name="T68" fmla="*/ 61 w 103"/>
                  <a:gd name="T69" fmla="*/ 64 h 74"/>
                  <a:gd name="T70" fmla="*/ 67 w 103"/>
                  <a:gd name="T71" fmla="*/ 60 h 74"/>
                  <a:gd name="T72" fmla="*/ 70 w 103"/>
                  <a:gd name="T73" fmla="*/ 54 h 74"/>
                  <a:gd name="T74" fmla="*/ 76 w 103"/>
                  <a:gd name="T75" fmla="*/ 48 h 74"/>
                  <a:gd name="T76" fmla="*/ 76 w 103"/>
                  <a:gd name="T77" fmla="*/ 36 h 74"/>
                  <a:gd name="T78" fmla="*/ 83 w 103"/>
                  <a:gd name="T79" fmla="*/ 28 h 74"/>
                  <a:gd name="T80" fmla="*/ 90 w 103"/>
                  <a:gd name="T81" fmla="*/ 24 h 74"/>
                  <a:gd name="T82" fmla="*/ 99 w 103"/>
                  <a:gd name="T83" fmla="*/ 20 h 74"/>
                  <a:gd name="T84" fmla="*/ 102 w 103"/>
                  <a:gd name="T85" fmla="*/ 13 h 74"/>
                  <a:gd name="T86" fmla="*/ 103 w 103"/>
                  <a:gd name="T87" fmla="*/ 39 h 74"/>
                  <a:gd name="T88" fmla="*/ 96 w 103"/>
                  <a:gd name="T89" fmla="*/ 41 h 74"/>
                  <a:gd name="T90" fmla="*/ 103 w 103"/>
                  <a:gd name="T9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3" h="74">
                    <a:moveTo>
                      <a:pt x="102" y="13"/>
                    </a:moveTo>
                    <a:cubicBezTo>
                      <a:pt x="99" y="13"/>
                      <a:pt x="96" y="13"/>
                      <a:pt x="94" y="13"/>
                    </a:cubicBezTo>
                    <a:cubicBezTo>
                      <a:pt x="91" y="12"/>
                      <a:pt x="86" y="12"/>
                      <a:pt x="84" y="10"/>
                    </a:cubicBezTo>
                    <a:cubicBezTo>
                      <a:pt x="83" y="9"/>
                      <a:pt x="81" y="8"/>
                      <a:pt x="81" y="10"/>
                    </a:cubicBezTo>
                    <a:cubicBezTo>
                      <a:pt x="81" y="11"/>
                      <a:pt x="77" y="12"/>
                      <a:pt x="74" y="10"/>
                    </a:cubicBezTo>
                    <a:cubicBezTo>
                      <a:pt x="72" y="9"/>
                      <a:pt x="68" y="8"/>
                      <a:pt x="66" y="6"/>
                    </a:cubicBezTo>
                    <a:cubicBezTo>
                      <a:pt x="66" y="6"/>
                      <a:pt x="64" y="5"/>
                      <a:pt x="62" y="4"/>
                    </a:cubicBezTo>
                    <a:cubicBezTo>
                      <a:pt x="59" y="5"/>
                      <a:pt x="53" y="2"/>
                      <a:pt x="48" y="3"/>
                    </a:cubicBezTo>
                    <a:cubicBezTo>
                      <a:pt x="43" y="3"/>
                      <a:pt x="28" y="2"/>
                      <a:pt x="21" y="2"/>
                    </a:cubicBezTo>
                    <a:cubicBezTo>
                      <a:pt x="15" y="3"/>
                      <a:pt x="15" y="0"/>
                      <a:pt x="12" y="0"/>
                    </a:cubicBezTo>
                    <a:cubicBezTo>
                      <a:pt x="8" y="0"/>
                      <a:pt x="10" y="4"/>
                      <a:pt x="5" y="4"/>
                    </a:cubicBezTo>
                    <a:cubicBezTo>
                      <a:pt x="0" y="4"/>
                      <a:pt x="0" y="7"/>
                      <a:pt x="3" y="10"/>
                    </a:cubicBezTo>
                    <a:cubicBezTo>
                      <a:pt x="5" y="11"/>
                      <a:pt x="5" y="15"/>
                      <a:pt x="5" y="18"/>
                    </a:cubicBezTo>
                    <a:cubicBezTo>
                      <a:pt x="6" y="18"/>
                      <a:pt x="6" y="17"/>
                      <a:pt x="7" y="17"/>
                    </a:cubicBezTo>
                    <a:cubicBezTo>
                      <a:pt x="8" y="15"/>
                      <a:pt x="10" y="15"/>
                      <a:pt x="10" y="17"/>
                    </a:cubicBezTo>
                    <a:cubicBezTo>
                      <a:pt x="10" y="19"/>
                      <a:pt x="13" y="18"/>
                      <a:pt x="15" y="18"/>
                    </a:cubicBezTo>
                    <a:cubicBezTo>
                      <a:pt x="16" y="18"/>
                      <a:pt x="16" y="20"/>
                      <a:pt x="18" y="18"/>
                    </a:cubicBezTo>
                    <a:cubicBezTo>
                      <a:pt x="20" y="17"/>
                      <a:pt x="23" y="17"/>
                      <a:pt x="23" y="19"/>
                    </a:cubicBezTo>
                    <a:cubicBezTo>
                      <a:pt x="23" y="21"/>
                      <a:pt x="27" y="20"/>
                      <a:pt x="25" y="22"/>
                    </a:cubicBezTo>
                    <a:cubicBezTo>
                      <a:pt x="22" y="25"/>
                      <a:pt x="20" y="25"/>
                      <a:pt x="20" y="27"/>
                    </a:cubicBezTo>
                    <a:cubicBezTo>
                      <a:pt x="20" y="29"/>
                      <a:pt x="22" y="32"/>
                      <a:pt x="20" y="34"/>
                    </a:cubicBezTo>
                    <a:cubicBezTo>
                      <a:pt x="18" y="36"/>
                      <a:pt x="21" y="40"/>
                      <a:pt x="19" y="40"/>
                    </a:cubicBezTo>
                    <a:cubicBezTo>
                      <a:pt x="17" y="40"/>
                      <a:pt x="14" y="41"/>
                      <a:pt x="17" y="43"/>
                    </a:cubicBezTo>
                    <a:cubicBezTo>
                      <a:pt x="19" y="45"/>
                      <a:pt x="21" y="47"/>
                      <a:pt x="19" y="47"/>
                    </a:cubicBezTo>
                    <a:cubicBezTo>
                      <a:pt x="17" y="47"/>
                      <a:pt x="16" y="51"/>
                      <a:pt x="17" y="52"/>
                    </a:cubicBezTo>
                    <a:cubicBezTo>
                      <a:pt x="18" y="53"/>
                      <a:pt x="22" y="55"/>
                      <a:pt x="19" y="56"/>
                    </a:cubicBezTo>
                    <a:cubicBezTo>
                      <a:pt x="16" y="56"/>
                      <a:pt x="16" y="59"/>
                      <a:pt x="16" y="61"/>
                    </a:cubicBezTo>
                    <a:cubicBezTo>
                      <a:pt x="16" y="61"/>
                      <a:pt x="16" y="62"/>
                      <a:pt x="17" y="63"/>
                    </a:cubicBezTo>
                    <a:cubicBezTo>
                      <a:pt x="18" y="63"/>
                      <a:pt x="20" y="63"/>
                      <a:pt x="21" y="64"/>
                    </a:cubicBezTo>
                    <a:cubicBezTo>
                      <a:pt x="24" y="65"/>
                      <a:pt x="26" y="74"/>
                      <a:pt x="31" y="73"/>
                    </a:cubicBezTo>
                    <a:cubicBezTo>
                      <a:pt x="33" y="73"/>
                      <a:pt x="32" y="71"/>
                      <a:pt x="33" y="70"/>
                    </a:cubicBezTo>
                    <a:cubicBezTo>
                      <a:pt x="34" y="69"/>
                      <a:pt x="35" y="70"/>
                      <a:pt x="37" y="70"/>
                    </a:cubicBezTo>
                    <a:cubicBezTo>
                      <a:pt x="39" y="70"/>
                      <a:pt x="40" y="67"/>
                      <a:pt x="45" y="67"/>
                    </a:cubicBezTo>
                    <a:cubicBezTo>
                      <a:pt x="49" y="67"/>
                      <a:pt x="52" y="67"/>
                      <a:pt x="55" y="67"/>
                    </a:cubicBezTo>
                    <a:cubicBezTo>
                      <a:pt x="58" y="67"/>
                      <a:pt x="60" y="66"/>
                      <a:pt x="61" y="64"/>
                    </a:cubicBezTo>
                    <a:cubicBezTo>
                      <a:pt x="61" y="62"/>
                      <a:pt x="64" y="60"/>
                      <a:pt x="67" y="60"/>
                    </a:cubicBezTo>
                    <a:cubicBezTo>
                      <a:pt x="70" y="59"/>
                      <a:pt x="70" y="56"/>
                      <a:pt x="70" y="54"/>
                    </a:cubicBezTo>
                    <a:cubicBezTo>
                      <a:pt x="70" y="52"/>
                      <a:pt x="76" y="49"/>
                      <a:pt x="76" y="48"/>
                    </a:cubicBezTo>
                    <a:cubicBezTo>
                      <a:pt x="76" y="46"/>
                      <a:pt x="73" y="41"/>
                      <a:pt x="76" y="36"/>
                    </a:cubicBezTo>
                    <a:cubicBezTo>
                      <a:pt x="79" y="31"/>
                      <a:pt x="83" y="31"/>
                      <a:pt x="83" y="28"/>
                    </a:cubicBezTo>
                    <a:cubicBezTo>
                      <a:pt x="83" y="26"/>
                      <a:pt x="86" y="25"/>
                      <a:pt x="90" y="24"/>
                    </a:cubicBezTo>
                    <a:cubicBezTo>
                      <a:pt x="94" y="24"/>
                      <a:pt x="95" y="21"/>
                      <a:pt x="99" y="20"/>
                    </a:cubicBezTo>
                    <a:cubicBezTo>
                      <a:pt x="102" y="19"/>
                      <a:pt x="103" y="16"/>
                      <a:pt x="102" y="13"/>
                    </a:cubicBezTo>
                    <a:close/>
                    <a:moveTo>
                      <a:pt x="103" y="39"/>
                    </a:moveTo>
                    <a:cubicBezTo>
                      <a:pt x="102" y="35"/>
                      <a:pt x="94" y="40"/>
                      <a:pt x="96" y="41"/>
                    </a:cubicBezTo>
                    <a:cubicBezTo>
                      <a:pt x="99" y="44"/>
                      <a:pt x="103" y="43"/>
                      <a:pt x="103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9" name="Freeform 118">
                <a:extLst>
                  <a:ext uri="{FF2B5EF4-FFF2-40B4-BE49-F238E27FC236}">
                    <a16:creationId xmlns:a16="http://schemas.microsoft.com/office/drawing/2014/main" id="{54653BA2-D452-4A26-9D6C-5BFA25429B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611879" y="1475840"/>
                <a:ext cx="2612355" cy="2008477"/>
              </a:xfrm>
              <a:custGeom>
                <a:avLst/>
                <a:gdLst>
                  <a:gd name="T0" fmla="*/ 146 w 717"/>
                  <a:gd name="T1" fmla="*/ 487 h 552"/>
                  <a:gd name="T2" fmla="*/ 135 w 717"/>
                  <a:gd name="T3" fmla="*/ 162 h 552"/>
                  <a:gd name="T4" fmla="*/ 276 w 717"/>
                  <a:gd name="T5" fmla="*/ 179 h 552"/>
                  <a:gd name="T6" fmla="*/ 183 w 717"/>
                  <a:gd name="T7" fmla="*/ 191 h 552"/>
                  <a:gd name="T8" fmla="*/ 275 w 717"/>
                  <a:gd name="T9" fmla="*/ 238 h 552"/>
                  <a:gd name="T10" fmla="*/ 169 w 717"/>
                  <a:gd name="T11" fmla="*/ 138 h 552"/>
                  <a:gd name="T12" fmla="*/ 148 w 717"/>
                  <a:gd name="T13" fmla="*/ 132 h 552"/>
                  <a:gd name="T14" fmla="*/ 263 w 717"/>
                  <a:gd name="T15" fmla="*/ 152 h 552"/>
                  <a:gd name="T16" fmla="*/ 212 w 717"/>
                  <a:gd name="T17" fmla="*/ 102 h 552"/>
                  <a:gd name="T18" fmla="*/ 294 w 717"/>
                  <a:gd name="T19" fmla="*/ 85 h 552"/>
                  <a:gd name="T20" fmla="*/ 297 w 717"/>
                  <a:gd name="T21" fmla="*/ 115 h 552"/>
                  <a:gd name="T22" fmla="*/ 299 w 717"/>
                  <a:gd name="T23" fmla="*/ 132 h 552"/>
                  <a:gd name="T24" fmla="*/ 387 w 717"/>
                  <a:gd name="T25" fmla="*/ 105 h 552"/>
                  <a:gd name="T26" fmla="*/ 351 w 717"/>
                  <a:gd name="T27" fmla="*/ 165 h 552"/>
                  <a:gd name="T28" fmla="*/ 490 w 717"/>
                  <a:gd name="T29" fmla="*/ 156 h 552"/>
                  <a:gd name="T30" fmla="*/ 414 w 717"/>
                  <a:gd name="T31" fmla="*/ 108 h 552"/>
                  <a:gd name="T32" fmla="*/ 426 w 717"/>
                  <a:gd name="T33" fmla="*/ 59 h 552"/>
                  <a:gd name="T34" fmla="*/ 418 w 717"/>
                  <a:gd name="T35" fmla="*/ 47 h 552"/>
                  <a:gd name="T36" fmla="*/ 452 w 717"/>
                  <a:gd name="T37" fmla="*/ 86 h 552"/>
                  <a:gd name="T38" fmla="*/ 498 w 717"/>
                  <a:gd name="T39" fmla="*/ 128 h 552"/>
                  <a:gd name="T40" fmla="*/ 567 w 717"/>
                  <a:gd name="T41" fmla="*/ 62 h 552"/>
                  <a:gd name="T42" fmla="*/ 542 w 717"/>
                  <a:gd name="T43" fmla="*/ 6 h 552"/>
                  <a:gd name="T44" fmla="*/ 406 w 717"/>
                  <a:gd name="T45" fmla="*/ 32 h 552"/>
                  <a:gd name="T46" fmla="*/ 445 w 717"/>
                  <a:gd name="T47" fmla="*/ 314 h 552"/>
                  <a:gd name="T48" fmla="*/ 590 w 717"/>
                  <a:gd name="T49" fmla="*/ 242 h 552"/>
                  <a:gd name="T50" fmla="*/ 532 w 717"/>
                  <a:gd name="T51" fmla="*/ 194 h 552"/>
                  <a:gd name="T52" fmla="*/ 445 w 717"/>
                  <a:gd name="T53" fmla="*/ 178 h 552"/>
                  <a:gd name="T54" fmla="*/ 502 w 717"/>
                  <a:gd name="T55" fmla="*/ 220 h 552"/>
                  <a:gd name="T56" fmla="*/ 525 w 717"/>
                  <a:gd name="T57" fmla="*/ 292 h 552"/>
                  <a:gd name="T58" fmla="*/ 606 w 717"/>
                  <a:gd name="T59" fmla="*/ 298 h 552"/>
                  <a:gd name="T60" fmla="*/ 487 w 717"/>
                  <a:gd name="T61" fmla="*/ 171 h 552"/>
                  <a:gd name="T62" fmla="*/ 687 w 717"/>
                  <a:gd name="T63" fmla="*/ 457 h 552"/>
                  <a:gd name="T64" fmla="*/ 78 w 717"/>
                  <a:gd name="T65" fmla="*/ 448 h 552"/>
                  <a:gd name="T66" fmla="*/ 585 w 717"/>
                  <a:gd name="T67" fmla="*/ 489 h 552"/>
                  <a:gd name="T68" fmla="*/ 687 w 717"/>
                  <a:gd name="T69" fmla="*/ 434 h 552"/>
                  <a:gd name="T70" fmla="*/ 638 w 717"/>
                  <a:gd name="T71" fmla="*/ 399 h 552"/>
                  <a:gd name="T72" fmla="*/ 602 w 717"/>
                  <a:gd name="T73" fmla="*/ 376 h 552"/>
                  <a:gd name="T74" fmla="*/ 544 w 717"/>
                  <a:gd name="T75" fmla="*/ 330 h 552"/>
                  <a:gd name="T76" fmla="*/ 519 w 717"/>
                  <a:gd name="T77" fmla="*/ 387 h 552"/>
                  <a:gd name="T78" fmla="*/ 475 w 717"/>
                  <a:gd name="T79" fmla="*/ 440 h 552"/>
                  <a:gd name="T80" fmla="*/ 384 w 717"/>
                  <a:gd name="T81" fmla="*/ 375 h 552"/>
                  <a:gd name="T82" fmla="*/ 413 w 717"/>
                  <a:gd name="T83" fmla="*/ 307 h 552"/>
                  <a:gd name="T84" fmla="*/ 463 w 717"/>
                  <a:gd name="T85" fmla="*/ 276 h 552"/>
                  <a:gd name="T86" fmla="*/ 454 w 717"/>
                  <a:gd name="T87" fmla="*/ 242 h 552"/>
                  <a:gd name="T88" fmla="*/ 413 w 717"/>
                  <a:gd name="T89" fmla="*/ 245 h 552"/>
                  <a:gd name="T90" fmla="*/ 383 w 717"/>
                  <a:gd name="T91" fmla="*/ 193 h 552"/>
                  <a:gd name="T92" fmla="*/ 369 w 717"/>
                  <a:gd name="T93" fmla="*/ 208 h 552"/>
                  <a:gd name="T94" fmla="*/ 362 w 717"/>
                  <a:gd name="T95" fmla="*/ 259 h 552"/>
                  <a:gd name="T96" fmla="*/ 351 w 717"/>
                  <a:gd name="T97" fmla="*/ 248 h 552"/>
                  <a:gd name="T98" fmla="*/ 285 w 717"/>
                  <a:gd name="T99" fmla="*/ 248 h 552"/>
                  <a:gd name="T100" fmla="*/ 191 w 717"/>
                  <a:gd name="T101" fmla="*/ 242 h 552"/>
                  <a:gd name="T102" fmla="*/ 69 w 717"/>
                  <a:gd name="T103" fmla="*/ 243 h 552"/>
                  <a:gd name="T104" fmla="*/ 33 w 717"/>
                  <a:gd name="T105" fmla="*/ 243 h 552"/>
                  <a:gd name="T106" fmla="*/ 90 w 717"/>
                  <a:gd name="T107" fmla="*/ 419 h 552"/>
                  <a:gd name="T108" fmla="*/ 129 w 717"/>
                  <a:gd name="T109" fmla="*/ 469 h 552"/>
                  <a:gd name="T110" fmla="*/ 444 w 717"/>
                  <a:gd name="T111" fmla="*/ 491 h 552"/>
                  <a:gd name="T112" fmla="*/ 500 w 717"/>
                  <a:gd name="T113" fmla="*/ 546 h 552"/>
                  <a:gd name="T114" fmla="*/ 617 w 717"/>
                  <a:gd name="T115" fmla="*/ 515 h 552"/>
                  <a:gd name="T116" fmla="*/ 173 w 717"/>
                  <a:gd name="T117" fmla="*/ 290 h 552"/>
                  <a:gd name="T118" fmla="*/ 172 w 717"/>
                  <a:gd name="T119" fmla="*/ 279 h 552"/>
                  <a:gd name="T120" fmla="*/ 359 w 717"/>
                  <a:gd name="T121" fmla="*/ 468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17" h="552">
                    <a:moveTo>
                      <a:pt x="141" y="484"/>
                    </a:moveTo>
                    <a:cubicBezTo>
                      <a:pt x="139" y="481"/>
                      <a:pt x="133" y="482"/>
                      <a:pt x="132" y="479"/>
                    </a:cubicBezTo>
                    <a:cubicBezTo>
                      <a:pt x="131" y="477"/>
                      <a:pt x="126" y="469"/>
                      <a:pt x="123" y="469"/>
                    </a:cubicBezTo>
                    <a:cubicBezTo>
                      <a:pt x="120" y="469"/>
                      <a:pt x="116" y="469"/>
                      <a:pt x="112" y="467"/>
                    </a:cubicBezTo>
                    <a:cubicBezTo>
                      <a:pt x="109" y="464"/>
                      <a:pt x="106" y="464"/>
                      <a:pt x="104" y="465"/>
                    </a:cubicBezTo>
                    <a:cubicBezTo>
                      <a:pt x="101" y="467"/>
                      <a:pt x="106" y="467"/>
                      <a:pt x="106" y="469"/>
                    </a:cubicBezTo>
                    <a:cubicBezTo>
                      <a:pt x="106" y="471"/>
                      <a:pt x="108" y="472"/>
                      <a:pt x="110" y="472"/>
                    </a:cubicBezTo>
                    <a:cubicBezTo>
                      <a:pt x="112" y="471"/>
                      <a:pt x="113" y="476"/>
                      <a:pt x="115" y="476"/>
                    </a:cubicBezTo>
                    <a:cubicBezTo>
                      <a:pt x="118" y="476"/>
                      <a:pt x="118" y="479"/>
                      <a:pt x="121" y="479"/>
                    </a:cubicBezTo>
                    <a:cubicBezTo>
                      <a:pt x="123" y="479"/>
                      <a:pt x="124" y="482"/>
                      <a:pt x="125" y="484"/>
                    </a:cubicBezTo>
                    <a:cubicBezTo>
                      <a:pt x="126" y="486"/>
                      <a:pt x="129" y="484"/>
                      <a:pt x="129" y="486"/>
                    </a:cubicBezTo>
                    <a:cubicBezTo>
                      <a:pt x="129" y="487"/>
                      <a:pt x="132" y="488"/>
                      <a:pt x="133" y="490"/>
                    </a:cubicBezTo>
                    <a:cubicBezTo>
                      <a:pt x="138" y="491"/>
                      <a:pt x="142" y="491"/>
                      <a:pt x="145" y="490"/>
                    </a:cubicBezTo>
                    <a:cubicBezTo>
                      <a:pt x="146" y="489"/>
                      <a:pt x="146" y="488"/>
                      <a:pt x="146" y="487"/>
                    </a:cubicBezTo>
                    <a:cubicBezTo>
                      <a:pt x="148" y="485"/>
                      <a:pt x="144" y="486"/>
                      <a:pt x="141" y="484"/>
                    </a:cubicBezTo>
                    <a:close/>
                    <a:moveTo>
                      <a:pt x="135" y="200"/>
                    </a:moveTo>
                    <a:cubicBezTo>
                      <a:pt x="142" y="202"/>
                      <a:pt x="142" y="213"/>
                      <a:pt x="147" y="213"/>
                    </a:cubicBezTo>
                    <a:cubicBezTo>
                      <a:pt x="150" y="213"/>
                      <a:pt x="147" y="210"/>
                      <a:pt x="152" y="210"/>
                    </a:cubicBezTo>
                    <a:cubicBezTo>
                      <a:pt x="157" y="210"/>
                      <a:pt x="156" y="207"/>
                      <a:pt x="160" y="208"/>
                    </a:cubicBezTo>
                    <a:cubicBezTo>
                      <a:pt x="164" y="208"/>
                      <a:pt x="168" y="206"/>
                      <a:pt x="168" y="201"/>
                    </a:cubicBezTo>
                    <a:cubicBezTo>
                      <a:pt x="168" y="196"/>
                      <a:pt x="171" y="195"/>
                      <a:pt x="175" y="194"/>
                    </a:cubicBezTo>
                    <a:cubicBezTo>
                      <a:pt x="179" y="193"/>
                      <a:pt x="176" y="187"/>
                      <a:pt x="182" y="186"/>
                    </a:cubicBezTo>
                    <a:cubicBezTo>
                      <a:pt x="188" y="184"/>
                      <a:pt x="204" y="177"/>
                      <a:pt x="207" y="175"/>
                    </a:cubicBezTo>
                    <a:cubicBezTo>
                      <a:pt x="210" y="173"/>
                      <a:pt x="204" y="170"/>
                      <a:pt x="197" y="166"/>
                    </a:cubicBezTo>
                    <a:cubicBezTo>
                      <a:pt x="191" y="162"/>
                      <a:pt x="186" y="161"/>
                      <a:pt x="181" y="164"/>
                    </a:cubicBezTo>
                    <a:cubicBezTo>
                      <a:pt x="176" y="168"/>
                      <a:pt x="180" y="161"/>
                      <a:pt x="176" y="163"/>
                    </a:cubicBezTo>
                    <a:cubicBezTo>
                      <a:pt x="172" y="164"/>
                      <a:pt x="161" y="160"/>
                      <a:pt x="160" y="158"/>
                    </a:cubicBezTo>
                    <a:cubicBezTo>
                      <a:pt x="158" y="156"/>
                      <a:pt x="139" y="162"/>
                      <a:pt x="135" y="162"/>
                    </a:cubicBezTo>
                    <a:cubicBezTo>
                      <a:pt x="130" y="162"/>
                      <a:pt x="135" y="167"/>
                      <a:pt x="138" y="169"/>
                    </a:cubicBezTo>
                    <a:cubicBezTo>
                      <a:pt x="141" y="172"/>
                      <a:pt x="130" y="180"/>
                      <a:pt x="132" y="181"/>
                    </a:cubicBezTo>
                    <a:cubicBezTo>
                      <a:pt x="135" y="183"/>
                      <a:pt x="130" y="188"/>
                      <a:pt x="125" y="194"/>
                    </a:cubicBezTo>
                    <a:cubicBezTo>
                      <a:pt x="120" y="199"/>
                      <a:pt x="129" y="199"/>
                      <a:pt x="135" y="200"/>
                    </a:cubicBezTo>
                    <a:close/>
                    <a:moveTo>
                      <a:pt x="314" y="230"/>
                    </a:moveTo>
                    <a:cubicBezTo>
                      <a:pt x="316" y="227"/>
                      <a:pt x="325" y="235"/>
                      <a:pt x="325" y="229"/>
                    </a:cubicBezTo>
                    <a:cubicBezTo>
                      <a:pt x="325" y="224"/>
                      <a:pt x="315" y="221"/>
                      <a:pt x="311" y="219"/>
                    </a:cubicBezTo>
                    <a:cubicBezTo>
                      <a:pt x="306" y="216"/>
                      <a:pt x="305" y="217"/>
                      <a:pt x="298" y="212"/>
                    </a:cubicBezTo>
                    <a:cubicBezTo>
                      <a:pt x="291" y="207"/>
                      <a:pt x="300" y="205"/>
                      <a:pt x="295" y="201"/>
                    </a:cubicBezTo>
                    <a:cubicBezTo>
                      <a:pt x="290" y="197"/>
                      <a:pt x="288" y="186"/>
                      <a:pt x="291" y="183"/>
                    </a:cubicBezTo>
                    <a:cubicBezTo>
                      <a:pt x="295" y="179"/>
                      <a:pt x="299" y="174"/>
                      <a:pt x="293" y="171"/>
                    </a:cubicBezTo>
                    <a:cubicBezTo>
                      <a:pt x="286" y="169"/>
                      <a:pt x="276" y="173"/>
                      <a:pt x="277" y="175"/>
                    </a:cubicBezTo>
                    <a:cubicBezTo>
                      <a:pt x="278" y="176"/>
                      <a:pt x="287" y="181"/>
                      <a:pt x="287" y="183"/>
                    </a:cubicBezTo>
                    <a:cubicBezTo>
                      <a:pt x="287" y="185"/>
                      <a:pt x="279" y="177"/>
                      <a:pt x="276" y="179"/>
                    </a:cubicBezTo>
                    <a:cubicBezTo>
                      <a:pt x="273" y="181"/>
                      <a:pt x="270" y="175"/>
                      <a:pt x="267" y="179"/>
                    </a:cubicBezTo>
                    <a:cubicBezTo>
                      <a:pt x="265" y="183"/>
                      <a:pt x="270" y="195"/>
                      <a:pt x="273" y="199"/>
                    </a:cubicBezTo>
                    <a:cubicBezTo>
                      <a:pt x="275" y="202"/>
                      <a:pt x="270" y="202"/>
                      <a:pt x="268" y="203"/>
                    </a:cubicBezTo>
                    <a:cubicBezTo>
                      <a:pt x="265" y="204"/>
                      <a:pt x="264" y="193"/>
                      <a:pt x="262" y="189"/>
                    </a:cubicBezTo>
                    <a:cubicBezTo>
                      <a:pt x="259" y="185"/>
                      <a:pt x="247" y="180"/>
                      <a:pt x="247" y="183"/>
                    </a:cubicBezTo>
                    <a:cubicBezTo>
                      <a:pt x="246" y="186"/>
                      <a:pt x="254" y="186"/>
                      <a:pt x="253" y="190"/>
                    </a:cubicBezTo>
                    <a:cubicBezTo>
                      <a:pt x="252" y="194"/>
                      <a:pt x="247" y="188"/>
                      <a:pt x="243" y="191"/>
                    </a:cubicBezTo>
                    <a:cubicBezTo>
                      <a:pt x="239" y="194"/>
                      <a:pt x="240" y="192"/>
                      <a:pt x="241" y="189"/>
                    </a:cubicBezTo>
                    <a:cubicBezTo>
                      <a:pt x="242" y="185"/>
                      <a:pt x="235" y="182"/>
                      <a:pt x="228" y="183"/>
                    </a:cubicBezTo>
                    <a:cubicBezTo>
                      <a:pt x="221" y="183"/>
                      <a:pt x="225" y="188"/>
                      <a:pt x="223" y="190"/>
                    </a:cubicBezTo>
                    <a:cubicBezTo>
                      <a:pt x="221" y="192"/>
                      <a:pt x="210" y="189"/>
                      <a:pt x="217" y="188"/>
                    </a:cubicBezTo>
                    <a:cubicBezTo>
                      <a:pt x="223" y="186"/>
                      <a:pt x="221" y="182"/>
                      <a:pt x="218" y="178"/>
                    </a:cubicBezTo>
                    <a:cubicBezTo>
                      <a:pt x="216" y="174"/>
                      <a:pt x="209" y="179"/>
                      <a:pt x="198" y="183"/>
                    </a:cubicBezTo>
                    <a:cubicBezTo>
                      <a:pt x="187" y="187"/>
                      <a:pt x="182" y="191"/>
                      <a:pt x="183" y="191"/>
                    </a:cubicBezTo>
                    <a:cubicBezTo>
                      <a:pt x="184" y="192"/>
                      <a:pt x="185" y="194"/>
                      <a:pt x="181" y="197"/>
                    </a:cubicBezTo>
                    <a:cubicBezTo>
                      <a:pt x="176" y="201"/>
                      <a:pt x="181" y="204"/>
                      <a:pt x="184" y="204"/>
                    </a:cubicBezTo>
                    <a:cubicBezTo>
                      <a:pt x="188" y="204"/>
                      <a:pt x="185" y="207"/>
                      <a:pt x="188" y="208"/>
                    </a:cubicBezTo>
                    <a:cubicBezTo>
                      <a:pt x="190" y="209"/>
                      <a:pt x="203" y="203"/>
                      <a:pt x="207" y="205"/>
                    </a:cubicBezTo>
                    <a:cubicBezTo>
                      <a:pt x="210" y="208"/>
                      <a:pt x="186" y="209"/>
                      <a:pt x="186" y="214"/>
                    </a:cubicBezTo>
                    <a:cubicBezTo>
                      <a:pt x="186" y="218"/>
                      <a:pt x="199" y="220"/>
                      <a:pt x="209" y="219"/>
                    </a:cubicBezTo>
                    <a:cubicBezTo>
                      <a:pt x="219" y="217"/>
                      <a:pt x="237" y="220"/>
                      <a:pt x="237" y="222"/>
                    </a:cubicBezTo>
                    <a:cubicBezTo>
                      <a:pt x="237" y="225"/>
                      <a:pt x="225" y="224"/>
                      <a:pt x="216" y="224"/>
                    </a:cubicBezTo>
                    <a:cubicBezTo>
                      <a:pt x="207" y="224"/>
                      <a:pt x="192" y="226"/>
                      <a:pt x="192" y="229"/>
                    </a:cubicBezTo>
                    <a:cubicBezTo>
                      <a:pt x="193" y="232"/>
                      <a:pt x="194" y="232"/>
                      <a:pt x="203" y="237"/>
                    </a:cubicBezTo>
                    <a:cubicBezTo>
                      <a:pt x="213" y="241"/>
                      <a:pt x="222" y="235"/>
                      <a:pt x="222" y="241"/>
                    </a:cubicBezTo>
                    <a:cubicBezTo>
                      <a:pt x="222" y="247"/>
                      <a:pt x="227" y="248"/>
                      <a:pt x="239" y="249"/>
                    </a:cubicBezTo>
                    <a:cubicBezTo>
                      <a:pt x="252" y="249"/>
                      <a:pt x="258" y="243"/>
                      <a:pt x="264" y="243"/>
                    </a:cubicBezTo>
                    <a:cubicBezTo>
                      <a:pt x="270" y="244"/>
                      <a:pt x="273" y="242"/>
                      <a:pt x="275" y="238"/>
                    </a:cubicBezTo>
                    <a:cubicBezTo>
                      <a:pt x="278" y="234"/>
                      <a:pt x="281" y="236"/>
                      <a:pt x="281" y="239"/>
                    </a:cubicBezTo>
                    <a:cubicBezTo>
                      <a:pt x="282" y="241"/>
                      <a:pt x="290" y="240"/>
                      <a:pt x="292" y="242"/>
                    </a:cubicBezTo>
                    <a:cubicBezTo>
                      <a:pt x="296" y="247"/>
                      <a:pt x="311" y="245"/>
                      <a:pt x="317" y="242"/>
                    </a:cubicBezTo>
                    <a:cubicBezTo>
                      <a:pt x="323" y="240"/>
                      <a:pt x="315" y="232"/>
                      <a:pt x="312" y="235"/>
                    </a:cubicBezTo>
                    <a:cubicBezTo>
                      <a:pt x="309" y="239"/>
                      <a:pt x="306" y="237"/>
                      <a:pt x="306" y="235"/>
                    </a:cubicBezTo>
                    <a:cubicBezTo>
                      <a:pt x="305" y="233"/>
                      <a:pt x="311" y="232"/>
                      <a:pt x="314" y="230"/>
                    </a:cubicBezTo>
                    <a:close/>
                    <a:moveTo>
                      <a:pt x="178" y="142"/>
                    </a:moveTo>
                    <a:cubicBezTo>
                      <a:pt x="184" y="143"/>
                      <a:pt x="191" y="137"/>
                      <a:pt x="191" y="134"/>
                    </a:cubicBezTo>
                    <a:cubicBezTo>
                      <a:pt x="190" y="130"/>
                      <a:pt x="175" y="142"/>
                      <a:pt x="178" y="142"/>
                    </a:cubicBezTo>
                    <a:close/>
                    <a:moveTo>
                      <a:pt x="148" y="132"/>
                    </a:moveTo>
                    <a:cubicBezTo>
                      <a:pt x="151" y="133"/>
                      <a:pt x="148" y="138"/>
                      <a:pt x="151" y="137"/>
                    </a:cubicBezTo>
                    <a:cubicBezTo>
                      <a:pt x="154" y="135"/>
                      <a:pt x="155" y="135"/>
                      <a:pt x="157" y="135"/>
                    </a:cubicBezTo>
                    <a:cubicBezTo>
                      <a:pt x="161" y="137"/>
                      <a:pt x="162" y="133"/>
                      <a:pt x="163" y="132"/>
                    </a:cubicBezTo>
                    <a:cubicBezTo>
                      <a:pt x="165" y="130"/>
                      <a:pt x="165" y="138"/>
                      <a:pt x="169" y="138"/>
                    </a:cubicBezTo>
                    <a:cubicBezTo>
                      <a:pt x="173" y="138"/>
                      <a:pt x="172" y="129"/>
                      <a:pt x="176" y="132"/>
                    </a:cubicBezTo>
                    <a:cubicBezTo>
                      <a:pt x="179" y="134"/>
                      <a:pt x="181" y="131"/>
                      <a:pt x="181" y="128"/>
                    </a:cubicBezTo>
                    <a:cubicBezTo>
                      <a:pt x="182" y="126"/>
                      <a:pt x="182" y="122"/>
                      <a:pt x="186" y="121"/>
                    </a:cubicBezTo>
                    <a:cubicBezTo>
                      <a:pt x="190" y="120"/>
                      <a:pt x="187" y="125"/>
                      <a:pt x="188" y="128"/>
                    </a:cubicBezTo>
                    <a:cubicBezTo>
                      <a:pt x="191" y="133"/>
                      <a:pt x="196" y="128"/>
                      <a:pt x="196" y="126"/>
                    </a:cubicBezTo>
                    <a:cubicBezTo>
                      <a:pt x="196" y="124"/>
                      <a:pt x="203" y="125"/>
                      <a:pt x="202" y="123"/>
                    </a:cubicBezTo>
                    <a:cubicBezTo>
                      <a:pt x="202" y="120"/>
                      <a:pt x="204" y="120"/>
                      <a:pt x="202" y="117"/>
                    </a:cubicBezTo>
                    <a:cubicBezTo>
                      <a:pt x="201" y="114"/>
                      <a:pt x="205" y="115"/>
                      <a:pt x="207" y="113"/>
                    </a:cubicBezTo>
                    <a:cubicBezTo>
                      <a:pt x="209" y="110"/>
                      <a:pt x="204" y="112"/>
                      <a:pt x="201" y="109"/>
                    </a:cubicBezTo>
                    <a:cubicBezTo>
                      <a:pt x="197" y="106"/>
                      <a:pt x="196" y="110"/>
                      <a:pt x="196" y="112"/>
                    </a:cubicBezTo>
                    <a:cubicBezTo>
                      <a:pt x="196" y="114"/>
                      <a:pt x="189" y="113"/>
                      <a:pt x="185" y="111"/>
                    </a:cubicBezTo>
                    <a:cubicBezTo>
                      <a:pt x="181" y="110"/>
                      <a:pt x="176" y="116"/>
                      <a:pt x="171" y="119"/>
                    </a:cubicBezTo>
                    <a:cubicBezTo>
                      <a:pt x="165" y="122"/>
                      <a:pt x="165" y="127"/>
                      <a:pt x="159" y="126"/>
                    </a:cubicBezTo>
                    <a:cubicBezTo>
                      <a:pt x="154" y="126"/>
                      <a:pt x="146" y="131"/>
                      <a:pt x="148" y="132"/>
                    </a:cubicBezTo>
                    <a:close/>
                    <a:moveTo>
                      <a:pt x="204" y="130"/>
                    </a:moveTo>
                    <a:cubicBezTo>
                      <a:pt x="199" y="130"/>
                      <a:pt x="199" y="135"/>
                      <a:pt x="205" y="135"/>
                    </a:cubicBezTo>
                    <a:cubicBezTo>
                      <a:pt x="211" y="135"/>
                      <a:pt x="213" y="137"/>
                      <a:pt x="204" y="137"/>
                    </a:cubicBezTo>
                    <a:cubicBezTo>
                      <a:pt x="196" y="137"/>
                      <a:pt x="193" y="144"/>
                      <a:pt x="198" y="142"/>
                    </a:cubicBezTo>
                    <a:cubicBezTo>
                      <a:pt x="204" y="141"/>
                      <a:pt x="211" y="141"/>
                      <a:pt x="207" y="142"/>
                    </a:cubicBezTo>
                    <a:cubicBezTo>
                      <a:pt x="202" y="144"/>
                      <a:pt x="191" y="145"/>
                      <a:pt x="192" y="147"/>
                    </a:cubicBezTo>
                    <a:cubicBezTo>
                      <a:pt x="193" y="148"/>
                      <a:pt x="198" y="148"/>
                      <a:pt x="203" y="150"/>
                    </a:cubicBezTo>
                    <a:cubicBezTo>
                      <a:pt x="207" y="152"/>
                      <a:pt x="210" y="153"/>
                      <a:pt x="214" y="149"/>
                    </a:cubicBezTo>
                    <a:cubicBezTo>
                      <a:pt x="217" y="145"/>
                      <a:pt x="222" y="141"/>
                      <a:pt x="220" y="146"/>
                    </a:cubicBezTo>
                    <a:cubicBezTo>
                      <a:pt x="218" y="152"/>
                      <a:pt x="226" y="148"/>
                      <a:pt x="235" y="147"/>
                    </a:cubicBezTo>
                    <a:cubicBezTo>
                      <a:pt x="245" y="147"/>
                      <a:pt x="234" y="153"/>
                      <a:pt x="224" y="154"/>
                    </a:cubicBezTo>
                    <a:cubicBezTo>
                      <a:pt x="214" y="154"/>
                      <a:pt x="216" y="159"/>
                      <a:pt x="223" y="161"/>
                    </a:cubicBezTo>
                    <a:cubicBezTo>
                      <a:pt x="231" y="163"/>
                      <a:pt x="248" y="156"/>
                      <a:pt x="252" y="152"/>
                    </a:cubicBezTo>
                    <a:cubicBezTo>
                      <a:pt x="256" y="148"/>
                      <a:pt x="259" y="154"/>
                      <a:pt x="263" y="152"/>
                    </a:cubicBezTo>
                    <a:cubicBezTo>
                      <a:pt x="267" y="149"/>
                      <a:pt x="275" y="152"/>
                      <a:pt x="281" y="150"/>
                    </a:cubicBezTo>
                    <a:cubicBezTo>
                      <a:pt x="288" y="149"/>
                      <a:pt x="289" y="136"/>
                      <a:pt x="284" y="134"/>
                    </a:cubicBezTo>
                    <a:cubicBezTo>
                      <a:pt x="279" y="132"/>
                      <a:pt x="279" y="137"/>
                      <a:pt x="275" y="137"/>
                    </a:cubicBezTo>
                    <a:cubicBezTo>
                      <a:pt x="272" y="138"/>
                      <a:pt x="269" y="133"/>
                      <a:pt x="266" y="130"/>
                    </a:cubicBezTo>
                    <a:cubicBezTo>
                      <a:pt x="263" y="127"/>
                      <a:pt x="265" y="120"/>
                      <a:pt x="260" y="121"/>
                    </a:cubicBezTo>
                    <a:cubicBezTo>
                      <a:pt x="256" y="122"/>
                      <a:pt x="246" y="129"/>
                      <a:pt x="252" y="130"/>
                    </a:cubicBezTo>
                    <a:cubicBezTo>
                      <a:pt x="258" y="131"/>
                      <a:pt x="256" y="134"/>
                      <a:pt x="253" y="135"/>
                    </a:cubicBezTo>
                    <a:cubicBezTo>
                      <a:pt x="249" y="137"/>
                      <a:pt x="260" y="139"/>
                      <a:pt x="259" y="142"/>
                    </a:cubicBezTo>
                    <a:cubicBezTo>
                      <a:pt x="257" y="144"/>
                      <a:pt x="241" y="142"/>
                      <a:pt x="240" y="138"/>
                    </a:cubicBezTo>
                    <a:cubicBezTo>
                      <a:pt x="239" y="135"/>
                      <a:pt x="227" y="128"/>
                      <a:pt x="221" y="130"/>
                    </a:cubicBezTo>
                    <a:cubicBezTo>
                      <a:pt x="216" y="131"/>
                      <a:pt x="218" y="125"/>
                      <a:pt x="213" y="125"/>
                    </a:cubicBezTo>
                    <a:cubicBezTo>
                      <a:pt x="207" y="125"/>
                      <a:pt x="209" y="130"/>
                      <a:pt x="204" y="130"/>
                    </a:cubicBezTo>
                    <a:close/>
                    <a:moveTo>
                      <a:pt x="223" y="104"/>
                    </a:moveTo>
                    <a:cubicBezTo>
                      <a:pt x="224" y="100"/>
                      <a:pt x="211" y="101"/>
                      <a:pt x="212" y="102"/>
                    </a:cubicBezTo>
                    <a:cubicBezTo>
                      <a:pt x="214" y="105"/>
                      <a:pt x="221" y="109"/>
                      <a:pt x="223" y="104"/>
                    </a:cubicBezTo>
                    <a:close/>
                    <a:moveTo>
                      <a:pt x="252" y="103"/>
                    </a:moveTo>
                    <a:cubicBezTo>
                      <a:pt x="257" y="102"/>
                      <a:pt x="255" y="98"/>
                      <a:pt x="247" y="99"/>
                    </a:cubicBezTo>
                    <a:cubicBezTo>
                      <a:pt x="240" y="100"/>
                      <a:pt x="227" y="100"/>
                      <a:pt x="227" y="106"/>
                    </a:cubicBezTo>
                    <a:cubicBezTo>
                      <a:pt x="227" y="110"/>
                      <a:pt x="229" y="112"/>
                      <a:pt x="238" y="113"/>
                    </a:cubicBezTo>
                    <a:cubicBezTo>
                      <a:pt x="246" y="114"/>
                      <a:pt x="253" y="106"/>
                      <a:pt x="249" y="106"/>
                    </a:cubicBezTo>
                    <a:cubicBezTo>
                      <a:pt x="245" y="106"/>
                      <a:pt x="248" y="103"/>
                      <a:pt x="252" y="103"/>
                    </a:cubicBezTo>
                    <a:close/>
                    <a:moveTo>
                      <a:pt x="235" y="96"/>
                    </a:moveTo>
                    <a:cubicBezTo>
                      <a:pt x="238" y="97"/>
                      <a:pt x="242" y="93"/>
                      <a:pt x="244" y="95"/>
                    </a:cubicBezTo>
                    <a:cubicBezTo>
                      <a:pt x="247" y="97"/>
                      <a:pt x="258" y="99"/>
                      <a:pt x="258" y="93"/>
                    </a:cubicBezTo>
                    <a:cubicBezTo>
                      <a:pt x="258" y="87"/>
                      <a:pt x="244" y="87"/>
                      <a:pt x="240" y="89"/>
                    </a:cubicBezTo>
                    <a:cubicBezTo>
                      <a:pt x="237" y="91"/>
                      <a:pt x="221" y="92"/>
                      <a:pt x="225" y="95"/>
                    </a:cubicBezTo>
                    <a:cubicBezTo>
                      <a:pt x="228" y="97"/>
                      <a:pt x="231" y="94"/>
                      <a:pt x="235" y="96"/>
                    </a:cubicBezTo>
                    <a:close/>
                    <a:moveTo>
                      <a:pt x="294" y="85"/>
                    </a:moveTo>
                    <a:cubicBezTo>
                      <a:pt x="299" y="82"/>
                      <a:pt x="306" y="87"/>
                      <a:pt x="305" y="90"/>
                    </a:cubicBezTo>
                    <a:cubicBezTo>
                      <a:pt x="304" y="93"/>
                      <a:pt x="291" y="89"/>
                      <a:pt x="292" y="92"/>
                    </a:cubicBezTo>
                    <a:cubicBezTo>
                      <a:pt x="293" y="93"/>
                      <a:pt x="294" y="97"/>
                      <a:pt x="303" y="95"/>
                    </a:cubicBezTo>
                    <a:cubicBezTo>
                      <a:pt x="311" y="92"/>
                      <a:pt x="318" y="94"/>
                      <a:pt x="324" y="99"/>
                    </a:cubicBezTo>
                    <a:cubicBezTo>
                      <a:pt x="330" y="103"/>
                      <a:pt x="335" y="105"/>
                      <a:pt x="339" y="100"/>
                    </a:cubicBezTo>
                    <a:cubicBezTo>
                      <a:pt x="343" y="96"/>
                      <a:pt x="334" y="95"/>
                      <a:pt x="336" y="92"/>
                    </a:cubicBezTo>
                    <a:cubicBezTo>
                      <a:pt x="337" y="88"/>
                      <a:pt x="330" y="86"/>
                      <a:pt x="326" y="86"/>
                    </a:cubicBezTo>
                    <a:cubicBezTo>
                      <a:pt x="322" y="86"/>
                      <a:pt x="321" y="79"/>
                      <a:pt x="318" y="80"/>
                    </a:cubicBezTo>
                    <a:cubicBezTo>
                      <a:pt x="314" y="82"/>
                      <a:pt x="312" y="84"/>
                      <a:pt x="312" y="79"/>
                    </a:cubicBezTo>
                    <a:cubicBezTo>
                      <a:pt x="312" y="75"/>
                      <a:pt x="294" y="74"/>
                      <a:pt x="289" y="76"/>
                    </a:cubicBezTo>
                    <a:cubicBezTo>
                      <a:pt x="284" y="78"/>
                      <a:pt x="290" y="88"/>
                      <a:pt x="294" y="85"/>
                    </a:cubicBezTo>
                    <a:close/>
                    <a:moveTo>
                      <a:pt x="297" y="115"/>
                    </a:moveTo>
                    <a:cubicBezTo>
                      <a:pt x="300" y="111"/>
                      <a:pt x="285" y="100"/>
                      <a:pt x="285" y="105"/>
                    </a:cubicBezTo>
                    <a:cubicBezTo>
                      <a:pt x="284" y="110"/>
                      <a:pt x="294" y="119"/>
                      <a:pt x="297" y="115"/>
                    </a:cubicBezTo>
                    <a:close/>
                    <a:moveTo>
                      <a:pt x="343" y="68"/>
                    </a:moveTo>
                    <a:cubicBezTo>
                      <a:pt x="346" y="64"/>
                      <a:pt x="328" y="60"/>
                      <a:pt x="333" y="64"/>
                    </a:cubicBezTo>
                    <a:cubicBezTo>
                      <a:pt x="335" y="66"/>
                      <a:pt x="341" y="72"/>
                      <a:pt x="343" y="68"/>
                    </a:cubicBezTo>
                    <a:close/>
                    <a:moveTo>
                      <a:pt x="303" y="149"/>
                    </a:moveTo>
                    <a:cubicBezTo>
                      <a:pt x="305" y="146"/>
                      <a:pt x="298" y="140"/>
                      <a:pt x="295" y="145"/>
                    </a:cubicBezTo>
                    <a:cubicBezTo>
                      <a:pt x="293" y="150"/>
                      <a:pt x="300" y="152"/>
                      <a:pt x="303" y="149"/>
                    </a:cubicBezTo>
                    <a:close/>
                    <a:moveTo>
                      <a:pt x="343" y="124"/>
                    </a:moveTo>
                    <a:cubicBezTo>
                      <a:pt x="343" y="128"/>
                      <a:pt x="335" y="123"/>
                      <a:pt x="328" y="121"/>
                    </a:cubicBezTo>
                    <a:cubicBezTo>
                      <a:pt x="322" y="118"/>
                      <a:pt x="326" y="126"/>
                      <a:pt x="331" y="130"/>
                    </a:cubicBezTo>
                    <a:cubicBezTo>
                      <a:pt x="336" y="134"/>
                      <a:pt x="328" y="132"/>
                      <a:pt x="321" y="128"/>
                    </a:cubicBezTo>
                    <a:cubicBezTo>
                      <a:pt x="315" y="123"/>
                      <a:pt x="315" y="131"/>
                      <a:pt x="319" y="133"/>
                    </a:cubicBezTo>
                    <a:cubicBezTo>
                      <a:pt x="322" y="136"/>
                      <a:pt x="318" y="139"/>
                      <a:pt x="314" y="134"/>
                    </a:cubicBezTo>
                    <a:cubicBezTo>
                      <a:pt x="309" y="128"/>
                      <a:pt x="307" y="122"/>
                      <a:pt x="300" y="122"/>
                    </a:cubicBezTo>
                    <a:cubicBezTo>
                      <a:pt x="294" y="121"/>
                      <a:pt x="297" y="128"/>
                      <a:pt x="299" y="132"/>
                    </a:cubicBezTo>
                    <a:cubicBezTo>
                      <a:pt x="303" y="136"/>
                      <a:pt x="306" y="137"/>
                      <a:pt x="312" y="140"/>
                    </a:cubicBezTo>
                    <a:cubicBezTo>
                      <a:pt x="318" y="144"/>
                      <a:pt x="327" y="139"/>
                      <a:pt x="331" y="140"/>
                    </a:cubicBezTo>
                    <a:cubicBezTo>
                      <a:pt x="336" y="141"/>
                      <a:pt x="327" y="147"/>
                      <a:pt x="330" y="150"/>
                    </a:cubicBezTo>
                    <a:cubicBezTo>
                      <a:pt x="333" y="154"/>
                      <a:pt x="340" y="151"/>
                      <a:pt x="346" y="151"/>
                    </a:cubicBezTo>
                    <a:cubicBezTo>
                      <a:pt x="352" y="150"/>
                      <a:pt x="350" y="147"/>
                      <a:pt x="353" y="144"/>
                    </a:cubicBezTo>
                    <a:cubicBezTo>
                      <a:pt x="357" y="142"/>
                      <a:pt x="350" y="142"/>
                      <a:pt x="352" y="136"/>
                    </a:cubicBezTo>
                    <a:cubicBezTo>
                      <a:pt x="355" y="130"/>
                      <a:pt x="344" y="120"/>
                      <a:pt x="343" y="124"/>
                    </a:cubicBezTo>
                    <a:close/>
                    <a:moveTo>
                      <a:pt x="358" y="103"/>
                    </a:moveTo>
                    <a:cubicBezTo>
                      <a:pt x="364" y="103"/>
                      <a:pt x="368" y="102"/>
                      <a:pt x="372" y="100"/>
                    </a:cubicBezTo>
                    <a:cubicBezTo>
                      <a:pt x="377" y="99"/>
                      <a:pt x="370" y="99"/>
                      <a:pt x="373" y="94"/>
                    </a:cubicBezTo>
                    <a:cubicBezTo>
                      <a:pt x="376" y="90"/>
                      <a:pt x="365" y="90"/>
                      <a:pt x="365" y="91"/>
                    </a:cubicBezTo>
                    <a:cubicBezTo>
                      <a:pt x="364" y="93"/>
                      <a:pt x="350" y="83"/>
                      <a:pt x="348" y="86"/>
                    </a:cubicBezTo>
                    <a:cubicBezTo>
                      <a:pt x="346" y="89"/>
                      <a:pt x="353" y="103"/>
                      <a:pt x="358" y="103"/>
                    </a:cubicBezTo>
                    <a:close/>
                    <a:moveTo>
                      <a:pt x="387" y="105"/>
                    </a:moveTo>
                    <a:cubicBezTo>
                      <a:pt x="386" y="103"/>
                      <a:pt x="359" y="106"/>
                      <a:pt x="364" y="109"/>
                    </a:cubicBezTo>
                    <a:cubicBezTo>
                      <a:pt x="371" y="114"/>
                      <a:pt x="388" y="107"/>
                      <a:pt x="387" y="105"/>
                    </a:cubicBezTo>
                    <a:close/>
                    <a:moveTo>
                      <a:pt x="383" y="157"/>
                    </a:moveTo>
                    <a:cubicBezTo>
                      <a:pt x="390" y="156"/>
                      <a:pt x="386" y="149"/>
                      <a:pt x="379" y="143"/>
                    </a:cubicBezTo>
                    <a:cubicBezTo>
                      <a:pt x="372" y="138"/>
                      <a:pt x="356" y="149"/>
                      <a:pt x="359" y="151"/>
                    </a:cubicBezTo>
                    <a:cubicBezTo>
                      <a:pt x="362" y="154"/>
                      <a:pt x="377" y="157"/>
                      <a:pt x="383" y="157"/>
                    </a:cubicBezTo>
                    <a:close/>
                    <a:moveTo>
                      <a:pt x="337" y="207"/>
                    </a:moveTo>
                    <a:cubicBezTo>
                      <a:pt x="345" y="212"/>
                      <a:pt x="343" y="203"/>
                      <a:pt x="352" y="203"/>
                    </a:cubicBezTo>
                    <a:cubicBezTo>
                      <a:pt x="361" y="203"/>
                      <a:pt x="361" y="189"/>
                      <a:pt x="362" y="183"/>
                    </a:cubicBezTo>
                    <a:cubicBezTo>
                      <a:pt x="364" y="178"/>
                      <a:pt x="355" y="178"/>
                      <a:pt x="357" y="182"/>
                    </a:cubicBezTo>
                    <a:cubicBezTo>
                      <a:pt x="360" y="186"/>
                      <a:pt x="357" y="190"/>
                      <a:pt x="356" y="185"/>
                    </a:cubicBezTo>
                    <a:cubicBezTo>
                      <a:pt x="356" y="181"/>
                      <a:pt x="349" y="185"/>
                      <a:pt x="346" y="181"/>
                    </a:cubicBezTo>
                    <a:cubicBezTo>
                      <a:pt x="344" y="178"/>
                      <a:pt x="354" y="178"/>
                      <a:pt x="357" y="173"/>
                    </a:cubicBezTo>
                    <a:cubicBezTo>
                      <a:pt x="359" y="168"/>
                      <a:pt x="349" y="169"/>
                      <a:pt x="351" y="165"/>
                    </a:cubicBezTo>
                    <a:cubicBezTo>
                      <a:pt x="354" y="162"/>
                      <a:pt x="335" y="166"/>
                      <a:pt x="341" y="168"/>
                    </a:cubicBezTo>
                    <a:cubicBezTo>
                      <a:pt x="346" y="170"/>
                      <a:pt x="341" y="173"/>
                      <a:pt x="336" y="169"/>
                    </a:cubicBezTo>
                    <a:cubicBezTo>
                      <a:pt x="331" y="166"/>
                      <a:pt x="317" y="172"/>
                      <a:pt x="322" y="176"/>
                    </a:cubicBezTo>
                    <a:cubicBezTo>
                      <a:pt x="326" y="179"/>
                      <a:pt x="338" y="174"/>
                      <a:pt x="331" y="183"/>
                    </a:cubicBezTo>
                    <a:cubicBezTo>
                      <a:pt x="324" y="192"/>
                      <a:pt x="321" y="180"/>
                      <a:pt x="315" y="181"/>
                    </a:cubicBezTo>
                    <a:cubicBezTo>
                      <a:pt x="309" y="183"/>
                      <a:pt x="311" y="190"/>
                      <a:pt x="321" y="193"/>
                    </a:cubicBezTo>
                    <a:cubicBezTo>
                      <a:pt x="331" y="196"/>
                      <a:pt x="330" y="201"/>
                      <a:pt x="337" y="207"/>
                    </a:cubicBezTo>
                    <a:close/>
                    <a:moveTo>
                      <a:pt x="396" y="150"/>
                    </a:moveTo>
                    <a:cubicBezTo>
                      <a:pt x="398" y="157"/>
                      <a:pt x="401" y="152"/>
                      <a:pt x="405" y="155"/>
                    </a:cubicBezTo>
                    <a:cubicBezTo>
                      <a:pt x="409" y="158"/>
                      <a:pt x="415" y="159"/>
                      <a:pt x="418" y="156"/>
                    </a:cubicBezTo>
                    <a:cubicBezTo>
                      <a:pt x="421" y="154"/>
                      <a:pt x="423" y="152"/>
                      <a:pt x="424" y="154"/>
                    </a:cubicBezTo>
                    <a:cubicBezTo>
                      <a:pt x="426" y="158"/>
                      <a:pt x="433" y="159"/>
                      <a:pt x="451" y="159"/>
                    </a:cubicBezTo>
                    <a:cubicBezTo>
                      <a:pt x="468" y="159"/>
                      <a:pt x="463" y="152"/>
                      <a:pt x="468" y="155"/>
                    </a:cubicBezTo>
                    <a:cubicBezTo>
                      <a:pt x="473" y="158"/>
                      <a:pt x="485" y="158"/>
                      <a:pt x="490" y="156"/>
                    </a:cubicBezTo>
                    <a:cubicBezTo>
                      <a:pt x="495" y="155"/>
                      <a:pt x="497" y="148"/>
                      <a:pt x="497" y="144"/>
                    </a:cubicBezTo>
                    <a:cubicBezTo>
                      <a:pt x="497" y="140"/>
                      <a:pt x="458" y="137"/>
                      <a:pt x="452" y="140"/>
                    </a:cubicBezTo>
                    <a:cubicBezTo>
                      <a:pt x="445" y="144"/>
                      <a:pt x="434" y="139"/>
                      <a:pt x="429" y="142"/>
                    </a:cubicBezTo>
                    <a:cubicBezTo>
                      <a:pt x="423" y="144"/>
                      <a:pt x="425" y="138"/>
                      <a:pt x="416" y="138"/>
                    </a:cubicBezTo>
                    <a:cubicBezTo>
                      <a:pt x="406" y="137"/>
                      <a:pt x="416" y="132"/>
                      <a:pt x="418" y="130"/>
                    </a:cubicBezTo>
                    <a:cubicBezTo>
                      <a:pt x="420" y="128"/>
                      <a:pt x="403" y="122"/>
                      <a:pt x="397" y="124"/>
                    </a:cubicBezTo>
                    <a:cubicBezTo>
                      <a:pt x="390" y="125"/>
                      <a:pt x="386" y="122"/>
                      <a:pt x="380" y="119"/>
                    </a:cubicBezTo>
                    <a:cubicBezTo>
                      <a:pt x="373" y="116"/>
                      <a:pt x="356" y="117"/>
                      <a:pt x="359" y="122"/>
                    </a:cubicBezTo>
                    <a:cubicBezTo>
                      <a:pt x="362" y="125"/>
                      <a:pt x="382" y="133"/>
                      <a:pt x="385" y="129"/>
                    </a:cubicBezTo>
                    <a:cubicBezTo>
                      <a:pt x="387" y="125"/>
                      <a:pt x="392" y="133"/>
                      <a:pt x="395" y="137"/>
                    </a:cubicBezTo>
                    <a:cubicBezTo>
                      <a:pt x="398" y="141"/>
                      <a:pt x="393" y="143"/>
                      <a:pt x="396" y="150"/>
                    </a:cubicBezTo>
                    <a:close/>
                    <a:moveTo>
                      <a:pt x="414" y="108"/>
                    </a:moveTo>
                    <a:cubicBezTo>
                      <a:pt x="407" y="104"/>
                      <a:pt x="399" y="111"/>
                      <a:pt x="406" y="114"/>
                    </a:cubicBezTo>
                    <a:cubicBezTo>
                      <a:pt x="412" y="116"/>
                      <a:pt x="420" y="111"/>
                      <a:pt x="414" y="108"/>
                    </a:cubicBezTo>
                    <a:close/>
                    <a:moveTo>
                      <a:pt x="362" y="68"/>
                    </a:moveTo>
                    <a:cubicBezTo>
                      <a:pt x="368" y="70"/>
                      <a:pt x="365" y="74"/>
                      <a:pt x="370" y="76"/>
                    </a:cubicBezTo>
                    <a:cubicBezTo>
                      <a:pt x="376" y="79"/>
                      <a:pt x="392" y="73"/>
                      <a:pt x="394" y="77"/>
                    </a:cubicBezTo>
                    <a:cubicBezTo>
                      <a:pt x="395" y="81"/>
                      <a:pt x="377" y="81"/>
                      <a:pt x="380" y="84"/>
                    </a:cubicBezTo>
                    <a:cubicBezTo>
                      <a:pt x="382" y="86"/>
                      <a:pt x="392" y="90"/>
                      <a:pt x="391" y="92"/>
                    </a:cubicBezTo>
                    <a:cubicBezTo>
                      <a:pt x="390" y="94"/>
                      <a:pt x="408" y="100"/>
                      <a:pt x="410" y="98"/>
                    </a:cubicBezTo>
                    <a:cubicBezTo>
                      <a:pt x="412" y="95"/>
                      <a:pt x="417" y="96"/>
                      <a:pt x="421" y="97"/>
                    </a:cubicBezTo>
                    <a:cubicBezTo>
                      <a:pt x="426" y="99"/>
                      <a:pt x="426" y="86"/>
                      <a:pt x="430" y="88"/>
                    </a:cubicBezTo>
                    <a:cubicBezTo>
                      <a:pt x="433" y="91"/>
                      <a:pt x="432" y="84"/>
                      <a:pt x="438" y="82"/>
                    </a:cubicBezTo>
                    <a:cubicBezTo>
                      <a:pt x="443" y="79"/>
                      <a:pt x="451" y="79"/>
                      <a:pt x="451" y="77"/>
                    </a:cubicBezTo>
                    <a:cubicBezTo>
                      <a:pt x="452" y="75"/>
                      <a:pt x="450" y="73"/>
                      <a:pt x="443" y="73"/>
                    </a:cubicBezTo>
                    <a:cubicBezTo>
                      <a:pt x="437" y="74"/>
                      <a:pt x="433" y="72"/>
                      <a:pt x="436" y="68"/>
                    </a:cubicBezTo>
                    <a:cubicBezTo>
                      <a:pt x="438" y="64"/>
                      <a:pt x="428" y="63"/>
                      <a:pt x="432" y="61"/>
                    </a:cubicBezTo>
                    <a:cubicBezTo>
                      <a:pt x="436" y="58"/>
                      <a:pt x="425" y="55"/>
                      <a:pt x="426" y="59"/>
                    </a:cubicBezTo>
                    <a:cubicBezTo>
                      <a:pt x="427" y="63"/>
                      <a:pt x="420" y="59"/>
                      <a:pt x="419" y="56"/>
                    </a:cubicBezTo>
                    <a:cubicBezTo>
                      <a:pt x="418" y="52"/>
                      <a:pt x="403" y="50"/>
                      <a:pt x="394" y="42"/>
                    </a:cubicBezTo>
                    <a:cubicBezTo>
                      <a:pt x="384" y="33"/>
                      <a:pt x="374" y="39"/>
                      <a:pt x="380" y="40"/>
                    </a:cubicBezTo>
                    <a:cubicBezTo>
                      <a:pt x="385" y="41"/>
                      <a:pt x="385" y="44"/>
                      <a:pt x="380" y="43"/>
                    </a:cubicBezTo>
                    <a:cubicBezTo>
                      <a:pt x="376" y="43"/>
                      <a:pt x="367" y="44"/>
                      <a:pt x="375" y="47"/>
                    </a:cubicBezTo>
                    <a:cubicBezTo>
                      <a:pt x="382" y="49"/>
                      <a:pt x="374" y="51"/>
                      <a:pt x="368" y="51"/>
                    </a:cubicBezTo>
                    <a:cubicBezTo>
                      <a:pt x="362" y="51"/>
                      <a:pt x="362" y="58"/>
                      <a:pt x="370" y="59"/>
                    </a:cubicBezTo>
                    <a:cubicBezTo>
                      <a:pt x="377" y="61"/>
                      <a:pt x="372" y="65"/>
                      <a:pt x="365" y="63"/>
                    </a:cubicBezTo>
                    <a:cubicBezTo>
                      <a:pt x="359" y="62"/>
                      <a:pt x="357" y="65"/>
                      <a:pt x="362" y="68"/>
                    </a:cubicBezTo>
                    <a:close/>
                    <a:moveTo>
                      <a:pt x="406" y="32"/>
                    </a:moveTo>
                    <a:cubicBezTo>
                      <a:pt x="411" y="29"/>
                      <a:pt x="415" y="31"/>
                      <a:pt x="410" y="33"/>
                    </a:cubicBezTo>
                    <a:cubicBezTo>
                      <a:pt x="406" y="36"/>
                      <a:pt x="407" y="37"/>
                      <a:pt x="413" y="37"/>
                    </a:cubicBezTo>
                    <a:cubicBezTo>
                      <a:pt x="420" y="36"/>
                      <a:pt x="411" y="38"/>
                      <a:pt x="411" y="42"/>
                    </a:cubicBezTo>
                    <a:cubicBezTo>
                      <a:pt x="411" y="46"/>
                      <a:pt x="418" y="43"/>
                      <a:pt x="418" y="47"/>
                    </a:cubicBezTo>
                    <a:cubicBezTo>
                      <a:pt x="419" y="51"/>
                      <a:pt x="434" y="52"/>
                      <a:pt x="439" y="48"/>
                    </a:cubicBezTo>
                    <a:cubicBezTo>
                      <a:pt x="443" y="43"/>
                      <a:pt x="442" y="49"/>
                      <a:pt x="441" y="52"/>
                    </a:cubicBezTo>
                    <a:cubicBezTo>
                      <a:pt x="441" y="54"/>
                      <a:pt x="463" y="57"/>
                      <a:pt x="464" y="53"/>
                    </a:cubicBezTo>
                    <a:cubicBezTo>
                      <a:pt x="465" y="50"/>
                      <a:pt x="468" y="51"/>
                      <a:pt x="473" y="52"/>
                    </a:cubicBezTo>
                    <a:cubicBezTo>
                      <a:pt x="477" y="53"/>
                      <a:pt x="498" y="48"/>
                      <a:pt x="498" y="44"/>
                    </a:cubicBezTo>
                    <a:cubicBezTo>
                      <a:pt x="499" y="40"/>
                      <a:pt x="505" y="46"/>
                      <a:pt x="498" y="51"/>
                    </a:cubicBezTo>
                    <a:cubicBezTo>
                      <a:pt x="492" y="56"/>
                      <a:pt x="478" y="55"/>
                      <a:pt x="472" y="57"/>
                    </a:cubicBezTo>
                    <a:cubicBezTo>
                      <a:pt x="466" y="58"/>
                      <a:pt x="476" y="63"/>
                      <a:pt x="482" y="67"/>
                    </a:cubicBezTo>
                    <a:cubicBezTo>
                      <a:pt x="488" y="72"/>
                      <a:pt x="474" y="69"/>
                      <a:pt x="468" y="63"/>
                    </a:cubicBezTo>
                    <a:cubicBezTo>
                      <a:pt x="463" y="57"/>
                      <a:pt x="450" y="57"/>
                      <a:pt x="443" y="58"/>
                    </a:cubicBezTo>
                    <a:cubicBezTo>
                      <a:pt x="436" y="58"/>
                      <a:pt x="438" y="71"/>
                      <a:pt x="443" y="71"/>
                    </a:cubicBezTo>
                    <a:cubicBezTo>
                      <a:pt x="448" y="71"/>
                      <a:pt x="453" y="72"/>
                      <a:pt x="458" y="80"/>
                    </a:cubicBezTo>
                    <a:cubicBezTo>
                      <a:pt x="463" y="88"/>
                      <a:pt x="474" y="86"/>
                      <a:pt x="474" y="90"/>
                    </a:cubicBezTo>
                    <a:cubicBezTo>
                      <a:pt x="474" y="93"/>
                      <a:pt x="460" y="87"/>
                      <a:pt x="452" y="86"/>
                    </a:cubicBezTo>
                    <a:cubicBezTo>
                      <a:pt x="445" y="84"/>
                      <a:pt x="432" y="89"/>
                      <a:pt x="432" y="95"/>
                    </a:cubicBezTo>
                    <a:cubicBezTo>
                      <a:pt x="431" y="100"/>
                      <a:pt x="443" y="100"/>
                      <a:pt x="451" y="95"/>
                    </a:cubicBezTo>
                    <a:cubicBezTo>
                      <a:pt x="459" y="91"/>
                      <a:pt x="453" y="97"/>
                      <a:pt x="449" y="100"/>
                    </a:cubicBezTo>
                    <a:cubicBezTo>
                      <a:pt x="445" y="104"/>
                      <a:pt x="458" y="107"/>
                      <a:pt x="458" y="111"/>
                    </a:cubicBezTo>
                    <a:cubicBezTo>
                      <a:pt x="458" y="115"/>
                      <a:pt x="449" y="114"/>
                      <a:pt x="448" y="110"/>
                    </a:cubicBezTo>
                    <a:cubicBezTo>
                      <a:pt x="447" y="106"/>
                      <a:pt x="443" y="102"/>
                      <a:pt x="434" y="103"/>
                    </a:cubicBezTo>
                    <a:cubicBezTo>
                      <a:pt x="425" y="103"/>
                      <a:pt x="427" y="110"/>
                      <a:pt x="433" y="110"/>
                    </a:cubicBezTo>
                    <a:cubicBezTo>
                      <a:pt x="438" y="111"/>
                      <a:pt x="439" y="115"/>
                      <a:pt x="432" y="115"/>
                    </a:cubicBezTo>
                    <a:cubicBezTo>
                      <a:pt x="426" y="115"/>
                      <a:pt x="411" y="120"/>
                      <a:pt x="416" y="124"/>
                    </a:cubicBezTo>
                    <a:cubicBezTo>
                      <a:pt x="421" y="128"/>
                      <a:pt x="439" y="124"/>
                      <a:pt x="442" y="127"/>
                    </a:cubicBezTo>
                    <a:cubicBezTo>
                      <a:pt x="446" y="129"/>
                      <a:pt x="454" y="130"/>
                      <a:pt x="457" y="127"/>
                    </a:cubicBezTo>
                    <a:cubicBezTo>
                      <a:pt x="459" y="124"/>
                      <a:pt x="466" y="125"/>
                      <a:pt x="473" y="125"/>
                    </a:cubicBezTo>
                    <a:cubicBezTo>
                      <a:pt x="480" y="125"/>
                      <a:pt x="482" y="127"/>
                      <a:pt x="485" y="129"/>
                    </a:cubicBezTo>
                    <a:cubicBezTo>
                      <a:pt x="488" y="132"/>
                      <a:pt x="494" y="131"/>
                      <a:pt x="498" y="128"/>
                    </a:cubicBezTo>
                    <a:cubicBezTo>
                      <a:pt x="502" y="125"/>
                      <a:pt x="502" y="125"/>
                      <a:pt x="507" y="125"/>
                    </a:cubicBezTo>
                    <a:cubicBezTo>
                      <a:pt x="512" y="125"/>
                      <a:pt x="513" y="122"/>
                      <a:pt x="510" y="118"/>
                    </a:cubicBezTo>
                    <a:cubicBezTo>
                      <a:pt x="508" y="114"/>
                      <a:pt x="502" y="121"/>
                      <a:pt x="501" y="118"/>
                    </a:cubicBezTo>
                    <a:cubicBezTo>
                      <a:pt x="500" y="115"/>
                      <a:pt x="494" y="114"/>
                      <a:pt x="484" y="115"/>
                    </a:cubicBezTo>
                    <a:cubicBezTo>
                      <a:pt x="474" y="117"/>
                      <a:pt x="478" y="109"/>
                      <a:pt x="484" y="110"/>
                    </a:cubicBezTo>
                    <a:cubicBezTo>
                      <a:pt x="491" y="112"/>
                      <a:pt x="499" y="112"/>
                      <a:pt x="506" y="110"/>
                    </a:cubicBezTo>
                    <a:cubicBezTo>
                      <a:pt x="512" y="108"/>
                      <a:pt x="507" y="105"/>
                      <a:pt x="507" y="102"/>
                    </a:cubicBezTo>
                    <a:cubicBezTo>
                      <a:pt x="507" y="99"/>
                      <a:pt x="515" y="101"/>
                      <a:pt x="522" y="101"/>
                    </a:cubicBezTo>
                    <a:cubicBezTo>
                      <a:pt x="528" y="101"/>
                      <a:pt x="538" y="91"/>
                      <a:pt x="538" y="84"/>
                    </a:cubicBezTo>
                    <a:cubicBezTo>
                      <a:pt x="538" y="78"/>
                      <a:pt x="524" y="80"/>
                      <a:pt x="517" y="80"/>
                    </a:cubicBezTo>
                    <a:cubicBezTo>
                      <a:pt x="509" y="80"/>
                      <a:pt x="521" y="74"/>
                      <a:pt x="535" y="75"/>
                    </a:cubicBezTo>
                    <a:cubicBezTo>
                      <a:pt x="548" y="76"/>
                      <a:pt x="542" y="70"/>
                      <a:pt x="545" y="68"/>
                    </a:cubicBezTo>
                    <a:cubicBezTo>
                      <a:pt x="547" y="66"/>
                      <a:pt x="554" y="70"/>
                      <a:pt x="560" y="69"/>
                    </a:cubicBezTo>
                    <a:cubicBezTo>
                      <a:pt x="567" y="67"/>
                      <a:pt x="563" y="62"/>
                      <a:pt x="567" y="62"/>
                    </a:cubicBezTo>
                    <a:cubicBezTo>
                      <a:pt x="570" y="62"/>
                      <a:pt x="578" y="57"/>
                      <a:pt x="593" y="48"/>
                    </a:cubicBezTo>
                    <a:cubicBezTo>
                      <a:pt x="607" y="40"/>
                      <a:pt x="619" y="42"/>
                      <a:pt x="619" y="37"/>
                    </a:cubicBezTo>
                    <a:cubicBezTo>
                      <a:pt x="620" y="32"/>
                      <a:pt x="599" y="37"/>
                      <a:pt x="595" y="36"/>
                    </a:cubicBezTo>
                    <a:cubicBezTo>
                      <a:pt x="592" y="34"/>
                      <a:pt x="610" y="30"/>
                      <a:pt x="614" y="31"/>
                    </a:cubicBezTo>
                    <a:cubicBezTo>
                      <a:pt x="619" y="32"/>
                      <a:pt x="624" y="31"/>
                      <a:pt x="639" y="24"/>
                    </a:cubicBezTo>
                    <a:cubicBezTo>
                      <a:pt x="654" y="17"/>
                      <a:pt x="647" y="15"/>
                      <a:pt x="641" y="16"/>
                    </a:cubicBezTo>
                    <a:cubicBezTo>
                      <a:pt x="635" y="17"/>
                      <a:pt x="628" y="15"/>
                      <a:pt x="629" y="11"/>
                    </a:cubicBezTo>
                    <a:cubicBezTo>
                      <a:pt x="629" y="7"/>
                      <a:pt x="620" y="11"/>
                      <a:pt x="619" y="9"/>
                    </a:cubicBezTo>
                    <a:cubicBezTo>
                      <a:pt x="619" y="7"/>
                      <a:pt x="610" y="8"/>
                      <a:pt x="601" y="11"/>
                    </a:cubicBezTo>
                    <a:cubicBezTo>
                      <a:pt x="592" y="15"/>
                      <a:pt x="600" y="8"/>
                      <a:pt x="604" y="6"/>
                    </a:cubicBezTo>
                    <a:cubicBezTo>
                      <a:pt x="608" y="5"/>
                      <a:pt x="581" y="6"/>
                      <a:pt x="576" y="3"/>
                    </a:cubicBezTo>
                    <a:cubicBezTo>
                      <a:pt x="571" y="0"/>
                      <a:pt x="566" y="8"/>
                      <a:pt x="562" y="4"/>
                    </a:cubicBezTo>
                    <a:cubicBezTo>
                      <a:pt x="558" y="0"/>
                      <a:pt x="547" y="3"/>
                      <a:pt x="548" y="7"/>
                    </a:cubicBezTo>
                    <a:cubicBezTo>
                      <a:pt x="549" y="10"/>
                      <a:pt x="546" y="10"/>
                      <a:pt x="542" y="6"/>
                    </a:cubicBezTo>
                    <a:cubicBezTo>
                      <a:pt x="538" y="3"/>
                      <a:pt x="529" y="7"/>
                      <a:pt x="522" y="6"/>
                    </a:cubicBezTo>
                    <a:cubicBezTo>
                      <a:pt x="514" y="5"/>
                      <a:pt x="518" y="12"/>
                      <a:pt x="509" y="8"/>
                    </a:cubicBezTo>
                    <a:cubicBezTo>
                      <a:pt x="501" y="5"/>
                      <a:pt x="492" y="6"/>
                      <a:pt x="495" y="7"/>
                    </a:cubicBezTo>
                    <a:cubicBezTo>
                      <a:pt x="497" y="8"/>
                      <a:pt x="494" y="11"/>
                      <a:pt x="491" y="10"/>
                    </a:cubicBezTo>
                    <a:cubicBezTo>
                      <a:pt x="487" y="8"/>
                      <a:pt x="484" y="10"/>
                      <a:pt x="486" y="13"/>
                    </a:cubicBezTo>
                    <a:cubicBezTo>
                      <a:pt x="487" y="17"/>
                      <a:pt x="472" y="12"/>
                      <a:pt x="472" y="16"/>
                    </a:cubicBezTo>
                    <a:cubicBezTo>
                      <a:pt x="472" y="20"/>
                      <a:pt x="467" y="22"/>
                      <a:pt x="463" y="19"/>
                    </a:cubicBezTo>
                    <a:cubicBezTo>
                      <a:pt x="458" y="15"/>
                      <a:pt x="445" y="14"/>
                      <a:pt x="449" y="17"/>
                    </a:cubicBezTo>
                    <a:cubicBezTo>
                      <a:pt x="453" y="21"/>
                      <a:pt x="437" y="19"/>
                      <a:pt x="441" y="22"/>
                    </a:cubicBezTo>
                    <a:cubicBezTo>
                      <a:pt x="445" y="25"/>
                      <a:pt x="436" y="28"/>
                      <a:pt x="436" y="26"/>
                    </a:cubicBezTo>
                    <a:cubicBezTo>
                      <a:pt x="436" y="24"/>
                      <a:pt x="427" y="21"/>
                      <a:pt x="423" y="24"/>
                    </a:cubicBezTo>
                    <a:cubicBezTo>
                      <a:pt x="420" y="27"/>
                      <a:pt x="418" y="31"/>
                      <a:pt x="417" y="29"/>
                    </a:cubicBezTo>
                    <a:cubicBezTo>
                      <a:pt x="415" y="27"/>
                      <a:pt x="407" y="28"/>
                      <a:pt x="400" y="31"/>
                    </a:cubicBezTo>
                    <a:cubicBezTo>
                      <a:pt x="392" y="33"/>
                      <a:pt x="401" y="36"/>
                      <a:pt x="406" y="32"/>
                    </a:cubicBezTo>
                    <a:close/>
                    <a:moveTo>
                      <a:pt x="496" y="340"/>
                    </a:moveTo>
                    <a:cubicBezTo>
                      <a:pt x="498" y="340"/>
                      <a:pt x="503" y="331"/>
                      <a:pt x="497" y="331"/>
                    </a:cubicBezTo>
                    <a:cubicBezTo>
                      <a:pt x="490" y="332"/>
                      <a:pt x="492" y="341"/>
                      <a:pt x="496" y="340"/>
                    </a:cubicBezTo>
                    <a:close/>
                    <a:moveTo>
                      <a:pt x="464" y="332"/>
                    </a:moveTo>
                    <a:cubicBezTo>
                      <a:pt x="470" y="336"/>
                      <a:pt x="478" y="326"/>
                      <a:pt x="478" y="323"/>
                    </a:cubicBezTo>
                    <a:cubicBezTo>
                      <a:pt x="477" y="321"/>
                      <a:pt x="457" y="328"/>
                      <a:pt x="464" y="332"/>
                    </a:cubicBezTo>
                    <a:close/>
                    <a:moveTo>
                      <a:pt x="490" y="313"/>
                    </a:moveTo>
                    <a:cubicBezTo>
                      <a:pt x="491" y="309"/>
                      <a:pt x="478" y="308"/>
                      <a:pt x="479" y="304"/>
                    </a:cubicBezTo>
                    <a:cubicBezTo>
                      <a:pt x="479" y="300"/>
                      <a:pt x="467" y="297"/>
                      <a:pt x="463" y="295"/>
                    </a:cubicBezTo>
                    <a:cubicBezTo>
                      <a:pt x="459" y="292"/>
                      <a:pt x="453" y="291"/>
                      <a:pt x="453" y="287"/>
                    </a:cubicBezTo>
                    <a:cubicBezTo>
                      <a:pt x="453" y="283"/>
                      <a:pt x="445" y="286"/>
                      <a:pt x="444" y="292"/>
                    </a:cubicBezTo>
                    <a:cubicBezTo>
                      <a:pt x="444" y="299"/>
                      <a:pt x="440" y="297"/>
                      <a:pt x="442" y="303"/>
                    </a:cubicBezTo>
                    <a:cubicBezTo>
                      <a:pt x="444" y="310"/>
                      <a:pt x="434" y="311"/>
                      <a:pt x="435" y="314"/>
                    </a:cubicBezTo>
                    <a:cubicBezTo>
                      <a:pt x="436" y="317"/>
                      <a:pt x="441" y="314"/>
                      <a:pt x="445" y="314"/>
                    </a:cubicBezTo>
                    <a:cubicBezTo>
                      <a:pt x="450" y="314"/>
                      <a:pt x="444" y="320"/>
                      <a:pt x="450" y="320"/>
                    </a:cubicBezTo>
                    <a:cubicBezTo>
                      <a:pt x="454" y="321"/>
                      <a:pt x="461" y="316"/>
                      <a:pt x="463" y="313"/>
                    </a:cubicBezTo>
                    <a:cubicBezTo>
                      <a:pt x="465" y="310"/>
                      <a:pt x="468" y="309"/>
                      <a:pt x="473" y="312"/>
                    </a:cubicBezTo>
                    <a:cubicBezTo>
                      <a:pt x="478" y="316"/>
                      <a:pt x="489" y="316"/>
                      <a:pt x="490" y="313"/>
                    </a:cubicBezTo>
                    <a:close/>
                    <a:moveTo>
                      <a:pt x="606" y="281"/>
                    </a:moveTo>
                    <a:cubicBezTo>
                      <a:pt x="611" y="282"/>
                      <a:pt x="611" y="287"/>
                      <a:pt x="618" y="293"/>
                    </a:cubicBezTo>
                    <a:cubicBezTo>
                      <a:pt x="625" y="298"/>
                      <a:pt x="626" y="295"/>
                      <a:pt x="627" y="291"/>
                    </a:cubicBezTo>
                    <a:cubicBezTo>
                      <a:pt x="628" y="287"/>
                      <a:pt x="635" y="290"/>
                      <a:pt x="635" y="286"/>
                    </a:cubicBezTo>
                    <a:cubicBezTo>
                      <a:pt x="635" y="282"/>
                      <a:pt x="641" y="277"/>
                      <a:pt x="645" y="276"/>
                    </a:cubicBezTo>
                    <a:cubicBezTo>
                      <a:pt x="650" y="274"/>
                      <a:pt x="642" y="270"/>
                      <a:pt x="636" y="270"/>
                    </a:cubicBezTo>
                    <a:cubicBezTo>
                      <a:pt x="630" y="270"/>
                      <a:pt x="629" y="266"/>
                      <a:pt x="629" y="264"/>
                    </a:cubicBezTo>
                    <a:cubicBezTo>
                      <a:pt x="629" y="261"/>
                      <a:pt x="619" y="255"/>
                      <a:pt x="615" y="256"/>
                    </a:cubicBezTo>
                    <a:cubicBezTo>
                      <a:pt x="611" y="257"/>
                      <a:pt x="605" y="252"/>
                      <a:pt x="601" y="251"/>
                    </a:cubicBezTo>
                    <a:cubicBezTo>
                      <a:pt x="596" y="251"/>
                      <a:pt x="589" y="247"/>
                      <a:pt x="590" y="242"/>
                    </a:cubicBezTo>
                    <a:cubicBezTo>
                      <a:pt x="591" y="237"/>
                      <a:pt x="599" y="244"/>
                      <a:pt x="601" y="240"/>
                    </a:cubicBezTo>
                    <a:cubicBezTo>
                      <a:pt x="603" y="236"/>
                      <a:pt x="592" y="238"/>
                      <a:pt x="592" y="235"/>
                    </a:cubicBezTo>
                    <a:cubicBezTo>
                      <a:pt x="591" y="232"/>
                      <a:pt x="594" y="234"/>
                      <a:pt x="596" y="232"/>
                    </a:cubicBezTo>
                    <a:cubicBezTo>
                      <a:pt x="599" y="230"/>
                      <a:pt x="595" y="226"/>
                      <a:pt x="592" y="225"/>
                    </a:cubicBezTo>
                    <a:cubicBezTo>
                      <a:pt x="590" y="224"/>
                      <a:pt x="589" y="228"/>
                      <a:pt x="586" y="228"/>
                    </a:cubicBezTo>
                    <a:cubicBezTo>
                      <a:pt x="584" y="228"/>
                      <a:pt x="586" y="224"/>
                      <a:pt x="588" y="221"/>
                    </a:cubicBezTo>
                    <a:cubicBezTo>
                      <a:pt x="590" y="219"/>
                      <a:pt x="580" y="216"/>
                      <a:pt x="575" y="217"/>
                    </a:cubicBezTo>
                    <a:cubicBezTo>
                      <a:pt x="571" y="219"/>
                      <a:pt x="570" y="216"/>
                      <a:pt x="570" y="214"/>
                    </a:cubicBezTo>
                    <a:cubicBezTo>
                      <a:pt x="570" y="211"/>
                      <a:pt x="562" y="214"/>
                      <a:pt x="559" y="216"/>
                    </a:cubicBezTo>
                    <a:cubicBezTo>
                      <a:pt x="557" y="218"/>
                      <a:pt x="553" y="214"/>
                      <a:pt x="557" y="213"/>
                    </a:cubicBezTo>
                    <a:cubicBezTo>
                      <a:pt x="560" y="213"/>
                      <a:pt x="564" y="210"/>
                      <a:pt x="563" y="207"/>
                    </a:cubicBezTo>
                    <a:cubicBezTo>
                      <a:pt x="562" y="204"/>
                      <a:pt x="553" y="203"/>
                      <a:pt x="551" y="207"/>
                    </a:cubicBezTo>
                    <a:cubicBezTo>
                      <a:pt x="549" y="211"/>
                      <a:pt x="542" y="203"/>
                      <a:pt x="542" y="200"/>
                    </a:cubicBezTo>
                    <a:cubicBezTo>
                      <a:pt x="542" y="196"/>
                      <a:pt x="530" y="199"/>
                      <a:pt x="532" y="194"/>
                    </a:cubicBezTo>
                    <a:cubicBezTo>
                      <a:pt x="533" y="189"/>
                      <a:pt x="519" y="187"/>
                      <a:pt x="515" y="187"/>
                    </a:cubicBezTo>
                    <a:cubicBezTo>
                      <a:pt x="511" y="187"/>
                      <a:pt x="505" y="190"/>
                      <a:pt x="506" y="194"/>
                    </a:cubicBezTo>
                    <a:cubicBezTo>
                      <a:pt x="507" y="198"/>
                      <a:pt x="502" y="196"/>
                      <a:pt x="501" y="192"/>
                    </a:cubicBezTo>
                    <a:cubicBezTo>
                      <a:pt x="500" y="188"/>
                      <a:pt x="491" y="196"/>
                      <a:pt x="488" y="196"/>
                    </a:cubicBezTo>
                    <a:cubicBezTo>
                      <a:pt x="485" y="196"/>
                      <a:pt x="489" y="186"/>
                      <a:pt x="488" y="183"/>
                    </a:cubicBezTo>
                    <a:cubicBezTo>
                      <a:pt x="487" y="180"/>
                      <a:pt x="484" y="179"/>
                      <a:pt x="482" y="173"/>
                    </a:cubicBezTo>
                    <a:cubicBezTo>
                      <a:pt x="480" y="168"/>
                      <a:pt x="469" y="170"/>
                      <a:pt x="467" y="173"/>
                    </a:cubicBezTo>
                    <a:cubicBezTo>
                      <a:pt x="464" y="176"/>
                      <a:pt x="454" y="175"/>
                      <a:pt x="450" y="180"/>
                    </a:cubicBezTo>
                    <a:cubicBezTo>
                      <a:pt x="445" y="185"/>
                      <a:pt x="450" y="190"/>
                      <a:pt x="452" y="192"/>
                    </a:cubicBezTo>
                    <a:cubicBezTo>
                      <a:pt x="454" y="194"/>
                      <a:pt x="445" y="196"/>
                      <a:pt x="448" y="199"/>
                    </a:cubicBezTo>
                    <a:cubicBezTo>
                      <a:pt x="451" y="202"/>
                      <a:pt x="456" y="201"/>
                      <a:pt x="456" y="205"/>
                    </a:cubicBezTo>
                    <a:cubicBezTo>
                      <a:pt x="457" y="210"/>
                      <a:pt x="445" y="204"/>
                      <a:pt x="443" y="200"/>
                    </a:cubicBezTo>
                    <a:cubicBezTo>
                      <a:pt x="441" y="196"/>
                      <a:pt x="443" y="193"/>
                      <a:pt x="441" y="190"/>
                    </a:cubicBezTo>
                    <a:cubicBezTo>
                      <a:pt x="438" y="187"/>
                      <a:pt x="441" y="183"/>
                      <a:pt x="445" y="178"/>
                    </a:cubicBezTo>
                    <a:cubicBezTo>
                      <a:pt x="450" y="173"/>
                      <a:pt x="453" y="174"/>
                      <a:pt x="453" y="171"/>
                    </a:cubicBezTo>
                    <a:cubicBezTo>
                      <a:pt x="453" y="168"/>
                      <a:pt x="433" y="168"/>
                      <a:pt x="422" y="179"/>
                    </a:cubicBezTo>
                    <a:cubicBezTo>
                      <a:pt x="410" y="190"/>
                      <a:pt x="413" y="204"/>
                      <a:pt x="414" y="207"/>
                    </a:cubicBezTo>
                    <a:cubicBezTo>
                      <a:pt x="415" y="210"/>
                      <a:pt x="425" y="208"/>
                      <a:pt x="431" y="210"/>
                    </a:cubicBezTo>
                    <a:cubicBezTo>
                      <a:pt x="437" y="212"/>
                      <a:pt x="434" y="214"/>
                      <a:pt x="430" y="214"/>
                    </a:cubicBezTo>
                    <a:cubicBezTo>
                      <a:pt x="425" y="213"/>
                      <a:pt x="417" y="211"/>
                      <a:pt x="417" y="215"/>
                    </a:cubicBezTo>
                    <a:cubicBezTo>
                      <a:pt x="418" y="218"/>
                      <a:pt x="427" y="224"/>
                      <a:pt x="433" y="222"/>
                    </a:cubicBezTo>
                    <a:cubicBezTo>
                      <a:pt x="439" y="221"/>
                      <a:pt x="439" y="221"/>
                      <a:pt x="441" y="224"/>
                    </a:cubicBezTo>
                    <a:cubicBezTo>
                      <a:pt x="444" y="227"/>
                      <a:pt x="451" y="226"/>
                      <a:pt x="457" y="227"/>
                    </a:cubicBezTo>
                    <a:cubicBezTo>
                      <a:pt x="464" y="227"/>
                      <a:pt x="472" y="230"/>
                      <a:pt x="475" y="230"/>
                    </a:cubicBezTo>
                    <a:cubicBezTo>
                      <a:pt x="478" y="230"/>
                      <a:pt x="482" y="228"/>
                      <a:pt x="483" y="226"/>
                    </a:cubicBezTo>
                    <a:cubicBezTo>
                      <a:pt x="484" y="225"/>
                      <a:pt x="498" y="229"/>
                      <a:pt x="502" y="229"/>
                    </a:cubicBezTo>
                    <a:cubicBezTo>
                      <a:pt x="506" y="229"/>
                      <a:pt x="503" y="225"/>
                      <a:pt x="501" y="224"/>
                    </a:cubicBezTo>
                    <a:cubicBezTo>
                      <a:pt x="498" y="223"/>
                      <a:pt x="499" y="218"/>
                      <a:pt x="502" y="220"/>
                    </a:cubicBezTo>
                    <a:cubicBezTo>
                      <a:pt x="506" y="222"/>
                      <a:pt x="511" y="223"/>
                      <a:pt x="512" y="226"/>
                    </a:cubicBezTo>
                    <a:cubicBezTo>
                      <a:pt x="513" y="229"/>
                      <a:pt x="516" y="227"/>
                      <a:pt x="516" y="230"/>
                    </a:cubicBezTo>
                    <a:cubicBezTo>
                      <a:pt x="517" y="232"/>
                      <a:pt x="528" y="235"/>
                      <a:pt x="528" y="238"/>
                    </a:cubicBezTo>
                    <a:cubicBezTo>
                      <a:pt x="529" y="241"/>
                      <a:pt x="517" y="242"/>
                      <a:pt x="520" y="245"/>
                    </a:cubicBezTo>
                    <a:cubicBezTo>
                      <a:pt x="524" y="247"/>
                      <a:pt x="529" y="242"/>
                      <a:pt x="533" y="241"/>
                    </a:cubicBezTo>
                    <a:cubicBezTo>
                      <a:pt x="537" y="241"/>
                      <a:pt x="537" y="251"/>
                      <a:pt x="540" y="249"/>
                    </a:cubicBezTo>
                    <a:cubicBezTo>
                      <a:pt x="545" y="247"/>
                      <a:pt x="548" y="251"/>
                      <a:pt x="553" y="257"/>
                    </a:cubicBezTo>
                    <a:cubicBezTo>
                      <a:pt x="557" y="263"/>
                      <a:pt x="552" y="269"/>
                      <a:pt x="553" y="271"/>
                    </a:cubicBezTo>
                    <a:cubicBezTo>
                      <a:pt x="553" y="273"/>
                      <a:pt x="561" y="272"/>
                      <a:pt x="566" y="270"/>
                    </a:cubicBezTo>
                    <a:cubicBezTo>
                      <a:pt x="570" y="267"/>
                      <a:pt x="575" y="273"/>
                      <a:pt x="578" y="276"/>
                    </a:cubicBezTo>
                    <a:cubicBezTo>
                      <a:pt x="582" y="279"/>
                      <a:pt x="565" y="285"/>
                      <a:pt x="566" y="282"/>
                    </a:cubicBezTo>
                    <a:cubicBezTo>
                      <a:pt x="568" y="279"/>
                      <a:pt x="557" y="270"/>
                      <a:pt x="546" y="274"/>
                    </a:cubicBezTo>
                    <a:cubicBezTo>
                      <a:pt x="536" y="278"/>
                      <a:pt x="543" y="284"/>
                      <a:pt x="544" y="288"/>
                    </a:cubicBezTo>
                    <a:cubicBezTo>
                      <a:pt x="545" y="291"/>
                      <a:pt x="535" y="295"/>
                      <a:pt x="525" y="292"/>
                    </a:cubicBezTo>
                    <a:cubicBezTo>
                      <a:pt x="515" y="288"/>
                      <a:pt x="518" y="294"/>
                      <a:pt x="514" y="294"/>
                    </a:cubicBezTo>
                    <a:cubicBezTo>
                      <a:pt x="510" y="294"/>
                      <a:pt x="506" y="300"/>
                      <a:pt x="510" y="304"/>
                    </a:cubicBezTo>
                    <a:cubicBezTo>
                      <a:pt x="513" y="308"/>
                      <a:pt x="521" y="304"/>
                      <a:pt x="528" y="305"/>
                    </a:cubicBezTo>
                    <a:cubicBezTo>
                      <a:pt x="534" y="305"/>
                      <a:pt x="535" y="307"/>
                      <a:pt x="535" y="303"/>
                    </a:cubicBezTo>
                    <a:cubicBezTo>
                      <a:pt x="536" y="300"/>
                      <a:pt x="543" y="301"/>
                      <a:pt x="548" y="302"/>
                    </a:cubicBezTo>
                    <a:cubicBezTo>
                      <a:pt x="552" y="303"/>
                      <a:pt x="551" y="310"/>
                      <a:pt x="557" y="311"/>
                    </a:cubicBezTo>
                    <a:cubicBezTo>
                      <a:pt x="563" y="311"/>
                      <a:pt x="558" y="317"/>
                      <a:pt x="562" y="321"/>
                    </a:cubicBezTo>
                    <a:cubicBezTo>
                      <a:pt x="565" y="325"/>
                      <a:pt x="576" y="323"/>
                      <a:pt x="581" y="327"/>
                    </a:cubicBezTo>
                    <a:cubicBezTo>
                      <a:pt x="585" y="331"/>
                      <a:pt x="603" y="340"/>
                      <a:pt x="606" y="337"/>
                    </a:cubicBezTo>
                    <a:cubicBezTo>
                      <a:pt x="609" y="333"/>
                      <a:pt x="590" y="317"/>
                      <a:pt x="585" y="315"/>
                    </a:cubicBezTo>
                    <a:cubicBezTo>
                      <a:pt x="579" y="314"/>
                      <a:pt x="590" y="312"/>
                      <a:pt x="597" y="317"/>
                    </a:cubicBezTo>
                    <a:cubicBezTo>
                      <a:pt x="604" y="323"/>
                      <a:pt x="614" y="325"/>
                      <a:pt x="619" y="319"/>
                    </a:cubicBezTo>
                    <a:cubicBezTo>
                      <a:pt x="624" y="312"/>
                      <a:pt x="614" y="314"/>
                      <a:pt x="614" y="310"/>
                    </a:cubicBezTo>
                    <a:cubicBezTo>
                      <a:pt x="614" y="305"/>
                      <a:pt x="611" y="298"/>
                      <a:pt x="606" y="298"/>
                    </a:cubicBezTo>
                    <a:cubicBezTo>
                      <a:pt x="601" y="298"/>
                      <a:pt x="588" y="288"/>
                      <a:pt x="593" y="286"/>
                    </a:cubicBezTo>
                    <a:cubicBezTo>
                      <a:pt x="598" y="284"/>
                      <a:pt x="591" y="281"/>
                      <a:pt x="595" y="277"/>
                    </a:cubicBezTo>
                    <a:cubicBezTo>
                      <a:pt x="599" y="273"/>
                      <a:pt x="602" y="281"/>
                      <a:pt x="606" y="281"/>
                    </a:cubicBezTo>
                    <a:close/>
                    <a:moveTo>
                      <a:pt x="531" y="264"/>
                    </a:moveTo>
                    <a:cubicBezTo>
                      <a:pt x="535" y="264"/>
                      <a:pt x="535" y="257"/>
                      <a:pt x="532" y="254"/>
                    </a:cubicBezTo>
                    <a:cubicBezTo>
                      <a:pt x="530" y="251"/>
                      <a:pt x="526" y="251"/>
                      <a:pt x="522" y="251"/>
                    </a:cubicBezTo>
                    <a:cubicBezTo>
                      <a:pt x="518" y="251"/>
                      <a:pt x="511" y="257"/>
                      <a:pt x="515" y="264"/>
                    </a:cubicBezTo>
                    <a:cubicBezTo>
                      <a:pt x="518" y="270"/>
                      <a:pt x="527" y="265"/>
                      <a:pt x="531" y="264"/>
                    </a:cubicBezTo>
                    <a:close/>
                    <a:moveTo>
                      <a:pt x="487" y="171"/>
                    </a:moveTo>
                    <a:cubicBezTo>
                      <a:pt x="484" y="176"/>
                      <a:pt x="491" y="176"/>
                      <a:pt x="492" y="181"/>
                    </a:cubicBezTo>
                    <a:cubicBezTo>
                      <a:pt x="492" y="187"/>
                      <a:pt x="499" y="189"/>
                      <a:pt x="504" y="185"/>
                    </a:cubicBezTo>
                    <a:cubicBezTo>
                      <a:pt x="509" y="182"/>
                      <a:pt x="523" y="186"/>
                      <a:pt x="523" y="182"/>
                    </a:cubicBezTo>
                    <a:cubicBezTo>
                      <a:pt x="523" y="178"/>
                      <a:pt x="508" y="171"/>
                      <a:pt x="503" y="172"/>
                    </a:cubicBezTo>
                    <a:cubicBezTo>
                      <a:pt x="497" y="173"/>
                      <a:pt x="489" y="167"/>
                      <a:pt x="487" y="171"/>
                    </a:cubicBezTo>
                    <a:close/>
                    <a:moveTo>
                      <a:pt x="620" y="475"/>
                    </a:moveTo>
                    <a:cubicBezTo>
                      <a:pt x="621" y="478"/>
                      <a:pt x="642" y="486"/>
                      <a:pt x="642" y="483"/>
                    </a:cubicBezTo>
                    <a:cubicBezTo>
                      <a:pt x="643" y="479"/>
                      <a:pt x="620" y="473"/>
                      <a:pt x="620" y="475"/>
                    </a:cubicBezTo>
                    <a:close/>
                    <a:moveTo>
                      <a:pt x="711" y="496"/>
                    </a:moveTo>
                    <a:cubicBezTo>
                      <a:pt x="709" y="499"/>
                      <a:pt x="707" y="494"/>
                      <a:pt x="710" y="492"/>
                    </a:cubicBezTo>
                    <a:cubicBezTo>
                      <a:pt x="713" y="490"/>
                      <a:pt x="710" y="489"/>
                      <a:pt x="707" y="490"/>
                    </a:cubicBezTo>
                    <a:cubicBezTo>
                      <a:pt x="704" y="492"/>
                      <a:pt x="705" y="484"/>
                      <a:pt x="708" y="482"/>
                    </a:cubicBezTo>
                    <a:cubicBezTo>
                      <a:pt x="710" y="481"/>
                      <a:pt x="701" y="478"/>
                      <a:pt x="701" y="481"/>
                    </a:cubicBezTo>
                    <a:cubicBezTo>
                      <a:pt x="701" y="483"/>
                      <a:pt x="695" y="482"/>
                      <a:pt x="694" y="479"/>
                    </a:cubicBezTo>
                    <a:cubicBezTo>
                      <a:pt x="693" y="477"/>
                      <a:pt x="689" y="476"/>
                      <a:pt x="690" y="474"/>
                    </a:cubicBezTo>
                    <a:cubicBezTo>
                      <a:pt x="692" y="473"/>
                      <a:pt x="685" y="472"/>
                      <a:pt x="684" y="475"/>
                    </a:cubicBezTo>
                    <a:cubicBezTo>
                      <a:pt x="683" y="478"/>
                      <a:pt x="681" y="473"/>
                      <a:pt x="685" y="469"/>
                    </a:cubicBezTo>
                    <a:cubicBezTo>
                      <a:pt x="688" y="465"/>
                      <a:pt x="687" y="462"/>
                      <a:pt x="691" y="460"/>
                    </a:cubicBezTo>
                    <a:cubicBezTo>
                      <a:pt x="694" y="458"/>
                      <a:pt x="690" y="456"/>
                      <a:pt x="687" y="457"/>
                    </a:cubicBezTo>
                    <a:cubicBezTo>
                      <a:pt x="683" y="459"/>
                      <a:pt x="674" y="472"/>
                      <a:pt x="674" y="475"/>
                    </a:cubicBezTo>
                    <a:cubicBezTo>
                      <a:pt x="674" y="479"/>
                      <a:pt x="674" y="483"/>
                      <a:pt x="670" y="483"/>
                    </a:cubicBezTo>
                    <a:cubicBezTo>
                      <a:pt x="667" y="483"/>
                      <a:pt x="663" y="486"/>
                      <a:pt x="666" y="488"/>
                    </a:cubicBezTo>
                    <a:cubicBezTo>
                      <a:pt x="668" y="490"/>
                      <a:pt x="659" y="495"/>
                      <a:pt x="663" y="498"/>
                    </a:cubicBezTo>
                    <a:cubicBezTo>
                      <a:pt x="666" y="499"/>
                      <a:pt x="671" y="497"/>
                      <a:pt x="676" y="497"/>
                    </a:cubicBezTo>
                    <a:cubicBezTo>
                      <a:pt x="680" y="498"/>
                      <a:pt x="683" y="498"/>
                      <a:pt x="687" y="495"/>
                    </a:cubicBezTo>
                    <a:cubicBezTo>
                      <a:pt x="691" y="493"/>
                      <a:pt x="691" y="498"/>
                      <a:pt x="694" y="497"/>
                    </a:cubicBezTo>
                    <a:cubicBezTo>
                      <a:pt x="698" y="497"/>
                      <a:pt x="692" y="500"/>
                      <a:pt x="693" y="503"/>
                    </a:cubicBezTo>
                    <a:cubicBezTo>
                      <a:pt x="693" y="506"/>
                      <a:pt x="697" y="502"/>
                      <a:pt x="699" y="500"/>
                    </a:cubicBezTo>
                    <a:cubicBezTo>
                      <a:pt x="702" y="499"/>
                      <a:pt x="706" y="500"/>
                      <a:pt x="704" y="502"/>
                    </a:cubicBezTo>
                    <a:cubicBezTo>
                      <a:pt x="703" y="505"/>
                      <a:pt x="712" y="507"/>
                      <a:pt x="714" y="503"/>
                    </a:cubicBezTo>
                    <a:cubicBezTo>
                      <a:pt x="717" y="500"/>
                      <a:pt x="712" y="494"/>
                      <a:pt x="711" y="496"/>
                    </a:cubicBezTo>
                    <a:close/>
                    <a:moveTo>
                      <a:pt x="66" y="431"/>
                    </a:moveTo>
                    <a:cubicBezTo>
                      <a:pt x="60" y="434"/>
                      <a:pt x="75" y="450"/>
                      <a:pt x="78" y="448"/>
                    </a:cubicBezTo>
                    <a:cubicBezTo>
                      <a:pt x="81" y="447"/>
                      <a:pt x="75" y="440"/>
                      <a:pt x="75" y="436"/>
                    </a:cubicBezTo>
                    <a:cubicBezTo>
                      <a:pt x="75" y="432"/>
                      <a:pt x="73" y="427"/>
                      <a:pt x="66" y="431"/>
                    </a:cubicBezTo>
                    <a:close/>
                    <a:moveTo>
                      <a:pt x="654" y="512"/>
                    </a:moveTo>
                    <a:cubicBezTo>
                      <a:pt x="651" y="512"/>
                      <a:pt x="653" y="509"/>
                      <a:pt x="654" y="507"/>
                    </a:cubicBezTo>
                    <a:cubicBezTo>
                      <a:pt x="654" y="505"/>
                      <a:pt x="648" y="507"/>
                      <a:pt x="648" y="510"/>
                    </a:cubicBezTo>
                    <a:cubicBezTo>
                      <a:pt x="648" y="512"/>
                      <a:pt x="644" y="513"/>
                      <a:pt x="644" y="514"/>
                    </a:cubicBezTo>
                    <a:cubicBezTo>
                      <a:pt x="644" y="519"/>
                      <a:pt x="644" y="516"/>
                      <a:pt x="641" y="518"/>
                    </a:cubicBezTo>
                    <a:cubicBezTo>
                      <a:pt x="638" y="519"/>
                      <a:pt x="627" y="518"/>
                      <a:pt x="626" y="515"/>
                    </a:cubicBezTo>
                    <a:cubicBezTo>
                      <a:pt x="626" y="513"/>
                      <a:pt x="618" y="512"/>
                      <a:pt x="618" y="508"/>
                    </a:cubicBezTo>
                    <a:cubicBezTo>
                      <a:pt x="617" y="505"/>
                      <a:pt x="613" y="504"/>
                      <a:pt x="617" y="500"/>
                    </a:cubicBezTo>
                    <a:cubicBezTo>
                      <a:pt x="620" y="496"/>
                      <a:pt x="616" y="494"/>
                      <a:pt x="613" y="497"/>
                    </a:cubicBezTo>
                    <a:cubicBezTo>
                      <a:pt x="610" y="500"/>
                      <a:pt x="608" y="496"/>
                      <a:pt x="612" y="494"/>
                    </a:cubicBezTo>
                    <a:cubicBezTo>
                      <a:pt x="616" y="493"/>
                      <a:pt x="624" y="491"/>
                      <a:pt x="620" y="484"/>
                    </a:cubicBezTo>
                    <a:cubicBezTo>
                      <a:pt x="616" y="477"/>
                      <a:pt x="592" y="486"/>
                      <a:pt x="585" y="489"/>
                    </a:cubicBezTo>
                    <a:cubicBezTo>
                      <a:pt x="579" y="493"/>
                      <a:pt x="571" y="504"/>
                      <a:pt x="568" y="504"/>
                    </a:cubicBezTo>
                    <a:cubicBezTo>
                      <a:pt x="565" y="504"/>
                      <a:pt x="574" y="498"/>
                      <a:pt x="575" y="496"/>
                    </a:cubicBezTo>
                    <a:cubicBezTo>
                      <a:pt x="577" y="494"/>
                      <a:pt x="575" y="491"/>
                      <a:pt x="577" y="492"/>
                    </a:cubicBezTo>
                    <a:cubicBezTo>
                      <a:pt x="579" y="493"/>
                      <a:pt x="584" y="485"/>
                      <a:pt x="588" y="482"/>
                    </a:cubicBezTo>
                    <a:cubicBezTo>
                      <a:pt x="592" y="479"/>
                      <a:pt x="596" y="482"/>
                      <a:pt x="596" y="479"/>
                    </a:cubicBezTo>
                    <a:cubicBezTo>
                      <a:pt x="597" y="477"/>
                      <a:pt x="599" y="475"/>
                      <a:pt x="602" y="472"/>
                    </a:cubicBezTo>
                    <a:cubicBezTo>
                      <a:pt x="606" y="469"/>
                      <a:pt x="649" y="470"/>
                      <a:pt x="653" y="470"/>
                    </a:cubicBezTo>
                    <a:cubicBezTo>
                      <a:pt x="657" y="470"/>
                      <a:pt x="665" y="464"/>
                      <a:pt x="667" y="461"/>
                    </a:cubicBezTo>
                    <a:cubicBezTo>
                      <a:pt x="669" y="457"/>
                      <a:pt x="672" y="457"/>
                      <a:pt x="678" y="458"/>
                    </a:cubicBezTo>
                    <a:cubicBezTo>
                      <a:pt x="684" y="458"/>
                      <a:pt x="687" y="453"/>
                      <a:pt x="689" y="451"/>
                    </a:cubicBezTo>
                    <a:cubicBezTo>
                      <a:pt x="692" y="449"/>
                      <a:pt x="691" y="448"/>
                      <a:pt x="689" y="447"/>
                    </a:cubicBezTo>
                    <a:cubicBezTo>
                      <a:pt x="686" y="447"/>
                      <a:pt x="684" y="445"/>
                      <a:pt x="686" y="445"/>
                    </a:cubicBezTo>
                    <a:cubicBezTo>
                      <a:pt x="689" y="445"/>
                      <a:pt x="690" y="443"/>
                      <a:pt x="691" y="440"/>
                    </a:cubicBezTo>
                    <a:cubicBezTo>
                      <a:pt x="692" y="437"/>
                      <a:pt x="690" y="438"/>
                      <a:pt x="687" y="434"/>
                    </a:cubicBezTo>
                    <a:cubicBezTo>
                      <a:pt x="683" y="430"/>
                      <a:pt x="682" y="435"/>
                      <a:pt x="678" y="435"/>
                    </a:cubicBezTo>
                    <a:cubicBezTo>
                      <a:pt x="675" y="435"/>
                      <a:pt x="681" y="430"/>
                      <a:pt x="678" y="429"/>
                    </a:cubicBezTo>
                    <a:cubicBezTo>
                      <a:pt x="675" y="427"/>
                      <a:pt x="670" y="428"/>
                      <a:pt x="665" y="432"/>
                    </a:cubicBezTo>
                    <a:cubicBezTo>
                      <a:pt x="661" y="435"/>
                      <a:pt x="661" y="432"/>
                      <a:pt x="658" y="435"/>
                    </a:cubicBezTo>
                    <a:cubicBezTo>
                      <a:pt x="654" y="439"/>
                      <a:pt x="654" y="433"/>
                      <a:pt x="656" y="432"/>
                    </a:cubicBezTo>
                    <a:cubicBezTo>
                      <a:pt x="657" y="430"/>
                      <a:pt x="659" y="432"/>
                      <a:pt x="660" y="430"/>
                    </a:cubicBezTo>
                    <a:cubicBezTo>
                      <a:pt x="662" y="428"/>
                      <a:pt x="664" y="430"/>
                      <a:pt x="668" y="427"/>
                    </a:cubicBezTo>
                    <a:cubicBezTo>
                      <a:pt x="672" y="425"/>
                      <a:pt x="675" y="426"/>
                      <a:pt x="677" y="424"/>
                    </a:cubicBezTo>
                    <a:cubicBezTo>
                      <a:pt x="678" y="422"/>
                      <a:pt x="675" y="419"/>
                      <a:pt x="671" y="420"/>
                    </a:cubicBezTo>
                    <a:cubicBezTo>
                      <a:pt x="667" y="421"/>
                      <a:pt x="664" y="415"/>
                      <a:pt x="662" y="417"/>
                    </a:cubicBezTo>
                    <a:cubicBezTo>
                      <a:pt x="659" y="418"/>
                      <a:pt x="660" y="414"/>
                      <a:pt x="657" y="416"/>
                    </a:cubicBezTo>
                    <a:cubicBezTo>
                      <a:pt x="654" y="417"/>
                      <a:pt x="652" y="415"/>
                      <a:pt x="651" y="412"/>
                    </a:cubicBezTo>
                    <a:cubicBezTo>
                      <a:pt x="650" y="408"/>
                      <a:pt x="642" y="403"/>
                      <a:pt x="637" y="401"/>
                    </a:cubicBezTo>
                    <a:cubicBezTo>
                      <a:pt x="633" y="400"/>
                      <a:pt x="636" y="397"/>
                      <a:pt x="638" y="399"/>
                    </a:cubicBezTo>
                    <a:cubicBezTo>
                      <a:pt x="641" y="401"/>
                      <a:pt x="644" y="397"/>
                      <a:pt x="645" y="396"/>
                    </a:cubicBezTo>
                    <a:cubicBezTo>
                      <a:pt x="646" y="394"/>
                      <a:pt x="643" y="392"/>
                      <a:pt x="642" y="392"/>
                    </a:cubicBezTo>
                    <a:cubicBezTo>
                      <a:pt x="640" y="392"/>
                      <a:pt x="640" y="390"/>
                      <a:pt x="641" y="388"/>
                    </a:cubicBezTo>
                    <a:cubicBezTo>
                      <a:pt x="641" y="386"/>
                      <a:pt x="636" y="384"/>
                      <a:pt x="635" y="382"/>
                    </a:cubicBezTo>
                    <a:cubicBezTo>
                      <a:pt x="635" y="380"/>
                      <a:pt x="632" y="379"/>
                      <a:pt x="632" y="377"/>
                    </a:cubicBezTo>
                    <a:cubicBezTo>
                      <a:pt x="632" y="376"/>
                      <a:pt x="629" y="373"/>
                      <a:pt x="629" y="371"/>
                    </a:cubicBezTo>
                    <a:cubicBezTo>
                      <a:pt x="629" y="369"/>
                      <a:pt x="624" y="365"/>
                      <a:pt x="624" y="362"/>
                    </a:cubicBezTo>
                    <a:cubicBezTo>
                      <a:pt x="624" y="360"/>
                      <a:pt x="621" y="358"/>
                      <a:pt x="620" y="355"/>
                    </a:cubicBezTo>
                    <a:cubicBezTo>
                      <a:pt x="619" y="352"/>
                      <a:pt x="617" y="353"/>
                      <a:pt x="616" y="358"/>
                    </a:cubicBezTo>
                    <a:cubicBezTo>
                      <a:pt x="615" y="362"/>
                      <a:pt x="611" y="362"/>
                      <a:pt x="612" y="363"/>
                    </a:cubicBezTo>
                    <a:cubicBezTo>
                      <a:pt x="615" y="366"/>
                      <a:pt x="613" y="366"/>
                      <a:pt x="611" y="368"/>
                    </a:cubicBezTo>
                    <a:cubicBezTo>
                      <a:pt x="610" y="370"/>
                      <a:pt x="612" y="372"/>
                      <a:pt x="610" y="372"/>
                    </a:cubicBezTo>
                    <a:cubicBezTo>
                      <a:pt x="607" y="372"/>
                      <a:pt x="608" y="378"/>
                      <a:pt x="607" y="376"/>
                    </a:cubicBezTo>
                    <a:cubicBezTo>
                      <a:pt x="605" y="373"/>
                      <a:pt x="602" y="374"/>
                      <a:pt x="602" y="376"/>
                    </a:cubicBezTo>
                    <a:cubicBezTo>
                      <a:pt x="602" y="379"/>
                      <a:pt x="596" y="381"/>
                      <a:pt x="594" y="381"/>
                    </a:cubicBezTo>
                    <a:cubicBezTo>
                      <a:pt x="592" y="381"/>
                      <a:pt x="592" y="376"/>
                      <a:pt x="590" y="377"/>
                    </a:cubicBezTo>
                    <a:cubicBezTo>
                      <a:pt x="588" y="379"/>
                      <a:pt x="588" y="373"/>
                      <a:pt x="585" y="373"/>
                    </a:cubicBezTo>
                    <a:cubicBezTo>
                      <a:pt x="582" y="374"/>
                      <a:pt x="580" y="373"/>
                      <a:pt x="581" y="371"/>
                    </a:cubicBezTo>
                    <a:cubicBezTo>
                      <a:pt x="582" y="368"/>
                      <a:pt x="576" y="367"/>
                      <a:pt x="578" y="365"/>
                    </a:cubicBezTo>
                    <a:cubicBezTo>
                      <a:pt x="580" y="363"/>
                      <a:pt x="577" y="361"/>
                      <a:pt x="577" y="356"/>
                    </a:cubicBezTo>
                    <a:cubicBezTo>
                      <a:pt x="576" y="351"/>
                      <a:pt x="579" y="351"/>
                      <a:pt x="579" y="349"/>
                    </a:cubicBezTo>
                    <a:cubicBezTo>
                      <a:pt x="579" y="347"/>
                      <a:pt x="577" y="347"/>
                      <a:pt x="575" y="349"/>
                    </a:cubicBezTo>
                    <a:cubicBezTo>
                      <a:pt x="573" y="350"/>
                      <a:pt x="573" y="347"/>
                      <a:pt x="571" y="347"/>
                    </a:cubicBezTo>
                    <a:cubicBezTo>
                      <a:pt x="568" y="347"/>
                      <a:pt x="561" y="347"/>
                      <a:pt x="561" y="344"/>
                    </a:cubicBezTo>
                    <a:cubicBezTo>
                      <a:pt x="561" y="340"/>
                      <a:pt x="558" y="342"/>
                      <a:pt x="557" y="339"/>
                    </a:cubicBezTo>
                    <a:cubicBezTo>
                      <a:pt x="556" y="336"/>
                      <a:pt x="553" y="338"/>
                      <a:pt x="553" y="336"/>
                    </a:cubicBezTo>
                    <a:cubicBezTo>
                      <a:pt x="553" y="334"/>
                      <a:pt x="552" y="333"/>
                      <a:pt x="550" y="333"/>
                    </a:cubicBezTo>
                    <a:cubicBezTo>
                      <a:pt x="548" y="333"/>
                      <a:pt x="547" y="330"/>
                      <a:pt x="544" y="330"/>
                    </a:cubicBezTo>
                    <a:cubicBezTo>
                      <a:pt x="541" y="330"/>
                      <a:pt x="538" y="332"/>
                      <a:pt x="536" y="333"/>
                    </a:cubicBezTo>
                    <a:cubicBezTo>
                      <a:pt x="535" y="333"/>
                      <a:pt x="530" y="330"/>
                      <a:pt x="529" y="331"/>
                    </a:cubicBezTo>
                    <a:cubicBezTo>
                      <a:pt x="527" y="333"/>
                      <a:pt x="527" y="331"/>
                      <a:pt x="522" y="329"/>
                    </a:cubicBezTo>
                    <a:cubicBezTo>
                      <a:pt x="518" y="328"/>
                      <a:pt x="512" y="328"/>
                      <a:pt x="512" y="329"/>
                    </a:cubicBezTo>
                    <a:cubicBezTo>
                      <a:pt x="511" y="331"/>
                      <a:pt x="508" y="331"/>
                      <a:pt x="508" y="335"/>
                    </a:cubicBezTo>
                    <a:cubicBezTo>
                      <a:pt x="509" y="339"/>
                      <a:pt x="513" y="338"/>
                      <a:pt x="514" y="341"/>
                    </a:cubicBezTo>
                    <a:cubicBezTo>
                      <a:pt x="514" y="343"/>
                      <a:pt x="512" y="342"/>
                      <a:pt x="512" y="345"/>
                    </a:cubicBezTo>
                    <a:cubicBezTo>
                      <a:pt x="511" y="347"/>
                      <a:pt x="509" y="347"/>
                      <a:pt x="509" y="348"/>
                    </a:cubicBezTo>
                    <a:cubicBezTo>
                      <a:pt x="509" y="350"/>
                      <a:pt x="511" y="350"/>
                      <a:pt x="512" y="353"/>
                    </a:cubicBezTo>
                    <a:cubicBezTo>
                      <a:pt x="512" y="356"/>
                      <a:pt x="514" y="356"/>
                      <a:pt x="515" y="360"/>
                    </a:cubicBezTo>
                    <a:cubicBezTo>
                      <a:pt x="515" y="364"/>
                      <a:pt x="513" y="364"/>
                      <a:pt x="512" y="364"/>
                    </a:cubicBezTo>
                    <a:cubicBezTo>
                      <a:pt x="510" y="365"/>
                      <a:pt x="512" y="367"/>
                      <a:pt x="509" y="370"/>
                    </a:cubicBezTo>
                    <a:cubicBezTo>
                      <a:pt x="507" y="372"/>
                      <a:pt x="505" y="376"/>
                      <a:pt x="507" y="377"/>
                    </a:cubicBezTo>
                    <a:cubicBezTo>
                      <a:pt x="509" y="379"/>
                      <a:pt x="516" y="382"/>
                      <a:pt x="519" y="387"/>
                    </a:cubicBezTo>
                    <a:cubicBezTo>
                      <a:pt x="522" y="392"/>
                      <a:pt x="521" y="399"/>
                      <a:pt x="520" y="405"/>
                    </a:cubicBezTo>
                    <a:cubicBezTo>
                      <a:pt x="520" y="410"/>
                      <a:pt x="514" y="411"/>
                      <a:pt x="509" y="416"/>
                    </a:cubicBezTo>
                    <a:cubicBezTo>
                      <a:pt x="505" y="420"/>
                      <a:pt x="500" y="420"/>
                      <a:pt x="498" y="420"/>
                    </a:cubicBezTo>
                    <a:cubicBezTo>
                      <a:pt x="496" y="420"/>
                      <a:pt x="497" y="424"/>
                      <a:pt x="500" y="428"/>
                    </a:cubicBezTo>
                    <a:cubicBezTo>
                      <a:pt x="503" y="431"/>
                      <a:pt x="501" y="432"/>
                      <a:pt x="502" y="436"/>
                    </a:cubicBezTo>
                    <a:cubicBezTo>
                      <a:pt x="504" y="439"/>
                      <a:pt x="502" y="442"/>
                      <a:pt x="504" y="445"/>
                    </a:cubicBezTo>
                    <a:cubicBezTo>
                      <a:pt x="507" y="449"/>
                      <a:pt x="505" y="450"/>
                      <a:pt x="503" y="452"/>
                    </a:cubicBezTo>
                    <a:cubicBezTo>
                      <a:pt x="500" y="455"/>
                      <a:pt x="504" y="453"/>
                      <a:pt x="504" y="456"/>
                    </a:cubicBezTo>
                    <a:cubicBezTo>
                      <a:pt x="504" y="459"/>
                      <a:pt x="503" y="458"/>
                      <a:pt x="500" y="456"/>
                    </a:cubicBezTo>
                    <a:cubicBezTo>
                      <a:pt x="498" y="454"/>
                      <a:pt x="496" y="459"/>
                      <a:pt x="496" y="461"/>
                    </a:cubicBezTo>
                    <a:cubicBezTo>
                      <a:pt x="496" y="463"/>
                      <a:pt x="490" y="458"/>
                      <a:pt x="489" y="458"/>
                    </a:cubicBezTo>
                    <a:cubicBezTo>
                      <a:pt x="488" y="459"/>
                      <a:pt x="489" y="455"/>
                      <a:pt x="486" y="453"/>
                    </a:cubicBezTo>
                    <a:cubicBezTo>
                      <a:pt x="483" y="450"/>
                      <a:pt x="481" y="450"/>
                      <a:pt x="481" y="447"/>
                    </a:cubicBezTo>
                    <a:cubicBezTo>
                      <a:pt x="481" y="445"/>
                      <a:pt x="475" y="443"/>
                      <a:pt x="475" y="440"/>
                    </a:cubicBezTo>
                    <a:cubicBezTo>
                      <a:pt x="475" y="437"/>
                      <a:pt x="476" y="430"/>
                      <a:pt x="474" y="428"/>
                    </a:cubicBezTo>
                    <a:cubicBezTo>
                      <a:pt x="473" y="426"/>
                      <a:pt x="474" y="423"/>
                      <a:pt x="475" y="422"/>
                    </a:cubicBezTo>
                    <a:cubicBezTo>
                      <a:pt x="476" y="420"/>
                      <a:pt x="474" y="417"/>
                      <a:pt x="471" y="417"/>
                    </a:cubicBezTo>
                    <a:cubicBezTo>
                      <a:pt x="468" y="417"/>
                      <a:pt x="463" y="415"/>
                      <a:pt x="459" y="416"/>
                    </a:cubicBezTo>
                    <a:cubicBezTo>
                      <a:pt x="454" y="416"/>
                      <a:pt x="452" y="415"/>
                      <a:pt x="450" y="414"/>
                    </a:cubicBezTo>
                    <a:cubicBezTo>
                      <a:pt x="449" y="413"/>
                      <a:pt x="445" y="410"/>
                      <a:pt x="439" y="409"/>
                    </a:cubicBezTo>
                    <a:cubicBezTo>
                      <a:pt x="434" y="407"/>
                      <a:pt x="431" y="405"/>
                      <a:pt x="431" y="403"/>
                    </a:cubicBezTo>
                    <a:cubicBezTo>
                      <a:pt x="430" y="401"/>
                      <a:pt x="425" y="400"/>
                      <a:pt x="423" y="399"/>
                    </a:cubicBezTo>
                    <a:cubicBezTo>
                      <a:pt x="422" y="397"/>
                      <a:pt x="417" y="396"/>
                      <a:pt x="415" y="396"/>
                    </a:cubicBezTo>
                    <a:cubicBezTo>
                      <a:pt x="413" y="397"/>
                      <a:pt x="407" y="392"/>
                      <a:pt x="404" y="392"/>
                    </a:cubicBezTo>
                    <a:cubicBezTo>
                      <a:pt x="401" y="392"/>
                      <a:pt x="393" y="395"/>
                      <a:pt x="392" y="396"/>
                    </a:cubicBezTo>
                    <a:cubicBezTo>
                      <a:pt x="391" y="396"/>
                      <a:pt x="392" y="393"/>
                      <a:pt x="393" y="392"/>
                    </a:cubicBezTo>
                    <a:cubicBezTo>
                      <a:pt x="394" y="390"/>
                      <a:pt x="390" y="385"/>
                      <a:pt x="390" y="382"/>
                    </a:cubicBezTo>
                    <a:cubicBezTo>
                      <a:pt x="389" y="378"/>
                      <a:pt x="387" y="374"/>
                      <a:pt x="384" y="375"/>
                    </a:cubicBezTo>
                    <a:cubicBezTo>
                      <a:pt x="380" y="375"/>
                      <a:pt x="376" y="373"/>
                      <a:pt x="375" y="372"/>
                    </a:cubicBezTo>
                    <a:cubicBezTo>
                      <a:pt x="374" y="372"/>
                      <a:pt x="374" y="362"/>
                      <a:pt x="374" y="357"/>
                    </a:cubicBezTo>
                    <a:cubicBezTo>
                      <a:pt x="375" y="353"/>
                      <a:pt x="380" y="347"/>
                      <a:pt x="380" y="344"/>
                    </a:cubicBezTo>
                    <a:cubicBezTo>
                      <a:pt x="380" y="341"/>
                      <a:pt x="383" y="340"/>
                      <a:pt x="386" y="339"/>
                    </a:cubicBezTo>
                    <a:cubicBezTo>
                      <a:pt x="388" y="339"/>
                      <a:pt x="386" y="333"/>
                      <a:pt x="389" y="333"/>
                    </a:cubicBezTo>
                    <a:cubicBezTo>
                      <a:pt x="392" y="333"/>
                      <a:pt x="392" y="332"/>
                      <a:pt x="392" y="329"/>
                    </a:cubicBezTo>
                    <a:cubicBezTo>
                      <a:pt x="393" y="327"/>
                      <a:pt x="396" y="329"/>
                      <a:pt x="394" y="327"/>
                    </a:cubicBezTo>
                    <a:cubicBezTo>
                      <a:pt x="392" y="325"/>
                      <a:pt x="394" y="325"/>
                      <a:pt x="398" y="325"/>
                    </a:cubicBezTo>
                    <a:cubicBezTo>
                      <a:pt x="402" y="325"/>
                      <a:pt x="408" y="323"/>
                      <a:pt x="407" y="319"/>
                    </a:cubicBezTo>
                    <a:cubicBezTo>
                      <a:pt x="406" y="315"/>
                      <a:pt x="396" y="318"/>
                      <a:pt x="396" y="315"/>
                    </a:cubicBezTo>
                    <a:cubicBezTo>
                      <a:pt x="396" y="311"/>
                      <a:pt x="382" y="311"/>
                      <a:pt x="383" y="309"/>
                    </a:cubicBezTo>
                    <a:cubicBezTo>
                      <a:pt x="384" y="307"/>
                      <a:pt x="397" y="311"/>
                      <a:pt x="401" y="312"/>
                    </a:cubicBezTo>
                    <a:cubicBezTo>
                      <a:pt x="406" y="314"/>
                      <a:pt x="407" y="314"/>
                      <a:pt x="411" y="314"/>
                    </a:cubicBezTo>
                    <a:cubicBezTo>
                      <a:pt x="415" y="314"/>
                      <a:pt x="412" y="309"/>
                      <a:pt x="413" y="307"/>
                    </a:cubicBezTo>
                    <a:cubicBezTo>
                      <a:pt x="413" y="305"/>
                      <a:pt x="421" y="310"/>
                      <a:pt x="425" y="309"/>
                    </a:cubicBezTo>
                    <a:cubicBezTo>
                      <a:pt x="429" y="308"/>
                      <a:pt x="433" y="299"/>
                      <a:pt x="436" y="297"/>
                    </a:cubicBezTo>
                    <a:cubicBezTo>
                      <a:pt x="440" y="295"/>
                      <a:pt x="436" y="293"/>
                      <a:pt x="430" y="293"/>
                    </a:cubicBezTo>
                    <a:cubicBezTo>
                      <a:pt x="423" y="294"/>
                      <a:pt x="420" y="291"/>
                      <a:pt x="416" y="288"/>
                    </a:cubicBezTo>
                    <a:cubicBezTo>
                      <a:pt x="412" y="286"/>
                      <a:pt x="413" y="284"/>
                      <a:pt x="417" y="284"/>
                    </a:cubicBezTo>
                    <a:cubicBezTo>
                      <a:pt x="420" y="284"/>
                      <a:pt x="429" y="292"/>
                      <a:pt x="433" y="292"/>
                    </a:cubicBezTo>
                    <a:cubicBezTo>
                      <a:pt x="436" y="292"/>
                      <a:pt x="442" y="285"/>
                      <a:pt x="445" y="283"/>
                    </a:cubicBezTo>
                    <a:cubicBezTo>
                      <a:pt x="448" y="281"/>
                      <a:pt x="442" y="280"/>
                      <a:pt x="440" y="278"/>
                    </a:cubicBezTo>
                    <a:cubicBezTo>
                      <a:pt x="438" y="277"/>
                      <a:pt x="443" y="276"/>
                      <a:pt x="446" y="276"/>
                    </a:cubicBezTo>
                    <a:cubicBezTo>
                      <a:pt x="449" y="276"/>
                      <a:pt x="450" y="278"/>
                      <a:pt x="451" y="280"/>
                    </a:cubicBezTo>
                    <a:cubicBezTo>
                      <a:pt x="453" y="281"/>
                      <a:pt x="458" y="279"/>
                      <a:pt x="460" y="279"/>
                    </a:cubicBezTo>
                    <a:cubicBezTo>
                      <a:pt x="463" y="279"/>
                      <a:pt x="460" y="275"/>
                      <a:pt x="456" y="273"/>
                    </a:cubicBezTo>
                    <a:cubicBezTo>
                      <a:pt x="451" y="271"/>
                      <a:pt x="456" y="268"/>
                      <a:pt x="457" y="271"/>
                    </a:cubicBezTo>
                    <a:cubicBezTo>
                      <a:pt x="458" y="273"/>
                      <a:pt x="461" y="273"/>
                      <a:pt x="463" y="276"/>
                    </a:cubicBezTo>
                    <a:cubicBezTo>
                      <a:pt x="465" y="280"/>
                      <a:pt x="466" y="277"/>
                      <a:pt x="469" y="276"/>
                    </a:cubicBezTo>
                    <a:cubicBezTo>
                      <a:pt x="473" y="275"/>
                      <a:pt x="475" y="272"/>
                      <a:pt x="477" y="270"/>
                    </a:cubicBezTo>
                    <a:cubicBezTo>
                      <a:pt x="479" y="268"/>
                      <a:pt x="479" y="271"/>
                      <a:pt x="481" y="267"/>
                    </a:cubicBezTo>
                    <a:cubicBezTo>
                      <a:pt x="484" y="264"/>
                      <a:pt x="480" y="261"/>
                      <a:pt x="478" y="259"/>
                    </a:cubicBezTo>
                    <a:cubicBezTo>
                      <a:pt x="475" y="256"/>
                      <a:pt x="478" y="254"/>
                      <a:pt x="475" y="253"/>
                    </a:cubicBezTo>
                    <a:cubicBezTo>
                      <a:pt x="472" y="251"/>
                      <a:pt x="471" y="249"/>
                      <a:pt x="475" y="249"/>
                    </a:cubicBezTo>
                    <a:cubicBezTo>
                      <a:pt x="479" y="250"/>
                      <a:pt x="481" y="249"/>
                      <a:pt x="483" y="247"/>
                    </a:cubicBezTo>
                    <a:cubicBezTo>
                      <a:pt x="485" y="244"/>
                      <a:pt x="478" y="244"/>
                      <a:pt x="481" y="242"/>
                    </a:cubicBezTo>
                    <a:cubicBezTo>
                      <a:pt x="484" y="240"/>
                      <a:pt x="481" y="238"/>
                      <a:pt x="478" y="238"/>
                    </a:cubicBezTo>
                    <a:cubicBezTo>
                      <a:pt x="475" y="238"/>
                      <a:pt x="472" y="237"/>
                      <a:pt x="472" y="234"/>
                    </a:cubicBezTo>
                    <a:cubicBezTo>
                      <a:pt x="472" y="231"/>
                      <a:pt x="466" y="233"/>
                      <a:pt x="463" y="231"/>
                    </a:cubicBezTo>
                    <a:cubicBezTo>
                      <a:pt x="460" y="230"/>
                      <a:pt x="452" y="230"/>
                      <a:pt x="450" y="230"/>
                    </a:cubicBezTo>
                    <a:cubicBezTo>
                      <a:pt x="449" y="231"/>
                      <a:pt x="448" y="238"/>
                      <a:pt x="451" y="238"/>
                    </a:cubicBezTo>
                    <a:cubicBezTo>
                      <a:pt x="454" y="238"/>
                      <a:pt x="456" y="241"/>
                      <a:pt x="454" y="242"/>
                    </a:cubicBezTo>
                    <a:cubicBezTo>
                      <a:pt x="451" y="243"/>
                      <a:pt x="454" y="246"/>
                      <a:pt x="452" y="245"/>
                    </a:cubicBezTo>
                    <a:cubicBezTo>
                      <a:pt x="450" y="245"/>
                      <a:pt x="448" y="244"/>
                      <a:pt x="447" y="249"/>
                    </a:cubicBezTo>
                    <a:cubicBezTo>
                      <a:pt x="446" y="254"/>
                      <a:pt x="446" y="255"/>
                      <a:pt x="443" y="257"/>
                    </a:cubicBezTo>
                    <a:cubicBezTo>
                      <a:pt x="440" y="259"/>
                      <a:pt x="442" y="252"/>
                      <a:pt x="440" y="252"/>
                    </a:cubicBezTo>
                    <a:cubicBezTo>
                      <a:pt x="437" y="252"/>
                      <a:pt x="436" y="258"/>
                      <a:pt x="438" y="258"/>
                    </a:cubicBezTo>
                    <a:cubicBezTo>
                      <a:pt x="441" y="259"/>
                      <a:pt x="441" y="261"/>
                      <a:pt x="441" y="263"/>
                    </a:cubicBezTo>
                    <a:cubicBezTo>
                      <a:pt x="442" y="266"/>
                      <a:pt x="438" y="264"/>
                      <a:pt x="436" y="267"/>
                    </a:cubicBezTo>
                    <a:cubicBezTo>
                      <a:pt x="434" y="270"/>
                      <a:pt x="434" y="266"/>
                      <a:pt x="431" y="264"/>
                    </a:cubicBezTo>
                    <a:cubicBezTo>
                      <a:pt x="429" y="262"/>
                      <a:pt x="426" y="258"/>
                      <a:pt x="426" y="255"/>
                    </a:cubicBezTo>
                    <a:cubicBezTo>
                      <a:pt x="426" y="253"/>
                      <a:pt x="427" y="252"/>
                      <a:pt x="429" y="252"/>
                    </a:cubicBezTo>
                    <a:cubicBezTo>
                      <a:pt x="431" y="251"/>
                      <a:pt x="429" y="250"/>
                      <a:pt x="429" y="246"/>
                    </a:cubicBezTo>
                    <a:cubicBezTo>
                      <a:pt x="429" y="243"/>
                      <a:pt x="427" y="244"/>
                      <a:pt x="424" y="241"/>
                    </a:cubicBezTo>
                    <a:cubicBezTo>
                      <a:pt x="421" y="237"/>
                      <a:pt x="418" y="237"/>
                      <a:pt x="416" y="239"/>
                    </a:cubicBezTo>
                    <a:cubicBezTo>
                      <a:pt x="415" y="241"/>
                      <a:pt x="416" y="244"/>
                      <a:pt x="413" y="245"/>
                    </a:cubicBezTo>
                    <a:cubicBezTo>
                      <a:pt x="411" y="246"/>
                      <a:pt x="412" y="251"/>
                      <a:pt x="410" y="251"/>
                    </a:cubicBezTo>
                    <a:cubicBezTo>
                      <a:pt x="408" y="252"/>
                      <a:pt x="409" y="242"/>
                      <a:pt x="407" y="242"/>
                    </a:cubicBezTo>
                    <a:cubicBezTo>
                      <a:pt x="405" y="241"/>
                      <a:pt x="405" y="239"/>
                      <a:pt x="408" y="238"/>
                    </a:cubicBezTo>
                    <a:cubicBezTo>
                      <a:pt x="411" y="238"/>
                      <a:pt x="412" y="235"/>
                      <a:pt x="410" y="235"/>
                    </a:cubicBezTo>
                    <a:cubicBezTo>
                      <a:pt x="408" y="235"/>
                      <a:pt x="404" y="232"/>
                      <a:pt x="402" y="232"/>
                    </a:cubicBezTo>
                    <a:cubicBezTo>
                      <a:pt x="400" y="231"/>
                      <a:pt x="398" y="235"/>
                      <a:pt x="396" y="233"/>
                    </a:cubicBezTo>
                    <a:cubicBezTo>
                      <a:pt x="394" y="232"/>
                      <a:pt x="396" y="228"/>
                      <a:pt x="396" y="226"/>
                    </a:cubicBezTo>
                    <a:cubicBezTo>
                      <a:pt x="397" y="224"/>
                      <a:pt x="399" y="227"/>
                      <a:pt x="401" y="225"/>
                    </a:cubicBezTo>
                    <a:cubicBezTo>
                      <a:pt x="403" y="222"/>
                      <a:pt x="396" y="222"/>
                      <a:pt x="396" y="220"/>
                    </a:cubicBezTo>
                    <a:cubicBezTo>
                      <a:pt x="396" y="217"/>
                      <a:pt x="391" y="216"/>
                      <a:pt x="389" y="215"/>
                    </a:cubicBezTo>
                    <a:cubicBezTo>
                      <a:pt x="387" y="214"/>
                      <a:pt x="390" y="210"/>
                      <a:pt x="389" y="208"/>
                    </a:cubicBezTo>
                    <a:cubicBezTo>
                      <a:pt x="388" y="206"/>
                      <a:pt x="382" y="201"/>
                      <a:pt x="379" y="201"/>
                    </a:cubicBezTo>
                    <a:cubicBezTo>
                      <a:pt x="376" y="202"/>
                      <a:pt x="375" y="197"/>
                      <a:pt x="377" y="198"/>
                    </a:cubicBezTo>
                    <a:cubicBezTo>
                      <a:pt x="379" y="198"/>
                      <a:pt x="380" y="197"/>
                      <a:pt x="383" y="193"/>
                    </a:cubicBezTo>
                    <a:cubicBezTo>
                      <a:pt x="386" y="190"/>
                      <a:pt x="386" y="189"/>
                      <a:pt x="384" y="188"/>
                    </a:cubicBezTo>
                    <a:cubicBezTo>
                      <a:pt x="382" y="187"/>
                      <a:pt x="381" y="185"/>
                      <a:pt x="385" y="185"/>
                    </a:cubicBezTo>
                    <a:cubicBezTo>
                      <a:pt x="388" y="186"/>
                      <a:pt x="395" y="188"/>
                      <a:pt x="397" y="186"/>
                    </a:cubicBezTo>
                    <a:cubicBezTo>
                      <a:pt x="399" y="185"/>
                      <a:pt x="406" y="174"/>
                      <a:pt x="409" y="171"/>
                    </a:cubicBezTo>
                    <a:cubicBezTo>
                      <a:pt x="411" y="167"/>
                      <a:pt x="407" y="166"/>
                      <a:pt x="400" y="167"/>
                    </a:cubicBezTo>
                    <a:cubicBezTo>
                      <a:pt x="394" y="168"/>
                      <a:pt x="392" y="165"/>
                      <a:pt x="387" y="164"/>
                    </a:cubicBezTo>
                    <a:cubicBezTo>
                      <a:pt x="382" y="164"/>
                      <a:pt x="372" y="165"/>
                      <a:pt x="370" y="167"/>
                    </a:cubicBezTo>
                    <a:cubicBezTo>
                      <a:pt x="369" y="168"/>
                      <a:pt x="373" y="170"/>
                      <a:pt x="372" y="172"/>
                    </a:cubicBezTo>
                    <a:cubicBezTo>
                      <a:pt x="372" y="173"/>
                      <a:pt x="369" y="170"/>
                      <a:pt x="367" y="171"/>
                    </a:cubicBezTo>
                    <a:cubicBezTo>
                      <a:pt x="366" y="172"/>
                      <a:pt x="368" y="174"/>
                      <a:pt x="367" y="180"/>
                    </a:cubicBezTo>
                    <a:cubicBezTo>
                      <a:pt x="367" y="187"/>
                      <a:pt x="369" y="187"/>
                      <a:pt x="370" y="189"/>
                    </a:cubicBezTo>
                    <a:cubicBezTo>
                      <a:pt x="372" y="192"/>
                      <a:pt x="372" y="195"/>
                      <a:pt x="372" y="199"/>
                    </a:cubicBezTo>
                    <a:cubicBezTo>
                      <a:pt x="372" y="203"/>
                      <a:pt x="368" y="202"/>
                      <a:pt x="367" y="203"/>
                    </a:cubicBezTo>
                    <a:cubicBezTo>
                      <a:pt x="366" y="204"/>
                      <a:pt x="370" y="206"/>
                      <a:pt x="369" y="208"/>
                    </a:cubicBezTo>
                    <a:cubicBezTo>
                      <a:pt x="369" y="211"/>
                      <a:pt x="365" y="207"/>
                      <a:pt x="363" y="207"/>
                    </a:cubicBezTo>
                    <a:cubicBezTo>
                      <a:pt x="361" y="208"/>
                      <a:pt x="359" y="214"/>
                      <a:pt x="361" y="216"/>
                    </a:cubicBezTo>
                    <a:cubicBezTo>
                      <a:pt x="363" y="218"/>
                      <a:pt x="364" y="218"/>
                      <a:pt x="362" y="220"/>
                    </a:cubicBezTo>
                    <a:cubicBezTo>
                      <a:pt x="361" y="222"/>
                      <a:pt x="359" y="226"/>
                      <a:pt x="363" y="229"/>
                    </a:cubicBezTo>
                    <a:cubicBezTo>
                      <a:pt x="367" y="232"/>
                      <a:pt x="375" y="232"/>
                      <a:pt x="379" y="235"/>
                    </a:cubicBezTo>
                    <a:cubicBezTo>
                      <a:pt x="383" y="237"/>
                      <a:pt x="377" y="236"/>
                      <a:pt x="379" y="239"/>
                    </a:cubicBezTo>
                    <a:cubicBezTo>
                      <a:pt x="381" y="242"/>
                      <a:pt x="376" y="243"/>
                      <a:pt x="377" y="245"/>
                    </a:cubicBezTo>
                    <a:cubicBezTo>
                      <a:pt x="377" y="248"/>
                      <a:pt x="378" y="246"/>
                      <a:pt x="380" y="242"/>
                    </a:cubicBezTo>
                    <a:cubicBezTo>
                      <a:pt x="383" y="239"/>
                      <a:pt x="384" y="244"/>
                      <a:pt x="384" y="247"/>
                    </a:cubicBezTo>
                    <a:cubicBezTo>
                      <a:pt x="384" y="250"/>
                      <a:pt x="381" y="248"/>
                      <a:pt x="379" y="252"/>
                    </a:cubicBezTo>
                    <a:cubicBezTo>
                      <a:pt x="376" y="255"/>
                      <a:pt x="374" y="256"/>
                      <a:pt x="371" y="255"/>
                    </a:cubicBezTo>
                    <a:cubicBezTo>
                      <a:pt x="367" y="254"/>
                      <a:pt x="369" y="260"/>
                      <a:pt x="371" y="263"/>
                    </a:cubicBezTo>
                    <a:cubicBezTo>
                      <a:pt x="372" y="266"/>
                      <a:pt x="370" y="267"/>
                      <a:pt x="366" y="266"/>
                    </a:cubicBezTo>
                    <a:cubicBezTo>
                      <a:pt x="362" y="265"/>
                      <a:pt x="360" y="262"/>
                      <a:pt x="362" y="259"/>
                    </a:cubicBezTo>
                    <a:cubicBezTo>
                      <a:pt x="364" y="256"/>
                      <a:pt x="366" y="253"/>
                      <a:pt x="363" y="253"/>
                    </a:cubicBezTo>
                    <a:cubicBezTo>
                      <a:pt x="361" y="253"/>
                      <a:pt x="356" y="253"/>
                      <a:pt x="354" y="250"/>
                    </a:cubicBezTo>
                    <a:cubicBezTo>
                      <a:pt x="352" y="248"/>
                      <a:pt x="355" y="249"/>
                      <a:pt x="360" y="249"/>
                    </a:cubicBezTo>
                    <a:cubicBezTo>
                      <a:pt x="365" y="250"/>
                      <a:pt x="361" y="246"/>
                      <a:pt x="364" y="246"/>
                    </a:cubicBezTo>
                    <a:cubicBezTo>
                      <a:pt x="368" y="246"/>
                      <a:pt x="370" y="248"/>
                      <a:pt x="373" y="245"/>
                    </a:cubicBezTo>
                    <a:cubicBezTo>
                      <a:pt x="376" y="243"/>
                      <a:pt x="371" y="238"/>
                      <a:pt x="369" y="239"/>
                    </a:cubicBezTo>
                    <a:cubicBezTo>
                      <a:pt x="366" y="239"/>
                      <a:pt x="362" y="241"/>
                      <a:pt x="362" y="238"/>
                    </a:cubicBezTo>
                    <a:cubicBezTo>
                      <a:pt x="362" y="236"/>
                      <a:pt x="367" y="237"/>
                      <a:pt x="369" y="237"/>
                    </a:cubicBezTo>
                    <a:cubicBezTo>
                      <a:pt x="371" y="236"/>
                      <a:pt x="368" y="233"/>
                      <a:pt x="364" y="234"/>
                    </a:cubicBezTo>
                    <a:cubicBezTo>
                      <a:pt x="361" y="235"/>
                      <a:pt x="358" y="235"/>
                      <a:pt x="355" y="232"/>
                    </a:cubicBezTo>
                    <a:cubicBezTo>
                      <a:pt x="352" y="229"/>
                      <a:pt x="347" y="227"/>
                      <a:pt x="346" y="234"/>
                    </a:cubicBezTo>
                    <a:cubicBezTo>
                      <a:pt x="345" y="241"/>
                      <a:pt x="340" y="237"/>
                      <a:pt x="338" y="240"/>
                    </a:cubicBezTo>
                    <a:cubicBezTo>
                      <a:pt x="336" y="242"/>
                      <a:pt x="340" y="244"/>
                      <a:pt x="345" y="244"/>
                    </a:cubicBezTo>
                    <a:cubicBezTo>
                      <a:pt x="350" y="244"/>
                      <a:pt x="353" y="248"/>
                      <a:pt x="351" y="248"/>
                    </a:cubicBezTo>
                    <a:cubicBezTo>
                      <a:pt x="349" y="248"/>
                      <a:pt x="350" y="252"/>
                      <a:pt x="347" y="250"/>
                    </a:cubicBezTo>
                    <a:cubicBezTo>
                      <a:pt x="345" y="249"/>
                      <a:pt x="342" y="250"/>
                      <a:pt x="344" y="253"/>
                    </a:cubicBezTo>
                    <a:cubicBezTo>
                      <a:pt x="346" y="255"/>
                      <a:pt x="343" y="256"/>
                      <a:pt x="344" y="258"/>
                    </a:cubicBezTo>
                    <a:cubicBezTo>
                      <a:pt x="344" y="260"/>
                      <a:pt x="340" y="258"/>
                      <a:pt x="336" y="258"/>
                    </a:cubicBezTo>
                    <a:cubicBezTo>
                      <a:pt x="332" y="257"/>
                      <a:pt x="325" y="259"/>
                      <a:pt x="320" y="260"/>
                    </a:cubicBezTo>
                    <a:cubicBezTo>
                      <a:pt x="315" y="261"/>
                      <a:pt x="310" y="259"/>
                      <a:pt x="308" y="257"/>
                    </a:cubicBezTo>
                    <a:cubicBezTo>
                      <a:pt x="306" y="254"/>
                      <a:pt x="303" y="255"/>
                      <a:pt x="299" y="255"/>
                    </a:cubicBezTo>
                    <a:cubicBezTo>
                      <a:pt x="296" y="255"/>
                      <a:pt x="297" y="251"/>
                      <a:pt x="292" y="251"/>
                    </a:cubicBezTo>
                    <a:cubicBezTo>
                      <a:pt x="287" y="251"/>
                      <a:pt x="288" y="247"/>
                      <a:pt x="288" y="245"/>
                    </a:cubicBezTo>
                    <a:cubicBezTo>
                      <a:pt x="287" y="242"/>
                      <a:pt x="278" y="243"/>
                      <a:pt x="275" y="245"/>
                    </a:cubicBezTo>
                    <a:cubicBezTo>
                      <a:pt x="271" y="247"/>
                      <a:pt x="265" y="246"/>
                      <a:pt x="263" y="250"/>
                    </a:cubicBezTo>
                    <a:cubicBezTo>
                      <a:pt x="261" y="254"/>
                      <a:pt x="265" y="254"/>
                      <a:pt x="267" y="254"/>
                    </a:cubicBezTo>
                    <a:cubicBezTo>
                      <a:pt x="269" y="254"/>
                      <a:pt x="269" y="250"/>
                      <a:pt x="274" y="251"/>
                    </a:cubicBezTo>
                    <a:cubicBezTo>
                      <a:pt x="279" y="252"/>
                      <a:pt x="283" y="246"/>
                      <a:pt x="285" y="248"/>
                    </a:cubicBezTo>
                    <a:cubicBezTo>
                      <a:pt x="287" y="250"/>
                      <a:pt x="276" y="254"/>
                      <a:pt x="272" y="255"/>
                    </a:cubicBezTo>
                    <a:cubicBezTo>
                      <a:pt x="267" y="256"/>
                      <a:pt x="268" y="260"/>
                      <a:pt x="272" y="266"/>
                    </a:cubicBezTo>
                    <a:cubicBezTo>
                      <a:pt x="277" y="273"/>
                      <a:pt x="270" y="269"/>
                      <a:pt x="270" y="272"/>
                    </a:cubicBezTo>
                    <a:cubicBezTo>
                      <a:pt x="270" y="275"/>
                      <a:pt x="262" y="271"/>
                      <a:pt x="265" y="270"/>
                    </a:cubicBezTo>
                    <a:cubicBezTo>
                      <a:pt x="269" y="269"/>
                      <a:pt x="267" y="266"/>
                      <a:pt x="265" y="264"/>
                    </a:cubicBezTo>
                    <a:cubicBezTo>
                      <a:pt x="262" y="261"/>
                      <a:pt x="260" y="264"/>
                      <a:pt x="260" y="261"/>
                    </a:cubicBezTo>
                    <a:cubicBezTo>
                      <a:pt x="261" y="259"/>
                      <a:pt x="258" y="261"/>
                      <a:pt x="255" y="259"/>
                    </a:cubicBezTo>
                    <a:cubicBezTo>
                      <a:pt x="253" y="257"/>
                      <a:pt x="251" y="256"/>
                      <a:pt x="248" y="258"/>
                    </a:cubicBezTo>
                    <a:cubicBezTo>
                      <a:pt x="245" y="259"/>
                      <a:pt x="241" y="259"/>
                      <a:pt x="233" y="260"/>
                    </a:cubicBezTo>
                    <a:cubicBezTo>
                      <a:pt x="226" y="261"/>
                      <a:pt x="212" y="261"/>
                      <a:pt x="209" y="259"/>
                    </a:cubicBezTo>
                    <a:cubicBezTo>
                      <a:pt x="207" y="256"/>
                      <a:pt x="216" y="252"/>
                      <a:pt x="219" y="252"/>
                    </a:cubicBezTo>
                    <a:cubicBezTo>
                      <a:pt x="221" y="253"/>
                      <a:pt x="220" y="249"/>
                      <a:pt x="216" y="246"/>
                    </a:cubicBezTo>
                    <a:cubicBezTo>
                      <a:pt x="211" y="243"/>
                      <a:pt x="202" y="241"/>
                      <a:pt x="202" y="243"/>
                    </a:cubicBezTo>
                    <a:cubicBezTo>
                      <a:pt x="203" y="245"/>
                      <a:pt x="197" y="243"/>
                      <a:pt x="191" y="242"/>
                    </a:cubicBezTo>
                    <a:cubicBezTo>
                      <a:pt x="184" y="241"/>
                      <a:pt x="183" y="238"/>
                      <a:pt x="179" y="238"/>
                    </a:cubicBezTo>
                    <a:cubicBezTo>
                      <a:pt x="175" y="238"/>
                      <a:pt x="168" y="237"/>
                      <a:pt x="163" y="233"/>
                    </a:cubicBezTo>
                    <a:cubicBezTo>
                      <a:pt x="158" y="229"/>
                      <a:pt x="146" y="230"/>
                      <a:pt x="145" y="234"/>
                    </a:cubicBezTo>
                    <a:cubicBezTo>
                      <a:pt x="144" y="237"/>
                      <a:pt x="140" y="237"/>
                      <a:pt x="136" y="237"/>
                    </a:cubicBezTo>
                    <a:cubicBezTo>
                      <a:pt x="132" y="237"/>
                      <a:pt x="138" y="233"/>
                      <a:pt x="136" y="232"/>
                    </a:cubicBezTo>
                    <a:cubicBezTo>
                      <a:pt x="134" y="231"/>
                      <a:pt x="136" y="226"/>
                      <a:pt x="133" y="226"/>
                    </a:cubicBezTo>
                    <a:cubicBezTo>
                      <a:pt x="131" y="225"/>
                      <a:pt x="128" y="237"/>
                      <a:pt x="123" y="237"/>
                    </a:cubicBezTo>
                    <a:cubicBezTo>
                      <a:pt x="117" y="237"/>
                      <a:pt x="115" y="224"/>
                      <a:pt x="110" y="221"/>
                    </a:cubicBezTo>
                    <a:cubicBezTo>
                      <a:pt x="106" y="218"/>
                      <a:pt x="102" y="217"/>
                      <a:pt x="106" y="222"/>
                    </a:cubicBezTo>
                    <a:cubicBezTo>
                      <a:pt x="109" y="227"/>
                      <a:pt x="102" y="224"/>
                      <a:pt x="103" y="227"/>
                    </a:cubicBezTo>
                    <a:cubicBezTo>
                      <a:pt x="103" y="230"/>
                      <a:pt x="97" y="234"/>
                      <a:pt x="97" y="232"/>
                    </a:cubicBezTo>
                    <a:cubicBezTo>
                      <a:pt x="97" y="230"/>
                      <a:pt x="93" y="228"/>
                      <a:pt x="89" y="233"/>
                    </a:cubicBezTo>
                    <a:cubicBezTo>
                      <a:pt x="85" y="238"/>
                      <a:pt x="82" y="238"/>
                      <a:pt x="81" y="236"/>
                    </a:cubicBezTo>
                    <a:cubicBezTo>
                      <a:pt x="81" y="234"/>
                      <a:pt x="68" y="241"/>
                      <a:pt x="69" y="243"/>
                    </a:cubicBezTo>
                    <a:cubicBezTo>
                      <a:pt x="69" y="245"/>
                      <a:pt x="67" y="246"/>
                      <a:pt x="64" y="246"/>
                    </a:cubicBezTo>
                    <a:cubicBezTo>
                      <a:pt x="60" y="246"/>
                      <a:pt x="63" y="243"/>
                      <a:pt x="66" y="242"/>
                    </a:cubicBezTo>
                    <a:cubicBezTo>
                      <a:pt x="69" y="240"/>
                      <a:pt x="77" y="234"/>
                      <a:pt x="81" y="233"/>
                    </a:cubicBezTo>
                    <a:cubicBezTo>
                      <a:pt x="85" y="232"/>
                      <a:pt x="94" y="229"/>
                      <a:pt x="94" y="227"/>
                    </a:cubicBezTo>
                    <a:cubicBezTo>
                      <a:pt x="94" y="225"/>
                      <a:pt x="90" y="226"/>
                      <a:pt x="87" y="226"/>
                    </a:cubicBezTo>
                    <a:cubicBezTo>
                      <a:pt x="84" y="225"/>
                      <a:pt x="79" y="229"/>
                      <a:pt x="74" y="231"/>
                    </a:cubicBezTo>
                    <a:cubicBezTo>
                      <a:pt x="69" y="233"/>
                      <a:pt x="64" y="232"/>
                      <a:pt x="65" y="235"/>
                    </a:cubicBezTo>
                    <a:cubicBezTo>
                      <a:pt x="67" y="238"/>
                      <a:pt x="61" y="235"/>
                      <a:pt x="59" y="237"/>
                    </a:cubicBezTo>
                    <a:cubicBezTo>
                      <a:pt x="58" y="239"/>
                      <a:pt x="56" y="236"/>
                      <a:pt x="58" y="235"/>
                    </a:cubicBezTo>
                    <a:cubicBezTo>
                      <a:pt x="59" y="234"/>
                      <a:pt x="53" y="232"/>
                      <a:pt x="53" y="234"/>
                    </a:cubicBezTo>
                    <a:cubicBezTo>
                      <a:pt x="53" y="235"/>
                      <a:pt x="52" y="236"/>
                      <a:pt x="48" y="236"/>
                    </a:cubicBezTo>
                    <a:cubicBezTo>
                      <a:pt x="44" y="236"/>
                      <a:pt x="39" y="239"/>
                      <a:pt x="42" y="242"/>
                    </a:cubicBezTo>
                    <a:cubicBezTo>
                      <a:pt x="45" y="244"/>
                      <a:pt x="47" y="245"/>
                      <a:pt x="46" y="246"/>
                    </a:cubicBezTo>
                    <a:cubicBezTo>
                      <a:pt x="44" y="248"/>
                      <a:pt x="40" y="242"/>
                      <a:pt x="33" y="243"/>
                    </a:cubicBezTo>
                    <a:cubicBezTo>
                      <a:pt x="27" y="244"/>
                      <a:pt x="15" y="236"/>
                      <a:pt x="15" y="234"/>
                    </a:cubicBezTo>
                    <a:cubicBezTo>
                      <a:pt x="15" y="233"/>
                      <a:pt x="6" y="234"/>
                      <a:pt x="0" y="233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356"/>
                      <a:pt x="3" y="359"/>
                      <a:pt x="4" y="357"/>
                    </a:cubicBezTo>
                    <a:cubicBezTo>
                      <a:pt x="5" y="356"/>
                      <a:pt x="7" y="358"/>
                      <a:pt x="11" y="356"/>
                    </a:cubicBezTo>
                    <a:cubicBezTo>
                      <a:pt x="16" y="354"/>
                      <a:pt x="17" y="358"/>
                      <a:pt x="17" y="360"/>
                    </a:cubicBezTo>
                    <a:cubicBezTo>
                      <a:pt x="17" y="362"/>
                      <a:pt x="23" y="365"/>
                      <a:pt x="25" y="368"/>
                    </a:cubicBezTo>
                    <a:cubicBezTo>
                      <a:pt x="27" y="371"/>
                      <a:pt x="29" y="374"/>
                      <a:pt x="31" y="372"/>
                    </a:cubicBezTo>
                    <a:cubicBezTo>
                      <a:pt x="34" y="370"/>
                      <a:pt x="39" y="369"/>
                      <a:pt x="39" y="366"/>
                    </a:cubicBezTo>
                    <a:cubicBezTo>
                      <a:pt x="39" y="363"/>
                      <a:pt x="50" y="363"/>
                      <a:pt x="50" y="367"/>
                    </a:cubicBezTo>
                    <a:cubicBezTo>
                      <a:pt x="50" y="371"/>
                      <a:pt x="61" y="376"/>
                      <a:pt x="67" y="386"/>
                    </a:cubicBezTo>
                    <a:cubicBezTo>
                      <a:pt x="73" y="397"/>
                      <a:pt x="72" y="400"/>
                      <a:pt x="81" y="403"/>
                    </a:cubicBezTo>
                    <a:cubicBezTo>
                      <a:pt x="90" y="407"/>
                      <a:pt x="90" y="409"/>
                      <a:pt x="89" y="412"/>
                    </a:cubicBezTo>
                    <a:cubicBezTo>
                      <a:pt x="88" y="415"/>
                      <a:pt x="94" y="417"/>
                      <a:pt x="90" y="419"/>
                    </a:cubicBezTo>
                    <a:cubicBezTo>
                      <a:pt x="89" y="420"/>
                      <a:pt x="87" y="422"/>
                      <a:pt x="85" y="423"/>
                    </a:cubicBezTo>
                    <a:cubicBezTo>
                      <a:pt x="85" y="425"/>
                      <a:pt x="87" y="426"/>
                      <a:pt x="88" y="427"/>
                    </a:cubicBezTo>
                    <a:cubicBezTo>
                      <a:pt x="90" y="429"/>
                      <a:pt x="84" y="429"/>
                      <a:pt x="86" y="431"/>
                    </a:cubicBezTo>
                    <a:cubicBezTo>
                      <a:pt x="88" y="432"/>
                      <a:pt x="86" y="435"/>
                      <a:pt x="88" y="437"/>
                    </a:cubicBezTo>
                    <a:cubicBezTo>
                      <a:pt x="89" y="439"/>
                      <a:pt x="93" y="438"/>
                      <a:pt x="95" y="436"/>
                    </a:cubicBezTo>
                    <a:cubicBezTo>
                      <a:pt x="97" y="435"/>
                      <a:pt x="98" y="438"/>
                      <a:pt x="96" y="441"/>
                    </a:cubicBezTo>
                    <a:cubicBezTo>
                      <a:pt x="95" y="444"/>
                      <a:pt x="98" y="446"/>
                      <a:pt x="100" y="444"/>
                    </a:cubicBezTo>
                    <a:cubicBezTo>
                      <a:pt x="101" y="442"/>
                      <a:pt x="105" y="447"/>
                      <a:pt x="106" y="448"/>
                    </a:cubicBezTo>
                    <a:cubicBezTo>
                      <a:pt x="108" y="449"/>
                      <a:pt x="110" y="451"/>
                      <a:pt x="107" y="451"/>
                    </a:cubicBezTo>
                    <a:cubicBezTo>
                      <a:pt x="104" y="451"/>
                      <a:pt x="105" y="456"/>
                      <a:pt x="107" y="456"/>
                    </a:cubicBezTo>
                    <a:cubicBezTo>
                      <a:pt x="109" y="456"/>
                      <a:pt x="108" y="459"/>
                      <a:pt x="108" y="460"/>
                    </a:cubicBezTo>
                    <a:cubicBezTo>
                      <a:pt x="108" y="462"/>
                      <a:pt x="115" y="464"/>
                      <a:pt x="117" y="464"/>
                    </a:cubicBezTo>
                    <a:cubicBezTo>
                      <a:pt x="119" y="463"/>
                      <a:pt x="121" y="465"/>
                      <a:pt x="122" y="467"/>
                    </a:cubicBezTo>
                    <a:cubicBezTo>
                      <a:pt x="123" y="469"/>
                      <a:pt x="128" y="470"/>
                      <a:pt x="129" y="469"/>
                    </a:cubicBezTo>
                    <a:cubicBezTo>
                      <a:pt x="131" y="468"/>
                      <a:pt x="132" y="471"/>
                      <a:pt x="132" y="474"/>
                    </a:cubicBezTo>
                    <a:cubicBezTo>
                      <a:pt x="133" y="476"/>
                      <a:pt x="136" y="475"/>
                      <a:pt x="138" y="475"/>
                    </a:cubicBezTo>
                    <a:cubicBezTo>
                      <a:pt x="141" y="475"/>
                      <a:pt x="142" y="478"/>
                      <a:pt x="143" y="477"/>
                    </a:cubicBezTo>
                    <a:cubicBezTo>
                      <a:pt x="146" y="476"/>
                      <a:pt x="147" y="481"/>
                      <a:pt x="149" y="485"/>
                    </a:cubicBezTo>
                    <a:cubicBezTo>
                      <a:pt x="371" y="484"/>
                      <a:pt x="371" y="484"/>
                      <a:pt x="371" y="484"/>
                    </a:cubicBezTo>
                    <a:cubicBezTo>
                      <a:pt x="371" y="484"/>
                      <a:pt x="371" y="478"/>
                      <a:pt x="374" y="480"/>
                    </a:cubicBezTo>
                    <a:cubicBezTo>
                      <a:pt x="376" y="482"/>
                      <a:pt x="374" y="485"/>
                      <a:pt x="377" y="486"/>
                    </a:cubicBezTo>
                    <a:cubicBezTo>
                      <a:pt x="380" y="487"/>
                      <a:pt x="382" y="489"/>
                      <a:pt x="384" y="488"/>
                    </a:cubicBezTo>
                    <a:cubicBezTo>
                      <a:pt x="386" y="488"/>
                      <a:pt x="389" y="485"/>
                      <a:pt x="391" y="489"/>
                    </a:cubicBezTo>
                    <a:cubicBezTo>
                      <a:pt x="394" y="492"/>
                      <a:pt x="396" y="489"/>
                      <a:pt x="398" y="491"/>
                    </a:cubicBezTo>
                    <a:cubicBezTo>
                      <a:pt x="400" y="493"/>
                      <a:pt x="403" y="495"/>
                      <a:pt x="405" y="493"/>
                    </a:cubicBezTo>
                    <a:cubicBezTo>
                      <a:pt x="407" y="490"/>
                      <a:pt x="413" y="493"/>
                      <a:pt x="417" y="494"/>
                    </a:cubicBezTo>
                    <a:cubicBezTo>
                      <a:pt x="420" y="491"/>
                      <a:pt x="424" y="484"/>
                      <a:pt x="427" y="484"/>
                    </a:cubicBezTo>
                    <a:cubicBezTo>
                      <a:pt x="432" y="484"/>
                      <a:pt x="443" y="485"/>
                      <a:pt x="444" y="491"/>
                    </a:cubicBezTo>
                    <a:cubicBezTo>
                      <a:pt x="445" y="498"/>
                      <a:pt x="452" y="492"/>
                      <a:pt x="453" y="498"/>
                    </a:cubicBezTo>
                    <a:cubicBezTo>
                      <a:pt x="453" y="502"/>
                      <a:pt x="458" y="506"/>
                      <a:pt x="457" y="509"/>
                    </a:cubicBezTo>
                    <a:cubicBezTo>
                      <a:pt x="459" y="510"/>
                      <a:pt x="460" y="511"/>
                      <a:pt x="462" y="512"/>
                    </a:cubicBezTo>
                    <a:cubicBezTo>
                      <a:pt x="464" y="511"/>
                      <a:pt x="470" y="512"/>
                      <a:pt x="474" y="514"/>
                    </a:cubicBezTo>
                    <a:cubicBezTo>
                      <a:pt x="479" y="515"/>
                      <a:pt x="487" y="511"/>
                      <a:pt x="489" y="517"/>
                    </a:cubicBezTo>
                    <a:cubicBezTo>
                      <a:pt x="492" y="524"/>
                      <a:pt x="497" y="528"/>
                      <a:pt x="492" y="529"/>
                    </a:cubicBezTo>
                    <a:cubicBezTo>
                      <a:pt x="487" y="529"/>
                      <a:pt x="481" y="522"/>
                      <a:pt x="482" y="526"/>
                    </a:cubicBezTo>
                    <a:cubicBezTo>
                      <a:pt x="482" y="530"/>
                      <a:pt x="479" y="528"/>
                      <a:pt x="479" y="533"/>
                    </a:cubicBezTo>
                    <a:cubicBezTo>
                      <a:pt x="479" y="539"/>
                      <a:pt x="476" y="546"/>
                      <a:pt x="473" y="546"/>
                    </a:cubicBezTo>
                    <a:cubicBezTo>
                      <a:pt x="473" y="546"/>
                      <a:pt x="473" y="546"/>
                      <a:pt x="473" y="546"/>
                    </a:cubicBezTo>
                    <a:cubicBezTo>
                      <a:pt x="473" y="548"/>
                      <a:pt x="473" y="550"/>
                      <a:pt x="474" y="552"/>
                    </a:cubicBezTo>
                    <a:cubicBezTo>
                      <a:pt x="477" y="550"/>
                      <a:pt x="481" y="547"/>
                      <a:pt x="484" y="547"/>
                    </a:cubicBezTo>
                    <a:cubicBezTo>
                      <a:pt x="490" y="547"/>
                      <a:pt x="491" y="550"/>
                      <a:pt x="495" y="548"/>
                    </a:cubicBezTo>
                    <a:cubicBezTo>
                      <a:pt x="498" y="545"/>
                      <a:pt x="499" y="544"/>
                      <a:pt x="500" y="546"/>
                    </a:cubicBezTo>
                    <a:cubicBezTo>
                      <a:pt x="500" y="546"/>
                      <a:pt x="500" y="547"/>
                      <a:pt x="500" y="547"/>
                    </a:cubicBezTo>
                    <a:cubicBezTo>
                      <a:pt x="501" y="546"/>
                      <a:pt x="502" y="545"/>
                      <a:pt x="502" y="545"/>
                    </a:cubicBezTo>
                    <a:cubicBezTo>
                      <a:pt x="502" y="544"/>
                      <a:pt x="502" y="543"/>
                      <a:pt x="502" y="542"/>
                    </a:cubicBezTo>
                    <a:cubicBezTo>
                      <a:pt x="498" y="542"/>
                      <a:pt x="497" y="542"/>
                      <a:pt x="496" y="540"/>
                    </a:cubicBezTo>
                    <a:cubicBezTo>
                      <a:pt x="494" y="536"/>
                      <a:pt x="507" y="533"/>
                      <a:pt x="512" y="534"/>
                    </a:cubicBezTo>
                    <a:cubicBezTo>
                      <a:pt x="518" y="534"/>
                      <a:pt x="521" y="530"/>
                      <a:pt x="523" y="533"/>
                    </a:cubicBezTo>
                    <a:cubicBezTo>
                      <a:pt x="527" y="530"/>
                      <a:pt x="533" y="525"/>
                      <a:pt x="534" y="525"/>
                    </a:cubicBezTo>
                    <a:cubicBezTo>
                      <a:pt x="536" y="525"/>
                      <a:pt x="562" y="524"/>
                      <a:pt x="562" y="524"/>
                    </a:cubicBezTo>
                    <a:cubicBezTo>
                      <a:pt x="562" y="524"/>
                      <a:pt x="571" y="519"/>
                      <a:pt x="572" y="514"/>
                    </a:cubicBezTo>
                    <a:cubicBezTo>
                      <a:pt x="573" y="509"/>
                      <a:pt x="579" y="497"/>
                      <a:pt x="582" y="500"/>
                    </a:cubicBezTo>
                    <a:cubicBezTo>
                      <a:pt x="585" y="502"/>
                      <a:pt x="592" y="500"/>
                      <a:pt x="593" y="503"/>
                    </a:cubicBezTo>
                    <a:cubicBezTo>
                      <a:pt x="593" y="505"/>
                      <a:pt x="590" y="513"/>
                      <a:pt x="599" y="525"/>
                    </a:cubicBezTo>
                    <a:cubicBezTo>
                      <a:pt x="603" y="523"/>
                      <a:pt x="606" y="521"/>
                      <a:pt x="608" y="522"/>
                    </a:cubicBezTo>
                    <a:cubicBezTo>
                      <a:pt x="611" y="522"/>
                      <a:pt x="616" y="517"/>
                      <a:pt x="617" y="515"/>
                    </a:cubicBezTo>
                    <a:cubicBezTo>
                      <a:pt x="619" y="512"/>
                      <a:pt x="621" y="517"/>
                      <a:pt x="618" y="518"/>
                    </a:cubicBezTo>
                    <a:cubicBezTo>
                      <a:pt x="615" y="519"/>
                      <a:pt x="620" y="521"/>
                      <a:pt x="625" y="521"/>
                    </a:cubicBezTo>
                    <a:cubicBezTo>
                      <a:pt x="630" y="521"/>
                      <a:pt x="623" y="523"/>
                      <a:pt x="619" y="523"/>
                    </a:cubicBezTo>
                    <a:cubicBezTo>
                      <a:pt x="615" y="522"/>
                      <a:pt x="614" y="523"/>
                      <a:pt x="609" y="528"/>
                    </a:cubicBezTo>
                    <a:cubicBezTo>
                      <a:pt x="604" y="533"/>
                      <a:pt x="605" y="534"/>
                      <a:pt x="608" y="537"/>
                    </a:cubicBezTo>
                    <a:cubicBezTo>
                      <a:pt x="611" y="539"/>
                      <a:pt x="614" y="538"/>
                      <a:pt x="618" y="535"/>
                    </a:cubicBezTo>
                    <a:cubicBezTo>
                      <a:pt x="622" y="532"/>
                      <a:pt x="622" y="528"/>
                      <a:pt x="626" y="528"/>
                    </a:cubicBezTo>
                    <a:cubicBezTo>
                      <a:pt x="630" y="529"/>
                      <a:pt x="640" y="525"/>
                      <a:pt x="645" y="523"/>
                    </a:cubicBezTo>
                    <a:cubicBezTo>
                      <a:pt x="649" y="522"/>
                      <a:pt x="646" y="521"/>
                      <a:pt x="646" y="519"/>
                    </a:cubicBezTo>
                    <a:cubicBezTo>
                      <a:pt x="646" y="517"/>
                      <a:pt x="654" y="517"/>
                      <a:pt x="657" y="515"/>
                    </a:cubicBezTo>
                    <a:cubicBezTo>
                      <a:pt x="660" y="513"/>
                      <a:pt x="656" y="512"/>
                      <a:pt x="654" y="512"/>
                    </a:cubicBezTo>
                    <a:close/>
                    <a:moveTo>
                      <a:pt x="190" y="281"/>
                    </a:moveTo>
                    <a:cubicBezTo>
                      <a:pt x="185" y="287"/>
                      <a:pt x="183" y="288"/>
                      <a:pt x="179" y="287"/>
                    </a:cubicBezTo>
                    <a:cubicBezTo>
                      <a:pt x="174" y="286"/>
                      <a:pt x="171" y="288"/>
                      <a:pt x="173" y="290"/>
                    </a:cubicBezTo>
                    <a:cubicBezTo>
                      <a:pt x="176" y="292"/>
                      <a:pt x="176" y="293"/>
                      <a:pt x="171" y="294"/>
                    </a:cubicBezTo>
                    <a:cubicBezTo>
                      <a:pt x="166" y="295"/>
                      <a:pt x="163" y="299"/>
                      <a:pt x="161" y="299"/>
                    </a:cubicBezTo>
                    <a:cubicBezTo>
                      <a:pt x="159" y="298"/>
                      <a:pt x="169" y="291"/>
                      <a:pt x="166" y="289"/>
                    </a:cubicBezTo>
                    <a:cubicBezTo>
                      <a:pt x="164" y="287"/>
                      <a:pt x="157" y="292"/>
                      <a:pt x="157" y="295"/>
                    </a:cubicBezTo>
                    <a:cubicBezTo>
                      <a:pt x="157" y="297"/>
                      <a:pt x="152" y="297"/>
                      <a:pt x="150" y="297"/>
                    </a:cubicBezTo>
                    <a:cubicBezTo>
                      <a:pt x="147" y="297"/>
                      <a:pt x="143" y="294"/>
                      <a:pt x="146" y="294"/>
                    </a:cubicBezTo>
                    <a:cubicBezTo>
                      <a:pt x="149" y="294"/>
                      <a:pt x="147" y="291"/>
                      <a:pt x="151" y="289"/>
                    </a:cubicBezTo>
                    <a:cubicBezTo>
                      <a:pt x="154" y="288"/>
                      <a:pt x="150" y="286"/>
                      <a:pt x="151" y="284"/>
                    </a:cubicBezTo>
                    <a:cubicBezTo>
                      <a:pt x="152" y="283"/>
                      <a:pt x="160" y="286"/>
                      <a:pt x="160" y="283"/>
                    </a:cubicBezTo>
                    <a:cubicBezTo>
                      <a:pt x="160" y="280"/>
                      <a:pt x="152" y="278"/>
                      <a:pt x="150" y="280"/>
                    </a:cubicBezTo>
                    <a:cubicBezTo>
                      <a:pt x="147" y="281"/>
                      <a:pt x="141" y="285"/>
                      <a:pt x="134" y="282"/>
                    </a:cubicBezTo>
                    <a:cubicBezTo>
                      <a:pt x="132" y="281"/>
                      <a:pt x="152" y="279"/>
                      <a:pt x="156" y="276"/>
                    </a:cubicBezTo>
                    <a:cubicBezTo>
                      <a:pt x="159" y="273"/>
                      <a:pt x="174" y="269"/>
                      <a:pt x="175" y="272"/>
                    </a:cubicBezTo>
                    <a:cubicBezTo>
                      <a:pt x="177" y="275"/>
                      <a:pt x="167" y="277"/>
                      <a:pt x="172" y="279"/>
                    </a:cubicBezTo>
                    <a:cubicBezTo>
                      <a:pt x="176" y="282"/>
                      <a:pt x="184" y="280"/>
                      <a:pt x="185" y="277"/>
                    </a:cubicBezTo>
                    <a:cubicBezTo>
                      <a:pt x="187" y="275"/>
                      <a:pt x="194" y="275"/>
                      <a:pt x="190" y="281"/>
                    </a:cubicBezTo>
                    <a:close/>
                    <a:moveTo>
                      <a:pt x="235" y="338"/>
                    </a:moveTo>
                    <a:cubicBezTo>
                      <a:pt x="229" y="343"/>
                      <a:pt x="230" y="342"/>
                      <a:pt x="225" y="343"/>
                    </a:cubicBezTo>
                    <a:cubicBezTo>
                      <a:pt x="220" y="343"/>
                      <a:pt x="224" y="348"/>
                      <a:pt x="218" y="349"/>
                    </a:cubicBezTo>
                    <a:cubicBezTo>
                      <a:pt x="212" y="349"/>
                      <a:pt x="198" y="350"/>
                      <a:pt x="196" y="346"/>
                    </a:cubicBezTo>
                    <a:cubicBezTo>
                      <a:pt x="196" y="345"/>
                      <a:pt x="204" y="346"/>
                      <a:pt x="204" y="344"/>
                    </a:cubicBezTo>
                    <a:cubicBezTo>
                      <a:pt x="205" y="341"/>
                      <a:pt x="207" y="338"/>
                      <a:pt x="211" y="338"/>
                    </a:cubicBezTo>
                    <a:cubicBezTo>
                      <a:pt x="214" y="338"/>
                      <a:pt x="214" y="333"/>
                      <a:pt x="208" y="330"/>
                    </a:cubicBezTo>
                    <a:cubicBezTo>
                      <a:pt x="202" y="327"/>
                      <a:pt x="217" y="325"/>
                      <a:pt x="220" y="330"/>
                    </a:cubicBezTo>
                    <a:cubicBezTo>
                      <a:pt x="223" y="334"/>
                      <a:pt x="229" y="338"/>
                      <a:pt x="232" y="334"/>
                    </a:cubicBezTo>
                    <a:cubicBezTo>
                      <a:pt x="235" y="331"/>
                      <a:pt x="254" y="322"/>
                      <a:pt x="254" y="326"/>
                    </a:cubicBezTo>
                    <a:cubicBezTo>
                      <a:pt x="254" y="331"/>
                      <a:pt x="240" y="333"/>
                      <a:pt x="235" y="338"/>
                    </a:cubicBezTo>
                    <a:close/>
                    <a:moveTo>
                      <a:pt x="359" y="468"/>
                    </a:moveTo>
                    <a:cubicBezTo>
                      <a:pt x="355" y="468"/>
                      <a:pt x="359" y="458"/>
                      <a:pt x="352" y="454"/>
                    </a:cubicBezTo>
                    <a:cubicBezTo>
                      <a:pt x="344" y="449"/>
                      <a:pt x="340" y="440"/>
                      <a:pt x="340" y="436"/>
                    </a:cubicBezTo>
                    <a:cubicBezTo>
                      <a:pt x="340" y="431"/>
                      <a:pt x="347" y="429"/>
                      <a:pt x="350" y="433"/>
                    </a:cubicBezTo>
                    <a:cubicBezTo>
                      <a:pt x="353" y="436"/>
                      <a:pt x="357" y="451"/>
                      <a:pt x="360" y="455"/>
                    </a:cubicBezTo>
                    <a:cubicBezTo>
                      <a:pt x="362" y="460"/>
                      <a:pt x="362" y="468"/>
                      <a:pt x="359" y="46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70" name="Freeform 148">
                <a:extLst>
                  <a:ext uri="{FF2B5EF4-FFF2-40B4-BE49-F238E27FC236}">
                    <a16:creationId xmlns:a16="http://schemas.microsoft.com/office/drawing/2014/main" id="{7BA30EF0-9D85-48DC-B154-604E618559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313926" y="1620505"/>
                <a:ext cx="5003031" cy="1916746"/>
              </a:xfrm>
              <a:custGeom>
                <a:avLst/>
                <a:gdLst>
                  <a:gd name="T0" fmla="*/ 361 w 1374"/>
                  <a:gd name="T1" fmla="*/ 10 h 527"/>
                  <a:gd name="T2" fmla="*/ 611 w 1374"/>
                  <a:gd name="T3" fmla="*/ 5 h 527"/>
                  <a:gd name="T4" fmla="*/ 481 w 1374"/>
                  <a:gd name="T5" fmla="*/ 150 h 527"/>
                  <a:gd name="T6" fmla="*/ 663 w 1374"/>
                  <a:gd name="T7" fmla="*/ 49 h 527"/>
                  <a:gd name="T8" fmla="*/ 1003 w 1374"/>
                  <a:gd name="T9" fmla="*/ 110 h 527"/>
                  <a:gd name="T10" fmla="*/ 1054 w 1374"/>
                  <a:gd name="T11" fmla="*/ 117 h 527"/>
                  <a:gd name="T12" fmla="*/ 982 w 1374"/>
                  <a:gd name="T13" fmla="*/ 426 h 527"/>
                  <a:gd name="T14" fmla="*/ 244 w 1374"/>
                  <a:gd name="T15" fmla="*/ 22 h 527"/>
                  <a:gd name="T16" fmla="*/ 1332 w 1374"/>
                  <a:gd name="T17" fmla="*/ 242 h 527"/>
                  <a:gd name="T18" fmla="*/ 1194 w 1374"/>
                  <a:gd name="T19" fmla="*/ 202 h 527"/>
                  <a:gd name="T20" fmla="*/ 1063 w 1374"/>
                  <a:gd name="T21" fmla="*/ 177 h 527"/>
                  <a:gd name="T22" fmla="*/ 974 w 1374"/>
                  <a:gd name="T23" fmla="*/ 150 h 527"/>
                  <a:gd name="T24" fmla="*/ 903 w 1374"/>
                  <a:gd name="T25" fmla="*/ 167 h 527"/>
                  <a:gd name="T26" fmla="*/ 845 w 1374"/>
                  <a:gd name="T27" fmla="*/ 138 h 527"/>
                  <a:gd name="T28" fmla="*/ 748 w 1374"/>
                  <a:gd name="T29" fmla="*/ 136 h 527"/>
                  <a:gd name="T30" fmla="*/ 738 w 1374"/>
                  <a:gd name="T31" fmla="*/ 118 h 527"/>
                  <a:gd name="T32" fmla="*/ 699 w 1374"/>
                  <a:gd name="T33" fmla="*/ 83 h 527"/>
                  <a:gd name="T34" fmla="*/ 631 w 1374"/>
                  <a:gd name="T35" fmla="*/ 96 h 527"/>
                  <a:gd name="T36" fmla="*/ 547 w 1374"/>
                  <a:gd name="T37" fmla="*/ 114 h 527"/>
                  <a:gd name="T38" fmla="*/ 519 w 1374"/>
                  <a:gd name="T39" fmla="*/ 137 h 527"/>
                  <a:gd name="T40" fmla="*/ 479 w 1374"/>
                  <a:gd name="T41" fmla="*/ 177 h 527"/>
                  <a:gd name="T42" fmla="*/ 456 w 1374"/>
                  <a:gd name="T43" fmla="*/ 204 h 527"/>
                  <a:gd name="T44" fmla="*/ 422 w 1374"/>
                  <a:gd name="T45" fmla="*/ 243 h 527"/>
                  <a:gd name="T46" fmla="*/ 438 w 1374"/>
                  <a:gd name="T47" fmla="*/ 213 h 527"/>
                  <a:gd name="T48" fmla="*/ 387 w 1374"/>
                  <a:gd name="T49" fmla="*/ 187 h 527"/>
                  <a:gd name="T50" fmla="*/ 326 w 1374"/>
                  <a:gd name="T51" fmla="*/ 196 h 527"/>
                  <a:gd name="T52" fmla="*/ 269 w 1374"/>
                  <a:gd name="T53" fmla="*/ 210 h 527"/>
                  <a:gd name="T54" fmla="*/ 196 w 1374"/>
                  <a:gd name="T55" fmla="*/ 214 h 527"/>
                  <a:gd name="T56" fmla="*/ 150 w 1374"/>
                  <a:gd name="T57" fmla="*/ 262 h 527"/>
                  <a:gd name="T58" fmla="*/ 103 w 1374"/>
                  <a:gd name="T59" fmla="*/ 233 h 527"/>
                  <a:gd name="T60" fmla="*/ 107 w 1374"/>
                  <a:gd name="T61" fmla="*/ 200 h 527"/>
                  <a:gd name="T62" fmla="*/ 79 w 1374"/>
                  <a:gd name="T63" fmla="*/ 230 h 527"/>
                  <a:gd name="T64" fmla="*/ 70 w 1374"/>
                  <a:gd name="T65" fmla="*/ 315 h 527"/>
                  <a:gd name="T66" fmla="*/ 74 w 1374"/>
                  <a:gd name="T67" fmla="*/ 370 h 527"/>
                  <a:gd name="T68" fmla="*/ 115 w 1374"/>
                  <a:gd name="T69" fmla="*/ 412 h 527"/>
                  <a:gd name="T70" fmla="*/ 161 w 1374"/>
                  <a:gd name="T71" fmla="*/ 450 h 527"/>
                  <a:gd name="T72" fmla="*/ 165 w 1374"/>
                  <a:gd name="T73" fmla="*/ 503 h 527"/>
                  <a:gd name="T74" fmla="*/ 238 w 1374"/>
                  <a:gd name="T75" fmla="*/ 476 h 527"/>
                  <a:gd name="T76" fmla="*/ 237 w 1374"/>
                  <a:gd name="T77" fmla="*/ 430 h 527"/>
                  <a:gd name="T78" fmla="*/ 325 w 1374"/>
                  <a:gd name="T79" fmla="*/ 432 h 527"/>
                  <a:gd name="T80" fmla="*/ 374 w 1374"/>
                  <a:gd name="T81" fmla="*/ 388 h 527"/>
                  <a:gd name="T82" fmla="*/ 451 w 1374"/>
                  <a:gd name="T83" fmla="*/ 395 h 527"/>
                  <a:gd name="T84" fmla="*/ 541 w 1374"/>
                  <a:gd name="T85" fmla="*/ 442 h 527"/>
                  <a:gd name="T86" fmla="*/ 625 w 1374"/>
                  <a:gd name="T87" fmla="*/ 432 h 527"/>
                  <a:gd name="T88" fmla="*/ 697 w 1374"/>
                  <a:gd name="T89" fmla="*/ 437 h 527"/>
                  <a:gd name="T90" fmla="*/ 804 w 1374"/>
                  <a:gd name="T91" fmla="*/ 419 h 527"/>
                  <a:gd name="T92" fmla="*/ 888 w 1374"/>
                  <a:gd name="T93" fmla="*/ 453 h 527"/>
                  <a:gd name="T94" fmla="*/ 899 w 1374"/>
                  <a:gd name="T95" fmla="*/ 508 h 527"/>
                  <a:gd name="T96" fmla="*/ 961 w 1374"/>
                  <a:gd name="T97" fmla="*/ 393 h 527"/>
                  <a:gd name="T98" fmla="*/ 970 w 1374"/>
                  <a:gd name="T99" fmla="*/ 348 h 527"/>
                  <a:gd name="T100" fmla="*/ 1078 w 1374"/>
                  <a:gd name="T101" fmla="*/ 337 h 527"/>
                  <a:gd name="T102" fmla="*/ 1152 w 1374"/>
                  <a:gd name="T103" fmla="*/ 299 h 527"/>
                  <a:gd name="T104" fmla="*/ 1098 w 1374"/>
                  <a:gd name="T105" fmla="*/ 424 h 527"/>
                  <a:gd name="T106" fmla="*/ 1151 w 1374"/>
                  <a:gd name="T107" fmla="*/ 352 h 527"/>
                  <a:gd name="T108" fmla="*/ 1235 w 1374"/>
                  <a:gd name="T109" fmla="*/ 309 h 527"/>
                  <a:gd name="T110" fmla="*/ 1292 w 1374"/>
                  <a:gd name="T111" fmla="*/ 262 h 527"/>
                  <a:gd name="T112" fmla="*/ 1347 w 1374"/>
                  <a:gd name="T113" fmla="*/ 267 h 527"/>
                  <a:gd name="T114" fmla="*/ 707 w 1374"/>
                  <a:gd name="T115" fmla="*/ 392 h 527"/>
                  <a:gd name="T116" fmla="*/ 277 w 1374"/>
                  <a:gd name="T117" fmla="*/ 23 h 527"/>
                  <a:gd name="T118" fmla="*/ 282 w 1374"/>
                  <a:gd name="T119" fmla="*/ 14 h 527"/>
                  <a:gd name="T120" fmla="*/ 300 w 1374"/>
                  <a:gd name="T121" fmla="*/ 145 h 527"/>
                  <a:gd name="T122" fmla="*/ 301 w 1374"/>
                  <a:gd name="T123" fmla="*/ 111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374" h="527">
                    <a:moveTo>
                      <a:pt x="21" y="381"/>
                    </a:moveTo>
                    <a:cubicBezTo>
                      <a:pt x="20" y="381"/>
                      <a:pt x="17" y="380"/>
                      <a:pt x="16" y="379"/>
                    </a:cubicBezTo>
                    <a:cubicBezTo>
                      <a:pt x="16" y="378"/>
                      <a:pt x="13" y="378"/>
                      <a:pt x="11" y="378"/>
                    </a:cubicBezTo>
                    <a:cubicBezTo>
                      <a:pt x="12" y="379"/>
                      <a:pt x="12" y="379"/>
                      <a:pt x="13" y="380"/>
                    </a:cubicBezTo>
                    <a:cubicBezTo>
                      <a:pt x="14" y="382"/>
                      <a:pt x="8" y="382"/>
                      <a:pt x="10" y="384"/>
                    </a:cubicBezTo>
                    <a:cubicBezTo>
                      <a:pt x="12" y="386"/>
                      <a:pt x="6" y="386"/>
                      <a:pt x="6" y="384"/>
                    </a:cubicBezTo>
                    <a:cubicBezTo>
                      <a:pt x="6" y="382"/>
                      <a:pt x="1" y="383"/>
                      <a:pt x="1" y="384"/>
                    </a:cubicBezTo>
                    <a:cubicBezTo>
                      <a:pt x="1" y="385"/>
                      <a:pt x="1" y="386"/>
                      <a:pt x="0" y="386"/>
                    </a:cubicBezTo>
                    <a:cubicBezTo>
                      <a:pt x="2" y="387"/>
                      <a:pt x="4" y="388"/>
                      <a:pt x="4" y="388"/>
                    </a:cubicBezTo>
                    <a:cubicBezTo>
                      <a:pt x="5" y="388"/>
                      <a:pt x="20" y="390"/>
                      <a:pt x="25" y="389"/>
                    </a:cubicBezTo>
                    <a:cubicBezTo>
                      <a:pt x="25" y="388"/>
                      <a:pt x="26" y="385"/>
                      <a:pt x="26" y="383"/>
                    </a:cubicBezTo>
                    <a:cubicBezTo>
                      <a:pt x="26" y="382"/>
                      <a:pt x="22" y="380"/>
                      <a:pt x="21" y="381"/>
                    </a:cubicBezTo>
                    <a:close/>
                    <a:moveTo>
                      <a:pt x="365" y="14"/>
                    </a:moveTo>
                    <a:cubicBezTo>
                      <a:pt x="374" y="13"/>
                      <a:pt x="374" y="8"/>
                      <a:pt x="369" y="8"/>
                    </a:cubicBezTo>
                    <a:cubicBezTo>
                      <a:pt x="364" y="7"/>
                      <a:pt x="364" y="10"/>
                      <a:pt x="361" y="10"/>
                    </a:cubicBezTo>
                    <a:cubicBezTo>
                      <a:pt x="359" y="10"/>
                      <a:pt x="350" y="12"/>
                      <a:pt x="352" y="14"/>
                    </a:cubicBezTo>
                    <a:cubicBezTo>
                      <a:pt x="354" y="16"/>
                      <a:pt x="361" y="15"/>
                      <a:pt x="365" y="14"/>
                    </a:cubicBezTo>
                    <a:close/>
                    <a:moveTo>
                      <a:pt x="411" y="147"/>
                    </a:moveTo>
                    <a:cubicBezTo>
                      <a:pt x="414" y="147"/>
                      <a:pt x="423" y="145"/>
                      <a:pt x="423" y="144"/>
                    </a:cubicBezTo>
                    <a:cubicBezTo>
                      <a:pt x="424" y="142"/>
                      <a:pt x="420" y="140"/>
                      <a:pt x="415" y="140"/>
                    </a:cubicBezTo>
                    <a:cubicBezTo>
                      <a:pt x="409" y="140"/>
                      <a:pt x="408" y="146"/>
                      <a:pt x="411" y="147"/>
                    </a:cubicBezTo>
                    <a:close/>
                    <a:moveTo>
                      <a:pt x="587" y="25"/>
                    </a:moveTo>
                    <a:cubicBezTo>
                      <a:pt x="591" y="27"/>
                      <a:pt x="590" y="28"/>
                      <a:pt x="585" y="28"/>
                    </a:cubicBezTo>
                    <a:cubicBezTo>
                      <a:pt x="580" y="28"/>
                      <a:pt x="576" y="30"/>
                      <a:pt x="579" y="31"/>
                    </a:cubicBezTo>
                    <a:cubicBezTo>
                      <a:pt x="582" y="32"/>
                      <a:pt x="581" y="35"/>
                      <a:pt x="586" y="36"/>
                    </a:cubicBezTo>
                    <a:cubicBezTo>
                      <a:pt x="591" y="37"/>
                      <a:pt x="596" y="33"/>
                      <a:pt x="596" y="30"/>
                    </a:cubicBezTo>
                    <a:cubicBezTo>
                      <a:pt x="595" y="27"/>
                      <a:pt x="613" y="25"/>
                      <a:pt x="618" y="23"/>
                    </a:cubicBezTo>
                    <a:cubicBezTo>
                      <a:pt x="623" y="22"/>
                      <a:pt x="615" y="17"/>
                      <a:pt x="620" y="17"/>
                    </a:cubicBezTo>
                    <a:cubicBezTo>
                      <a:pt x="625" y="16"/>
                      <a:pt x="623" y="14"/>
                      <a:pt x="617" y="13"/>
                    </a:cubicBezTo>
                    <a:cubicBezTo>
                      <a:pt x="610" y="12"/>
                      <a:pt x="613" y="7"/>
                      <a:pt x="611" y="5"/>
                    </a:cubicBezTo>
                    <a:cubicBezTo>
                      <a:pt x="609" y="3"/>
                      <a:pt x="608" y="7"/>
                      <a:pt x="599" y="9"/>
                    </a:cubicBezTo>
                    <a:cubicBezTo>
                      <a:pt x="591" y="10"/>
                      <a:pt x="587" y="13"/>
                      <a:pt x="590" y="14"/>
                    </a:cubicBezTo>
                    <a:cubicBezTo>
                      <a:pt x="593" y="16"/>
                      <a:pt x="590" y="20"/>
                      <a:pt x="587" y="20"/>
                    </a:cubicBezTo>
                    <a:cubicBezTo>
                      <a:pt x="583" y="19"/>
                      <a:pt x="582" y="23"/>
                      <a:pt x="587" y="25"/>
                    </a:cubicBezTo>
                    <a:close/>
                    <a:moveTo>
                      <a:pt x="599" y="32"/>
                    </a:moveTo>
                    <a:cubicBezTo>
                      <a:pt x="599" y="34"/>
                      <a:pt x="592" y="37"/>
                      <a:pt x="594" y="39"/>
                    </a:cubicBezTo>
                    <a:cubicBezTo>
                      <a:pt x="596" y="41"/>
                      <a:pt x="598" y="40"/>
                      <a:pt x="600" y="41"/>
                    </a:cubicBezTo>
                    <a:cubicBezTo>
                      <a:pt x="602" y="41"/>
                      <a:pt x="603" y="47"/>
                      <a:pt x="608" y="46"/>
                    </a:cubicBezTo>
                    <a:cubicBezTo>
                      <a:pt x="612" y="45"/>
                      <a:pt x="624" y="51"/>
                      <a:pt x="631" y="51"/>
                    </a:cubicBezTo>
                    <a:cubicBezTo>
                      <a:pt x="637" y="51"/>
                      <a:pt x="638" y="45"/>
                      <a:pt x="636" y="45"/>
                    </a:cubicBezTo>
                    <a:cubicBezTo>
                      <a:pt x="634" y="45"/>
                      <a:pt x="636" y="41"/>
                      <a:pt x="640" y="36"/>
                    </a:cubicBezTo>
                    <a:cubicBezTo>
                      <a:pt x="643" y="30"/>
                      <a:pt x="628" y="26"/>
                      <a:pt x="628" y="31"/>
                    </a:cubicBezTo>
                    <a:cubicBezTo>
                      <a:pt x="628" y="35"/>
                      <a:pt x="623" y="30"/>
                      <a:pt x="622" y="27"/>
                    </a:cubicBezTo>
                    <a:cubicBezTo>
                      <a:pt x="620" y="24"/>
                      <a:pt x="599" y="29"/>
                      <a:pt x="599" y="32"/>
                    </a:cubicBezTo>
                    <a:close/>
                    <a:moveTo>
                      <a:pt x="481" y="150"/>
                    </a:moveTo>
                    <a:cubicBezTo>
                      <a:pt x="484" y="152"/>
                      <a:pt x="487" y="151"/>
                      <a:pt x="487" y="148"/>
                    </a:cubicBezTo>
                    <a:cubicBezTo>
                      <a:pt x="486" y="144"/>
                      <a:pt x="478" y="149"/>
                      <a:pt x="481" y="150"/>
                    </a:cubicBezTo>
                    <a:close/>
                    <a:moveTo>
                      <a:pt x="581" y="8"/>
                    </a:moveTo>
                    <a:cubicBezTo>
                      <a:pt x="582" y="5"/>
                      <a:pt x="566" y="6"/>
                      <a:pt x="570" y="10"/>
                    </a:cubicBezTo>
                    <a:cubicBezTo>
                      <a:pt x="571" y="11"/>
                      <a:pt x="580" y="12"/>
                      <a:pt x="581" y="8"/>
                    </a:cubicBezTo>
                    <a:close/>
                    <a:moveTo>
                      <a:pt x="1280" y="181"/>
                    </a:moveTo>
                    <a:cubicBezTo>
                      <a:pt x="1285" y="183"/>
                      <a:pt x="1288" y="178"/>
                      <a:pt x="1292" y="180"/>
                    </a:cubicBezTo>
                    <a:cubicBezTo>
                      <a:pt x="1296" y="183"/>
                      <a:pt x="1305" y="179"/>
                      <a:pt x="1309" y="179"/>
                    </a:cubicBezTo>
                    <a:cubicBezTo>
                      <a:pt x="1313" y="178"/>
                      <a:pt x="1311" y="173"/>
                      <a:pt x="1300" y="172"/>
                    </a:cubicBezTo>
                    <a:cubicBezTo>
                      <a:pt x="1289" y="170"/>
                      <a:pt x="1275" y="178"/>
                      <a:pt x="1280" y="181"/>
                    </a:cubicBezTo>
                    <a:close/>
                    <a:moveTo>
                      <a:pt x="636" y="65"/>
                    </a:moveTo>
                    <a:cubicBezTo>
                      <a:pt x="640" y="67"/>
                      <a:pt x="650" y="63"/>
                      <a:pt x="657" y="63"/>
                    </a:cubicBezTo>
                    <a:cubicBezTo>
                      <a:pt x="665" y="63"/>
                      <a:pt x="685" y="58"/>
                      <a:pt x="685" y="54"/>
                    </a:cubicBezTo>
                    <a:cubicBezTo>
                      <a:pt x="686" y="50"/>
                      <a:pt x="678" y="50"/>
                      <a:pt x="675" y="47"/>
                    </a:cubicBezTo>
                    <a:cubicBezTo>
                      <a:pt x="672" y="44"/>
                      <a:pt x="665" y="47"/>
                      <a:pt x="663" y="49"/>
                    </a:cubicBezTo>
                    <a:cubicBezTo>
                      <a:pt x="661" y="52"/>
                      <a:pt x="660" y="50"/>
                      <a:pt x="664" y="45"/>
                    </a:cubicBezTo>
                    <a:cubicBezTo>
                      <a:pt x="669" y="41"/>
                      <a:pt x="660" y="37"/>
                      <a:pt x="659" y="40"/>
                    </a:cubicBezTo>
                    <a:cubicBezTo>
                      <a:pt x="659" y="43"/>
                      <a:pt x="651" y="40"/>
                      <a:pt x="651" y="43"/>
                    </a:cubicBezTo>
                    <a:cubicBezTo>
                      <a:pt x="651" y="46"/>
                      <a:pt x="648" y="47"/>
                      <a:pt x="648" y="49"/>
                    </a:cubicBezTo>
                    <a:cubicBezTo>
                      <a:pt x="648" y="52"/>
                      <a:pt x="642" y="48"/>
                      <a:pt x="642" y="54"/>
                    </a:cubicBezTo>
                    <a:cubicBezTo>
                      <a:pt x="642" y="60"/>
                      <a:pt x="633" y="63"/>
                      <a:pt x="636" y="65"/>
                    </a:cubicBezTo>
                    <a:close/>
                    <a:moveTo>
                      <a:pt x="943" y="114"/>
                    </a:moveTo>
                    <a:cubicBezTo>
                      <a:pt x="946" y="116"/>
                      <a:pt x="948" y="118"/>
                      <a:pt x="949" y="120"/>
                    </a:cubicBezTo>
                    <a:cubicBezTo>
                      <a:pt x="951" y="121"/>
                      <a:pt x="958" y="119"/>
                      <a:pt x="961" y="118"/>
                    </a:cubicBezTo>
                    <a:cubicBezTo>
                      <a:pt x="964" y="117"/>
                      <a:pt x="964" y="122"/>
                      <a:pt x="969" y="119"/>
                    </a:cubicBezTo>
                    <a:cubicBezTo>
                      <a:pt x="973" y="116"/>
                      <a:pt x="978" y="118"/>
                      <a:pt x="983" y="118"/>
                    </a:cubicBezTo>
                    <a:cubicBezTo>
                      <a:pt x="988" y="118"/>
                      <a:pt x="982" y="111"/>
                      <a:pt x="983" y="108"/>
                    </a:cubicBezTo>
                    <a:cubicBezTo>
                      <a:pt x="983" y="106"/>
                      <a:pt x="989" y="107"/>
                      <a:pt x="987" y="110"/>
                    </a:cubicBezTo>
                    <a:cubicBezTo>
                      <a:pt x="985" y="112"/>
                      <a:pt x="990" y="118"/>
                      <a:pt x="997" y="117"/>
                    </a:cubicBezTo>
                    <a:cubicBezTo>
                      <a:pt x="1005" y="117"/>
                      <a:pt x="999" y="112"/>
                      <a:pt x="1003" y="110"/>
                    </a:cubicBezTo>
                    <a:cubicBezTo>
                      <a:pt x="1007" y="109"/>
                      <a:pt x="1006" y="107"/>
                      <a:pt x="1001" y="103"/>
                    </a:cubicBezTo>
                    <a:cubicBezTo>
                      <a:pt x="995" y="100"/>
                      <a:pt x="988" y="102"/>
                      <a:pt x="983" y="100"/>
                    </a:cubicBezTo>
                    <a:cubicBezTo>
                      <a:pt x="978" y="98"/>
                      <a:pt x="972" y="98"/>
                      <a:pt x="972" y="103"/>
                    </a:cubicBezTo>
                    <a:cubicBezTo>
                      <a:pt x="972" y="108"/>
                      <a:pt x="962" y="97"/>
                      <a:pt x="957" y="96"/>
                    </a:cubicBezTo>
                    <a:cubicBezTo>
                      <a:pt x="951" y="94"/>
                      <a:pt x="935" y="110"/>
                      <a:pt x="943" y="114"/>
                    </a:cubicBezTo>
                    <a:close/>
                    <a:moveTo>
                      <a:pt x="993" y="145"/>
                    </a:moveTo>
                    <a:cubicBezTo>
                      <a:pt x="997" y="144"/>
                      <a:pt x="990" y="136"/>
                      <a:pt x="982" y="135"/>
                    </a:cubicBezTo>
                    <a:cubicBezTo>
                      <a:pt x="975" y="134"/>
                      <a:pt x="968" y="140"/>
                      <a:pt x="969" y="141"/>
                    </a:cubicBezTo>
                    <a:cubicBezTo>
                      <a:pt x="971" y="144"/>
                      <a:pt x="988" y="146"/>
                      <a:pt x="993" y="145"/>
                    </a:cubicBezTo>
                    <a:close/>
                    <a:moveTo>
                      <a:pt x="974" y="129"/>
                    </a:moveTo>
                    <a:cubicBezTo>
                      <a:pt x="974" y="125"/>
                      <a:pt x="961" y="130"/>
                      <a:pt x="966" y="132"/>
                    </a:cubicBezTo>
                    <a:cubicBezTo>
                      <a:pt x="969" y="133"/>
                      <a:pt x="974" y="133"/>
                      <a:pt x="974" y="129"/>
                    </a:cubicBezTo>
                    <a:close/>
                    <a:moveTo>
                      <a:pt x="1015" y="114"/>
                    </a:moveTo>
                    <a:cubicBezTo>
                      <a:pt x="1021" y="115"/>
                      <a:pt x="1024" y="120"/>
                      <a:pt x="1035" y="121"/>
                    </a:cubicBezTo>
                    <a:cubicBezTo>
                      <a:pt x="1046" y="121"/>
                      <a:pt x="1054" y="119"/>
                      <a:pt x="1054" y="117"/>
                    </a:cubicBezTo>
                    <a:cubicBezTo>
                      <a:pt x="1054" y="115"/>
                      <a:pt x="1044" y="111"/>
                      <a:pt x="1041" y="113"/>
                    </a:cubicBezTo>
                    <a:cubicBezTo>
                      <a:pt x="1038" y="115"/>
                      <a:pt x="1035" y="110"/>
                      <a:pt x="1032" y="111"/>
                    </a:cubicBezTo>
                    <a:cubicBezTo>
                      <a:pt x="1028" y="112"/>
                      <a:pt x="1022" y="112"/>
                      <a:pt x="1021" y="109"/>
                    </a:cubicBezTo>
                    <a:cubicBezTo>
                      <a:pt x="1019" y="105"/>
                      <a:pt x="1012" y="114"/>
                      <a:pt x="1015" y="114"/>
                    </a:cubicBezTo>
                    <a:close/>
                    <a:moveTo>
                      <a:pt x="221" y="18"/>
                    </a:moveTo>
                    <a:cubicBezTo>
                      <a:pt x="226" y="13"/>
                      <a:pt x="233" y="17"/>
                      <a:pt x="234" y="15"/>
                    </a:cubicBezTo>
                    <a:cubicBezTo>
                      <a:pt x="235" y="13"/>
                      <a:pt x="224" y="12"/>
                      <a:pt x="220" y="14"/>
                    </a:cubicBezTo>
                    <a:cubicBezTo>
                      <a:pt x="216" y="16"/>
                      <a:pt x="206" y="14"/>
                      <a:pt x="208" y="17"/>
                    </a:cubicBezTo>
                    <a:cubicBezTo>
                      <a:pt x="208" y="19"/>
                      <a:pt x="215" y="23"/>
                      <a:pt x="221" y="18"/>
                    </a:cubicBezTo>
                    <a:close/>
                    <a:moveTo>
                      <a:pt x="991" y="419"/>
                    </a:moveTo>
                    <a:cubicBezTo>
                      <a:pt x="988" y="413"/>
                      <a:pt x="995" y="406"/>
                      <a:pt x="990" y="402"/>
                    </a:cubicBezTo>
                    <a:cubicBezTo>
                      <a:pt x="985" y="399"/>
                      <a:pt x="987" y="391"/>
                      <a:pt x="985" y="393"/>
                    </a:cubicBezTo>
                    <a:cubicBezTo>
                      <a:pt x="982" y="394"/>
                      <a:pt x="985" y="401"/>
                      <a:pt x="981" y="401"/>
                    </a:cubicBezTo>
                    <a:cubicBezTo>
                      <a:pt x="977" y="402"/>
                      <a:pt x="981" y="405"/>
                      <a:pt x="979" y="410"/>
                    </a:cubicBezTo>
                    <a:cubicBezTo>
                      <a:pt x="978" y="415"/>
                      <a:pt x="980" y="422"/>
                      <a:pt x="982" y="426"/>
                    </a:cubicBezTo>
                    <a:cubicBezTo>
                      <a:pt x="984" y="430"/>
                      <a:pt x="979" y="453"/>
                      <a:pt x="981" y="457"/>
                    </a:cubicBezTo>
                    <a:cubicBezTo>
                      <a:pt x="983" y="461"/>
                      <a:pt x="978" y="477"/>
                      <a:pt x="980" y="479"/>
                    </a:cubicBezTo>
                    <a:cubicBezTo>
                      <a:pt x="983" y="483"/>
                      <a:pt x="981" y="475"/>
                      <a:pt x="985" y="474"/>
                    </a:cubicBezTo>
                    <a:cubicBezTo>
                      <a:pt x="989" y="473"/>
                      <a:pt x="989" y="479"/>
                      <a:pt x="992" y="480"/>
                    </a:cubicBezTo>
                    <a:cubicBezTo>
                      <a:pt x="994" y="481"/>
                      <a:pt x="993" y="472"/>
                      <a:pt x="990" y="473"/>
                    </a:cubicBezTo>
                    <a:cubicBezTo>
                      <a:pt x="988" y="473"/>
                      <a:pt x="986" y="467"/>
                      <a:pt x="985" y="463"/>
                    </a:cubicBezTo>
                    <a:cubicBezTo>
                      <a:pt x="984" y="460"/>
                      <a:pt x="987" y="455"/>
                      <a:pt x="987" y="450"/>
                    </a:cubicBezTo>
                    <a:cubicBezTo>
                      <a:pt x="987" y="446"/>
                      <a:pt x="993" y="446"/>
                      <a:pt x="997" y="449"/>
                    </a:cubicBezTo>
                    <a:cubicBezTo>
                      <a:pt x="1000" y="453"/>
                      <a:pt x="1001" y="451"/>
                      <a:pt x="999" y="448"/>
                    </a:cubicBezTo>
                    <a:cubicBezTo>
                      <a:pt x="998" y="445"/>
                      <a:pt x="993" y="426"/>
                      <a:pt x="991" y="419"/>
                    </a:cubicBezTo>
                    <a:close/>
                    <a:moveTo>
                      <a:pt x="243" y="15"/>
                    </a:moveTo>
                    <a:cubicBezTo>
                      <a:pt x="246" y="18"/>
                      <a:pt x="234" y="17"/>
                      <a:pt x="232" y="19"/>
                    </a:cubicBezTo>
                    <a:cubicBezTo>
                      <a:pt x="230" y="22"/>
                      <a:pt x="223" y="21"/>
                      <a:pt x="224" y="24"/>
                    </a:cubicBezTo>
                    <a:cubicBezTo>
                      <a:pt x="226" y="27"/>
                      <a:pt x="238" y="27"/>
                      <a:pt x="238" y="24"/>
                    </a:cubicBezTo>
                    <a:cubicBezTo>
                      <a:pt x="238" y="22"/>
                      <a:pt x="244" y="24"/>
                      <a:pt x="244" y="22"/>
                    </a:cubicBezTo>
                    <a:cubicBezTo>
                      <a:pt x="244" y="20"/>
                      <a:pt x="247" y="18"/>
                      <a:pt x="254" y="17"/>
                    </a:cubicBezTo>
                    <a:cubicBezTo>
                      <a:pt x="260" y="17"/>
                      <a:pt x="260" y="14"/>
                      <a:pt x="254" y="11"/>
                    </a:cubicBezTo>
                    <a:cubicBezTo>
                      <a:pt x="248" y="8"/>
                      <a:pt x="240" y="13"/>
                      <a:pt x="243" y="15"/>
                    </a:cubicBezTo>
                    <a:close/>
                    <a:moveTo>
                      <a:pt x="233" y="208"/>
                    </a:moveTo>
                    <a:cubicBezTo>
                      <a:pt x="239" y="213"/>
                      <a:pt x="245" y="205"/>
                      <a:pt x="248" y="204"/>
                    </a:cubicBezTo>
                    <a:cubicBezTo>
                      <a:pt x="251" y="204"/>
                      <a:pt x="246" y="201"/>
                      <a:pt x="241" y="199"/>
                    </a:cubicBezTo>
                    <a:cubicBezTo>
                      <a:pt x="235" y="198"/>
                      <a:pt x="228" y="203"/>
                      <a:pt x="233" y="208"/>
                    </a:cubicBezTo>
                    <a:close/>
                    <a:moveTo>
                      <a:pt x="1372" y="248"/>
                    </a:moveTo>
                    <a:cubicBezTo>
                      <a:pt x="1370" y="247"/>
                      <a:pt x="1362" y="242"/>
                      <a:pt x="1360" y="240"/>
                    </a:cubicBezTo>
                    <a:cubicBezTo>
                      <a:pt x="1358" y="237"/>
                      <a:pt x="1349" y="236"/>
                      <a:pt x="1349" y="237"/>
                    </a:cubicBezTo>
                    <a:cubicBezTo>
                      <a:pt x="1349" y="238"/>
                      <a:pt x="1346" y="237"/>
                      <a:pt x="1345" y="235"/>
                    </a:cubicBezTo>
                    <a:cubicBezTo>
                      <a:pt x="1345" y="234"/>
                      <a:pt x="1335" y="233"/>
                      <a:pt x="1335" y="235"/>
                    </a:cubicBezTo>
                    <a:cubicBezTo>
                      <a:pt x="1335" y="237"/>
                      <a:pt x="1337" y="237"/>
                      <a:pt x="1338" y="239"/>
                    </a:cubicBezTo>
                    <a:cubicBezTo>
                      <a:pt x="1340" y="241"/>
                      <a:pt x="1337" y="242"/>
                      <a:pt x="1337" y="244"/>
                    </a:cubicBezTo>
                    <a:cubicBezTo>
                      <a:pt x="1338" y="246"/>
                      <a:pt x="1334" y="243"/>
                      <a:pt x="1332" y="242"/>
                    </a:cubicBezTo>
                    <a:cubicBezTo>
                      <a:pt x="1331" y="240"/>
                      <a:pt x="1331" y="236"/>
                      <a:pt x="1332" y="233"/>
                    </a:cubicBezTo>
                    <a:cubicBezTo>
                      <a:pt x="1332" y="231"/>
                      <a:pt x="1329" y="231"/>
                      <a:pt x="1329" y="229"/>
                    </a:cubicBezTo>
                    <a:cubicBezTo>
                      <a:pt x="1328" y="227"/>
                      <a:pt x="1318" y="222"/>
                      <a:pt x="1313" y="220"/>
                    </a:cubicBezTo>
                    <a:cubicBezTo>
                      <a:pt x="1309" y="218"/>
                      <a:pt x="1303" y="216"/>
                      <a:pt x="1301" y="214"/>
                    </a:cubicBezTo>
                    <a:cubicBezTo>
                      <a:pt x="1300" y="212"/>
                      <a:pt x="1292" y="211"/>
                      <a:pt x="1289" y="208"/>
                    </a:cubicBezTo>
                    <a:cubicBezTo>
                      <a:pt x="1285" y="205"/>
                      <a:pt x="1272" y="199"/>
                      <a:pt x="1266" y="199"/>
                    </a:cubicBezTo>
                    <a:cubicBezTo>
                      <a:pt x="1260" y="198"/>
                      <a:pt x="1262" y="195"/>
                      <a:pt x="1259" y="196"/>
                    </a:cubicBezTo>
                    <a:cubicBezTo>
                      <a:pt x="1256" y="196"/>
                      <a:pt x="1244" y="196"/>
                      <a:pt x="1240" y="195"/>
                    </a:cubicBezTo>
                    <a:cubicBezTo>
                      <a:pt x="1236" y="194"/>
                      <a:pt x="1235" y="197"/>
                      <a:pt x="1232" y="196"/>
                    </a:cubicBezTo>
                    <a:cubicBezTo>
                      <a:pt x="1230" y="195"/>
                      <a:pt x="1216" y="190"/>
                      <a:pt x="1214" y="192"/>
                    </a:cubicBezTo>
                    <a:cubicBezTo>
                      <a:pt x="1212" y="194"/>
                      <a:pt x="1213" y="197"/>
                      <a:pt x="1211" y="197"/>
                    </a:cubicBezTo>
                    <a:cubicBezTo>
                      <a:pt x="1210" y="198"/>
                      <a:pt x="1211" y="200"/>
                      <a:pt x="1215" y="203"/>
                    </a:cubicBezTo>
                    <a:cubicBezTo>
                      <a:pt x="1219" y="207"/>
                      <a:pt x="1217" y="210"/>
                      <a:pt x="1213" y="211"/>
                    </a:cubicBezTo>
                    <a:cubicBezTo>
                      <a:pt x="1210" y="213"/>
                      <a:pt x="1204" y="210"/>
                      <a:pt x="1202" y="207"/>
                    </a:cubicBezTo>
                    <a:cubicBezTo>
                      <a:pt x="1200" y="204"/>
                      <a:pt x="1195" y="206"/>
                      <a:pt x="1194" y="202"/>
                    </a:cubicBezTo>
                    <a:cubicBezTo>
                      <a:pt x="1193" y="198"/>
                      <a:pt x="1196" y="198"/>
                      <a:pt x="1198" y="200"/>
                    </a:cubicBezTo>
                    <a:cubicBezTo>
                      <a:pt x="1200" y="202"/>
                      <a:pt x="1204" y="200"/>
                      <a:pt x="1204" y="198"/>
                    </a:cubicBezTo>
                    <a:cubicBezTo>
                      <a:pt x="1204" y="195"/>
                      <a:pt x="1198" y="193"/>
                      <a:pt x="1194" y="194"/>
                    </a:cubicBezTo>
                    <a:cubicBezTo>
                      <a:pt x="1190" y="194"/>
                      <a:pt x="1188" y="199"/>
                      <a:pt x="1184" y="201"/>
                    </a:cubicBezTo>
                    <a:cubicBezTo>
                      <a:pt x="1181" y="203"/>
                      <a:pt x="1166" y="200"/>
                      <a:pt x="1164" y="199"/>
                    </a:cubicBezTo>
                    <a:cubicBezTo>
                      <a:pt x="1163" y="197"/>
                      <a:pt x="1142" y="199"/>
                      <a:pt x="1140" y="200"/>
                    </a:cubicBezTo>
                    <a:cubicBezTo>
                      <a:pt x="1138" y="202"/>
                      <a:pt x="1139" y="207"/>
                      <a:pt x="1138" y="208"/>
                    </a:cubicBezTo>
                    <a:cubicBezTo>
                      <a:pt x="1137" y="208"/>
                      <a:pt x="1136" y="201"/>
                      <a:pt x="1136" y="200"/>
                    </a:cubicBezTo>
                    <a:cubicBezTo>
                      <a:pt x="1136" y="199"/>
                      <a:pt x="1134" y="198"/>
                      <a:pt x="1130" y="198"/>
                    </a:cubicBezTo>
                    <a:cubicBezTo>
                      <a:pt x="1126" y="198"/>
                      <a:pt x="1124" y="198"/>
                      <a:pt x="1126" y="196"/>
                    </a:cubicBezTo>
                    <a:cubicBezTo>
                      <a:pt x="1127" y="194"/>
                      <a:pt x="1124" y="193"/>
                      <a:pt x="1127" y="191"/>
                    </a:cubicBezTo>
                    <a:cubicBezTo>
                      <a:pt x="1130" y="189"/>
                      <a:pt x="1122" y="183"/>
                      <a:pt x="1114" y="179"/>
                    </a:cubicBezTo>
                    <a:cubicBezTo>
                      <a:pt x="1106" y="176"/>
                      <a:pt x="1088" y="178"/>
                      <a:pt x="1084" y="180"/>
                    </a:cubicBezTo>
                    <a:cubicBezTo>
                      <a:pt x="1079" y="181"/>
                      <a:pt x="1069" y="181"/>
                      <a:pt x="1065" y="181"/>
                    </a:cubicBezTo>
                    <a:cubicBezTo>
                      <a:pt x="1060" y="181"/>
                      <a:pt x="1064" y="179"/>
                      <a:pt x="1063" y="177"/>
                    </a:cubicBezTo>
                    <a:cubicBezTo>
                      <a:pt x="1061" y="175"/>
                      <a:pt x="1054" y="172"/>
                      <a:pt x="1053" y="174"/>
                    </a:cubicBezTo>
                    <a:cubicBezTo>
                      <a:pt x="1052" y="176"/>
                      <a:pt x="1050" y="174"/>
                      <a:pt x="1050" y="172"/>
                    </a:cubicBezTo>
                    <a:cubicBezTo>
                      <a:pt x="1050" y="171"/>
                      <a:pt x="1042" y="169"/>
                      <a:pt x="1039" y="169"/>
                    </a:cubicBezTo>
                    <a:cubicBezTo>
                      <a:pt x="1037" y="170"/>
                      <a:pt x="1035" y="167"/>
                      <a:pt x="1039" y="167"/>
                    </a:cubicBezTo>
                    <a:cubicBezTo>
                      <a:pt x="1042" y="167"/>
                      <a:pt x="1048" y="167"/>
                      <a:pt x="1045" y="163"/>
                    </a:cubicBezTo>
                    <a:cubicBezTo>
                      <a:pt x="1043" y="160"/>
                      <a:pt x="1021" y="158"/>
                      <a:pt x="1019" y="159"/>
                    </a:cubicBezTo>
                    <a:cubicBezTo>
                      <a:pt x="1017" y="160"/>
                      <a:pt x="1019" y="163"/>
                      <a:pt x="1015" y="167"/>
                    </a:cubicBezTo>
                    <a:cubicBezTo>
                      <a:pt x="1010" y="171"/>
                      <a:pt x="1005" y="168"/>
                      <a:pt x="1006" y="166"/>
                    </a:cubicBezTo>
                    <a:cubicBezTo>
                      <a:pt x="1007" y="164"/>
                      <a:pt x="1012" y="164"/>
                      <a:pt x="1012" y="162"/>
                    </a:cubicBezTo>
                    <a:cubicBezTo>
                      <a:pt x="1012" y="160"/>
                      <a:pt x="1004" y="161"/>
                      <a:pt x="1003" y="160"/>
                    </a:cubicBezTo>
                    <a:cubicBezTo>
                      <a:pt x="1002" y="158"/>
                      <a:pt x="1005" y="157"/>
                      <a:pt x="1008" y="157"/>
                    </a:cubicBezTo>
                    <a:cubicBezTo>
                      <a:pt x="1011" y="158"/>
                      <a:pt x="1016" y="159"/>
                      <a:pt x="1016" y="157"/>
                    </a:cubicBezTo>
                    <a:cubicBezTo>
                      <a:pt x="1016" y="156"/>
                      <a:pt x="1013" y="156"/>
                      <a:pt x="1008" y="155"/>
                    </a:cubicBezTo>
                    <a:cubicBezTo>
                      <a:pt x="1003" y="154"/>
                      <a:pt x="992" y="152"/>
                      <a:pt x="986" y="152"/>
                    </a:cubicBezTo>
                    <a:cubicBezTo>
                      <a:pt x="980" y="153"/>
                      <a:pt x="977" y="150"/>
                      <a:pt x="974" y="150"/>
                    </a:cubicBezTo>
                    <a:cubicBezTo>
                      <a:pt x="970" y="149"/>
                      <a:pt x="970" y="151"/>
                      <a:pt x="972" y="153"/>
                    </a:cubicBezTo>
                    <a:cubicBezTo>
                      <a:pt x="973" y="155"/>
                      <a:pt x="969" y="156"/>
                      <a:pt x="965" y="156"/>
                    </a:cubicBezTo>
                    <a:cubicBezTo>
                      <a:pt x="961" y="155"/>
                      <a:pt x="955" y="158"/>
                      <a:pt x="957" y="161"/>
                    </a:cubicBezTo>
                    <a:cubicBezTo>
                      <a:pt x="960" y="164"/>
                      <a:pt x="962" y="160"/>
                      <a:pt x="964" y="161"/>
                    </a:cubicBezTo>
                    <a:cubicBezTo>
                      <a:pt x="966" y="162"/>
                      <a:pt x="959" y="164"/>
                      <a:pt x="962" y="165"/>
                    </a:cubicBezTo>
                    <a:cubicBezTo>
                      <a:pt x="964" y="167"/>
                      <a:pt x="964" y="169"/>
                      <a:pt x="964" y="171"/>
                    </a:cubicBezTo>
                    <a:cubicBezTo>
                      <a:pt x="964" y="172"/>
                      <a:pt x="959" y="173"/>
                      <a:pt x="958" y="171"/>
                    </a:cubicBezTo>
                    <a:cubicBezTo>
                      <a:pt x="956" y="169"/>
                      <a:pt x="953" y="170"/>
                      <a:pt x="950" y="170"/>
                    </a:cubicBezTo>
                    <a:cubicBezTo>
                      <a:pt x="947" y="170"/>
                      <a:pt x="944" y="172"/>
                      <a:pt x="948" y="172"/>
                    </a:cubicBezTo>
                    <a:cubicBezTo>
                      <a:pt x="951" y="172"/>
                      <a:pt x="952" y="175"/>
                      <a:pt x="948" y="175"/>
                    </a:cubicBezTo>
                    <a:cubicBezTo>
                      <a:pt x="943" y="176"/>
                      <a:pt x="944" y="171"/>
                      <a:pt x="941" y="171"/>
                    </a:cubicBezTo>
                    <a:cubicBezTo>
                      <a:pt x="938" y="172"/>
                      <a:pt x="932" y="169"/>
                      <a:pt x="929" y="169"/>
                    </a:cubicBezTo>
                    <a:cubicBezTo>
                      <a:pt x="926" y="169"/>
                      <a:pt x="924" y="172"/>
                      <a:pt x="920" y="172"/>
                    </a:cubicBezTo>
                    <a:cubicBezTo>
                      <a:pt x="915" y="173"/>
                      <a:pt x="909" y="170"/>
                      <a:pt x="907" y="168"/>
                    </a:cubicBezTo>
                    <a:cubicBezTo>
                      <a:pt x="906" y="165"/>
                      <a:pt x="905" y="165"/>
                      <a:pt x="903" y="167"/>
                    </a:cubicBezTo>
                    <a:cubicBezTo>
                      <a:pt x="901" y="170"/>
                      <a:pt x="901" y="175"/>
                      <a:pt x="899" y="176"/>
                    </a:cubicBezTo>
                    <a:cubicBezTo>
                      <a:pt x="896" y="176"/>
                      <a:pt x="896" y="181"/>
                      <a:pt x="893" y="182"/>
                    </a:cubicBezTo>
                    <a:cubicBezTo>
                      <a:pt x="891" y="183"/>
                      <a:pt x="891" y="180"/>
                      <a:pt x="888" y="180"/>
                    </a:cubicBezTo>
                    <a:cubicBezTo>
                      <a:pt x="886" y="181"/>
                      <a:pt x="877" y="172"/>
                      <a:pt x="876" y="169"/>
                    </a:cubicBezTo>
                    <a:cubicBezTo>
                      <a:pt x="876" y="167"/>
                      <a:pt x="871" y="162"/>
                      <a:pt x="869" y="161"/>
                    </a:cubicBezTo>
                    <a:cubicBezTo>
                      <a:pt x="868" y="160"/>
                      <a:pt x="871" y="160"/>
                      <a:pt x="872" y="161"/>
                    </a:cubicBezTo>
                    <a:cubicBezTo>
                      <a:pt x="874" y="163"/>
                      <a:pt x="876" y="163"/>
                      <a:pt x="878" y="162"/>
                    </a:cubicBezTo>
                    <a:cubicBezTo>
                      <a:pt x="880" y="161"/>
                      <a:pt x="880" y="157"/>
                      <a:pt x="877" y="157"/>
                    </a:cubicBezTo>
                    <a:cubicBezTo>
                      <a:pt x="873" y="156"/>
                      <a:pt x="875" y="154"/>
                      <a:pt x="876" y="153"/>
                    </a:cubicBezTo>
                    <a:cubicBezTo>
                      <a:pt x="878" y="153"/>
                      <a:pt x="873" y="148"/>
                      <a:pt x="875" y="148"/>
                    </a:cubicBezTo>
                    <a:cubicBezTo>
                      <a:pt x="876" y="147"/>
                      <a:pt x="876" y="145"/>
                      <a:pt x="873" y="145"/>
                    </a:cubicBezTo>
                    <a:cubicBezTo>
                      <a:pt x="870" y="145"/>
                      <a:pt x="868" y="142"/>
                      <a:pt x="868" y="141"/>
                    </a:cubicBezTo>
                    <a:cubicBezTo>
                      <a:pt x="867" y="140"/>
                      <a:pt x="856" y="139"/>
                      <a:pt x="857" y="141"/>
                    </a:cubicBezTo>
                    <a:cubicBezTo>
                      <a:pt x="857" y="143"/>
                      <a:pt x="853" y="142"/>
                      <a:pt x="854" y="141"/>
                    </a:cubicBezTo>
                    <a:cubicBezTo>
                      <a:pt x="854" y="139"/>
                      <a:pt x="850" y="140"/>
                      <a:pt x="845" y="138"/>
                    </a:cubicBezTo>
                    <a:cubicBezTo>
                      <a:pt x="839" y="137"/>
                      <a:pt x="839" y="133"/>
                      <a:pt x="838" y="133"/>
                    </a:cubicBezTo>
                    <a:cubicBezTo>
                      <a:pt x="836" y="133"/>
                      <a:pt x="836" y="138"/>
                      <a:pt x="834" y="137"/>
                    </a:cubicBezTo>
                    <a:cubicBezTo>
                      <a:pt x="831" y="136"/>
                      <a:pt x="828" y="138"/>
                      <a:pt x="830" y="141"/>
                    </a:cubicBezTo>
                    <a:cubicBezTo>
                      <a:pt x="831" y="144"/>
                      <a:pt x="830" y="145"/>
                      <a:pt x="830" y="147"/>
                    </a:cubicBezTo>
                    <a:cubicBezTo>
                      <a:pt x="829" y="150"/>
                      <a:pt x="828" y="149"/>
                      <a:pt x="825" y="148"/>
                    </a:cubicBezTo>
                    <a:cubicBezTo>
                      <a:pt x="822" y="147"/>
                      <a:pt x="822" y="150"/>
                      <a:pt x="815" y="149"/>
                    </a:cubicBezTo>
                    <a:cubicBezTo>
                      <a:pt x="808" y="147"/>
                      <a:pt x="805" y="149"/>
                      <a:pt x="804" y="147"/>
                    </a:cubicBezTo>
                    <a:cubicBezTo>
                      <a:pt x="803" y="144"/>
                      <a:pt x="801" y="144"/>
                      <a:pt x="801" y="146"/>
                    </a:cubicBezTo>
                    <a:cubicBezTo>
                      <a:pt x="801" y="148"/>
                      <a:pt x="790" y="147"/>
                      <a:pt x="790" y="144"/>
                    </a:cubicBezTo>
                    <a:cubicBezTo>
                      <a:pt x="789" y="142"/>
                      <a:pt x="791" y="141"/>
                      <a:pt x="793" y="141"/>
                    </a:cubicBezTo>
                    <a:cubicBezTo>
                      <a:pt x="794" y="140"/>
                      <a:pt x="791" y="139"/>
                      <a:pt x="786" y="139"/>
                    </a:cubicBezTo>
                    <a:cubicBezTo>
                      <a:pt x="780" y="140"/>
                      <a:pt x="776" y="136"/>
                      <a:pt x="771" y="137"/>
                    </a:cubicBezTo>
                    <a:cubicBezTo>
                      <a:pt x="765" y="138"/>
                      <a:pt x="752" y="139"/>
                      <a:pt x="751" y="140"/>
                    </a:cubicBezTo>
                    <a:cubicBezTo>
                      <a:pt x="749" y="140"/>
                      <a:pt x="752" y="144"/>
                      <a:pt x="749" y="144"/>
                    </a:cubicBezTo>
                    <a:cubicBezTo>
                      <a:pt x="747" y="144"/>
                      <a:pt x="749" y="139"/>
                      <a:pt x="748" y="136"/>
                    </a:cubicBezTo>
                    <a:cubicBezTo>
                      <a:pt x="748" y="133"/>
                      <a:pt x="744" y="133"/>
                      <a:pt x="744" y="135"/>
                    </a:cubicBezTo>
                    <a:cubicBezTo>
                      <a:pt x="745" y="137"/>
                      <a:pt x="738" y="138"/>
                      <a:pt x="736" y="136"/>
                    </a:cubicBezTo>
                    <a:cubicBezTo>
                      <a:pt x="734" y="135"/>
                      <a:pt x="731" y="133"/>
                      <a:pt x="727" y="131"/>
                    </a:cubicBezTo>
                    <a:cubicBezTo>
                      <a:pt x="722" y="130"/>
                      <a:pt x="716" y="135"/>
                      <a:pt x="717" y="137"/>
                    </a:cubicBezTo>
                    <a:cubicBezTo>
                      <a:pt x="719" y="138"/>
                      <a:pt x="722" y="137"/>
                      <a:pt x="722" y="138"/>
                    </a:cubicBezTo>
                    <a:cubicBezTo>
                      <a:pt x="723" y="140"/>
                      <a:pt x="713" y="139"/>
                      <a:pt x="713" y="141"/>
                    </a:cubicBezTo>
                    <a:cubicBezTo>
                      <a:pt x="713" y="142"/>
                      <a:pt x="703" y="145"/>
                      <a:pt x="700" y="145"/>
                    </a:cubicBezTo>
                    <a:cubicBezTo>
                      <a:pt x="692" y="146"/>
                      <a:pt x="691" y="146"/>
                      <a:pt x="687" y="149"/>
                    </a:cubicBezTo>
                    <a:cubicBezTo>
                      <a:pt x="683" y="152"/>
                      <a:pt x="686" y="146"/>
                      <a:pt x="689" y="144"/>
                    </a:cubicBezTo>
                    <a:cubicBezTo>
                      <a:pt x="692" y="141"/>
                      <a:pt x="695" y="142"/>
                      <a:pt x="697" y="140"/>
                    </a:cubicBezTo>
                    <a:cubicBezTo>
                      <a:pt x="698" y="137"/>
                      <a:pt x="701" y="138"/>
                      <a:pt x="705" y="137"/>
                    </a:cubicBezTo>
                    <a:cubicBezTo>
                      <a:pt x="710" y="136"/>
                      <a:pt x="710" y="134"/>
                      <a:pt x="712" y="133"/>
                    </a:cubicBezTo>
                    <a:cubicBezTo>
                      <a:pt x="714" y="132"/>
                      <a:pt x="719" y="130"/>
                      <a:pt x="720" y="128"/>
                    </a:cubicBezTo>
                    <a:cubicBezTo>
                      <a:pt x="721" y="125"/>
                      <a:pt x="732" y="122"/>
                      <a:pt x="734" y="122"/>
                    </a:cubicBezTo>
                    <a:cubicBezTo>
                      <a:pt x="736" y="122"/>
                      <a:pt x="737" y="118"/>
                      <a:pt x="738" y="118"/>
                    </a:cubicBezTo>
                    <a:cubicBezTo>
                      <a:pt x="739" y="118"/>
                      <a:pt x="745" y="115"/>
                      <a:pt x="747" y="114"/>
                    </a:cubicBezTo>
                    <a:cubicBezTo>
                      <a:pt x="750" y="113"/>
                      <a:pt x="751" y="111"/>
                      <a:pt x="751" y="109"/>
                    </a:cubicBezTo>
                    <a:cubicBezTo>
                      <a:pt x="751" y="107"/>
                      <a:pt x="748" y="108"/>
                      <a:pt x="748" y="106"/>
                    </a:cubicBezTo>
                    <a:cubicBezTo>
                      <a:pt x="747" y="105"/>
                      <a:pt x="749" y="106"/>
                      <a:pt x="752" y="105"/>
                    </a:cubicBezTo>
                    <a:cubicBezTo>
                      <a:pt x="754" y="104"/>
                      <a:pt x="752" y="101"/>
                      <a:pt x="750" y="101"/>
                    </a:cubicBezTo>
                    <a:cubicBezTo>
                      <a:pt x="748" y="102"/>
                      <a:pt x="751" y="99"/>
                      <a:pt x="749" y="97"/>
                    </a:cubicBezTo>
                    <a:cubicBezTo>
                      <a:pt x="747" y="95"/>
                      <a:pt x="744" y="99"/>
                      <a:pt x="744" y="96"/>
                    </a:cubicBezTo>
                    <a:cubicBezTo>
                      <a:pt x="744" y="94"/>
                      <a:pt x="743" y="91"/>
                      <a:pt x="742" y="90"/>
                    </a:cubicBezTo>
                    <a:cubicBezTo>
                      <a:pt x="741" y="88"/>
                      <a:pt x="738" y="92"/>
                      <a:pt x="735" y="90"/>
                    </a:cubicBezTo>
                    <a:cubicBezTo>
                      <a:pt x="732" y="88"/>
                      <a:pt x="723" y="86"/>
                      <a:pt x="723" y="87"/>
                    </a:cubicBezTo>
                    <a:cubicBezTo>
                      <a:pt x="723" y="88"/>
                      <a:pt x="719" y="86"/>
                      <a:pt x="718" y="87"/>
                    </a:cubicBezTo>
                    <a:cubicBezTo>
                      <a:pt x="717" y="88"/>
                      <a:pt x="711" y="88"/>
                      <a:pt x="708" y="87"/>
                    </a:cubicBezTo>
                    <a:cubicBezTo>
                      <a:pt x="706" y="86"/>
                      <a:pt x="703" y="88"/>
                      <a:pt x="703" y="90"/>
                    </a:cubicBezTo>
                    <a:cubicBezTo>
                      <a:pt x="703" y="92"/>
                      <a:pt x="695" y="91"/>
                      <a:pt x="693" y="91"/>
                    </a:cubicBezTo>
                    <a:cubicBezTo>
                      <a:pt x="692" y="91"/>
                      <a:pt x="699" y="84"/>
                      <a:pt x="699" y="83"/>
                    </a:cubicBezTo>
                    <a:cubicBezTo>
                      <a:pt x="699" y="82"/>
                      <a:pt x="686" y="84"/>
                      <a:pt x="686" y="82"/>
                    </a:cubicBezTo>
                    <a:cubicBezTo>
                      <a:pt x="685" y="81"/>
                      <a:pt x="679" y="81"/>
                      <a:pt x="676" y="81"/>
                    </a:cubicBezTo>
                    <a:cubicBezTo>
                      <a:pt x="674" y="81"/>
                      <a:pt x="676" y="80"/>
                      <a:pt x="679" y="80"/>
                    </a:cubicBezTo>
                    <a:cubicBezTo>
                      <a:pt x="681" y="80"/>
                      <a:pt x="683" y="78"/>
                      <a:pt x="686" y="77"/>
                    </a:cubicBezTo>
                    <a:cubicBezTo>
                      <a:pt x="689" y="77"/>
                      <a:pt x="688" y="76"/>
                      <a:pt x="687" y="74"/>
                    </a:cubicBezTo>
                    <a:cubicBezTo>
                      <a:pt x="686" y="72"/>
                      <a:pt x="683" y="73"/>
                      <a:pt x="680" y="72"/>
                    </a:cubicBezTo>
                    <a:cubicBezTo>
                      <a:pt x="678" y="72"/>
                      <a:pt x="674" y="70"/>
                      <a:pt x="672" y="70"/>
                    </a:cubicBezTo>
                    <a:cubicBezTo>
                      <a:pt x="669" y="70"/>
                      <a:pt x="667" y="72"/>
                      <a:pt x="661" y="73"/>
                    </a:cubicBezTo>
                    <a:cubicBezTo>
                      <a:pt x="656" y="74"/>
                      <a:pt x="655" y="78"/>
                      <a:pt x="652" y="79"/>
                    </a:cubicBezTo>
                    <a:cubicBezTo>
                      <a:pt x="649" y="81"/>
                      <a:pt x="644" y="86"/>
                      <a:pt x="647" y="86"/>
                    </a:cubicBezTo>
                    <a:cubicBezTo>
                      <a:pt x="649" y="87"/>
                      <a:pt x="648" y="88"/>
                      <a:pt x="648" y="90"/>
                    </a:cubicBezTo>
                    <a:cubicBezTo>
                      <a:pt x="649" y="91"/>
                      <a:pt x="647" y="92"/>
                      <a:pt x="644" y="91"/>
                    </a:cubicBezTo>
                    <a:cubicBezTo>
                      <a:pt x="641" y="91"/>
                      <a:pt x="632" y="91"/>
                      <a:pt x="632" y="93"/>
                    </a:cubicBezTo>
                    <a:cubicBezTo>
                      <a:pt x="632" y="95"/>
                      <a:pt x="637" y="96"/>
                      <a:pt x="637" y="97"/>
                    </a:cubicBezTo>
                    <a:cubicBezTo>
                      <a:pt x="637" y="98"/>
                      <a:pt x="633" y="97"/>
                      <a:pt x="631" y="96"/>
                    </a:cubicBezTo>
                    <a:cubicBezTo>
                      <a:pt x="629" y="95"/>
                      <a:pt x="625" y="95"/>
                      <a:pt x="624" y="97"/>
                    </a:cubicBezTo>
                    <a:cubicBezTo>
                      <a:pt x="623" y="99"/>
                      <a:pt x="620" y="99"/>
                      <a:pt x="619" y="98"/>
                    </a:cubicBezTo>
                    <a:cubicBezTo>
                      <a:pt x="618" y="98"/>
                      <a:pt x="615" y="99"/>
                      <a:pt x="613" y="99"/>
                    </a:cubicBezTo>
                    <a:cubicBezTo>
                      <a:pt x="612" y="98"/>
                      <a:pt x="617" y="95"/>
                      <a:pt x="616" y="94"/>
                    </a:cubicBezTo>
                    <a:cubicBezTo>
                      <a:pt x="614" y="93"/>
                      <a:pt x="609" y="94"/>
                      <a:pt x="608" y="96"/>
                    </a:cubicBezTo>
                    <a:cubicBezTo>
                      <a:pt x="607" y="98"/>
                      <a:pt x="604" y="95"/>
                      <a:pt x="603" y="95"/>
                    </a:cubicBezTo>
                    <a:cubicBezTo>
                      <a:pt x="601" y="96"/>
                      <a:pt x="600" y="97"/>
                      <a:pt x="597" y="98"/>
                    </a:cubicBezTo>
                    <a:cubicBezTo>
                      <a:pt x="595" y="99"/>
                      <a:pt x="591" y="97"/>
                      <a:pt x="590" y="99"/>
                    </a:cubicBezTo>
                    <a:cubicBezTo>
                      <a:pt x="589" y="101"/>
                      <a:pt x="594" y="101"/>
                      <a:pt x="595" y="102"/>
                    </a:cubicBezTo>
                    <a:cubicBezTo>
                      <a:pt x="595" y="103"/>
                      <a:pt x="582" y="103"/>
                      <a:pt x="581" y="104"/>
                    </a:cubicBezTo>
                    <a:cubicBezTo>
                      <a:pt x="581" y="105"/>
                      <a:pt x="576" y="105"/>
                      <a:pt x="571" y="105"/>
                    </a:cubicBezTo>
                    <a:cubicBezTo>
                      <a:pt x="566" y="106"/>
                      <a:pt x="568" y="108"/>
                      <a:pt x="564" y="109"/>
                    </a:cubicBezTo>
                    <a:cubicBezTo>
                      <a:pt x="559" y="110"/>
                      <a:pt x="557" y="110"/>
                      <a:pt x="556" y="112"/>
                    </a:cubicBezTo>
                    <a:cubicBezTo>
                      <a:pt x="555" y="114"/>
                      <a:pt x="551" y="115"/>
                      <a:pt x="550" y="113"/>
                    </a:cubicBezTo>
                    <a:cubicBezTo>
                      <a:pt x="548" y="111"/>
                      <a:pt x="544" y="114"/>
                      <a:pt x="547" y="114"/>
                    </a:cubicBezTo>
                    <a:cubicBezTo>
                      <a:pt x="549" y="114"/>
                      <a:pt x="547" y="116"/>
                      <a:pt x="545" y="116"/>
                    </a:cubicBezTo>
                    <a:cubicBezTo>
                      <a:pt x="544" y="115"/>
                      <a:pt x="540" y="118"/>
                      <a:pt x="542" y="118"/>
                    </a:cubicBezTo>
                    <a:cubicBezTo>
                      <a:pt x="545" y="118"/>
                      <a:pt x="546" y="119"/>
                      <a:pt x="545" y="121"/>
                    </a:cubicBezTo>
                    <a:cubicBezTo>
                      <a:pt x="544" y="122"/>
                      <a:pt x="539" y="119"/>
                      <a:pt x="538" y="120"/>
                    </a:cubicBezTo>
                    <a:cubicBezTo>
                      <a:pt x="537" y="122"/>
                      <a:pt x="540" y="123"/>
                      <a:pt x="542" y="123"/>
                    </a:cubicBezTo>
                    <a:cubicBezTo>
                      <a:pt x="544" y="123"/>
                      <a:pt x="545" y="124"/>
                      <a:pt x="546" y="126"/>
                    </a:cubicBezTo>
                    <a:cubicBezTo>
                      <a:pt x="546" y="127"/>
                      <a:pt x="541" y="125"/>
                      <a:pt x="540" y="126"/>
                    </a:cubicBezTo>
                    <a:cubicBezTo>
                      <a:pt x="539" y="127"/>
                      <a:pt x="540" y="128"/>
                      <a:pt x="543" y="128"/>
                    </a:cubicBezTo>
                    <a:cubicBezTo>
                      <a:pt x="545" y="128"/>
                      <a:pt x="543" y="129"/>
                      <a:pt x="545" y="131"/>
                    </a:cubicBezTo>
                    <a:cubicBezTo>
                      <a:pt x="545" y="131"/>
                      <a:pt x="546" y="131"/>
                      <a:pt x="546" y="131"/>
                    </a:cubicBezTo>
                    <a:cubicBezTo>
                      <a:pt x="547" y="133"/>
                      <a:pt x="545" y="133"/>
                      <a:pt x="545" y="135"/>
                    </a:cubicBezTo>
                    <a:cubicBezTo>
                      <a:pt x="545" y="136"/>
                      <a:pt x="543" y="137"/>
                      <a:pt x="543" y="135"/>
                    </a:cubicBezTo>
                    <a:cubicBezTo>
                      <a:pt x="543" y="134"/>
                      <a:pt x="536" y="134"/>
                      <a:pt x="535" y="135"/>
                    </a:cubicBezTo>
                    <a:cubicBezTo>
                      <a:pt x="534" y="137"/>
                      <a:pt x="533" y="138"/>
                      <a:pt x="531" y="136"/>
                    </a:cubicBezTo>
                    <a:cubicBezTo>
                      <a:pt x="530" y="135"/>
                      <a:pt x="525" y="137"/>
                      <a:pt x="519" y="137"/>
                    </a:cubicBezTo>
                    <a:cubicBezTo>
                      <a:pt x="513" y="137"/>
                      <a:pt x="501" y="138"/>
                      <a:pt x="498" y="139"/>
                    </a:cubicBezTo>
                    <a:cubicBezTo>
                      <a:pt x="496" y="140"/>
                      <a:pt x="493" y="144"/>
                      <a:pt x="496" y="147"/>
                    </a:cubicBezTo>
                    <a:cubicBezTo>
                      <a:pt x="498" y="150"/>
                      <a:pt x="496" y="151"/>
                      <a:pt x="496" y="152"/>
                    </a:cubicBezTo>
                    <a:cubicBezTo>
                      <a:pt x="496" y="154"/>
                      <a:pt x="503" y="158"/>
                      <a:pt x="507" y="158"/>
                    </a:cubicBezTo>
                    <a:cubicBezTo>
                      <a:pt x="511" y="159"/>
                      <a:pt x="514" y="163"/>
                      <a:pt x="511" y="166"/>
                    </a:cubicBezTo>
                    <a:cubicBezTo>
                      <a:pt x="509" y="169"/>
                      <a:pt x="502" y="165"/>
                      <a:pt x="498" y="162"/>
                    </a:cubicBezTo>
                    <a:cubicBezTo>
                      <a:pt x="493" y="158"/>
                      <a:pt x="483" y="157"/>
                      <a:pt x="479" y="157"/>
                    </a:cubicBezTo>
                    <a:cubicBezTo>
                      <a:pt x="476" y="157"/>
                      <a:pt x="478" y="154"/>
                      <a:pt x="474" y="154"/>
                    </a:cubicBezTo>
                    <a:cubicBezTo>
                      <a:pt x="469" y="154"/>
                      <a:pt x="465" y="158"/>
                      <a:pt x="468" y="158"/>
                    </a:cubicBezTo>
                    <a:cubicBezTo>
                      <a:pt x="471" y="158"/>
                      <a:pt x="473" y="158"/>
                      <a:pt x="472" y="159"/>
                    </a:cubicBezTo>
                    <a:cubicBezTo>
                      <a:pt x="470" y="161"/>
                      <a:pt x="473" y="160"/>
                      <a:pt x="476" y="162"/>
                    </a:cubicBezTo>
                    <a:cubicBezTo>
                      <a:pt x="480" y="163"/>
                      <a:pt x="473" y="166"/>
                      <a:pt x="469" y="163"/>
                    </a:cubicBezTo>
                    <a:cubicBezTo>
                      <a:pt x="466" y="161"/>
                      <a:pt x="462" y="163"/>
                      <a:pt x="461" y="165"/>
                    </a:cubicBezTo>
                    <a:cubicBezTo>
                      <a:pt x="460" y="167"/>
                      <a:pt x="465" y="172"/>
                      <a:pt x="471" y="173"/>
                    </a:cubicBezTo>
                    <a:cubicBezTo>
                      <a:pt x="478" y="174"/>
                      <a:pt x="476" y="176"/>
                      <a:pt x="479" y="177"/>
                    </a:cubicBezTo>
                    <a:cubicBezTo>
                      <a:pt x="482" y="178"/>
                      <a:pt x="480" y="179"/>
                      <a:pt x="478" y="180"/>
                    </a:cubicBezTo>
                    <a:cubicBezTo>
                      <a:pt x="476" y="180"/>
                      <a:pt x="471" y="177"/>
                      <a:pt x="468" y="175"/>
                    </a:cubicBezTo>
                    <a:cubicBezTo>
                      <a:pt x="465" y="173"/>
                      <a:pt x="456" y="176"/>
                      <a:pt x="455" y="174"/>
                    </a:cubicBezTo>
                    <a:cubicBezTo>
                      <a:pt x="453" y="172"/>
                      <a:pt x="456" y="170"/>
                      <a:pt x="454" y="168"/>
                    </a:cubicBezTo>
                    <a:cubicBezTo>
                      <a:pt x="452" y="167"/>
                      <a:pt x="454" y="164"/>
                      <a:pt x="456" y="160"/>
                    </a:cubicBezTo>
                    <a:cubicBezTo>
                      <a:pt x="458" y="157"/>
                      <a:pt x="456" y="151"/>
                      <a:pt x="453" y="150"/>
                    </a:cubicBezTo>
                    <a:cubicBezTo>
                      <a:pt x="450" y="150"/>
                      <a:pt x="450" y="153"/>
                      <a:pt x="450" y="154"/>
                    </a:cubicBezTo>
                    <a:cubicBezTo>
                      <a:pt x="451" y="155"/>
                      <a:pt x="451" y="159"/>
                      <a:pt x="448" y="162"/>
                    </a:cubicBezTo>
                    <a:cubicBezTo>
                      <a:pt x="446" y="165"/>
                      <a:pt x="439" y="165"/>
                      <a:pt x="439" y="167"/>
                    </a:cubicBezTo>
                    <a:cubicBezTo>
                      <a:pt x="439" y="169"/>
                      <a:pt x="434" y="171"/>
                      <a:pt x="436" y="172"/>
                    </a:cubicBezTo>
                    <a:cubicBezTo>
                      <a:pt x="437" y="174"/>
                      <a:pt x="444" y="181"/>
                      <a:pt x="445" y="183"/>
                    </a:cubicBezTo>
                    <a:cubicBezTo>
                      <a:pt x="446" y="185"/>
                      <a:pt x="439" y="193"/>
                      <a:pt x="440" y="197"/>
                    </a:cubicBezTo>
                    <a:cubicBezTo>
                      <a:pt x="441" y="201"/>
                      <a:pt x="439" y="203"/>
                      <a:pt x="440" y="205"/>
                    </a:cubicBezTo>
                    <a:cubicBezTo>
                      <a:pt x="442" y="207"/>
                      <a:pt x="445" y="205"/>
                      <a:pt x="447" y="206"/>
                    </a:cubicBezTo>
                    <a:cubicBezTo>
                      <a:pt x="448" y="207"/>
                      <a:pt x="452" y="205"/>
                      <a:pt x="456" y="204"/>
                    </a:cubicBezTo>
                    <a:cubicBezTo>
                      <a:pt x="460" y="203"/>
                      <a:pt x="468" y="208"/>
                      <a:pt x="471" y="209"/>
                    </a:cubicBezTo>
                    <a:cubicBezTo>
                      <a:pt x="474" y="211"/>
                      <a:pt x="473" y="213"/>
                      <a:pt x="474" y="215"/>
                    </a:cubicBezTo>
                    <a:cubicBezTo>
                      <a:pt x="476" y="218"/>
                      <a:pt x="471" y="218"/>
                      <a:pt x="471" y="221"/>
                    </a:cubicBezTo>
                    <a:cubicBezTo>
                      <a:pt x="471" y="225"/>
                      <a:pt x="480" y="226"/>
                      <a:pt x="480" y="227"/>
                    </a:cubicBezTo>
                    <a:cubicBezTo>
                      <a:pt x="480" y="228"/>
                      <a:pt x="474" y="228"/>
                      <a:pt x="471" y="227"/>
                    </a:cubicBezTo>
                    <a:cubicBezTo>
                      <a:pt x="468" y="226"/>
                      <a:pt x="468" y="222"/>
                      <a:pt x="467" y="222"/>
                    </a:cubicBezTo>
                    <a:cubicBezTo>
                      <a:pt x="466" y="221"/>
                      <a:pt x="469" y="218"/>
                      <a:pt x="469" y="216"/>
                    </a:cubicBezTo>
                    <a:cubicBezTo>
                      <a:pt x="469" y="213"/>
                      <a:pt x="466" y="212"/>
                      <a:pt x="465" y="211"/>
                    </a:cubicBezTo>
                    <a:cubicBezTo>
                      <a:pt x="464" y="209"/>
                      <a:pt x="462" y="207"/>
                      <a:pt x="460" y="207"/>
                    </a:cubicBezTo>
                    <a:cubicBezTo>
                      <a:pt x="458" y="208"/>
                      <a:pt x="450" y="208"/>
                      <a:pt x="448" y="211"/>
                    </a:cubicBezTo>
                    <a:cubicBezTo>
                      <a:pt x="445" y="213"/>
                      <a:pt x="448" y="219"/>
                      <a:pt x="449" y="222"/>
                    </a:cubicBezTo>
                    <a:cubicBezTo>
                      <a:pt x="451" y="225"/>
                      <a:pt x="442" y="229"/>
                      <a:pt x="443" y="231"/>
                    </a:cubicBezTo>
                    <a:cubicBezTo>
                      <a:pt x="443" y="234"/>
                      <a:pt x="440" y="235"/>
                      <a:pt x="437" y="237"/>
                    </a:cubicBezTo>
                    <a:cubicBezTo>
                      <a:pt x="433" y="239"/>
                      <a:pt x="429" y="240"/>
                      <a:pt x="429" y="243"/>
                    </a:cubicBezTo>
                    <a:cubicBezTo>
                      <a:pt x="429" y="246"/>
                      <a:pt x="425" y="245"/>
                      <a:pt x="422" y="243"/>
                    </a:cubicBezTo>
                    <a:cubicBezTo>
                      <a:pt x="420" y="242"/>
                      <a:pt x="416" y="244"/>
                      <a:pt x="413" y="244"/>
                    </a:cubicBezTo>
                    <a:cubicBezTo>
                      <a:pt x="409" y="244"/>
                      <a:pt x="409" y="241"/>
                      <a:pt x="406" y="242"/>
                    </a:cubicBezTo>
                    <a:cubicBezTo>
                      <a:pt x="403" y="243"/>
                      <a:pt x="402" y="240"/>
                      <a:pt x="402" y="238"/>
                    </a:cubicBezTo>
                    <a:cubicBezTo>
                      <a:pt x="403" y="236"/>
                      <a:pt x="406" y="238"/>
                      <a:pt x="407" y="239"/>
                    </a:cubicBezTo>
                    <a:cubicBezTo>
                      <a:pt x="407" y="241"/>
                      <a:pt x="409" y="240"/>
                      <a:pt x="411" y="239"/>
                    </a:cubicBezTo>
                    <a:cubicBezTo>
                      <a:pt x="414" y="238"/>
                      <a:pt x="413" y="241"/>
                      <a:pt x="416" y="241"/>
                    </a:cubicBezTo>
                    <a:cubicBezTo>
                      <a:pt x="419" y="241"/>
                      <a:pt x="418" y="239"/>
                      <a:pt x="420" y="239"/>
                    </a:cubicBezTo>
                    <a:cubicBezTo>
                      <a:pt x="423" y="240"/>
                      <a:pt x="423" y="239"/>
                      <a:pt x="422" y="237"/>
                    </a:cubicBezTo>
                    <a:cubicBezTo>
                      <a:pt x="421" y="236"/>
                      <a:pt x="424" y="235"/>
                      <a:pt x="426" y="234"/>
                    </a:cubicBezTo>
                    <a:cubicBezTo>
                      <a:pt x="427" y="234"/>
                      <a:pt x="427" y="231"/>
                      <a:pt x="428" y="230"/>
                    </a:cubicBezTo>
                    <a:cubicBezTo>
                      <a:pt x="430" y="229"/>
                      <a:pt x="429" y="228"/>
                      <a:pt x="430" y="228"/>
                    </a:cubicBezTo>
                    <a:cubicBezTo>
                      <a:pt x="432" y="227"/>
                      <a:pt x="433" y="225"/>
                      <a:pt x="434" y="225"/>
                    </a:cubicBezTo>
                    <a:cubicBezTo>
                      <a:pt x="436" y="225"/>
                      <a:pt x="437" y="222"/>
                      <a:pt x="436" y="221"/>
                    </a:cubicBezTo>
                    <a:cubicBezTo>
                      <a:pt x="435" y="220"/>
                      <a:pt x="436" y="216"/>
                      <a:pt x="438" y="216"/>
                    </a:cubicBezTo>
                    <a:cubicBezTo>
                      <a:pt x="439" y="215"/>
                      <a:pt x="439" y="214"/>
                      <a:pt x="438" y="213"/>
                    </a:cubicBezTo>
                    <a:cubicBezTo>
                      <a:pt x="437" y="212"/>
                      <a:pt x="431" y="208"/>
                      <a:pt x="432" y="206"/>
                    </a:cubicBezTo>
                    <a:cubicBezTo>
                      <a:pt x="432" y="204"/>
                      <a:pt x="431" y="199"/>
                      <a:pt x="431" y="198"/>
                    </a:cubicBezTo>
                    <a:cubicBezTo>
                      <a:pt x="432" y="196"/>
                      <a:pt x="432" y="192"/>
                      <a:pt x="431" y="190"/>
                    </a:cubicBezTo>
                    <a:cubicBezTo>
                      <a:pt x="431" y="188"/>
                      <a:pt x="433" y="186"/>
                      <a:pt x="433" y="182"/>
                    </a:cubicBezTo>
                    <a:cubicBezTo>
                      <a:pt x="434" y="178"/>
                      <a:pt x="429" y="174"/>
                      <a:pt x="427" y="172"/>
                    </a:cubicBezTo>
                    <a:cubicBezTo>
                      <a:pt x="424" y="171"/>
                      <a:pt x="426" y="169"/>
                      <a:pt x="429" y="166"/>
                    </a:cubicBezTo>
                    <a:cubicBezTo>
                      <a:pt x="433" y="164"/>
                      <a:pt x="433" y="155"/>
                      <a:pt x="433" y="153"/>
                    </a:cubicBezTo>
                    <a:cubicBezTo>
                      <a:pt x="433" y="151"/>
                      <a:pt x="426" y="149"/>
                      <a:pt x="423" y="149"/>
                    </a:cubicBezTo>
                    <a:cubicBezTo>
                      <a:pt x="420" y="150"/>
                      <a:pt x="410" y="149"/>
                      <a:pt x="408" y="149"/>
                    </a:cubicBezTo>
                    <a:cubicBezTo>
                      <a:pt x="405" y="148"/>
                      <a:pt x="404" y="151"/>
                      <a:pt x="403" y="153"/>
                    </a:cubicBezTo>
                    <a:cubicBezTo>
                      <a:pt x="402" y="156"/>
                      <a:pt x="399" y="159"/>
                      <a:pt x="398" y="165"/>
                    </a:cubicBezTo>
                    <a:cubicBezTo>
                      <a:pt x="396" y="170"/>
                      <a:pt x="390" y="172"/>
                      <a:pt x="387" y="173"/>
                    </a:cubicBezTo>
                    <a:cubicBezTo>
                      <a:pt x="384" y="174"/>
                      <a:pt x="382" y="178"/>
                      <a:pt x="384" y="180"/>
                    </a:cubicBezTo>
                    <a:cubicBezTo>
                      <a:pt x="385" y="182"/>
                      <a:pt x="387" y="180"/>
                      <a:pt x="388" y="181"/>
                    </a:cubicBezTo>
                    <a:cubicBezTo>
                      <a:pt x="389" y="182"/>
                      <a:pt x="388" y="187"/>
                      <a:pt x="387" y="187"/>
                    </a:cubicBezTo>
                    <a:cubicBezTo>
                      <a:pt x="386" y="188"/>
                      <a:pt x="389" y="190"/>
                      <a:pt x="387" y="191"/>
                    </a:cubicBezTo>
                    <a:cubicBezTo>
                      <a:pt x="385" y="192"/>
                      <a:pt x="383" y="195"/>
                      <a:pt x="384" y="197"/>
                    </a:cubicBezTo>
                    <a:cubicBezTo>
                      <a:pt x="385" y="198"/>
                      <a:pt x="391" y="199"/>
                      <a:pt x="393" y="200"/>
                    </a:cubicBezTo>
                    <a:cubicBezTo>
                      <a:pt x="396" y="202"/>
                      <a:pt x="395" y="204"/>
                      <a:pt x="397" y="207"/>
                    </a:cubicBezTo>
                    <a:cubicBezTo>
                      <a:pt x="399" y="209"/>
                      <a:pt x="401" y="208"/>
                      <a:pt x="402" y="209"/>
                    </a:cubicBezTo>
                    <a:cubicBezTo>
                      <a:pt x="403" y="211"/>
                      <a:pt x="398" y="217"/>
                      <a:pt x="397" y="217"/>
                    </a:cubicBezTo>
                    <a:cubicBezTo>
                      <a:pt x="395" y="217"/>
                      <a:pt x="389" y="211"/>
                      <a:pt x="387" y="209"/>
                    </a:cubicBezTo>
                    <a:cubicBezTo>
                      <a:pt x="385" y="208"/>
                      <a:pt x="378" y="206"/>
                      <a:pt x="374" y="204"/>
                    </a:cubicBezTo>
                    <a:cubicBezTo>
                      <a:pt x="370" y="202"/>
                      <a:pt x="367" y="202"/>
                      <a:pt x="363" y="199"/>
                    </a:cubicBezTo>
                    <a:cubicBezTo>
                      <a:pt x="359" y="197"/>
                      <a:pt x="356" y="195"/>
                      <a:pt x="349" y="196"/>
                    </a:cubicBezTo>
                    <a:cubicBezTo>
                      <a:pt x="341" y="196"/>
                      <a:pt x="336" y="194"/>
                      <a:pt x="334" y="194"/>
                    </a:cubicBezTo>
                    <a:cubicBezTo>
                      <a:pt x="331" y="195"/>
                      <a:pt x="332" y="192"/>
                      <a:pt x="328" y="190"/>
                    </a:cubicBezTo>
                    <a:cubicBezTo>
                      <a:pt x="324" y="188"/>
                      <a:pt x="321" y="185"/>
                      <a:pt x="318" y="187"/>
                    </a:cubicBezTo>
                    <a:cubicBezTo>
                      <a:pt x="316" y="188"/>
                      <a:pt x="317" y="193"/>
                      <a:pt x="321" y="193"/>
                    </a:cubicBezTo>
                    <a:cubicBezTo>
                      <a:pt x="324" y="194"/>
                      <a:pt x="322" y="196"/>
                      <a:pt x="326" y="196"/>
                    </a:cubicBezTo>
                    <a:cubicBezTo>
                      <a:pt x="330" y="195"/>
                      <a:pt x="332" y="197"/>
                      <a:pt x="332" y="199"/>
                    </a:cubicBezTo>
                    <a:cubicBezTo>
                      <a:pt x="331" y="202"/>
                      <a:pt x="333" y="204"/>
                      <a:pt x="335" y="206"/>
                    </a:cubicBezTo>
                    <a:cubicBezTo>
                      <a:pt x="337" y="208"/>
                      <a:pt x="336" y="210"/>
                      <a:pt x="333" y="210"/>
                    </a:cubicBezTo>
                    <a:cubicBezTo>
                      <a:pt x="330" y="210"/>
                      <a:pt x="326" y="211"/>
                      <a:pt x="327" y="213"/>
                    </a:cubicBezTo>
                    <a:cubicBezTo>
                      <a:pt x="329" y="215"/>
                      <a:pt x="326" y="216"/>
                      <a:pt x="323" y="215"/>
                    </a:cubicBezTo>
                    <a:cubicBezTo>
                      <a:pt x="320" y="214"/>
                      <a:pt x="322" y="211"/>
                      <a:pt x="323" y="210"/>
                    </a:cubicBezTo>
                    <a:cubicBezTo>
                      <a:pt x="324" y="209"/>
                      <a:pt x="320" y="207"/>
                      <a:pt x="318" y="206"/>
                    </a:cubicBezTo>
                    <a:cubicBezTo>
                      <a:pt x="316" y="206"/>
                      <a:pt x="308" y="212"/>
                      <a:pt x="306" y="213"/>
                    </a:cubicBezTo>
                    <a:cubicBezTo>
                      <a:pt x="304" y="213"/>
                      <a:pt x="298" y="211"/>
                      <a:pt x="292" y="213"/>
                    </a:cubicBezTo>
                    <a:cubicBezTo>
                      <a:pt x="287" y="214"/>
                      <a:pt x="287" y="218"/>
                      <a:pt x="285" y="218"/>
                    </a:cubicBezTo>
                    <a:cubicBezTo>
                      <a:pt x="283" y="218"/>
                      <a:pt x="276" y="219"/>
                      <a:pt x="274" y="217"/>
                    </a:cubicBezTo>
                    <a:cubicBezTo>
                      <a:pt x="272" y="216"/>
                      <a:pt x="274" y="215"/>
                      <a:pt x="276" y="215"/>
                    </a:cubicBezTo>
                    <a:cubicBezTo>
                      <a:pt x="279" y="215"/>
                      <a:pt x="279" y="214"/>
                      <a:pt x="278" y="213"/>
                    </a:cubicBezTo>
                    <a:cubicBezTo>
                      <a:pt x="277" y="211"/>
                      <a:pt x="280" y="208"/>
                      <a:pt x="280" y="207"/>
                    </a:cubicBezTo>
                    <a:cubicBezTo>
                      <a:pt x="280" y="206"/>
                      <a:pt x="270" y="209"/>
                      <a:pt x="269" y="210"/>
                    </a:cubicBezTo>
                    <a:cubicBezTo>
                      <a:pt x="267" y="212"/>
                      <a:pt x="269" y="214"/>
                      <a:pt x="267" y="215"/>
                    </a:cubicBezTo>
                    <a:cubicBezTo>
                      <a:pt x="266" y="216"/>
                      <a:pt x="266" y="213"/>
                      <a:pt x="264" y="213"/>
                    </a:cubicBezTo>
                    <a:cubicBezTo>
                      <a:pt x="262" y="212"/>
                      <a:pt x="248" y="215"/>
                      <a:pt x="245" y="218"/>
                    </a:cubicBezTo>
                    <a:cubicBezTo>
                      <a:pt x="243" y="221"/>
                      <a:pt x="238" y="221"/>
                      <a:pt x="238" y="223"/>
                    </a:cubicBezTo>
                    <a:cubicBezTo>
                      <a:pt x="238" y="225"/>
                      <a:pt x="231" y="225"/>
                      <a:pt x="229" y="226"/>
                    </a:cubicBezTo>
                    <a:cubicBezTo>
                      <a:pt x="226" y="227"/>
                      <a:pt x="228" y="232"/>
                      <a:pt x="227" y="234"/>
                    </a:cubicBezTo>
                    <a:cubicBezTo>
                      <a:pt x="226" y="237"/>
                      <a:pt x="216" y="236"/>
                      <a:pt x="213" y="236"/>
                    </a:cubicBezTo>
                    <a:cubicBezTo>
                      <a:pt x="210" y="236"/>
                      <a:pt x="209" y="230"/>
                      <a:pt x="207" y="230"/>
                    </a:cubicBezTo>
                    <a:cubicBezTo>
                      <a:pt x="204" y="230"/>
                      <a:pt x="206" y="226"/>
                      <a:pt x="207" y="225"/>
                    </a:cubicBezTo>
                    <a:cubicBezTo>
                      <a:pt x="207" y="223"/>
                      <a:pt x="209" y="225"/>
                      <a:pt x="212" y="223"/>
                    </a:cubicBezTo>
                    <a:cubicBezTo>
                      <a:pt x="215" y="221"/>
                      <a:pt x="218" y="224"/>
                      <a:pt x="219" y="222"/>
                    </a:cubicBezTo>
                    <a:cubicBezTo>
                      <a:pt x="221" y="221"/>
                      <a:pt x="215" y="218"/>
                      <a:pt x="214" y="215"/>
                    </a:cubicBezTo>
                    <a:cubicBezTo>
                      <a:pt x="214" y="212"/>
                      <a:pt x="208" y="211"/>
                      <a:pt x="204" y="212"/>
                    </a:cubicBezTo>
                    <a:cubicBezTo>
                      <a:pt x="201" y="213"/>
                      <a:pt x="197" y="212"/>
                      <a:pt x="194" y="211"/>
                    </a:cubicBezTo>
                    <a:cubicBezTo>
                      <a:pt x="192" y="209"/>
                      <a:pt x="192" y="213"/>
                      <a:pt x="196" y="214"/>
                    </a:cubicBezTo>
                    <a:cubicBezTo>
                      <a:pt x="199" y="215"/>
                      <a:pt x="197" y="218"/>
                      <a:pt x="198" y="219"/>
                    </a:cubicBezTo>
                    <a:cubicBezTo>
                      <a:pt x="199" y="221"/>
                      <a:pt x="197" y="225"/>
                      <a:pt x="195" y="228"/>
                    </a:cubicBezTo>
                    <a:cubicBezTo>
                      <a:pt x="193" y="231"/>
                      <a:pt x="194" y="231"/>
                      <a:pt x="198" y="231"/>
                    </a:cubicBezTo>
                    <a:cubicBezTo>
                      <a:pt x="201" y="231"/>
                      <a:pt x="201" y="235"/>
                      <a:pt x="201" y="238"/>
                    </a:cubicBezTo>
                    <a:cubicBezTo>
                      <a:pt x="201" y="241"/>
                      <a:pt x="198" y="242"/>
                      <a:pt x="198" y="244"/>
                    </a:cubicBezTo>
                    <a:cubicBezTo>
                      <a:pt x="198" y="247"/>
                      <a:pt x="195" y="243"/>
                      <a:pt x="195" y="244"/>
                    </a:cubicBezTo>
                    <a:cubicBezTo>
                      <a:pt x="194" y="245"/>
                      <a:pt x="193" y="244"/>
                      <a:pt x="192" y="242"/>
                    </a:cubicBezTo>
                    <a:cubicBezTo>
                      <a:pt x="192" y="240"/>
                      <a:pt x="187" y="241"/>
                      <a:pt x="184" y="240"/>
                    </a:cubicBezTo>
                    <a:cubicBezTo>
                      <a:pt x="181" y="240"/>
                      <a:pt x="180" y="241"/>
                      <a:pt x="179" y="243"/>
                    </a:cubicBezTo>
                    <a:cubicBezTo>
                      <a:pt x="178" y="245"/>
                      <a:pt x="174" y="246"/>
                      <a:pt x="172" y="246"/>
                    </a:cubicBezTo>
                    <a:cubicBezTo>
                      <a:pt x="170" y="246"/>
                      <a:pt x="166" y="250"/>
                      <a:pt x="164" y="252"/>
                    </a:cubicBezTo>
                    <a:cubicBezTo>
                      <a:pt x="162" y="253"/>
                      <a:pt x="162" y="256"/>
                      <a:pt x="165" y="259"/>
                    </a:cubicBezTo>
                    <a:cubicBezTo>
                      <a:pt x="168" y="261"/>
                      <a:pt x="168" y="263"/>
                      <a:pt x="168" y="265"/>
                    </a:cubicBezTo>
                    <a:cubicBezTo>
                      <a:pt x="168" y="266"/>
                      <a:pt x="160" y="266"/>
                      <a:pt x="158" y="264"/>
                    </a:cubicBezTo>
                    <a:cubicBezTo>
                      <a:pt x="157" y="263"/>
                      <a:pt x="152" y="262"/>
                      <a:pt x="150" y="262"/>
                    </a:cubicBezTo>
                    <a:cubicBezTo>
                      <a:pt x="148" y="263"/>
                      <a:pt x="143" y="257"/>
                      <a:pt x="141" y="257"/>
                    </a:cubicBezTo>
                    <a:cubicBezTo>
                      <a:pt x="138" y="257"/>
                      <a:pt x="137" y="260"/>
                      <a:pt x="136" y="261"/>
                    </a:cubicBezTo>
                    <a:cubicBezTo>
                      <a:pt x="135" y="263"/>
                      <a:pt x="137" y="263"/>
                      <a:pt x="138" y="266"/>
                    </a:cubicBezTo>
                    <a:cubicBezTo>
                      <a:pt x="140" y="269"/>
                      <a:pt x="144" y="269"/>
                      <a:pt x="146" y="269"/>
                    </a:cubicBezTo>
                    <a:cubicBezTo>
                      <a:pt x="148" y="269"/>
                      <a:pt x="148" y="272"/>
                      <a:pt x="147" y="274"/>
                    </a:cubicBezTo>
                    <a:cubicBezTo>
                      <a:pt x="146" y="275"/>
                      <a:pt x="142" y="276"/>
                      <a:pt x="141" y="275"/>
                    </a:cubicBezTo>
                    <a:cubicBezTo>
                      <a:pt x="140" y="273"/>
                      <a:pt x="135" y="275"/>
                      <a:pt x="135" y="273"/>
                    </a:cubicBezTo>
                    <a:cubicBezTo>
                      <a:pt x="134" y="271"/>
                      <a:pt x="131" y="268"/>
                      <a:pt x="127" y="269"/>
                    </a:cubicBezTo>
                    <a:cubicBezTo>
                      <a:pt x="123" y="269"/>
                      <a:pt x="123" y="267"/>
                      <a:pt x="123" y="264"/>
                    </a:cubicBezTo>
                    <a:cubicBezTo>
                      <a:pt x="123" y="261"/>
                      <a:pt x="121" y="259"/>
                      <a:pt x="121" y="258"/>
                    </a:cubicBezTo>
                    <a:cubicBezTo>
                      <a:pt x="121" y="257"/>
                      <a:pt x="119" y="254"/>
                      <a:pt x="121" y="253"/>
                    </a:cubicBezTo>
                    <a:cubicBezTo>
                      <a:pt x="123" y="252"/>
                      <a:pt x="122" y="250"/>
                      <a:pt x="122" y="248"/>
                    </a:cubicBezTo>
                    <a:cubicBezTo>
                      <a:pt x="122" y="246"/>
                      <a:pt x="119" y="243"/>
                      <a:pt x="116" y="243"/>
                    </a:cubicBezTo>
                    <a:cubicBezTo>
                      <a:pt x="113" y="243"/>
                      <a:pt x="113" y="240"/>
                      <a:pt x="111" y="240"/>
                    </a:cubicBezTo>
                    <a:cubicBezTo>
                      <a:pt x="108" y="239"/>
                      <a:pt x="103" y="235"/>
                      <a:pt x="103" y="233"/>
                    </a:cubicBezTo>
                    <a:cubicBezTo>
                      <a:pt x="103" y="231"/>
                      <a:pt x="99" y="231"/>
                      <a:pt x="100" y="230"/>
                    </a:cubicBezTo>
                    <a:cubicBezTo>
                      <a:pt x="101" y="230"/>
                      <a:pt x="104" y="231"/>
                      <a:pt x="107" y="233"/>
                    </a:cubicBezTo>
                    <a:cubicBezTo>
                      <a:pt x="109" y="235"/>
                      <a:pt x="112" y="237"/>
                      <a:pt x="118" y="238"/>
                    </a:cubicBezTo>
                    <a:cubicBezTo>
                      <a:pt x="123" y="238"/>
                      <a:pt x="126" y="241"/>
                      <a:pt x="132" y="242"/>
                    </a:cubicBezTo>
                    <a:cubicBezTo>
                      <a:pt x="138" y="243"/>
                      <a:pt x="142" y="244"/>
                      <a:pt x="151" y="245"/>
                    </a:cubicBezTo>
                    <a:cubicBezTo>
                      <a:pt x="160" y="246"/>
                      <a:pt x="171" y="237"/>
                      <a:pt x="174" y="235"/>
                    </a:cubicBezTo>
                    <a:cubicBezTo>
                      <a:pt x="176" y="232"/>
                      <a:pt x="173" y="227"/>
                      <a:pt x="173" y="225"/>
                    </a:cubicBezTo>
                    <a:cubicBezTo>
                      <a:pt x="173" y="223"/>
                      <a:pt x="169" y="223"/>
                      <a:pt x="169" y="222"/>
                    </a:cubicBezTo>
                    <a:cubicBezTo>
                      <a:pt x="168" y="220"/>
                      <a:pt x="165" y="218"/>
                      <a:pt x="162" y="218"/>
                    </a:cubicBezTo>
                    <a:cubicBezTo>
                      <a:pt x="158" y="218"/>
                      <a:pt x="158" y="214"/>
                      <a:pt x="155" y="214"/>
                    </a:cubicBezTo>
                    <a:cubicBezTo>
                      <a:pt x="152" y="214"/>
                      <a:pt x="151" y="213"/>
                      <a:pt x="143" y="208"/>
                    </a:cubicBezTo>
                    <a:cubicBezTo>
                      <a:pt x="136" y="203"/>
                      <a:pt x="126" y="200"/>
                      <a:pt x="125" y="201"/>
                    </a:cubicBezTo>
                    <a:cubicBezTo>
                      <a:pt x="123" y="202"/>
                      <a:pt x="122" y="202"/>
                      <a:pt x="121" y="200"/>
                    </a:cubicBezTo>
                    <a:cubicBezTo>
                      <a:pt x="119" y="198"/>
                      <a:pt x="117" y="199"/>
                      <a:pt x="115" y="200"/>
                    </a:cubicBezTo>
                    <a:cubicBezTo>
                      <a:pt x="113" y="202"/>
                      <a:pt x="111" y="199"/>
                      <a:pt x="107" y="200"/>
                    </a:cubicBezTo>
                    <a:cubicBezTo>
                      <a:pt x="104" y="201"/>
                      <a:pt x="102" y="198"/>
                      <a:pt x="103" y="197"/>
                    </a:cubicBezTo>
                    <a:cubicBezTo>
                      <a:pt x="104" y="196"/>
                      <a:pt x="109" y="197"/>
                      <a:pt x="109" y="195"/>
                    </a:cubicBezTo>
                    <a:cubicBezTo>
                      <a:pt x="109" y="193"/>
                      <a:pt x="107" y="195"/>
                      <a:pt x="103" y="193"/>
                    </a:cubicBezTo>
                    <a:cubicBezTo>
                      <a:pt x="100" y="191"/>
                      <a:pt x="98" y="192"/>
                      <a:pt x="98" y="194"/>
                    </a:cubicBezTo>
                    <a:cubicBezTo>
                      <a:pt x="97" y="196"/>
                      <a:pt x="94" y="195"/>
                      <a:pt x="93" y="194"/>
                    </a:cubicBezTo>
                    <a:cubicBezTo>
                      <a:pt x="93" y="194"/>
                      <a:pt x="92" y="194"/>
                      <a:pt x="92" y="193"/>
                    </a:cubicBezTo>
                    <a:cubicBezTo>
                      <a:pt x="92" y="196"/>
                      <a:pt x="90" y="197"/>
                      <a:pt x="88" y="196"/>
                    </a:cubicBezTo>
                    <a:cubicBezTo>
                      <a:pt x="86" y="196"/>
                      <a:pt x="84" y="199"/>
                      <a:pt x="82" y="199"/>
                    </a:cubicBezTo>
                    <a:cubicBezTo>
                      <a:pt x="79" y="199"/>
                      <a:pt x="77" y="202"/>
                      <a:pt x="76" y="204"/>
                    </a:cubicBezTo>
                    <a:cubicBezTo>
                      <a:pt x="76" y="206"/>
                      <a:pt x="73" y="205"/>
                      <a:pt x="73" y="207"/>
                    </a:cubicBezTo>
                    <a:cubicBezTo>
                      <a:pt x="73" y="208"/>
                      <a:pt x="73" y="209"/>
                      <a:pt x="72" y="211"/>
                    </a:cubicBezTo>
                    <a:cubicBezTo>
                      <a:pt x="71" y="212"/>
                      <a:pt x="72" y="213"/>
                      <a:pt x="73" y="215"/>
                    </a:cubicBezTo>
                    <a:cubicBezTo>
                      <a:pt x="74" y="218"/>
                      <a:pt x="77" y="218"/>
                      <a:pt x="78" y="218"/>
                    </a:cubicBezTo>
                    <a:cubicBezTo>
                      <a:pt x="79" y="219"/>
                      <a:pt x="84" y="223"/>
                      <a:pt x="84" y="224"/>
                    </a:cubicBezTo>
                    <a:cubicBezTo>
                      <a:pt x="84" y="226"/>
                      <a:pt x="80" y="229"/>
                      <a:pt x="79" y="230"/>
                    </a:cubicBezTo>
                    <a:cubicBezTo>
                      <a:pt x="77" y="231"/>
                      <a:pt x="75" y="233"/>
                      <a:pt x="76" y="235"/>
                    </a:cubicBezTo>
                    <a:cubicBezTo>
                      <a:pt x="77" y="236"/>
                      <a:pt x="81" y="242"/>
                      <a:pt x="84" y="247"/>
                    </a:cubicBezTo>
                    <a:cubicBezTo>
                      <a:pt x="87" y="252"/>
                      <a:pt x="83" y="250"/>
                      <a:pt x="81" y="252"/>
                    </a:cubicBezTo>
                    <a:cubicBezTo>
                      <a:pt x="80" y="254"/>
                      <a:pt x="82" y="257"/>
                      <a:pt x="82" y="258"/>
                    </a:cubicBezTo>
                    <a:cubicBezTo>
                      <a:pt x="83" y="259"/>
                      <a:pt x="80" y="259"/>
                      <a:pt x="81" y="260"/>
                    </a:cubicBezTo>
                    <a:cubicBezTo>
                      <a:pt x="81" y="262"/>
                      <a:pt x="84" y="262"/>
                      <a:pt x="85" y="263"/>
                    </a:cubicBezTo>
                    <a:cubicBezTo>
                      <a:pt x="85" y="264"/>
                      <a:pt x="82" y="265"/>
                      <a:pt x="83" y="267"/>
                    </a:cubicBezTo>
                    <a:cubicBezTo>
                      <a:pt x="85" y="269"/>
                      <a:pt x="87" y="269"/>
                      <a:pt x="88" y="271"/>
                    </a:cubicBezTo>
                    <a:cubicBezTo>
                      <a:pt x="88" y="274"/>
                      <a:pt x="82" y="274"/>
                      <a:pt x="83" y="276"/>
                    </a:cubicBezTo>
                    <a:cubicBezTo>
                      <a:pt x="83" y="278"/>
                      <a:pt x="90" y="280"/>
                      <a:pt x="93" y="284"/>
                    </a:cubicBezTo>
                    <a:cubicBezTo>
                      <a:pt x="96" y="287"/>
                      <a:pt x="96" y="288"/>
                      <a:pt x="95" y="290"/>
                    </a:cubicBezTo>
                    <a:cubicBezTo>
                      <a:pt x="94" y="294"/>
                      <a:pt x="85" y="297"/>
                      <a:pt x="83" y="301"/>
                    </a:cubicBezTo>
                    <a:cubicBezTo>
                      <a:pt x="81" y="306"/>
                      <a:pt x="74" y="308"/>
                      <a:pt x="71" y="311"/>
                    </a:cubicBezTo>
                    <a:cubicBezTo>
                      <a:pt x="69" y="313"/>
                      <a:pt x="68" y="315"/>
                      <a:pt x="67" y="316"/>
                    </a:cubicBezTo>
                    <a:cubicBezTo>
                      <a:pt x="68" y="316"/>
                      <a:pt x="70" y="316"/>
                      <a:pt x="70" y="315"/>
                    </a:cubicBezTo>
                    <a:cubicBezTo>
                      <a:pt x="72" y="314"/>
                      <a:pt x="74" y="319"/>
                      <a:pt x="75" y="320"/>
                    </a:cubicBezTo>
                    <a:cubicBezTo>
                      <a:pt x="77" y="322"/>
                      <a:pt x="81" y="320"/>
                      <a:pt x="82" y="322"/>
                    </a:cubicBezTo>
                    <a:cubicBezTo>
                      <a:pt x="84" y="323"/>
                      <a:pt x="81" y="323"/>
                      <a:pt x="79" y="323"/>
                    </a:cubicBezTo>
                    <a:cubicBezTo>
                      <a:pt x="76" y="323"/>
                      <a:pt x="75" y="324"/>
                      <a:pt x="71" y="326"/>
                    </a:cubicBezTo>
                    <a:cubicBezTo>
                      <a:pt x="68" y="327"/>
                      <a:pt x="68" y="328"/>
                      <a:pt x="67" y="329"/>
                    </a:cubicBezTo>
                    <a:cubicBezTo>
                      <a:pt x="69" y="331"/>
                      <a:pt x="66" y="332"/>
                      <a:pt x="65" y="334"/>
                    </a:cubicBezTo>
                    <a:cubicBezTo>
                      <a:pt x="64" y="336"/>
                      <a:pt x="63" y="337"/>
                      <a:pt x="63" y="338"/>
                    </a:cubicBezTo>
                    <a:cubicBezTo>
                      <a:pt x="62" y="340"/>
                      <a:pt x="63" y="341"/>
                      <a:pt x="63" y="343"/>
                    </a:cubicBezTo>
                    <a:cubicBezTo>
                      <a:pt x="63" y="345"/>
                      <a:pt x="64" y="345"/>
                      <a:pt x="65" y="347"/>
                    </a:cubicBezTo>
                    <a:cubicBezTo>
                      <a:pt x="66" y="349"/>
                      <a:pt x="64" y="349"/>
                      <a:pt x="63" y="350"/>
                    </a:cubicBezTo>
                    <a:cubicBezTo>
                      <a:pt x="62" y="351"/>
                      <a:pt x="62" y="353"/>
                      <a:pt x="64" y="354"/>
                    </a:cubicBezTo>
                    <a:cubicBezTo>
                      <a:pt x="65" y="355"/>
                      <a:pt x="65" y="357"/>
                      <a:pt x="65" y="358"/>
                    </a:cubicBezTo>
                    <a:cubicBezTo>
                      <a:pt x="64" y="360"/>
                      <a:pt x="66" y="362"/>
                      <a:pt x="67" y="363"/>
                    </a:cubicBezTo>
                    <a:cubicBezTo>
                      <a:pt x="69" y="364"/>
                      <a:pt x="68" y="368"/>
                      <a:pt x="69" y="369"/>
                    </a:cubicBezTo>
                    <a:cubicBezTo>
                      <a:pt x="71" y="369"/>
                      <a:pt x="72" y="370"/>
                      <a:pt x="74" y="370"/>
                    </a:cubicBezTo>
                    <a:cubicBezTo>
                      <a:pt x="76" y="369"/>
                      <a:pt x="77" y="370"/>
                      <a:pt x="78" y="372"/>
                    </a:cubicBezTo>
                    <a:cubicBezTo>
                      <a:pt x="79" y="373"/>
                      <a:pt x="80" y="373"/>
                      <a:pt x="82" y="372"/>
                    </a:cubicBezTo>
                    <a:cubicBezTo>
                      <a:pt x="84" y="371"/>
                      <a:pt x="89" y="373"/>
                      <a:pt x="90" y="374"/>
                    </a:cubicBezTo>
                    <a:cubicBezTo>
                      <a:pt x="91" y="374"/>
                      <a:pt x="90" y="377"/>
                      <a:pt x="90" y="379"/>
                    </a:cubicBezTo>
                    <a:cubicBezTo>
                      <a:pt x="90" y="381"/>
                      <a:pt x="89" y="384"/>
                      <a:pt x="91" y="385"/>
                    </a:cubicBezTo>
                    <a:cubicBezTo>
                      <a:pt x="93" y="386"/>
                      <a:pt x="93" y="389"/>
                      <a:pt x="95" y="390"/>
                    </a:cubicBezTo>
                    <a:cubicBezTo>
                      <a:pt x="97" y="391"/>
                      <a:pt x="98" y="394"/>
                      <a:pt x="100" y="395"/>
                    </a:cubicBezTo>
                    <a:cubicBezTo>
                      <a:pt x="101" y="395"/>
                      <a:pt x="104" y="397"/>
                      <a:pt x="104" y="399"/>
                    </a:cubicBezTo>
                    <a:cubicBezTo>
                      <a:pt x="104" y="400"/>
                      <a:pt x="102" y="402"/>
                      <a:pt x="100" y="402"/>
                    </a:cubicBezTo>
                    <a:cubicBezTo>
                      <a:pt x="98" y="403"/>
                      <a:pt x="95" y="400"/>
                      <a:pt x="94" y="402"/>
                    </a:cubicBezTo>
                    <a:cubicBezTo>
                      <a:pt x="93" y="403"/>
                      <a:pt x="95" y="405"/>
                      <a:pt x="95" y="409"/>
                    </a:cubicBezTo>
                    <a:cubicBezTo>
                      <a:pt x="96" y="413"/>
                      <a:pt x="97" y="413"/>
                      <a:pt x="99" y="413"/>
                    </a:cubicBezTo>
                    <a:cubicBezTo>
                      <a:pt x="101" y="413"/>
                      <a:pt x="101" y="412"/>
                      <a:pt x="103" y="411"/>
                    </a:cubicBezTo>
                    <a:cubicBezTo>
                      <a:pt x="104" y="411"/>
                      <a:pt x="107" y="412"/>
                      <a:pt x="108" y="411"/>
                    </a:cubicBezTo>
                    <a:cubicBezTo>
                      <a:pt x="109" y="411"/>
                      <a:pt x="114" y="410"/>
                      <a:pt x="115" y="412"/>
                    </a:cubicBezTo>
                    <a:cubicBezTo>
                      <a:pt x="115" y="413"/>
                      <a:pt x="116" y="417"/>
                      <a:pt x="116" y="418"/>
                    </a:cubicBezTo>
                    <a:cubicBezTo>
                      <a:pt x="115" y="419"/>
                      <a:pt x="117" y="421"/>
                      <a:pt x="117" y="422"/>
                    </a:cubicBezTo>
                    <a:cubicBezTo>
                      <a:pt x="118" y="424"/>
                      <a:pt x="122" y="423"/>
                      <a:pt x="123" y="424"/>
                    </a:cubicBezTo>
                    <a:cubicBezTo>
                      <a:pt x="125" y="424"/>
                      <a:pt x="127" y="428"/>
                      <a:pt x="127" y="430"/>
                    </a:cubicBezTo>
                    <a:cubicBezTo>
                      <a:pt x="126" y="432"/>
                      <a:pt x="129" y="432"/>
                      <a:pt x="130" y="432"/>
                    </a:cubicBezTo>
                    <a:cubicBezTo>
                      <a:pt x="131" y="431"/>
                      <a:pt x="132" y="433"/>
                      <a:pt x="134" y="433"/>
                    </a:cubicBezTo>
                    <a:cubicBezTo>
                      <a:pt x="135" y="434"/>
                      <a:pt x="137" y="434"/>
                      <a:pt x="138" y="433"/>
                    </a:cubicBezTo>
                    <a:cubicBezTo>
                      <a:pt x="139" y="432"/>
                      <a:pt x="142" y="432"/>
                      <a:pt x="142" y="433"/>
                    </a:cubicBezTo>
                    <a:cubicBezTo>
                      <a:pt x="143" y="434"/>
                      <a:pt x="146" y="436"/>
                      <a:pt x="146" y="437"/>
                    </a:cubicBezTo>
                    <a:cubicBezTo>
                      <a:pt x="146" y="438"/>
                      <a:pt x="150" y="437"/>
                      <a:pt x="153" y="438"/>
                    </a:cubicBezTo>
                    <a:cubicBezTo>
                      <a:pt x="155" y="439"/>
                      <a:pt x="157" y="439"/>
                      <a:pt x="159" y="440"/>
                    </a:cubicBezTo>
                    <a:cubicBezTo>
                      <a:pt x="162" y="441"/>
                      <a:pt x="164" y="441"/>
                      <a:pt x="164" y="443"/>
                    </a:cubicBezTo>
                    <a:cubicBezTo>
                      <a:pt x="164" y="444"/>
                      <a:pt x="162" y="445"/>
                      <a:pt x="162" y="446"/>
                    </a:cubicBezTo>
                    <a:cubicBezTo>
                      <a:pt x="162" y="447"/>
                      <a:pt x="164" y="447"/>
                      <a:pt x="164" y="448"/>
                    </a:cubicBezTo>
                    <a:cubicBezTo>
                      <a:pt x="164" y="450"/>
                      <a:pt x="161" y="450"/>
                      <a:pt x="161" y="450"/>
                    </a:cubicBezTo>
                    <a:cubicBezTo>
                      <a:pt x="160" y="451"/>
                      <a:pt x="162" y="453"/>
                      <a:pt x="163" y="453"/>
                    </a:cubicBezTo>
                    <a:cubicBezTo>
                      <a:pt x="163" y="454"/>
                      <a:pt x="161" y="457"/>
                      <a:pt x="161" y="458"/>
                    </a:cubicBezTo>
                    <a:cubicBezTo>
                      <a:pt x="161" y="459"/>
                      <a:pt x="156" y="458"/>
                      <a:pt x="155" y="458"/>
                    </a:cubicBezTo>
                    <a:cubicBezTo>
                      <a:pt x="153" y="458"/>
                      <a:pt x="150" y="462"/>
                      <a:pt x="148" y="462"/>
                    </a:cubicBezTo>
                    <a:cubicBezTo>
                      <a:pt x="147" y="463"/>
                      <a:pt x="148" y="465"/>
                      <a:pt x="148" y="466"/>
                    </a:cubicBezTo>
                    <a:cubicBezTo>
                      <a:pt x="152" y="465"/>
                      <a:pt x="156" y="465"/>
                      <a:pt x="156" y="466"/>
                    </a:cubicBezTo>
                    <a:cubicBezTo>
                      <a:pt x="157" y="467"/>
                      <a:pt x="148" y="471"/>
                      <a:pt x="146" y="472"/>
                    </a:cubicBezTo>
                    <a:cubicBezTo>
                      <a:pt x="145" y="472"/>
                      <a:pt x="150" y="475"/>
                      <a:pt x="149" y="476"/>
                    </a:cubicBezTo>
                    <a:cubicBezTo>
                      <a:pt x="149" y="478"/>
                      <a:pt x="144" y="478"/>
                      <a:pt x="145" y="481"/>
                    </a:cubicBezTo>
                    <a:cubicBezTo>
                      <a:pt x="145" y="484"/>
                      <a:pt x="143" y="484"/>
                      <a:pt x="140" y="484"/>
                    </a:cubicBezTo>
                    <a:cubicBezTo>
                      <a:pt x="138" y="484"/>
                      <a:pt x="137" y="486"/>
                      <a:pt x="138" y="486"/>
                    </a:cubicBezTo>
                    <a:cubicBezTo>
                      <a:pt x="139" y="487"/>
                      <a:pt x="139" y="490"/>
                      <a:pt x="144" y="491"/>
                    </a:cubicBezTo>
                    <a:cubicBezTo>
                      <a:pt x="150" y="493"/>
                      <a:pt x="155" y="498"/>
                      <a:pt x="159" y="502"/>
                    </a:cubicBezTo>
                    <a:cubicBezTo>
                      <a:pt x="160" y="503"/>
                      <a:pt x="161" y="503"/>
                      <a:pt x="161" y="504"/>
                    </a:cubicBezTo>
                    <a:cubicBezTo>
                      <a:pt x="163" y="503"/>
                      <a:pt x="164" y="503"/>
                      <a:pt x="165" y="503"/>
                    </a:cubicBezTo>
                    <a:cubicBezTo>
                      <a:pt x="167" y="502"/>
                      <a:pt x="172" y="504"/>
                      <a:pt x="174" y="505"/>
                    </a:cubicBezTo>
                    <a:cubicBezTo>
                      <a:pt x="177" y="507"/>
                      <a:pt x="186" y="505"/>
                      <a:pt x="187" y="506"/>
                    </a:cubicBezTo>
                    <a:cubicBezTo>
                      <a:pt x="188" y="508"/>
                      <a:pt x="190" y="510"/>
                      <a:pt x="192" y="510"/>
                    </a:cubicBezTo>
                    <a:cubicBezTo>
                      <a:pt x="193" y="510"/>
                      <a:pt x="195" y="513"/>
                      <a:pt x="197" y="512"/>
                    </a:cubicBezTo>
                    <a:cubicBezTo>
                      <a:pt x="198" y="511"/>
                      <a:pt x="203" y="511"/>
                      <a:pt x="205" y="511"/>
                    </a:cubicBezTo>
                    <a:cubicBezTo>
                      <a:pt x="206" y="511"/>
                      <a:pt x="206" y="512"/>
                      <a:pt x="208" y="512"/>
                    </a:cubicBezTo>
                    <a:cubicBezTo>
                      <a:pt x="209" y="512"/>
                      <a:pt x="209" y="517"/>
                      <a:pt x="210" y="517"/>
                    </a:cubicBezTo>
                    <a:cubicBezTo>
                      <a:pt x="211" y="517"/>
                      <a:pt x="215" y="520"/>
                      <a:pt x="218" y="521"/>
                    </a:cubicBezTo>
                    <a:cubicBezTo>
                      <a:pt x="220" y="521"/>
                      <a:pt x="223" y="525"/>
                      <a:pt x="224" y="525"/>
                    </a:cubicBezTo>
                    <a:cubicBezTo>
                      <a:pt x="225" y="525"/>
                      <a:pt x="227" y="527"/>
                      <a:pt x="227" y="525"/>
                    </a:cubicBezTo>
                    <a:cubicBezTo>
                      <a:pt x="228" y="523"/>
                      <a:pt x="231" y="524"/>
                      <a:pt x="232" y="521"/>
                    </a:cubicBezTo>
                    <a:cubicBezTo>
                      <a:pt x="228" y="516"/>
                      <a:pt x="223" y="510"/>
                      <a:pt x="223" y="507"/>
                    </a:cubicBezTo>
                    <a:cubicBezTo>
                      <a:pt x="223" y="503"/>
                      <a:pt x="225" y="500"/>
                      <a:pt x="220" y="496"/>
                    </a:cubicBezTo>
                    <a:cubicBezTo>
                      <a:pt x="215" y="492"/>
                      <a:pt x="221" y="489"/>
                      <a:pt x="224" y="485"/>
                    </a:cubicBezTo>
                    <a:cubicBezTo>
                      <a:pt x="227" y="481"/>
                      <a:pt x="234" y="479"/>
                      <a:pt x="238" y="476"/>
                    </a:cubicBezTo>
                    <a:cubicBezTo>
                      <a:pt x="238" y="475"/>
                      <a:pt x="237" y="475"/>
                      <a:pt x="236" y="474"/>
                    </a:cubicBezTo>
                    <a:cubicBezTo>
                      <a:pt x="233" y="473"/>
                      <a:pt x="232" y="471"/>
                      <a:pt x="234" y="471"/>
                    </a:cubicBezTo>
                    <a:cubicBezTo>
                      <a:pt x="237" y="470"/>
                      <a:pt x="235" y="469"/>
                      <a:pt x="233" y="466"/>
                    </a:cubicBezTo>
                    <a:cubicBezTo>
                      <a:pt x="230" y="463"/>
                      <a:pt x="229" y="460"/>
                      <a:pt x="228" y="460"/>
                    </a:cubicBezTo>
                    <a:cubicBezTo>
                      <a:pt x="227" y="460"/>
                      <a:pt x="224" y="460"/>
                      <a:pt x="222" y="460"/>
                    </a:cubicBezTo>
                    <a:cubicBezTo>
                      <a:pt x="220" y="461"/>
                      <a:pt x="221" y="459"/>
                      <a:pt x="221" y="456"/>
                    </a:cubicBezTo>
                    <a:cubicBezTo>
                      <a:pt x="221" y="454"/>
                      <a:pt x="217" y="454"/>
                      <a:pt x="216" y="453"/>
                    </a:cubicBezTo>
                    <a:cubicBezTo>
                      <a:pt x="216" y="452"/>
                      <a:pt x="217" y="448"/>
                      <a:pt x="218" y="448"/>
                    </a:cubicBezTo>
                    <a:cubicBezTo>
                      <a:pt x="219" y="448"/>
                      <a:pt x="221" y="447"/>
                      <a:pt x="221" y="445"/>
                    </a:cubicBezTo>
                    <a:cubicBezTo>
                      <a:pt x="221" y="444"/>
                      <a:pt x="217" y="444"/>
                      <a:pt x="218" y="442"/>
                    </a:cubicBezTo>
                    <a:cubicBezTo>
                      <a:pt x="220" y="439"/>
                      <a:pt x="223" y="439"/>
                      <a:pt x="223" y="437"/>
                    </a:cubicBezTo>
                    <a:cubicBezTo>
                      <a:pt x="223" y="434"/>
                      <a:pt x="225" y="432"/>
                      <a:pt x="227" y="434"/>
                    </a:cubicBezTo>
                    <a:cubicBezTo>
                      <a:pt x="230" y="435"/>
                      <a:pt x="231" y="440"/>
                      <a:pt x="234" y="439"/>
                    </a:cubicBezTo>
                    <a:cubicBezTo>
                      <a:pt x="237" y="438"/>
                      <a:pt x="235" y="435"/>
                      <a:pt x="234" y="434"/>
                    </a:cubicBezTo>
                    <a:cubicBezTo>
                      <a:pt x="234" y="433"/>
                      <a:pt x="233" y="430"/>
                      <a:pt x="237" y="430"/>
                    </a:cubicBezTo>
                    <a:cubicBezTo>
                      <a:pt x="240" y="429"/>
                      <a:pt x="238" y="426"/>
                      <a:pt x="241" y="426"/>
                    </a:cubicBezTo>
                    <a:cubicBezTo>
                      <a:pt x="243" y="426"/>
                      <a:pt x="248" y="423"/>
                      <a:pt x="249" y="422"/>
                    </a:cubicBezTo>
                    <a:cubicBezTo>
                      <a:pt x="251" y="421"/>
                      <a:pt x="254" y="419"/>
                      <a:pt x="255" y="420"/>
                    </a:cubicBezTo>
                    <a:cubicBezTo>
                      <a:pt x="257" y="421"/>
                      <a:pt x="259" y="423"/>
                      <a:pt x="260" y="420"/>
                    </a:cubicBezTo>
                    <a:cubicBezTo>
                      <a:pt x="261" y="418"/>
                      <a:pt x="265" y="419"/>
                      <a:pt x="265" y="420"/>
                    </a:cubicBezTo>
                    <a:cubicBezTo>
                      <a:pt x="266" y="422"/>
                      <a:pt x="273" y="422"/>
                      <a:pt x="275" y="423"/>
                    </a:cubicBezTo>
                    <a:cubicBezTo>
                      <a:pt x="277" y="424"/>
                      <a:pt x="281" y="427"/>
                      <a:pt x="281" y="429"/>
                    </a:cubicBezTo>
                    <a:cubicBezTo>
                      <a:pt x="281" y="430"/>
                      <a:pt x="284" y="432"/>
                      <a:pt x="284" y="430"/>
                    </a:cubicBezTo>
                    <a:cubicBezTo>
                      <a:pt x="284" y="427"/>
                      <a:pt x="285" y="428"/>
                      <a:pt x="288" y="430"/>
                    </a:cubicBezTo>
                    <a:cubicBezTo>
                      <a:pt x="291" y="432"/>
                      <a:pt x="295" y="431"/>
                      <a:pt x="296" y="429"/>
                    </a:cubicBezTo>
                    <a:cubicBezTo>
                      <a:pt x="296" y="427"/>
                      <a:pt x="302" y="425"/>
                      <a:pt x="304" y="427"/>
                    </a:cubicBezTo>
                    <a:cubicBezTo>
                      <a:pt x="305" y="428"/>
                      <a:pt x="306" y="429"/>
                      <a:pt x="308" y="427"/>
                    </a:cubicBezTo>
                    <a:cubicBezTo>
                      <a:pt x="310" y="425"/>
                      <a:pt x="315" y="425"/>
                      <a:pt x="316" y="427"/>
                    </a:cubicBezTo>
                    <a:cubicBezTo>
                      <a:pt x="317" y="429"/>
                      <a:pt x="319" y="430"/>
                      <a:pt x="321" y="430"/>
                    </a:cubicBezTo>
                    <a:cubicBezTo>
                      <a:pt x="324" y="430"/>
                      <a:pt x="324" y="433"/>
                      <a:pt x="325" y="432"/>
                    </a:cubicBezTo>
                    <a:cubicBezTo>
                      <a:pt x="327" y="432"/>
                      <a:pt x="326" y="428"/>
                      <a:pt x="328" y="428"/>
                    </a:cubicBezTo>
                    <a:cubicBezTo>
                      <a:pt x="330" y="429"/>
                      <a:pt x="331" y="431"/>
                      <a:pt x="334" y="431"/>
                    </a:cubicBezTo>
                    <a:cubicBezTo>
                      <a:pt x="337" y="431"/>
                      <a:pt x="339" y="430"/>
                      <a:pt x="339" y="428"/>
                    </a:cubicBezTo>
                    <a:cubicBezTo>
                      <a:pt x="339" y="426"/>
                      <a:pt x="339" y="422"/>
                      <a:pt x="337" y="422"/>
                    </a:cubicBezTo>
                    <a:cubicBezTo>
                      <a:pt x="335" y="422"/>
                      <a:pt x="334" y="420"/>
                      <a:pt x="331" y="420"/>
                    </a:cubicBezTo>
                    <a:cubicBezTo>
                      <a:pt x="329" y="420"/>
                      <a:pt x="327" y="417"/>
                      <a:pt x="329" y="416"/>
                    </a:cubicBezTo>
                    <a:cubicBezTo>
                      <a:pt x="331" y="415"/>
                      <a:pt x="335" y="414"/>
                      <a:pt x="334" y="412"/>
                    </a:cubicBezTo>
                    <a:cubicBezTo>
                      <a:pt x="334" y="410"/>
                      <a:pt x="333" y="407"/>
                      <a:pt x="336" y="406"/>
                    </a:cubicBezTo>
                    <a:cubicBezTo>
                      <a:pt x="339" y="406"/>
                      <a:pt x="345" y="406"/>
                      <a:pt x="344" y="405"/>
                    </a:cubicBezTo>
                    <a:cubicBezTo>
                      <a:pt x="344" y="404"/>
                      <a:pt x="338" y="403"/>
                      <a:pt x="337" y="401"/>
                    </a:cubicBezTo>
                    <a:cubicBezTo>
                      <a:pt x="336" y="399"/>
                      <a:pt x="336" y="395"/>
                      <a:pt x="337" y="394"/>
                    </a:cubicBezTo>
                    <a:cubicBezTo>
                      <a:pt x="338" y="394"/>
                      <a:pt x="341" y="395"/>
                      <a:pt x="344" y="394"/>
                    </a:cubicBezTo>
                    <a:cubicBezTo>
                      <a:pt x="346" y="393"/>
                      <a:pt x="350" y="395"/>
                      <a:pt x="353" y="393"/>
                    </a:cubicBezTo>
                    <a:cubicBezTo>
                      <a:pt x="356" y="391"/>
                      <a:pt x="362" y="391"/>
                      <a:pt x="365" y="391"/>
                    </a:cubicBezTo>
                    <a:cubicBezTo>
                      <a:pt x="369" y="391"/>
                      <a:pt x="371" y="388"/>
                      <a:pt x="374" y="388"/>
                    </a:cubicBezTo>
                    <a:cubicBezTo>
                      <a:pt x="376" y="388"/>
                      <a:pt x="383" y="387"/>
                      <a:pt x="385" y="386"/>
                    </a:cubicBezTo>
                    <a:cubicBezTo>
                      <a:pt x="387" y="385"/>
                      <a:pt x="396" y="384"/>
                      <a:pt x="397" y="382"/>
                    </a:cubicBezTo>
                    <a:cubicBezTo>
                      <a:pt x="397" y="380"/>
                      <a:pt x="405" y="379"/>
                      <a:pt x="407" y="380"/>
                    </a:cubicBezTo>
                    <a:cubicBezTo>
                      <a:pt x="409" y="381"/>
                      <a:pt x="411" y="381"/>
                      <a:pt x="413" y="381"/>
                    </a:cubicBezTo>
                    <a:cubicBezTo>
                      <a:pt x="415" y="380"/>
                      <a:pt x="418" y="382"/>
                      <a:pt x="418" y="384"/>
                    </a:cubicBezTo>
                    <a:cubicBezTo>
                      <a:pt x="418" y="386"/>
                      <a:pt x="420" y="388"/>
                      <a:pt x="420" y="389"/>
                    </a:cubicBezTo>
                    <a:cubicBezTo>
                      <a:pt x="419" y="391"/>
                      <a:pt x="418" y="392"/>
                      <a:pt x="419" y="393"/>
                    </a:cubicBezTo>
                    <a:cubicBezTo>
                      <a:pt x="420" y="394"/>
                      <a:pt x="425" y="393"/>
                      <a:pt x="426" y="392"/>
                    </a:cubicBezTo>
                    <a:cubicBezTo>
                      <a:pt x="427" y="390"/>
                      <a:pt x="429" y="392"/>
                      <a:pt x="429" y="394"/>
                    </a:cubicBezTo>
                    <a:cubicBezTo>
                      <a:pt x="429" y="395"/>
                      <a:pt x="431" y="396"/>
                      <a:pt x="431" y="394"/>
                    </a:cubicBezTo>
                    <a:cubicBezTo>
                      <a:pt x="431" y="392"/>
                      <a:pt x="434" y="394"/>
                      <a:pt x="435" y="395"/>
                    </a:cubicBezTo>
                    <a:cubicBezTo>
                      <a:pt x="436" y="396"/>
                      <a:pt x="439" y="393"/>
                      <a:pt x="439" y="395"/>
                    </a:cubicBezTo>
                    <a:cubicBezTo>
                      <a:pt x="439" y="397"/>
                      <a:pt x="434" y="398"/>
                      <a:pt x="436" y="400"/>
                    </a:cubicBezTo>
                    <a:cubicBezTo>
                      <a:pt x="439" y="402"/>
                      <a:pt x="440" y="398"/>
                      <a:pt x="443" y="399"/>
                    </a:cubicBezTo>
                    <a:cubicBezTo>
                      <a:pt x="445" y="400"/>
                      <a:pt x="449" y="396"/>
                      <a:pt x="451" y="395"/>
                    </a:cubicBezTo>
                    <a:cubicBezTo>
                      <a:pt x="454" y="395"/>
                      <a:pt x="456" y="392"/>
                      <a:pt x="459" y="391"/>
                    </a:cubicBezTo>
                    <a:cubicBezTo>
                      <a:pt x="461" y="390"/>
                      <a:pt x="465" y="390"/>
                      <a:pt x="464" y="392"/>
                    </a:cubicBezTo>
                    <a:cubicBezTo>
                      <a:pt x="463" y="393"/>
                      <a:pt x="461" y="396"/>
                      <a:pt x="466" y="398"/>
                    </a:cubicBezTo>
                    <a:cubicBezTo>
                      <a:pt x="472" y="400"/>
                      <a:pt x="478" y="410"/>
                      <a:pt x="481" y="415"/>
                    </a:cubicBezTo>
                    <a:cubicBezTo>
                      <a:pt x="484" y="420"/>
                      <a:pt x="488" y="430"/>
                      <a:pt x="489" y="430"/>
                    </a:cubicBezTo>
                    <a:cubicBezTo>
                      <a:pt x="491" y="430"/>
                      <a:pt x="492" y="425"/>
                      <a:pt x="494" y="425"/>
                    </a:cubicBezTo>
                    <a:cubicBezTo>
                      <a:pt x="496" y="424"/>
                      <a:pt x="498" y="429"/>
                      <a:pt x="500" y="429"/>
                    </a:cubicBezTo>
                    <a:cubicBezTo>
                      <a:pt x="503" y="430"/>
                      <a:pt x="506" y="431"/>
                      <a:pt x="508" y="430"/>
                    </a:cubicBezTo>
                    <a:cubicBezTo>
                      <a:pt x="510" y="430"/>
                      <a:pt x="515" y="427"/>
                      <a:pt x="516" y="428"/>
                    </a:cubicBezTo>
                    <a:cubicBezTo>
                      <a:pt x="518" y="429"/>
                      <a:pt x="520" y="429"/>
                      <a:pt x="521" y="432"/>
                    </a:cubicBezTo>
                    <a:cubicBezTo>
                      <a:pt x="523" y="436"/>
                      <a:pt x="525" y="436"/>
                      <a:pt x="526" y="436"/>
                    </a:cubicBezTo>
                    <a:cubicBezTo>
                      <a:pt x="528" y="436"/>
                      <a:pt x="528" y="438"/>
                      <a:pt x="528" y="439"/>
                    </a:cubicBezTo>
                    <a:cubicBezTo>
                      <a:pt x="528" y="441"/>
                      <a:pt x="531" y="443"/>
                      <a:pt x="532" y="443"/>
                    </a:cubicBezTo>
                    <a:cubicBezTo>
                      <a:pt x="534" y="443"/>
                      <a:pt x="537" y="442"/>
                      <a:pt x="539" y="442"/>
                    </a:cubicBezTo>
                    <a:cubicBezTo>
                      <a:pt x="540" y="441"/>
                      <a:pt x="541" y="440"/>
                      <a:pt x="541" y="442"/>
                    </a:cubicBezTo>
                    <a:cubicBezTo>
                      <a:pt x="542" y="443"/>
                      <a:pt x="544" y="446"/>
                      <a:pt x="545" y="446"/>
                    </a:cubicBezTo>
                    <a:cubicBezTo>
                      <a:pt x="547" y="446"/>
                      <a:pt x="549" y="447"/>
                      <a:pt x="550" y="446"/>
                    </a:cubicBezTo>
                    <a:cubicBezTo>
                      <a:pt x="550" y="445"/>
                      <a:pt x="554" y="444"/>
                      <a:pt x="555" y="444"/>
                    </a:cubicBezTo>
                    <a:cubicBezTo>
                      <a:pt x="557" y="444"/>
                      <a:pt x="562" y="443"/>
                      <a:pt x="563" y="441"/>
                    </a:cubicBezTo>
                    <a:cubicBezTo>
                      <a:pt x="564" y="438"/>
                      <a:pt x="568" y="438"/>
                      <a:pt x="569" y="437"/>
                    </a:cubicBezTo>
                    <a:cubicBezTo>
                      <a:pt x="570" y="436"/>
                      <a:pt x="573" y="435"/>
                      <a:pt x="574" y="433"/>
                    </a:cubicBezTo>
                    <a:cubicBezTo>
                      <a:pt x="575" y="432"/>
                      <a:pt x="579" y="432"/>
                      <a:pt x="579" y="431"/>
                    </a:cubicBezTo>
                    <a:cubicBezTo>
                      <a:pt x="580" y="430"/>
                      <a:pt x="583" y="430"/>
                      <a:pt x="585" y="430"/>
                    </a:cubicBezTo>
                    <a:cubicBezTo>
                      <a:pt x="587" y="431"/>
                      <a:pt x="595" y="432"/>
                      <a:pt x="596" y="432"/>
                    </a:cubicBezTo>
                    <a:cubicBezTo>
                      <a:pt x="598" y="432"/>
                      <a:pt x="598" y="436"/>
                      <a:pt x="599" y="437"/>
                    </a:cubicBezTo>
                    <a:cubicBezTo>
                      <a:pt x="600" y="437"/>
                      <a:pt x="604" y="440"/>
                      <a:pt x="606" y="439"/>
                    </a:cubicBezTo>
                    <a:cubicBezTo>
                      <a:pt x="607" y="438"/>
                      <a:pt x="610" y="437"/>
                      <a:pt x="612" y="439"/>
                    </a:cubicBezTo>
                    <a:cubicBezTo>
                      <a:pt x="614" y="440"/>
                      <a:pt x="617" y="442"/>
                      <a:pt x="618" y="440"/>
                    </a:cubicBezTo>
                    <a:cubicBezTo>
                      <a:pt x="619" y="439"/>
                      <a:pt x="624" y="438"/>
                      <a:pt x="624" y="437"/>
                    </a:cubicBezTo>
                    <a:cubicBezTo>
                      <a:pt x="625" y="436"/>
                      <a:pt x="626" y="433"/>
                      <a:pt x="625" y="432"/>
                    </a:cubicBezTo>
                    <a:cubicBezTo>
                      <a:pt x="623" y="431"/>
                      <a:pt x="622" y="427"/>
                      <a:pt x="622" y="426"/>
                    </a:cubicBezTo>
                    <a:cubicBezTo>
                      <a:pt x="621" y="424"/>
                      <a:pt x="625" y="423"/>
                      <a:pt x="625" y="422"/>
                    </a:cubicBezTo>
                    <a:cubicBezTo>
                      <a:pt x="626" y="420"/>
                      <a:pt x="628" y="420"/>
                      <a:pt x="629" y="419"/>
                    </a:cubicBezTo>
                    <a:cubicBezTo>
                      <a:pt x="630" y="418"/>
                      <a:pt x="631" y="416"/>
                      <a:pt x="632" y="416"/>
                    </a:cubicBezTo>
                    <a:cubicBezTo>
                      <a:pt x="634" y="417"/>
                      <a:pt x="637" y="418"/>
                      <a:pt x="638" y="418"/>
                    </a:cubicBezTo>
                    <a:cubicBezTo>
                      <a:pt x="639" y="419"/>
                      <a:pt x="642" y="420"/>
                      <a:pt x="643" y="420"/>
                    </a:cubicBezTo>
                    <a:cubicBezTo>
                      <a:pt x="645" y="420"/>
                      <a:pt x="647" y="421"/>
                      <a:pt x="649" y="422"/>
                    </a:cubicBezTo>
                    <a:cubicBezTo>
                      <a:pt x="651" y="423"/>
                      <a:pt x="656" y="423"/>
                      <a:pt x="657" y="424"/>
                    </a:cubicBezTo>
                    <a:cubicBezTo>
                      <a:pt x="658" y="426"/>
                      <a:pt x="657" y="430"/>
                      <a:pt x="658" y="431"/>
                    </a:cubicBezTo>
                    <a:cubicBezTo>
                      <a:pt x="659" y="433"/>
                      <a:pt x="662" y="436"/>
                      <a:pt x="663" y="435"/>
                    </a:cubicBezTo>
                    <a:cubicBezTo>
                      <a:pt x="664" y="434"/>
                      <a:pt x="668" y="437"/>
                      <a:pt x="670" y="437"/>
                    </a:cubicBezTo>
                    <a:cubicBezTo>
                      <a:pt x="672" y="437"/>
                      <a:pt x="674" y="434"/>
                      <a:pt x="676" y="434"/>
                    </a:cubicBezTo>
                    <a:cubicBezTo>
                      <a:pt x="677" y="434"/>
                      <a:pt x="682" y="433"/>
                      <a:pt x="683" y="433"/>
                    </a:cubicBezTo>
                    <a:cubicBezTo>
                      <a:pt x="685" y="434"/>
                      <a:pt x="690" y="436"/>
                      <a:pt x="691" y="435"/>
                    </a:cubicBezTo>
                    <a:cubicBezTo>
                      <a:pt x="691" y="435"/>
                      <a:pt x="696" y="435"/>
                      <a:pt x="697" y="437"/>
                    </a:cubicBezTo>
                    <a:cubicBezTo>
                      <a:pt x="697" y="438"/>
                      <a:pt x="703" y="438"/>
                      <a:pt x="703" y="440"/>
                    </a:cubicBezTo>
                    <a:cubicBezTo>
                      <a:pt x="703" y="442"/>
                      <a:pt x="707" y="442"/>
                      <a:pt x="708" y="444"/>
                    </a:cubicBezTo>
                    <a:cubicBezTo>
                      <a:pt x="709" y="446"/>
                      <a:pt x="716" y="445"/>
                      <a:pt x="718" y="446"/>
                    </a:cubicBezTo>
                    <a:cubicBezTo>
                      <a:pt x="719" y="447"/>
                      <a:pt x="728" y="447"/>
                      <a:pt x="729" y="446"/>
                    </a:cubicBezTo>
                    <a:cubicBezTo>
                      <a:pt x="729" y="445"/>
                      <a:pt x="737" y="445"/>
                      <a:pt x="739" y="444"/>
                    </a:cubicBezTo>
                    <a:cubicBezTo>
                      <a:pt x="741" y="442"/>
                      <a:pt x="745" y="443"/>
                      <a:pt x="745" y="441"/>
                    </a:cubicBezTo>
                    <a:cubicBezTo>
                      <a:pt x="746" y="440"/>
                      <a:pt x="750" y="438"/>
                      <a:pt x="752" y="437"/>
                    </a:cubicBezTo>
                    <a:cubicBezTo>
                      <a:pt x="754" y="436"/>
                      <a:pt x="761" y="436"/>
                      <a:pt x="762" y="437"/>
                    </a:cubicBezTo>
                    <a:cubicBezTo>
                      <a:pt x="762" y="439"/>
                      <a:pt x="767" y="440"/>
                      <a:pt x="769" y="439"/>
                    </a:cubicBezTo>
                    <a:cubicBezTo>
                      <a:pt x="771" y="438"/>
                      <a:pt x="776" y="439"/>
                      <a:pt x="776" y="441"/>
                    </a:cubicBezTo>
                    <a:cubicBezTo>
                      <a:pt x="777" y="442"/>
                      <a:pt x="783" y="443"/>
                      <a:pt x="784" y="443"/>
                    </a:cubicBezTo>
                    <a:cubicBezTo>
                      <a:pt x="786" y="442"/>
                      <a:pt x="790" y="439"/>
                      <a:pt x="792" y="439"/>
                    </a:cubicBezTo>
                    <a:cubicBezTo>
                      <a:pt x="793" y="439"/>
                      <a:pt x="796" y="437"/>
                      <a:pt x="795" y="435"/>
                    </a:cubicBezTo>
                    <a:cubicBezTo>
                      <a:pt x="795" y="434"/>
                      <a:pt x="799" y="429"/>
                      <a:pt x="799" y="427"/>
                    </a:cubicBezTo>
                    <a:cubicBezTo>
                      <a:pt x="800" y="425"/>
                      <a:pt x="803" y="420"/>
                      <a:pt x="804" y="419"/>
                    </a:cubicBezTo>
                    <a:cubicBezTo>
                      <a:pt x="805" y="419"/>
                      <a:pt x="808" y="417"/>
                      <a:pt x="808" y="415"/>
                    </a:cubicBezTo>
                    <a:cubicBezTo>
                      <a:pt x="808" y="414"/>
                      <a:pt x="807" y="410"/>
                      <a:pt x="805" y="410"/>
                    </a:cubicBezTo>
                    <a:cubicBezTo>
                      <a:pt x="804" y="410"/>
                      <a:pt x="801" y="410"/>
                      <a:pt x="805" y="405"/>
                    </a:cubicBezTo>
                    <a:cubicBezTo>
                      <a:pt x="808" y="401"/>
                      <a:pt x="814" y="402"/>
                      <a:pt x="815" y="402"/>
                    </a:cubicBezTo>
                    <a:cubicBezTo>
                      <a:pt x="816" y="402"/>
                      <a:pt x="823" y="400"/>
                      <a:pt x="827" y="401"/>
                    </a:cubicBezTo>
                    <a:cubicBezTo>
                      <a:pt x="830" y="402"/>
                      <a:pt x="832" y="401"/>
                      <a:pt x="836" y="403"/>
                    </a:cubicBezTo>
                    <a:cubicBezTo>
                      <a:pt x="839" y="404"/>
                      <a:pt x="844" y="404"/>
                      <a:pt x="846" y="405"/>
                    </a:cubicBezTo>
                    <a:cubicBezTo>
                      <a:pt x="847" y="407"/>
                      <a:pt x="851" y="408"/>
                      <a:pt x="851" y="411"/>
                    </a:cubicBezTo>
                    <a:cubicBezTo>
                      <a:pt x="850" y="414"/>
                      <a:pt x="853" y="413"/>
                      <a:pt x="855" y="419"/>
                    </a:cubicBezTo>
                    <a:cubicBezTo>
                      <a:pt x="856" y="425"/>
                      <a:pt x="859" y="425"/>
                      <a:pt x="859" y="428"/>
                    </a:cubicBezTo>
                    <a:cubicBezTo>
                      <a:pt x="860" y="431"/>
                      <a:pt x="864" y="436"/>
                      <a:pt x="863" y="438"/>
                    </a:cubicBezTo>
                    <a:cubicBezTo>
                      <a:pt x="863" y="440"/>
                      <a:pt x="862" y="442"/>
                      <a:pt x="866" y="442"/>
                    </a:cubicBezTo>
                    <a:cubicBezTo>
                      <a:pt x="871" y="443"/>
                      <a:pt x="873" y="446"/>
                      <a:pt x="874" y="445"/>
                    </a:cubicBezTo>
                    <a:cubicBezTo>
                      <a:pt x="875" y="445"/>
                      <a:pt x="880" y="447"/>
                      <a:pt x="882" y="449"/>
                    </a:cubicBezTo>
                    <a:cubicBezTo>
                      <a:pt x="885" y="451"/>
                      <a:pt x="888" y="450"/>
                      <a:pt x="888" y="453"/>
                    </a:cubicBezTo>
                    <a:cubicBezTo>
                      <a:pt x="888" y="455"/>
                      <a:pt x="890" y="457"/>
                      <a:pt x="890" y="460"/>
                    </a:cubicBezTo>
                    <a:cubicBezTo>
                      <a:pt x="890" y="462"/>
                      <a:pt x="894" y="463"/>
                      <a:pt x="898" y="463"/>
                    </a:cubicBezTo>
                    <a:cubicBezTo>
                      <a:pt x="901" y="462"/>
                      <a:pt x="903" y="464"/>
                      <a:pt x="905" y="461"/>
                    </a:cubicBezTo>
                    <a:cubicBezTo>
                      <a:pt x="906" y="458"/>
                      <a:pt x="911" y="459"/>
                      <a:pt x="913" y="458"/>
                    </a:cubicBezTo>
                    <a:cubicBezTo>
                      <a:pt x="914" y="457"/>
                      <a:pt x="919" y="456"/>
                      <a:pt x="919" y="460"/>
                    </a:cubicBezTo>
                    <a:cubicBezTo>
                      <a:pt x="919" y="464"/>
                      <a:pt x="922" y="465"/>
                      <a:pt x="919" y="466"/>
                    </a:cubicBezTo>
                    <a:cubicBezTo>
                      <a:pt x="917" y="468"/>
                      <a:pt x="916" y="474"/>
                      <a:pt x="915" y="477"/>
                    </a:cubicBezTo>
                    <a:cubicBezTo>
                      <a:pt x="914" y="479"/>
                      <a:pt x="911" y="480"/>
                      <a:pt x="910" y="483"/>
                    </a:cubicBezTo>
                    <a:cubicBezTo>
                      <a:pt x="910" y="486"/>
                      <a:pt x="906" y="486"/>
                      <a:pt x="906" y="488"/>
                    </a:cubicBezTo>
                    <a:cubicBezTo>
                      <a:pt x="906" y="490"/>
                      <a:pt x="902" y="490"/>
                      <a:pt x="899" y="488"/>
                    </a:cubicBezTo>
                    <a:cubicBezTo>
                      <a:pt x="897" y="486"/>
                      <a:pt x="895" y="491"/>
                      <a:pt x="893" y="491"/>
                    </a:cubicBezTo>
                    <a:cubicBezTo>
                      <a:pt x="891" y="491"/>
                      <a:pt x="891" y="495"/>
                      <a:pt x="891" y="497"/>
                    </a:cubicBezTo>
                    <a:cubicBezTo>
                      <a:pt x="892" y="499"/>
                      <a:pt x="891" y="501"/>
                      <a:pt x="892" y="504"/>
                    </a:cubicBezTo>
                    <a:cubicBezTo>
                      <a:pt x="893" y="505"/>
                      <a:pt x="892" y="508"/>
                      <a:pt x="892" y="511"/>
                    </a:cubicBezTo>
                    <a:cubicBezTo>
                      <a:pt x="895" y="509"/>
                      <a:pt x="898" y="508"/>
                      <a:pt x="899" y="508"/>
                    </a:cubicBezTo>
                    <a:cubicBezTo>
                      <a:pt x="902" y="508"/>
                      <a:pt x="905" y="513"/>
                      <a:pt x="908" y="513"/>
                    </a:cubicBezTo>
                    <a:cubicBezTo>
                      <a:pt x="912" y="513"/>
                      <a:pt x="927" y="503"/>
                      <a:pt x="927" y="501"/>
                    </a:cubicBezTo>
                    <a:cubicBezTo>
                      <a:pt x="927" y="500"/>
                      <a:pt x="936" y="491"/>
                      <a:pt x="940" y="487"/>
                    </a:cubicBezTo>
                    <a:cubicBezTo>
                      <a:pt x="944" y="482"/>
                      <a:pt x="950" y="476"/>
                      <a:pt x="952" y="471"/>
                    </a:cubicBezTo>
                    <a:cubicBezTo>
                      <a:pt x="953" y="468"/>
                      <a:pt x="959" y="462"/>
                      <a:pt x="960" y="459"/>
                    </a:cubicBezTo>
                    <a:cubicBezTo>
                      <a:pt x="962" y="457"/>
                      <a:pt x="963" y="457"/>
                      <a:pt x="965" y="451"/>
                    </a:cubicBezTo>
                    <a:cubicBezTo>
                      <a:pt x="968" y="446"/>
                      <a:pt x="968" y="431"/>
                      <a:pt x="969" y="430"/>
                    </a:cubicBezTo>
                    <a:cubicBezTo>
                      <a:pt x="970" y="429"/>
                      <a:pt x="969" y="427"/>
                      <a:pt x="970" y="425"/>
                    </a:cubicBezTo>
                    <a:cubicBezTo>
                      <a:pt x="972" y="424"/>
                      <a:pt x="971" y="421"/>
                      <a:pt x="973" y="419"/>
                    </a:cubicBezTo>
                    <a:cubicBezTo>
                      <a:pt x="976" y="417"/>
                      <a:pt x="975" y="416"/>
                      <a:pt x="975" y="414"/>
                    </a:cubicBezTo>
                    <a:cubicBezTo>
                      <a:pt x="974" y="413"/>
                      <a:pt x="975" y="409"/>
                      <a:pt x="974" y="408"/>
                    </a:cubicBezTo>
                    <a:cubicBezTo>
                      <a:pt x="974" y="407"/>
                      <a:pt x="974" y="406"/>
                      <a:pt x="975" y="406"/>
                    </a:cubicBezTo>
                    <a:cubicBezTo>
                      <a:pt x="977" y="405"/>
                      <a:pt x="974" y="403"/>
                      <a:pt x="972" y="402"/>
                    </a:cubicBezTo>
                    <a:cubicBezTo>
                      <a:pt x="970" y="401"/>
                      <a:pt x="968" y="400"/>
                      <a:pt x="967" y="398"/>
                    </a:cubicBezTo>
                    <a:cubicBezTo>
                      <a:pt x="967" y="395"/>
                      <a:pt x="964" y="393"/>
                      <a:pt x="961" y="393"/>
                    </a:cubicBezTo>
                    <a:cubicBezTo>
                      <a:pt x="958" y="393"/>
                      <a:pt x="954" y="391"/>
                      <a:pt x="954" y="393"/>
                    </a:cubicBezTo>
                    <a:cubicBezTo>
                      <a:pt x="955" y="395"/>
                      <a:pt x="954" y="396"/>
                      <a:pt x="953" y="396"/>
                    </a:cubicBezTo>
                    <a:cubicBezTo>
                      <a:pt x="951" y="396"/>
                      <a:pt x="951" y="397"/>
                      <a:pt x="949" y="399"/>
                    </a:cubicBezTo>
                    <a:cubicBezTo>
                      <a:pt x="948" y="401"/>
                      <a:pt x="942" y="402"/>
                      <a:pt x="945" y="399"/>
                    </a:cubicBezTo>
                    <a:cubicBezTo>
                      <a:pt x="947" y="397"/>
                      <a:pt x="944" y="397"/>
                      <a:pt x="944" y="395"/>
                    </a:cubicBezTo>
                    <a:cubicBezTo>
                      <a:pt x="945" y="392"/>
                      <a:pt x="947" y="390"/>
                      <a:pt x="944" y="391"/>
                    </a:cubicBezTo>
                    <a:cubicBezTo>
                      <a:pt x="941" y="393"/>
                      <a:pt x="941" y="397"/>
                      <a:pt x="939" y="397"/>
                    </a:cubicBezTo>
                    <a:cubicBezTo>
                      <a:pt x="937" y="398"/>
                      <a:pt x="937" y="391"/>
                      <a:pt x="938" y="389"/>
                    </a:cubicBezTo>
                    <a:cubicBezTo>
                      <a:pt x="939" y="387"/>
                      <a:pt x="934" y="389"/>
                      <a:pt x="929" y="389"/>
                    </a:cubicBezTo>
                    <a:cubicBezTo>
                      <a:pt x="924" y="388"/>
                      <a:pt x="925" y="385"/>
                      <a:pt x="929" y="383"/>
                    </a:cubicBezTo>
                    <a:cubicBezTo>
                      <a:pt x="933" y="381"/>
                      <a:pt x="933" y="379"/>
                      <a:pt x="935" y="378"/>
                    </a:cubicBezTo>
                    <a:cubicBezTo>
                      <a:pt x="937" y="377"/>
                      <a:pt x="942" y="373"/>
                      <a:pt x="945" y="372"/>
                    </a:cubicBezTo>
                    <a:cubicBezTo>
                      <a:pt x="948" y="370"/>
                      <a:pt x="949" y="368"/>
                      <a:pt x="949" y="366"/>
                    </a:cubicBezTo>
                    <a:cubicBezTo>
                      <a:pt x="950" y="364"/>
                      <a:pt x="956" y="361"/>
                      <a:pt x="961" y="357"/>
                    </a:cubicBezTo>
                    <a:cubicBezTo>
                      <a:pt x="966" y="353"/>
                      <a:pt x="968" y="351"/>
                      <a:pt x="970" y="348"/>
                    </a:cubicBezTo>
                    <a:cubicBezTo>
                      <a:pt x="971" y="346"/>
                      <a:pt x="978" y="342"/>
                      <a:pt x="979" y="341"/>
                    </a:cubicBezTo>
                    <a:cubicBezTo>
                      <a:pt x="979" y="339"/>
                      <a:pt x="988" y="334"/>
                      <a:pt x="994" y="333"/>
                    </a:cubicBezTo>
                    <a:cubicBezTo>
                      <a:pt x="1000" y="332"/>
                      <a:pt x="1009" y="333"/>
                      <a:pt x="1011" y="335"/>
                    </a:cubicBezTo>
                    <a:cubicBezTo>
                      <a:pt x="1013" y="337"/>
                      <a:pt x="1014" y="336"/>
                      <a:pt x="1015" y="335"/>
                    </a:cubicBezTo>
                    <a:cubicBezTo>
                      <a:pt x="1016" y="334"/>
                      <a:pt x="1019" y="334"/>
                      <a:pt x="1023" y="335"/>
                    </a:cubicBezTo>
                    <a:cubicBezTo>
                      <a:pt x="1027" y="335"/>
                      <a:pt x="1028" y="333"/>
                      <a:pt x="1031" y="334"/>
                    </a:cubicBezTo>
                    <a:cubicBezTo>
                      <a:pt x="1033" y="334"/>
                      <a:pt x="1036" y="335"/>
                      <a:pt x="1037" y="332"/>
                    </a:cubicBezTo>
                    <a:cubicBezTo>
                      <a:pt x="1039" y="328"/>
                      <a:pt x="1047" y="329"/>
                      <a:pt x="1049" y="330"/>
                    </a:cubicBezTo>
                    <a:cubicBezTo>
                      <a:pt x="1050" y="332"/>
                      <a:pt x="1052" y="333"/>
                      <a:pt x="1055" y="332"/>
                    </a:cubicBezTo>
                    <a:cubicBezTo>
                      <a:pt x="1057" y="330"/>
                      <a:pt x="1057" y="334"/>
                      <a:pt x="1060" y="334"/>
                    </a:cubicBezTo>
                    <a:cubicBezTo>
                      <a:pt x="1063" y="335"/>
                      <a:pt x="1061" y="337"/>
                      <a:pt x="1059" y="337"/>
                    </a:cubicBezTo>
                    <a:cubicBezTo>
                      <a:pt x="1056" y="337"/>
                      <a:pt x="1053" y="338"/>
                      <a:pt x="1056" y="340"/>
                    </a:cubicBezTo>
                    <a:cubicBezTo>
                      <a:pt x="1059" y="341"/>
                      <a:pt x="1062" y="338"/>
                      <a:pt x="1064" y="338"/>
                    </a:cubicBezTo>
                    <a:cubicBezTo>
                      <a:pt x="1066" y="339"/>
                      <a:pt x="1070" y="339"/>
                      <a:pt x="1073" y="337"/>
                    </a:cubicBezTo>
                    <a:cubicBezTo>
                      <a:pt x="1076" y="335"/>
                      <a:pt x="1076" y="339"/>
                      <a:pt x="1078" y="337"/>
                    </a:cubicBezTo>
                    <a:cubicBezTo>
                      <a:pt x="1080" y="335"/>
                      <a:pt x="1085" y="335"/>
                      <a:pt x="1087" y="335"/>
                    </a:cubicBezTo>
                    <a:cubicBezTo>
                      <a:pt x="1089" y="335"/>
                      <a:pt x="1087" y="332"/>
                      <a:pt x="1083" y="332"/>
                    </a:cubicBezTo>
                    <a:cubicBezTo>
                      <a:pt x="1080" y="332"/>
                      <a:pt x="1080" y="330"/>
                      <a:pt x="1083" y="326"/>
                    </a:cubicBezTo>
                    <a:cubicBezTo>
                      <a:pt x="1086" y="321"/>
                      <a:pt x="1091" y="318"/>
                      <a:pt x="1095" y="315"/>
                    </a:cubicBezTo>
                    <a:cubicBezTo>
                      <a:pt x="1098" y="312"/>
                      <a:pt x="1101" y="314"/>
                      <a:pt x="1101" y="312"/>
                    </a:cubicBezTo>
                    <a:cubicBezTo>
                      <a:pt x="1101" y="310"/>
                      <a:pt x="1102" y="304"/>
                      <a:pt x="1105" y="304"/>
                    </a:cubicBezTo>
                    <a:cubicBezTo>
                      <a:pt x="1107" y="304"/>
                      <a:pt x="1114" y="305"/>
                      <a:pt x="1118" y="303"/>
                    </a:cubicBezTo>
                    <a:cubicBezTo>
                      <a:pt x="1122" y="301"/>
                      <a:pt x="1122" y="305"/>
                      <a:pt x="1123" y="305"/>
                    </a:cubicBezTo>
                    <a:cubicBezTo>
                      <a:pt x="1125" y="306"/>
                      <a:pt x="1127" y="302"/>
                      <a:pt x="1129" y="303"/>
                    </a:cubicBezTo>
                    <a:cubicBezTo>
                      <a:pt x="1131" y="304"/>
                      <a:pt x="1126" y="307"/>
                      <a:pt x="1125" y="311"/>
                    </a:cubicBezTo>
                    <a:cubicBezTo>
                      <a:pt x="1124" y="314"/>
                      <a:pt x="1128" y="313"/>
                      <a:pt x="1130" y="314"/>
                    </a:cubicBezTo>
                    <a:cubicBezTo>
                      <a:pt x="1132" y="315"/>
                      <a:pt x="1127" y="316"/>
                      <a:pt x="1128" y="317"/>
                    </a:cubicBezTo>
                    <a:cubicBezTo>
                      <a:pt x="1128" y="318"/>
                      <a:pt x="1132" y="318"/>
                      <a:pt x="1137" y="313"/>
                    </a:cubicBezTo>
                    <a:cubicBezTo>
                      <a:pt x="1143" y="308"/>
                      <a:pt x="1147" y="306"/>
                      <a:pt x="1151" y="306"/>
                    </a:cubicBezTo>
                    <a:cubicBezTo>
                      <a:pt x="1154" y="307"/>
                      <a:pt x="1152" y="303"/>
                      <a:pt x="1152" y="299"/>
                    </a:cubicBezTo>
                    <a:cubicBezTo>
                      <a:pt x="1153" y="294"/>
                      <a:pt x="1163" y="292"/>
                      <a:pt x="1166" y="294"/>
                    </a:cubicBezTo>
                    <a:cubicBezTo>
                      <a:pt x="1170" y="295"/>
                      <a:pt x="1169" y="296"/>
                      <a:pt x="1166" y="296"/>
                    </a:cubicBezTo>
                    <a:cubicBezTo>
                      <a:pt x="1163" y="295"/>
                      <a:pt x="1160" y="298"/>
                      <a:pt x="1160" y="302"/>
                    </a:cubicBezTo>
                    <a:cubicBezTo>
                      <a:pt x="1160" y="306"/>
                      <a:pt x="1157" y="307"/>
                      <a:pt x="1159" y="309"/>
                    </a:cubicBezTo>
                    <a:cubicBezTo>
                      <a:pt x="1160" y="310"/>
                      <a:pt x="1156" y="311"/>
                      <a:pt x="1156" y="312"/>
                    </a:cubicBezTo>
                    <a:cubicBezTo>
                      <a:pt x="1156" y="314"/>
                      <a:pt x="1156" y="315"/>
                      <a:pt x="1154" y="316"/>
                    </a:cubicBezTo>
                    <a:cubicBezTo>
                      <a:pt x="1152" y="317"/>
                      <a:pt x="1144" y="317"/>
                      <a:pt x="1143" y="320"/>
                    </a:cubicBezTo>
                    <a:cubicBezTo>
                      <a:pt x="1143" y="324"/>
                      <a:pt x="1139" y="324"/>
                      <a:pt x="1137" y="328"/>
                    </a:cubicBezTo>
                    <a:cubicBezTo>
                      <a:pt x="1135" y="332"/>
                      <a:pt x="1127" y="334"/>
                      <a:pt x="1122" y="341"/>
                    </a:cubicBezTo>
                    <a:cubicBezTo>
                      <a:pt x="1117" y="349"/>
                      <a:pt x="1109" y="349"/>
                      <a:pt x="1109" y="350"/>
                    </a:cubicBezTo>
                    <a:cubicBezTo>
                      <a:pt x="1109" y="352"/>
                      <a:pt x="1103" y="352"/>
                      <a:pt x="1101" y="352"/>
                    </a:cubicBezTo>
                    <a:cubicBezTo>
                      <a:pt x="1099" y="352"/>
                      <a:pt x="1103" y="357"/>
                      <a:pt x="1099" y="362"/>
                    </a:cubicBezTo>
                    <a:cubicBezTo>
                      <a:pt x="1094" y="367"/>
                      <a:pt x="1091" y="373"/>
                      <a:pt x="1091" y="380"/>
                    </a:cubicBezTo>
                    <a:cubicBezTo>
                      <a:pt x="1091" y="387"/>
                      <a:pt x="1094" y="406"/>
                      <a:pt x="1096" y="410"/>
                    </a:cubicBezTo>
                    <a:cubicBezTo>
                      <a:pt x="1098" y="413"/>
                      <a:pt x="1096" y="422"/>
                      <a:pt x="1098" y="424"/>
                    </a:cubicBezTo>
                    <a:cubicBezTo>
                      <a:pt x="1100" y="425"/>
                      <a:pt x="1099" y="428"/>
                      <a:pt x="1100" y="429"/>
                    </a:cubicBezTo>
                    <a:cubicBezTo>
                      <a:pt x="1101" y="430"/>
                      <a:pt x="1106" y="425"/>
                      <a:pt x="1109" y="422"/>
                    </a:cubicBezTo>
                    <a:cubicBezTo>
                      <a:pt x="1112" y="420"/>
                      <a:pt x="1111" y="419"/>
                      <a:pt x="1113" y="418"/>
                    </a:cubicBezTo>
                    <a:cubicBezTo>
                      <a:pt x="1115" y="416"/>
                      <a:pt x="1114" y="411"/>
                      <a:pt x="1114" y="409"/>
                    </a:cubicBezTo>
                    <a:cubicBezTo>
                      <a:pt x="1115" y="408"/>
                      <a:pt x="1119" y="407"/>
                      <a:pt x="1120" y="406"/>
                    </a:cubicBezTo>
                    <a:cubicBezTo>
                      <a:pt x="1121" y="404"/>
                      <a:pt x="1124" y="405"/>
                      <a:pt x="1126" y="404"/>
                    </a:cubicBezTo>
                    <a:cubicBezTo>
                      <a:pt x="1128" y="404"/>
                      <a:pt x="1126" y="400"/>
                      <a:pt x="1125" y="398"/>
                    </a:cubicBezTo>
                    <a:cubicBezTo>
                      <a:pt x="1125" y="395"/>
                      <a:pt x="1130" y="392"/>
                      <a:pt x="1133" y="390"/>
                    </a:cubicBezTo>
                    <a:cubicBezTo>
                      <a:pt x="1136" y="388"/>
                      <a:pt x="1139" y="392"/>
                      <a:pt x="1143" y="389"/>
                    </a:cubicBezTo>
                    <a:cubicBezTo>
                      <a:pt x="1146" y="386"/>
                      <a:pt x="1142" y="382"/>
                      <a:pt x="1141" y="381"/>
                    </a:cubicBezTo>
                    <a:cubicBezTo>
                      <a:pt x="1140" y="379"/>
                      <a:pt x="1144" y="372"/>
                      <a:pt x="1147" y="371"/>
                    </a:cubicBezTo>
                    <a:cubicBezTo>
                      <a:pt x="1149" y="370"/>
                      <a:pt x="1151" y="373"/>
                      <a:pt x="1153" y="371"/>
                    </a:cubicBezTo>
                    <a:cubicBezTo>
                      <a:pt x="1155" y="368"/>
                      <a:pt x="1151" y="365"/>
                      <a:pt x="1149" y="365"/>
                    </a:cubicBezTo>
                    <a:cubicBezTo>
                      <a:pt x="1148" y="365"/>
                      <a:pt x="1147" y="359"/>
                      <a:pt x="1151" y="356"/>
                    </a:cubicBezTo>
                    <a:cubicBezTo>
                      <a:pt x="1155" y="353"/>
                      <a:pt x="1153" y="353"/>
                      <a:pt x="1151" y="352"/>
                    </a:cubicBezTo>
                    <a:cubicBezTo>
                      <a:pt x="1148" y="351"/>
                      <a:pt x="1148" y="352"/>
                      <a:pt x="1146" y="352"/>
                    </a:cubicBezTo>
                    <a:cubicBezTo>
                      <a:pt x="1144" y="352"/>
                      <a:pt x="1141" y="348"/>
                      <a:pt x="1145" y="344"/>
                    </a:cubicBezTo>
                    <a:cubicBezTo>
                      <a:pt x="1148" y="340"/>
                      <a:pt x="1151" y="340"/>
                      <a:pt x="1151" y="337"/>
                    </a:cubicBezTo>
                    <a:cubicBezTo>
                      <a:pt x="1152" y="333"/>
                      <a:pt x="1156" y="328"/>
                      <a:pt x="1157" y="327"/>
                    </a:cubicBezTo>
                    <a:cubicBezTo>
                      <a:pt x="1158" y="325"/>
                      <a:pt x="1163" y="327"/>
                      <a:pt x="1164" y="326"/>
                    </a:cubicBezTo>
                    <a:cubicBezTo>
                      <a:pt x="1166" y="326"/>
                      <a:pt x="1166" y="330"/>
                      <a:pt x="1168" y="328"/>
                    </a:cubicBezTo>
                    <a:cubicBezTo>
                      <a:pt x="1170" y="326"/>
                      <a:pt x="1173" y="320"/>
                      <a:pt x="1176" y="320"/>
                    </a:cubicBezTo>
                    <a:cubicBezTo>
                      <a:pt x="1178" y="320"/>
                      <a:pt x="1177" y="324"/>
                      <a:pt x="1177" y="327"/>
                    </a:cubicBezTo>
                    <a:cubicBezTo>
                      <a:pt x="1178" y="330"/>
                      <a:pt x="1180" y="326"/>
                      <a:pt x="1185" y="323"/>
                    </a:cubicBezTo>
                    <a:cubicBezTo>
                      <a:pt x="1190" y="319"/>
                      <a:pt x="1201" y="320"/>
                      <a:pt x="1205" y="321"/>
                    </a:cubicBezTo>
                    <a:cubicBezTo>
                      <a:pt x="1208" y="323"/>
                      <a:pt x="1209" y="327"/>
                      <a:pt x="1211" y="326"/>
                    </a:cubicBezTo>
                    <a:cubicBezTo>
                      <a:pt x="1214" y="326"/>
                      <a:pt x="1211" y="322"/>
                      <a:pt x="1214" y="322"/>
                    </a:cubicBezTo>
                    <a:cubicBezTo>
                      <a:pt x="1217" y="321"/>
                      <a:pt x="1222" y="318"/>
                      <a:pt x="1226" y="315"/>
                    </a:cubicBezTo>
                    <a:cubicBezTo>
                      <a:pt x="1230" y="312"/>
                      <a:pt x="1229" y="314"/>
                      <a:pt x="1231" y="312"/>
                    </a:cubicBezTo>
                    <a:cubicBezTo>
                      <a:pt x="1233" y="309"/>
                      <a:pt x="1235" y="310"/>
                      <a:pt x="1235" y="309"/>
                    </a:cubicBezTo>
                    <a:cubicBezTo>
                      <a:pt x="1236" y="307"/>
                      <a:pt x="1241" y="304"/>
                      <a:pt x="1249" y="303"/>
                    </a:cubicBezTo>
                    <a:cubicBezTo>
                      <a:pt x="1256" y="301"/>
                      <a:pt x="1266" y="296"/>
                      <a:pt x="1265" y="294"/>
                    </a:cubicBezTo>
                    <a:cubicBezTo>
                      <a:pt x="1265" y="293"/>
                      <a:pt x="1268" y="292"/>
                      <a:pt x="1269" y="294"/>
                    </a:cubicBezTo>
                    <a:cubicBezTo>
                      <a:pt x="1269" y="295"/>
                      <a:pt x="1272" y="295"/>
                      <a:pt x="1276" y="296"/>
                    </a:cubicBezTo>
                    <a:cubicBezTo>
                      <a:pt x="1280" y="296"/>
                      <a:pt x="1282" y="298"/>
                      <a:pt x="1285" y="295"/>
                    </a:cubicBezTo>
                    <a:cubicBezTo>
                      <a:pt x="1288" y="292"/>
                      <a:pt x="1284" y="291"/>
                      <a:pt x="1284" y="288"/>
                    </a:cubicBezTo>
                    <a:cubicBezTo>
                      <a:pt x="1285" y="286"/>
                      <a:pt x="1279" y="283"/>
                      <a:pt x="1280" y="281"/>
                    </a:cubicBezTo>
                    <a:cubicBezTo>
                      <a:pt x="1280" y="278"/>
                      <a:pt x="1276" y="272"/>
                      <a:pt x="1274" y="273"/>
                    </a:cubicBezTo>
                    <a:cubicBezTo>
                      <a:pt x="1273" y="274"/>
                      <a:pt x="1270" y="272"/>
                      <a:pt x="1270" y="270"/>
                    </a:cubicBezTo>
                    <a:cubicBezTo>
                      <a:pt x="1270" y="268"/>
                      <a:pt x="1269" y="266"/>
                      <a:pt x="1267" y="267"/>
                    </a:cubicBezTo>
                    <a:cubicBezTo>
                      <a:pt x="1265" y="269"/>
                      <a:pt x="1261" y="268"/>
                      <a:pt x="1260" y="266"/>
                    </a:cubicBezTo>
                    <a:cubicBezTo>
                      <a:pt x="1260" y="264"/>
                      <a:pt x="1265" y="262"/>
                      <a:pt x="1268" y="264"/>
                    </a:cubicBezTo>
                    <a:cubicBezTo>
                      <a:pt x="1272" y="265"/>
                      <a:pt x="1271" y="267"/>
                      <a:pt x="1273" y="268"/>
                    </a:cubicBezTo>
                    <a:cubicBezTo>
                      <a:pt x="1274" y="269"/>
                      <a:pt x="1279" y="268"/>
                      <a:pt x="1282" y="267"/>
                    </a:cubicBezTo>
                    <a:cubicBezTo>
                      <a:pt x="1284" y="266"/>
                      <a:pt x="1291" y="264"/>
                      <a:pt x="1292" y="262"/>
                    </a:cubicBezTo>
                    <a:cubicBezTo>
                      <a:pt x="1294" y="259"/>
                      <a:pt x="1292" y="259"/>
                      <a:pt x="1295" y="257"/>
                    </a:cubicBezTo>
                    <a:cubicBezTo>
                      <a:pt x="1297" y="256"/>
                      <a:pt x="1295" y="254"/>
                      <a:pt x="1293" y="253"/>
                    </a:cubicBezTo>
                    <a:cubicBezTo>
                      <a:pt x="1291" y="252"/>
                      <a:pt x="1292" y="249"/>
                      <a:pt x="1294" y="249"/>
                    </a:cubicBezTo>
                    <a:cubicBezTo>
                      <a:pt x="1296" y="249"/>
                      <a:pt x="1295" y="246"/>
                      <a:pt x="1297" y="246"/>
                    </a:cubicBezTo>
                    <a:cubicBezTo>
                      <a:pt x="1298" y="246"/>
                      <a:pt x="1298" y="247"/>
                      <a:pt x="1301" y="246"/>
                    </a:cubicBezTo>
                    <a:cubicBezTo>
                      <a:pt x="1304" y="245"/>
                      <a:pt x="1301" y="248"/>
                      <a:pt x="1300" y="250"/>
                    </a:cubicBezTo>
                    <a:cubicBezTo>
                      <a:pt x="1299" y="252"/>
                      <a:pt x="1302" y="254"/>
                      <a:pt x="1303" y="256"/>
                    </a:cubicBezTo>
                    <a:cubicBezTo>
                      <a:pt x="1303" y="257"/>
                      <a:pt x="1308" y="257"/>
                      <a:pt x="1311" y="256"/>
                    </a:cubicBezTo>
                    <a:cubicBezTo>
                      <a:pt x="1314" y="254"/>
                      <a:pt x="1323" y="258"/>
                      <a:pt x="1324" y="260"/>
                    </a:cubicBezTo>
                    <a:cubicBezTo>
                      <a:pt x="1324" y="262"/>
                      <a:pt x="1326" y="265"/>
                      <a:pt x="1329" y="267"/>
                    </a:cubicBezTo>
                    <a:cubicBezTo>
                      <a:pt x="1333" y="269"/>
                      <a:pt x="1337" y="268"/>
                      <a:pt x="1337" y="270"/>
                    </a:cubicBezTo>
                    <a:cubicBezTo>
                      <a:pt x="1338" y="272"/>
                      <a:pt x="1340" y="272"/>
                      <a:pt x="1342" y="272"/>
                    </a:cubicBezTo>
                    <a:cubicBezTo>
                      <a:pt x="1344" y="272"/>
                      <a:pt x="1345" y="274"/>
                      <a:pt x="1347" y="272"/>
                    </a:cubicBezTo>
                    <a:cubicBezTo>
                      <a:pt x="1348" y="271"/>
                      <a:pt x="1349" y="273"/>
                      <a:pt x="1351" y="272"/>
                    </a:cubicBezTo>
                    <a:cubicBezTo>
                      <a:pt x="1353" y="270"/>
                      <a:pt x="1347" y="269"/>
                      <a:pt x="1347" y="267"/>
                    </a:cubicBezTo>
                    <a:cubicBezTo>
                      <a:pt x="1348" y="266"/>
                      <a:pt x="1350" y="268"/>
                      <a:pt x="1351" y="268"/>
                    </a:cubicBezTo>
                    <a:cubicBezTo>
                      <a:pt x="1353" y="268"/>
                      <a:pt x="1351" y="264"/>
                      <a:pt x="1352" y="264"/>
                    </a:cubicBezTo>
                    <a:cubicBezTo>
                      <a:pt x="1353" y="264"/>
                      <a:pt x="1352" y="257"/>
                      <a:pt x="1351" y="256"/>
                    </a:cubicBezTo>
                    <a:cubicBezTo>
                      <a:pt x="1350" y="256"/>
                      <a:pt x="1351" y="253"/>
                      <a:pt x="1353" y="255"/>
                    </a:cubicBezTo>
                    <a:cubicBezTo>
                      <a:pt x="1356" y="257"/>
                      <a:pt x="1360" y="257"/>
                      <a:pt x="1363" y="257"/>
                    </a:cubicBezTo>
                    <a:cubicBezTo>
                      <a:pt x="1365" y="257"/>
                      <a:pt x="1363" y="255"/>
                      <a:pt x="1361" y="255"/>
                    </a:cubicBezTo>
                    <a:cubicBezTo>
                      <a:pt x="1359" y="255"/>
                      <a:pt x="1361" y="253"/>
                      <a:pt x="1362" y="254"/>
                    </a:cubicBezTo>
                    <a:cubicBezTo>
                      <a:pt x="1364" y="255"/>
                      <a:pt x="1367" y="256"/>
                      <a:pt x="1367" y="255"/>
                    </a:cubicBezTo>
                    <a:cubicBezTo>
                      <a:pt x="1367" y="253"/>
                      <a:pt x="1368" y="250"/>
                      <a:pt x="1371" y="250"/>
                    </a:cubicBezTo>
                    <a:cubicBezTo>
                      <a:pt x="1373" y="250"/>
                      <a:pt x="1374" y="249"/>
                      <a:pt x="1372" y="248"/>
                    </a:cubicBezTo>
                    <a:close/>
                    <a:moveTo>
                      <a:pt x="709" y="404"/>
                    </a:moveTo>
                    <a:cubicBezTo>
                      <a:pt x="702" y="410"/>
                      <a:pt x="688" y="412"/>
                      <a:pt x="688" y="417"/>
                    </a:cubicBezTo>
                    <a:cubicBezTo>
                      <a:pt x="688" y="422"/>
                      <a:pt x="672" y="424"/>
                      <a:pt x="671" y="422"/>
                    </a:cubicBezTo>
                    <a:cubicBezTo>
                      <a:pt x="669" y="420"/>
                      <a:pt x="683" y="419"/>
                      <a:pt x="686" y="412"/>
                    </a:cubicBezTo>
                    <a:cubicBezTo>
                      <a:pt x="689" y="405"/>
                      <a:pt x="701" y="401"/>
                      <a:pt x="707" y="392"/>
                    </a:cubicBezTo>
                    <a:cubicBezTo>
                      <a:pt x="712" y="385"/>
                      <a:pt x="715" y="375"/>
                      <a:pt x="718" y="376"/>
                    </a:cubicBezTo>
                    <a:cubicBezTo>
                      <a:pt x="720" y="376"/>
                      <a:pt x="716" y="398"/>
                      <a:pt x="709" y="404"/>
                    </a:cubicBezTo>
                    <a:close/>
                    <a:moveTo>
                      <a:pt x="739" y="125"/>
                    </a:moveTo>
                    <a:cubicBezTo>
                      <a:pt x="738" y="127"/>
                      <a:pt x="733" y="127"/>
                      <a:pt x="734" y="129"/>
                    </a:cubicBezTo>
                    <a:cubicBezTo>
                      <a:pt x="737" y="132"/>
                      <a:pt x="749" y="130"/>
                      <a:pt x="749" y="126"/>
                    </a:cubicBezTo>
                    <a:cubicBezTo>
                      <a:pt x="749" y="122"/>
                      <a:pt x="740" y="123"/>
                      <a:pt x="739" y="125"/>
                    </a:cubicBezTo>
                    <a:close/>
                    <a:moveTo>
                      <a:pt x="306" y="7"/>
                    </a:moveTo>
                    <a:cubicBezTo>
                      <a:pt x="312" y="7"/>
                      <a:pt x="310" y="4"/>
                      <a:pt x="314" y="4"/>
                    </a:cubicBezTo>
                    <a:cubicBezTo>
                      <a:pt x="318" y="5"/>
                      <a:pt x="323" y="4"/>
                      <a:pt x="321" y="2"/>
                    </a:cubicBezTo>
                    <a:cubicBezTo>
                      <a:pt x="319" y="0"/>
                      <a:pt x="305" y="1"/>
                      <a:pt x="306" y="3"/>
                    </a:cubicBezTo>
                    <a:cubicBezTo>
                      <a:pt x="308" y="4"/>
                      <a:pt x="295" y="4"/>
                      <a:pt x="296" y="4"/>
                    </a:cubicBezTo>
                    <a:cubicBezTo>
                      <a:pt x="296" y="6"/>
                      <a:pt x="300" y="7"/>
                      <a:pt x="306" y="7"/>
                    </a:cubicBezTo>
                    <a:close/>
                    <a:moveTo>
                      <a:pt x="277" y="23"/>
                    </a:moveTo>
                    <a:cubicBezTo>
                      <a:pt x="277" y="19"/>
                      <a:pt x="264" y="24"/>
                      <a:pt x="267" y="24"/>
                    </a:cubicBezTo>
                    <a:cubicBezTo>
                      <a:pt x="269" y="25"/>
                      <a:pt x="277" y="27"/>
                      <a:pt x="277" y="23"/>
                    </a:cubicBezTo>
                    <a:close/>
                    <a:moveTo>
                      <a:pt x="307" y="20"/>
                    </a:moveTo>
                    <a:cubicBezTo>
                      <a:pt x="308" y="22"/>
                      <a:pt x="306" y="22"/>
                      <a:pt x="301" y="22"/>
                    </a:cubicBezTo>
                    <a:cubicBezTo>
                      <a:pt x="296" y="22"/>
                      <a:pt x="294" y="25"/>
                      <a:pt x="296" y="27"/>
                    </a:cubicBezTo>
                    <a:cubicBezTo>
                      <a:pt x="299" y="29"/>
                      <a:pt x="312" y="28"/>
                      <a:pt x="314" y="26"/>
                    </a:cubicBezTo>
                    <a:cubicBezTo>
                      <a:pt x="316" y="23"/>
                      <a:pt x="322" y="25"/>
                      <a:pt x="323" y="22"/>
                    </a:cubicBezTo>
                    <a:cubicBezTo>
                      <a:pt x="324" y="19"/>
                      <a:pt x="306" y="18"/>
                      <a:pt x="307" y="20"/>
                    </a:cubicBezTo>
                    <a:close/>
                    <a:moveTo>
                      <a:pt x="348" y="16"/>
                    </a:moveTo>
                    <a:cubicBezTo>
                      <a:pt x="350" y="13"/>
                      <a:pt x="345" y="13"/>
                      <a:pt x="344" y="11"/>
                    </a:cubicBezTo>
                    <a:cubicBezTo>
                      <a:pt x="344" y="9"/>
                      <a:pt x="330" y="9"/>
                      <a:pt x="331" y="11"/>
                    </a:cubicBezTo>
                    <a:cubicBezTo>
                      <a:pt x="332" y="13"/>
                      <a:pt x="322" y="16"/>
                      <a:pt x="325" y="18"/>
                    </a:cubicBezTo>
                    <a:cubicBezTo>
                      <a:pt x="331" y="23"/>
                      <a:pt x="346" y="18"/>
                      <a:pt x="348" y="16"/>
                    </a:cubicBezTo>
                    <a:close/>
                    <a:moveTo>
                      <a:pt x="310" y="12"/>
                    </a:moveTo>
                    <a:cubicBezTo>
                      <a:pt x="311" y="7"/>
                      <a:pt x="302" y="11"/>
                      <a:pt x="296" y="8"/>
                    </a:cubicBezTo>
                    <a:cubicBezTo>
                      <a:pt x="290" y="6"/>
                      <a:pt x="286" y="6"/>
                      <a:pt x="291" y="9"/>
                    </a:cubicBezTo>
                    <a:cubicBezTo>
                      <a:pt x="292" y="11"/>
                      <a:pt x="280" y="12"/>
                      <a:pt x="282" y="14"/>
                    </a:cubicBezTo>
                    <a:cubicBezTo>
                      <a:pt x="286" y="19"/>
                      <a:pt x="309" y="17"/>
                      <a:pt x="310" y="12"/>
                    </a:cubicBezTo>
                    <a:close/>
                    <a:moveTo>
                      <a:pt x="275" y="144"/>
                    </a:moveTo>
                    <a:cubicBezTo>
                      <a:pt x="275" y="146"/>
                      <a:pt x="273" y="148"/>
                      <a:pt x="269" y="148"/>
                    </a:cubicBezTo>
                    <a:cubicBezTo>
                      <a:pt x="264" y="148"/>
                      <a:pt x="271" y="151"/>
                      <a:pt x="272" y="153"/>
                    </a:cubicBezTo>
                    <a:cubicBezTo>
                      <a:pt x="272" y="156"/>
                      <a:pt x="267" y="154"/>
                      <a:pt x="267" y="158"/>
                    </a:cubicBezTo>
                    <a:cubicBezTo>
                      <a:pt x="267" y="162"/>
                      <a:pt x="258" y="158"/>
                      <a:pt x="257" y="163"/>
                    </a:cubicBezTo>
                    <a:cubicBezTo>
                      <a:pt x="256" y="169"/>
                      <a:pt x="261" y="168"/>
                      <a:pt x="265" y="168"/>
                    </a:cubicBezTo>
                    <a:cubicBezTo>
                      <a:pt x="269" y="168"/>
                      <a:pt x="263" y="172"/>
                      <a:pt x="266" y="174"/>
                    </a:cubicBezTo>
                    <a:cubicBezTo>
                      <a:pt x="269" y="176"/>
                      <a:pt x="271" y="175"/>
                      <a:pt x="269" y="171"/>
                    </a:cubicBezTo>
                    <a:cubicBezTo>
                      <a:pt x="267" y="167"/>
                      <a:pt x="279" y="173"/>
                      <a:pt x="276" y="176"/>
                    </a:cubicBezTo>
                    <a:cubicBezTo>
                      <a:pt x="272" y="179"/>
                      <a:pt x="281" y="181"/>
                      <a:pt x="286" y="182"/>
                    </a:cubicBezTo>
                    <a:cubicBezTo>
                      <a:pt x="291" y="182"/>
                      <a:pt x="307" y="185"/>
                      <a:pt x="307" y="182"/>
                    </a:cubicBezTo>
                    <a:cubicBezTo>
                      <a:pt x="307" y="179"/>
                      <a:pt x="301" y="177"/>
                      <a:pt x="296" y="172"/>
                    </a:cubicBezTo>
                    <a:cubicBezTo>
                      <a:pt x="291" y="167"/>
                      <a:pt x="287" y="158"/>
                      <a:pt x="293" y="155"/>
                    </a:cubicBezTo>
                    <a:cubicBezTo>
                      <a:pt x="299" y="151"/>
                      <a:pt x="294" y="149"/>
                      <a:pt x="300" y="145"/>
                    </a:cubicBezTo>
                    <a:cubicBezTo>
                      <a:pt x="305" y="141"/>
                      <a:pt x="302" y="137"/>
                      <a:pt x="307" y="137"/>
                    </a:cubicBezTo>
                    <a:cubicBezTo>
                      <a:pt x="311" y="136"/>
                      <a:pt x="306" y="132"/>
                      <a:pt x="311" y="131"/>
                    </a:cubicBezTo>
                    <a:cubicBezTo>
                      <a:pt x="316" y="131"/>
                      <a:pt x="317" y="125"/>
                      <a:pt x="316" y="124"/>
                    </a:cubicBezTo>
                    <a:cubicBezTo>
                      <a:pt x="315" y="122"/>
                      <a:pt x="321" y="124"/>
                      <a:pt x="324" y="121"/>
                    </a:cubicBezTo>
                    <a:cubicBezTo>
                      <a:pt x="326" y="118"/>
                      <a:pt x="332" y="120"/>
                      <a:pt x="334" y="116"/>
                    </a:cubicBezTo>
                    <a:cubicBezTo>
                      <a:pt x="336" y="112"/>
                      <a:pt x="364" y="103"/>
                      <a:pt x="379" y="99"/>
                    </a:cubicBezTo>
                    <a:cubicBezTo>
                      <a:pt x="394" y="96"/>
                      <a:pt x="405" y="89"/>
                      <a:pt x="400" y="85"/>
                    </a:cubicBezTo>
                    <a:cubicBezTo>
                      <a:pt x="394" y="81"/>
                      <a:pt x="379" y="86"/>
                      <a:pt x="375" y="90"/>
                    </a:cubicBezTo>
                    <a:cubicBezTo>
                      <a:pt x="371" y="93"/>
                      <a:pt x="366" y="91"/>
                      <a:pt x="362" y="93"/>
                    </a:cubicBezTo>
                    <a:cubicBezTo>
                      <a:pt x="358" y="95"/>
                      <a:pt x="350" y="97"/>
                      <a:pt x="346" y="94"/>
                    </a:cubicBezTo>
                    <a:cubicBezTo>
                      <a:pt x="342" y="91"/>
                      <a:pt x="337" y="97"/>
                      <a:pt x="334" y="97"/>
                    </a:cubicBezTo>
                    <a:cubicBezTo>
                      <a:pt x="331" y="97"/>
                      <a:pt x="327" y="100"/>
                      <a:pt x="324" y="100"/>
                    </a:cubicBezTo>
                    <a:cubicBezTo>
                      <a:pt x="321" y="100"/>
                      <a:pt x="314" y="102"/>
                      <a:pt x="314" y="104"/>
                    </a:cubicBezTo>
                    <a:cubicBezTo>
                      <a:pt x="313" y="106"/>
                      <a:pt x="307" y="106"/>
                      <a:pt x="307" y="108"/>
                    </a:cubicBezTo>
                    <a:cubicBezTo>
                      <a:pt x="307" y="111"/>
                      <a:pt x="303" y="113"/>
                      <a:pt x="301" y="111"/>
                    </a:cubicBezTo>
                    <a:cubicBezTo>
                      <a:pt x="298" y="108"/>
                      <a:pt x="295" y="113"/>
                      <a:pt x="299" y="116"/>
                    </a:cubicBezTo>
                    <a:cubicBezTo>
                      <a:pt x="302" y="119"/>
                      <a:pt x="292" y="119"/>
                      <a:pt x="294" y="121"/>
                    </a:cubicBezTo>
                    <a:cubicBezTo>
                      <a:pt x="296" y="123"/>
                      <a:pt x="291" y="124"/>
                      <a:pt x="292" y="126"/>
                    </a:cubicBezTo>
                    <a:cubicBezTo>
                      <a:pt x="293" y="129"/>
                      <a:pt x="288" y="129"/>
                      <a:pt x="285" y="130"/>
                    </a:cubicBezTo>
                    <a:cubicBezTo>
                      <a:pt x="281" y="131"/>
                      <a:pt x="279" y="135"/>
                      <a:pt x="284" y="136"/>
                    </a:cubicBezTo>
                    <a:cubicBezTo>
                      <a:pt x="288" y="136"/>
                      <a:pt x="281" y="137"/>
                      <a:pt x="282" y="140"/>
                    </a:cubicBezTo>
                    <a:cubicBezTo>
                      <a:pt x="282" y="144"/>
                      <a:pt x="274" y="141"/>
                      <a:pt x="275" y="14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71" name="Freeform 58">
                <a:extLst>
                  <a:ext uri="{FF2B5EF4-FFF2-40B4-BE49-F238E27FC236}">
                    <a16:creationId xmlns:a16="http://schemas.microsoft.com/office/drawing/2014/main" id="{1F47F065-9946-4193-8D21-EB46DF397C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07857" y="3623506"/>
                <a:ext cx="114660" cy="137594"/>
              </a:xfrm>
              <a:custGeom>
                <a:avLst/>
                <a:gdLst>
                  <a:gd name="T0" fmla="*/ 8 w 31"/>
                  <a:gd name="T1" fmla="*/ 3 h 38"/>
                  <a:gd name="T2" fmla="*/ 3 w 31"/>
                  <a:gd name="T3" fmla="*/ 6 h 38"/>
                  <a:gd name="T4" fmla="*/ 6 w 31"/>
                  <a:gd name="T5" fmla="*/ 11 h 38"/>
                  <a:gd name="T6" fmla="*/ 5 w 31"/>
                  <a:gd name="T7" fmla="*/ 14 h 38"/>
                  <a:gd name="T8" fmla="*/ 5 w 31"/>
                  <a:gd name="T9" fmla="*/ 21 h 38"/>
                  <a:gd name="T10" fmla="*/ 2 w 31"/>
                  <a:gd name="T11" fmla="*/ 31 h 38"/>
                  <a:gd name="T12" fmla="*/ 4 w 31"/>
                  <a:gd name="T13" fmla="*/ 37 h 38"/>
                  <a:gd name="T14" fmla="*/ 19 w 31"/>
                  <a:gd name="T15" fmla="*/ 32 h 38"/>
                  <a:gd name="T16" fmla="*/ 27 w 31"/>
                  <a:gd name="T17" fmla="*/ 28 h 38"/>
                  <a:gd name="T18" fmla="*/ 30 w 31"/>
                  <a:gd name="T19" fmla="*/ 25 h 38"/>
                  <a:gd name="T20" fmla="*/ 28 w 31"/>
                  <a:gd name="T21" fmla="*/ 13 h 38"/>
                  <a:gd name="T22" fmla="*/ 20 w 31"/>
                  <a:gd name="T23" fmla="*/ 0 h 38"/>
                  <a:gd name="T24" fmla="*/ 15 w 31"/>
                  <a:gd name="T25" fmla="*/ 1 h 38"/>
                  <a:gd name="T26" fmla="*/ 8 w 31"/>
                  <a:gd name="T27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38">
                    <a:moveTo>
                      <a:pt x="8" y="3"/>
                    </a:moveTo>
                    <a:cubicBezTo>
                      <a:pt x="7" y="3"/>
                      <a:pt x="5" y="5"/>
                      <a:pt x="3" y="6"/>
                    </a:cubicBezTo>
                    <a:cubicBezTo>
                      <a:pt x="4" y="8"/>
                      <a:pt x="4" y="10"/>
                      <a:pt x="6" y="11"/>
                    </a:cubicBezTo>
                    <a:cubicBezTo>
                      <a:pt x="8" y="11"/>
                      <a:pt x="8" y="15"/>
                      <a:pt x="5" y="14"/>
                    </a:cubicBezTo>
                    <a:cubicBezTo>
                      <a:pt x="3" y="13"/>
                      <a:pt x="3" y="18"/>
                      <a:pt x="5" y="21"/>
                    </a:cubicBezTo>
                    <a:cubicBezTo>
                      <a:pt x="7" y="25"/>
                      <a:pt x="0" y="29"/>
                      <a:pt x="2" y="31"/>
                    </a:cubicBezTo>
                    <a:cubicBezTo>
                      <a:pt x="4" y="33"/>
                      <a:pt x="3" y="35"/>
                      <a:pt x="4" y="37"/>
                    </a:cubicBezTo>
                    <a:cubicBezTo>
                      <a:pt x="4" y="38"/>
                      <a:pt x="14" y="36"/>
                      <a:pt x="19" y="32"/>
                    </a:cubicBezTo>
                    <a:cubicBezTo>
                      <a:pt x="23" y="27"/>
                      <a:pt x="24" y="28"/>
                      <a:pt x="27" y="28"/>
                    </a:cubicBezTo>
                    <a:cubicBezTo>
                      <a:pt x="29" y="29"/>
                      <a:pt x="31" y="27"/>
                      <a:pt x="30" y="25"/>
                    </a:cubicBezTo>
                    <a:cubicBezTo>
                      <a:pt x="29" y="23"/>
                      <a:pt x="28" y="19"/>
                      <a:pt x="28" y="13"/>
                    </a:cubicBezTo>
                    <a:cubicBezTo>
                      <a:pt x="28" y="10"/>
                      <a:pt x="24" y="4"/>
                      <a:pt x="20" y="0"/>
                    </a:cubicBezTo>
                    <a:cubicBezTo>
                      <a:pt x="18" y="1"/>
                      <a:pt x="17" y="1"/>
                      <a:pt x="15" y="1"/>
                    </a:cubicBezTo>
                    <a:cubicBezTo>
                      <a:pt x="12" y="1"/>
                      <a:pt x="9" y="1"/>
                      <a:pt x="8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72" name="Freeform 77">
                <a:extLst>
                  <a:ext uri="{FF2B5EF4-FFF2-40B4-BE49-F238E27FC236}">
                    <a16:creationId xmlns:a16="http://schemas.microsoft.com/office/drawing/2014/main" id="{3B0235FB-0602-4898-99BD-DF208A778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18374" y="3246272"/>
                <a:ext cx="189191" cy="108929"/>
              </a:xfrm>
              <a:custGeom>
                <a:avLst/>
                <a:gdLst>
                  <a:gd name="T0" fmla="*/ 50 w 52"/>
                  <a:gd name="T1" fmla="*/ 6 h 30"/>
                  <a:gd name="T2" fmla="*/ 48 w 52"/>
                  <a:gd name="T3" fmla="*/ 4 h 30"/>
                  <a:gd name="T4" fmla="*/ 43 w 52"/>
                  <a:gd name="T5" fmla="*/ 3 h 30"/>
                  <a:gd name="T6" fmla="*/ 36 w 52"/>
                  <a:gd name="T7" fmla="*/ 0 h 30"/>
                  <a:gd name="T8" fmla="*/ 29 w 52"/>
                  <a:gd name="T9" fmla="*/ 5 h 30"/>
                  <a:gd name="T10" fmla="*/ 20 w 52"/>
                  <a:gd name="T11" fmla="*/ 8 h 30"/>
                  <a:gd name="T12" fmla="*/ 9 w 52"/>
                  <a:gd name="T13" fmla="*/ 8 h 30"/>
                  <a:gd name="T14" fmla="*/ 8 w 52"/>
                  <a:gd name="T15" fmla="*/ 6 h 30"/>
                  <a:gd name="T16" fmla="*/ 7 w 52"/>
                  <a:gd name="T17" fmla="*/ 9 h 30"/>
                  <a:gd name="T18" fmla="*/ 3 w 52"/>
                  <a:gd name="T19" fmla="*/ 11 h 30"/>
                  <a:gd name="T20" fmla="*/ 2 w 52"/>
                  <a:gd name="T21" fmla="*/ 14 h 30"/>
                  <a:gd name="T22" fmla="*/ 1 w 52"/>
                  <a:gd name="T23" fmla="*/ 17 h 30"/>
                  <a:gd name="T24" fmla="*/ 0 w 52"/>
                  <a:gd name="T25" fmla="*/ 19 h 30"/>
                  <a:gd name="T26" fmla="*/ 2 w 52"/>
                  <a:gd name="T27" fmla="*/ 22 h 30"/>
                  <a:gd name="T28" fmla="*/ 2 w 52"/>
                  <a:gd name="T29" fmla="*/ 22 h 30"/>
                  <a:gd name="T30" fmla="*/ 8 w 52"/>
                  <a:gd name="T31" fmla="*/ 27 h 30"/>
                  <a:gd name="T32" fmla="*/ 17 w 52"/>
                  <a:gd name="T33" fmla="*/ 29 h 30"/>
                  <a:gd name="T34" fmla="*/ 28 w 52"/>
                  <a:gd name="T35" fmla="*/ 26 h 30"/>
                  <a:gd name="T36" fmla="*/ 31 w 52"/>
                  <a:gd name="T37" fmla="*/ 27 h 30"/>
                  <a:gd name="T38" fmla="*/ 33 w 52"/>
                  <a:gd name="T39" fmla="*/ 27 h 30"/>
                  <a:gd name="T40" fmla="*/ 38 w 52"/>
                  <a:gd name="T41" fmla="*/ 24 h 30"/>
                  <a:gd name="T42" fmla="*/ 46 w 52"/>
                  <a:gd name="T43" fmla="*/ 12 h 30"/>
                  <a:gd name="T44" fmla="*/ 51 w 52"/>
                  <a:gd name="T45" fmla="*/ 8 h 30"/>
                  <a:gd name="T46" fmla="*/ 50 w 52"/>
                  <a:gd name="T4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2" h="30">
                    <a:moveTo>
                      <a:pt x="50" y="6"/>
                    </a:moveTo>
                    <a:cubicBezTo>
                      <a:pt x="50" y="5"/>
                      <a:pt x="49" y="5"/>
                      <a:pt x="48" y="4"/>
                    </a:cubicBezTo>
                    <a:cubicBezTo>
                      <a:pt x="46" y="4"/>
                      <a:pt x="44" y="3"/>
                      <a:pt x="43" y="3"/>
                    </a:cubicBezTo>
                    <a:cubicBezTo>
                      <a:pt x="42" y="1"/>
                      <a:pt x="37" y="1"/>
                      <a:pt x="36" y="0"/>
                    </a:cubicBezTo>
                    <a:cubicBezTo>
                      <a:pt x="35" y="0"/>
                      <a:pt x="30" y="5"/>
                      <a:pt x="29" y="5"/>
                    </a:cubicBezTo>
                    <a:cubicBezTo>
                      <a:pt x="27" y="5"/>
                      <a:pt x="20" y="6"/>
                      <a:pt x="20" y="8"/>
                    </a:cubicBezTo>
                    <a:cubicBezTo>
                      <a:pt x="20" y="10"/>
                      <a:pt x="12" y="10"/>
                      <a:pt x="9" y="8"/>
                    </a:cubicBezTo>
                    <a:cubicBezTo>
                      <a:pt x="9" y="7"/>
                      <a:pt x="8" y="7"/>
                      <a:pt x="8" y="6"/>
                    </a:cubicBezTo>
                    <a:cubicBezTo>
                      <a:pt x="7" y="7"/>
                      <a:pt x="7" y="8"/>
                      <a:pt x="7" y="9"/>
                    </a:cubicBezTo>
                    <a:cubicBezTo>
                      <a:pt x="7" y="11"/>
                      <a:pt x="5" y="11"/>
                      <a:pt x="3" y="11"/>
                    </a:cubicBezTo>
                    <a:cubicBezTo>
                      <a:pt x="2" y="10"/>
                      <a:pt x="3" y="13"/>
                      <a:pt x="2" y="14"/>
                    </a:cubicBezTo>
                    <a:cubicBezTo>
                      <a:pt x="2" y="15"/>
                      <a:pt x="2" y="17"/>
                      <a:pt x="1" y="17"/>
                    </a:cubicBezTo>
                    <a:cubicBezTo>
                      <a:pt x="0" y="17"/>
                      <a:pt x="0" y="18"/>
                      <a:pt x="0" y="19"/>
                    </a:cubicBezTo>
                    <a:cubicBezTo>
                      <a:pt x="0" y="19"/>
                      <a:pt x="2" y="22"/>
                      <a:pt x="2" y="22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3" y="23"/>
                      <a:pt x="7" y="26"/>
                      <a:pt x="8" y="27"/>
                    </a:cubicBezTo>
                    <a:cubicBezTo>
                      <a:pt x="10" y="29"/>
                      <a:pt x="14" y="30"/>
                      <a:pt x="17" y="29"/>
                    </a:cubicBezTo>
                    <a:cubicBezTo>
                      <a:pt x="19" y="29"/>
                      <a:pt x="28" y="26"/>
                      <a:pt x="28" y="26"/>
                    </a:cubicBezTo>
                    <a:cubicBezTo>
                      <a:pt x="28" y="26"/>
                      <a:pt x="30" y="27"/>
                      <a:pt x="31" y="27"/>
                    </a:cubicBezTo>
                    <a:cubicBezTo>
                      <a:pt x="31" y="27"/>
                      <a:pt x="32" y="27"/>
                      <a:pt x="33" y="27"/>
                    </a:cubicBezTo>
                    <a:cubicBezTo>
                      <a:pt x="34" y="27"/>
                      <a:pt x="36" y="26"/>
                      <a:pt x="38" y="24"/>
                    </a:cubicBezTo>
                    <a:cubicBezTo>
                      <a:pt x="41" y="21"/>
                      <a:pt x="44" y="12"/>
                      <a:pt x="46" y="12"/>
                    </a:cubicBezTo>
                    <a:cubicBezTo>
                      <a:pt x="47" y="11"/>
                      <a:pt x="49" y="9"/>
                      <a:pt x="51" y="8"/>
                    </a:cubicBezTo>
                    <a:cubicBezTo>
                      <a:pt x="52" y="7"/>
                      <a:pt x="52" y="6"/>
                      <a:pt x="50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73" name="Freeform 76">
                <a:extLst>
                  <a:ext uri="{FF2B5EF4-FFF2-40B4-BE49-F238E27FC236}">
                    <a16:creationId xmlns:a16="http://schemas.microsoft.com/office/drawing/2014/main" id="{A97A560E-BA69-40E5-85A6-F04CF2D7B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26321" y="3232647"/>
                <a:ext cx="217856" cy="95551"/>
              </a:xfrm>
              <a:custGeom>
                <a:avLst/>
                <a:gdLst>
                  <a:gd name="T0" fmla="*/ 51 w 60"/>
                  <a:gd name="T1" fmla="*/ 2 h 26"/>
                  <a:gd name="T2" fmla="*/ 43 w 60"/>
                  <a:gd name="T3" fmla="*/ 0 h 26"/>
                  <a:gd name="T4" fmla="*/ 42 w 60"/>
                  <a:gd name="T5" fmla="*/ 3 h 26"/>
                  <a:gd name="T6" fmla="*/ 35 w 60"/>
                  <a:gd name="T7" fmla="*/ 4 h 26"/>
                  <a:gd name="T8" fmla="*/ 31 w 60"/>
                  <a:gd name="T9" fmla="*/ 7 h 26"/>
                  <a:gd name="T10" fmla="*/ 27 w 60"/>
                  <a:gd name="T11" fmla="*/ 12 h 26"/>
                  <a:gd name="T12" fmla="*/ 24 w 60"/>
                  <a:gd name="T13" fmla="*/ 14 h 26"/>
                  <a:gd name="T14" fmla="*/ 16 w 60"/>
                  <a:gd name="T15" fmla="*/ 16 h 26"/>
                  <a:gd name="T16" fmla="*/ 11 w 60"/>
                  <a:gd name="T17" fmla="*/ 16 h 26"/>
                  <a:gd name="T18" fmla="*/ 7 w 60"/>
                  <a:gd name="T19" fmla="*/ 17 h 26"/>
                  <a:gd name="T20" fmla="*/ 2 w 60"/>
                  <a:gd name="T21" fmla="*/ 15 h 26"/>
                  <a:gd name="T22" fmla="*/ 1 w 60"/>
                  <a:gd name="T23" fmla="*/ 20 h 26"/>
                  <a:gd name="T24" fmla="*/ 5 w 60"/>
                  <a:gd name="T25" fmla="*/ 22 h 26"/>
                  <a:gd name="T26" fmla="*/ 10 w 60"/>
                  <a:gd name="T27" fmla="*/ 23 h 26"/>
                  <a:gd name="T28" fmla="*/ 15 w 60"/>
                  <a:gd name="T29" fmla="*/ 21 h 26"/>
                  <a:gd name="T30" fmla="*/ 22 w 60"/>
                  <a:gd name="T31" fmla="*/ 20 h 26"/>
                  <a:gd name="T32" fmla="*/ 23 w 60"/>
                  <a:gd name="T33" fmla="*/ 24 h 26"/>
                  <a:gd name="T34" fmla="*/ 30 w 60"/>
                  <a:gd name="T35" fmla="*/ 25 h 26"/>
                  <a:gd name="T36" fmla="*/ 39 w 60"/>
                  <a:gd name="T37" fmla="*/ 26 h 26"/>
                  <a:gd name="T38" fmla="*/ 46 w 60"/>
                  <a:gd name="T39" fmla="*/ 24 h 26"/>
                  <a:gd name="T40" fmla="*/ 52 w 60"/>
                  <a:gd name="T41" fmla="*/ 22 h 26"/>
                  <a:gd name="T42" fmla="*/ 52 w 60"/>
                  <a:gd name="T43" fmla="*/ 22 h 26"/>
                  <a:gd name="T44" fmla="*/ 53 w 60"/>
                  <a:gd name="T45" fmla="*/ 20 h 26"/>
                  <a:gd name="T46" fmla="*/ 54 w 60"/>
                  <a:gd name="T47" fmla="*/ 17 h 26"/>
                  <a:gd name="T48" fmla="*/ 55 w 60"/>
                  <a:gd name="T49" fmla="*/ 14 h 26"/>
                  <a:gd name="T50" fmla="*/ 59 w 60"/>
                  <a:gd name="T51" fmla="*/ 12 h 26"/>
                  <a:gd name="T52" fmla="*/ 60 w 60"/>
                  <a:gd name="T53" fmla="*/ 9 h 26"/>
                  <a:gd name="T54" fmla="*/ 57 w 60"/>
                  <a:gd name="T55" fmla="*/ 3 h 26"/>
                  <a:gd name="T56" fmla="*/ 51 w 60"/>
                  <a:gd name="T57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26">
                    <a:moveTo>
                      <a:pt x="51" y="2"/>
                    </a:moveTo>
                    <a:cubicBezTo>
                      <a:pt x="49" y="0"/>
                      <a:pt x="43" y="0"/>
                      <a:pt x="43" y="0"/>
                    </a:cubicBezTo>
                    <a:cubicBezTo>
                      <a:pt x="43" y="0"/>
                      <a:pt x="43" y="2"/>
                      <a:pt x="42" y="3"/>
                    </a:cubicBezTo>
                    <a:cubicBezTo>
                      <a:pt x="41" y="4"/>
                      <a:pt x="37" y="4"/>
                      <a:pt x="35" y="4"/>
                    </a:cubicBezTo>
                    <a:cubicBezTo>
                      <a:pt x="34" y="5"/>
                      <a:pt x="31" y="5"/>
                      <a:pt x="31" y="7"/>
                    </a:cubicBezTo>
                    <a:cubicBezTo>
                      <a:pt x="30" y="8"/>
                      <a:pt x="26" y="7"/>
                      <a:pt x="27" y="12"/>
                    </a:cubicBezTo>
                    <a:cubicBezTo>
                      <a:pt x="29" y="16"/>
                      <a:pt x="25" y="14"/>
                      <a:pt x="24" y="14"/>
                    </a:cubicBezTo>
                    <a:cubicBezTo>
                      <a:pt x="23" y="13"/>
                      <a:pt x="17" y="14"/>
                      <a:pt x="16" y="16"/>
                    </a:cubicBezTo>
                    <a:cubicBezTo>
                      <a:pt x="15" y="17"/>
                      <a:pt x="13" y="17"/>
                      <a:pt x="11" y="16"/>
                    </a:cubicBezTo>
                    <a:cubicBezTo>
                      <a:pt x="10" y="15"/>
                      <a:pt x="8" y="15"/>
                      <a:pt x="7" y="17"/>
                    </a:cubicBezTo>
                    <a:cubicBezTo>
                      <a:pt x="5" y="18"/>
                      <a:pt x="4" y="15"/>
                      <a:pt x="2" y="15"/>
                    </a:cubicBezTo>
                    <a:cubicBezTo>
                      <a:pt x="0" y="16"/>
                      <a:pt x="1" y="19"/>
                      <a:pt x="1" y="20"/>
                    </a:cubicBezTo>
                    <a:cubicBezTo>
                      <a:pt x="1" y="20"/>
                      <a:pt x="4" y="23"/>
                      <a:pt x="5" y="22"/>
                    </a:cubicBezTo>
                    <a:cubicBezTo>
                      <a:pt x="7" y="21"/>
                      <a:pt x="9" y="22"/>
                      <a:pt x="10" y="23"/>
                    </a:cubicBezTo>
                    <a:cubicBezTo>
                      <a:pt x="12" y="24"/>
                      <a:pt x="14" y="22"/>
                      <a:pt x="15" y="21"/>
                    </a:cubicBezTo>
                    <a:cubicBezTo>
                      <a:pt x="16" y="20"/>
                      <a:pt x="21" y="20"/>
                      <a:pt x="22" y="20"/>
                    </a:cubicBezTo>
                    <a:cubicBezTo>
                      <a:pt x="22" y="20"/>
                      <a:pt x="22" y="23"/>
                      <a:pt x="23" y="24"/>
                    </a:cubicBezTo>
                    <a:cubicBezTo>
                      <a:pt x="24" y="24"/>
                      <a:pt x="27" y="25"/>
                      <a:pt x="30" y="25"/>
                    </a:cubicBezTo>
                    <a:cubicBezTo>
                      <a:pt x="33" y="25"/>
                      <a:pt x="38" y="26"/>
                      <a:pt x="39" y="26"/>
                    </a:cubicBezTo>
                    <a:cubicBezTo>
                      <a:pt x="41" y="26"/>
                      <a:pt x="43" y="24"/>
                      <a:pt x="46" y="24"/>
                    </a:cubicBezTo>
                    <a:cubicBezTo>
                      <a:pt x="50" y="24"/>
                      <a:pt x="51" y="22"/>
                      <a:pt x="52" y="22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2" y="21"/>
                      <a:pt x="52" y="20"/>
                      <a:pt x="53" y="20"/>
                    </a:cubicBezTo>
                    <a:cubicBezTo>
                      <a:pt x="54" y="20"/>
                      <a:pt x="54" y="18"/>
                      <a:pt x="54" y="17"/>
                    </a:cubicBezTo>
                    <a:cubicBezTo>
                      <a:pt x="55" y="16"/>
                      <a:pt x="54" y="13"/>
                      <a:pt x="55" y="14"/>
                    </a:cubicBezTo>
                    <a:cubicBezTo>
                      <a:pt x="57" y="14"/>
                      <a:pt x="59" y="14"/>
                      <a:pt x="59" y="12"/>
                    </a:cubicBezTo>
                    <a:cubicBezTo>
                      <a:pt x="59" y="11"/>
                      <a:pt x="59" y="10"/>
                      <a:pt x="60" y="9"/>
                    </a:cubicBezTo>
                    <a:cubicBezTo>
                      <a:pt x="58" y="7"/>
                      <a:pt x="57" y="3"/>
                      <a:pt x="57" y="3"/>
                    </a:cubicBezTo>
                    <a:cubicBezTo>
                      <a:pt x="57" y="3"/>
                      <a:pt x="53" y="4"/>
                      <a:pt x="51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</p:grpSp>
        <p:grpSp>
          <p:nvGrpSpPr>
            <p:cNvPr id="302" name="Group 301">
              <a:extLst>
                <a:ext uri="{FF2B5EF4-FFF2-40B4-BE49-F238E27FC236}">
                  <a16:creationId xmlns:a16="http://schemas.microsoft.com/office/drawing/2014/main" id="{B96AF193-EE5D-4F10-A4E3-0EA761AC292C}"/>
                </a:ext>
              </a:extLst>
            </p:cNvPr>
            <p:cNvGrpSpPr/>
            <p:nvPr userDrawn="1"/>
          </p:nvGrpSpPr>
          <p:grpSpPr>
            <a:xfrm>
              <a:off x="7747533" y="3758457"/>
              <a:ext cx="756750" cy="848164"/>
              <a:chOff x="1292669" y="1443511"/>
              <a:chExt cx="5818188" cy="6324600"/>
            </a:xfrm>
            <a:solidFill>
              <a:srgbClr val="D9D9D9"/>
            </a:solidFill>
          </p:grpSpPr>
          <p:sp>
            <p:nvSpPr>
              <p:cNvPr id="303" name="Freeform 5">
                <a:extLst>
                  <a:ext uri="{FF2B5EF4-FFF2-40B4-BE49-F238E27FC236}">
                    <a16:creationId xmlns:a16="http://schemas.microsoft.com/office/drawing/2014/main" id="{8D9EAC25-3192-46A2-8DC2-1DAB0645B2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3744" y="3748561"/>
                <a:ext cx="808038" cy="1249363"/>
              </a:xfrm>
              <a:custGeom>
                <a:avLst/>
                <a:gdLst>
                  <a:gd name="T0" fmla="*/ 290 w 509"/>
                  <a:gd name="T1" fmla="*/ 768 h 787"/>
                  <a:gd name="T2" fmla="*/ 288 w 509"/>
                  <a:gd name="T3" fmla="*/ 730 h 787"/>
                  <a:gd name="T4" fmla="*/ 499 w 509"/>
                  <a:gd name="T5" fmla="*/ 78 h 787"/>
                  <a:gd name="T6" fmla="*/ 414 w 509"/>
                  <a:gd name="T7" fmla="*/ 61 h 787"/>
                  <a:gd name="T8" fmla="*/ 364 w 509"/>
                  <a:gd name="T9" fmla="*/ 15 h 787"/>
                  <a:gd name="T10" fmla="*/ 280 w 509"/>
                  <a:gd name="T11" fmla="*/ 5 h 787"/>
                  <a:gd name="T12" fmla="*/ 292 w 509"/>
                  <a:gd name="T13" fmla="*/ 83 h 787"/>
                  <a:gd name="T14" fmla="*/ 305 w 509"/>
                  <a:gd name="T15" fmla="*/ 120 h 787"/>
                  <a:gd name="T16" fmla="*/ 272 w 509"/>
                  <a:gd name="T17" fmla="*/ 154 h 787"/>
                  <a:gd name="T18" fmla="*/ 248 w 509"/>
                  <a:gd name="T19" fmla="*/ 192 h 787"/>
                  <a:gd name="T20" fmla="*/ 278 w 509"/>
                  <a:gd name="T21" fmla="*/ 239 h 787"/>
                  <a:gd name="T22" fmla="*/ 244 w 509"/>
                  <a:gd name="T23" fmla="*/ 255 h 787"/>
                  <a:gd name="T24" fmla="*/ 251 w 509"/>
                  <a:gd name="T25" fmla="*/ 276 h 787"/>
                  <a:gd name="T26" fmla="*/ 255 w 509"/>
                  <a:gd name="T27" fmla="*/ 340 h 787"/>
                  <a:gd name="T28" fmla="*/ 257 w 509"/>
                  <a:gd name="T29" fmla="*/ 363 h 787"/>
                  <a:gd name="T30" fmla="*/ 246 w 509"/>
                  <a:gd name="T31" fmla="*/ 378 h 787"/>
                  <a:gd name="T32" fmla="*/ 229 w 509"/>
                  <a:gd name="T33" fmla="*/ 420 h 787"/>
                  <a:gd name="T34" fmla="*/ 202 w 509"/>
                  <a:gd name="T35" fmla="*/ 449 h 787"/>
                  <a:gd name="T36" fmla="*/ 181 w 509"/>
                  <a:gd name="T37" fmla="*/ 464 h 787"/>
                  <a:gd name="T38" fmla="*/ 152 w 509"/>
                  <a:gd name="T39" fmla="*/ 473 h 787"/>
                  <a:gd name="T40" fmla="*/ 103 w 509"/>
                  <a:gd name="T41" fmla="*/ 492 h 787"/>
                  <a:gd name="T42" fmla="*/ 40 w 509"/>
                  <a:gd name="T43" fmla="*/ 521 h 787"/>
                  <a:gd name="T44" fmla="*/ 0 w 509"/>
                  <a:gd name="T45" fmla="*/ 521 h 787"/>
                  <a:gd name="T46" fmla="*/ 9 w 509"/>
                  <a:gd name="T47" fmla="*/ 565 h 787"/>
                  <a:gd name="T48" fmla="*/ 82 w 509"/>
                  <a:gd name="T49" fmla="*/ 591 h 787"/>
                  <a:gd name="T50" fmla="*/ 101 w 509"/>
                  <a:gd name="T51" fmla="*/ 643 h 787"/>
                  <a:gd name="T52" fmla="*/ 122 w 509"/>
                  <a:gd name="T53" fmla="*/ 673 h 787"/>
                  <a:gd name="T54" fmla="*/ 120 w 509"/>
                  <a:gd name="T55" fmla="*/ 702 h 787"/>
                  <a:gd name="T56" fmla="*/ 160 w 509"/>
                  <a:gd name="T57" fmla="*/ 730 h 787"/>
                  <a:gd name="T58" fmla="*/ 232 w 509"/>
                  <a:gd name="T59" fmla="*/ 770 h 787"/>
                  <a:gd name="T60" fmla="*/ 292 w 509"/>
                  <a:gd name="T61" fmla="*/ 702 h 787"/>
                  <a:gd name="T62" fmla="*/ 282 w 509"/>
                  <a:gd name="T63" fmla="*/ 690 h 787"/>
                  <a:gd name="T64" fmla="*/ 301 w 509"/>
                  <a:gd name="T65" fmla="*/ 776 h 787"/>
                  <a:gd name="T66" fmla="*/ 314 w 509"/>
                  <a:gd name="T67" fmla="*/ 774 h 787"/>
                  <a:gd name="T68" fmla="*/ 330 w 509"/>
                  <a:gd name="T69" fmla="*/ 761 h 787"/>
                  <a:gd name="T70" fmla="*/ 337 w 509"/>
                  <a:gd name="T71" fmla="*/ 772 h 787"/>
                  <a:gd name="T72" fmla="*/ 353 w 509"/>
                  <a:gd name="T73" fmla="*/ 757 h 787"/>
                  <a:gd name="T74" fmla="*/ 358 w 509"/>
                  <a:gd name="T75" fmla="*/ 696 h 787"/>
                  <a:gd name="T76" fmla="*/ 360 w 509"/>
                  <a:gd name="T77" fmla="*/ 711 h 787"/>
                  <a:gd name="T78" fmla="*/ 372 w 509"/>
                  <a:gd name="T79" fmla="*/ 782 h 787"/>
                  <a:gd name="T80" fmla="*/ 381 w 509"/>
                  <a:gd name="T81" fmla="*/ 755 h 787"/>
                  <a:gd name="T82" fmla="*/ 396 w 509"/>
                  <a:gd name="T83" fmla="*/ 738 h 787"/>
                  <a:gd name="T84" fmla="*/ 404 w 509"/>
                  <a:gd name="T85" fmla="*/ 706 h 787"/>
                  <a:gd name="T86" fmla="*/ 393 w 509"/>
                  <a:gd name="T87" fmla="*/ 641 h 787"/>
                  <a:gd name="T88" fmla="*/ 393 w 509"/>
                  <a:gd name="T89" fmla="*/ 563 h 787"/>
                  <a:gd name="T90" fmla="*/ 360 w 509"/>
                  <a:gd name="T91" fmla="*/ 519 h 787"/>
                  <a:gd name="T92" fmla="*/ 347 w 509"/>
                  <a:gd name="T93" fmla="*/ 470 h 787"/>
                  <a:gd name="T94" fmla="*/ 364 w 509"/>
                  <a:gd name="T95" fmla="*/ 426 h 787"/>
                  <a:gd name="T96" fmla="*/ 280 w 509"/>
                  <a:gd name="T97" fmla="*/ 367 h 787"/>
                  <a:gd name="T98" fmla="*/ 301 w 509"/>
                  <a:gd name="T99" fmla="*/ 325 h 787"/>
                  <a:gd name="T100" fmla="*/ 356 w 509"/>
                  <a:gd name="T101" fmla="*/ 287 h 787"/>
                  <a:gd name="T102" fmla="*/ 379 w 509"/>
                  <a:gd name="T103" fmla="*/ 268 h 787"/>
                  <a:gd name="T104" fmla="*/ 341 w 509"/>
                  <a:gd name="T105" fmla="*/ 245 h 787"/>
                  <a:gd name="T106" fmla="*/ 284 w 509"/>
                  <a:gd name="T107" fmla="*/ 186 h 787"/>
                  <a:gd name="T108" fmla="*/ 324 w 509"/>
                  <a:gd name="T109" fmla="*/ 127 h 787"/>
                  <a:gd name="T110" fmla="*/ 318 w 509"/>
                  <a:gd name="T111" fmla="*/ 93 h 787"/>
                  <a:gd name="T112" fmla="*/ 354 w 509"/>
                  <a:gd name="T113" fmla="*/ 120 h 787"/>
                  <a:gd name="T114" fmla="*/ 402 w 509"/>
                  <a:gd name="T115" fmla="*/ 139 h 787"/>
                  <a:gd name="T116" fmla="*/ 404 w 509"/>
                  <a:gd name="T117" fmla="*/ 125 h 787"/>
                  <a:gd name="T118" fmla="*/ 444 w 509"/>
                  <a:gd name="T119" fmla="*/ 175 h 787"/>
                  <a:gd name="T120" fmla="*/ 471 w 509"/>
                  <a:gd name="T121" fmla="*/ 163 h 787"/>
                  <a:gd name="T122" fmla="*/ 490 w 509"/>
                  <a:gd name="T123" fmla="*/ 142 h 787"/>
                  <a:gd name="T124" fmla="*/ 507 w 509"/>
                  <a:gd name="T125" fmla="*/ 104 h 7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9" h="787">
                    <a:moveTo>
                      <a:pt x="385" y="780"/>
                    </a:moveTo>
                    <a:lnTo>
                      <a:pt x="383" y="778"/>
                    </a:lnTo>
                    <a:lnTo>
                      <a:pt x="381" y="778"/>
                    </a:lnTo>
                    <a:lnTo>
                      <a:pt x="377" y="776"/>
                    </a:lnTo>
                    <a:lnTo>
                      <a:pt x="377" y="780"/>
                    </a:lnTo>
                    <a:lnTo>
                      <a:pt x="377" y="785"/>
                    </a:lnTo>
                    <a:lnTo>
                      <a:pt x="381" y="787"/>
                    </a:lnTo>
                    <a:lnTo>
                      <a:pt x="383" y="787"/>
                    </a:lnTo>
                    <a:lnTo>
                      <a:pt x="385" y="787"/>
                    </a:lnTo>
                    <a:lnTo>
                      <a:pt x="387" y="785"/>
                    </a:lnTo>
                    <a:lnTo>
                      <a:pt x="387" y="784"/>
                    </a:lnTo>
                    <a:lnTo>
                      <a:pt x="387" y="782"/>
                    </a:lnTo>
                    <a:lnTo>
                      <a:pt x="385" y="780"/>
                    </a:lnTo>
                    <a:close/>
                    <a:moveTo>
                      <a:pt x="288" y="742"/>
                    </a:moveTo>
                    <a:lnTo>
                      <a:pt x="284" y="749"/>
                    </a:lnTo>
                    <a:lnTo>
                      <a:pt x="278" y="763"/>
                    </a:lnTo>
                    <a:lnTo>
                      <a:pt x="278" y="766"/>
                    </a:lnTo>
                    <a:lnTo>
                      <a:pt x="278" y="768"/>
                    </a:lnTo>
                    <a:lnTo>
                      <a:pt x="278" y="768"/>
                    </a:lnTo>
                    <a:lnTo>
                      <a:pt x="278" y="772"/>
                    </a:lnTo>
                    <a:lnTo>
                      <a:pt x="280" y="772"/>
                    </a:lnTo>
                    <a:lnTo>
                      <a:pt x="284" y="772"/>
                    </a:lnTo>
                    <a:lnTo>
                      <a:pt x="288" y="774"/>
                    </a:lnTo>
                    <a:lnTo>
                      <a:pt x="288" y="774"/>
                    </a:lnTo>
                    <a:lnTo>
                      <a:pt x="290" y="772"/>
                    </a:lnTo>
                    <a:lnTo>
                      <a:pt x="290" y="770"/>
                    </a:lnTo>
                    <a:lnTo>
                      <a:pt x="290" y="768"/>
                    </a:lnTo>
                    <a:lnTo>
                      <a:pt x="290" y="766"/>
                    </a:lnTo>
                    <a:lnTo>
                      <a:pt x="293" y="763"/>
                    </a:lnTo>
                    <a:lnTo>
                      <a:pt x="293" y="755"/>
                    </a:lnTo>
                    <a:lnTo>
                      <a:pt x="292" y="740"/>
                    </a:lnTo>
                    <a:lnTo>
                      <a:pt x="288" y="742"/>
                    </a:lnTo>
                    <a:close/>
                    <a:moveTo>
                      <a:pt x="354" y="732"/>
                    </a:moveTo>
                    <a:lnTo>
                      <a:pt x="353" y="734"/>
                    </a:lnTo>
                    <a:lnTo>
                      <a:pt x="349" y="736"/>
                    </a:lnTo>
                    <a:lnTo>
                      <a:pt x="347" y="740"/>
                    </a:lnTo>
                    <a:lnTo>
                      <a:pt x="345" y="744"/>
                    </a:lnTo>
                    <a:lnTo>
                      <a:pt x="345" y="746"/>
                    </a:lnTo>
                    <a:lnTo>
                      <a:pt x="345" y="747"/>
                    </a:lnTo>
                    <a:lnTo>
                      <a:pt x="347" y="747"/>
                    </a:lnTo>
                    <a:lnTo>
                      <a:pt x="347" y="749"/>
                    </a:lnTo>
                    <a:lnTo>
                      <a:pt x="347" y="749"/>
                    </a:lnTo>
                    <a:lnTo>
                      <a:pt x="353" y="751"/>
                    </a:lnTo>
                    <a:lnTo>
                      <a:pt x="353" y="751"/>
                    </a:lnTo>
                    <a:lnTo>
                      <a:pt x="354" y="744"/>
                    </a:lnTo>
                    <a:lnTo>
                      <a:pt x="354" y="742"/>
                    </a:lnTo>
                    <a:lnTo>
                      <a:pt x="356" y="738"/>
                    </a:lnTo>
                    <a:lnTo>
                      <a:pt x="356" y="736"/>
                    </a:lnTo>
                    <a:lnTo>
                      <a:pt x="356" y="734"/>
                    </a:lnTo>
                    <a:lnTo>
                      <a:pt x="354" y="732"/>
                    </a:lnTo>
                    <a:close/>
                    <a:moveTo>
                      <a:pt x="286" y="742"/>
                    </a:moveTo>
                    <a:lnTo>
                      <a:pt x="288" y="738"/>
                    </a:lnTo>
                    <a:lnTo>
                      <a:pt x="290" y="734"/>
                    </a:lnTo>
                    <a:lnTo>
                      <a:pt x="288" y="730"/>
                    </a:lnTo>
                    <a:lnTo>
                      <a:pt x="286" y="730"/>
                    </a:lnTo>
                    <a:lnTo>
                      <a:pt x="284" y="732"/>
                    </a:lnTo>
                    <a:lnTo>
                      <a:pt x="282" y="734"/>
                    </a:lnTo>
                    <a:lnTo>
                      <a:pt x="282" y="736"/>
                    </a:lnTo>
                    <a:lnTo>
                      <a:pt x="282" y="738"/>
                    </a:lnTo>
                    <a:lnTo>
                      <a:pt x="282" y="740"/>
                    </a:lnTo>
                    <a:lnTo>
                      <a:pt x="282" y="742"/>
                    </a:lnTo>
                    <a:lnTo>
                      <a:pt x="282" y="744"/>
                    </a:lnTo>
                    <a:lnTo>
                      <a:pt x="286" y="742"/>
                    </a:lnTo>
                    <a:close/>
                    <a:moveTo>
                      <a:pt x="507" y="85"/>
                    </a:moveTo>
                    <a:lnTo>
                      <a:pt x="507" y="83"/>
                    </a:lnTo>
                    <a:lnTo>
                      <a:pt x="505" y="76"/>
                    </a:lnTo>
                    <a:lnTo>
                      <a:pt x="505" y="74"/>
                    </a:lnTo>
                    <a:lnTo>
                      <a:pt x="505" y="74"/>
                    </a:lnTo>
                    <a:lnTo>
                      <a:pt x="503" y="74"/>
                    </a:lnTo>
                    <a:lnTo>
                      <a:pt x="503" y="72"/>
                    </a:lnTo>
                    <a:lnTo>
                      <a:pt x="503" y="72"/>
                    </a:lnTo>
                    <a:lnTo>
                      <a:pt x="501" y="74"/>
                    </a:lnTo>
                    <a:lnTo>
                      <a:pt x="501" y="74"/>
                    </a:lnTo>
                    <a:lnTo>
                      <a:pt x="501" y="74"/>
                    </a:lnTo>
                    <a:lnTo>
                      <a:pt x="501" y="76"/>
                    </a:lnTo>
                    <a:lnTo>
                      <a:pt x="501" y="76"/>
                    </a:lnTo>
                    <a:lnTo>
                      <a:pt x="501" y="76"/>
                    </a:lnTo>
                    <a:lnTo>
                      <a:pt x="501" y="78"/>
                    </a:lnTo>
                    <a:lnTo>
                      <a:pt x="499" y="78"/>
                    </a:lnTo>
                    <a:lnTo>
                      <a:pt x="499" y="78"/>
                    </a:lnTo>
                    <a:lnTo>
                      <a:pt x="499" y="78"/>
                    </a:lnTo>
                    <a:lnTo>
                      <a:pt x="497" y="78"/>
                    </a:lnTo>
                    <a:lnTo>
                      <a:pt x="494" y="78"/>
                    </a:lnTo>
                    <a:lnTo>
                      <a:pt x="492" y="78"/>
                    </a:lnTo>
                    <a:lnTo>
                      <a:pt x="490" y="76"/>
                    </a:lnTo>
                    <a:lnTo>
                      <a:pt x="484" y="74"/>
                    </a:lnTo>
                    <a:lnTo>
                      <a:pt x="480" y="74"/>
                    </a:lnTo>
                    <a:lnTo>
                      <a:pt x="476" y="76"/>
                    </a:lnTo>
                    <a:lnTo>
                      <a:pt x="475" y="76"/>
                    </a:lnTo>
                    <a:lnTo>
                      <a:pt x="473" y="74"/>
                    </a:lnTo>
                    <a:lnTo>
                      <a:pt x="475" y="70"/>
                    </a:lnTo>
                    <a:lnTo>
                      <a:pt x="475" y="68"/>
                    </a:lnTo>
                    <a:lnTo>
                      <a:pt x="471" y="66"/>
                    </a:lnTo>
                    <a:lnTo>
                      <a:pt x="467" y="64"/>
                    </a:lnTo>
                    <a:lnTo>
                      <a:pt x="461" y="62"/>
                    </a:lnTo>
                    <a:lnTo>
                      <a:pt x="454" y="64"/>
                    </a:lnTo>
                    <a:lnTo>
                      <a:pt x="448" y="61"/>
                    </a:lnTo>
                    <a:lnTo>
                      <a:pt x="444" y="59"/>
                    </a:lnTo>
                    <a:lnTo>
                      <a:pt x="440" y="55"/>
                    </a:lnTo>
                    <a:lnTo>
                      <a:pt x="435" y="57"/>
                    </a:lnTo>
                    <a:lnTo>
                      <a:pt x="433" y="57"/>
                    </a:lnTo>
                    <a:lnTo>
                      <a:pt x="433" y="57"/>
                    </a:lnTo>
                    <a:lnTo>
                      <a:pt x="431" y="59"/>
                    </a:lnTo>
                    <a:lnTo>
                      <a:pt x="429" y="59"/>
                    </a:lnTo>
                    <a:lnTo>
                      <a:pt x="429" y="61"/>
                    </a:lnTo>
                    <a:lnTo>
                      <a:pt x="425" y="61"/>
                    </a:lnTo>
                    <a:lnTo>
                      <a:pt x="421" y="62"/>
                    </a:lnTo>
                    <a:lnTo>
                      <a:pt x="414" y="61"/>
                    </a:lnTo>
                    <a:lnTo>
                      <a:pt x="410" y="61"/>
                    </a:lnTo>
                    <a:lnTo>
                      <a:pt x="408" y="59"/>
                    </a:lnTo>
                    <a:lnTo>
                      <a:pt x="408" y="55"/>
                    </a:lnTo>
                    <a:lnTo>
                      <a:pt x="406" y="51"/>
                    </a:lnTo>
                    <a:lnTo>
                      <a:pt x="404" y="49"/>
                    </a:lnTo>
                    <a:lnTo>
                      <a:pt x="400" y="47"/>
                    </a:lnTo>
                    <a:lnTo>
                      <a:pt x="396" y="45"/>
                    </a:lnTo>
                    <a:lnTo>
                      <a:pt x="395" y="45"/>
                    </a:lnTo>
                    <a:lnTo>
                      <a:pt x="393" y="47"/>
                    </a:lnTo>
                    <a:lnTo>
                      <a:pt x="393" y="47"/>
                    </a:lnTo>
                    <a:lnTo>
                      <a:pt x="391" y="47"/>
                    </a:lnTo>
                    <a:lnTo>
                      <a:pt x="389" y="47"/>
                    </a:lnTo>
                    <a:lnTo>
                      <a:pt x="389" y="45"/>
                    </a:lnTo>
                    <a:lnTo>
                      <a:pt x="389" y="43"/>
                    </a:lnTo>
                    <a:lnTo>
                      <a:pt x="389" y="42"/>
                    </a:lnTo>
                    <a:lnTo>
                      <a:pt x="389" y="40"/>
                    </a:lnTo>
                    <a:lnTo>
                      <a:pt x="387" y="38"/>
                    </a:lnTo>
                    <a:lnTo>
                      <a:pt x="383" y="38"/>
                    </a:lnTo>
                    <a:lnTo>
                      <a:pt x="381" y="40"/>
                    </a:lnTo>
                    <a:lnTo>
                      <a:pt x="379" y="43"/>
                    </a:lnTo>
                    <a:lnTo>
                      <a:pt x="379" y="36"/>
                    </a:lnTo>
                    <a:lnTo>
                      <a:pt x="379" y="28"/>
                    </a:lnTo>
                    <a:lnTo>
                      <a:pt x="377" y="24"/>
                    </a:lnTo>
                    <a:lnTo>
                      <a:pt x="375" y="21"/>
                    </a:lnTo>
                    <a:lnTo>
                      <a:pt x="374" y="19"/>
                    </a:lnTo>
                    <a:lnTo>
                      <a:pt x="366" y="15"/>
                    </a:lnTo>
                    <a:lnTo>
                      <a:pt x="364" y="15"/>
                    </a:lnTo>
                    <a:lnTo>
                      <a:pt x="364" y="15"/>
                    </a:lnTo>
                    <a:lnTo>
                      <a:pt x="362" y="15"/>
                    </a:lnTo>
                    <a:lnTo>
                      <a:pt x="358" y="13"/>
                    </a:lnTo>
                    <a:lnTo>
                      <a:pt x="356" y="11"/>
                    </a:lnTo>
                    <a:lnTo>
                      <a:pt x="356" y="11"/>
                    </a:lnTo>
                    <a:lnTo>
                      <a:pt x="349" y="11"/>
                    </a:lnTo>
                    <a:lnTo>
                      <a:pt x="341" y="9"/>
                    </a:lnTo>
                    <a:lnTo>
                      <a:pt x="337" y="11"/>
                    </a:lnTo>
                    <a:lnTo>
                      <a:pt x="328" y="19"/>
                    </a:lnTo>
                    <a:lnTo>
                      <a:pt x="326" y="21"/>
                    </a:lnTo>
                    <a:lnTo>
                      <a:pt x="322" y="23"/>
                    </a:lnTo>
                    <a:lnTo>
                      <a:pt x="318" y="23"/>
                    </a:lnTo>
                    <a:lnTo>
                      <a:pt x="316" y="23"/>
                    </a:lnTo>
                    <a:lnTo>
                      <a:pt x="316" y="23"/>
                    </a:lnTo>
                    <a:lnTo>
                      <a:pt x="314" y="23"/>
                    </a:lnTo>
                    <a:lnTo>
                      <a:pt x="314" y="21"/>
                    </a:lnTo>
                    <a:lnTo>
                      <a:pt x="301" y="15"/>
                    </a:lnTo>
                    <a:lnTo>
                      <a:pt x="297" y="15"/>
                    </a:lnTo>
                    <a:lnTo>
                      <a:pt x="292" y="15"/>
                    </a:lnTo>
                    <a:lnTo>
                      <a:pt x="288" y="15"/>
                    </a:lnTo>
                    <a:lnTo>
                      <a:pt x="284" y="15"/>
                    </a:lnTo>
                    <a:lnTo>
                      <a:pt x="284" y="13"/>
                    </a:lnTo>
                    <a:lnTo>
                      <a:pt x="282" y="13"/>
                    </a:lnTo>
                    <a:lnTo>
                      <a:pt x="282" y="11"/>
                    </a:lnTo>
                    <a:lnTo>
                      <a:pt x="282" y="9"/>
                    </a:lnTo>
                    <a:lnTo>
                      <a:pt x="282" y="7"/>
                    </a:lnTo>
                    <a:lnTo>
                      <a:pt x="280" y="5"/>
                    </a:lnTo>
                    <a:lnTo>
                      <a:pt x="276" y="4"/>
                    </a:lnTo>
                    <a:lnTo>
                      <a:pt x="274" y="2"/>
                    </a:lnTo>
                    <a:lnTo>
                      <a:pt x="272" y="0"/>
                    </a:lnTo>
                    <a:lnTo>
                      <a:pt x="271" y="4"/>
                    </a:lnTo>
                    <a:lnTo>
                      <a:pt x="271" y="15"/>
                    </a:lnTo>
                    <a:lnTo>
                      <a:pt x="269" y="19"/>
                    </a:lnTo>
                    <a:lnTo>
                      <a:pt x="269" y="19"/>
                    </a:lnTo>
                    <a:lnTo>
                      <a:pt x="269" y="21"/>
                    </a:lnTo>
                    <a:lnTo>
                      <a:pt x="269" y="23"/>
                    </a:lnTo>
                    <a:lnTo>
                      <a:pt x="271" y="24"/>
                    </a:lnTo>
                    <a:lnTo>
                      <a:pt x="274" y="28"/>
                    </a:lnTo>
                    <a:lnTo>
                      <a:pt x="276" y="30"/>
                    </a:lnTo>
                    <a:lnTo>
                      <a:pt x="278" y="30"/>
                    </a:lnTo>
                    <a:lnTo>
                      <a:pt x="280" y="32"/>
                    </a:lnTo>
                    <a:lnTo>
                      <a:pt x="282" y="36"/>
                    </a:lnTo>
                    <a:lnTo>
                      <a:pt x="284" y="42"/>
                    </a:lnTo>
                    <a:lnTo>
                      <a:pt x="286" y="45"/>
                    </a:lnTo>
                    <a:lnTo>
                      <a:pt x="288" y="47"/>
                    </a:lnTo>
                    <a:lnTo>
                      <a:pt x="290" y="53"/>
                    </a:lnTo>
                    <a:lnTo>
                      <a:pt x="292" y="55"/>
                    </a:lnTo>
                    <a:lnTo>
                      <a:pt x="292" y="57"/>
                    </a:lnTo>
                    <a:lnTo>
                      <a:pt x="292" y="62"/>
                    </a:lnTo>
                    <a:lnTo>
                      <a:pt x="293" y="68"/>
                    </a:lnTo>
                    <a:lnTo>
                      <a:pt x="293" y="70"/>
                    </a:lnTo>
                    <a:lnTo>
                      <a:pt x="293" y="74"/>
                    </a:lnTo>
                    <a:lnTo>
                      <a:pt x="293" y="76"/>
                    </a:lnTo>
                    <a:lnTo>
                      <a:pt x="292" y="83"/>
                    </a:lnTo>
                    <a:lnTo>
                      <a:pt x="286" y="93"/>
                    </a:lnTo>
                    <a:lnTo>
                      <a:pt x="284" y="101"/>
                    </a:lnTo>
                    <a:lnTo>
                      <a:pt x="286" y="101"/>
                    </a:lnTo>
                    <a:lnTo>
                      <a:pt x="288" y="101"/>
                    </a:lnTo>
                    <a:lnTo>
                      <a:pt x="288" y="101"/>
                    </a:lnTo>
                    <a:lnTo>
                      <a:pt x="292" y="101"/>
                    </a:lnTo>
                    <a:lnTo>
                      <a:pt x="297" y="99"/>
                    </a:lnTo>
                    <a:lnTo>
                      <a:pt x="297" y="99"/>
                    </a:lnTo>
                    <a:lnTo>
                      <a:pt x="297" y="101"/>
                    </a:lnTo>
                    <a:lnTo>
                      <a:pt x="297" y="104"/>
                    </a:lnTo>
                    <a:lnTo>
                      <a:pt x="297" y="104"/>
                    </a:lnTo>
                    <a:lnTo>
                      <a:pt x="297" y="104"/>
                    </a:lnTo>
                    <a:lnTo>
                      <a:pt x="297" y="104"/>
                    </a:lnTo>
                    <a:lnTo>
                      <a:pt x="297" y="106"/>
                    </a:lnTo>
                    <a:lnTo>
                      <a:pt x="299" y="106"/>
                    </a:lnTo>
                    <a:lnTo>
                      <a:pt x="299" y="108"/>
                    </a:lnTo>
                    <a:lnTo>
                      <a:pt x="301" y="108"/>
                    </a:lnTo>
                    <a:lnTo>
                      <a:pt x="301" y="108"/>
                    </a:lnTo>
                    <a:lnTo>
                      <a:pt x="307" y="114"/>
                    </a:lnTo>
                    <a:lnTo>
                      <a:pt x="307" y="114"/>
                    </a:lnTo>
                    <a:lnTo>
                      <a:pt x="307" y="116"/>
                    </a:lnTo>
                    <a:lnTo>
                      <a:pt x="307" y="116"/>
                    </a:lnTo>
                    <a:lnTo>
                      <a:pt x="307" y="116"/>
                    </a:lnTo>
                    <a:lnTo>
                      <a:pt x="305" y="118"/>
                    </a:lnTo>
                    <a:lnTo>
                      <a:pt x="305" y="118"/>
                    </a:lnTo>
                    <a:lnTo>
                      <a:pt x="305" y="120"/>
                    </a:lnTo>
                    <a:lnTo>
                      <a:pt x="305" y="120"/>
                    </a:lnTo>
                    <a:lnTo>
                      <a:pt x="305" y="120"/>
                    </a:lnTo>
                    <a:lnTo>
                      <a:pt x="307" y="121"/>
                    </a:lnTo>
                    <a:lnTo>
                      <a:pt x="309" y="123"/>
                    </a:lnTo>
                    <a:lnTo>
                      <a:pt x="311" y="123"/>
                    </a:lnTo>
                    <a:lnTo>
                      <a:pt x="311" y="125"/>
                    </a:lnTo>
                    <a:lnTo>
                      <a:pt x="311" y="125"/>
                    </a:lnTo>
                    <a:lnTo>
                      <a:pt x="311" y="127"/>
                    </a:lnTo>
                    <a:lnTo>
                      <a:pt x="311" y="127"/>
                    </a:lnTo>
                    <a:lnTo>
                      <a:pt x="309" y="127"/>
                    </a:lnTo>
                    <a:lnTo>
                      <a:pt x="309" y="129"/>
                    </a:lnTo>
                    <a:lnTo>
                      <a:pt x="307" y="129"/>
                    </a:lnTo>
                    <a:lnTo>
                      <a:pt x="305" y="129"/>
                    </a:lnTo>
                    <a:lnTo>
                      <a:pt x="303" y="129"/>
                    </a:lnTo>
                    <a:lnTo>
                      <a:pt x="299" y="133"/>
                    </a:lnTo>
                    <a:lnTo>
                      <a:pt x="299" y="135"/>
                    </a:lnTo>
                    <a:lnTo>
                      <a:pt x="295" y="135"/>
                    </a:lnTo>
                    <a:lnTo>
                      <a:pt x="293" y="137"/>
                    </a:lnTo>
                    <a:lnTo>
                      <a:pt x="292" y="139"/>
                    </a:lnTo>
                    <a:lnTo>
                      <a:pt x="288" y="144"/>
                    </a:lnTo>
                    <a:lnTo>
                      <a:pt x="284" y="146"/>
                    </a:lnTo>
                    <a:lnTo>
                      <a:pt x="282" y="148"/>
                    </a:lnTo>
                    <a:lnTo>
                      <a:pt x="280" y="150"/>
                    </a:lnTo>
                    <a:lnTo>
                      <a:pt x="278" y="150"/>
                    </a:lnTo>
                    <a:lnTo>
                      <a:pt x="276" y="152"/>
                    </a:lnTo>
                    <a:lnTo>
                      <a:pt x="274" y="154"/>
                    </a:lnTo>
                    <a:lnTo>
                      <a:pt x="272" y="154"/>
                    </a:lnTo>
                    <a:lnTo>
                      <a:pt x="272" y="154"/>
                    </a:lnTo>
                    <a:lnTo>
                      <a:pt x="271" y="154"/>
                    </a:lnTo>
                    <a:lnTo>
                      <a:pt x="271" y="154"/>
                    </a:lnTo>
                    <a:lnTo>
                      <a:pt x="271" y="154"/>
                    </a:lnTo>
                    <a:lnTo>
                      <a:pt x="269" y="156"/>
                    </a:lnTo>
                    <a:lnTo>
                      <a:pt x="265" y="161"/>
                    </a:lnTo>
                    <a:lnTo>
                      <a:pt x="255" y="169"/>
                    </a:lnTo>
                    <a:lnTo>
                      <a:pt x="251" y="171"/>
                    </a:lnTo>
                    <a:lnTo>
                      <a:pt x="251" y="173"/>
                    </a:lnTo>
                    <a:lnTo>
                      <a:pt x="251" y="175"/>
                    </a:lnTo>
                    <a:lnTo>
                      <a:pt x="251" y="175"/>
                    </a:lnTo>
                    <a:lnTo>
                      <a:pt x="251" y="175"/>
                    </a:lnTo>
                    <a:lnTo>
                      <a:pt x="251" y="177"/>
                    </a:lnTo>
                    <a:lnTo>
                      <a:pt x="251" y="179"/>
                    </a:lnTo>
                    <a:lnTo>
                      <a:pt x="250" y="180"/>
                    </a:lnTo>
                    <a:lnTo>
                      <a:pt x="250" y="184"/>
                    </a:lnTo>
                    <a:lnTo>
                      <a:pt x="250" y="184"/>
                    </a:lnTo>
                    <a:lnTo>
                      <a:pt x="248" y="184"/>
                    </a:lnTo>
                    <a:lnTo>
                      <a:pt x="248" y="186"/>
                    </a:lnTo>
                    <a:lnTo>
                      <a:pt x="246" y="186"/>
                    </a:lnTo>
                    <a:lnTo>
                      <a:pt x="246" y="186"/>
                    </a:lnTo>
                    <a:lnTo>
                      <a:pt x="246" y="188"/>
                    </a:lnTo>
                    <a:lnTo>
                      <a:pt x="246" y="188"/>
                    </a:lnTo>
                    <a:lnTo>
                      <a:pt x="246" y="188"/>
                    </a:lnTo>
                    <a:lnTo>
                      <a:pt x="246" y="190"/>
                    </a:lnTo>
                    <a:lnTo>
                      <a:pt x="246" y="190"/>
                    </a:lnTo>
                    <a:lnTo>
                      <a:pt x="248" y="190"/>
                    </a:lnTo>
                    <a:lnTo>
                      <a:pt x="248" y="192"/>
                    </a:lnTo>
                    <a:lnTo>
                      <a:pt x="248" y="192"/>
                    </a:lnTo>
                    <a:lnTo>
                      <a:pt x="248" y="192"/>
                    </a:lnTo>
                    <a:lnTo>
                      <a:pt x="250" y="194"/>
                    </a:lnTo>
                    <a:lnTo>
                      <a:pt x="253" y="196"/>
                    </a:lnTo>
                    <a:lnTo>
                      <a:pt x="255" y="198"/>
                    </a:lnTo>
                    <a:lnTo>
                      <a:pt x="257" y="199"/>
                    </a:lnTo>
                    <a:lnTo>
                      <a:pt x="257" y="199"/>
                    </a:lnTo>
                    <a:lnTo>
                      <a:pt x="257" y="201"/>
                    </a:lnTo>
                    <a:lnTo>
                      <a:pt x="259" y="201"/>
                    </a:lnTo>
                    <a:lnTo>
                      <a:pt x="259" y="205"/>
                    </a:lnTo>
                    <a:lnTo>
                      <a:pt x="261" y="207"/>
                    </a:lnTo>
                    <a:lnTo>
                      <a:pt x="261" y="207"/>
                    </a:lnTo>
                    <a:lnTo>
                      <a:pt x="263" y="209"/>
                    </a:lnTo>
                    <a:lnTo>
                      <a:pt x="265" y="211"/>
                    </a:lnTo>
                    <a:lnTo>
                      <a:pt x="272" y="215"/>
                    </a:lnTo>
                    <a:lnTo>
                      <a:pt x="276" y="218"/>
                    </a:lnTo>
                    <a:lnTo>
                      <a:pt x="278" y="220"/>
                    </a:lnTo>
                    <a:lnTo>
                      <a:pt x="278" y="220"/>
                    </a:lnTo>
                    <a:lnTo>
                      <a:pt x="278" y="224"/>
                    </a:lnTo>
                    <a:lnTo>
                      <a:pt x="280" y="226"/>
                    </a:lnTo>
                    <a:lnTo>
                      <a:pt x="280" y="228"/>
                    </a:lnTo>
                    <a:lnTo>
                      <a:pt x="280" y="228"/>
                    </a:lnTo>
                    <a:lnTo>
                      <a:pt x="278" y="232"/>
                    </a:lnTo>
                    <a:lnTo>
                      <a:pt x="278" y="236"/>
                    </a:lnTo>
                    <a:lnTo>
                      <a:pt x="278" y="238"/>
                    </a:lnTo>
                    <a:lnTo>
                      <a:pt x="278" y="239"/>
                    </a:lnTo>
                    <a:lnTo>
                      <a:pt x="278" y="239"/>
                    </a:lnTo>
                    <a:lnTo>
                      <a:pt x="280" y="239"/>
                    </a:lnTo>
                    <a:lnTo>
                      <a:pt x="280" y="241"/>
                    </a:lnTo>
                    <a:lnTo>
                      <a:pt x="280" y="241"/>
                    </a:lnTo>
                    <a:lnTo>
                      <a:pt x="280" y="243"/>
                    </a:lnTo>
                    <a:lnTo>
                      <a:pt x="280" y="245"/>
                    </a:lnTo>
                    <a:lnTo>
                      <a:pt x="272" y="245"/>
                    </a:lnTo>
                    <a:lnTo>
                      <a:pt x="271" y="243"/>
                    </a:lnTo>
                    <a:lnTo>
                      <a:pt x="271" y="243"/>
                    </a:lnTo>
                    <a:lnTo>
                      <a:pt x="271" y="241"/>
                    </a:lnTo>
                    <a:lnTo>
                      <a:pt x="269" y="241"/>
                    </a:lnTo>
                    <a:lnTo>
                      <a:pt x="267" y="239"/>
                    </a:lnTo>
                    <a:lnTo>
                      <a:pt x="265" y="241"/>
                    </a:lnTo>
                    <a:lnTo>
                      <a:pt x="263" y="243"/>
                    </a:lnTo>
                    <a:lnTo>
                      <a:pt x="257" y="243"/>
                    </a:lnTo>
                    <a:lnTo>
                      <a:pt x="257" y="245"/>
                    </a:lnTo>
                    <a:lnTo>
                      <a:pt x="257" y="245"/>
                    </a:lnTo>
                    <a:lnTo>
                      <a:pt x="257" y="245"/>
                    </a:lnTo>
                    <a:lnTo>
                      <a:pt x="257" y="245"/>
                    </a:lnTo>
                    <a:lnTo>
                      <a:pt x="255" y="247"/>
                    </a:lnTo>
                    <a:lnTo>
                      <a:pt x="255" y="247"/>
                    </a:lnTo>
                    <a:lnTo>
                      <a:pt x="253" y="249"/>
                    </a:lnTo>
                    <a:lnTo>
                      <a:pt x="250" y="251"/>
                    </a:lnTo>
                    <a:lnTo>
                      <a:pt x="246" y="253"/>
                    </a:lnTo>
                    <a:lnTo>
                      <a:pt x="244" y="253"/>
                    </a:lnTo>
                    <a:lnTo>
                      <a:pt x="244" y="253"/>
                    </a:lnTo>
                    <a:lnTo>
                      <a:pt x="244" y="255"/>
                    </a:lnTo>
                    <a:lnTo>
                      <a:pt x="244" y="255"/>
                    </a:lnTo>
                    <a:lnTo>
                      <a:pt x="242" y="255"/>
                    </a:lnTo>
                    <a:lnTo>
                      <a:pt x="242" y="257"/>
                    </a:lnTo>
                    <a:lnTo>
                      <a:pt x="240" y="257"/>
                    </a:lnTo>
                    <a:lnTo>
                      <a:pt x="240" y="257"/>
                    </a:lnTo>
                    <a:lnTo>
                      <a:pt x="240" y="258"/>
                    </a:lnTo>
                    <a:lnTo>
                      <a:pt x="240" y="258"/>
                    </a:lnTo>
                    <a:lnTo>
                      <a:pt x="240" y="258"/>
                    </a:lnTo>
                    <a:lnTo>
                      <a:pt x="242" y="258"/>
                    </a:lnTo>
                    <a:lnTo>
                      <a:pt x="242" y="260"/>
                    </a:lnTo>
                    <a:lnTo>
                      <a:pt x="242" y="260"/>
                    </a:lnTo>
                    <a:lnTo>
                      <a:pt x="244" y="260"/>
                    </a:lnTo>
                    <a:lnTo>
                      <a:pt x="244" y="262"/>
                    </a:lnTo>
                    <a:lnTo>
                      <a:pt x="244" y="262"/>
                    </a:lnTo>
                    <a:lnTo>
                      <a:pt x="244" y="262"/>
                    </a:lnTo>
                    <a:lnTo>
                      <a:pt x="244" y="262"/>
                    </a:lnTo>
                    <a:lnTo>
                      <a:pt x="246" y="262"/>
                    </a:lnTo>
                    <a:lnTo>
                      <a:pt x="246" y="262"/>
                    </a:lnTo>
                    <a:lnTo>
                      <a:pt x="246" y="262"/>
                    </a:lnTo>
                    <a:lnTo>
                      <a:pt x="246" y="262"/>
                    </a:lnTo>
                    <a:lnTo>
                      <a:pt x="248" y="262"/>
                    </a:lnTo>
                    <a:lnTo>
                      <a:pt x="248" y="264"/>
                    </a:lnTo>
                    <a:lnTo>
                      <a:pt x="250" y="266"/>
                    </a:lnTo>
                    <a:lnTo>
                      <a:pt x="250" y="266"/>
                    </a:lnTo>
                    <a:lnTo>
                      <a:pt x="250" y="270"/>
                    </a:lnTo>
                    <a:lnTo>
                      <a:pt x="251" y="272"/>
                    </a:lnTo>
                    <a:lnTo>
                      <a:pt x="251" y="274"/>
                    </a:lnTo>
                    <a:lnTo>
                      <a:pt x="251" y="276"/>
                    </a:lnTo>
                    <a:lnTo>
                      <a:pt x="250" y="279"/>
                    </a:lnTo>
                    <a:lnTo>
                      <a:pt x="246" y="283"/>
                    </a:lnTo>
                    <a:lnTo>
                      <a:pt x="246" y="285"/>
                    </a:lnTo>
                    <a:lnTo>
                      <a:pt x="244" y="287"/>
                    </a:lnTo>
                    <a:lnTo>
                      <a:pt x="244" y="289"/>
                    </a:lnTo>
                    <a:lnTo>
                      <a:pt x="244" y="289"/>
                    </a:lnTo>
                    <a:lnTo>
                      <a:pt x="244" y="291"/>
                    </a:lnTo>
                    <a:lnTo>
                      <a:pt x="244" y="293"/>
                    </a:lnTo>
                    <a:lnTo>
                      <a:pt x="244" y="297"/>
                    </a:lnTo>
                    <a:lnTo>
                      <a:pt x="244" y="297"/>
                    </a:lnTo>
                    <a:lnTo>
                      <a:pt x="244" y="298"/>
                    </a:lnTo>
                    <a:lnTo>
                      <a:pt x="244" y="300"/>
                    </a:lnTo>
                    <a:lnTo>
                      <a:pt x="244" y="300"/>
                    </a:lnTo>
                    <a:lnTo>
                      <a:pt x="246" y="302"/>
                    </a:lnTo>
                    <a:lnTo>
                      <a:pt x="246" y="302"/>
                    </a:lnTo>
                    <a:lnTo>
                      <a:pt x="248" y="302"/>
                    </a:lnTo>
                    <a:lnTo>
                      <a:pt x="251" y="308"/>
                    </a:lnTo>
                    <a:lnTo>
                      <a:pt x="253" y="308"/>
                    </a:lnTo>
                    <a:lnTo>
                      <a:pt x="253" y="310"/>
                    </a:lnTo>
                    <a:lnTo>
                      <a:pt x="255" y="312"/>
                    </a:lnTo>
                    <a:lnTo>
                      <a:pt x="257" y="321"/>
                    </a:lnTo>
                    <a:lnTo>
                      <a:pt x="257" y="325"/>
                    </a:lnTo>
                    <a:lnTo>
                      <a:pt x="257" y="329"/>
                    </a:lnTo>
                    <a:lnTo>
                      <a:pt x="257" y="331"/>
                    </a:lnTo>
                    <a:lnTo>
                      <a:pt x="255" y="333"/>
                    </a:lnTo>
                    <a:lnTo>
                      <a:pt x="255" y="335"/>
                    </a:lnTo>
                    <a:lnTo>
                      <a:pt x="255" y="340"/>
                    </a:lnTo>
                    <a:lnTo>
                      <a:pt x="253" y="342"/>
                    </a:lnTo>
                    <a:lnTo>
                      <a:pt x="253" y="342"/>
                    </a:lnTo>
                    <a:lnTo>
                      <a:pt x="253" y="342"/>
                    </a:lnTo>
                    <a:lnTo>
                      <a:pt x="251" y="342"/>
                    </a:lnTo>
                    <a:lnTo>
                      <a:pt x="251" y="342"/>
                    </a:lnTo>
                    <a:lnTo>
                      <a:pt x="250" y="342"/>
                    </a:lnTo>
                    <a:lnTo>
                      <a:pt x="250" y="342"/>
                    </a:lnTo>
                    <a:lnTo>
                      <a:pt x="248" y="344"/>
                    </a:lnTo>
                    <a:lnTo>
                      <a:pt x="250" y="344"/>
                    </a:lnTo>
                    <a:lnTo>
                      <a:pt x="250" y="346"/>
                    </a:lnTo>
                    <a:lnTo>
                      <a:pt x="250" y="346"/>
                    </a:lnTo>
                    <a:lnTo>
                      <a:pt x="251" y="346"/>
                    </a:lnTo>
                    <a:lnTo>
                      <a:pt x="253" y="348"/>
                    </a:lnTo>
                    <a:lnTo>
                      <a:pt x="255" y="348"/>
                    </a:lnTo>
                    <a:lnTo>
                      <a:pt x="255" y="348"/>
                    </a:lnTo>
                    <a:lnTo>
                      <a:pt x="255" y="350"/>
                    </a:lnTo>
                    <a:lnTo>
                      <a:pt x="257" y="352"/>
                    </a:lnTo>
                    <a:lnTo>
                      <a:pt x="257" y="354"/>
                    </a:lnTo>
                    <a:lnTo>
                      <a:pt x="257" y="355"/>
                    </a:lnTo>
                    <a:lnTo>
                      <a:pt x="257" y="355"/>
                    </a:lnTo>
                    <a:lnTo>
                      <a:pt x="257" y="357"/>
                    </a:lnTo>
                    <a:lnTo>
                      <a:pt x="259" y="357"/>
                    </a:lnTo>
                    <a:lnTo>
                      <a:pt x="259" y="359"/>
                    </a:lnTo>
                    <a:lnTo>
                      <a:pt x="259" y="361"/>
                    </a:lnTo>
                    <a:lnTo>
                      <a:pt x="259" y="361"/>
                    </a:lnTo>
                    <a:lnTo>
                      <a:pt x="257" y="361"/>
                    </a:lnTo>
                    <a:lnTo>
                      <a:pt x="257" y="363"/>
                    </a:lnTo>
                    <a:lnTo>
                      <a:pt x="255" y="363"/>
                    </a:lnTo>
                    <a:lnTo>
                      <a:pt x="257" y="365"/>
                    </a:lnTo>
                    <a:lnTo>
                      <a:pt x="257" y="365"/>
                    </a:lnTo>
                    <a:lnTo>
                      <a:pt x="259" y="365"/>
                    </a:lnTo>
                    <a:lnTo>
                      <a:pt x="259" y="365"/>
                    </a:lnTo>
                    <a:lnTo>
                      <a:pt x="259" y="369"/>
                    </a:lnTo>
                    <a:lnTo>
                      <a:pt x="259" y="369"/>
                    </a:lnTo>
                    <a:lnTo>
                      <a:pt x="257" y="371"/>
                    </a:lnTo>
                    <a:lnTo>
                      <a:pt x="255" y="371"/>
                    </a:lnTo>
                    <a:lnTo>
                      <a:pt x="253" y="371"/>
                    </a:lnTo>
                    <a:lnTo>
                      <a:pt x="251" y="371"/>
                    </a:lnTo>
                    <a:lnTo>
                      <a:pt x="250" y="371"/>
                    </a:lnTo>
                    <a:lnTo>
                      <a:pt x="250" y="371"/>
                    </a:lnTo>
                    <a:lnTo>
                      <a:pt x="248" y="371"/>
                    </a:lnTo>
                    <a:lnTo>
                      <a:pt x="246" y="369"/>
                    </a:lnTo>
                    <a:lnTo>
                      <a:pt x="246" y="369"/>
                    </a:lnTo>
                    <a:lnTo>
                      <a:pt x="244" y="369"/>
                    </a:lnTo>
                    <a:lnTo>
                      <a:pt x="242" y="369"/>
                    </a:lnTo>
                    <a:lnTo>
                      <a:pt x="240" y="369"/>
                    </a:lnTo>
                    <a:lnTo>
                      <a:pt x="242" y="371"/>
                    </a:lnTo>
                    <a:lnTo>
                      <a:pt x="242" y="371"/>
                    </a:lnTo>
                    <a:lnTo>
                      <a:pt x="244" y="373"/>
                    </a:lnTo>
                    <a:lnTo>
                      <a:pt x="246" y="373"/>
                    </a:lnTo>
                    <a:lnTo>
                      <a:pt x="246" y="373"/>
                    </a:lnTo>
                    <a:lnTo>
                      <a:pt x="246" y="375"/>
                    </a:lnTo>
                    <a:lnTo>
                      <a:pt x="246" y="378"/>
                    </a:lnTo>
                    <a:lnTo>
                      <a:pt x="246" y="378"/>
                    </a:lnTo>
                    <a:lnTo>
                      <a:pt x="248" y="380"/>
                    </a:lnTo>
                    <a:lnTo>
                      <a:pt x="248" y="382"/>
                    </a:lnTo>
                    <a:lnTo>
                      <a:pt x="248" y="382"/>
                    </a:lnTo>
                    <a:lnTo>
                      <a:pt x="248" y="384"/>
                    </a:lnTo>
                    <a:lnTo>
                      <a:pt x="246" y="384"/>
                    </a:lnTo>
                    <a:lnTo>
                      <a:pt x="246" y="386"/>
                    </a:lnTo>
                    <a:lnTo>
                      <a:pt x="244" y="386"/>
                    </a:lnTo>
                    <a:lnTo>
                      <a:pt x="244" y="388"/>
                    </a:lnTo>
                    <a:lnTo>
                      <a:pt x="244" y="388"/>
                    </a:lnTo>
                    <a:lnTo>
                      <a:pt x="244" y="390"/>
                    </a:lnTo>
                    <a:lnTo>
                      <a:pt x="244" y="392"/>
                    </a:lnTo>
                    <a:lnTo>
                      <a:pt x="244" y="394"/>
                    </a:lnTo>
                    <a:lnTo>
                      <a:pt x="238" y="405"/>
                    </a:lnTo>
                    <a:lnTo>
                      <a:pt x="236" y="407"/>
                    </a:lnTo>
                    <a:lnTo>
                      <a:pt x="234" y="411"/>
                    </a:lnTo>
                    <a:lnTo>
                      <a:pt x="231" y="413"/>
                    </a:lnTo>
                    <a:lnTo>
                      <a:pt x="229" y="413"/>
                    </a:lnTo>
                    <a:lnTo>
                      <a:pt x="227" y="414"/>
                    </a:lnTo>
                    <a:lnTo>
                      <a:pt x="225" y="416"/>
                    </a:lnTo>
                    <a:lnTo>
                      <a:pt x="225" y="416"/>
                    </a:lnTo>
                    <a:lnTo>
                      <a:pt x="225" y="418"/>
                    </a:lnTo>
                    <a:lnTo>
                      <a:pt x="225" y="420"/>
                    </a:lnTo>
                    <a:lnTo>
                      <a:pt x="225" y="420"/>
                    </a:lnTo>
                    <a:lnTo>
                      <a:pt x="225" y="420"/>
                    </a:lnTo>
                    <a:lnTo>
                      <a:pt x="227" y="420"/>
                    </a:lnTo>
                    <a:lnTo>
                      <a:pt x="227" y="420"/>
                    </a:lnTo>
                    <a:lnTo>
                      <a:pt x="229" y="420"/>
                    </a:lnTo>
                    <a:lnTo>
                      <a:pt x="229" y="422"/>
                    </a:lnTo>
                    <a:lnTo>
                      <a:pt x="231" y="424"/>
                    </a:lnTo>
                    <a:lnTo>
                      <a:pt x="231" y="426"/>
                    </a:lnTo>
                    <a:lnTo>
                      <a:pt x="229" y="426"/>
                    </a:lnTo>
                    <a:lnTo>
                      <a:pt x="227" y="426"/>
                    </a:lnTo>
                    <a:lnTo>
                      <a:pt x="223" y="426"/>
                    </a:lnTo>
                    <a:lnTo>
                      <a:pt x="221" y="426"/>
                    </a:lnTo>
                    <a:lnTo>
                      <a:pt x="221" y="428"/>
                    </a:lnTo>
                    <a:lnTo>
                      <a:pt x="221" y="432"/>
                    </a:lnTo>
                    <a:lnTo>
                      <a:pt x="219" y="432"/>
                    </a:lnTo>
                    <a:lnTo>
                      <a:pt x="219" y="435"/>
                    </a:lnTo>
                    <a:lnTo>
                      <a:pt x="217" y="435"/>
                    </a:lnTo>
                    <a:lnTo>
                      <a:pt x="215" y="435"/>
                    </a:lnTo>
                    <a:lnTo>
                      <a:pt x="213" y="433"/>
                    </a:lnTo>
                    <a:lnTo>
                      <a:pt x="211" y="432"/>
                    </a:lnTo>
                    <a:lnTo>
                      <a:pt x="210" y="432"/>
                    </a:lnTo>
                    <a:lnTo>
                      <a:pt x="210" y="432"/>
                    </a:lnTo>
                    <a:lnTo>
                      <a:pt x="208" y="433"/>
                    </a:lnTo>
                    <a:lnTo>
                      <a:pt x="208" y="433"/>
                    </a:lnTo>
                    <a:lnTo>
                      <a:pt x="208" y="437"/>
                    </a:lnTo>
                    <a:lnTo>
                      <a:pt x="208" y="439"/>
                    </a:lnTo>
                    <a:lnTo>
                      <a:pt x="208" y="443"/>
                    </a:lnTo>
                    <a:lnTo>
                      <a:pt x="208" y="445"/>
                    </a:lnTo>
                    <a:lnTo>
                      <a:pt x="208" y="445"/>
                    </a:lnTo>
                    <a:lnTo>
                      <a:pt x="206" y="447"/>
                    </a:lnTo>
                    <a:lnTo>
                      <a:pt x="204" y="449"/>
                    </a:lnTo>
                    <a:lnTo>
                      <a:pt x="202" y="449"/>
                    </a:lnTo>
                    <a:lnTo>
                      <a:pt x="200" y="449"/>
                    </a:lnTo>
                    <a:lnTo>
                      <a:pt x="196" y="449"/>
                    </a:lnTo>
                    <a:lnTo>
                      <a:pt x="189" y="451"/>
                    </a:lnTo>
                    <a:lnTo>
                      <a:pt x="189" y="451"/>
                    </a:lnTo>
                    <a:lnTo>
                      <a:pt x="189" y="451"/>
                    </a:lnTo>
                    <a:lnTo>
                      <a:pt x="189" y="449"/>
                    </a:lnTo>
                    <a:lnTo>
                      <a:pt x="187" y="447"/>
                    </a:lnTo>
                    <a:lnTo>
                      <a:pt x="187" y="445"/>
                    </a:lnTo>
                    <a:lnTo>
                      <a:pt x="187" y="445"/>
                    </a:lnTo>
                    <a:lnTo>
                      <a:pt x="185" y="443"/>
                    </a:lnTo>
                    <a:lnTo>
                      <a:pt x="185" y="443"/>
                    </a:lnTo>
                    <a:lnTo>
                      <a:pt x="179" y="445"/>
                    </a:lnTo>
                    <a:lnTo>
                      <a:pt x="177" y="445"/>
                    </a:lnTo>
                    <a:lnTo>
                      <a:pt x="175" y="447"/>
                    </a:lnTo>
                    <a:lnTo>
                      <a:pt x="175" y="447"/>
                    </a:lnTo>
                    <a:lnTo>
                      <a:pt x="175" y="449"/>
                    </a:lnTo>
                    <a:lnTo>
                      <a:pt x="177" y="451"/>
                    </a:lnTo>
                    <a:lnTo>
                      <a:pt x="179" y="451"/>
                    </a:lnTo>
                    <a:lnTo>
                      <a:pt x="179" y="453"/>
                    </a:lnTo>
                    <a:lnTo>
                      <a:pt x="179" y="453"/>
                    </a:lnTo>
                    <a:lnTo>
                      <a:pt x="179" y="454"/>
                    </a:lnTo>
                    <a:lnTo>
                      <a:pt x="181" y="456"/>
                    </a:lnTo>
                    <a:lnTo>
                      <a:pt x="183" y="458"/>
                    </a:lnTo>
                    <a:lnTo>
                      <a:pt x="183" y="460"/>
                    </a:lnTo>
                    <a:lnTo>
                      <a:pt x="183" y="460"/>
                    </a:lnTo>
                    <a:lnTo>
                      <a:pt x="181" y="462"/>
                    </a:lnTo>
                    <a:lnTo>
                      <a:pt x="181" y="464"/>
                    </a:lnTo>
                    <a:lnTo>
                      <a:pt x="179" y="464"/>
                    </a:lnTo>
                    <a:lnTo>
                      <a:pt x="179" y="464"/>
                    </a:lnTo>
                    <a:lnTo>
                      <a:pt x="177" y="466"/>
                    </a:lnTo>
                    <a:lnTo>
                      <a:pt x="177" y="468"/>
                    </a:lnTo>
                    <a:lnTo>
                      <a:pt x="177" y="470"/>
                    </a:lnTo>
                    <a:lnTo>
                      <a:pt x="177" y="472"/>
                    </a:lnTo>
                    <a:lnTo>
                      <a:pt x="175" y="472"/>
                    </a:lnTo>
                    <a:lnTo>
                      <a:pt x="175" y="472"/>
                    </a:lnTo>
                    <a:lnTo>
                      <a:pt x="173" y="470"/>
                    </a:lnTo>
                    <a:lnTo>
                      <a:pt x="173" y="470"/>
                    </a:lnTo>
                    <a:lnTo>
                      <a:pt x="171" y="470"/>
                    </a:lnTo>
                    <a:lnTo>
                      <a:pt x="169" y="468"/>
                    </a:lnTo>
                    <a:lnTo>
                      <a:pt x="168" y="468"/>
                    </a:lnTo>
                    <a:lnTo>
                      <a:pt x="166" y="468"/>
                    </a:lnTo>
                    <a:lnTo>
                      <a:pt x="166" y="468"/>
                    </a:lnTo>
                    <a:lnTo>
                      <a:pt x="164" y="468"/>
                    </a:lnTo>
                    <a:lnTo>
                      <a:pt x="164" y="470"/>
                    </a:lnTo>
                    <a:lnTo>
                      <a:pt x="164" y="470"/>
                    </a:lnTo>
                    <a:lnTo>
                      <a:pt x="166" y="472"/>
                    </a:lnTo>
                    <a:lnTo>
                      <a:pt x="168" y="473"/>
                    </a:lnTo>
                    <a:lnTo>
                      <a:pt x="168" y="475"/>
                    </a:lnTo>
                    <a:lnTo>
                      <a:pt x="168" y="475"/>
                    </a:lnTo>
                    <a:lnTo>
                      <a:pt x="168" y="477"/>
                    </a:lnTo>
                    <a:lnTo>
                      <a:pt x="164" y="477"/>
                    </a:lnTo>
                    <a:lnTo>
                      <a:pt x="156" y="477"/>
                    </a:lnTo>
                    <a:lnTo>
                      <a:pt x="154" y="475"/>
                    </a:lnTo>
                    <a:lnTo>
                      <a:pt x="152" y="473"/>
                    </a:lnTo>
                    <a:lnTo>
                      <a:pt x="149" y="470"/>
                    </a:lnTo>
                    <a:lnTo>
                      <a:pt x="149" y="470"/>
                    </a:lnTo>
                    <a:lnTo>
                      <a:pt x="147" y="470"/>
                    </a:lnTo>
                    <a:lnTo>
                      <a:pt x="145" y="470"/>
                    </a:lnTo>
                    <a:lnTo>
                      <a:pt x="141" y="468"/>
                    </a:lnTo>
                    <a:lnTo>
                      <a:pt x="135" y="464"/>
                    </a:lnTo>
                    <a:lnTo>
                      <a:pt x="133" y="464"/>
                    </a:lnTo>
                    <a:lnTo>
                      <a:pt x="131" y="464"/>
                    </a:lnTo>
                    <a:lnTo>
                      <a:pt x="131" y="464"/>
                    </a:lnTo>
                    <a:lnTo>
                      <a:pt x="129" y="464"/>
                    </a:lnTo>
                    <a:lnTo>
                      <a:pt x="129" y="466"/>
                    </a:lnTo>
                    <a:lnTo>
                      <a:pt x="129" y="466"/>
                    </a:lnTo>
                    <a:lnTo>
                      <a:pt x="129" y="468"/>
                    </a:lnTo>
                    <a:lnTo>
                      <a:pt x="129" y="468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4" y="472"/>
                    </a:lnTo>
                    <a:lnTo>
                      <a:pt x="124" y="473"/>
                    </a:lnTo>
                    <a:lnTo>
                      <a:pt x="124" y="475"/>
                    </a:lnTo>
                    <a:lnTo>
                      <a:pt x="124" y="477"/>
                    </a:lnTo>
                    <a:lnTo>
                      <a:pt x="124" y="477"/>
                    </a:lnTo>
                    <a:lnTo>
                      <a:pt x="124" y="479"/>
                    </a:lnTo>
                    <a:lnTo>
                      <a:pt x="124" y="481"/>
                    </a:lnTo>
                    <a:lnTo>
                      <a:pt x="124" y="485"/>
                    </a:lnTo>
                    <a:lnTo>
                      <a:pt x="122" y="489"/>
                    </a:lnTo>
                    <a:lnTo>
                      <a:pt x="118" y="491"/>
                    </a:lnTo>
                    <a:lnTo>
                      <a:pt x="103" y="492"/>
                    </a:lnTo>
                    <a:lnTo>
                      <a:pt x="95" y="494"/>
                    </a:lnTo>
                    <a:lnTo>
                      <a:pt x="89" y="498"/>
                    </a:lnTo>
                    <a:lnTo>
                      <a:pt x="78" y="500"/>
                    </a:lnTo>
                    <a:lnTo>
                      <a:pt x="72" y="504"/>
                    </a:lnTo>
                    <a:lnTo>
                      <a:pt x="68" y="506"/>
                    </a:lnTo>
                    <a:lnTo>
                      <a:pt x="67" y="508"/>
                    </a:lnTo>
                    <a:lnTo>
                      <a:pt x="65" y="510"/>
                    </a:lnTo>
                    <a:lnTo>
                      <a:pt x="65" y="512"/>
                    </a:lnTo>
                    <a:lnTo>
                      <a:pt x="65" y="513"/>
                    </a:lnTo>
                    <a:lnTo>
                      <a:pt x="65" y="515"/>
                    </a:lnTo>
                    <a:lnTo>
                      <a:pt x="65" y="517"/>
                    </a:lnTo>
                    <a:lnTo>
                      <a:pt x="63" y="519"/>
                    </a:lnTo>
                    <a:lnTo>
                      <a:pt x="63" y="519"/>
                    </a:lnTo>
                    <a:lnTo>
                      <a:pt x="63" y="519"/>
                    </a:lnTo>
                    <a:lnTo>
                      <a:pt x="63" y="519"/>
                    </a:lnTo>
                    <a:lnTo>
                      <a:pt x="63" y="519"/>
                    </a:lnTo>
                    <a:lnTo>
                      <a:pt x="63" y="521"/>
                    </a:lnTo>
                    <a:lnTo>
                      <a:pt x="61" y="521"/>
                    </a:lnTo>
                    <a:lnTo>
                      <a:pt x="59" y="523"/>
                    </a:lnTo>
                    <a:lnTo>
                      <a:pt x="55" y="527"/>
                    </a:lnTo>
                    <a:lnTo>
                      <a:pt x="51" y="527"/>
                    </a:lnTo>
                    <a:lnTo>
                      <a:pt x="49" y="527"/>
                    </a:lnTo>
                    <a:lnTo>
                      <a:pt x="47" y="527"/>
                    </a:lnTo>
                    <a:lnTo>
                      <a:pt x="47" y="525"/>
                    </a:lnTo>
                    <a:lnTo>
                      <a:pt x="44" y="523"/>
                    </a:lnTo>
                    <a:lnTo>
                      <a:pt x="42" y="521"/>
                    </a:lnTo>
                    <a:lnTo>
                      <a:pt x="40" y="521"/>
                    </a:lnTo>
                    <a:lnTo>
                      <a:pt x="38" y="521"/>
                    </a:lnTo>
                    <a:lnTo>
                      <a:pt x="38" y="521"/>
                    </a:lnTo>
                    <a:lnTo>
                      <a:pt x="36" y="519"/>
                    </a:lnTo>
                    <a:lnTo>
                      <a:pt x="36" y="519"/>
                    </a:lnTo>
                    <a:lnTo>
                      <a:pt x="36" y="519"/>
                    </a:lnTo>
                    <a:lnTo>
                      <a:pt x="36" y="517"/>
                    </a:lnTo>
                    <a:lnTo>
                      <a:pt x="38" y="512"/>
                    </a:lnTo>
                    <a:lnTo>
                      <a:pt x="38" y="510"/>
                    </a:lnTo>
                    <a:lnTo>
                      <a:pt x="34" y="510"/>
                    </a:lnTo>
                    <a:lnTo>
                      <a:pt x="28" y="506"/>
                    </a:lnTo>
                    <a:lnTo>
                      <a:pt x="26" y="506"/>
                    </a:lnTo>
                    <a:lnTo>
                      <a:pt x="25" y="506"/>
                    </a:lnTo>
                    <a:lnTo>
                      <a:pt x="23" y="506"/>
                    </a:lnTo>
                    <a:lnTo>
                      <a:pt x="23" y="508"/>
                    </a:lnTo>
                    <a:lnTo>
                      <a:pt x="21" y="508"/>
                    </a:lnTo>
                    <a:lnTo>
                      <a:pt x="21" y="510"/>
                    </a:lnTo>
                    <a:lnTo>
                      <a:pt x="21" y="510"/>
                    </a:lnTo>
                    <a:lnTo>
                      <a:pt x="23" y="513"/>
                    </a:lnTo>
                    <a:lnTo>
                      <a:pt x="23" y="515"/>
                    </a:lnTo>
                    <a:lnTo>
                      <a:pt x="23" y="517"/>
                    </a:lnTo>
                    <a:lnTo>
                      <a:pt x="23" y="517"/>
                    </a:lnTo>
                    <a:lnTo>
                      <a:pt x="21" y="517"/>
                    </a:lnTo>
                    <a:lnTo>
                      <a:pt x="15" y="519"/>
                    </a:lnTo>
                    <a:lnTo>
                      <a:pt x="11" y="519"/>
                    </a:lnTo>
                    <a:lnTo>
                      <a:pt x="9" y="519"/>
                    </a:lnTo>
                    <a:lnTo>
                      <a:pt x="2" y="521"/>
                    </a:lnTo>
                    <a:lnTo>
                      <a:pt x="0" y="521"/>
                    </a:lnTo>
                    <a:lnTo>
                      <a:pt x="0" y="523"/>
                    </a:lnTo>
                    <a:lnTo>
                      <a:pt x="0" y="523"/>
                    </a:lnTo>
                    <a:lnTo>
                      <a:pt x="0" y="527"/>
                    </a:lnTo>
                    <a:lnTo>
                      <a:pt x="0" y="527"/>
                    </a:lnTo>
                    <a:lnTo>
                      <a:pt x="2" y="529"/>
                    </a:lnTo>
                    <a:lnTo>
                      <a:pt x="2" y="529"/>
                    </a:lnTo>
                    <a:lnTo>
                      <a:pt x="2" y="531"/>
                    </a:lnTo>
                    <a:lnTo>
                      <a:pt x="5" y="529"/>
                    </a:lnTo>
                    <a:lnTo>
                      <a:pt x="7" y="531"/>
                    </a:lnTo>
                    <a:lnTo>
                      <a:pt x="7" y="531"/>
                    </a:lnTo>
                    <a:lnTo>
                      <a:pt x="7" y="532"/>
                    </a:lnTo>
                    <a:lnTo>
                      <a:pt x="7" y="532"/>
                    </a:lnTo>
                    <a:lnTo>
                      <a:pt x="7" y="534"/>
                    </a:lnTo>
                    <a:lnTo>
                      <a:pt x="7" y="538"/>
                    </a:lnTo>
                    <a:lnTo>
                      <a:pt x="5" y="540"/>
                    </a:lnTo>
                    <a:lnTo>
                      <a:pt x="5" y="540"/>
                    </a:lnTo>
                    <a:lnTo>
                      <a:pt x="4" y="542"/>
                    </a:lnTo>
                    <a:lnTo>
                      <a:pt x="2" y="546"/>
                    </a:lnTo>
                    <a:lnTo>
                      <a:pt x="0" y="550"/>
                    </a:lnTo>
                    <a:lnTo>
                      <a:pt x="0" y="551"/>
                    </a:lnTo>
                    <a:lnTo>
                      <a:pt x="2" y="555"/>
                    </a:lnTo>
                    <a:lnTo>
                      <a:pt x="5" y="559"/>
                    </a:lnTo>
                    <a:lnTo>
                      <a:pt x="5" y="563"/>
                    </a:lnTo>
                    <a:lnTo>
                      <a:pt x="5" y="563"/>
                    </a:lnTo>
                    <a:lnTo>
                      <a:pt x="7" y="565"/>
                    </a:lnTo>
                    <a:lnTo>
                      <a:pt x="7" y="565"/>
                    </a:lnTo>
                    <a:lnTo>
                      <a:pt x="9" y="565"/>
                    </a:lnTo>
                    <a:lnTo>
                      <a:pt x="15" y="563"/>
                    </a:lnTo>
                    <a:lnTo>
                      <a:pt x="17" y="563"/>
                    </a:lnTo>
                    <a:lnTo>
                      <a:pt x="19" y="565"/>
                    </a:lnTo>
                    <a:lnTo>
                      <a:pt x="21" y="565"/>
                    </a:lnTo>
                    <a:lnTo>
                      <a:pt x="25" y="567"/>
                    </a:lnTo>
                    <a:lnTo>
                      <a:pt x="40" y="584"/>
                    </a:lnTo>
                    <a:lnTo>
                      <a:pt x="42" y="586"/>
                    </a:lnTo>
                    <a:lnTo>
                      <a:pt x="44" y="588"/>
                    </a:lnTo>
                    <a:lnTo>
                      <a:pt x="46" y="586"/>
                    </a:lnTo>
                    <a:lnTo>
                      <a:pt x="47" y="586"/>
                    </a:lnTo>
                    <a:lnTo>
                      <a:pt x="49" y="586"/>
                    </a:lnTo>
                    <a:lnTo>
                      <a:pt x="53" y="586"/>
                    </a:lnTo>
                    <a:lnTo>
                      <a:pt x="61" y="586"/>
                    </a:lnTo>
                    <a:lnTo>
                      <a:pt x="78" y="588"/>
                    </a:lnTo>
                    <a:lnTo>
                      <a:pt x="80" y="588"/>
                    </a:lnTo>
                    <a:lnTo>
                      <a:pt x="80" y="588"/>
                    </a:lnTo>
                    <a:lnTo>
                      <a:pt x="80" y="588"/>
                    </a:lnTo>
                    <a:lnTo>
                      <a:pt x="80" y="588"/>
                    </a:lnTo>
                    <a:lnTo>
                      <a:pt x="80" y="588"/>
                    </a:lnTo>
                    <a:lnTo>
                      <a:pt x="82" y="588"/>
                    </a:lnTo>
                    <a:lnTo>
                      <a:pt x="84" y="588"/>
                    </a:lnTo>
                    <a:lnTo>
                      <a:pt x="84" y="590"/>
                    </a:lnTo>
                    <a:lnTo>
                      <a:pt x="86" y="590"/>
                    </a:lnTo>
                    <a:lnTo>
                      <a:pt x="86" y="590"/>
                    </a:lnTo>
                    <a:lnTo>
                      <a:pt x="84" y="591"/>
                    </a:lnTo>
                    <a:lnTo>
                      <a:pt x="84" y="591"/>
                    </a:lnTo>
                    <a:lnTo>
                      <a:pt x="82" y="591"/>
                    </a:lnTo>
                    <a:lnTo>
                      <a:pt x="80" y="591"/>
                    </a:lnTo>
                    <a:lnTo>
                      <a:pt x="78" y="591"/>
                    </a:lnTo>
                    <a:lnTo>
                      <a:pt x="76" y="593"/>
                    </a:lnTo>
                    <a:lnTo>
                      <a:pt x="74" y="595"/>
                    </a:lnTo>
                    <a:lnTo>
                      <a:pt x="72" y="597"/>
                    </a:lnTo>
                    <a:lnTo>
                      <a:pt x="72" y="597"/>
                    </a:lnTo>
                    <a:lnTo>
                      <a:pt x="74" y="599"/>
                    </a:lnTo>
                    <a:lnTo>
                      <a:pt x="74" y="601"/>
                    </a:lnTo>
                    <a:lnTo>
                      <a:pt x="72" y="603"/>
                    </a:lnTo>
                    <a:lnTo>
                      <a:pt x="72" y="605"/>
                    </a:lnTo>
                    <a:lnTo>
                      <a:pt x="72" y="607"/>
                    </a:lnTo>
                    <a:lnTo>
                      <a:pt x="72" y="609"/>
                    </a:lnTo>
                    <a:lnTo>
                      <a:pt x="70" y="612"/>
                    </a:lnTo>
                    <a:lnTo>
                      <a:pt x="70" y="614"/>
                    </a:lnTo>
                    <a:lnTo>
                      <a:pt x="72" y="616"/>
                    </a:lnTo>
                    <a:lnTo>
                      <a:pt x="78" y="622"/>
                    </a:lnTo>
                    <a:lnTo>
                      <a:pt x="80" y="622"/>
                    </a:lnTo>
                    <a:lnTo>
                      <a:pt x="82" y="622"/>
                    </a:lnTo>
                    <a:lnTo>
                      <a:pt x="84" y="622"/>
                    </a:lnTo>
                    <a:lnTo>
                      <a:pt x="84" y="622"/>
                    </a:lnTo>
                    <a:lnTo>
                      <a:pt x="87" y="624"/>
                    </a:lnTo>
                    <a:lnTo>
                      <a:pt x="95" y="631"/>
                    </a:lnTo>
                    <a:lnTo>
                      <a:pt x="95" y="637"/>
                    </a:lnTo>
                    <a:lnTo>
                      <a:pt x="97" y="639"/>
                    </a:lnTo>
                    <a:lnTo>
                      <a:pt x="99" y="641"/>
                    </a:lnTo>
                    <a:lnTo>
                      <a:pt x="99" y="643"/>
                    </a:lnTo>
                    <a:lnTo>
                      <a:pt x="101" y="643"/>
                    </a:lnTo>
                    <a:lnTo>
                      <a:pt x="107" y="643"/>
                    </a:lnTo>
                    <a:lnTo>
                      <a:pt x="110" y="645"/>
                    </a:lnTo>
                    <a:lnTo>
                      <a:pt x="112" y="647"/>
                    </a:lnTo>
                    <a:lnTo>
                      <a:pt x="114" y="648"/>
                    </a:lnTo>
                    <a:lnTo>
                      <a:pt x="116" y="648"/>
                    </a:lnTo>
                    <a:lnTo>
                      <a:pt x="116" y="652"/>
                    </a:lnTo>
                    <a:lnTo>
                      <a:pt x="116" y="652"/>
                    </a:lnTo>
                    <a:lnTo>
                      <a:pt x="116" y="654"/>
                    </a:lnTo>
                    <a:lnTo>
                      <a:pt x="116" y="654"/>
                    </a:lnTo>
                    <a:lnTo>
                      <a:pt x="116" y="654"/>
                    </a:lnTo>
                    <a:lnTo>
                      <a:pt x="114" y="656"/>
                    </a:lnTo>
                    <a:lnTo>
                      <a:pt x="112" y="654"/>
                    </a:lnTo>
                    <a:lnTo>
                      <a:pt x="110" y="654"/>
                    </a:lnTo>
                    <a:lnTo>
                      <a:pt x="110" y="656"/>
                    </a:lnTo>
                    <a:lnTo>
                      <a:pt x="110" y="656"/>
                    </a:lnTo>
                    <a:lnTo>
                      <a:pt x="110" y="656"/>
                    </a:lnTo>
                    <a:lnTo>
                      <a:pt x="110" y="656"/>
                    </a:lnTo>
                    <a:lnTo>
                      <a:pt x="110" y="656"/>
                    </a:lnTo>
                    <a:lnTo>
                      <a:pt x="110" y="658"/>
                    </a:lnTo>
                    <a:lnTo>
                      <a:pt x="112" y="660"/>
                    </a:lnTo>
                    <a:lnTo>
                      <a:pt x="112" y="660"/>
                    </a:lnTo>
                    <a:lnTo>
                      <a:pt x="112" y="662"/>
                    </a:lnTo>
                    <a:lnTo>
                      <a:pt x="116" y="664"/>
                    </a:lnTo>
                    <a:lnTo>
                      <a:pt x="118" y="666"/>
                    </a:lnTo>
                    <a:lnTo>
                      <a:pt x="120" y="668"/>
                    </a:lnTo>
                    <a:lnTo>
                      <a:pt x="122" y="669"/>
                    </a:lnTo>
                    <a:lnTo>
                      <a:pt x="122" y="673"/>
                    </a:lnTo>
                    <a:lnTo>
                      <a:pt x="122" y="675"/>
                    </a:lnTo>
                    <a:lnTo>
                      <a:pt x="124" y="677"/>
                    </a:lnTo>
                    <a:lnTo>
                      <a:pt x="126" y="679"/>
                    </a:lnTo>
                    <a:lnTo>
                      <a:pt x="128" y="681"/>
                    </a:lnTo>
                    <a:lnTo>
                      <a:pt x="128" y="683"/>
                    </a:lnTo>
                    <a:lnTo>
                      <a:pt x="128" y="683"/>
                    </a:lnTo>
                    <a:lnTo>
                      <a:pt x="126" y="685"/>
                    </a:lnTo>
                    <a:lnTo>
                      <a:pt x="122" y="685"/>
                    </a:lnTo>
                    <a:lnTo>
                      <a:pt x="120" y="685"/>
                    </a:lnTo>
                    <a:lnTo>
                      <a:pt x="118" y="685"/>
                    </a:lnTo>
                    <a:lnTo>
                      <a:pt x="118" y="687"/>
                    </a:lnTo>
                    <a:lnTo>
                      <a:pt x="118" y="688"/>
                    </a:lnTo>
                    <a:lnTo>
                      <a:pt x="118" y="690"/>
                    </a:lnTo>
                    <a:lnTo>
                      <a:pt x="116" y="690"/>
                    </a:lnTo>
                    <a:lnTo>
                      <a:pt x="116" y="690"/>
                    </a:lnTo>
                    <a:lnTo>
                      <a:pt x="114" y="690"/>
                    </a:lnTo>
                    <a:lnTo>
                      <a:pt x="112" y="690"/>
                    </a:lnTo>
                    <a:lnTo>
                      <a:pt x="112" y="690"/>
                    </a:lnTo>
                    <a:lnTo>
                      <a:pt x="110" y="692"/>
                    </a:lnTo>
                    <a:lnTo>
                      <a:pt x="108" y="692"/>
                    </a:lnTo>
                    <a:lnTo>
                      <a:pt x="107" y="694"/>
                    </a:lnTo>
                    <a:lnTo>
                      <a:pt x="110" y="698"/>
                    </a:lnTo>
                    <a:lnTo>
                      <a:pt x="110" y="698"/>
                    </a:lnTo>
                    <a:lnTo>
                      <a:pt x="112" y="700"/>
                    </a:lnTo>
                    <a:lnTo>
                      <a:pt x="116" y="700"/>
                    </a:lnTo>
                    <a:lnTo>
                      <a:pt x="118" y="700"/>
                    </a:lnTo>
                    <a:lnTo>
                      <a:pt x="120" y="702"/>
                    </a:lnTo>
                    <a:lnTo>
                      <a:pt x="126" y="707"/>
                    </a:lnTo>
                    <a:lnTo>
                      <a:pt x="128" y="707"/>
                    </a:lnTo>
                    <a:lnTo>
                      <a:pt x="129" y="707"/>
                    </a:lnTo>
                    <a:lnTo>
                      <a:pt x="131" y="707"/>
                    </a:lnTo>
                    <a:lnTo>
                      <a:pt x="133" y="707"/>
                    </a:lnTo>
                    <a:lnTo>
                      <a:pt x="139" y="709"/>
                    </a:lnTo>
                    <a:lnTo>
                      <a:pt x="143" y="713"/>
                    </a:lnTo>
                    <a:lnTo>
                      <a:pt x="145" y="713"/>
                    </a:lnTo>
                    <a:lnTo>
                      <a:pt x="147" y="715"/>
                    </a:lnTo>
                    <a:lnTo>
                      <a:pt x="147" y="717"/>
                    </a:lnTo>
                    <a:lnTo>
                      <a:pt x="147" y="717"/>
                    </a:lnTo>
                    <a:lnTo>
                      <a:pt x="147" y="719"/>
                    </a:lnTo>
                    <a:lnTo>
                      <a:pt x="147" y="721"/>
                    </a:lnTo>
                    <a:lnTo>
                      <a:pt x="147" y="723"/>
                    </a:lnTo>
                    <a:lnTo>
                      <a:pt x="147" y="723"/>
                    </a:lnTo>
                    <a:lnTo>
                      <a:pt x="147" y="726"/>
                    </a:lnTo>
                    <a:lnTo>
                      <a:pt x="147" y="728"/>
                    </a:lnTo>
                    <a:lnTo>
                      <a:pt x="147" y="732"/>
                    </a:lnTo>
                    <a:lnTo>
                      <a:pt x="150" y="736"/>
                    </a:lnTo>
                    <a:lnTo>
                      <a:pt x="152" y="736"/>
                    </a:lnTo>
                    <a:lnTo>
                      <a:pt x="154" y="736"/>
                    </a:lnTo>
                    <a:lnTo>
                      <a:pt x="154" y="734"/>
                    </a:lnTo>
                    <a:lnTo>
                      <a:pt x="156" y="732"/>
                    </a:lnTo>
                    <a:lnTo>
                      <a:pt x="156" y="732"/>
                    </a:lnTo>
                    <a:lnTo>
                      <a:pt x="158" y="732"/>
                    </a:lnTo>
                    <a:lnTo>
                      <a:pt x="158" y="730"/>
                    </a:lnTo>
                    <a:lnTo>
                      <a:pt x="160" y="730"/>
                    </a:lnTo>
                    <a:lnTo>
                      <a:pt x="160" y="728"/>
                    </a:lnTo>
                    <a:lnTo>
                      <a:pt x="162" y="726"/>
                    </a:lnTo>
                    <a:lnTo>
                      <a:pt x="162" y="726"/>
                    </a:lnTo>
                    <a:lnTo>
                      <a:pt x="164" y="726"/>
                    </a:lnTo>
                    <a:lnTo>
                      <a:pt x="166" y="726"/>
                    </a:lnTo>
                    <a:lnTo>
                      <a:pt x="171" y="728"/>
                    </a:lnTo>
                    <a:lnTo>
                      <a:pt x="173" y="730"/>
                    </a:lnTo>
                    <a:lnTo>
                      <a:pt x="173" y="734"/>
                    </a:lnTo>
                    <a:lnTo>
                      <a:pt x="175" y="738"/>
                    </a:lnTo>
                    <a:lnTo>
                      <a:pt x="175" y="742"/>
                    </a:lnTo>
                    <a:lnTo>
                      <a:pt x="175" y="744"/>
                    </a:lnTo>
                    <a:lnTo>
                      <a:pt x="177" y="746"/>
                    </a:lnTo>
                    <a:lnTo>
                      <a:pt x="179" y="747"/>
                    </a:lnTo>
                    <a:lnTo>
                      <a:pt x="181" y="747"/>
                    </a:lnTo>
                    <a:lnTo>
                      <a:pt x="198" y="751"/>
                    </a:lnTo>
                    <a:lnTo>
                      <a:pt x="200" y="753"/>
                    </a:lnTo>
                    <a:lnTo>
                      <a:pt x="200" y="755"/>
                    </a:lnTo>
                    <a:lnTo>
                      <a:pt x="200" y="757"/>
                    </a:lnTo>
                    <a:lnTo>
                      <a:pt x="200" y="761"/>
                    </a:lnTo>
                    <a:lnTo>
                      <a:pt x="200" y="763"/>
                    </a:lnTo>
                    <a:lnTo>
                      <a:pt x="200" y="765"/>
                    </a:lnTo>
                    <a:lnTo>
                      <a:pt x="202" y="766"/>
                    </a:lnTo>
                    <a:lnTo>
                      <a:pt x="206" y="772"/>
                    </a:lnTo>
                    <a:lnTo>
                      <a:pt x="206" y="776"/>
                    </a:lnTo>
                    <a:lnTo>
                      <a:pt x="225" y="770"/>
                    </a:lnTo>
                    <a:lnTo>
                      <a:pt x="227" y="770"/>
                    </a:lnTo>
                    <a:lnTo>
                      <a:pt x="232" y="770"/>
                    </a:lnTo>
                    <a:lnTo>
                      <a:pt x="234" y="770"/>
                    </a:lnTo>
                    <a:lnTo>
                      <a:pt x="242" y="765"/>
                    </a:lnTo>
                    <a:lnTo>
                      <a:pt x="251" y="759"/>
                    </a:lnTo>
                    <a:lnTo>
                      <a:pt x="255" y="757"/>
                    </a:lnTo>
                    <a:lnTo>
                      <a:pt x="259" y="753"/>
                    </a:lnTo>
                    <a:lnTo>
                      <a:pt x="259" y="753"/>
                    </a:lnTo>
                    <a:lnTo>
                      <a:pt x="259" y="751"/>
                    </a:lnTo>
                    <a:lnTo>
                      <a:pt x="259" y="751"/>
                    </a:lnTo>
                    <a:lnTo>
                      <a:pt x="259" y="751"/>
                    </a:lnTo>
                    <a:lnTo>
                      <a:pt x="261" y="749"/>
                    </a:lnTo>
                    <a:lnTo>
                      <a:pt x="265" y="747"/>
                    </a:lnTo>
                    <a:lnTo>
                      <a:pt x="267" y="746"/>
                    </a:lnTo>
                    <a:lnTo>
                      <a:pt x="269" y="746"/>
                    </a:lnTo>
                    <a:lnTo>
                      <a:pt x="271" y="744"/>
                    </a:lnTo>
                    <a:lnTo>
                      <a:pt x="276" y="728"/>
                    </a:lnTo>
                    <a:lnTo>
                      <a:pt x="278" y="726"/>
                    </a:lnTo>
                    <a:lnTo>
                      <a:pt x="278" y="725"/>
                    </a:lnTo>
                    <a:lnTo>
                      <a:pt x="278" y="725"/>
                    </a:lnTo>
                    <a:lnTo>
                      <a:pt x="278" y="723"/>
                    </a:lnTo>
                    <a:lnTo>
                      <a:pt x="278" y="721"/>
                    </a:lnTo>
                    <a:lnTo>
                      <a:pt x="278" y="721"/>
                    </a:lnTo>
                    <a:lnTo>
                      <a:pt x="282" y="721"/>
                    </a:lnTo>
                    <a:lnTo>
                      <a:pt x="286" y="719"/>
                    </a:lnTo>
                    <a:lnTo>
                      <a:pt x="290" y="715"/>
                    </a:lnTo>
                    <a:lnTo>
                      <a:pt x="293" y="711"/>
                    </a:lnTo>
                    <a:lnTo>
                      <a:pt x="293" y="707"/>
                    </a:lnTo>
                    <a:lnTo>
                      <a:pt x="292" y="702"/>
                    </a:lnTo>
                    <a:lnTo>
                      <a:pt x="290" y="700"/>
                    </a:lnTo>
                    <a:lnTo>
                      <a:pt x="284" y="698"/>
                    </a:lnTo>
                    <a:lnTo>
                      <a:pt x="280" y="696"/>
                    </a:lnTo>
                    <a:lnTo>
                      <a:pt x="276" y="696"/>
                    </a:lnTo>
                    <a:lnTo>
                      <a:pt x="272" y="696"/>
                    </a:lnTo>
                    <a:lnTo>
                      <a:pt x="271" y="694"/>
                    </a:lnTo>
                    <a:lnTo>
                      <a:pt x="269" y="690"/>
                    </a:lnTo>
                    <a:lnTo>
                      <a:pt x="267" y="688"/>
                    </a:lnTo>
                    <a:lnTo>
                      <a:pt x="265" y="687"/>
                    </a:lnTo>
                    <a:lnTo>
                      <a:pt x="265" y="675"/>
                    </a:lnTo>
                    <a:lnTo>
                      <a:pt x="263" y="669"/>
                    </a:lnTo>
                    <a:lnTo>
                      <a:pt x="261" y="666"/>
                    </a:lnTo>
                    <a:lnTo>
                      <a:pt x="261" y="666"/>
                    </a:lnTo>
                    <a:lnTo>
                      <a:pt x="263" y="666"/>
                    </a:lnTo>
                    <a:lnTo>
                      <a:pt x="265" y="668"/>
                    </a:lnTo>
                    <a:lnTo>
                      <a:pt x="265" y="669"/>
                    </a:lnTo>
                    <a:lnTo>
                      <a:pt x="265" y="673"/>
                    </a:lnTo>
                    <a:lnTo>
                      <a:pt x="267" y="675"/>
                    </a:lnTo>
                    <a:lnTo>
                      <a:pt x="269" y="681"/>
                    </a:lnTo>
                    <a:lnTo>
                      <a:pt x="269" y="683"/>
                    </a:lnTo>
                    <a:lnTo>
                      <a:pt x="269" y="685"/>
                    </a:lnTo>
                    <a:lnTo>
                      <a:pt x="271" y="687"/>
                    </a:lnTo>
                    <a:lnTo>
                      <a:pt x="272" y="690"/>
                    </a:lnTo>
                    <a:lnTo>
                      <a:pt x="276" y="692"/>
                    </a:lnTo>
                    <a:lnTo>
                      <a:pt x="278" y="692"/>
                    </a:lnTo>
                    <a:lnTo>
                      <a:pt x="280" y="692"/>
                    </a:lnTo>
                    <a:lnTo>
                      <a:pt x="282" y="690"/>
                    </a:lnTo>
                    <a:lnTo>
                      <a:pt x="282" y="694"/>
                    </a:lnTo>
                    <a:lnTo>
                      <a:pt x="288" y="696"/>
                    </a:lnTo>
                    <a:lnTo>
                      <a:pt x="293" y="698"/>
                    </a:lnTo>
                    <a:lnTo>
                      <a:pt x="297" y="700"/>
                    </a:lnTo>
                    <a:lnTo>
                      <a:pt x="297" y="702"/>
                    </a:lnTo>
                    <a:lnTo>
                      <a:pt x="299" y="709"/>
                    </a:lnTo>
                    <a:lnTo>
                      <a:pt x="301" y="713"/>
                    </a:lnTo>
                    <a:lnTo>
                      <a:pt x="297" y="715"/>
                    </a:lnTo>
                    <a:lnTo>
                      <a:pt x="293" y="723"/>
                    </a:lnTo>
                    <a:lnTo>
                      <a:pt x="292" y="725"/>
                    </a:lnTo>
                    <a:lnTo>
                      <a:pt x="292" y="726"/>
                    </a:lnTo>
                    <a:lnTo>
                      <a:pt x="292" y="728"/>
                    </a:lnTo>
                    <a:lnTo>
                      <a:pt x="292" y="736"/>
                    </a:lnTo>
                    <a:lnTo>
                      <a:pt x="292" y="736"/>
                    </a:lnTo>
                    <a:lnTo>
                      <a:pt x="292" y="738"/>
                    </a:lnTo>
                    <a:lnTo>
                      <a:pt x="297" y="749"/>
                    </a:lnTo>
                    <a:lnTo>
                      <a:pt x="299" y="751"/>
                    </a:lnTo>
                    <a:lnTo>
                      <a:pt x="297" y="753"/>
                    </a:lnTo>
                    <a:lnTo>
                      <a:pt x="299" y="757"/>
                    </a:lnTo>
                    <a:lnTo>
                      <a:pt x="297" y="761"/>
                    </a:lnTo>
                    <a:lnTo>
                      <a:pt x="295" y="763"/>
                    </a:lnTo>
                    <a:lnTo>
                      <a:pt x="295" y="766"/>
                    </a:lnTo>
                    <a:lnTo>
                      <a:pt x="295" y="768"/>
                    </a:lnTo>
                    <a:lnTo>
                      <a:pt x="295" y="772"/>
                    </a:lnTo>
                    <a:lnTo>
                      <a:pt x="299" y="776"/>
                    </a:lnTo>
                    <a:lnTo>
                      <a:pt x="301" y="776"/>
                    </a:lnTo>
                    <a:lnTo>
                      <a:pt x="301" y="776"/>
                    </a:lnTo>
                    <a:lnTo>
                      <a:pt x="303" y="780"/>
                    </a:lnTo>
                    <a:lnTo>
                      <a:pt x="303" y="784"/>
                    </a:lnTo>
                    <a:lnTo>
                      <a:pt x="305" y="784"/>
                    </a:lnTo>
                    <a:lnTo>
                      <a:pt x="305" y="784"/>
                    </a:lnTo>
                    <a:lnTo>
                      <a:pt x="307" y="784"/>
                    </a:lnTo>
                    <a:lnTo>
                      <a:pt x="309" y="784"/>
                    </a:lnTo>
                    <a:lnTo>
                      <a:pt x="309" y="782"/>
                    </a:lnTo>
                    <a:lnTo>
                      <a:pt x="311" y="782"/>
                    </a:lnTo>
                    <a:lnTo>
                      <a:pt x="311" y="782"/>
                    </a:lnTo>
                    <a:lnTo>
                      <a:pt x="311" y="780"/>
                    </a:lnTo>
                    <a:lnTo>
                      <a:pt x="311" y="778"/>
                    </a:lnTo>
                    <a:lnTo>
                      <a:pt x="309" y="778"/>
                    </a:lnTo>
                    <a:lnTo>
                      <a:pt x="309" y="776"/>
                    </a:lnTo>
                    <a:lnTo>
                      <a:pt x="309" y="774"/>
                    </a:lnTo>
                    <a:lnTo>
                      <a:pt x="309" y="772"/>
                    </a:lnTo>
                    <a:lnTo>
                      <a:pt x="309" y="770"/>
                    </a:lnTo>
                    <a:lnTo>
                      <a:pt x="309" y="766"/>
                    </a:lnTo>
                    <a:lnTo>
                      <a:pt x="305" y="753"/>
                    </a:lnTo>
                    <a:lnTo>
                      <a:pt x="305" y="751"/>
                    </a:lnTo>
                    <a:lnTo>
                      <a:pt x="307" y="751"/>
                    </a:lnTo>
                    <a:lnTo>
                      <a:pt x="309" y="753"/>
                    </a:lnTo>
                    <a:lnTo>
                      <a:pt x="309" y="755"/>
                    </a:lnTo>
                    <a:lnTo>
                      <a:pt x="311" y="757"/>
                    </a:lnTo>
                    <a:lnTo>
                      <a:pt x="311" y="772"/>
                    </a:lnTo>
                    <a:lnTo>
                      <a:pt x="311" y="776"/>
                    </a:lnTo>
                    <a:lnTo>
                      <a:pt x="313" y="776"/>
                    </a:lnTo>
                    <a:lnTo>
                      <a:pt x="314" y="774"/>
                    </a:lnTo>
                    <a:lnTo>
                      <a:pt x="316" y="772"/>
                    </a:lnTo>
                    <a:lnTo>
                      <a:pt x="316" y="770"/>
                    </a:lnTo>
                    <a:lnTo>
                      <a:pt x="316" y="768"/>
                    </a:lnTo>
                    <a:lnTo>
                      <a:pt x="316" y="768"/>
                    </a:lnTo>
                    <a:lnTo>
                      <a:pt x="313" y="765"/>
                    </a:lnTo>
                    <a:lnTo>
                      <a:pt x="313" y="763"/>
                    </a:lnTo>
                    <a:lnTo>
                      <a:pt x="313" y="763"/>
                    </a:lnTo>
                    <a:lnTo>
                      <a:pt x="314" y="761"/>
                    </a:lnTo>
                    <a:lnTo>
                      <a:pt x="314" y="763"/>
                    </a:lnTo>
                    <a:lnTo>
                      <a:pt x="314" y="765"/>
                    </a:lnTo>
                    <a:lnTo>
                      <a:pt x="316" y="765"/>
                    </a:lnTo>
                    <a:lnTo>
                      <a:pt x="316" y="766"/>
                    </a:lnTo>
                    <a:lnTo>
                      <a:pt x="318" y="765"/>
                    </a:lnTo>
                    <a:lnTo>
                      <a:pt x="320" y="765"/>
                    </a:lnTo>
                    <a:lnTo>
                      <a:pt x="322" y="765"/>
                    </a:lnTo>
                    <a:lnTo>
                      <a:pt x="320" y="768"/>
                    </a:lnTo>
                    <a:lnTo>
                      <a:pt x="320" y="772"/>
                    </a:lnTo>
                    <a:lnTo>
                      <a:pt x="322" y="778"/>
                    </a:lnTo>
                    <a:lnTo>
                      <a:pt x="324" y="778"/>
                    </a:lnTo>
                    <a:lnTo>
                      <a:pt x="326" y="776"/>
                    </a:lnTo>
                    <a:lnTo>
                      <a:pt x="328" y="774"/>
                    </a:lnTo>
                    <a:lnTo>
                      <a:pt x="330" y="774"/>
                    </a:lnTo>
                    <a:lnTo>
                      <a:pt x="332" y="770"/>
                    </a:lnTo>
                    <a:lnTo>
                      <a:pt x="332" y="768"/>
                    </a:lnTo>
                    <a:lnTo>
                      <a:pt x="332" y="766"/>
                    </a:lnTo>
                    <a:lnTo>
                      <a:pt x="330" y="763"/>
                    </a:lnTo>
                    <a:lnTo>
                      <a:pt x="330" y="761"/>
                    </a:lnTo>
                    <a:lnTo>
                      <a:pt x="330" y="759"/>
                    </a:lnTo>
                    <a:lnTo>
                      <a:pt x="330" y="755"/>
                    </a:lnTo>
                    <a:lnTo>
                      <a:pt x="332" y="753"/>
                    </a:lnTo>
                    <a:lnTo>
                      <a:pt x="332" y="749"/>
                    </a:lnTo>
                    <a:lnTo>
                      <a:pt x="333" y="749"/>
                    </a:lnTo>
                    <a:lnTo>
                      <a:pt x="333" y="749"/>
                    </a:lnTo>
                    <a:lnTo>
                      <a:pt x="333" y="749"/>
                    </a:lnTo>
                    <a:lnTo>
                      <a:pt x="333" y="747"/>
                    </a:lnTo>
                    <a:lnTo>
                      <a:pt x="333" y="746"/>
                    </a:lnTo>
                    <a:lnTo>
                      <a:pt x="332" y="740"/>
                    </a:lnTo>
                    <a:lnTo>
                      <a:pt x="332" y="738"/>
                    </a:lnTo>
                    <a:lnTo>
                      <a:pt x="333" y="736"/>
                    </a:lnTo>
                    <a:lnTo>
                      <a:pt x="333" y="734"/>
                    </a:lnTo>
                    <a:lnTo>
                      <a:pt x="335" y="732"/>
                    </a:lnTo>
                    <a:lnTo>
                      <a:pt x="333" y="730"/>
                    </a:lnTo>
                    <a:lnTo>
                      <a:pt x="337" y="732"/>
                    </a:lnTo>
                    <a:lnTo>
                      <a:pt x="337" y="734"/>
                    </a:lnTo>
                    <a:lnTo>
                      <a:pt x="333" y="740"/>
                    </a:lnTo>
                    <a:lnTo>
                      <a:pt x="337" y="744"/>
                    </a:lnTo>
                    <a:lnTo>
                      <a:pt x="339" y="747"/>
                    </a:lnTo>
                    <a:lnTo>
                      <a:pt x="339" y="751"/>
                    </a:lnTo>
                    <a:lnTo>
                      <a:pt x="337" y="755"/>
                    </a:lnTo>
                    <a:lnTo>
                      <a:pt x="335" y="759"/>
                    </a:lnTo>
                    <a:lnTo>
                      <a:pt x="335" y="763"/>
                    </a:lnTo>
                    <a:lnTo>
                      <a:pt x="339" y="768"/>
                    </a:lnTo>
                    <a:lnTo>
                      <a:pt x="337" y="770"/>
                    </a:lnTo>
                    <a:lnTo>
                      <a:pt x="337" y="772"/>
                    </a:lnTo>
                    <a:lnTo>
                      <a:pt x="337" y="774"/>
                    </a:lnTo>
                    <a:lnTo>
                      <a:pt x="337" y="776"/>
                    </a:lnTo>
                    <a:lnTo>
                      <a:pt x="337" y="778"/>
                    </a:lnTo>
                    <a:lnTo>
                      <a:pt x="335" y="778"/>
                    </a:lnTo>
                    <a:lnTo>
                      <a:pt x="335" y="778"/>
                    </a:lnTo>
                    <a:lnTo>
                      <a:pt x="333" y="780"/>
                    </a:lnTo>
                    <a:lnTo>
                      <a:pt x="333" y="784"/>
                    </a:lnTo>
                    <a:lnTo>
                      <a:pt x="333" y="785"/>
                    </a:lnTo>
                    <a:lnTo>
                      <a:pt x="337" y="787"/>
                    </a:lnTo>
                    <a:lnTo>
                      <a:pt x="341" y="785"/>
                    </a:lnTo>
                    <a:lnTo>
                      <a:pt x="339" y="785"/>
                    </a:lnTo>
                    <a:lnTo>
                      <a:pt x="339" y="784"/>
                    </a:lnTo>
                    <a:lnTo>
                      <a:pt x="339" y="782"/>
                    </a:lnTo>
                    <a:lnTo>
                      <a:pt x="339" y="780"/>
                    </a:lnTo>
                    <a:lnTo>
                      <a:pt x="341" y="782"/>
                    </a:lnTo>
                    <a:lnTo>
                      <a:pt x="343" y="784"/>
                    </a:lnTo>
                    <a:lnTo>
                      <a:pt x="345" y="784"/>
                    </a:lnTo>
                    <a:lnTo>
                      <a:pt x="345" y="782"/>
                    </a:lnTo>
                    <a:lnTo>
                      <a:pt x="345" y="774"/>
                    </a:lnTo>
                    <a:lnTo>
                      <a:pt x="347" y="776"/>
                    </a:lnTo>
                    <a:lnTo>
                      <a:pt x="347" y="772"/>
                    </a:lnTo>
                    <a:lnTo>
                      <a:pt x="347" y="763"/>
                    </a:lnTo>
                    <a:lnTo>
                      <a:pt x="347" y="763"/>
                    </a:lnTo>
                    <a:lnTo>
                      <a:pt x="349" y="765"/>
                    </a:lnTo>
                    <a:lnTo>
                      <a:pt x="351" y="763"/>
                    </a:lnTo>
                    <a:lnTo>
                      <a:pt x="351" y="759"/>
                    </a:lnTo>
                    <a:lnTo>
                      <a:pt x="353" y="757"/>
                    </a:lnTo>
                    <a:lnTo>
                      <a:pt x="351" y="753"/>
                    </a:lnTo>
                    <a:lnTo>
                      <a:pt x="349" y="753"/>
                    </a:lnTo>
                    <a:lnTo>
                      <a:pt x="345" y="755"/>
                    </a:lnTo>
                    <a:lnTo>
                      <a:pt x="343" y="755"/>
                    </a:lnTo>
                    <a:lnTo>
                      <a:pt x="343" y="753"/>
                    </a:lnTo>
                    <a:lnTo>
                      <a:pt x="343" y="746"/>
                    </a:lnTo>
                    <a:lnTo>
                      <a:pt x="343" y="744"/>
                    </a:lnTo>
                    <a:lnTo>
                      <a:pt x="347" y="732"/>
                    </a:lnTo>
                    <a:lnTo>
                      <a:pt x="347" y="730"/>
                    </a:lnTo>
                    <a:lnTo>
                      <a:pt x="347" y="725"/>
                    </a:lnTo>
                    <a:lnTo>
                      <a:pt x="349" y="723"/>
                    </a:lnTo>
                    <a:lnTo>
                      <a:pt x="351" y="719"/>
                    </a:lnTo>
                    <a:lnTo>
                      <a:pt x="351" y="717"/>
                    </a:lnTo>
                    <a:lnTo>
                      <a:pt x="351" y="715"/>
                    </a:lnTo>
                    <a:lnTo>
                      <a:pt x="351" y="713"/>
                    </a:lnTo>
                    <a:lnTo>
                      <a:pt x="351" y="709"/>
                    </a:lnTo>
                    <a:lnTo>
                      <a:pt x="351" y="707"/>
                    </a:lnTo>
                    <a:lnTo>
                      <a:pt x="351" y="707"/>
                    </a:lnTo>
                    <a:lnTo>
                      <a:pt x="351" y="706"/>
                    </a:lnTo>
                    <a:lnTo>
                      <a:pt x="353" y="704"/>
                    </a:lnTo>
                    <a:lnTo>
                      <a:pt x="353" y="702"/>
                    </a:lnTo>
                    <a:lnTo>
                      <a:pt x="353" y="700"/>
                    </a:lnTo>
                    <a:lnTo>
                      <a:pt x="354" y="700"/>
                    </a:lnTo>
                    <a:lnTo>
                      <a:pt x="354" y="698"/>
                    </a:lnTo>
                    <a:lnTo>
                      <a:pt x="354" y="696"/>
                    </a:lnTo>
                    <a:lnTo>
                      <a:pt x="354" y="696"/>
                    </a:lnTo>
                    <a:lnTo>
                      <a:pt x="358" y="696"/>
                    </a:lnTo>
                    <a:lnTo>
                      <a:pt x="358" y="698"/>
                    </a:lnTo>
                    <a:lnTo>
                      <a:pt x="356" y="702"/>
                    </a:lnTo>
                    <a:lnTo>
                      <a:pt x="354" y="704"/>
                    </a:lnTo>
                    <a:lnTo>
                      <a:pt x="353" y="707"/>
                    </a:lnTo>
                    <a:lnTo>
                      <a:pt x="353" y="709"/>
                    </a:lnTo>
                    <a:lnTo>
                      <a:pt x="353" y="713"/>
                    </a:lnTo>
                    <a:lnTo>
                      <a:pt x="354" y="717"/>
                    </a:lnTo>
                    <a:lnTo>
                      <a:pt x="354" y="719"/>
                    </a:lnTo>
                    <a:lnTo>
                      <a:pt x="354" y="721"/>
                    </a:lnTo>
                    <a:lnTo>
                      <a:pt x="353" y="723"/>
                    </a:lnTo>
                    <a:lnTo>
                      <a:pt x="351" y="726"/>
                    </a:lnTo>
                    <a:lnTo>
                      <a:pt x="351" y="726"/>
                    </a:lnTo>
                    <a:lnTo>
                      <a:pt x="351" y="728"/>
                    </a:lnTo>
                    <a:lnTo>
                      <a:pt x="351" y="730"/>
                    </a:lnTo>
                    <a:lnTo>
                      <a:pt x="353" y="730"/>
                    </a:lnTo>
                    <a:lnTo>
                      <a:pt x="354" y="730"/>
                    </a:lnTo>
                    <a:lnTo>
                      <a:pt x="356" y="730"/>
                    </a:lnTo>
                    <a:lnTo>
                      <a:pt x="358" y="732"/>
                    </a:lnTo>
                    <a:lnTo>
                      <a:pt x="358" y="730"/>
                    </a:lnTo>
                    <a:lnTo>
                      <a:pt x="360" y="728"/>
                    </a:lnTo>
                    <a:lnTo>
                      <a:pt x="360" y="726"/>
                    </a:lnTo>
                    <a:lnTo>
                      <a:pt x="362" y="721"/>
                    </a:lnTo>
                    <a:lnTo>
                      <a:pt x="364" y="719"/>
                    </a:lnTo>
                    <a:lnTo>
                      <a:pt x="362" y="717"/>
                    </a:lnTo>
                    <a:lnTo>
                      <a:pt x="360" y="715"/>
                    </a:lnTo>
                    <a:lnTo>
                      <a:pt x="358" y="715"/>
                    </a:lnTo>
                    <a:lnTo>
                      <a:pt x="360" y="711"/>
                    </a:lnTo>
                    <a:lnTo>
                      <a:pt x="360" y="709"/>
                    </a:lnTo>
                    <a:lnTo>
                      <a:pt x="362" y="707"/>
                    </a:lnTo>
                    <a:lnTo>
                      <a:pt x="364" y="707"/>
                    </a:lnTo>
                    <a:lnTo>
                      <a:pt x="366" y="706"/>
                    </a:lnTo>
                    <a:lnTo>
                      <a:pt x="368" y="706"/>
                    </a:lnTo>
                    <a:lnTo>
                      <a:pt x="364" y="709"/>
                    </a:lnTo>
                    <a:lnTo>
                      <a:pt x="362" y="711"/>
                    </a:lnTo>
                    <a:lnTo>
                      <a:pt x="360" y="713"/>
                    </a:lnTo>
                    <a:lnTo>
                      <a:pt x="362" y="715"/>
                    </a:lnTo>
                    <a:lnTo>
                      <a:pt x="368" y="719"/>
                    </a:lnTo>
                    <a:lnTo>
                      <a:pt x="368" y="721"/>
                    </a:lnTo>
                    <a:lnTo>
                      <a:pt x="368" y="723"/>
                    </a:lnTo>
                    <a:lnTo>
                      <a:pt x="366" y="725"/>
                    </a:lnTo>
                    <a:lnTo>
                      <a:pt x="364" y="726"/>
                    </a:lnTo>
                    <a:lnTo>
                      <a:pt x="362" y="728"/>
                    </a:lnTo>
                    <a:lnTo>
                      <a:pt x="362" y="730"/>
                    </a:lnTo>
                    <a:lnTo>
                      <a:pt x="362" y="736"/>
                    </a:lnTo>
                    <a:lnTo>
                      <a:pt x="360" y="746"/>
                    </a:lnTo>
                    <a:lnTo>
                      <a:pt x="360" y="747"/>
                    </a:lnTo>
                    <a:lnTo>
                      <a:pt x="360" y="749"/>
                    </a:lnTo>
                    <a:lnTo>
                      <a:pt x="358" y="765"/>
                    </a:lnTo>
                    <a:lnTo>
                      <a:pt x="358" y="766"/>
                    </a:lnTo>
                    <a:lnTo>
                      <a:pt x="362" y="776"/>
                    </a:lnTo>
                    <a:lnTo>
                      <a:pt x="360" y="780"/>
                    </a:lnTo>
                    <a:lnTo>
                      <a:pt x="364" y="782"/>
                    </a:lnTo>
                    <a:lnTo>
                      <a:pt x="368" y="784"/>
                    </a:lnTo>
                    <a:lnTo>
                      <a:pt x="372" y="782"/>
                    </a:lnTo>
                    <a:lnTo>
                      <a:pt x="372" y="780"/>
                    </a:lnTo>
                    <a:lnTo>
                      <a:pt x="372" y="778"/>
                    </a:lnTo>
                    <a:lnTo>
                      <a:pt x="370" y="776"/>
                    </a:lnTo>
                    <a:lnTo>
                      <a:pt x="370" y="772"/>
                    </a:lnTo>
                    <a:lnTo>
                      <a:pt x="370" y="770"/>
                    </a:lnTo>
                    <a:lnTo>
                      <a:pt x="370" y="770"/>
                    </a:lnTo>
                    <a:lnTo>
                      <a:pt x="370" y="770"/>
                    </a:lnTo>
                    <a:lnTo>
                      <a:pt x="372" y="768"/>
                    </a:lnTo>
                    <a:lnTo>
                      <a:pt x="374" y="768"/>
                    </a:lnTo>
                    <a:lnTo>
                      <a:pt x="374" y="766"/>
                    </a:lnTo>
                    <a:lnTo>
                      <a:pt x="374" y="765"/>
                    </a:lnTo>
                    <a:lnTo>
                      <a:pt x="375" y="766"/>
                    </a:lnTo>
                    <a:lnTo>
                      <a:pt x="375" y="768"/>
                    </a:lnTo>
                    <a:lnTo>
                      <a:pt x="375" y="768"/>
                    </a:lnTo>
                    <a:lnTo>
                      <a:pt x="374" y="770"/>
                    </a:lnTo>
                    <a:lnTo>
                      <a:pt x="372" y="772"/>
                    </a:lnTo>
                    <a:lnTo>
                      <a:pt x="374" y="774"/>
                    </a:lnTo>
                    <a:lnTo>
                      <a:pt x="375" y="774"/>
                    </a:lnTo>
                    <a:lnTo>
                      <a:pt x="377" y="774"/>
                    </a:lnTo>
                    <a:lnTo>
                      <a:pt x="379" y="772"/>
                    </a:lnTo>
                    <a:lnTo>
                      <a:pt x="379" y="770"/>
                    </a:lnTo>
                    <a:lnTo>
                      <a:pt x="377" y="766"/>
                    </a:lnTo>
                    <a:lnTo>
                      <a:pt x="377" y="763"/>
                    </a:lnTo>
                    <a:lnTo>
                      <a:pt x="377" y="761"/>
                    </a:lnTo>
                    <a:lnTo>
                      <a:pt x="379" y="757"/>
                    </a:lnTo>
                    <a:lnTo>
                      <a:pt x="379" y="755"/>
                    </a:lnTo>
                    <a:lnTo>
                      <a:pt x="381" y="755"/>
                    </a:lnTo>
                    <a:lnTo>
                      <a:pt x="381" y="757"/>
                    </a:lnTo>
                    <a:lnTo>
                      <a:pt x="383" y="766"/>
                    </a:lnTo>
                    <a:lnTo>
                      <a:pt x="383" y="768"/>
                    </a:lnTo>
                    <a:lnTo>
                      <a:pt x="385" y="770"/>
                    </a:lnTo>
                    <a:lnTo>
                      <a:pt x="385" y="770"/>
                    </a:lnTo>
                    <a:lnTo>
                      <a:pt x="389" y="770"/>
                    </a:lnTo>
                    <a:lnTo>
                      <a:pt x="395" y="774"/>
                    </a:lnTo>
                    <a:lnTo>
                      <a:pt x="398" y="776"/>
                    </a:lnTo>
                    <a:lnTo>
                      <a:pt x="400" y="776"/>
                    </a:lnTo>
                    <a:lnTo>
                      <a:pt x="400" y="776"/>
                    </a:lnTo>
                    <a:lnTo>
                      <a:pt x="400" y="774"/>
                    </a:lnTo>
                    <a:lnTo>
                      <a:pt x="402" y="772"/>
                    </a:lnTo>
                    <a:lnTo>
                      <a:pt x="402" y="774"/>
                    </a:lnTo>
                    <a:lnTo>
                      <a:pt x="402" y="774"/>
                    </a:lnTo>
                    <a:lnTo>
                      <a:pt x="404" y="776"/>
                    </a:lnTo>
                    <a:lnTo>
                      <a:pt x="404" y="776"/>
                    </a:lnTo>
                    <a:lnTo>
                      <a:pt x="406" y="776"/>
                    </a:lnTo>
                    <a:lnTo>
                      <a:pt x="408" y="774"/>
                    </a:lnTo>
                    <a:lnTo>
                      <a:pt x="408" y="772"/>
                    </a:lnTo>
                    <a:lnTo>
                      <a:pt x="408" y="766"/>
                    </a:lnTo>
                    <a:lnTo>
                      <a:pt x="408" y="766"/>
                    </a:lnTo>
                    <a:lnTo>
                      <a:pt x="406" y="763"/>
                    </a:lnTo>
                    <a:lnTo>
                      <a:pt x="404" y="761"/>
                    </a:lnTo>
                    <a:lnTo>
                      <a:pt x="404" y="759"/>
                    </a:lnTo>
                    <a:lnTo>
                      <a:pt x="402" y="753"/>
                    </a:lnTo>
                    <a:lnTo>
                      <a:pt x="400" y="744"/>
                    </a:lnTo>
                    <a:lnTo>
                      <a:pt x="396" y="738"/>
                    </a:lnTo>
                    <a:lnTo>
                      <a:pt x="395" y="736"/>
                    </a:lnTo>
                    <a:lnTo>
                      <a:pt x="391" y="734"/>
                    </a:lnTo>
                    <a:lnTo>
                      <a:pt x="391" y="734"/>
                    </a:lnTo>
                    <a:lnTo>
                      <a:pt x="389" y="732"/>
                    </a:lnTo>
                    <a:lnTo>
                      <a:pt x="387" y="730"/>
                    </a:lnTo>
                    <a:lnTo>
                      <a:pt x="385" y="726"/>
                    </a:lnTo>
                    <a:lnTo>
                      <a:pt x="387" y="725"/>
                    </a:lnTo>
                    <a:lnTo>
                      <a:pt x="389" y="725"/>
                    </a:lnTo>
                    <a:lnTo>
                      <a:pt x="389" y="726"/>
                    </a:lnTo>
                    <a:lnTo>
                      <a:pt x="391" y="730"/>
                    </a:lnTo>
                    <a:lnTo>
                      <a:pt x="391" y="732"/>
                    </a:lnTo>
                    <a:lnTo>
                      <a:pt x="393" y="732"/>
                    </a:lnTo>
                    <a:lnTo>
                      <a:pt x="396" y="734"/>
                    </a:lnTo>
                    <a:lnTo>
                      <a:pt x="398" y="736"/>
                    </a:lnTo>
                    <a:lnTo>
                      <a:pt x="398" y="734"/>
                    </a:lnTo>
                    <a:lnTo>
                      <a:pt x="400" y="732"/>
                    </a:lnTo>
                    <a:lnTo>
                      <a:pt x="400" y="732"/>
                    </a:lnTo>
                    <a:lnTo>
                      <a:pt x="402" y="734"/>
                    </a:lnTo>
                    <a:lnTo>
                      <a:pt x="406" y="732"/>
                    </a:lnTo>
                    <a:lnTo>
                      <a:pt x="406" y="728"/>
                    </a:lnTo>
                    <a:lnTo>
                      <a:pt x="404" y="719"/>
                    </a:lnTo>
                    <a:lnTo>
                      <a:pt x="404" y="717"/>
                    </a:lnTo>
                    <a:lnTo>
                      <a:pt x="402" y="713"/>
                    </a:lnTo>
                    <a:lnTo>
                      <a:pt x="402" y="711"/>
                    </a:lnTo>
                    <a:lnTo>
                      <a:pt x="402" y="709"/>
                    </a:lnTo>
                    <a:lnTo>
                      <a:pt x="404" y="707"/>
                    </a:lnTo>
                    <a:lnTo>
                      <a:pt x="404" y="706"/>
                    </a:lnTo>
                    <a:lnTo>
                      <a:pt x="404" y="704"/>
                    </a:lnTo>
                    <a:lnTo>
                      <a:pt x="406" y="706"/>
                    </a:lnTo>
                    <a:lnTo>
                      <a:pt x="406" y="706"/>
                    </a:lnTo>
                    <a:lnTo>
                      <a:pt x="406" y="706"/>
                    </a:lnTo>
                    <a:lnTo>
                      <a:pt x="406" y="706"/>
                    </a:lnTo>
                    <a:lnTo>
                      <a:pt x="408" y="704"/>
                    </a:lnTo>
                    <a:lnTo>
                      <a:pt x="408" y="700"/>
                    </a:lnTo>
                    <a:lnTo>
                      <a:pt x="406" y="696"/>
                    </a:lnTo>
                    <a:lnTo>
                      <a:pt x="406" y="694"/>
                    </a:lnTo>
                    <a:lnTo>
                      <a:pt x="400" y="687"/>
                    </a:lnTo>
                    <a:lnTo>
                      <a:pt x="398" y="685"/>
                    </a:lnTo>
                    <a:lnTo>
                      <a:pt x="400" y="683"/>
                    </a:lnTo>
                    <a:lnTo>
                      <a:pt x="398" y="679"/>
                    </a:lnTo>
                    <a:lnTo>
                      <a:pt x="398" y="679"/>
                    </a:lnTo>
                    <a:lnTo>
                      <a:pt x="396" y="671"/>
                    </a:lnTo>
                    <a:lnTo>
                      <a:pt x="396" y="669"/>
                    </a:lnTo>
                    <a:lnTo>
                      <a:pt x="396" y="668"/>
                    </a:lnTo>
                    <a:lnTo>
                      <a:pt x="398" y="666"/>
                    </a:lnTo>
                    <a:lnTo>
                      <a:pt x="398" y="666"/>
                    </a:lnTo>
                    <a:lnTo>
                      <a:pt x="398" y="662"/>
                    </a:lnTo>
                    <a:lnTo>
                      <a:pt x="395" y="656"/>
                    </a:lnTo>
                    <a:lnTo>
                      <a:pt x="395" y="652"/>
                    </a:lnTo>
                    <a:lnTo>
                      <a:pt x="393" y="650"/>
                    </a:lnTo>
                    <a:lnTo>
                      <a:pt x="389" y="648"/>
                    </a:lnTo>
                    <a:lnTo>
                      <a:pt x="391" y="647"/>
                    </a:lnTo>
                    <a:lnTo>
                      <a:pt x="393" y="645"/>
                    </a:lnTo>
                    <a:lnTo>
                      <a:pt x="393" y="641"/>
                    </a:lnTo>
                    <a:lnTo>
                      <a:pt x="391" y="637"/>
                    </a:lnTo>
                    <a:lnTo>
                      <a:pt x="389" y="633"/>
                    </a:lnTo>
                    <a:lnTo>
                      <a:pt x="389" y="631"/>
                    </a:lnTo>
                    <a:lnTo>
                      <a:pt x="389" y="629"/>
                    </a:lnTo>
                    <a:lnTo>
                      <a:pt x="387" y="626"/>
                    </a:lnTo>
                    <a:lnTo>
                      <a:pt x="387" y="624"/>
                    </a:lnTo>
                    <a:lnTo>
                      <a:pt x="387" y="622"/>
                    </a:lnTo>
                    <a:lnTo>
                      <a:pt x="389" y="620"/>
                    </a:lnTo>
                    <a:lnTo>
                      <a:pt x="391" y="618"/>
                    </a:lnTo>
                    <a:lnTo>
                      <a:pt x="391" y="616"/>
                    </a:lnTo>
                    <a:lnTo>
                      <a:pt x="391" y="612"/>
                    </a:lnTo>
                    <a:lnTo>
                      <a:pt x="391" y="610"/>
                    </a:lnTo>
                    <a:lnTo>
                      <a:pt x="391" y="609"/>
                    </a:lnTo>
                    <a:lnTo>
                      <a:pt x="389" y="607"/>
                    </a:lnTo>
                    <a:lnTo>
                      <a:pt x="385" y="607"/>
                    </a:lnTo>
                    <a:lnTo>
                      <a:pt x="385" y="605"/>
                    </a:lnTo>
                    <a:lnTo>
                      <a:pt x="381" y="597"/>
                    </a:lnTo>
                    <a:lnTo>
                      <a:pt x="381" y="595"/>
                    </a:lnTo>
                    <a:lnTo>
                      <a:pt x="377" y="593"/>
                    </a:lnTo>
                    <a:lnTo>
                      <a:pt x="377" y="591"/>
                    </a:lnTo>
                    <a:lnTo>
                      <a:pt x="377" y="588"/>
                    </a:lnTo>
                    <a:lnTo>
                      <a:pt x="379" y="584"/>
                    </a:lnTo>
                    <a:lnTo>
                      <a:pt x="379" y="578"/>
                    </a:lnTo>
                    <a:lnTo>
                      <a:pt x="381" y="574"/>
                    </a:lnTo>
                    <a:lnTo>
                      <a:pt x="387" y="567"/>
                    </a:lnTo>
                    <a:lnTo>
                      <a:pt x="391" y="565"/>
                    </a:lnTo>
                    <a:lnTo>
                      <a:pt x="393" y="563"/>
                    </a:lnTo>
                    <a:lnTo>
                      <a:pt x="393" y="561"/>
                    </a:lnTo>
                    <a:lnTo>
                      <a:pt x="393" y="561"/>
                    </a:lnTo>
                    <a:lnTo>
                      <a:pt x="393" y="559"/>
                    </a:lnTo>
                    <a:lnTo>
                      <a:pt x="389" y="559"/>
                    </a:lnTo>
                    <a:lnTo>
                      <a:pt x="387" y="559"/>
                    </a:lnTo>
                    <a:lnTo>
                      <a:pt x="387" y="559"/>
                    </a:lnTo>
                    <a:lnTo>
                      <a:pt x="377" y="555"/>
                    </a:lnTo>
                    <a:lnTo>
                      <a:pt x="375" y="555"/>
                    </a:lnTo>
                    <a:lnTo>
                      <a:pt x="374" y="555"/>
                    </a:lnTo>
                    <a:lnTo>
                      <a:pt x="374" y="557"/>
                    </a:lnTo>
                    <a:lnTo>
                      <a:pt x="372" y="557"/>
                    </a:lnTo>
                    <a:lnTo>
                      <a:pt x="372" y="557"/>
                    </a:lnTo>
                    <a:lnTo>
                      <a:pt x="370" y="557"/>
                    </a:lnTo>
                    <a:lnTo>
                      <a:pt x="362" y="555"/>
                    </a:lnTo>
                    <a:lnTo>
                      <a:pt x="360" y="553"/>
                    </a:lnTo>
                    <a:lnTo>
                      <a:pt x="358" y="551"/>
                    </a:lnTo>
                    <a:lnTo>
                      <a:pt x="358" y="548"/>
                    </a:lnTo>
                    <a:lnTo>
                      <a:pt x="360" y="546"/>
                    </a:lnTo>
                    <a:lnTo>
                      <a:pt x="362" y="540"/>
                    </a:lnTo>
                    <a:lnTo>
                      <a:pt x="368" y="525"/>
                    </a:lnTo>
                    <a:lnTo>
                      <a:pt x="370" y="521"/>
                    </a:lnTo>
                    <a:lnTo>
                      <a:pt x="368" y="519"/>
                    </a:lnTo>
                    <a:lnTo>
                      <a:pt x="366" y="521"/>
                    </a:lnTo>
                    <a:lnTo>
                      <a:pt x="364" y="523"/>
                    </a:lnTo>
                    <a:lnTo>
                      <a:pt x="362" y="525"/>
                    </a:lnTo>
                    <a:lnTo>
                      <a:pt x="360" y="521"/>
                    </a:lnTo>
                    <a:lnTo>
                      <a:pt x="360" y="519"/>
                    </a:lnTo>
                    <a:lnTo>
                      <a:pt x="356" y="517"/>
                    </a:lnTo>
                    <a:lnTo>
                      <a:pt x="353" y="515"/>
                    </a:lnTo>
                    <a:lnTo>
                      <a:pt x="351" y="510"/>
                    </a:lnTo>
                    <a:lnTo>
                      <a:pt x="349" y="508"/>
                    </a:lnTo>
                    <a:lnTo>
                      <a:pt x="347" y="508"/>
                    </a:lnTo>
                    <a:lnTo>
                      <a:pt x="345" y="508"/>
                    </a:lnTo>
                    <a:lnTo>
                      <a:pt x="343" y="508"/>
                    </a:lnTo>
                    <a:lnTo>
                      <a:pt x="343" y="506"/>
                    </a:lnTo>
                    <a:lnTo>
                      <a:pt x="343" y="504"/>
                    </a:lnTo>
                    <a:lnTo>
                      <a:pt x="343" y="504"/>
                    </a:lnTo>
                    <a:lnTo>
                      <a:pt x="343" y="502"/>
                    </a:lnTo>
                    <a:lnTo>
                      <a:pt x="343" y="502"/>
                    </a:lnTo>
                    <a:lnTo>
                      <a:pt x="341" y="502"/>
                    </a:lnTo>
                    <a:lnTo>
                      <a:pt x="341" y="500"/>
                    </a:lnTo>
                    <a:lnTo>
                      <a:pt x="339" y="498"/>
                    </a:lnTo>
                    <a:lnTo>
                      <a:pt x="343" y="487"/>
                    </a:lnTo>
                    <a:lnTo>
                      <a:pt x="343" y="485"/>
                    </a:lnTo>
                    <a:lnTo>
                      <a:pt x="341" y="483"/>
                    </a:lnTo>
                    <a:lnTo>
                      <a:pt x="341" y="481"/>
                    </a:lnTo>
                    <a:lnTo>
                      <a:pt x="343" y="481"/>
                    </a:lnTo>
                    <a:lnTo>
                      <a:pt x="345" y="477"/>
                    </a:lnTo>
                    <a:lnTo>
                      <a:pt x="345" y="475"/>
                    </a:lnTo>
                    <a:lnTo>
                      <a:pt x="345" y="475"/>
                    </a:lnTo>
                    <a:lnTo>
                      <a:pt x="345" y="473"/>
                    </a:lnTo>
                    <a:lnTo>
                      <a:pt x="345" y="472"/>
                    </a:lnTo>
                    <a:lnTo>
                      <a:pt x="345" y="472"/>
                    </a:lnTo>
                    <a:lnTo>
                      <a:pt x="347" y="470"/>
                    </a:lnTo>
                    <a:lnTo>
                      <a:pt x="349" y="470"/>
                    </a:lnTo>
                    <a:lnTo>
                      <a:pt x="353" y="470"/>
                    </a:lnTo>
                    <a:lnTo>
                      <a:pt x="354" y="470"/>
                    </a:lnTo>
                    <a:lnTo>
                      <a:pt x="356" y="468"/>
                    </a:lnTo>
                    <a:lnTo>
                      <a:pt x="360" y="462"/>
                    </a:lnTo>
                    <a:lnTo>
                      <a:pt x="362" y="462"/>
                    </a:lnTo>
                    <a:lnTo>
                      <a:pt x="362" y="458"/>
                    </a:lnTo>
                    <a:lnTo>
                      <a:pt x="362" y="456"/>
                    </a:lnTo>
                    <a:lnTo>
                      <a:pt x="360" y="453"/>
                    </a:lnTo>
                    <a:lnTo>
                      <a:pt x="360" y="453"/>
                    </a:lnTo>
                    <a:lnTo>
                      <a:pt x="362" y="449"/>
                    </a:lnTo>
                    <a:lnTo>
                      <a:pt x="364" y="447"/>
                    </a:lnTo>
                    <a:lnTo>
                      <a:pt x="364" y="447"/>
                    </a:lnTo>
                    <a:lnTo>
                      <a:pt x="360" y="445"/>
                    </a:lnTo>
                    <a:lnTo>
                      <a:pt x="360" y="443"/>
                    </a:lnTo>
                    <a:lnTo>
                      <a:pt x="358" y="441"/>
                    </a:lnTo>
                    <a:lnTo>
                      <a:pt x="356" y="439"/>
                    </a:lnTo>
                    <a:lnTo>
                      <a:pt x="356" y="439"/>
                    </a:lnTo>
                    <a:lnTo>
                      <a:pt x="358" y="435"/>
                    </a:lnTo>
                    <a:lnTo>
                      <a:pt x="358" y="433"/>
                    </a:lnTo>
                    <a:lnTo>
                      <a:pt x="356" y="432"/>
                    </a:lnTo>
                    <a:lnTo>
                      <a:pt x="356" y="430"/>
                    </a:lnTo>
                    <a:lnTo>
                      <a:pt x="358" y="428"/>
                    </a:lnTo>
                    <a:lnTo>
                      <a:pt x="360" y="428"/>
                    </a:lnTo>
                    <a:lnTo>
                      <a:pt x="362" y="426"/>
                    </a:lnTo>
                    <a:lnTo>
                      <a:pt x="364" y="426"/>
                    </a:lnTo>
                    <a:lnTo>
                      <a:pt x="364" y="426"/>
                    </a:lnTo>
                    <a:lnTo>
                      <a:pt x="364" y="424"/>
                    </a:lnTo>
                    <a:lnTo>
                      <a:pt x="366" y="422"/>
                    </a:lnTo>
                    <a:lnTo>
                      <a:pt x="366" y="420"/>
                    </a:lnTo>
                    <a:lnTo>
                      <a:pt x="366" y="420"/>
                    </a:lnTo>
                    <a:lnTo>
                      <a:pt x="366" y="418"/>
                    </a:lnTo>
                    <a:lnTo>
                      <a:pt x="366" y="416"/>
                    </a:lnTo>
                    <a:lnTo>
                      <a:pt x="364" y="413"/>
                    </a:lnTo>
                    <a:lnTo>
                      <a:pt x="362" y="409"/>
                    </a:lnTo>
                    <a:lnTo>
                      <a:pt x="358" y="405"/>
                    </a:lnTo>
                    <a:lnTo>
                      <a:pt x="354" y="405"/>
                    </a:lnTo>
                    <a:lnTo>
                      <a:pt x="354" y="409"/>
                    </a:lnTo>
                    <a:lnTo>
                      <a:pt x="353" y="411"/>
                    </a:lnTo>
                    <a:lnTo>
                      <a:pt x="349" y="411"/>
                    </a:lnTo>
                    <a:lnTo>
                      <a:pt x="343" y="409"/>
                    </a:lnTo>
                    <a:lnTo>
                      <a:pt x="335" y="409"/>
                    </a:lnTo>
                    <a:lnTo>
                      <a:pt x="332" y="409"/>
                    </a:lnTo>
                    <a:lnTo>
                      <a:pt x="322" y="401"/>
                    </a:lnTo>
                    <a:lnTo>
                      <a:pt x="290" y="384"/>
                    </a:lnTo>
                    <a:lnTo>
                      <a:pt x="286" y="382"/>
                    </a:lnTo>
                    <a:lnTo>
                      <a:pt x="286" y="382"/>
                    </a:lnTo>
                    <a:lnTo>
                      <a:pt x="284" y="380"/>
                    </a:lnTo>
                    <a:lnTo>
                      <a:pt x="284" y="378"/>
                    </a:lnTo>
                    <a:lnTo>
                      <a:pt x="284" y="378"/>
                    </a:lnTo>
                    <a:lnTo>
                      <a:pt x="282" y="376"/>
                    </a:lnTo>
                    <a:lnTo>
                      <a:pt x="282" y="369"/>
                    </a:lnTo>
                    <a:lnTo>
                      <a:pt x="282" y="369"/>
                    </a:lnTo>
                    <a:lnTo>
                      <a:pt x="280" y="367"/>
                    </a:lnTo>
                    <a:lnTo>
                      <a:pt x="280" y="365"/>
                    </a:lnTo>
                    <a:lnTo>
                      <a:pt x="278" y="363"/>
                    </a:lnTo>
                    <a:lnTo>
                      <a:pt x="274" y="363"/>
                    </a:lnTo>
                    <a:lnTo>
                      <a:pt x="276" y="357"/>
                    </a:lnTo>
                    <a:lnTo>
                      <a:pt x="276" y="355"/>
                    </a:lnTo>
                    <a:lnTo>
                      <a:pt x="278" y="354"/>
                    </a:lnTo>
                    <a:lnTo>
                      <a:pt x="278" y="348"/>
                    </a:lnTo>
                    <a:lnTo>
                      <a:pt x="280" y="346"/>
                    </a:lnTo>
                    <a:lnTo>
                      <a:pt x="282" y="346"/>
                    </a:lnTo>
                    <a:lnTo>
                      <a:pt x="282" y="346"/>
                    </a:lnTo>
                    <a:lnTo>
                      <a:pt x="282" y="344"/>
                    </a:lnTo>
                    <a:lnTo>
                      <a:pt x="284" y="342"/>
                    </a:lnTo>
                    <a:lnTo>
                      <a:pt x="284" y="340"/>
                    </a:lnTo>
                    <a:lnTo>
                      <a:pt x="286" y="340"/>
                    </a:lnTo>
                    <a:lnTo>
                      <a:pt x="288" y="338"/>
                    </a:lnTo>
                    <a:lnTo>
                      <a:pt x="290" y="336"/>
                    </a:lnTo>
                    <a:lnTo>
                      <a:pt x="290" y="335"/>
                    </a:lnTo>
                    <a:lnTo>
                      <a:pt x="290" y="333"/>
                    </a:lnTo>
                    <a:lnTo>
                      <a:pt x="288" y="327"/>
                    </a:lnTo>
                    <a:lnTo>
                      <a:pt x="288" y="327"/>
                    </a:lnTo>
                    <a:lnTo>
                      <a:pt x="286" y="325"/>
                    </a:lnTo>
                    <a:lnTo>
                      <a:pt x="286" y="325"/>
                    </a:lnTo>
                    <a:lnTo>
                      <a:pt x="293" y="321"/>
                    </a:lnTo>
                    <a:lnTo>
                      <a:pt x="295" y="321"/>
                    </a:lnTo>
                    <a:lnTo>
                      <a:pt x="297" y="321"/>
                    </a:lnTo>
                    <a:lnTo>
                      <a:pt x="299" y="323"/>
                    </a:lnTo>
                    <a:lnTo>
                      <a:pt x="301" y="325"/>
                    </a:lnTo>
                    <a:lnTo>
                      <a:pt x="303" y="327"/>
                    </a:lnTo>
                    <a:lnTo>
                      <a:pt x="303" y="331"/>
                    </a:lnTo>
                    <a:lnTo>
                      <a:pt x="305" y="331"/>
                    </a:lnTo>
                    <a:lnTo>
                      <a:pt x="309" y="331"/>
                    </a:lnTo>
                    <a:lnTo>
                      <a:pt x="313" y="333"/>
                    </a:lnTo>
                    <a:lnTo>
                      <a:pt x="313" y="331"/>
                    </a:lnTo>
                    <a:lnTo>
                      <a:pt x="314" y="327"/>
                    </a:lnTo>
                    <a:lnTo>
                      <a:pt x="320" y="321"/>
                    </a:lnTo>
                    <a:lnTo>
                      <a:pt x="320" y="317"/>
                    </a:lnTo>
                    <a:lnTo>
                      <a:pt x="322" y="314"/>
                    </a:lnTo>
                    <a:lnTo>
                      <a:pt x="324" y="310"/>
                    </a:lnTo>
                    <a:lnTo>
                      <a:pt x="326" y="306"/>
                    </a:lnTo>
                    <a:lnTo>
                      <a:pt x="326" y="298"/>
                    </a:lnTo>
                    <a:lnTo>
                      <a:pt x="326" y="289"/>
                    </a:lnTo>
                    <a:lnTo>
                      <a:pt x="328" y="287"/>
                    </a:lnTo>
                    <a:lnTo>
                      <a:pt x="332" y="287"/>
                    </a:lnTo>
                    <a:lnTo>
                      <a:pt x="333" y="287"/>
                    </a:lnTo>
                    <a:lnTo>
                      <a:pt x="337" y="289"/>
                    </a:lnTo>
                    <a:lnTo>
                      <a:pt x="341" y="289"/>
                    </a:lnTo>
                    <a:lnTo>
                      <a:pt x="341" y="291"/>
                    </a:lnTo>
                    <a:lnTo>
                      <a:pt x="343" y="291"/>
                    </a:lnTo>
                    <a:lnTo>
                      <a:pt x="343" y="289"/>
                    </a:lnTo>
                    <a:lnTo>
                      <a:pt x="345" y="289"/>
                    </a:lnTo>
                    <a:lnTo>
                      <a:pt x="347" y="287"/>
                    </a:lnTo>
                    <a:lnTo>
                      <a:pt x="347" y="287"/>
                    </a:lnTo>
                    <a:lnTo>
                      <a:pt x="353" y="287"/>
                    </a:lnTo>
                    <a:lnTo>
                      <a:pt x="356" y="287"/>
                    </a:lnTo>
                    <a:lnTo>
                      <a:pt x="364" y="291"/>
                    </a:lnTo>
                    <a:lnTo>
                      <a:pt x="370" y="291"/>
                    </a:lnTo>
                    <a:lnTo>
                      <a:pt x="372" y="291"/>
                    </a:lnTo>
                    <a:lnTo>
                      <a:pt x="374" y="287"/>
                    </a:lnTo>
                    <a:lnTo>
                      <a:pt x="374" y="287"/>
                    </a:lnTo>
                    <a:lnTo>
                      <a:pt x="375" y="287"/>
                    </a:lnTo>
                    <a:lnTo>
                      <a:pt x="375" y="287"/>
                    </a:lnTo>
                    <a:lnTo>
                      <a:pt x="375" y="287"/>
                    </a:lnTo>
                    <a:lnTo>
                      <a:pt x="385" y="291"/>
                    </a:lnTo>
                    <a:lnTo>
                      <a:pt x="389" y="291"/>
                    </a:lnTo>
                    <a:lnTo>
                      <a:pt x="387" y="287"/>
                    </a:lnTo>
                    <a:lnTo>
                      <a:pt x="389" y="287"/>
                    </a:lnTo>
                    <a:lnTo>
                      <a:pt x="389" y="285"/>
                    </a:lnTo>
                    <a:lnTo>
                      <a:pt x="389" y="283"/>
                    </a:lnTo>
                    <a:lnTo>
                      <a:pt x="389" y="281"/>
                    </a:lnTo>
                    <a:lnTo>
                      <a:pt x="391" y="281"/>
                    </a:lnTo>
                    <a:lnTo>
                      <a:pt x="395" y="277"/>
                    </a:lnTo>
                    <a:lnTo>
                      <a:pt x="395" y="276"/>
                    </a:lnTo>
                    <a:lnTo>
                      <a:pt x="396" y="274"/>
                    </a:lnTo>
                    <a:lnTo>
                      <a:pt x="396" y="274"/>
                    </a:lnTo>
                    <a:lnTo>
                      <a:pt x="395" y="272"/>
                    </a:lnTo>
                    <a:lnTo>
                      <a:pt x="389" y="272"/>
                    </a:lnTo>
                    <a:lnTo>
                      <a:pt x="385" y="272"/>
                    </a:lnTo>
                    <a:lnTo>
                      <a:pt x="383" y="270"/>
                    </a:lnTo>
                    <a:lnTo>
                      <a:pt x="383" y="268"/>
                    </a:lnTo>
                    <a:lnTo>
                      <a:pt x="379" y="268"/>
                    </a:lnTo>
                    <a:lnTo>
                      <a:pt x="379" y="268"/>
                    </a:lnTo>
                    <a:lnTo>
                      <a:pt x="377" y="268"/>
                    </a:lnTo>
                    <a:lnTo>
                      <a:pt x="375" y="264"/>
                    </a:lnTo>
                    <a:lnTo>
                      <a:pt x="374" y="262"/>
                    </a:lnTo>
                    <a:lnTo>
                      <a:pt x="374" y="260"/>
                    </a:lnTo>
                    <a:lnTo>
                      <a:pt x="374" y="260"/>
                    </a:lnTo>
                    <a:lnTo>
                      <a:pt x="372" y="258"/>
                    </a:lnTo>
                    <a:lnTo>
                      <a:pt x="372" y="258"/>
                    </a:lnTo>
                    <a:lnTo>
                      <a:pt x="375" y="253"/>
                    </a:lnTo>
                    <a:lnTo>
                      <a:pt x="374" y="251"/>
                    </a:lnTo>
                    <a:lnTo>
                      <a:pt x="374" y="249"/>
                    </a:lnTo>
                    <a:lnTo>
                      <a:pt x="372" y="247"/>
                    </a:lnTo>
                    <a:lnTo>
                      <a:pt x="370" y="245"/>
                    </a:lnTo>
                    <a:lnTo>
                      <a:pt x="370" y="243"/>
                    </a:lnTo>
                    <a:lnTo>
                      <a:pt x="366" y="243"/>
                    </a:lnTo>
                    <a:lnTo>
                      <a:pt x="366" y="245"/>
                    </a:lnTo>
                    <a:lnTo>
                      <a:pt x="364" y="245"/>
                    </a:lnTo>
                    <a:lnTo>
                      <a:pt x="362" y="245"/>
                    </a:lnTo>
                    <a:lnTo>
                      <a:pt x="362" y="245"/>
                    </a:lnTo>
                    <a:lnTo>
                      <a:pt x="360" y="245"/>
                    </a:lnTo>
                    <a:lnTo>
                      <a:pt x="360" y="247"/>
                    </a:lnTo>
                    <a:lnTo>
                      <a:pt x="358" y="249"/>
                    </a:lnTo>
                    <a:lnTo>
                      <a:pt x="356" y="249"/>
                    </a:lnTo>
                    <a:lnTo>
                      <a:pt x="356" y="249"/>
                    </a:lnTo>
                    <a:lnTo>
                      <a:pt x="353" y="249"/>
                    </a:lnTo>
                    <a:lnTo>
                      <a:pt x="349" y="247"/>
                    </a:lnTo>
                    <a:lnTo>
                      <a:pt x="347" y="245"/>
                    </a:lnTo>
                    <a:lnTo>
                      <a:pt x="341" y="245"/>
                    </a:lnTo>
                    <a:lnTo>
                      <a:pt x="339" y="245"/>
                    </a:lnTo>
                    <a:lnTo>
                      <a:pt x="337" y="243"/>
                    </a:lnTo>
                    <a:lnTo>
                      <a:pt x="337" y="241"/>
                    </a:lnTo>
                    <a:lnTo>
                      <a:pt x="333" y="239"/>
                    </a:lnTo>
                    <a:lnTo>
                      <a:pt x="332" y="236"/>
                    </a:lnTo>
                    <a:lnTo>
                      <a:pt x="328" y="234"/>
                    </a:lnTo>
                    <a:lnTo>
                      <a:pt x="326" y="232"/>
                    </a:lnTo>
                    <a:lnTo>
                      <a:pt x="324" y="222"/>
                    </a:lnTo>
                    <a:lnTo>
                      <a:pt x="322" y="218"/>
                    </a:lnTo>
                    <a:lnTo>
                      <a:pt x="313" y="213"/>
                    </a:lnTo>
                    <a:lnTo>
                      <a:pt x="305" y="205"/>
                    </a:lnTo>
                    <a:lnTo>
                      <a:pt x="301" y="201"/>
                    </a:lnTo>
                    <a:lnTo>
                      <a:pt x="295" y="203"/>
                    </a:lnTo>
                    <a:lnTo>
                      <a:pt x="293" y="205"/>
                    </a:lnTo>
                    <a:lnTo>
                      <a:pt x="292" y="207"/>
                    </a:lnTo>
                    <a:lnTo>
                      <a:pt x="288" y="207"/>
                    </a:lnTo>
                    <a:lnTo>
                      <a:pt x="286" y="205"/>
                    </a:lnTo>
                    <a:lnTo>
                      <a:pt x="286" y="201"/>
                    </a:lnTo>
                    <a:lnTo>
                      <a:pt x="286" y="201"/>
                    </a:lnTo>
                    <a:lnTo>
                      <a:pt x="284" y="198"/>
                    </a:lnTo>
                    <a:lnTo>
                      <a:pt x="284" y="198"/>
                    </a:lnTo>
                    <a:lnTo>
                      <a:pt x="284" y="196"/>
                    </a:lnTo>
                    <a:lnTo>
                      <a:pt x="282" y="194"/>
                    </a:lnTo>
                    <a:lnTo>
                      <a:pt x="282" y="188"/>
                    </a:lnTo>
                    <a:lnTo>
                      <a:pt x="282" y="186"/>
                    </a:lnTo>
                    <a:lnTo>
                      <a:pt x="282" y="186"/>
                    </a:lnTo>
                    <a:lnTo>
                      <a:pt x="284" y="186"/>
                    </a:lnTo>
                    <a:lnTo>
                      <a:pt x="286" y="179"/>
                    </a:lnTo>
                    <a:lnTo>
                      <a:pt x="288" y="173"/>
                    </a:lnTo>
                    <a:lnTo>
                      <a:pt x="292" y="171"/>
                    </a:lnTo>
                    <a:lnTo>
                      <a:pt x="292" y="167"/>
                    </a:lnTo>
                    <a:lnTo>
                      <a:pt x="292" y="167"/>
                    </a:lnTo>
                    <a:lnTo>
                      <a:pt x="292" y="165"/>
                    </a:lnTo>
                    <a:lnTo>
                      <a:pt x="290" y="165"/>
                    </a:lnTo>
                    <a:lnTo>
                      <a:pt x="290" y="165"/>
                    </a:lnTo>
                    <a:lnTo>
                      <a:pt x="290" y="163"/>
                    </a:lnTo>
                    <a:lnTo>
                      <a:pt x="290" y="161"/>
                    </a:lnTo>
                    <a:lnTo>
                      <a:pt x="290" y="161"/>
                    </a:lnTo>
                    <a:lnTo>
                      <a:pt x="292" y="158"/>
                    </a:lnTo>
                    <a:lnTo>
                      <a:pt x="293" y="156"/>
                    </a:lnTo>
                    <a:lnTo>
                      <a:pt x="297" y="152"/>
                    </a:lnTo>
                    <a:lnTo>
                      <a:pt x="297" y="152"/>
                    </a:lnTo>
                    <a:lnTo>
                      <a:pt x="299" y="150"/>
                    </a:lnTo>
                    <a:lnTo>
                      <a:pt x="299" y="150"/>
                    </a:lnTo>
                    <a:lnTo>
                      <a:pt x="301" y="150"/>
                    </a:lnTo>
                    <a:lnTo>
                      <a:pt x="303" y="148"/>
                    </a:lnTo>
                    <a:lnTo>
                      <a:pt x="311" y="146"/>
                    </a:lnTo>
                    <a:lnTo>
                      <a:pt x="313" y="144"/>
                    </a:lnTo>
                    <a:lnTo>
                      <a:pt x="314" y="142"/>
                    </a:lnTo>
                    <a:lnTo>
                      <a:pt x="314" y="139"/>
                    </a:lnTo>
                    <a:lnTo>
                      <a:pt x="314" y="135"/>
                    </a:lnTo>
                    <a:lnTo>
                      <a:pt x="316" y="133"/>
                    </a:lnTo>
                    <a:lnTo>
                      <a:pt x="318" y="131"/>
                    </a:lnTo>
                    <a:lnTo>
                      <a:pt x="324" y="127"/>
                    </a:lnTo>
                    <a:lnTo>
                      <a:pt x="326" y="127"/>
                    </a:lnTo>
                    <a:lnTo>
                      <a:pt x="326" y="125"/>
                    </a:lnTo>
                    <a:lnTo>
                      <a:pt x="326" y="125"/>
                    </a:lnTo>
                    <a:lnTo>
                      <a:pt x="328" y="125"/>
                    </a:lnTo>
                    <a:lnTo>
                      <a:pt x="328" y="125"/>
                    </a:lnTo>
                    <a:lnTo>
                      <a:pt x="330" y="125"/>
                    </a:lnTo>
                    <a:lnTo>
                      <a:pt x="332" y="125"/>
                    </a:lnTo>
                    <a:lnTo>
                      <a:pt x="332" y="125"/>
                    </a:lnTo>
                    <a:lnTo>
                      <a:pt x="335" y="125"/>
                    </a:lnTo>
                    <a:lnTo>
                      <a:pt x="333" y="121"/>
                    </a:lnTo>
                    <a:lnTo>
                      <a:pt x="332" y="114"/>
                    </a:lnTo>
                    <a:lnTo>
                      <a:pt x="330" y="112"/>
                    </a:lnTo>
                    <a:lnTo>
                      <a:pt x="326" y="110"/>
                    </a:lnTo>
                    <a:lnTo>
                      <a:pt x="320" y="108"/>
                    </a:lnTo>
                    <a:lnTo>
                      <a:pt x="316" y="108"/>
                    </a:lnTo>
                    <a:lnTo>
                      <a:pt x="316" y="108"/>
                    </a:lnTo>
                    <a:lnTo>
                      <a:pt x="314" y="108"/>
                    </a:lnTo>
                    <a:lnTo>
                      <a:pt x="314" y="112"/>
                    </a:lnTo>
                    <a:lnTo>
                      <a:pt x="314" y="112"/>
                    </a:lnTo>
                    <a:lnTo>
                      <a:pt x="313" y="112"/>
                    </a:lnTo>
                    <a:lnTo>
                      <a:pt x="313" y="110"/>
                    </a:lnTo>
                    <a:lnTo>
                      <a:pt x="313" y="108"/>
                    </a:lnTo>
                    <a:lnTo>
                      <a:pt x="313" y="106"/>
                    </a:lnTo>
                    <a:lnTo>
                      <a:pt x="313" y="106"/>
                    </a:lnTo>
                    <a:lnTo>
                      <a:pt x="314" y="102"/>
                    </a:lnTo>
                    <a:lnTo>
                      <a:pt x="316" y="95"/>
                    </a:lnTo>
                    <a:lnTo>
                      <a:pt x="318" y="93"/>
                    </a:lnTo>
                    <a:lnTo>
                      <a:pt x="318" y="89"/>
                    </a:lnTo>
                    <a:lnTo>
                      <a:pt x="320" y="87"/>
                    </a:lnTo>
                    <a:lnTo>
                      <a:pt x="322" y="89"/>
                    </a:lnTo>
                    <a:lnTo>
                      <a:pt x="322" y="91"/>
                    </a:lnTo>
                    <a:lnTo>
                      <a:pt x="322" y="95"/>
                    </a:lnTo>
                    <a:lnTo>
                      <a:pt x="322" y="97"/>
                    </a:lnTo>
                    <a:lnTo>
                      <a:pt x="324" y="99"/>
                    </a:lnTo>
                    <a:lnTo>
                      <a:pt x="328" y="101"/>
                    </a:lnTo>
                    <a:lnTo>
                      <a:pt x="330" y="101"/>
                    </a:lnTo>
                    <a:lnTo>
                      <a:pt x="332" y="102"/>
                    </a:lnTo>
                    <a:lnTo>
                      <a:pt x="333" y="104"/>
                    </a:lnTo>
                    <a:lnTo>
                      <a:pt x="335" y="106"/>
                    </a:lnTo>
                    <a:lnTo>
                      <a:pt x="335" y="106"/>
                    </a:lnTo>
                    <a:lnTo>
                      <a:pt x="339" y="108"/>
                    </a:lnTo>
                    <a:lnTo>
                      <a:pt x="341" y="110"/>
                    </a:lnTo>
                    <a:lnTo>
                      <a:pt x="343" y="110"/>
                    </a:lnTo>
                    <a:lnTo>
                      <a:pt x="345" y="110"/>
                    </a:lnTo>
                    <a:lnTo>
                      <a:pt x="347" y="110"/>
                    </a:lnTo>
                    <a:lnTo>
                      <a:pt x="347" y="112"/>
                    </a:lnTo>
                    <a:lnTo>
                      <a:pt x="349" y="114"/>
                    </a:lnTo>
                    <a:lnTo>
                      <a:pt x="349" y="116"/>
                    </a:lnTo>
                    <a:lnTo>
                      <a:pt x="351" y="116"/>
                    </a:lnTo>
                    <a:lnTo>
                      <a:pt x="353" y="116"/>
                    </a:lnTo>
                    <a:lnTo>
                      <a:pt x="354" y="118"/>
                    </a:lnTo>
                    <a:lnTo>
                      <a:pt x="354" y="118"/>
                    </a:lnTo>
                    <a:lnTo>
                      <a:pt x="354" y="120"/>
                    </a:lnTo>
                    <a:lnTo>
                      <a:pt x="354" y="120"/>
                    </a:lnTo>
                    <a:lnTo>
                      <a:pt x="354" y="121"/>
                    </a:lnTo>
                    <a:lnTo>
                      <a:pt x="356" y="121"/>
                    </a:lnTo>
                    <a:lnTo>
                      <a:pt x="356" y="123"/>
                    </a:lnTo>
                    <a:lnTo>
                      <a:pt x="356" y="125"/>
                    </a:lnTo>
                    <a:lnTo>
                      <a:pt x="360" y="125"/>
                    </a:lnTo>
                    <a:lnTo>
                      <a:pt x="362" y="127"/>
                    </a:lnTo>
                    <a:lnTo>
                      <a:pt x="362" y="129"/>
                    </a:lnTo>
                    <a:lnTo>
                      <a:pt x="360" y="131"/>
                    </a:lnTo>
                    <a:lnTo>
                      <a:pt x="358" y="133"/>
                    </a:lnTo>
                    <a:lnTo>
                      <a:pt x="354" y="135"/>
                    </a:lnTo>
                    <a:lnTo>
                      <a:pt x="353" y="137"/>
                    </a:lnTo>
                    <a:lnTo>
                      <a:pt x="356" y="139"/>
                    </a:lnTo>
                    <a:lnTo>
                      <a:pt x="366" y="135"/>
                    </a:lnTo>
                    <a:lnTo>
                      <a:pt x="370" y="137"/>
                    </a:lnTo>
                    <a:lnTo>
                      <a:pt x="372" y="139"/>
                    </a:lnTo>
                    <a:lnTo>
                      <a:pt x="372" y="140"/>
                    </a:lnTo>
                    <a:lnTo>
                      <a:pt x="374" y="142"/>
                    </a:lnTo>
                    <a:lnTo>
                      <a:pt x="375" y="144"/>
                    </a:lnTo>
                    <a:lnTo>
                      <a:pt x="377" y="142"/>
                    </a:lnTo>
                    <a:lnTo>
                      <a:pt x="379" y="139"/>
                    </a:lnTo>
                    <a:lnTo>
                      <a:pt x="381" y="137"/>
                    </a:lnTo>
                    <a:lnTo>
                      <a:pt x="385" y="137"/>
                    </a:lnTo>
                    <a:lnTo>
                      <a:pt x="391" y="142"/>
                    </a:lnTo>
                    <a:lnTo>
                      <a:pt x="395" y="144"/>
                    </a:lnTo>
                    <a:lnTo>
                      <a:pt x="400" y="142"/>
                    </a:lnTo>
                    <a:lnTo>
                      <a:pt x="402" y="140"/>
                    </a:lnTo>
                    <a:lnTo>
                      <a:pt x="402" y="139"/>
                    </a:lnTo>
                    <a:lnTo>
                      <a:pt x="400" y="137"/>
                    </a:lnTo>
                    <a:lnTo>
                      <a:pt x="398" y="137"/>
                    </a:lnTo>
                    <a:lnTo>
                      <a:pt x="398" y="137"/>
                    </a:lnTo>
                    <a:lnTo>
                      <a:pt x="398" y="133"/>
                    </a:lnTo>
                    <a:lnTo>
                      <a:pt x="398" y="135"/>
                    </a:lnTo>
                    <a:lnTo>
                      <a:pt x="396" y="135"/>
                    </a:lnTo>
                    <a:lnTo>
                      <a:pt x="395" y="135"/>
                    </a:lnTo>
                    <a:lnTo>
                      <a:pt x="395" y="133"/>
                    </a:lnTo>
                    <a:lnTo>
                      <a:pt x="393" y="129"/>
                    </a:lnTo>
                    <a:lnTo>
                      <a:pt x="391" y="127"/>
                    </a:lnTo>
                    <a:lnTo>
                      <a:pt x="387" y="127"/>
                    </a:lnTo>
                    <a:lnTo>
                      <a:pt x="385" y="123"/>
                    </a:lnTo>
                    <a:lnTo>
                      <a:pt x="385" y="121"/>
                    </a:lnTo>
                    <a:lnTo>
                      <a:pt x="385" y="118"/>
                    </a:lnTo>
                    <a:lnTo>
                      <a:pt x="387" y="116"/>
                    </a:lnTo>
                    <a:lnTo>
                      <a:pt x="389" y="114"/>
                    </a:lnTo>
                    <a:lnTo>
                      <a:pt x="391" y="114"/>
                    </a:lnTo>
                    <a:lnTo>
                      <a:pt x="391" y="114"/>
                    </a:lnTo>
                    <a:lnTo>
                      <a:pt x="393" y="116"/>
                    </a:lnTo>
                    <a:lnTo>
                      <a:pt x="395" y="116"/>
                    </a:lnTo>
                    <a:lnTo>
                      <a:pt x="396" y="118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400" y="121"/>
                    </a:lnTo>
                    <a:lnTo>
                      <a:pt x="404" y="121"/>
                    </a:lnTo>
                    <a:lnTo>
                      <a:pt x="404" y="123"/>
                    </a:lnTo>
                    <a:lnTo>
                      <a:pt x="404" y="125"/>
                    </a:lnTo>
                    <a:lnTo>
                      <a:pt x="404" y="125"/>
                    </a:lnTo>
                    <a:lnTo>
                      <a:pt x="404" y="127"/>
                    </a:lnTo>
                    <a:lnTo>
                      <a:pt x="406" y="127"/>
                    </a:lnTo>
                    <a:lnTo>
                      <a:pt x="410" y="129"/>
                    </a:lnTo>
                    <a:lnTo>
                      <a:pt x="410" y="129"/>
                    </a:lnTo>
                    <a:lnTo>
                      <a:pt x="410" y="131"/>
                    </a:lnTo>
                    <a:lnTo>
                      <a:pt x="410" y="131"/>
                    </a:lnTo>
                    <a:lnTo>
                      <a:pt x="408" y="131"/>
                    </a:lnTo>
                    <a:lnTo>
                      <a:pt x="406" y="131"/>
                    </a:lnTo>
                    <a:lnTo>
                      <a:pt x="406" y="135"/>
                    </a:lnTo>
                    <a:lnTo>
                      <a:pt x="408" y="137"/>
                    </a:lnTo>
                    <a:lnTo>
                      <a:pt x="410" y="140"/>
                    </a:lnTo>
                    <a:lnTo>
                      <a:pt x="410" y="144"/>
                    </a:lnTo>
                    <a:lnTo>
                      <a:pt x="412" y="152"/>
                    </a:lnTo>
                    <a:lnTo>
                      <a:pt x="414" y="154"/>
                    </a:lnTo>
                    <a:lnTo>
                      <a:pt x="414" y="156"/>
                    </a:lnTo>
                    <a:lnTo>
                      <a:pt x="423" y="160"/>
                    </a:lnTo>
                    <a:lnTo>
                      <a:pt x="425" y="161"/>
                    </a:lnTo>
                    <a:lnTo>
                      <a:pt x="425" y="163"/>
                    </a:lnTo>
                    <a:lnTo>
                      <a:pt x="427" y="165"/>
                    </a:lnTo>
                    <a:lnTo>
                      <a:pt x="427" y="167"/>
                    </a:lnTo>
                    <a:lnTo>
                      <a:pt x="433" y="169"/>
                    </a:lnTo>
                    <a:lnTo>
                      <a:pt x="435" y="173"/>
                    </a:lnTo>
                    <a:lnTo>
                      <a:pt x="436" y="175"/>
                    </a:lnTo>
                    <a:lnTo>
                      <a:pt x="440" y="175"/>
                    </a:lnTo>
                    <a:lnTo>
                      <a:pt x="442" y="175"/>
                    </a:lnTo>
                    <a:lnTo>
                      <a:pt x="444" y="175"/>
                    </a:lnTo>
                    <a:lnTo>
                      <a:pt x="446" y="173"/>
                    </a:lnTo>
                    <a:lnTo>
                      <a:pt x="446" y="173"/>
                    </a:lnTo>
                    <a:lnTo>
                      <a:pt x="448" y="175"/>
                    </a:lnTo>
                    <a:lnTo>
                      <a:pt x="450" y="177"/>
                    </a:lnTo>
                    <a:lnTo>
                      <a:pt x="450" y="177"/>
                    </a:lnTo>
                    <a:lnTo>
                      <a:pt x="450" y="177"/>
                    </a:lnTo>
                    <a:lnTo>
                      <a:pt x="452" y="175"/>
                    </a:lnTo>
                    <a:lnTo>
                      <a:pt x="452" y="175"/>
                    </a:lnTo>
                    <a:lnTo>
                      <a:pt x="452" y="175"/>
                    </a:lnTo>
                    <a:lnTo>
                      <a:pt x="452" y="175"/>
                    </a:lnTo>
                    <a:lnTo>
                      <a:pt x="457" y="175"/>
                    </a:lnTo>
                    <a:lnTo>
                      <a:pt x="459" y="175"/>
                    </a:lnTo>
                    <a:lnTo>
                      <a:pt x="459" y="175"/>
                    </a:lnTo>
                    <a:lnTo>
                      <a:pt x="459" y="175"/>
                    </a:lnTo>
                    <a:lnTo>
                      <a:pt x="461" y="179"/>
                    </a:lnTo>
                    <a:lnTo>
                      <a:pt x="463" y="180"/>
                    </a:lnTo>
                    <a:lnTo>
                      <a:pt x="463" y="180"/>
                    </a:lnTo>
                    <a:lnTo>
                      <a:pt x="465" y="180"/>
                    </a:lnTo>
                    <a:lnTo>
                      <a:pt x="467" y="179"/>
                    </a:lnTo>
                    <a:lnTo>
                      <a:pt x="467" y="177"/>
                    </a:lnTo>
                    <a:lnTo>
                      <a:pt x="467" y="175"/>
                    </a:lnTo>
                    <a:lnTo>
                      <a:pt x="467" y="171"/>
                    </a:lnTo>
                    <a:lnTo>
                      <a:pt x="473" y="167"/>
                    </a:lnTo>
                    <a:lnTo>
                      <a:pt x="475" y="165"/>
                    </a:lnTo>
                    <a:lnTo>
                      <a:pt x="473" y="163"/>
                    </a:lnTo>
                    <a:lnTo>
                      <a:pt x="473" y="163"/>
                    </a:lnTo>
                    <a:lnTo>
                      <a:pt x="471" y="163"/>
                    </a:lnTo>
                    <a:lnTo>
                      <a:pt x="469" y="163"/>
                    </a:lnTo>
                    <a:lnTo>
                      <a:pt x="469" y="161"/>
                    </a:lnTo>
                    <a:lnTo>
                      <a:pt x="471" y="160"/>
                    </a:lnTo>
                    <a:lnTo>
                      <a:pt x="473" y="160"/>
                    </a:lnTo>
                    <a:lnTo>
                      <a:pt x="473" y="158"/>
                    </a:lnTo>
                    <a:lnTo>
                      <a:pt x="471" y="158"/>
                    </a:lnTo>
                    <a:lnTo>
                      <a:pt x="469" y="158"/>
                    </a:lnTo>
                    <a:lnTo>
                      <a:pt x="469" y="156"/>
                    </a:lnTo>
                    <a:lnTo>
                      <a:pt x="469" y="152"/>
                    </a:lnTo>
                    <a:lnTo>
                      <a:pt x="471" y="152"/>
                    </a:lnTo>
                    <a:lnTo>
                      <a:pt x="471" y="152"/>
                    </a:lnTo>
                    <a:lnTo>
                      <a:pt x="473" y="152"/>
                    </a:lnTo>
                    <a:lnTo>
                      <a:pt x="475" y="152"/>
                    </a:lnTo>
                    <a:lnTo>
                      <a:pt x="475" y="152"/>
                    </a:lnTo>
                    <a:lnTo>
                      <a:pt x="475" y="150"/>
                    </a:lnTo>
                    <a:lnTo>
                      <a:pt x="475" y="146"/>
                    </a:lnTo>
                    <a:lnTo>
                      <a:pt x="475" y="144"/>
                    </a:lnTo>
                    <a:lnTo>
                      <a:pt x="476" y="144"/>
                    </a:lnTo>
                    <a:lnTo>
                      <a:pt x="480" y="144"/>
                    </a:lnTo>
                    <a:lnTo>
                      <a:pt x="480" y="146"/>
                    </a:lnTo>
                    <a:lnTo>
                      <a:pt x="480" y="148"/>
                    </a:lnTo>
                    <a:lnTo>
                      <a:pt x="484" y="148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46"/>
                    </a:lnTo>
                    <a:lnTo>
                      <a:pt x="490" y="144"/>
                    </a:lnTo>
                    <a:lnTo>
                      <a:pt x="490" y="142"/>
                    </a:lnTo>
                    <a:lnTo>
                      <a:pt x="490" y="142"/>
                    </a:lnTo>
                    <a:lnTo>
                      <a:pt x="490" y="140"/>
                    </a:lnTo>
                    <a:lnTo>
                      <a:pt x="490" y="140"/>
                    </a:lnTo>
                    <a:lnTo>
                      <a:pt x="492" y="140"/>
                    </a:lnTo>
                    <a:lnTo>
                      <a:pt x="494" y="139"/>
                    </a:lnTo>
                    <a:lnTo>
                      <a:pt x="496" y="133"/>
                    </a:lnTo>
                    <a:lnTo>
                      <a:pt x="496" y="133"/>
                    </a:lnTo>
                    <a:lnTo>
                      <a:pt x="496" y="131"/>
                    </a:lnTo>
                    <a:lnTo>
                      <a:pt x="499" y="131"/>
                    </a:lnTo>
                    <a:lnTo>
                      <a:pt x="501" y="129"/>
                    </a:lnTo>
                    <a:lnTo>
                      <a:pt x="501" y="129"/>
                    </a:lnTo>
                    <a:lnTo>
                      <a:pt x="501" y="129"/>
                    </a:lnTo>
                    <a:lnTo>
                      <a:pt x="501" y="127"/>
                    </a:lnTo>
                    <a:lnTo>
                      <a:pt x="499" y="127"/>
                    </a:lnTo>
                    <a:lnTo>
                      <a:pt x="499" y="125"/>
                    </a:lnTo>
                    <a:lnTo>
                      <a:pt x="499" y="125"/>
                    </a:lnTo>
                    <a:lnTo>
                      <a:pt x="499" y="123"/>
                    </a:lnTo>
                    <a:lnTo>
                      <a:pt x="501" y="123"/>
                    </a:lnTo>
                    <a:lnTo>
                      <a:pt x="503" y="121"/>
                    </a:lnTo>
                    <a:lnTo>
                      <a:pt x="503" y="121"/>
                    </a:lnTo>
                    <a:lnTo>
                      <a:pt x="503" y="121"/>
                    </a:lnTo>
                    <a:lnTo>
                      <a:pt x="505" y="112"/>
                    </a:lnTo>
                    <a:lnTo>
                      <a:pt x="505" y="110"/>
                    </a:lnTo>
                    <a:lnTo>
                      <a:pt x="507" y="104"/>
                    </a:lnTo>
                    <a:lnTo>
                      <a:pt x="507" y="104"/>
                    </a:lnTo>
                    <a:lnTo>
                      <a:pt x="507" y="104"/>
                    </a:lnTo>
                    <a:lnTo>
                      <a:pt x="507" y="104"/>
                    </a:lnTo>
                    <a:lnTo>
                      <a:pt x="509" y="101"/>
                    </a:lnTo>
                    <a:lnTo>
                      <a:pt x="507" y="85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4" name="Freeform 6">
                <a:extLst>
                  <a:ext uri="{FF2B5EF4-FFF2-40B4-BE49-F238E27FC236}">
                    <a16:creationId xmlns:a16="http://schemas.microsoft.com/office/drawing/2014/main" id="{23E852C0-EBDC-4F04-B61C-5664A68BD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5919" y="2792886"/>
                <a:ext cx="687388" cy="622300"/>
              </a:xfrm>
              <a:custGeom>
                <a:avLst/>
                <a:gdLst>
                  <a:gd name="T0" fmla="*/ 399 w 433"/>
                  <a:gd name="T1" fmla="*/ 155 h 392"/>
                  <a:gd name="T2" fmla="*/ 370 w 433"/>
                  <a:gd name="T3" fmla="*/ 143 h 392"/>
                  <a:gd name="T4" fmla="*/ 332 w 433"/>
                  <a:gd name="T5" fmla="*/ 124 h 392"/>
                  <a:gd name="T6" fmla="*/ 330 w 433"/>
                  <a:gd name="T7" fmla="*/ 111 h 392"/>
                  <a:gd name="T8" fmla="*/ 326 w 433"/>
                  <a:gd name="T9" fmla="*/ 94 h 392"/>
                  <a:gd name="T10" fmla="*/ 298 w 433"/>
                  <a:gd name="T11" fmla="*/ 82 h 392"/>
                  <a:gd name="T12" fmla="*/ 277 w 433"/>
                  <a:gd name="T13" fmla="*/ 67 h 392"/>
                  <a:gd name="T14" fmla="*/ 250 w 433"/>
                  <a:gd name="T15" fmla="*/ 73 h 392"/>
                  <a:gd name="T16" fmla="*/ 241 w 433"/>
                  <a:gd name="T17" fmla="*/ 63 h 392"/>
                  <a:gd name="T18" fmla="*/ 229 w 433"/>
                  <a:gd name="T19" fmla="*/ 54 h 392"/>
                  <a:gd name="T20" fmla="*/ 216 w 433"/>
                  <a:gd name="T21" fmla="*/ 37 h 392"/>
                  <a:gd name="T22" fmla="*/ 208 w 433"/>
                  <a:gd name="T23" fmla="*/ 25 h 392"/>
                  <a:gd name="T24" fmla="*/ 204 w 433"/>
                  <a:gd name="T25" fmla="*/ 16 h 392"/>
                  <a:gd name="T26" fmla="*/ 189 w 433"/>
                  <a:gd name="T27" fmla="*/ 0 h 392"/>
                  <a:gd name="T28" fmla="*/ 168 w 433"/>
                  <a:gd name="T29" fmla="*/ 18 h 392"/>
                  <a:gd name="T30" fmla="*/ 182 w 433"/>
                  <a:gd name="T31" fmla="*/ 42 h 392"/>
                  <a:gd name="T32" fmla="*/ 159 w 433"/>
                  <a:gd name="T33" fmla="*/ 40 h 392"/>
                  <a:gd name="T34" fmla="*/ 138 w 433"/>
                  <a:gd name="T35" fmla="*/ 33 h 392"/>
                  <a:gd name="T36" fmla="*/ 117 w 433"/>
                  <a:gd name="T37" fmla="*/ 33 h 392"/>
                  <a:gd name="T38" fmla="*/ 103 w 433"/>
                  <a:gd name="T39" fmla="*/ 23 h 392"/>
                  <a:gd name="T40" fmla="*/ 79 w 433"/>
                  <a:gd name="T41" fmla="*/ 29 h 392"/>
                  <a:gd name="T42" fmla="*/ 48 w 433"/>
                  <a:gd name="T43" fmla="*/ 39 h 392"/>
                  <a:gd name="T44" fmla="*/ 31 w 433"/>
                  <a:gd name="T45" fmla="*/ 63 h 392"/>
                  <a:gd name="T46" fmla="*/ 25 w 433"/>
                  <a:gd name="T47" fmla="*/ 69 h 392"/>
                  <a:gd name="T48" fmla="*/ 27 w 433"/>
                  <a:gd name="T49" fmla="*/ 82 h 392"/>
                  <a:gd name="T50" fmla="*/ 19 w 433"/>
                  <a:gd name="T51" fmla="*/ 99 h 392"/>
                  <a:gd name="T52" fmla="*/ 27 w 433"/>
                  <a:gd name="T53" fmla="*/ 118 h 392"/>
                  <a:gd name="T54" fmla="*/ 31 w 433"/>
                  <a:gd name="T55" fmla="*/ 130 h 392"/>
                  <a:gd name="T56" fmla="*/ 18 w 433"/>
                  <a:gd name="T57" fmla="*/ 143 h 392"/>
                  <a:gd name="T58" fmla="*/ 2 w 433"/>
                  <a:gd name="T59" fmla="*/ 153 h 392"/>
                  <a:gd name="T60" fmla="*/ 48 w 433"/>
                  <a:gd name="T61" fmla="*/ 177 h 392"/>
                  <a:gd name="T62" fmla="*/ 23 w 433"/>
                  <a:gd name="T63" fmla="*/ 221 h 392"/>
                  <a:gd name="T64" fmla="*/ 50 w 433"/>
                  <a:gd name="T65" fmla="*/ 250 h 392"/>
                  <a:gd name="T66" fmla="*/ 79 w 433"/>
                  <a:gd name="T67" fmla="*/ 252 h 392"/>
                  <a:gd name="T68" fmla="*/ 79 w 433"/>
                  <a:gd name="T69" fmla="*/ 217 h 392"/>
                  <a:gd name="T70" fmla="*/ 101 w 433"/>
                  <a:gd name="T71" fmla="*/ 242 h 392"/>
                  <a:gd name="T72" fmla="*/ 157 w 433"/>
                  <a:gd name="T73" fmla="*/ 288 h 392"/>
                  <a:gd name="T74" fmla="*/ 162 w 433"/>
                  <a:gd name="T75" fmla="*/ 305 h 392"/>
                  <a:gd name="T76" fmla="*/ 153 w 433"/>
                  <a:gd name="T77" fmla="*/ 307 h 392"/>
                  <a:gd name="T78" fmla="*/ 147 w 433"/>
                  <a:gd name="T79" fmla="*/ 311 h 392"/>
                  <a:gd name="T80" fmla="*/ 170 w 433"/>
                  <a:gd name="T81" fmla="*/ 332 h 392"/>
                  <a:gd name="T82" fmla="*/ 199 w 433"/>
                  <a:gd name="T83" fmla="*/ 339 h 392"/>
                  <a:gd name="T84" fmla="*/ 224 w 433"/>
                  <a:gd name="T85" fmla="*/ 358 h 392"/>
                  <a:gd name="T86" fmla="*/ 233 w 433"/>
                  <a:gd name="T87" fmla="*/ 364 h 392"/>
                  <a:gd name="T88" fmla="*/ 256 w 433"/>
                  <a:gd name="T89" fmla="*/ 375 h 392"/>
                  <a:gd name="T90" fmla="*/ 275 w 433"/>
                  <a:gd name="T91" fmla="*/ 370 h 392"/>
                  <a:gd name="T92" fmla="*/ 286 w 433"/>
                  <a:gd name="T93" fmla="*/ 381 h 392"/>
                  <a:gd name="T94" fmla="*/ 294 w 433"/>
                  <a:gd name="T95" fmla="*/ 385 h 392"/>
                  <a:gd name="T96" fmla="*/ 302 w 433"/>
                  <a:gd name="T97" fmla="*/ 391 h 392"/>
                  <a:gd name="T98" fmla="*/ 315 w 433"/>
                  <a:gd name="T99" fmla="*/ 381 h 392"/>
                  <a:gd name="T100" fmla="*/ 313 w 433"/>
                  <a:gd name="T101" fmla="*/ 360 h 392"/>
                  <a:gd name="T102" fmla="*/ 323 w 433"/>
                  <a:gd name="T103" fmla="*/ 337 h 392"/>
                  <a:gd name="T104" fmla="*/ 334 w 433"/>
                  <a:gd name="T105" fmla="*/ 324 h 392"/>
                  <a:gd name="T106" fmla="*/ 340 w 433"/>
                  <a:gd name="T107" fmla="*/ 309 h 392"/>
                  <a:gd name="T108" fmla="*/ 340 w 433"/>
                  <a:gd name="T109" fmla="*/ 290 h 392"/>
                  <a:gd name="T110" fmla="*/ 347 w 433"/>
                  <a:gd name="T111" fmla="*/ 280 h 392"/>
                  <a:gd name="T112" fmla="*/ 351 w 433"/>
                  <a:gd name="T113" fmla="*/ 273 h 392"/>
                  <a:gd name="T114" fmla="*/ 353 w 433"/>
                  <a:gd name="T115" fmla="*/ 244 h 392"/>
                  <a:gd name="T116" fmla="*/ 380 w 433"/>
                  <a:gd name="T117" fmla="*/ 215 h 392"/>
                  <a:gd name="T118" fmla="*/ 403 w 433"/>
                  <a:gd name="T119" fmla="*/ 198 h 392"/>
                  <a:gd name="T120" fmla="*/ 420 w 433"/>
                  <a:gd name="T121" fmla="*/ 183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33" h="392">
                    <a:moveTo>
                      <a:pt x="431" y="177"/>
                    </a:moveTo>
                    <a:lnTo>
                      <a:pt x="429" y="174"/>
                    </a:lnTo>
                    <a:lnTo>
                      <a:pt x="426" y="170"/>
                    </a:lnTo>
                    <a:lnTo>
                      <a:pt x="416" y="168"/>
                    </a:lnTo>
                    <a:lnTo>
                      <a:pt x="405" y="164"/>
                    </a:lnTo>
                    <a:lnTo>
                      <a:pt x="403" y="162"/>
                    </a:lnTo>
                    <a:lnTo>
                      <a:pt x="401" y="160"/>
                    </a:lnTo>
                    <a:lnTo>
                      <a:pt x="399" y="155"/>
                    </a:lnTo>
                    <a:lnTo>
                      <a:pt x="397" y="153"/>
                    </a:lnTo>
                    <a:lnTo>
                      <a:pt x="393" y="151"/>
                    </a:lnTo>
                    <a:lnTo>
                      <a:pt x="382" y="143"/>
                    </a:lnTo>
                    <a:lnTo>
                      <a:pt x="378" y="141"/>
                    </a:lnTo>
                    <a:lnTo>
                      <a:pt x="376" y="143"/>
                    </a:lnTo>
                    <a:lnTo>
                      <a:pt x="374" y="143"/>
                    </a:lnTo>
                    <a:lnTo>
                      <a:pt x="372" y="143"/>
                    </a:lnTo>
                    <a:lnTo>
                      <a:pt x="370" y="143"/>
                    </a:lnTo>
                    <a:lnTo>
                      <a:pt x="367" y="139"/>
                    </a:lnTo>
                    <a:lnTo>
                      <a:pt x="361" y="137"/>
                    </a:lnTo>
                    <a:lnTo>
                      <a:pt x="347" y="130"/>
                    </a:lnTo>
                    <a:lnTo>
                      <a:pt x="338" y="128"/>
                    </a:lnTo>
                    <a:lnTo>
                      <a:pt x="334" y="128"/>
                    </a:lnTo>
                    <a:lnTo>
                      <a:pt x="328" y="128"/>
                    </a:lnTo>
                    <a:lnTo>
                      <a:pt x="330" y="126"/>
                    </a:lnTo>
                    <a:lnTo>
                      <a:pt x="332" y="124"/>
                    </a:lnTo>
                    <a:lnTo>
                      <a:pt x="332" y="122"/>
                    </a:lnTo>
                    <a:lnTo>
                      <a:pt x="332" y="118"/>
                    </a:lnTo>
                    <a:lnTo>
                      <a:pt x="330" y="117"/>
                    </a:lnTo>
                    <a:lnTo>
                      <a:pt x="328" y="115"/>
                    </a:lnTo>
                    <a:lnTo>
                      <a:pt x="328" y="115"/>
                    </a:lnTo>
                    <a:lnTo>
                      <a:pt x="328" y="113"/>
                    </a:lnTo>
                    <a:lnTo>
                      <a:pt x="328" y="111"/>
                    </a:lnTo>
                    <a:lnTo>
                      <a:pt x="330" y="111"/>
                    </a:lnTo>
                    <a:lnTo>
                      <a:pt x="330" y="111"/>
                    </a:lnTo>
                    <a:lnTo>
                      <a:pt x="332" y="111"/>
                    </a:lnTo>
                    <a:lnTo>
                      <a:pt x="332" y="111"/>
                    </a:lnTo>
                    <a:lnTo>
                      <a:pt x="336" y="105"/>
                    </a:lnTo>
                    <a:lnTo>
                      <a:pt x="334" y="103"/>
                    </a:lnTo>
                    <a:lnTo>
                      <a:pt x="330" y="101"/>
                    </a:lnTo>
                    <a:lnTo>
                      <a:pt x="328" y="96"/>
                    </a:lnTo>
                    <a:lnTo>
                      <a:pt x="326" y="94"/>
                    </a:lnTo>
                    <a:lnTo>
                      <a:pt x="325" y="94"/>
                    </a:lnTo>
                    <a:lnTo>
                      <a:pt x="321" y="98"/>
                    </a:lnTo>
                    <a:lnTo>
                      <a:pt x="319" y="98"/>
                    </a:lnTo>
                    <a:lnTo>
                      <a:pt x="315" y="96"/>
                    </a:lnTo>
                    <a:lnTo>
                      <a:pt x="313" y="92"/>
                    </a:lnTo>
                    <a:lnTo>
                      <a:pt x="309" y="90"/>
                    </a:lnTo>
                    <a:lnTo>
                      <a:pt x="307" y="86"/>
                    </a:lnTo>
                    <a:lnTo>
                      <a:pt x="298" y="82"/>
                    </a:lnTo>
                    <a:lnTo>
                      <a:pt x="296" y="82"/>
                    </a:lnTo>
                    <a:lnTo>
                      <a:pt x="296" y="82"/>
                    </a:lnTo>
                    <a:lnTo>
                      <a:pt x="294" y="80"/>
                    </a:lnTo>
                    <a:lnTo>
                      <a:pt x="292" y="77"/>
                    </a:lnTo>
                    <a:lnTo>
                      <a:pt x="290" y="73"/>
                    </a:lnTo>
                    <a:lnTo>
                      <a:pt x="288" y="71"/>
                    </a:lnTo>
                    <a:lnTo>
                      <a:pt x="286" y="71"/>
                    </a:lnTo>
                    <a:lnTo>
                      <a:pt x="277" y="67"/>
                    </a:lnTo>
                    <a:lnTo>
                      <a:pt x="273" y="67"/>
                    </a:lnTo>
                    <a:lnTo>
                      <a:pt x="267" y="69"/>
                    </a:lnTo>
                    <a:lnTo>
                      <a:pt x="262" y="69"/>
                    </a:lnTo>
                    <a:lnTo>
                      <a:pt x="260" y="71"/>
                    </a:lnTo>
                    <a:lnTo>
                      <a:pt x="256" y="73"/>
                    </a:lnTo>
                    <a:lnTo>
                      <a:pt x="254" y="73"/>
                    </a:lnTo>
                    <a:lnTo>
                      <a:pt x="252" y="73"/>
                    </a:lnTo>
                    <a:lnTo>
                      <a:pt x="250" y="73"/>
                    </a:lnTo>
                    <a:lnTo>
                      <a:pt x="248" y="71"/>
                    </a:lnTo>
                    <a:lnTo>
                      <a:pt x="246" y="69"/>
                    </a:lnTo>
                    <a:lnTo>
                      <a:pt x="244" y="67"/>
                    </a:lnTo>
                    <a:lnTo>
                      <a:pt x="243" y="65"/>
                    </a:lnTo>
                    <a:lnTo>
                      <a:pt x="243" y="65"/>
                    </a:lnTo>
                    <a:lnTo>
                      <a:pt x="243" y="63"/>
                    </a:lnTo>
                    <a:lnTo>
                      <a:pt x="241" y="63"/>
                    </a:lnTo>
                    <a:lnTo>
                      <a:pt x="241" y="63"/>
                    </a:lnTo>
                    <a:lnTo>
                      <a:pt x="239" y="61"/>
                    </a:lnTo>
                    <a:lnTo>
                      <a:pt x="237" y="61"/>
                    </a:lnTo>
                    <a:lnTo>
                      <a:pt x="235" y="61"/>
                    </a:lnTo>
                    <a:lnTo>
                      <a:pt x="233" y="61"/>
                    </a:lnTo>
                    <a:lnTo>
                      <a:pt x="231" y="61"/>
                    </a:lnTo>
                    <a:lnTo>
                      <a:pt x="231" y="59"/>
                    </a:lnTo>
                    <a:lnTo>
                      <a:pt x="229" y="54"/>
                    </a:lnTo>
                    <a:lnTo>
                      <a:pt x="229" y="54"/>
                    </a:lnTo>
                    <a:lnTo>
                      <a:pt x="227" y="50"/>
                    </a:lnTo>
                    <a:lnTo>
                      <a:pt x="225" y="50"/>
                    </a:lnTo>
                    <a:lnTo>
                      <a:pt x="222" y="48"/>
                    </a:lnTo>
                    <a:lnTo>
                      <a:pt x="218" y="46"/>
                    </a:lnTo>
                    <a:lnTo>
                      <a:pt x="216" y="44"/>
                    </a:lnTo>
                    <a:lnTo>
                      <a:pt x="216" y="42"/>
                    </a:lnTo>
                    <a:lnTo>
                      <a:pt x="216" y="39"/>
                    </a:lnTo>
                    <a:lnTo>
                      <a:pt x="216" y="37"/>
                    </a:lnTo>
                    <a:lnTo>
                      <a:pt x="214" y="33"/>
                    </a:lnTo>
                    <a:lnTo>
                      <a:pt x="212" y="33"/>
                    </a:lnTo>
                    <a:lnTo>
                      <a:pt x="210" y="31"/>
                    </a:lnTo>
                    <a:lnTo>
                      <a:pt x="208" y="31"/>
                    </a:lnTo>
                    <a:lnTo>
                      <a:pt x="208" y="29"/>
                    </a:lnTo>
                    <a:lnTo>
                      <a:pt x="208" y="27"/>
                    </a:lnTo>
                    <a:lnTo>
                      <a:pt x="208" y="27"/>
                    </a:lnTo>
                    <a:lnTo>
                      <a:pt x="208" y="25"/>
                    </a:lnTo>
                    <a:lnTo>
                      <a:pt x="208" y="23"/>
                    </a:lnTo>
                    <a:lnTo>
                      <a:pt x="206" y="23"/>
                    </a:lnTo>
                    <a:lnTo>
                      <a:pt x="206" y="21"/>
                    </a:lnTo>
                    <a:lnTo>
                      <a:pt x="206" y="19"/>
                    </a:lnTo>
                    <a:lnTo>
                      <a:pt x="206" y="18"/>
                    </a:lnTo>
                    <a:lnTo>
                      <a:pt x="206" y="18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3" y="14"/>
                    </a:lnTo>
                    <a:lnTo>
                      <a:pt x="201" y="14"/>
                    </a:lnTo>
                    <a:lnTo>
                      <a:pt x="201" y="12"/>
                    </a:lnTo>
                    <a:lnTo>
                      <a:pt x="199" y="10"/>
                    </a:lnTo>
                    <a:lnTo>
                      <a:pt x="199" y="8"/>
                    </a:lnTo>
                    <a:lnTo>
                      <a:pt x="195" y="4"/>
                    </a:lnTo>
                    <a:lnTo>
                      <a:pt x="191" y="2"/>
                    </a:lnTo>
                    <a:lnTo>
                      <a:pt x="189" y="0"/>
                    </a:lnTo>
                    <a:lnTo>
                      <a:pt x="183" y="2"/>
                    </a:lnTo>
                    <a:lnTo>
                      <a:pt x="182" y="8"/>
                    </a:lnTo>
                    <a:lnTo>
                      <a:pt x="180" y="14"/>
                    </a:lnTo>
                    <a:lnTo>
                      <a:pt x="178" y="18"/>
                    </a:lnTo>
                    <a:lnTo>
                      <a:pt x="176" y="18"/>
                    </a:lnTo>
                    <a:lnTo>
                      <a:pt x="174" y="14"/>
                    </a:lnTo>
                    <a:lnTo>
                      <a:pt x="170" y="12"/>
                    </a:lnTo>
                    <a:lnTo>
                      <a:pt x="168" y="18"/>
                    </a:lnTo>
                    <a:lnTo>
                      <a:pt x="168" y="19"/>
                    </a:lnTo>
                    <a:lnTo>
                      <a:pt x="166" y="21"/>
                    </a:lnTo>
                    <a:lnTo>
                      <a:pt x="168" y="23"/>
                    </a:lnTo>
                    <a:lnTo>
                      <a:pt x="170" y="25"/>
                    </a:lnTo>
                    <a:lnTo>
                      <a:pt x="174" y="29"/>
                    </a:lnTo>
                    <a:lnTo>
                      <a:pt x="176" y="35"/>
                    </a:lnTo>
                    <a:lnTo>
                      <a:pt x="180" y="40"/>
                    </a:lnTo>
                    <a:lnTo>
                      <a:pt x="182" y="42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4" y="46"/>
                    </a:lnTo>
                    <a:lnTo>
                      <a:pt x="172" y="48"/>
                    </a:lnTo>
                    <a:lnTo>
                      <a:pt x="164" y="46"/>
                    </a:lnTo>
                    <a:lnTo>
                      <a:pt x="162" y="44"/>
                    </a:lnTo>
                    <a:lnTo>
                      <a:pt x="161" y="42"/>
                    </a:lnTo>
                    <a:lnTo>
                      <a:pt x="159" y="40"/>
                    </a:lnTo>
                    <a:lnTo>
                      <a:pt x="157" y="35"/>
                    </a:lnTo>
                    <a:lnTo>
                      <a:pt x="155" y="35"/>
                    </a:lnTo>
                    <a:lnTo>
                      <a:pt x="153" y="35"/>
                    </a:lnTo>
                    <a:lnTo>
                      <a:pt x="151" y="35"/>
                    </a:lnTo>
                    <a:lnTo>
                      <a:pt x="147" y="33"/>
                    </a:lnTo>
                    <a:lnTo>
                      <a:pt x="142" y="33"/>
                    </a:lnTo>
                    <a:lnTo>
                      <a:pt x="140" y="33"/>
                    </a:lnTo>
                    <a:lnTo>
                      <a:pt x="138" y="33"/>
                    </a:lnTo>
                    <a:lnTo>
                      <a:pt x="136" y="33"/>
                    </a:lnTo>
                    <a:lnTo>
                      <a:pt x="134" y="31"/>
                    </a:lnTo>
                    <a:lnTo>
                      <a:pt x="132" y="31"/>
                    </a:lnTo>
                    <a:lnTo>
                      <a:pt x="128" y="31"/>
                    </a:lnTo>
                    <a:lnTo>
                      <a:pt x="124" y="31"/>
                    </a:lnTo>
                    <a:lnTo>
                      <a:pt x="121" y="33"/>
                    </a:lnTo>
                    <a:lnTo>
                      <a:pt x="119" y="33"/>
                    </a:lnTo>
                    <a:lnTo>
                      <a:pt x="117" y="33"/>
                    </a:lnTo>
                    <a:lnTo>
                      <a:pt x="115" y="31"/>
                    </a:lnTo>
                    <a:lnTo>
                      <a:pt x="111" y="27"/>
                    </a:lnTo>
                    <a:lnTo>
                      <a:pt x="111" y="25"/>
                    </a:lnTo>
                    <a:lnTo>
                      <a:pt x="109" y="25"/>
                    </a:lnTo>
                    <a:lnTo>
                      <a:pt x="107" y="25"/>
                    </a:lnTo>
                    <a:lnTo>
                      <a:pt x="105" y="25"/>
                    </a:lnTo>
                    <a:lnTo>
                      <a:pt x="105" y="25"/>
                    </a:lnTo>
                    <a:lnTo>
                      <a:pt x="103" y="23"/>
                    </a:lnTo>
                    <a:lnTo>
                      <a:pt x="103" y="23"/>
                    </a:lnTo>
                    <a:lnTo>
                      <a:pt x="101" y="21"/>
                    </a:lnTo>
                    <a:lnTo>
                      <a:pt x="100" y="21"/>
                    </a:lnTo>
                    <a:lnTo>
                      <a:pt x="96" y="21"/>
                    </a:lnTo>
                    <a:lnTo>
                      <a:pt x="94" y="21"/>
                    </a:lnTo>
                    <a:lnTo>
                      <a:pt x="92" y="21"/>
                    </a:lnTo>
                    <a:lnTo>
                      <a:pt x="84" y="27"/>
                    </a:lnTo>
                    <a:lnTo>
                      <a:pt x="79" y="29"/>
                    </a:lnTo>
                    <a:lnTo>
                      <a:pt x="71" y="33"/>
                    </a:lnTo>
                    <a:lnTo>
                      <a:pt x="65" y="37"/>
                    </a:lnTo>
                    <a:lnTo>
                      <a:pt x="61" y="39"/>
                    </a:lnTo>
                    <a:lnTo>
                      <a:pt x="60" y="40"/>
                    </a:lnTo>
                    <a:lnTo>
                      <a:pt x="58" y="40"/>
                    </a:lnTo>
                    <a:lnTo>
                      <a:pt x="52" y="39"/>
                    </a:lnTo>
                    <a:lnTo>
                      <a:pt x="50" y="39"/>
                    </a:lnTo>
                    <a:lnTo>
                      <a:pt x="48" y="39"/>
                    </a:lnTo>
                    <a:lnTo>
                      <a:pt x="46" y="40"/>
                    </a:lnTo>
                    <a:lnTo>
                      <a:pt x="42" y="44"/>
                    </a:lnTo>
                    <a:lnTo>
                      <a:pt x="39" y="50"/>
                    </a:lnTo>
                    <a:lnTo>
                      <a:pt x="31" y="58"/>
                    </a:lnTo>
                    <a:lnTo>
                      <a:pt x="31" y="58"/>
                    </a:lnTo>
                    <a:lnTo>
                      <a:pt x="31" y="59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31" y="65"/>
                    </a:lnTo>
                    <a:lnTo>
                      <a:pt x="29" y="67"/>
                    </a:lnTo>
                    <a:lnTo>
                      <a:pt x="29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5" y="67"/>
                    </a:lnTo>
                    <a:lnTo>
                      <a:pt x="25" y="67"/>
                    </a:lnTo>
                    <a:lnTo>
                      <a:pt x="25" y="69"/>
                    </a:lnTo>
                    <a:lnTo>
                      <a:pt x="25" y="71"/>
                    </a:lnTo>
                    <a:lnTo>
                      <a:pt x="27" y="73"/>
                    </a:lnTo>
                    <a:lnTo>
                      <a:pt x="29" y="73"/>
                    </a:lnTo>
                    <a:lnTo>
                      <a:pt x="29" y="75"/>
                    </a:lnTo>
                    <a:lnTo>
                      <a:pt x="29" y="77"/>
                    </a:lnTo>
                    <a:lnTo>
                      <a:pt x="29" y="80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3" y="84"/>
                    </a:lnTo>
                    <a:lnTo>
                      <a:pt x="21" y="88"/>
                    </a:lnTo>
                    <a:lnTo>
                      <a:pt x="19" y="96"/>
                    </a:lnTo>
                    <a:lnTo>
                      <a:pt x="19" y="98"/>
                    </a:lnTo>
                    <a:lnTo>
                      <a:pt x="19" y="99"/>
                    </a:lnTo>
                    <a:lnTo>
                      <a:pt x="23" y="103"/>
                    </a:lnTo>
                    <a:lnTo>
                      <a:pt x="23" y="105"/>
                    </a:lnTo>
                    <a:lnTo>
                      <a:pt x="23" y="109"/>
                    </a:lnTo>
                    <a:lnTo>
                      <a:pt x="23" y="111"/>
                    </a:lnTo>
                    <a:lnTo>
                      <a:pt x="25" y="113"/>
                    </a:lnTo>
                    <a:lnTo>
                      <a:pt x="27" y="115"/>
                    </a:lnTo>
                    <a:lnTo>
                      <a:pt x="27" y="118"/>
                    </a:lnTo>
                    <a:lnTo>
                      <a:pt x="27" y="118"/>
                    </a:lnTo>
                    <a:lnTo>
                      <a:pt x="25" y="120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27" y="128"/>
                    </a:lnTo>
                    <a:lnTo>
                      <a:pt x="27" y="130"/>
                    </a:lnTo>
                    <a:lnTo>
                      <a:pt x="29" y="130"/>
                    </a:lnTo>
                    <a:lnTo>
                      <a:pt x="31" y="130"/>
                    </a:lnTo>
                    <a:lnTo>
                      <a:pt x="31" y="130"/>
                    </a:lnTo>
                    <a:lnTo>
                      <a:pt x="33" y="130"/>
                    </a:lnTo>
                    <a:lnTo>
                      <a:pt x="33" y="132"/>
                    </a:lnTo>
                    <a:lnTo>
                      <a:pt x="33" y="134"/>
                    </a:lnTo>
                    <a:lnTo>
                      <a:pt x="33" y="134"/>
                    </a:lnTo>
                    <a:lnTo>
                      <a:pt x="31" y="136"/>
                    </a:lnTo>
                    <a:lnTo>
                      <a:pt x="29" y="136"/>
                    </a:lnTo>
                    <a:lnTo>
                      <a:pt x="27" y="137"/>
                    </a:lnTo>
                    <a:lnTo>
                      <a:pt x="18" y="143"/>
                    </a:lnTo>
                    <a:lnTo>
                      <a:pt x="14" y="145"/>
                    </a:lnTo>
                    <a:lnTo>
                      <a:pt x="12" y="145"/>
                    </a:lnTo>
                    <a:lnTo>
                      <a:pt x="8" y="145"/>
                    </a:lnTo>
                    <a:lnTo>
                      <a:pt x="6" y="147"/>
                    </a:lnTo>
                    <a:lnTo>
                      <a:pt x="2" y="147"/>
                    </a:lnTo>
                    <a:lnTo>
                      <a:pt x="0" y="149"/>
                    </a:lnTo>
                    <a:lnTo>
                      <a:pt x="2" y="151"/>
                    </a:lnTo>
                    <a:lnTo>
                      <a:pt x="2" y="153"/>
                    </a:lnTo>
                    <a:lnTo>
                      <a:pt x="4" y="155"/>
                    </a:lnTo>
                    <a:lnTo>
                      <a:pt x="8" y="151"/>
                    </a:lnTo>
                    <a:lnTo>
                      <a:pt x="10" y="151"/>
                    </a:lnTo>
                    <a:lnTo>
                      <a:pt x="14" y="153"/>
                    </a:lnTo>
                    <a:lnTo>
                      <a:pt x="25" y="162"/>
                    </a:lnTo>
                    <a:lnTo>
                      <a:pt x="33" y="168"/>
                    </a:lnTo>
                    <a:lnTo>
                      <a:pt x="46" y="174"/>
                    </a:lnTo>
                    <a:lnTo>
                      <a:pt x="48" y="177"/>
                    </a:lnTo>
                    <a:lnTo>
                      <a:pt x="48" y="179"/>
                    </a:lnTo>
                    <a:lnTo>
                      <a:pt x="46" y="181"/>
                    </a:lnTo>
                    <a:lnTo>
                      <a:pt x="39" y="185"/>
                    </a:lnTo>
                    <a:lnTo>
                      <a:pt x="35" y="191"/>
                    </a:lnTo>
                    <a:lnTo>
                      <a:pt x="29" y="204"/>
                    </a:lnTo>
                    <a:lnTo>
                      <a:pt x="23" y="214"/>
                    </a:lnTo>
                    <a:lnTo>
                      <a:pt x="23" y="215"/>
                    </a:lnTo>
                    <a:lnTo>
                      <a:pt x="23" y="221"/>
                    </a:lnTo>
                    <a:lnTo>
                      <a:pt x="23" y="227"/>
                    </a:lnTo>
                    <a:lnTo>
                      <a:pt x="25" y="231"/>
                    </a:lnTo>
                    <a:lnTo>
                      <a:pt x="27" y="236"/>
                    </a:lnTo>
                    <a:lnTo>
                      <a:pt x="27" y="244"/>
                    </a:lnTo>
                    <a:lnTo>
                      <a:pt x="29" y="248"/>
                    </a:lnTo>
                    <a:lnTo>
                      <a:pt x="35" y="259"/>
                    </a:lnTo>
                    <a:lnTo>
                      <a:pt x="46" y="254"/>
                    </a:lnTo>
                    <a:lnTo>
                      <a:pt x="50" y="250"/>
                    </a:lnTo>
                    <a:lnTo>
                      <a:pt x="52" y="250"/>
                    </a:lnTo>
                    <a:lnTo>
                      <a:pt x="54" y="250"/>
                    </a:lnTo>
                    <a:lnTo>
                      <a:pt x="61" y="255"/>
                    </a:lnTo>
                    <a:lnTo>
                      <a:pt x="65" y="257"/>
                    </a:lnTo>
                    <a:lnTo>
                      <a:pt x="67" y="259"/>
                    </a:lnTo>
                    <a:lnTo>
                      <a:pt x="69" y="259"/>
                    </a:lnTo>
                    <a:lnTo>
                      <a:pt x="75" y="257"/>
                    </a:lnTo>
                    <a:lnTo>
                      <a:pt x="79" y="252"/>
                    </a:lnTo>
                    <a:lnTo>
                      <a:pt x="80" y="246"/>
                    </a:lnTo>
                    <a:lnTo>
                      <a:pt x="80" y="240"/>
                    </a:lnTo>
                    <a:lnTo>
                      <a:pt x="77" y="227"/>
                    </a:lnTo>
                    <a:lnTo>
                      <a:pt x="75" y="225"/>
                    </a:lnTo>
                    <a:lnTo>
                      <a:pt x="75" y="221"/>
                    </a:lnTo>
                    <a:lnTo>
                      <a:pt x="77" y="219"/>
                    </a:lnTo>
                    <a:lnTo>
                      <a:pt x="77" y="217"/>
                    </a:lnTo>
                    <a:lnTo>
                      <a:pt x="79" y="217"/>
                    </a:lnTo>
                    <a:lnTo>
                      <a:pt x="80" y="215"/>
                    </a:lnTo>
                    <a:lnTo>
                      <a:pt x="82" y="215"/>
                    </a:lnTo>
                    <a:lnTo>
                      <a:pt x="82" y="217"/>
                    </a:lnTo>
                    <a:lnTo>
                      <a:pt x="84" y="217"/>
                    </a:lnTo>
                    <a:lnTo>
                      <a:pt x="92" y="225"/>
                    </a:lnTo>
                    <a:lnTo>
                      <a:pt x="96" y="233"/>
                    </a:lnTo>
                    <a:lnTo>
                      <a:pt x="100" y="240"/>
                    </a:lnTo>
                    <a:lnTo>
                      <a:pt x="101" y="242"/>
                    </a:lnTo>
                    <a:lnTo>
                      <a:pt x="103" y="244"/>
                    </a:lnTo>
                    <a:lnTo>
                      <a:pt x="117" y="250"/>
                    </a:lnTo>
                    <a:lnTo>
                      <a:pt x="121" y="255"/>
                    </a:lnTo>
                    <a:lnTo>
                      <a:pt x="122" y="261"/>
                    </a:lnTo>
                    <a:lnTo>
                      <a:pt x="124" y="265"/>
                    </a:lnTo>
                    <a:lnTo>
                      <a:pt x="130" y="271"/>
                    </a:lnTo>
                    <a:lnTo>
                      <a:pt x="136" y="276"/>
                    </a:lnTo>
                    <a:lnTo>
                      <a:pt x="157" y="288"/>
                    </a:lnTo>
                    <a:lnTo>
                      <a:pt x="161" y="290"/>
                    </a:lnTo>
                    <a:lnTo>
                      <a:pt x="170" y="292"/>
                    </a:lnTo>
                    <a:lnTo>
                      <a:pt x="172" y="293"/>
                    </a:lnTo>
                    <a:lnTo>
                      <a:pt x="170" y="293"/>
                    </a:lnTo>
                    <a:lnTo>
                      <a:pt x="170" y="295"/>
                    </a:lnTo>
                    <a:lnTo>
                      <a:pt x="170" y="297"/>
                    </a:lnTo>
                    <a:lnTo>
                      <a:pt x="164" y="303"/>
                    </a:lnTo>
                    <a:lnTo>
                      <a:pt x="162" y="305"/>
                    </a:lnTo>
                    <a:lnTo>
                      <a:pt x="161" y="305"/>
                    </a:lnTo>
                    <a:lnTo>
                      <a:pt x="161" y="303"/>
                    </a:lnTo>
                    <a:lnTo>
                      <a:pt x="159" y="303"/>
                    </a:lnTo>
                    <a:lnTo>
                      <a:pt x="159" y="303"/>
                    </a:lnTo>
                    <a:lnTo>
                      <a:pt x="157" y="305"/>
                    </a:lnTo>
                    <a:lnTo>
                      <a:pt x="155" y="307"/>
                    </a:lnTo>
                    <a:lnTo>
                      <a:pt x="155" y="309"/>
                    </a:lnTo>
                    <a:lnTo>
                      <a:pt x="153" y="307"/>
                    </a:lnTo>
                    <a:lnTo>
                      <a:pt x="153" y="307"/>
                    </a:lnTo>
                    <a:lnTo>
                      <a:pt x="151" y="307"/>
                    </a:lnTo>
                    <a:lnTo>
                      <a:pt x="151" y="307"/>
                    </a:lnTo>
                    <a:lnTo>
                      <a:pt x="149" y="307"/>
                    </a:lnTo>
                    <a:lnTo>
                      <a:pt x="147" y="307"/>
                    </a:lnTo>
                    <a:lnTo>
                      <a:pt x="147" y="309"/>
                    </a:lnTo>
                    <a:lnTo>
                      <a:pt x="147" y="309"/>
                    </a:lnTo>
                    <a:lnTo>
                      <a:pt x="147" y="311"/>
                    </a:lnTo>
                    <a:lnTo>
                      <a:pt x="147" y="311"/>
                    </a:lnTo>
                    <a:lnTo>
                      <a:pt x="145" y="312"/>
                    </a:lnTo>
                    <a:lnTo>
                      <a:pt x="145" y="312"/>
                    </a:lnTo>
                    <a:lnTo>
                      <a:pt x="145" y="312"/>
                    </a:lnTo>
                    <a:lnTo>
                      <a:pt x="164" y="322"/>
                    </a:lnTo>
                    <a:lnTo>
                      <a:pt x="166" y="326"/>
                    </a:lnTo>
                    <a:lnTo>
                      <a:pt x="168" y="328"/>
                    </a:lnTo>
                    <a:lnTo>
                      <a:pt x="170" y="332"/>
                    </a:lnTo>
                    <a:lnTo>
                      <a:pt x="170" y="339"/>
                    </a:lnTo>
                    <a:lnTo>
                      <a:pt x="176" y="335"/>
                    </a:lnTo>
                    <a:lnTo>
                      <a:pt x="183" y="333"/>
                    </a:lnTo>
                    <a:lnTo>
                      <a:pt x="185" y="332"/>
                    </a:lnTo>
                    <a:lnTo>
                      <a:pt x="187" y="332"/>
                    </a:lnTo>
                    <a:lnTo>
                      <a:pt x="187" y="332"/>
                    </a:lnTo>
                    <a:lnTo>
                      <a:pt x="197" y="337"/>
                    </a:lnTo>
                    <a:lnTo>
                      <a:pt x="199" y="339"/>
                    </a:lnTo>
                    <a:lnTo>
                      <a:pt x="199" y="339"/>
                    </a:lnTo>
                    <a:lnTo>
                      <a:pt x="199" y="341"/>
                    </a:lnTo>
                    <a:lnTo>
                      <a:pt x="199" y="343"/>
                    </a:lnTo>
                    <a:lnTo>
                      <a:pt x="201" y="345"/>
                    </a:lnTo>
                    <a:lnTo>
                      <a:pt x="203" y="347"/>
                    </a:lnTo>
                    <a:lnTo>
                      <a:pt x="218" y="358"/>
                    </a:lnTo>
                    <a:lnTo>
                      <a:pt x="222" y="358"/>
                    </a:lnTo>
                    <a:lnTo>
                      <a:pt x="224" y="358"/>
                    </a:lnTo>
                    <a:lnTo>
                      <a:pt x="225" y="358"/>
                    </a:lnTo>
                    <a:lnTo>
                      <a:pt x="227" y="358"/>
                    </a:lnTo>
                    <a:lnTo>
                      <a:pt x="227" y="358"/>
                    </a:lnTo>
                    <a:lnTo>
                      <a:pt x="229" y="358"/>
                    </a:lnTo>
                    <a:lnTo>
                      <a:pt x="229" y="360"/>
                    </a:lnTo>
                    <a:lnTo>
                      <a:pt x="231" y="362"/>
                    </a:lnTo>
                    <a:lnTo>
                      <a:pt x="233" y="364"/>
                    </a:lnTo>
                    <a:lnTo>
                      <a:pt x="233" y="364"/>
                    </a:lnTo>
                    <a:lnTo>
                      <a:pt x="235" y="371"/>
                    </a:lnTo>
                    <a:lnTo>
                      <a:pt x="237" y="375"/>
                    </a:lnTo>
                    <a:lnTo>
                      <a:pt x="246" y="371"/>
                    </a:lnTo>
                    <a:lnTo>
                      <a:pt x="252" y="371"/>
                    </a:lnTo>
                    <a:lnTo>
                      <a:pt x="254" y="371"/>
                    </a:lnTo>
                    <a:lnTo>
                      <a:pt x="254" y="373"/>
                    </a:lnTo>
                    <a:lnTo>
                      <a:pt x="256" y="375"/>
                    </a:lnTo>
                    <a:lnTo>
                      <a:pt x="256" y="375"/>
                    </a:lnTo>
                    <a:lnTo>
                      <a:pt x="258" y="375"/>
                    </a:lnTo>
                    <a:lnTo>
                      <a:pt x="260" y="373"/>
                    </a:lnTo>
                    <a:lnTo>
                      <a:pt x="269" y="375"/>
                    </a:lnTo>
                    <a:lnTo>
                      <a:pt x="273" y="373"/>
                    </a:lnTo>
                    <a:lnTo>
                      <a:pt x="273" y="373"/>
                    </a:lnTo>
                    <a:lnTo>
                      <a:pt x="273" y="371"/>
                    </a:lnTo>
                    <a:lnTo>
                      <a:pt x="273" y="371"/>
                    </a:lnTo>
                    <a:lnTo>
                      <a:pt x="275" y="370"/>
                    </a:lnTo>
                    <a:lnTo>
                      <a:pt x="277" y="370"/>
                    </a:lnTo>
                    <a:lnTo>
                      <a:pt x="283" y="371"/>
                    </a:lnTo>
                    <a:lnTo>
                      <a:pt x="286" y="373"/>
                    </a:lnTo>
                    <a:lnTo>
                      <a:pt x="286" y="373"/>
                    </a:lnTo>
                    <a:lnTo>
                      <a:pt x="286" y="375"/>
                    </a:lnTo>
                    <a:lnTo>
                      <a:pt x="285" y="379"/>
                    </a:lnTo>
                    <a:lnTo>
                      <a:pt x="285" y="381"/>
                    </a:lnTo>
                    <a:lnTo>
                      <a:pt x="286" y="381"/>
                    </a:lnTo>
                    <a:lnTo>
                      <a:pt x="286" y="381"/>
                    </a:lnTo>
                    <a:lnTo>
                      <a:pt x="290" y="379"/>
                    </a:lnTo>
                    <a:lnTo>
                      <a:pt x="292" y="379"/>
                    </a:lnTo>
                    <a:lnTo>
                      <a:pt x="294" y="381"/>
                    </a:lnTo>
                    <a:lnTo>
                      <a:pt x="294" y="381"/>
                    </a:lnTo>
                    <a:lnTo>
                      <a:pt x="292" y="383"/>
                    </a:lnTo>
                    <a:lnTo>
                      <a:pt x="292" y="385"/>
                    </a:lnTo>
                    <a:lnTo>
                      <a:pt x="294" y="385"/>
                    </a:lnTo>
                    <a:lnTo>
                      <a:pt x="294" y="385"/>
                    </a:lnTo>
                    <a:lnTo>
                      <a:pt x="296" y="385"/>
                    </a:lnTo>
                    <a:lnTo>
                      <a:pt x="298" y="385"/>
                    </a:lnTo>
                    <a:lnTo>
                      <a:pt x="298" y="385"/>
                    </a:lnTo>
                    <a:lnTo>
                      <a:pt x="298" y="387"/>
                    </a:lnTo>
                    <a:lnTo>
                      <a:pt x="298" y="389"/>
                    </a:lnTo>
                    <a:lnTo>
                      <a:pt x="298" y="391"/>
                    </a:lnTo>
                    <a:lnTo>
                      <a:pt x="302" y="391"/>
                    </a:lnTo>
                    <a:lnTo>
                      <a:pt x="304" y="392"/>
                    </a:lnTo>
                    <a:lnTo>
                      <a:pt x="305" y="392"/>
                    </a:lnTo>
                    <a:lnTo>
                      <a:pt x="307" y="391"/>
                    </a:lnTo>
                    <a:lnTo>
                      <a:pt x="309" y="391"/>
                    </a:lnTo>
                    <a:lnTo>
                      <a:pt x="309" y="389"/>
                    </a:lnTo>
                    <a:lnTo>
                      <a:pt x="313" y="385"/>
                    </a:lnTo>
                    <a:lnTo>
                      <a:pt x="315" y="383"/>
                    </a:lnTo>
                    <a:lnTo>
                      <a:pt x="315" y="381"/>
                    </a:lnTo>
                    <a:lnTo>
                      <a:pt x="315" y="379"/>
                    </a:lnTo>
                    <a:lnTo>
                      <a:pt x="313" y="379"/>
                    </a:lnTo>
                    <a:lnTo>
                      <a:pt x="311" y="377"/>
                    </a:lnTo>
                    <a:lnTo>
                      <a:pt x="311" y="371"/>
                    </a:lnTo>
                    <a:lnTo>
                      <a:pt x="311" y="368"/>
                    </a:lnTo>
                    <a:lnTo>
                      <a:pt x="311" y="366"/>
                    </a:lnTo>
                    <a:lnTo>
                      <a:pt x="311" y="364"/>
                    </a:lnTo>
                    <a:lnTo>
                      <a:pt x="313" y="360"/>
                    </a:lnTo>
                    <a:lnTo>
                      <a:pt x="315" y="360"/>
                    </a:lnTo>
                    <a:lnTo>
                      <a:pt x="317" y="358"/>
                    </a:lnTo>
                    <a:lnTo>
                      <a:pt x="319" y="356"/>
                    </a:lnTo>
                    <a:lnTo>
                      <a:pt x="321" y="354"/>
                    </a:lnTo>
                    <a:lnTo>
                      <a:pt x="321" y="354"/>
                    </a:lnTo>
                    <a:lnTo>
                      <a:pt x="319" y="349"/>
                    </a:lnTo>
                    <a:lnTo>
                      <a:pt x="321" y="343"/>
                    </a:lnTo>
                    <a:lnTo>
                      <a:pt x="323" y="337"/>
                    </a:lnTo>
                    <a:lnTo>
                      <a:pt x="326" y="335"/>
                    </a:lnTo>
                    <a:lnTo>
                      <a:pt x="328" y="335"/>
                    </a:lnTo>
                    <a:lnTo>
                      <a:pt x="332" y="335"/>
                    </a:lnTo>
                    <a:lnTo>
                      <a:pt x="334" y="335"/>
                    </a:lnTo>
                    <a:lnTo>
                      <a:pt x="336" y="333"/>
                    </a:lnTo>
                    <a:lnTo>
                      <a:pt x="336" y="332"/>
                    </a:lnTo>
                    <a:lnTo>
                      <a:pt x="334" y="326"/>
                    </a:lnTo>
                    <a:lnTo>
                      <a:pt x="334" y="324"/>
                    </a:lnTo>
                    <a:lnTo>
                      <a:pt x="336" y="324"/>
                    </a:lnTo>
                    <a:lnTo>
                      <a:pt x="338" y="324"/>
                    </a:lnTo>
                    <a:lnTo>
                      <a:pt x="340" y="324"/>
                    </a:lnTo>
                    <a:lnTo>
                      <a:pt x="342" y="314"/>
                    </a:lnTo>
                    <a:lnTo>
                      <a:pt x="342" y="312"/>
                    </a:lnTo>
                    <a:lnTo>
                      <a:pt x="342" y="309"/>
                    </a:lnTo>
                    <a:lnTo>
                      <a:pt x="342" y="309"/>
                    </a:lnTo>
                    <a:lnTo>
                      <a:pt x="340" y="309"/>
                    </a:lnTo>
                    <a:lnTo>
                      <a:pt x="338" y="309"/>
                    </a:lnTo>
                    <a:lnTo>
                      <a:pt x="338" y="307"/>
                    </a:lnTo>
                    <a:lnTo>
                      <a:pt x="338" y="301"/>
                    </a:lnTo>
                    <a:lnTo>
                      <a:pt x="334" y="295"/>
                    </a:lnTo>
                    <a:lnTo>
                      <a:pt x="334" y="293"/>
                    </a:lnTo>
                    <a:lnTo>
                      <a:pt x="334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0" y="288"/>
                    </a:lnTo>
                    <a:lnTo>
                      <a:pt x="340" y="286"/>
                    </a:lnTo>
                    <a:lnTo>
                      <a:pt x="342" y="284"/>
                    </a:lnTo>
                    <a:lnTo>
                      <a:pt x="342" y="284"/>
                    </a:lnTo>
                    <a:lnTo>
                      <a:pt x="344" y="282"/>
                    </a:lnTo>
                    <a:lnTo>
                      <a:pt x="344" y="282"/>
                    </a:lnTo>
                    <a:lnTo>
                      <a:pt x="346" y="280"/>
                    </a:lnTo>
                    <a:lnTo>
                      <a:pt x="347" y="280"/>
                    </a:lnTo>
                    <a:lnTo>
                      <a:pt x="347" y="278"/>
                    </a:lnTo>
                    <a:lnTo>
                      <a:pt x="347" y="278"/>
                    </a:lnTo>
                    <a:lnTo>
                      <a:pt x="347" y="276"/>
                    </a:lnTo>
                    <a:lnTo>
                      <a:pt x="347" y="276"/>
                    </a:lnTo>
                    <a:lnTo>
                      <a:pt x="347" y="274"/>
                    </a:lnTo>
                    <a:lnTo>
                      <a:pt x="347" y="274"/>
                    </a:lnTo>
                    <a:lnTo>
                      <a:pt x="349" y="273"/>
                    </a:lnTo>
                    <a:lnTo>
                      <a:pt x="351" y="273"/>
                    </a:lnTo>
                    <a:lnTo>
                      <a:pt x="353" y="271"/>
                    </a:lnTo>
                    <a:lnTo>
                      <a:pt x="355" y="267"/>
                    </a:lnTo>
                    <a:lnTo>
                      <a:pt x="355" y="263"/>
                    </a:lnTo>
                    <a:lnTo>
                      <a:pt x="353" y="259"/>
                    </a:lnTo>
                    <a:lnTo>
                      <a:pt x="353" y="255"/>
                    </a:lnTo>
                    <a:lnTo>
                      <a:pt x="351" y="252"/>
                    </a:lnTo>
                    <a:lnTo>
                      <a:pt x="351" y="248"/>
                    </a:lnTo>
                    <a:lnTo>
                      <a:pt x="353" y="244"/>
                    </a:lnTo>
                    <a:lnTo>
                      <a:pt x="357" y="242"/>
                    </a:lnTo>
                    <a:lnTo>
                      <a:pt x="365" y="240"/>
                    </a:lnTo>
                    <a:lnTo>
                      <a:pt x="367" y="238"/>
                    </a:lnTo>
                    <a:lnTo>
                      <a:pt x="372" y="229"/>
                    </a:lnTo>
                    <a:lnTo>
                      <a:pt x="376" y="225"/>
                    </a:lnTo>
                    <a:lnTo>
                      <a:pt x="378" y="219"/>
                    </a:lnTo>
                    <a:lnTo>
                      <a:pt x="378" y="217"/>
                    </a:lnTo>
                    <a:lnTo>
                      <a:pt x="380" y="215"/>
                    </a:lnTo>
                    <a:lnTo>
                      <a:pt x="386" y="215"/>
                    </a:lnTo>
                    <a:lnTo>
                      <a:pt x="387" y="215"/>
                    </a:lnTo>
                    <a:lnTo>
                      <a:pt x="389" y="214"/>
                    </a:lnTo>
                    <a:lnTo>
                      <a:pt x="391" y="212"/>
                    </a:lnTo>
                    <a:lnTo>
                      <a:pt x="397" y="208"/>
                    </a:lnTo>
                    <a:lnTo>
                      <a:pt x="397" y="206"/>
                    </a:lnTo>
                    <a:lnTo>
                      <a:pt x="401" y="200"/>
                    </a:lnTo>
                    <a:lnTo>
                      <a:pt x="403" y="198"/>
                    </a:lnTo>
                    <a:lnTo>
                      <a:pt x="410" y="193"/>
                    </a:lnTo>
                    <a:lnTo>
                      <a:pt x="412" y="189"/>
                    </a:lnTo>
                    <a:lnTo>
                      <a:pt x="412" y="185"/>
                    </a:lnTo>
                    <a:lnTo>
                      <a:pt x="414" y="183"/>
                    </a:lnTo>
                    <a:lnTo>
                      <a:pt x="416" y="181"/>
                    </a:lnTo>
                    <a:lnTo>
                      <a:pt x="418" y="179"/>
                    </a:lnTo>
                    <a:lnTo>
                      <a:pt x="418" y="181"/>
                    </a:lnTo>
                    <a:lnTo>
                      <a:pt x="420" y="183"/>
                    </a:lnTo>
                    <a:lnTo>
                      <a:pt x="422" y="185"/>
                    </a:lnTo>
                    <a:lnTo>
                      <a:pt x="431" y="181"/>
                    </a:lnTo>
                    <a:lnTo>
                      <a:pt x="431" y="181"/>
                    </a:lnTo>
                    <a:lnTo>
                      <a:pt x="433" y="179"/>
                    </a:lnTo>
                    <a:lnTo>
                      <a:pt x="431" y="177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5" name="Freeform 7">
                <a:extLst>
                  <a:ext uri="{FF2B5EF4-FFF2-40B4-BE49-F238E27FC236}">
                    <a16:creationId xmlns:a16="http://schemas.microsoft.com/office/drawing/2014/main" id="{1B0B1812-8C12-4FBB-A172-52FC15FE0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907" y="3032599"/>
                <a:ext cx="1504950" cy="1452563"/>
              </a:xfrm>
              <a:custGeom>
                <a:avLst/>
                <a:gdLst>
                  <a:gd name="T0" fmla="*/ 887 w 948"/>
                  <a:gd name="T1" fmla="*/ 616 h 915"/>
                  <a:gd name="T2" fmla="*/ 891 w 948"/>
                  <a:gd name="T3" fmla="*/ 578 h 915"/>
                  <a:gd name="T4" fmla="*/ 864 w 948"/>
                  <a:gd name="T5" fmla="*/ 550 h 915"/>
                  <a:gd name="T6" fmla="*/ 920 w 948"/>
                  <a:gd name="T7" fmla="*/ 533 h 915"/>
                  <a:gd name="T8" fmla="*/ 876 w 948"/>
                  <a:gd name="T9" fmla="*/ 481 h 915"/>
                  <a:gd name="T10" fmla="*/ 830 w 948"/>
                  <a:gd name="T11" fmla="*/ 426 h 915"/>
                  <a:gd name="T12" fmla="*/ 702 w 948"/>
                  <a:gd name="T13" fmla="*/ 386 h 915"/>
                  <a:gd name="T14" fmla="*/ 552 w 948"/>
                  <a:gd name="T15" fmla="*/ 331 h 915"/>
                  <a:gd name="T16" fmla="*/ 483 w 948"/>
                  <a:gd name="T17" fmla="*/ 283 h 915"/>
                  <a:gd name="T18" fmla="*/ 418 w 948"/>
                  <a:gd name="T19" fmla="*/ 257 h 915"/>
                  <a:gd name="T20" fmla="*/ 359 w 948"/>
                  <a:gd name="T21" fmla="*/ 234 h 915"/>
                  <a:gd name="T22" fmla="*/ 298 w 948"/>
                  <a:gd name="T23" fmla="*/ 220 h 915"/>
                  <a:gd name="T24" fmla="*/ 210 w 948"/>
                  <a:gd name="T25" fmla="*/ 160 h 915"/>
                  <a:gd name="T26" fmla="*/ 163 w 948"/>
                  <a:gd name="T27" fmla="*/ 89 h 915"/>
                  <a:gd name="T28" fmla="*/ 86 w 948"/>
                  <a:gd name="T29" fmla="*/ 63 h 915"/>
                  <a:gd name="T30" fmla="*/ 31 w 948"/>
                  <a:gd name="T31" fmla="*/ 53 h 915"/>
                  <a:gd name="T32" fmla="*/ 2 w 948"/>
                  <a:gd name="T33" fmla="*/ 122 h 915"/>
                  <a:gd name="T34" fmla="*/ 10 w 948"/>
                  <a:gd name="T35" fmla="*/ 186 h 915"/>
                  <a:gd name="T36" fmla="*/ 33 w 948"/>
                  <a:gd name="T37" fmla="*/ 260 h 915"/>
                  <a:gd name="T38" fmla="*/ 54 w 948"/>
                  <a:gd name="T39" fmla="*/ 304 h 915"/>
                  <a:gd name="T40" fmla="*/ 54 w 948"/>
                  <a:gd name="T41" fmla="*/ 356 h 915"/>
                  <a:gd name="T42" fmla="*/ 33 w 948"/>
                  <a:gd name="T43" fmla="*/ 399 h 915"/>
                  <a:gd name="T44" fmla="*/ 71 w 948"/>
                  <a:gd name="T45" fmla="*/ 449 h 915"/>
                  <a:gd name="T46" fmla="*/ 71 w 948"/>
                  <a:gd name="T47" fmla="*/ 481 h 915"/>
                  <a:gd name="T48" fmla="*/ 42 w 948"/>
                  <a:gd name="T49" fmla="*/ 517 h 915"/>
                  <a:gd name="T50" fmla="*/ 119 w 948"/>
                  <a:gd name="T51" fmla="*/ 502 h 915"/>
                  <a:gd name="T52" fmla="*/ 145 w 948"/>
                  <a:gd name="T53" fmla="*/ 502 h 915"/>
                  <a:gd name="T54" fmla="*/ 191 w 948"/>
                  <a:gd name="T55" fmla="*/ 521 h 915"/>
                  <a:gd name="T56" fmla="*/ 241 w 948"/>
                  <a:gd name="T57" fmla="*/ 546 h 915"/>
                  <a:gd name="T58" fmla="*/ 235 w 948"/>
                  <a:gd name="T59" fmla="*/ 607 h 915"/>
                  <a:gd name="T60" fmla="*/ 208 w 948"/>
                  <a:gd name="T61" fmla="*/ 677 h 915"/>
                  <a:gd name="T62" fmla="*/ 161 w 948"/>
                  <a:gd name="T63" fmla="*/ 759 h 915"/>
                  <a:gd name="T64" fmla="*/ 149 w 948"/>
                  <a:gd name="T65" fmla="*/ 835 h 915"/>
                  <a:gd name="T66" fmla="*/ 178 w 948"/>
                  <a:gd name="T67" fmla="*/ 846 h 915"/>
                  <a:gd name="T68" fmla="*/ 241 w 948"/>
                  <a:gd name="T69" fmla="*/ 839 h 915"/>
                  <a:gd name="T70" fmla="*/ 210 w 948"/>
                  <a:gd name="T71" fmla="*/ 805 h 915"/>
                  <a:gd name="T72" fmla="*/ 191 w 948"/>
                  <a:gd name="T73" fmla="*/ 711 h 915"/>
                  <a:gd name="T74" fmla="*/ 210 w 948"/>
                  <a:gd name="T75" fmla="*/ 694 h 915"/>
                  <a:gd name="T76" fmla="*/ 233 w 948"/>
                  <a:gd name="T77" fmla="*/ 704 h 915"/>
                  <a:gd name="T78" fmla="*/ 237 w 948"/>
                  <a:gd name="T79" fmla="*/ 734 h 915"/>
                  <a:gd name="T80" fmla="*/ 258 w 948"/>
                  <a:gd name="T81" fmla="*/ 744 h 915"/>
                  <a:gd name="T82" fmla="*/ 281 w 948"/>
                  <a:gd name="T83" fmla="*/ 725 h 915"/>
                  <a:gd name="T84" fmla="*/ 287 w 948"/>
                  <a:gd name="T85" fmla="*/ 749 h 915"/>
                  <a:gd name="T86" fmla="*/ 317 w 948"/>
                  <a:gd name="T87" fmla="*/ 740 h 915"/>
                  <a:gd name="T88" fmla="*/ 370 w 948"/>
                  <a:gd name="T89" fmla="*/ 721 h 915"/>
                  <a:gd name="T90" fmla="*/ 416 w 948"/>
                  <a:gd name="T91" fmla="*/ 730 h 915"/>
                  <a:gd name="T92" fmla="*/ 403 w 948"/>
                  <a:gd name="T93" fmla="*/ 753 h 915"/>
                  <a:gd name="T94" fmla="*/ 433 w 948"/>
                  <a:gd name="T95" fmla="*/ 757 h 915"/>
                  <a:gd name="T96" fmla="*/ 452 w 948"/>
                  <a:gd name="T97" fmla="*/ 755 h 915"/>
                  <a:gd name="T98" fmla="*/ 477 w 948"/>
                  <a:gd name="T99" fmla="*/ 736 h 915"/>
                  <a:gd name="T100" fmla="*/ 492 w 948"/>
                  <a:gd name="T101" fmla="*/ 770 h 915"/>
                  <a:gd name="T102" fmla="*/ 525 w 948"/>
                  <a:gd name="T103" fmla="*/ 742 h 915"/>
                  <a:gd name="T104" fmla="*/ 565 w 948"/>
                  <a:gd name="T105" fmla="*/ 746 h 915"/>
                  <a:gd name="T106" fmla="*/ 605 w 948"/>
                  <a:gd name="T107" fmla="*/ 767 h 915"/>
                  <a:gd name="T108" fmla="*/ 647 w 948"/>
                  <a:gd name="T109" fmla="*/ 797 h 915"/>
                  <a:gd name="T110" fmla="*/ 674 w 948"/>
                  <a:gd name="T111" fmla="*/ 812 h 915"/>
                  <a:gd name="T112" fmla="*/ 721 w 948"/>
                  <a:gd name="T113" fmla="*/ 826 h 915"/>
                  <a:gd name="T114" fmla="*/ 712 w 948"/>
                  <a:gd name="T115" fmla="*/ 886 h 915"/>
                  <a:gd name="T116" fmla="*/ 778 w 948"/>
                  <a:gd name="T117" fmla="*/ 896 h 915"/>
                  <a:gd name="T118" fmla="*/ 798 w 948"/>
                  <a:gd name="T119" fmla="*/ 833 h 915"/>
                  <a:gd name="T120" fmla="*/ 792 w 948"/>
                  <a:gd name="T121" fmla="*/ 774 h 915"/>
                  <a:gd name="T122" fmla="*/ 860 w 948"/>
                  <a:gd name="T123" fmla="*/ 689 h 915"/>
                  <a:gd name="T124" fmla="*/ 912 w 948"/>
                  <a:gd name="T125" fmla="*/ 669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48" h="915">
                    <a:moveTo>
                      <a:pt x="948" y="656"/>
                    </a:moveTo>
                    <a:lnTo>
                      <a:pt x="948" y="654"/>
                    </a:lnTo>
                    <a:lnTo>
                      <a:pt x="948" y="654"/>
                    </a:lnTo>
                    <a:lnTo>
                      <a:pt x="939" y="645"/>
                    </a:lnTo>
                    <a:lnTo>
                      <a:pt x="937" y="645"/>
                    </a:lnTo>
                    <a:lnTo>
                      <a:pt x="935" y="645"/>
                    </a:lnTo>
                    <a:lnTo>
                      <a:pt x="931" y="645"/>
                    </a:lnTo>
                    <a:lnTo>
                      <a:pt x="929" y="645"/>
                    </a:lnTo>
                    <a:lnTo>
                      <a:pt x="923" y="641"/>
                    </a:lnTo>
                    <a:lnTo>
                      <a:pt x="923" y="641"/>
                    </a:lnTo>
                    <a:lnTo>
                      <a:pt x="923" y="639"/>
                    </a:lnTo>
                    <a:lnTo>
                      <a:pt x="922" y="637"/>
                    </a:lnTo>
                    <a:lnTo>
                      <a:pt x="920" y="635"/>
                    </a:lnTo>
                    <a:lnTo>
                      <a:pt x="918" y="633"/>
                    </a:lnTo>
                    <a:lnTo>
                      <a:pt x="914" y="633"/>
                    </a:lnTo>
                    <a:lnTo>
                      <a:pt x="914" y="635"/>
                    </a:lnTo>
                    <a:lnTo>
                      <a:pt x="908" y="635"/>
                    </a:lnTo>
                    <a:lnTo>
                      <a:pt x="906" y="635"/>
                    </a:lnTo>
                    <a:lnTo>
                      <a:pt x="904" y="635"/>
                    </a:lnTo>
                    <a:lnTo>
                      <a:pt x="902" y="633"/>
                    </a:lnTo>
                    <a:lnTo>
                      <a:pt x="901" y="631"/>
                    </a:lnTo>
                    <a:lnTo>
                      <a:pt x="901" y="631"/>
                    </a:lnTo>
                    <a:lnTo>
                      <a:pt x="899" y="630"/>
                    </a:lnTo>
                    <a:lnTo>
                      <a:pt x="899" y="626"/>
                    </a:lnTo>
                    <a:lnTo>
                      <a:pt x="897" y="624"/>
                    </a:lnTo>
                    <a:lnTo>
                      <a:pt x="897" y="624"/>
                    </a:lnTo>
                    <a:lnTo>
                      <a:pt x="895" y="624"/>
                    </a:lnTo>
                    <a:lnTo>
                      <a:pt x="893" y="622"/>
                    </a:lnTo>
                    <a:lnTo>
                      <a:pt x="893" y="620"/>
                    </a:lnTo>
                    <a:lnTo>
                      <a:pt x="891" y="618"/>
                    </a:lnTo>
                    <a:lnTo>
                      <a:pt x="891" y="616"/>
                    </a:lnTo>
                    <a:lnTo>
                      <a:pt x="889" y="616"/>
                    </a:lnTo>
                    <a:lnTo>
                      <a:pt x="887" y="616"/>
                    </a:lnTo>
                    <a:lnTo>
                      <a:pt x="885" y="614"/>
                    </a:lnTo>
                    <a:lnTo>
                      <a:pt x="883" y="612"/>
                    </a:lnTo>
                    <a:lnTo>
                      <a:pt x="883" y="612"/>
                    </a:lnTo>
                    <a:lnTo>
                      <a:pt x="881" y="612"/>
                    </a:lnTo>
                    <a:lnTo>
                      <a:pt x="880" y="612"/>
                    </a:lnTo>
                    <a:lnTo>
                      <a:pt x="876" y="603"/>
                    </a:lnTo>
                    <a:lnTo>
                      <a:pt x="874" y="601"/>
                    </a:lnTo>
                    <a:lnTo>
                      <a:pt x="872" y="597"/>
                    </a:lnTo>
                    <a:lnTo>
                      <a:pt x="870" y="597"/>
                    </a:lnTo>
                    <a:lnTo>
                      <a:pt x="870" y="595"/>
                    </a:lnTo>
                    <a:lnTo>
                      <a:pt x="870" y="593"/>
                    </a:lnTo>
                    <a:lnTo>
                      <a:pt x="870" y="593"/>
                    </a:lnTo>
                    <a:lnTo>
                      <a:pt x="870" y="591"/>
                    </a:lnTo>
                    <a:lnTo>
                      <a:pt x="872" y="591"/>
                    </a:lnTo>
                    <a:lnTo>
                      <a:pt x="872" y="591"/>
                    </a:lnTo>
                    <a:lnTo>
                      <a:pt x="872" y="591"/>
                    </a:lnTo>
                    <a:lnTo>
                      <a:pt x="874" y="590"/>
                    </a:lnTo>
                    <a:lnTo>
                      <a:pt x="881" y="590"/>
                    </a:lnTo>
                    <a:lnTo>
                      <a:pt x="883" y="590"/>
                    </a:lnTo>
                    <a:lnTo>
                      <a:pt x="883" y="590"/>
                    </a:lnTo>
                    <a:lnTo>
                      <a:pt x="885" y="588"/>
                    </a:lnTo>
                    <a:lnTo>
                      <a:pt x="885" y="588"/>
                    </a:lnTo>
                    <a:lnTo>
                      <a:pt x="887" y="588"/>
                    </a:lnTo>
                    <a:lnTo>
                      <a:pt x="887" y="588"/>
                    </a:lnTo>
                    <a:lnTo>
                      <a:pt x="889" y="588"/>
                    </a:lnTo>
                    <a:lnTo>
                      <a:pt x="889" y="588"/>
                    </a:lnTo>
                    <a:lnTo>
                      <a:pt x="893" y="588"/>
                    </a:lnTo>
                    <a:lnTo>
                      <a:pt x="895" y="586"/>
                    </a:lnTo>
                    <a:lnTo>
                      <a:pt x="895" y="586"/>
                    </a:lnTo>
                    <a:lnTo>
                      <a:pt x="895" y="586"/>
                    </a:lnTo>
                    <a:lnTo>
                      <a:pt x="893" y="582"/>
                    </a:lnTo>
                    <a:lnTo>
                      <a:pt x="891" y="580"/>
                    </a:lnTo>
                    <a:lnTo>
                      <a:pt x="891" y="578"/>
                    </a:lnTo>
                    <a:lnTo>
                      <a:pt x="891" y="578"/>
                    </a:lnTo>
                    <a:lnTo>
                      <a:pt x="895" y="574"/>
                    </a:lnTo>
                    <a:lnTo>
                      <a:pt x="895" y="572"/>
                    </a:lnTo>
                    <a:lnTo>
                      <a:pt x="895" y="571"/>
                    </a:lnTo>
                    <a:lnTo>
                      <a:pt x="895" y="571"/>
                    </a:lnTo>
                    <a:lnTo>
                      <a:pt x="893" y="569"/>
                    </a:lnTo>
                    <a:lnTo>
                      <a:pt x="885" y="567"/>
                    </a:lnTo>
                    <a:lnTo>
                      <a:pt x="881" y="567"/>
                    </a:lnTo>
                    <a:lnTo>
                      <a:pt x="880" y="565"/>
                    </a:lnTo>
                    <a:lnTo>
                      <a:pt x="876" y="561"/>
                    </a:lnTo>
                    <a:lnTo>
                      <a:pt x="874" y="561"/>
                    </a:lnTo>
                    <a:lnTo>
                      <a:pt x="874" y="559"/>
                    </a:lnTo>
                    <a:lnTo>
                      <a:pt x="872" y="559"/>
                    </a:lnTo>
                    <a:lnTo>
                      <a:pt x="872" y="561"/>
                    </a:lnTo>
                    <a:lnTo>
                      <a:pt x="872" y="561"/>
                    </a:lnTo>
                    <a:lnTo>
                      <a:pt x="872" y="561"/>
                    </a:lnTo>
                    <a:lnTo>
                      <a:pt x="870" y="563"/>
                    </a:lnTo>
                    <a:lnTo>
                      <a:pt x="868" y="563"/>
                    </a:lnTo>
                    <a:lnTo>
                      <a:pt x="868" y="563"/>
                    </a:lnTo>
                    <a:lnTo>
                      <a:pt x="866" y="563"/>
                    </a:lnTo>
                    <a:lnTo>
                      <a:pt x="864" y="563"/>
                    </a:lnTo>
                    <a:lnTo>
                      <a:pt x="862" y="561"/>
                    </a:lnTo>
                    <a:lnTo>
                      <a:pt x="860" y="559"/>
                    </a:lnTo>
                    <a:lnTo>
                      <a:pt x="860" y="559"/>
                    </a:lnTo>
                    <a:lnTo>
                      <a:pt x="860" y="555"/>
                    </a:lnTo>
                    <a:lnTo>
                      <a:pt x="860" y="555"/>
                    </a:lnTo>
                    <a:lnTo>
                      <a:pt x="860" y="552"/>
                    </a:lnTo>
                    <a:lnTo>
                      <a:pt x="862" y="550"/>
                    </a:lnTo>
                    <a:lnTo>
                      <a:pt x="862" y="550"/>
                    </a:lnTo>
                    <a:lnTo>
                      <a:pt x="862" y="550"/>
                    </a:lnTo>
                    <a:lnTo>
                      <a:pt x="864" y="550"/>
                    </a:lnTo>
                    <a:lnTo>
                      <a:pt x="864" y="550"/>
                    </a:lnTo>
                    <a:lnTo>
                      <a:pt x="864" y="550"/>
                    </a:lnTo>
                    <a:lnTo>
                      <a:pt x="864" y="550"/>
                    </a:lnTo>
                    <a:lnTo>
                      <a:pt x="866" y="552"/>
                    </a:lnTo>
                    <a:lnTo>
                      <a:pt x="866" y="552"/>
                    </a:lnTo>
                    <a:lnTo>
                      <a:pt x="866" y="553"/>
                    </a:lnTo>
                    <a:lnTo>
                      <a:pt x="866" y="553"/>
                    </a:lnTo>
                    <a:lnTo>
                      <a:pt x="866" y="553"/>
                    </a:lnTo>
                    <a:lnTo>
                      <a:pt x="868" y="553"/>
                    </a:lnTo>
                    <a:lnTo>
                      <a:pt x="868" y="553"/>
                    </a:lnTo>
                    <a:lnTo>
                      <a:pt x="870" y="552"/>
                    </a:lnTo>
                    <a:lnTo>
                      <a:pt x="870" y="550"/>
                    </a:lnTo>
                    <a:lnTo>
                      <a:pt x="870" y="550"/>
                    </a:lnTo>
                    <a:lnTo>
                      <a:pt x="870" y="550"/>
                    </a:lnTo>
                    <a:lnTo>
                      <a:pt x="876" y="548"/>
                    </a:lnTo>
                    <a:lnTo>
                      <a:pt x="878" y="548"/>
                    </a:lnTo>
                    <a:lnTo>
                      <a:pt x="878" y="548"/>
                    </a:lnTo>
                    <a:lnTo>
                      <a:pt x="880" y="546"/>
                    </a:lnTo>
                    <a:lnTo>
                      <a:pt x="880" y="544"/>
                    </a:lnTo>
                    <a:lnTo>
                      <a:pt x="880" y="544"/>
                    </a:lnTo>
                    <a:lnTo>
                      <a:pt x="881" y="538"/>
                    </a:lnTo>
                    <a:lnTo>
                      <a:pt x="881" y="536"/>
                    </a:lnTo>
                    <a:lnTo>
                      <a:pt x="883" y="536"/>
                    </a:lnTo>
                    <a:lnTo>
                      <a:pt x="883" y="534"/>
                    </a:lnTo>
                    <a:lnTo>
                      <a:pt x="885" y="534"/>
                    </a:lnTo>
                    <a:lnTo>
                      <a:pt x="889" y="534"/>
                    </a:lnTo>
                    <a:lnTo>
                      <a:pt x="891" y="534"/>
                    </a:lnTo>
                    <a:lnTo>
                      <a:pt x="893" y="534"/>
                    </a:lnTo>
                    <a:lnTo>
                      <a:pt x="895" y="536"/>
                    </a:lnTo>
                    <a:lnTo>
                      <a:pt x="901" y="536"/>
                    </a:lnTo>
                    <a:lnTo>
                      <a:pt x="920" y="536"/>
                    </a:lnTo>
                    <a:lnTo>
                      <a:pt x="922" y="534"/>
                    </a:lnTo>
                    <a:lnTo>
                      <a:pt x="922" y="534"/>
                    </a:lnTo>
                    <a:lnTo>
                      <a:pt x="922" y="534"/>
                    </a:lnTo>
                    <a:lnTo>
                      <a:pt x="920" y="533"/>
                    </a:lnTo>
                    <a:lnTo>
                      <a:pt x="920" y="531"/>
                    </a:lnTo>
                    <a:lnTo>
                      <a:pt x="910" y="521"/>
                    </a:lnTo>
                    <a:lnTo>
                      <a:pt x="908" y="521"/>
                    </a:lnTo>
                    <a:lnTo>
                      <a:pt x="906" y="521"/>
                    </a:lnTo>
                    <a:lnTo>
                      <a:pt x="906" y="521"/>
                    </a:lnTo>
                    <a:lnTo>
                      <a:pt x="904" y="521"/>
                    </a:lnTo>
                    <a:lnTo>
                      <a:pt x="902" y="521"/>
                    </a:lnTo>
                    <a:lnTo>
                      <a:pt x="902" y="519"/>
                    </a:lnTo>
                    <a:lnTo>
                      <a:pt x="902" y="517"/>
                    </a:lnTo>
                    <a:lnTo>
                      <a:pt x="902" y="512"/>
                    </a:lnTo>
                    <a:lnTo>
                      <a:pt x="902" y="510"/>
                    </a:lnTo>
                    <a:lnTo>
                      <a:pt x="902" y="506"/>
                    </a:lnTo>
                    <a:lnTo>
                      <a:pt x="902" y="504"/>
                    </a:lnTo>
                    <a:lnTo>
                      <a:pt x="901" y="502"/>
                    </a:lnTo>
                    <a:lnTo>
                      <a:pt x="901" y="502"/>
                    </a:lnTo>
                    <a:lnTo>
                      <a:pt x="899" y="500"/>
                    </a:lnTo>
                    <a:lnTo>
                      <a:pt x="897" y="500"/>
                    </a:lnTo>
                    <a:lnTo>
                      <a:pt x="897" y="500"/>
                    </a:lnTo>
                    <a:lnTo>
                      <a:pt x="895" y="500"/>
                    </a:lnTo>
                    <a:lnTo>
                      <a:pt x="893" y="502"/>
                    </a:lnTo>
                    <a:lnTo>
                      <a:pt x="893" y="502"/>
                    </a:lnTo>
                    <a:lnTo>
                      <a:pt x="893" y="502"/>
                    </a:lnTo>
                    <a:lnTo>
                      <a:pt x="891" y="504"/>
                    </a:lnTo>
                    <a:lnTo>
                      <a:pt x="891" y="504"/>
                    </a:lnTo>
                    <a:lnTo>
                      <a:pt x="887" y="500"/>
                    </a:lnTo>
                    <a:lnTo>
                      <a:pt x="885" y="500"/>
                    </a:lnTo>
                    <a:lnTo>
                      <a:pt x="883" y="498"/>
                    </a:lnTo>
                    <a:lnTo>
                      <a:pt x="881" y="498"/>
                    </a:lnTo>
                    <a:lnTo>
                      <a:pt x="880" y="496"/>
                    </a:lnTo>
                    <a:lnTo>
                      <a:pt x="880" y="494"/>
                    </a:lnTo>
                    <a:lnTo>
                      <a:pt x="876" y="487"/>
                    </a:lnTo>
                    <a:lnTo>
                      <a:pt x="876" y="485"/>
                    </a:lnTo>
                    <a:lnTo>
                      <a:pt x="876" y="481"/>
                    </a:lnTo>
                    <a:lnTo>
                      <a:pt x="876" y="479"/>
                    </a:lnTo>
                    <a:lnTo>
                      <a:pt x="874" y="477"/>
                    </a:lnTo>
                    <a:lnTo>
                      <a:pt x="874" y="475"/>
                    </a:lnTo>
                    <a:lnTo>
                      <a:pt x="872" y="475"/>
                    </a:lnTo>
                    <a:lnTo>
                      <a:pt x="870" y="474"/>
                    </a:lnTo>
                    <a:lnTo>
                      <a:pt x="868" y="470"/>
                    </a:lnTo>
                    <a:lnTo>
                      <a:pt x="868" y="468"/>
                    </a:lnTo>
                    <a:lnTo>
                      <a:pt x="864" y="466"/>
                    </a:lnTo>
                    <a:lnTo>
                      <a:pt x="864" y="464"/>
                    </a:lnTo>
                    <a:lnTo>
                      <a:pt x="864" y="462"/>
                    </a:lnTo>
                    <a:lnTo>
                      <a:pt x="864" y="460"/>
                    </a:lnTo>
                    <a:lnTo>
                      <a:pt x="864" y="456"/>
                    </a:lnTo>
                    <a:lnTo>
                      <a:pt x="864" y="455"/>
                    </a:lnTo>
                    <a:lnTo>
                      <a:pt x="862" y="453"/>
                    </a:lnTo>
                    <a:lnTo>
                      <a:pt x="862" y="451"/>
                    </a:lnTo>
                    <a:lnTo>
                      <a:pt x="860" y="451"/>
                    </a:lnTo>
                    <a:lnTo>
                      <a:pt x="859" y="449"/>
                    </a:lnTo>
                    <a:lnTo>
                      <a:pt x="859" y="447"/>
                    </a:lnTo>
                    <a:lnTo>
                      <a:pt x="857" y="447"/>
                    </a:lnTo>
                    <a:lnTo>
                      <a:pt x="857" y="445"/>
                    </a:lnTo>
                    <a:lnTo>
                      <a:pt x="859" y="441"/>
                    </a:lnTo>
                    <a:lnTo>
                      <a:pt x="859" y="441"/>
                    </a:lnTo>
                    <a:lnTo>
                      <a:pt x="859" y="439"/>
                    </a:lnTo>
                    <a:lnTo>
                      <a:pt x="857" y="439"/>
                    </a:lnTo>
                    <a:lnTo>
                      <a:pt x="853" y="439"/>
                    </a:lnTo>
                    <a:lnTo>
                      <a:pt x="853" y="439"/>
                    </a:lnTo>
                    <a:lnTo>
                      <a:pt x="853" y="439"/>
                    </a:lnTo>
                    <a:lnTo>
                      <a:pt x="853" y="439"/>
                    </a:lnTo>
                    <a:lnTo>
                      <a:pt x="853" y="437"/>
                    </a:lnTo>
                    <a:lnTo>
                      <a:pt x="853" y="437"/>
                    </a:lnTo>
                    <a:lnTo>
                      <a:pt x="853" y="437"/>
                    </a:lnTo>
                    <a:lnTo>
                      <a:pt x="847" y="435"/>
                    </a:lnTo>
                    <a:lnTo>
                      <a:pt x="830" y="426"/>
                    </a:lnTo>
                    <a:lnTo>
                      <a:pt x="820" y="422"/>
                    </a:lnTo>
                    <a:lnTo>
                      <a:pt x="807" y="420"/>
                    </a:lnTo>
                    <a:lnTo>
                      <a:pt x="794" y="420"/>
                    </a:lnTo>
                    <a:lnTo>
                      <a:pt x="792" y="420"/>
                    </a:lnTo>
                    <a:lnTo>
                      <a:pt x="790" y="422"/>
                    </a:lnTo>
                    <a:lnTo>
                      <a:pt x="790" y="424"/>
                    </a:lnTo>
                    <a:lnTo>
                      <a:pt x="790" y="426"/>
                    </a:lnTo>
                    <a:lnTo>
                      <a:pt x="792" y="428"/>
                    </a:lnTo>
                    <a:lnTo>
                      <a:pt x="792" y="430"/>
                    </a:lnTo>
                    <a:lnTo>
                      <a:pt x="792" y="432"/>
                    </a:lnTo>
                    <a:lnTo>
                      <a:pt x="788" y="435"/>
                    </a:lnTo>
                    <a:lnTo>
                      <a:pt x="786" y="437"/>
                    </a:lnTo>
                    <a:lnTo>
                      <a:pt x="784" y="439"/>
                    </a:lnTo>
                    <a:lnTo>
                      <a:pt x="782" y="439"/>
                    </a:lnTo>
                    <a:lnTo>
                      <a:pt x="778" y="439"/>
                    </a:lnTo>
                    <a:lnTo>
                      <a:pt x="777" y="437"/>
                    </a:lnTo>
                    <a:lnTo>
                      <a:pt x="777" y="435"/>
                    </a:lnTo>
                    <a:lnTo>
                      <a:pt x="775" y="432"/>
                    </a:lnTo>
                    <a:lnTo>
                      <a:pt x="773" y="430"/>
                    </a:lnTo>
                    <a:lnTo>
                      <a:pt x="767" y="426"/>
                    </a:lnTo>
                    <a:lnTo>
                      <a:pt x="763" y="424"/>
                    </a:lnTo>
                    <a:lnTo>
                      <a:pt x="748" y="424"/>
                    </a:lnTo>
                    <a:lnTo>
                      <a:pt x="738" y="422"/>
                    </a:lnTo>
                    <a:lnTo>
                      <a:pt x="733" y="418"/>
                    </a:lnTo>
                    <a:lnTo>
                      <a:pt x="731" y="418"/>
                    </a:lnTo>
                    <a:lnTo>
                      <a:pt x="716" y="416"/>
                    </a:lnTo>
                    <a:lnTo>
                      <a:pt x="712" y="413"/>
                    </a:lnTo>
                    <a:lnTo>
                      <a:pt x="710" y="407"/>
                    </a:lnTo>
                    <a:lnTo>
                      <a:pt x="710" y="397"/>
                    </a:lnTo>
                    <a:lnTo>
                      <a:pt x="708" y="392"/>
                    </a:lnTo>
                    <a:lnTo>
                      <a:pt x="706" y="388"/>
                    </a:lnTo>
                    <a:lnTo>
                      <a:pt x="706" y="388"/>
                    </a:lnTo>
                    <a:lnTo>
                      <a:pt x="702" y="386"/>
                    </a:lnTo>
                    <a:lnTo>
                      <a:pt x="687" y="392"/>
                    </a:lnTo>
                    <a:lnTo>
                      <a:pt x="676" y="392"/>
                    </a:lnTo>
                    <a:lnTo>
                      <a:pt x="672" y="390"/>
                    </a:lnTo>
                    <a:lnTo>
                      <a:pt x="664" y="384"/>
                    </a:lnTo>
                    <a:lnTo>
                      <a:pt x="655" y="378"/>
                    </a:lnTo>
                    <a:lnTo>
                      <a:pt x="639" y="367"/>
                    </a:lnTo>
                    <a:lnTo>
                      <a:pt x="634" y="365"/>
                    </a:lnTo>
                    <a:lnTo>
                      <a:pt x="632" y="363"/>
                    </a:lnTo>
                    <a:lnTo>
                      <a:pt x="630" y="361"/>
                    </a:lnTo>
                    <a:lnTo>
                      <a:pt x="628" y="357"/>
                    </a:lnTo>
                    <a:lnTo>
                      <a:pt x="626" y="357"/>
                    </a:lnTo>
                    <a:lnTo>
                      <a:pt x="624" y="357"/>
                    </a:lnTo>
                    <a:lnTo>
                      <a:pt x="618" y="357"/>
                    </a:lnTo>
                    <a:lnTo>
                      <a:pt x="614" y="357"/>
                    </a:lnTo>
                    <a:lnTo>
                      <a:pt x="609" y="365"/>
                    </a:lnTo>
                    <a:lnTo>
                      <a:pt x="605" y="367"/>
                    </a:lnTo>
                    <a:lnTo>
                      <a:pt x="603" y="367"/>
                    </a:lnTo>
                    <a:lnTo>
                      <a:pt x="599" y="363"/>
                    </a:lnTo>
                    <a:lnTo>
                      <a:pt x="595" y="361"/>
                    </a:lnTo>
                    <a:lnTo>
                      <a:pt x="590" y="357"/>
                    </a:lnTo>
                    <a:lnTo>
                      <a:pt x="584" y="352"/>
                    </a:lnTo>
                    <a:lnTo>
                      <a:pt x="582" y="350"/>
                    </a:lnTo>
                    <a:lnTo>
                      <a:pt x="578" y="350"/>
                    </a:lnTo>
                    <a:lnTo>
                      <a:pt x="573" y="348"/>
                    </a:lnTo>
                    <a:lnTo>
                      <a:pt x="571" y="346"/>
                    </a:lnTo>
                    <a:lnTo>
                      <a:pt x="571" y="346"/>
                    </a:lnTo>
                    <a:lnTo>
                      <a:pt x="571" y="346"/>
                    </a:lnTo>
                    <a:lnTo>
                      <a:pt x="569" y="342"/>
                    </a:lnTo>
                    <a:lnTo>
                      <a:pt x="565" y="340"/>
                    </a:lnTo>
                    <a:lnTo>
                      <a:pt x="555" y="335"/>
                    </a:lnTo>
                    <a:lnTo>
                      <a:pt x="553" y="335"/>
                    </a:lnTo>
                    <a:lnTo>
                      <a:pt x="552" y="333"/>
                    </a:lnTo>
                    <a:lnTo>
                      <a:pt x="552" y="331"/>
                    </a:lnTo>
                    <a:lnTo>
                      <a:pt x="552" y="329"/>
                    </a:lnTo>
                    <a:lnTo>
                      <a:pt x="550" y="327"/>
                    </a:lnTo>
                    <a:lnTo>
                      <a:pt x="548" y="323"/>
                    </a:lnTo>
                    <a:lnTo>
                      <a:pt x="544" y="321"/>
                    </a:lnTo>
                    <a:lnTo>
                      <a:pt x="542" y="321"/>
                    </a:lnTo>
                    <a:lnTo>
                      <a:pt x="540" y="321"/>
                    </a:lnTo>
                    <a:lnTo>
                      <a:pt x="540" y="323"/>
                    </a:lnTo>
                    <a:lnTo>
                      <a:pt x="538" y="325"/>
                    </a:lnTo>
                    <a:lnTo>
                      <a:pt x="538" y="327"/>
                    </a:lnTo>
                    <a:lnTo>
                      <a:pt x="536" y="327"/>
                    </a:lnTo>
                    <a:lnTo>
                      <a:pt x="534" y="327"/>
                    </a:lnTo>
                    <a:lnTo>
                      <a:pt x="532" y="327"/>
                    </a:lnTo>
                    <a:lnTo>
                      <a:pt x="532" y="325"/>
                    </a:lnTo>
                    <a:lnTo>
                      <a:pt x="531" y="325"/>
                    </a:lnTo>
                    <a:lnTo>
                      <a:pt x="531" y="323"/>
                    </a:lnTo>
                    <a:lnTo>
                      <a:pt x="531" y="321"/>
                    </a:lnTo>
                    <a:lnTo>
                      <a:pt x="532" y="321"/>
                    </a:lnTo>
                    <a:lnTo>
                      <a:pt x="531" y="318"/>
                    </a:lnTo>
                    <a:lnTo>
                      <a:pt x="523" y="310"/>
                    </a:lnTo>
                    <a:lnTo>
                      <a:pt x="521" y="306"/>
                    </a:lnTo>
                    <a:lnTo>
                      <a:pt x="519" y="297"/>
                    </a:lnTo>
                    <a:lnTo>
                      <a:pt x="517" y="293"/>
                    </a:lnTo>
                    <a:lnTo>
                      <a:pt x="513" y="293"/>
                    </a:lnTo>
                    <a:lnTo>
                      <a:pt x="500" y="289"/>
                    </a:lnTo>
                    <a:lnTo>
                      <a:pt x="494" y="289"/>
                    </a:lnTo>
                    <a:lnTo>
                      <a:pt x="494" y="287"/>
                    </a:lnTo>
                    <a:lnTo>
                      <a:pt x="494" y="285"/>
                    </a:lnTo>
                    <a:lnTo>
                      <a:pt x="494" y="283"/>
                    </a:lnTo>
                    <a:lnTo>
                      <a:pt x="492" y="283"/>
                    </a:lnTo>
                    <a:lnTo>
                      <a:pt x="491" y="283"/>
                    </a:lnTo>
                    <a:lnTo>
                      <a:pt x="489" y="283"/>
                    </a:lnTo>
                    <a:lnTo>
                      <a:pt x="485" y="283"/>
                    </a:lnTo>
                    <a:lnTo>
                      <a:pt x="483" y="283"/>
                    </a:lnTo>
                    <a:lnTo>
                      <a:pt x="481" y="281"/>
                    </a:lnTo>
                    <a:lnTo>
                      <a:pt x="481" y="279"/>
                    </a:lnTo>
                    <a:lnTo>
                      <a:pt x="481" y="276"/>
                    </a:lnTo>
                    <a:lnTo>
                      <a:pt x="479" y="274"/>
                    </a:lnTo>
                    <a:lnTo>
                      <a:pt x="477" y="274"/>
                    </a:lnTo>
                    <a:lnTo>
                      <a:pt x="471" y="274"/>
                    </a:lnTo>
                    <a:lnTo>
                      <a:pt x="470" y="274"/>
                    </a:lnTo>
                    <a:lnTo>
                      <a:pt x="468" y="272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4"/>
                    </a:lnTo>
                    <a:lnTo>
                      <a:pt x="454" y="262"/>
                    </a:lnTo>
                    <a:lnTo>
                      <a:pt x="454" y="262"/>
                    </a:lnTo>
                    <a:lnTo>
                      <a:pt x="450" y="257"/>
                    </a:lnTo>
                    <a:lnTo>
                      <a:pt x="449" y="257"/>
                    </a:lnTo>
                    <a:lnTo>
                      <a:pt x="445" y="255"/>
                    </a:lnTo>
                    <a:lnTo>
                      <a:pt x="443" y="255"/>
                    </a:lnTo>
                    <a:lnTo>
                      <a:pt x="441" y="253"/>
                    </a:lnTo>
                    <a:lnTo>
                      <a:pt x="439" y="251"/>
                    </a:lnTo>
                    <a:lnTo>
                      <a:pt x="439" y="251"/>
                    </a:lnTo>
                    <a:lnTo>
                      <a:pt x="439" y="249"/>
                    </a:lnTo>
                    <a:lnTo>
                      <a:pt x="439" y="249"/>
                    </a:lnTo>
                    <a:lnTo>
                      <a:pt x="437" y="249"/>
                    </a:lnTo>
                    <a:lnTo>
                      <a:pt x="435" y="249"/>
                    </a:lnTo>
                    <a:lnTo>
                      <a:pt x="431" y="249"/>
                    </a:lnTo>
                    <a:lnTo>
                      <a:pt x="431" y="251"/>
                    </a:lnTo>
                    <a:lnTo>
                      <a:pt x="431" y="255"/>
                    </a:lnTo>
                    <a:lnTo>
                      <a:pt x="431" y="262"/>
                    </a:lnTo>
                    <a:lnTo>
                      <a:pt x="431" y="264"/>
                    </a:lnTo>
                    <a:lnTo>
                      <a:pt x="428" y="264"/>
                    </a:lnTo>
                    <a:lnTo>
                      <a:pt x="424" y="257"/>
                    </a:lnTo>
                    <a:lnTo>
                      <a:pt x="420" y="257"/>
                    </a:lnTo>
                    <a:lnTo>
                      <a:pt x="418" y="257"/>
                    </a:lnTo>
                    <a:lnTo>
                      <a:pt x="416" y="257"/>
                    </a:lnTo>
                    <a:lnTo>
                      <a:pt x="414" y="257"/>
                    </a:lnTo>
                    <a:lnTo>
                      <a:pt x="410" y="257"/>
                    </a:lnTo>
                    <a:lnTo>
                      <a:pt x="410" y="255"/>
                    </a:lnTo>
                    <a:lnTo>
                      <a:pt x="407" y="247"/>
                    </a:lnTo>
                    <a:lnTo>
                      <a:pt x="405" y="245"/>
                    </a:lnTo>
                    <a:lnTo>
                      <a:pt x="403" y="245"/>
                    </a:lnTo>
                    <a:lnTo>
                      <a:pt x="403" y="245"/>
                    </a:lnTo>
                    <a:lnTo>
                      <a:pt x="401" y="243"/>
                    </a:lnTo>
                    <a:lnTo>
                      <a:pt x="399" y="241"/>
                    </a:lnTo>
                    <a:lnTo>
                      <a:pt x="399" y="241"/>
                    </a:lnTo>
                    <a:lnTo>
                      <a:pt x="397" y="240"/>
                    </a:lnTo>
                    <a:lnTo>
                      <a:pt x="393" y="240"/>
                    </a:lnTo>
                    <a:lnTo>
                      <a:pt x="389" y="238"/>
                    </a:lnTo>
                    <a:lnTo>
                      <a:pt x="388" y="236"/>
                    </a:lnTo>
                    <a:lnTo>
                      <a:pt x="384" y="230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8" y="230"/>
                    </a:lnTo>
                    <a:lnTo>
                      <a:pt x="378" y="232"/>
                    </a:lnTo>
                    <a:lnTo>
                      <a:pt x="376" y="234"/>
                    </a:lnTo>
                    <a:lnTo>
                      <a:pt x="372" y="238"/>
                    </a:lnTo>
                    <a:lnTo>
                      <a:pt x="372" y="240"/>
                    </a:lnTo>
                    <a:lnTo>
                      <a:pt x="370" y="240"/>
                    </a:lnTo>
                    <a:lnTo>
                      <a:pt x="368" y="241"/>
                    </a:lnTo>
                    <a:lnTo>
                      <a:pt x="367" y="241"/>
                    </a:lnTo>
                    <a:lnTo>
                      <a:pt x="365" y="240"/>
                    </a:lnTo>
                    <a:lnTo>
                      <a:pt x="361" y="240"/>
                    </a:lnTo>
                    <a:lnTo>
                      <a:pt x="361" y="238"/>
                    </a:lnTo>
                    <a:lnTo>
                      <a:pt x="361" y="236"/>
                    </a:lnTo>
                    <a:lnTo>
                      <a:pt x="361" y="234"/>
                    </a:lnTo>
                    <a:lnTo>
                      <a:pt x="361" y="234"/>
                    </a:lnTo>
                    <a:lnTo>
                      <a:pt x="359" y="234"/>
                    </a:lnTo>
                    <a:lnTo>
                      <a:pt x="357" y="234"/>
                    </a:lnTo>
                    <a:lnTo>
                      <a:pt x="357" y="234"/>
                    </a:lnTo>
                    <a:lnTo>
                      <a:pt x="355" y="234"/>
                    </a:lnTo>
                    <a:lnTo>
                      <a:pt x="355" y="232"/>
                    </a:lnTo>
                    <a:lnTo>
                      <a:pt x="357" y="230"/>
                    </a:lnTo>
                    <a:lnTo>
                      <a:pt x="357" y="230"/>
                    </a:lnTo>
                    <a:lnTo>
                      <a:pt x="355" y="228"/>
                    </a:lnTo>
                    <a:lnTo>
                      <a:pt x="353" y="228"/>
                    </a:lnTo>
                    <a:lnTo>
                      <a:pt x="349" y="230"/>
                    </a:lnTo>
                    <a:lnTo>
                      <a:pt x="349" y="230"/>
                    </a:lnTo>
                    <a:lnTo>
                      <a:pt x="348" y="230"/>
                    </a:lnTo>
                    <a:lnTo>
                      <a:pt x="348" y="228"/>
                    </a:lnTo>
                    <a:lnTo>
                      <a:pt x="349" y="224"/>
                    </a:lnTo>
                    <a:lnTo>
                      <a:pt x="349" y="222"/>
                    </a:lnTo>
                    <a:lnTo>
                      <a:pt x="349" y="222"/>
                    </a:lnTo>
                    <a:lnTo>
                      <a:pt x="346" y="220"/>
                    </a:lnTo>
                    <a:lnTo>
                      <a:pt x="340" y="219"/>
                    </a:lnTo>
                    <a:lnTo>
                      <a:pt x="338" y="219"/>
                    </a:lnTo>
                    <a:lnTo>
                      <a:pt x="336" y="220"/>
                    </a:lnTo>
                    <a:lnTo>
                      <a:pt x="336" y="220"/>
                    </a:lnTo>
                    <a:lnTo>
                      <a:pt x="336" y="222"/>
                    </a:lnTo>
                    <a:lnTo>
                      <a:pt x="336" y="222"/>
                    </a:lnTo>
                    <a:lnTo>
                      <a:pt x="332" y="224"/>
                    </a:lnTo>
                    <a:lnTo>
                      <a:pt x="323" y="222"/>
                    </a:lnTo>
                    <a:lnTo>
                      <a:pt x="321" y="224"/>
                    </a:lnTo>
                    <a:lnTo>
                      <a:pt x="319" y="224"/>
                    </a:lnTo>
                    <a:lnTo>
                      <a:pt x="319" y="224"/>
                    </a:lnTo>
                    <a:lnTo>
                      <a:pt x="317" y="222"/>
                    </a:lnTo>
                    <a:lnTo>
                      <a:pt x="317" y="220"/>
                    </a:lnTo>
                    <a:lnTo>
                      <a:pt x="315" y="220"/>
                    </a:lnTo>
                    <a:lnTo>
                      <a:pt x="309" y="220"/>
                    </a:lnTo>
                    <a:lnTo>
                      <a:pt x="300" y="224"/>
                    </a:lnTo>
                    <a:lnTo>
                      <a:pt x="298" y="220"/>
                    </a:lnTo>
                    <a:lnTo>
                      <a:pt x="296" y="213"/>
                    </a:lnTo>
                    <a:lnTo>
                      <a:pt x="296" y="213"/>
                    </a:lnTo>
                    <a:lnTo>
                      <a:pt x="294" y="211"/>
                    </a:lnTo>
                    <a:lnTo>
                      <a:pt x="292" y="209"/>
                    </a:lnTo>
                    <a:lnTo>
                      <a:pt x="292" y="207"/>
                    </a:lnTo>
                    <a:lnTo>
                      <a:pt x="290" y="207"/>
                    </a:lnTo>
                    <a:lnTo>
                      <a:pt x="290" y="207"/>
                    </a:lnTo>
                    <a:lnTo>
                      <a:pt x="288" y="207"/>
                    </a:lnTo>
                    <a:lnTo>
                      <a:pt x="287" y="207"/>
                    </a:lnTo>
                    <a:lnTo>
                      <a:pt x="285" y="207"/>
                    </a:lnTo>
                    <a:lnTo>
                      <a:pt x="281" y="207"/>
                    </a:lnTo>
                    <a:lnTo>
                      <a:pt x="266" y="196"/>
                    </a:lnTo>
                    <a:lnTo>
                      <a:pt x="264" y="194"/>
                    </a:lnTo>
                    <a:lnTo>
                      <a:pt x="262" y="192"/>
                    </a:lnTo>
                    <a:lnTo>
                      <a:pt x="262" y="190"/>
                    </a:lnTo>
                    <a:lnTo>
                      <a:pt x="262" y="188"/>
                    </a:lnTo>
                    <a:lnTo>
                      <a:pt x="262" y="188"/>
                    </a:lnTo>
                    <a:lnTo>
                      <a:pt x="260" y="186"/>
                    </a:lnTo>
                    <a:lnTo>
                      <a:pt x="250" y="181"/>
                    </a:lnTo>
                    <a:lnTo>
                      <a:pt x="250" y="181"/>
                    </a:lnTo>
                    <a:lnTo>
                      <a:pt x="248" y="181"/>
                    </a:lnTo>
                    <a:lnTo>
                      <a:pt x="246" y="182"/>
                    </a:lnTo>
                    <a:lnTo>
                      <a:pt x="239" y="184"/>
                    </a:lnTo>
                    <a:lnTo>
                      <a:pt x="233" y="188"/>
                    </a:lnTo>
                    <a:lnTo>
                      <a:pt x="233" y="181"/>
                    </a:lnTo>
                    <a:lnTo>
                      <a:pt x="231" y="177"/>
                    </a:lnTo>
                    <a:lnTo>
                      <a:pt x="229" y="175"/>
                    </a:lnTo>
                    <a:lnTo>
                      <a:pt x="227" y="171"/>
                    </a:lnTo>
                    <a:lnTo>
                      <a:pt x="208" y="161"/>
                    </a:lnTo>
                    <a:lnTo>
                      <a:pt x="208" y="161"/>
                    </a:lnTo>
                    <a:lnTo>
                      <a:pt x="208" y="161"/>
                    </a:lnTo>
                    <a:lnTo>
                      <a:pt x="210" y="160"/>
                    </a:lnTo>
                    <a:lnTo>
                      <a:pt x="210" y="160"/>
                    </a:lnTo>
                    <a:lnTo>
                      <a:pt x="210" y="158"/>
                    </a:lnTo>
                    <a:lnTo>
                      <a:pt x="210" y="158"/>
                    </a:lnTo>
                    <a:lnTo>
                      <a:pt x="210" y="156"/>
                    </a:lnTo>
                    <a:lnTo>
                      <a:pt x="212" y="156"/>
                    </a:lnTo>
                    <a:lnTo>
                      <a:pt x="214" y="156"/>
                    </a:lnTo>
                    <a:lnTo>
                      <a:pt x="214" y="156"/>
                    </a:lnTo>
                    <a:lnTo>
                      <a:pt x="216" y="156"/>
                    </a:lnTo>
                    <a:lnTo>
                      <a:pt x="216" y="156"/>
                    </a:lnTo>
                    <a:lnTo>
                      <a:pt x="218" y="158"/>
                    </a:lnTo>
                    <a:lnTo>
                      <a:pt x="218" y="156"/>
                    </a:lnTo>
                    <a:lnTo>
                      <a:pt x="220" y="154"/>
                    </a:lnTo>
                    <a:lnTo>
                      <a:pt x="222" y="152"/>
                    </a:lnTo>
                    <a:lnTo>
                      <a:pt x="222" y="152"/>
                    </a:lnTo>
                    <a:lnTo>
                      <a:pt x="224" y="152"/>
                    </a:lnTo>
                    <a:lnTo>
                      <a:pt x="224" y="154"/>
                    </a:lnTo>
                    <a:lnTo>
                      <a:pt x="225" y="154"/>
                    </a:lnTo>
                    <a:lnTo>
                      <a:pt x="227" y="152"/>
                    </a:lnTo>
                    <a:lnTo>
                      <a:pt x="233" y="146"/>
                    </a:lnTo>
                    <a:lnTo>
                      <a:pt x="233" y="144"/>
                    </a:lnTo>
                    <a:lnTo>
                      <a:pt x="233" y="142"/>
                    </a:lnTo>
                    <a:lnTo>
                      <a:pt x="235" y="142"/>
                    </a:lnTo>
                    <a:lnTo>
                      <a:pt x="233" y="141"/>
                    </a:lnTo>
                    <a:lnTo>
                      <a:pt x="224" y="139"/>
                    </a:lnTo>
                    <a:lnTo>
                      <a:pt x="220" y="137"/>
                    </a:lnTo>
                    <a:lnTo>
                      <a:pt x="199" y="125"/>
                    </a:lnTo>
                    <a:lnTo>
                      <a:pt x="193" y="120"/>
                    </a:lnTo>
                    <a:lnTo>
                      <a:pt x="187" y="114"/>
                    </a:lnTo>
                    <a:lnTo>
                      <a:pt x="185" y="110"/>
                    </a:lnTo>
                    <a:lnTo>
                      <a:pt x="184" y="104"/>
                    </a:lnTo>
                    <a:lnTo>
                      <a:pt x="180" y="99"/>
                    </a:lnTo>
                    <a:lnTo>
                      <a:pt x="166" y="93"/>
                    </a:lnTo>
                    <a:lnTo>
                      <a:pt x="164" y="91"/>
                    </a:lnTo>
                    <a:lnTo>
                      <a:pt x="163" y="89"/>
                    </a:lnTo>
                    <a:lnTo>
                      <a:pt x="159" y="82"/>
                    </a:lnTo>
                    <a:lnTo>
                      <a:pt x="155" y="74"/>
                    </a:lnTo>
                    <a:lnTo>
                      <a:pt x="147" y="66"/>
                    </a:lnTo>
                    <a:lnTo>
                      <a:pt x="145" y="66"/>
                    </a:lnTo>
                    <a:lnTo>
                      <a:pt x="145" y="64"/>
                    </a:lnTo>
                    <a:lnTo>
                      <a:pt x="143" y="64"/>
                    </a:lnTo>
                    <a:lnTo>
                      <a:pt x="142" y="66"/>
                    </a:lnTo>
                    <a:lnTo>
                      <a:pt x="140" y="66"/>
                    </a:lnTo>
                    <a:lnTo>
                      <a:pt x="140" y="68"/>
                    </a:lnTo>
                    <a:lnTo>
                      <a:pt x="138" y="70"/>
                    </a:lnTo>
                    <a:lnTo>
                      <a:pt x="138" y="74"/>
                    </a:lnTo>
                    <a:lnTo>
                      <a:pt x="140" y="76"/>
                    </a:lnTo>
                    <a:lnTo>
                      <a:pt x="143" y="89"/>
                    </a:lnTo>
                    <a:lnTo>
                      <a:pt x="143" y="95"/>
                    </a:lnTo>
                    <a:lnTo>
                      <a:pt x="142" y="101"/>
                    </a:lnTo>
                    <a:lnTo>
                      <a:pt x="138" y="106"/>
                    </a:lnTo>
                    <a:lnTo>
                      <a:pt x="132" y="108"/>
                    </a:lnTo>
                    <a:lnTo>
                      <a:pt x="130" y="108"/>
                    </a:lnTo>
                    <a:lnTo>
                      <a:pt x="128" y="106"/>
                    </a:lnTo>
                    <a:lnTo>
                      <a:pt x="124" y="104"/>
                    </a:lnTo>
                    <a:lnTo>
                      <a:pt x="117" y="99"/>
                    </a:lnTo>
                    <a:lnTo>
                      <a:pt x="115" y="99"/>
                    </a:lnTo>
                    <a:lnTo>
                      <a:pt x="113" y="99"/>
                    </a:lnTo>
                    <a:lnTo>
                      <a:pt x="109" y="103"/>
                    </a:lnTo>
                    <a:lnTo>
                      <a:pt x="98" y="108"/>
                    </a:lnTo>
                    <a:lnTo>
                      <a:pt x="92" y="97"/>
                    </a:lnTo>
                    <a:lnTo>
                      <a:pt x="90" y="93"/>
                    </a:lnTo>
                    <a:lnTo>
                      <a:pt x="90" y="85"/>
                    </a:lnTo>
                    <a:lnTo>
                      <a:pt x="88" y="80"/>
                    </a:lnTo>
                    <a:lnTo>
                      <a:pt x="86" y="76"/>
                    </a:lnTo>
                    <a:lnTo>
                      <a:pt x="86" y="70"/>
                    </a:lnTo>
                    <a:lnTo>
                      <a:pt x="86" y="64"/>
                    </a:lnTo>
                    <a:lnTo>
                      <a:pt x="86" y="63"/>
                    </a:lnTo>
                    <a:lnTo>
                      <a:pt x="92" y="53"/>
                    </a:lnTo>
                    <a:lnTo>
                      <a:pt x="98" y="40"/>
                    </a:lnTo>
                    <a:lnTo>
                      <a:pt x="102" y="34"/>
                    </a:lnTo>
                    <a:lnTo>
                      <a:pt x="109" y="30"/>
                    </a:lnTo>
                    <a:lnTo>
                      <a:pt x="111" y="28"/>
                    </a:lnTo>
                    <a:lnTo>
                      <a:pt x="111" y="26"/>
                    </a:lnTo>
                    <a:lnTo>
                      <a:pt x="109" y="23"/>
                    </a:lnTo>
                    <a:lnTo>
                      <a:pt x="96" y="17"/>
                    </a:lnTo>
                    <a:lnTo>
                      <a:pt x="88" y="11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67" y="4"/>
                    </a:lnTo>
                    <a:lnTo>
                      <a:pt x="67" y="5"/>
                    </a:lnTo>
                    <a:lnTo>
                      <a:pt x="67" y="11"/>
                    </a:lnTo>
                    <a:lnTo>
                      <a:pt x="65" y="19"/>
                    </a:lnTo>
                    <a:lnTo>
                      <a:pt x="63" y="21"/>
                    </a:lnTo>
                    <a:lnTo>
                      <a:pt x="58" y="25"/>
                    </a:lnTo>
                    <a:lnTo>
                      <a:pt x="48" y="34"/>
                    </a:lnTo>
                    <a:lnTo>
                      <a:pt x="46" y="36"/>
                    </a:lnTo>
                    <a:lnTo>
                      <a:pt x="44" y="38"/>
                    </a:lnTo>
                    <a:lnTo>
                      <a:pt x="44" y="42"/>
                    </a:lnTo>
                    <a:lnTo>
                      <a:pt x="41" y="45"/>
                    </a:lnTo>
                    <a:lnTo>
                      <a:pt x="37" y="49"/>
                    </a:lnTo>
                    <a:lnTo>
                      <a:pt x="35" y="49"/>
                    </a:lnTo>
                    <a:lnTo>
                      <a:pt x="33" y="49"/>
                    </a:lnTo>
                    <a:lnTo>
                      <a:pt x="33" y="51"/>
                    </a:lnTo>
                    <a:lnTo>
                      <a:pt x="33" y="53"/>
                    </a:lnTo>
                    <a:lnTo>
                      <a:pt x="33" y="53"/>
                    </a:lnTo>
                    <a:lnTo>
                      <a:pt x="33" y="53"/>
                    </a:lnTo>
                    <a:lnTo>
                      <a:pt x="31" y="53"/>
                    </a:lnTo>
                    <a:lnTo>
                      <a:pt x="31" y="53"/>
                    </a:lnTo>
                    <a:lnTo>
                      <a:pt x="29" y="53"/>
                    </a:lnTo>
                    <a:lnTo>
                      <a:pt x="29" y="53"/>
                    </a:lnTo>
                    <a:lnTo>
                      <a:pt x="29" y="53"/>
                    </a:lnTo>
                    <a:lnTo>
                      <a:pt x="29" y="55"/>
                    </a:lnTo>
                    <a:lnTo>
                      <a:pt x="29" y="55"/>
                    </a:lnTo>
                    <a:lnTo>
                      <a:pt x="27" y="57"/>
                    </a:lnTo>
                    <a:lnTo>
                      <a:pt x="23" y="61"/>
                    </a:lnTo>
                    <a:lnTo>
                      <a:pt x="21" y="63"/>
                    </a:lnTo>
                    <a:lnTo>
                      <a:pt x="21" y="64"/>
                    </a:lnTo>
                    <a:lnTo>
                      <a:pt x="20" y="68"/>
                    </a:lnTo>
                    <a:lnTo>
                      <a:pt x="16" y="87"/>
                    </a:lnTo>
                    <a:lnTo>
                      <a:pt x="14" y="91"/>
                    </a:lnTo>
                    <a:lnTo>
                      <a:pt x="14" y="93"/>
                    </a:lnTo>
                    <a:lnTo>
                      <a:pt x="12" y="91"/>
                    </a:lnTo>
                    <a:lnTo>
                      <a:pt x="10" y="91"/>
                    </a:lnTo>
                    <a:lnTo>
                      <a:pt x="10" y="93"/>
                    </a:lnTo>
                    <a:lnTo>
                      <a:pt x="10" y="95"/>
                    </a:lnTo>
                    <a:lnTo>
                      <a:pt x="10" y="95"/>
                    </a:lnTo>
                    <a:lnTo>
                      <a:pt x="10" y="97"/>
                    </a:lnTo>
                    <a:lnTo>
                      <a:pt x="12" y="97"/>
                    </a:lnTo>
                    <a:lnTo>
                      <a:pt x="10" y="99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8" y="104"/>
                    </a:lnTo>
                    <a:lnTo>
                      <a:pt x="4" y="108"/>
                    </a:lnTo>
                    <a:lnTo>
                      <a:pt x="4" y="110"/>
                    </a:lnTo>
                    <a:lnTo>
                      <a:pt x="4" y="112"/>
                    </a:lnTo>
                    <a:lnTo>
                      <a:pt x="4" y="114"/>
                    </a:lnTo>
                    <a:lnTo>
                      <a:pt x="6" y="116"/>
                    </a:lnTo>
                    <a:lnTo>
                      <a:pt x="6" y="118"/>
                    </a:lnTo>
                    <a:lnTo>
                      <a:pt x="4" y="120"/>
                    </a:lnTo>
                    <a:lnTo>
                      <a:pt x="2" y="120"/>
                    </a:lnTo>
                    <a:lnTo>
                      <a:pt x="2" y="122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2" y="125"/>
                    </a:lnTo>
                    <a:lnTo>
                      <a:pt x="2" y="127"/>
                    </a:lnTo>
                    <a:lnTo>
                      <a:pt x="2" y="129"/>
                    </a:lnTo>
                    <a:lnTo>
                      <a:pt x="2" y="131"/>
                    </a:lnTo>
                    <a:lnTo>
                      <a:pt x="2" y="131"/>
                    </a:lnTo>
                    <a:lnTo>
                      <a:pt x="2" y="131"/>
                    </a:lnTo>
                    <a:lnTo>
                      <a:pt x="6" y="131"/>
                    </a:lnTo>
                    <a:lnTo>
                      <a:pt x="8" y="133"/>
                    </a:lnTo>
                    <a:lnTo>
                      <a:pt x="6" y="135"/>
                    </a:lnTo>
                    <a:lnTo>
                      <a:pt x="2" y="139"/>
                    </a:lnTo>
                    <a:lnTo>
                      <a:pt x="2" y="142"/>
                    </a:lnTo>
                    <a:lnTo>
                      <a:pt x="2" y="142"/>
                    </a:lnTo>
                    <a:lnTo>
                      <a:pt x="6" y="141"/>
                    </a:lnTo>
                    <a:lnTo>
                      <a:pt x="10" y="141"/>
                    </a:lnTo>
                    <a:lnTo>
                      <a:pt x="12" y="142"/>
                    </a:lnTo>
                    <a:lnTo>
                      <a:pt x="12" y="144"/>
                    </a:lnTo>
                    <a:lnTo>
                      <a:pt x="12" y="146"/>
                    </a:lnTo>
                    <a:lnTo>
                      <a:pt x="10" y="146"/>
                    </a:lnTo>
                    <a:lnTo>
                      <a:pt x="10" y="148"/>
                    </a:lnTo>
                    <a:lnTo>
                      <a:pt x="10" y="150"/>
                    </a:lnTo>
                    <a:lnTo>
                      <a:pt x="10" y="154"/>
                    </a:lnTo>
                    <a:lnTo>
                      <a:pt x="10" y="154"/>
                    </a:lnTo>
                    <a:lnTo>
                      <a:pt x="12" y="156"/>
                    </a:lnTo>
                    <a:lnTo>
                      <a:pt x="12" y="158"/>
                    </a:lnTo>
                    <a:lnTo>
                      <a:pt x="12" y="160"/>
                    </a:lnTo>
                    <a:lnTo>
                      <a:pt x="10" y="161"/>
                    </a:lnTo>
                    <a:lnTo>
                      <a:pt x="10" y="161"/>
                    </a:lnTo>
                    <a:lnTo>
                      <a:pt x="12" y="184"/>
                    </a:lnTo>
                    <a:lnTo>
                      <a:pt x="10" y="184"/>
                    </a:lnTo>
                    <a:lnTo>
                      <a:pt x="10" y="184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8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4" y="198"/>
                    </a:lnTo>
                    <a:lnTo>
                      <a:pt x="18" y="203"/>
                    </a:lnTo>
                    <a:lnTo>
                      <a:pt x="18" y="203"/>
                    </a:lnTo>
                    <a:lnTo>
                      <a:pt x="16" y="205"/>
                    </a:lnTo>
                    <a:lnTo>
                      <a:pt x="16" y="207"/>
                    </a:lnTo>
                    <a:lnTo>
                      <a:pt x="20" y="211"/>
                    </a:lnTo>
                    <a:lnTo>
                      <a:pt x="20" y="211"/>
                    </a:lnTo>
                    <a:lnTo>
                      <a:pt x="21" y="213"/>
                    </a:lnTo>
                    <a:lnTo>
                      <a:pt x="21" y="215"/>
                    </a:lnTo>
                    <a:lnTo>
                      <a:pt x="21" y="217"/>
                    </a:lnTo>
                    <a:lnTo>
                      <a:pt x="20" y="217"/>
                    </a:lnTo>
                    <a:lnTo>
                      <a:pt x="18" y="220"/>
                    </a:lnTo>
                    <a:lnTo>
                      <a:pt x="21" y="224"/>
                    </a:lnTo>
                    <a:lnTo>
                      <a:pt x="20" y="228"/>
                    </a:lnTo>
                    <a:lnTo>
                      <a:pt x="21" y="230"/>
                    </a:lnTo>
                    <a:lnTo>
                      <a:pt x="21" y="234"/>
                    </a:lnTo>
                    <a:lnTo>
                      <a:pt x="31" y="243"/>
                    </a:lnTo>
                    <a:lnTo>
                      <a:pt x="33" y="245"/>
                    </a:lnTo>
                    <a:lnTo>
                      <a:pt x="33" y="245"/>
                    </a:lnTo>
                    <a:lnTo>
                      <a:pt x="33" y="247"/>
                    </a:lnTo>
                    <a:lnTo>
                      <a:pt x="33" y="249"/>
                    </a:lnTo>
                    <a:lnTo>
                      <a:pt x="35" y="253"/>
                    </a:lnTo>
                    <a:lnTo>
                      <a:pt x="35" y="255"/>
                    </a:lnTo>
                    <a:lnTo>
                      <a:pt x="35" y="257"/>
                    </a:lnTo>
                    <a:lnTo>
                      <a:pt x="35" y="257"/>
                    </a:lnTo>
                    <a:lnTo>
                      <a:pt x="35" y="259"/>
                    </a:lnTo>
                    <a:lnTo>
                      <a:pt x="35" y="259"/>
                    </a:lnTo>
                    <a:lnTo>
                      <a:pt x="33" y="260"/>
                    </a:lnTo>
                    <a:lnTo>
                      <a:pt x="31" y="260"/>
                    </a:lnTo>
                    <a:lnTo>
                      <a:pt x="31" y="262"/>
                    </a:lnTo>
                    <a:lnTo>
                      <a:pt x="31" y="264"/>
                    </a:lnTo>
                    <a:lnTo>
                      <a:pt x="31" y="264"/>
                    </a:lnTo>
                    <a:lnTo>
                      <a:pt x="35" y="272"/>
                    </a:lnTo>
                    <a:lnTo>
                      <a:pt x="35" y="272"/>
                    </a:lnTo>
                    <a:lnTo>
                      <a:pt x="37" y="274"/>
                    </a:lnTo>
                    <a:lnTo>
                      <a:pt x="37" y="276"/>
                    </a:lnTo>
                    <a:lnTo>
                      <a:pt x="39" y="276"/>
                    </a:lnTo>
                    <a:lnTo>
                      <a:pt x="41" y="276"/>
                    </a:lnTo>
                    <a:lnTo>
                      <a:pt x="41" y="278"/>
                    </a:lnTo>
                    <a:lnTo>
                      <a:pt x="41" y="279"/>
                    </a:lnTo>
                    <a:lnTo>
                      <a:pt x="41" y="279"/>
                    </a:lnTo>
                    <a:lnTo>
                      <a:pt x="42" y="279"/>
                    </a:lnTo>
                    <a:lnTo>
                      <a:pt x="44" y="279"/>
                    </a:lnTo>
                    <a:lnTo>
                      <a:pt x="44" y="278"/>
                    </a:lnTo>
                    <a:lnTo>
                      <a:pt x="46" y="279"/>
                    </a:lnTo>
                    <a:lnTo>
                      <a:pt x="46" y="279"/>
                    </a:lnTo>
                    <a:lnTo>
                      <a:pt x="46" y="281"/>
                    </a:lnTo>
                    <a:lnTo>
                      <a:pt x="46" y="281"/>
                    </a:lnTo>
                    <a:lnTo>
                      <a:pt x="46" y="283"/>
                    </a:lnTo>
                    <a:lnTo>
                      <a:pt x="46" y="283"/>
                    </a:lnTo>
                    <a:lnTo>
                      <a:pt x="48" y="283"/>
                    </a:lnTo>
                    <a:lnTo>
                      <a:pt x="50" y="283"/>
                    </a:lnTo>
                    <a:lnTo>
                      <a:pt x="52" y="283"/>
                    </a:lnTo>
                    <a:lnTo>
                      <a:pt x="52" y="285"/>
                    </a:lnTo>
                    <a:lnTo>
                      <a:pt x="52" y="289"/>
                    </a:lnTo>
                    <a:lnTo>
                      <a:pt x="54" y="289"/>
                    </a:lnTo>
                    <a:lnTo>
                      <a:pt x="56" y="289"/>
                    </a:lnTo>
                    <a:lnTo>
                      <a:pt x="52" y="297"/>
                    </a:lnTo>
                    <a:lnTo>
                      <a:pt x="52" y="300"/>
                    </a:lnTo>
                    <a:lnTo>
                      <a:pt x="54" y="302"/>
                    </a:lnTo>
                    <a:lnTo>
                      <a:pt x="54" y="304"/>
                    </a:lnTo>
                    <a:lnTo>
                      <a:pt x="54" y="306"/>
                    </a:lnTo>
                    <a:lnTo>
                      <a:pt x="56" y="308"/>
                    </a:lnTo>
                    <a:lnTo>
                      <a:pt x="56" y="308"/>
                    </a:lnTo>
                    <a:lnTo>
                      <a:pt x="60" y="310"/>
                    </a:lnTo>
                    <a:lnTo>
                      <a:pt x="61" y="310"/>
                    </a:lnTo>
                    <a:lnTo>
                      <a:pt x="60" y="310"/>
                    </a:lnTo>
                    <a:lnTo>
                      <a:pt x="60" y="312"/>
                    </a:lnTo>
                    <a:lnTo>
                      <a:pt x="60" y="312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58" y="316"/>
                    </a:lnTo>
                    <a:lnTo>
                      <a:pt x="56" y="316"/>
                    </a:lnTo>
                    <a:lnTo>
                      <a:pt x="56" y="316"/>
                    </a:lnTo>
                    <a:lnTo>
                      <a:pt x="56" y="318"/>
                    </a:lnTo>
                    <a:lnTo>
                      <a:pt x="60" y="318"/>
                    </a:lnTo>
                    <a:lnTo>
                      <a:pt x="61" y="319"/>
                    </a:lnTo>
                    <a:lnTo>
                      <a:pt x="58" y="321"/>
                    </a:lnTo>
                    <a:lnTo>
                      <a:pt x="56" y="323"/>
                    </a:lnTo>
                    <a:lnTo>
                      <a:pt x="56" y="327"/>
                    </a:lnTo>
                    <a:lnTo>
                      <a:pt x="56" y="333"/>
                    </a:lnTo>
                    <a:lnTo>
                      <a:pt x="52" y="329"/>
                    </a:lnTo>
                    <a:lnTo>
                      <a:pt x="52" y="331"/>
                    </a:lnTo>
                    <a:lnTo>
                      <a:pt x="54" y="335"/>
                    </a:lnTo>
                    <a:lnTo>
                      <a:pt x="52" y="338"/>
                    </a:lnTo>
                    <a:lnTo>
                      <a:pt x="54" y="340"/>
                    </a:lnTo>
                    <a:lnTo>
                      <a:pt x="56" y="340"/>
                    </a:lnTo>
                    <a:lnTo>
                      <a:pt x="56" y="342"/>
                    </a:lnTo>
                    <a:lnTo>
                      <a:pt x="58" y="344"/>
                    </a:lnTo>
                    <a:lnTo>
                      <a:pt x="60" y="348"/>
                    </a:lnTo>
                    <a:lnTo>
                      <a:pt x="60" y="352"/>
                    </a:lnTo>
                    <a:lnTo>
                      <a:pt x="58" y="354"/>
                    </a:lnTo>
                    <a:lnTo>
                      <a:pt x="56" y="356"/>
                    </a:lnTo>
                    <a:lnTo>
                      <a:pt x="54" y="356"/>
                    </a:lnTo>
                    <a:lnTo>
                      <a:pt x="54" y="359"/>
                    </a:lnTo>
                    <a:lnTo>
                      <a:pt x="52" y="361"/>
                    </a:lnTo>
                    <a:lnTo>
                      <a:pt x="50" y="361"/>
                    </a:lnTo>
                    <a:lnTo>
                      <a:pt x="50" y="361"/>
                    </a:lnTo>
                    <a:lnTo>
                      <a:pt x="48" y="359"/>
                    </a:lnTo>
                    <a:lnTo>
                      <a:pt x="46" y="361"/>
                    </a:lnTo>
                    <a:lnTo>
                      <a:pt x="42" y="365"/>
                    </a:lnTo>
                    <a:lnTo>
                      <a:pt x="42" y="365"/>
                    </a:lnTo>
                    <a:lnTo>
                      <a:pt x="37" y="365"/>
                    </a:lnTo>
                    <a:lnTo>
                      <a:pt x="37" y="367"/>
                    </a:lnTo>
                    <a:lnTo>
                      <a:pt x="35" y="367"/>
                    </a:lnTo>
                    <a:lnTo>
                      <a:pt x="35" y="367"/>
                    </a:lnTo>
                    <a:lnTo>
                      <a:pt x="33" y="367"/>
                    </a:lnTo>
                    <a:lnTo>
                      <a:pt x="33" y="369"/>
                    </a:lnTo>
                    <a:lnTo>
                      <a:pt x="31" y="369"/>
                    </a:lnTo>
                    <a:lnTo>
                      <a:pt x="29" y="373"/>
                    </a:lnTo>
                    <a:lnTo>
                      <a:pt x="31" y="378"/>
                    </a:lnTo>
                    <a:lnTo>
                      <a:pt x="31" y="380"/>
                    </a:lnTo>
                    <a:lnTo>
                      <a:pt x="31" y="384"/>
                    </a:lnTo>
                    <a:lnTo>
                      <a:pt x="31" y="386"/>
                    </a:lnTo>
                    <a:lnTo>
                      <a:pt x="31" y="386"/>
                    </a:lnTo>
                    <a:lnTo>
                      <a:pt x="31" y="386"/>
                    </a:lnTo>
                    <a:lnTo>
                      <a:pt x="33" y="386"/>
                    </a:lnTo>
                    <a:lnTo>
                      <a:pt x="33" y="386"/>
                    </a:lnTo>
                    <a:lnTo>
                      <a:pt x="33" y="388"/>
                    </a:lnTo>
                    <a:lnTo>
                      <a:pt x="35" y="388"/>
                    </a:lnTo>
                    <a:lnTo>
                      <a:pt x="35" y="392"/>
                    </a:lnTo>
                    <a:lnTo>
                      <a:pt x="35" y="394"/>
                    </a:lnTo>
                    <a:lnTo>
                      <a:pt x="35" y="396"/>
                    </a:lnTo>
                    <a:lnTo>
                      <a:pt x="35" y="396"/>
                    </a:lnTo>
                    <a:lnTo>
                      <a:pt x="35" y="397"/>
                    </a:lnTo>
                    <a:lnTo>
                      <a:pt x="33" y="397"/>
                    </a:lnTo>
                    <a:lnTo>
                      <a:pt x="33" y="399"/>
                    </a:lnTo>
                    <a:lnTo>
                      <a:pt x="33" y="399"/>
                    </a:lnTo>
                    <a:lnTo>
                      <a:pt x="33" y="399"/>
                    </a:lnTo>
                    <a:lnTo>
                      <a:pt x="35" y="401"/>
                    </a:lnTo>
                    <a:lnTo>
                      <a:pt x="37" y="401"/>
                    </a:lnTo>
                    <a:lnTo>
                      <a:pt x="37" y="403"/>
                    </a:lnTo>
                    <a:lnTo>
                      <a:pt x="37" y="403"/>
                    </a:lnTo>
                    <a:lnTo>
                      <a:pt x="35" y="405"/>
                    </a:lnTo>
                    <a:lnTo>
                      <a:pt x="35" y="407"/>
                    </a:lnTo>
                    <a:lnTo>
                      <a:pt x="37" y="409"/>
                    </a:lnTo>
                    <a:lnTo>
                      <a:pt x="37" y="409"/>
                    </a:lnTo>
                    <a:lnTo>
                      <a:pt x="42" y="416"/>
                    </a:lnTo>
                    <a:lnTo>
                      <a:pt x="44" y="420"/>
                    </a:lnTo>
                    <a:lnTo>
                      <a:pt x="46" y="422"/>
                    </a:lnTo>
                    <a:lnTo>
                      <a:pt x="46" y="428"/>
                    </a:lnTo>
                    <a:lnTo>
                      <a:pt x="48" y="430"/>
                    </a:lnTo>
                    <a:lnTo>
                      <a:pt x="48" y="430"/>
                    </a:lnTo>
                    <a:lnTo>
                      <a:pt x="50" y="432"/>
                    </a:lnTo>
                    <a:lnTo>
                      <a:pt x="50" y="432"/>
                    </a:lnTo>
                    <a:lnTo>
                      <a:pt x="52" y="432"/>
                    </a:lnTo>
                    <a:lnTo>
                      <a:pt x="54" y="432"/>
                    </a:lnTo>
                    <a:lnTo>
                      <a:pt x="56" y="434"/>
                    </a:lnTo>
                    <a:lnTo>
                      <a:pt x="56" y="434"/>
                    </a:lnTo>
                    <a:lnTo>
                      <a:pt x="63" y="439"/>
                    </a:lnTo>
                    <a:lnTo>
                      <a:pt x="63" y="439"/>
                    </a:lnTo>
                    <a:lnTo>
                      <a:pt x="65" y="439"/>
                    </a:lnTo>
                    <a:lnTo>
                      <a:pt x="67" y="439"/>
                    </a:lnTo>
                    <a:lnTo>
                      <a:pt x="69" y="439"/>
                    </a:lnTo>
                    <a:lnTo>
                      <a:pt x="69" y="441"/>
                    </a:lnTo>
                    <a:lnTo>
                      <a:pt x="69" y="441"/>
                    </a:lnTo>
                    <a:lnTo>
                      <a:pt x="69" y="443"/>
                    </a:lnTo>
                    <a:lnTo>
                      <a:pt x="69" y="445"/>
                    </a:lnTo>
                    <a:lnTo>
                      <a:pt x="69" y="447"/>
                    </a:lnTo>
                    <a:lnTo>
                      <a:pt x="71" y="449"/>
                    </a:lnTo>
                    <a:lnTo>
                      <a:pt x="71" y="451"/>
                    </a:lnTo>
                    <a:lnTo>
                      <a:pt x="73" y="451"/>
                    </a:lnTo>
                    <a:lnTo>
                      <a:pt x="73" y="455"/>
                    </a:lnTo>
                    <a:lnTo>
                      <a:pt x="73" y="455"/>
                    </a:lnTo>
                    <a:lnTo>
                      <a:pt x="75" y="456"/>
                    </a:lnTo>
                    <a:lnTo>
                      <a:pt x="75" y="456"/>
                    </a:lnTo>
                    <a:lnTo>
                      <a:pt x="75" y="458"/>
                    </a:lnTo>
                    <a:lnTo>
                      <a:pt x="73" y="460"/>
                    </a:lnTo>
                    <a:lnTo>
                      <a:pt x="71" y="462"/>
                    </a:lnTo>
                    <a:lnTo>
                      <a:pt x="69" y="464"/>
                    </a:lnTo>
                    <a:lnTo>
                      <a:pt x="69" y="464"/>
                    </a:lnTo>
                    <a:lnTo>
                      <a:pt x="69" y="466"/>
                    </a:lnTo>
                    <a:lnTo>
                      <a:pt x="67" y="468"/>
                    </a:lnTo>
                    <a:lnTo>
                      <a:pt x="65" y="468"/>
                    </a:lnTo>
                    <a:lnTo>
                      <a:pt x="58" y="472"/>
                    </a:lnTo>
                    <a:lnTo>
                      <a:pt x="56" y="472"/>
                    </a:lnTo>
                    <a:lnTo>
                      <a:pt x="56" y="472"/>
                    </a:lnTo>
                    <a:lnTo>
                      <a:pt x="56" y="474"/>
                    </a:lnTo>
                    <a:lnTo>
                      <a:pt x="56" y="474"/>
                    </a:lnTo>
                    <a:lnTo>
                      <a:pt x="56" y="474"/>
                    </a:lnTo>
                    <a:lnTo>
                      <a:pt x="56" y="475"/>
                    </a:lnTo>
                    <a:lnTo>
                      <a:pt x="58" y="475"/>
                    </a:lnTo>
                    <a:lnTo>
                      <a:pt x="58" y="475"/>
                    </a:lnTo>
                    <a:lnTo>
                      <a:pt x="58" y="475"/>
                    </a:lnTo>
                    <a:lnTo>
                      <a:pt x="60" y="475"/>
                    </a:lnTo>
                    <a:lnTo>
                      <a:pt x="60" y="475"/>
                    </a:lnTo>
                    <a:lnTo>
                      <a:pt x="61" y="477"/>
                    </a:lnTo>
                    <a:lnTo>
                      <a:pt x="61" y="479"/>
                    </a:lnTo>
                    <a:lnTo>
                      <a:pt x="61" y="479"/>
                    </a:lnTo>
                    <a:lnTo>
                      <a:pt x="61" y="481"/>
                    </a:lnTo>
                    <a:lnTo>
                      <a:pt x="63" y="481"/>
                    </a:lnTo>
                    <a:lnTo>
                      <a:pt x="67" y="481"/>
                    </a:lnTo>
                    <a:lnTo>
                      <a:pt x="71" y="481"/>
                    </a:lnTo>
                    <a:lnTo>
                      <a:pt x="71" y="481"/>
                    </a:lnTo>
                    <a:lnTo>
                      <a:pt x="73" y="481"/>
                    </a:lnTo>
                    <a:lnTo>
                      <a:pt x="73" y="481"/>
                    </a:lnTo>
                    <a:lnTo>
                      <a:pt x="73" y="479"/>
                    </a:lnTo>
                    <a:lnTo>
                      <a:pt x="73" y="479"/>
                    </a:lnTo>
                    <a:lnTo>
                      <a:pt x="75" y="479"/>
                    </a:lnTo>
                    <a:lnTo>
                      <a:pt x="75" y="479"/>
                    </a:lnTo>
                    <a:lnTo>
                      <a:pt x="75" y="481"/>
                    </a:lnTo>
                    <a:lnTo>
                      <a:pt x="77" y="485"/>
                    </a:lnTo>
                    <a:lnTo>
                      <a:pt x="79" y="485"/>
                    </a:lnTo>
                    <a:lnTo>
                      <a:pt x="79" y="485"/>
                    </a:lnTo>
                    <a:lnTo>
                      <a:pt x="79" y="485"/>
                    </a:lnTo>
                    <a:lnTo>
                      <a:pt x="81" y="483"/>
                    </a:lnTo>
                    <a:lnTo>
                      <a:pt x="81" y="483"/>
                    </a:lnTo>
                    <a:lnTo>
                      <a:pt x="81" y="483"/>
                    </a:lnTo>
                    <a:lnTo>
                      <a:pt x="82" y="483"/>
                    </a:lnTo>
                    <a:lnTo>
                      <a:pt x="82" y="483"/>
                    </a:lnTo>
                    <a:lnTo>
                      <a:pt x="84" y="483"/>
                    </a:lnTo>
                    <a:lnTo>
                      <a:pt x="84" y="485"/>
                    </a:lnTo>
                    <a:lnTo>
                      <a:pt x="82" y="487"/>
                    </a:lnTo>
                    <a:lnTo>
                      <a:pt x="81" y="487"/>
                    </a:lnTo>
                    <a:lnTo>
                      <a:pt x="75" y="489"/>
                    </a:lnTo>
                    <a:lnTo>
                      <a:pt x="73" y="491"/>
                    </a:lnTo>
                    <a:lnTo>
                      <a:pt x="52" y="500"/>
                    </a:lnTo>
                    <a:lnTo>
                      <a:pt x="46" y="502"/>
                    </a:lnTo>
                    <a:lnTo>
                      <a:pt x="44" y="504"/>
                    </a:lnTo>
                    <a:lnTo>
                      <a:pt x="44" y="506"/>
                    </a:lnTo>
                    <a:lnTo>
                      <a:pt x="44" y="506"/>
                    </a:lnTo>
                    <a:lnTo>
                      <a:pt x="44" y="508"/>
                    </a:lnTo>
                    <a:lnTo>
                      <a:pt x="44" y="510"/>
                    </a:lnTo>
                    <a:lnTo>
                      <a:pt x="44" y="513"/>
                    </a:lnTo>
                    <a:lnTo>
                      <a:pt x="42" y="515"/>
                    </a:lnTo>
                    <a:lnTo>
                      <a:pt x="42" y="517"/>
                    </a:lnTo>
                    <a:lnTo>
                      <a:pt x="42" y="517"/>
                    </a:lnTo>
                    <a:lnTo>
                      <a:pt x="44" y="517"/>
                    </a:lnTo>
                    <a:lnTo>
                      <a:pt x="48" y="517"/>
                    </a:lnTo>
                    <a:lnTo>
                      <a:pt x="50" y="515"/>
                    </a:lnTo>
                    <a:lnTo>
                      <a:pt x="50" y="513"/>
                    </a:lnTo>
                    <a:lnTo>
                      <a:pt x="52" y="510"/>
                    </a:lnTo>
                    <a:lnTo>
                      <a:pt x="52" y="510"/>
                    </a:lnTo>
                    <a:lnTo>
                      <a:pt x="54" y="510"/>
                    </a:lnTo>
                    <a:lnTo>
                      <a:pt x="56" y="510"/>
                    </a:lnTo>
                    <a:lnTo>
                      <a:pt x="56" y="510"/>
                    </a:lnTo>
                    <a:lnTo>
                      <a:pt x="58" y="510"/>
                    </a:lnTo>
                    <a:lnTo>
                      <a:pt x="73" y="502"/>
                    </a:lnTo>
                    <a:lnTo>
                      <a:pt x="77" y="500"/>
                    </a:lnTo>
                    <a:lnTo>
                      <a:pt x="81" y="496"/>
                    </a:lnTo>
                    <a:lnTo>
                      <a:pt x="82" y="496"/>
                    </a:lnTo>
                    <a:lnTo>
                      <a:pt x="84" y="494"/>
                    </a:lnTo>
                    <a:lnTo>
                      <a:pt x="86" y="496"/>
                    </a:lnTo>
                    <a:lnTo>
                      <a:pt x="88" y="496"/>
                    </a:lnTo>
                    <a:lnTo>
                      <a:pt x="96" y="498"/>
                    </a:lnTo>
                    <a:lnTo>
                      <a:pt x="98" y="498"/>
                    </a:lnTo>
                    <a:lnTo>
                      <a:pt x="98" y="498"/>
                    </a:lnTo>
                    <a:lnTo>
                      <a:pt x="100" y="498"/>
                    </a:lnTo>
                    <a:lnTo>
                      <a:pt x="100" y="500"/>
                    </a:lnTo>
                    <a:lnTo>
                      <a:pt x="100" y="500"/>
                    </a:lnTo>
                    <a:lnTo>
                      <a:pt x="102" y="500"/>
                    </a:lnTo>
                    <a:lnTo>
                      <a:pt x="102" y="498"/>
                    </a:lnTo>
                    <a:lnTo>
                      <a:pt x="103" y="498"/>
                    </a:lnTo>
                    <a:lnTo>
                      <a:pt x="105" y="498"/>
                    </a:lnTo>
                    <a:lnTo>
                      <a:pt x="109" y="498"/>
                    </a:lnTo>
                    <a:lnTo>
                      <a:pt x="115" y="500"/>
                    </a:lnTo>
                    <a:lnTo>
                      <a:pt x="117" y="500"/>
                    </a:lnTo>
                    <a:lnTo>
                      <a:pt x="119" y="500"/>
                    </a:lnTo>
                    <a:lnTo>
                      <a:pt x="119" y="502"/>
                    </a:lnTo>
                    <a:lnTo>
                      <a:pt x="119" y="502"/>
                    </a:lnTo>
                    <a:lnTo>
                      <a:pt x="119" y="504"/>
                    </a:lnTo>
                    <a:lnTo>
                      <a:pt x="121" y="504"/>
                    </a:lnTo>
                    <a:lnTo>
                      <a:pt x="121" y="504"/>
                    </a:lnTo>
                    <a:lnTo>
                      <a:pt x="121" y="504"/>
                    </a:lnTo>
                    <a:lnTo>
                      <a:pt x="121" y="504"/>
                    </a:lnTo>
                    <a:lnTo>
                      <a:pt x="121" y="502"/>
                    </a:lnTo>
                    <a:lnTo>
                      <a:pt x="121" y="500"/>
                    </a:lnTo>
                    <a:lnTo>
                      <a:pt x="123" y="500"/>
                    </a:lnTo>
                    <a:lnTo>
                      <a:pt x="123" y="498"/>
                    </a:lnTo>
                    <a:lnTo>
                      <a:pt x="123" y="498"/>
                    </a:lnTo>
                    <a:lnTo>
                      <a:pt x="126" y="498"/>
                    </a:lnTo>
                    <a:lnTo>
                      <a:pt x="126" y="498"/>
                    </a:lnTo>
                    <a:lnTo>
                      <a:pt x="128" y="498"/>
                    </a:lnTo>
                    <a:lnTo>
                      <a:pt x="128" y="496"/>
                    </a:lnTo>
                    <a:lnTo>
                      <a:pt x="128" y="496"/>
                    </a:lnTo>
                    <a:lnTo>
                      <a:pt x="130" y="494"/>
                    </a:lnTo>
                    <a:lnTo>
                      <a:pt x="130" y="494"/>
                    </a:lnTo>
                    <a:lnTo>
                      <a:pt x="132" y="493"/>
                    </a:lnTo>
                    <a:lnTo>
                      <a:pt x="134" y="493"/>
                    </a:lnTo>
                    <a:lnTo>
                      <a:pt x="138" y="493"/>
                    </a:lnTo>
                    <a:lnTo>
                      <a:pt x="140" y="493"/>
                    </a:lnTo>
                    <a:lnTo>
                      <a:pt x="142" y="494"/>
                    </a:lnTo>
                    <a:lnTo>
                      <a:pt x="143" y="494"/>
                    </a:lnTo>
                    <a:lnTo>
                      <a:pt x="143" y="494"/>
                    </a:lnTo>
                    <a:lnTo>
                      <a:pt x="147" y="494"/>
                    </a:lnTo>
                    <a:lnTo>
                      <a:pt x="147" y="494"/>
                    </a:lnTo>
                    <a:lnTo>
                      <a:pt x="149" y="496"/>
                    </a:lnTo>
                    <a:lnTo>
                      <a:pt x="149" y="496"/>
                    </a:lnTo>
                    <a:lnTo>
                      <a:pt x="149" y="496"/>
                    </a:lnTo>
                    <a:lnTo>
                      <a:pt x="149" y="498"/>
                    </a:lnTo>
                    <a:lnTo>
                      <a:pt x="149" y="498"/>
                    </a:lnTo>
                    <a:lnTo>
                      <a:pt x="145" y="502"/>
                    </a:lnTo>
                    <a:lnTo>
                      <a:pt x="143" y="504"/>
                    </a:lnTo>
                    <a:lnTo>
                      <a:pt x="142" y="504"/>
                    </a:lnTo>
                    <a:lnTo>
                      <a:pt x="142" y="504"/>
                    </a:lnTo>
                    <a:lnTo>
                      <a:pt x="142" y="504"/>
                    </a:lnTo>
                    <a:lnTo>
                      <a:pt x="140" y="504"/>
                    </a:lnTo>
                    <a:lnTo>
                      <a:pt x="140" y="506"/>
                    </a:lnTo>
                    <a:lnTo>
                      <a:pt x="142" y="506"/>
                    </a:lnTo>
                    <a:lnTo>
                      <a:pt x="142" y="508"/>
                    </a:lnTo>
                    <a:lnTo>
                      <a:pt x="143" y="508"/>
                    </a:lnTo>
                    <a:lnTo>
                      <a:pt x="143" y="510"/>
                    </a:lnTo>
                    <a:lnTo>
                      <a:pt x="143" y="512"/>
                    </a:lnTo>
                    <a:lnTo>
                      <a:pt x="145" y="512"/>
                    </a:lnTo>
                    <a:lnTo>
                      <a:pt x="147" y="512"/>
                    </a:lnTo>
                    <a:lnTo>
                      <a:pt x="151" y="512"/>
                    </a:lnTo>
                    <a:lnTo>
                      <a:pt x="151" y="512"/>
                    </a:lnTo>
                    <a:lnTo>
                      <a:pt x="153" y="508"/>
                    </a:lnTo>
                    <a:lnTo>
                      <a:pt x="153" y="508"/>
                    </a:lnTo>
                    <a:lnTo>
                      <a:pt x="155" y="506"/>
                    </a:lnTo>
                    <a:lnTo>
                      <a:pt x="159" y="506"/>
                    </a:lnTo>
                    <a:lnTo>
                      <a:pt x="163" y="506"/>
                    </a:lnTo>
                    <a:lnTo>
                      <a:pt x="164" y="508"/>
                    </a:lnTo>
                    <a:lnTo>
                      <a:pt x="166" y="510"/>
                    </a:lnTo>
                    <a:lnTo>
                      <a:pt x="168" y="512"/>
                    </a:lnTo>
                    <a:lnTo>
                      <a:pt x="172" y="512"/>
                    </a:lnTo>
                    <a:lnTo>
                      <a:pt x="172" y="512"/>
                    </a:lnTo>
                    <a:lnTo>
                      <a:pt x="174" y="512"/>
                    </a:lnTo>
                    <a:lnTo>
                      <a:pt x="174" y="513"/>
                    </a:lnTo>
                    <a:lnTo>
                      <a:pt x="174" y="513"/>
                    </a:lnTo>
                    <a:lnTo>
                      <a:pt x="176" y="515"/>
                    </a:lnTo>
                    <a:lnTo>
                      <a:pt x="182" y="515"/>
                    </a:lnTo>
                    <a:lnTo>
                      <a:pt x="184" y="517"/>
                    </a:lnTo>
                    <a:lnTo>
                      <a:pt x="189" y="519"/>
                    </a:lnTo>
                    <a:lnTo>
                      <a:pt x="191" y="521"/>
                    </a:lnTo>
                    <a:lnTo>
                      <a:pt x="193" y="519"/>
                    </a:lnTo>
                    <a:lnTo>
                      <a:pt x="195" y="519"/>
                    </a:lnTo>
                    <a:lnTo>
                      <a:pt x="195" y="517"/>
                    </a:lnTo>
                    <a:lnTo>
                      <a:pt x="195" y="517"/>
                    </a:lnTo>
                    <a:lnTo>
                      <a:pt x="197" y="517"/>
                    </a:lnTo>
                    <a:lnTo>
                      <a:pt x="199" y="517"/>
                    </a:lnTo>
                    <a:lnTo>
                      <a:pt x="201" y="517"/>
                    </a:lnTo>
                    <a:lnTo>
                      <a:pt x="206" y="515"/>
                    </a:lnTo>
                    <a:lnTo>
                      <a:pt x="208" y="513"/>
                    </a:lnTo>
                    <a:lnTo>
                      <a:pt x="210" y="517"/>
                    </a:lnTo>
                    <a:lnTo>
                      <a:pt x="210" y="515"/>
                    </a:lnTo>
                    <a:lnTo>
                      <a:pt x="212" y="515"/>
                    </a:lnTo>
                    <a:lnTo>
                      <a:pt x="214" y="515"/>
                    </a:lnTo>
                    <a:lnTo>
                      <a:pt x="214" y="517"/>
                    </a:lnTo>
                    <a:lnTo>
                      <a:pt x="214" y="519"/>
                    </a:lnTo>
                    <a:lnTo>
                      <a:pt x="216" y="519"/>
                    </a:lnTo>
                    <a:lnTo>
                      <a:pt x="216" y="519"/>
                    </a:lnTo>
                    <a:lnTo>
                      <a:pt x="218" y="519"/>
                    </a:lnTo>
                    <a:lnTo>
                      <a:pt x="220" y="521"/>
                    </a:lnTo>
                    <a:lnTo>
                      <a:pt x="224" y="527"/>
                    </a:lnTo>
                    <a:lnTo>
                      <a:pt x="227" y="529"/>
                    </a:lnTo>
                    <a:lnTo>
                      <a:pt x="227" y="529"/>
                    </a:lnTo>
                    <a:lnTo>
                      <a:pt x="233" y="527"/>
                    </a:lnTo>
                    <a:lnTo>
                      <a:pt x="235" y="527"/>
                    </a:lnTo>
                    <a:lnTo>
                      <a:pt x="235" y="527"/>
                    </a:lnTo>
                    <a:lnTo>
                      <a:pt x="237" y="529"/>
                    </a:lnTo>
                    <a:lnTo>
                      <a:pt x="237" y="531"/>
                    </a:lnTo>
                    <a:lnTo>
                      <a:pt x="237" y="531"/>
                    </a:lnTo>
                    <a:lnTo>
                      <a:pt x="237" y="531"/>
                    </a:lnTo>
                    <a:lnTo>
                      <a:pt x="237" y="533"/>
                    </a:lnTo>
                    <a:lnTo>
                      <a:pt x="237" y="536"/>
                    </a:lnTo>
                    <a:lnTo>
                      <a:pt x="239" y="542"/>
                    </a:lnTo>
                    <a:lnTo>
                      <a:pt x="241" y="546"/>
                    </a:lnTo>
                    <a:lnTo>
                      <a:pt x="248" y="557"/>
                    </a:lnTo>
                    <a:lnTo>
                      <a:pt x="250" y="561"/>
                    </a:lnTo>
                    <a:lnTo>
                      <a:pt x="250" y="565"/>
                    </a:lnTo>
                    <a:lnTo>
                      <a:pt x="250" y="569"/>
                    </a:lnTo>
                    <a:lnTo>
                      <a:pt x="248" y="574"/>
                    </a:lnTo>
                    <a:lnTo>
                      <a:pt x="250" y="574"/>
                    </a:lnTo>
                    <a:lnTo>
                      <a:pt x="250" y="576"/>
                    </a:lnTo>
                    <a:lnTo>
                      <a:pt x="252" y="576"/>
                    </a:lnTo>
                    <a:lnTo>
                      <a:pt x="252" y="576"/>
                    </a:lnTo>
                    <a:lnTo>
                      <a:pt x="252" y="576"/>
                    </a:lnTo>
                    <a:lnTo>
                      <a:pt x="252" y="578"/>
                    </a:lnTo>
                    <a:lnTo>
                      <a:pt x="248" y="582"/>
                    </a:lnTo>
                    <a:lnTo>
                      <a:pt x="248" y="584"/>
                    </a:lnTo>
                    <a:lnTo>
                      <a:pt x="246" y="586"/>
                    </a:lnTo>
                    <a:lnTo>
                      <a:pt x="245" y="586"/>
                    </a:lnTo>
                    <a:lnTo>
                      <a:pt x="243" y="586"/>
                    </a:lnTo>
                    <a:lnTo>
                      <a:pt x="241" y="586"/>
                    </a:lnTo>
                    <a:lnTo>
                      <a:pt x="239" y="588"/>
                    </a:lnTo>
                    <a:lnTo>
                      <a:pt x="239" y="588"/>
                    </a:lnTo>
                    <a:lnTo>
                      <a:pt x="237" y="590"/>
                    </a:lnTo>
                    <a:lnTo>
                      <a:pt x="237" y="590"/>
                    </a:lnTo>
                    <a:lnTo>
                      <a:pt x="237" y="591"/>
                    </a:lnTo>
                    <a:lnTo>
                      <a:pt x="237" y="593"/>
                    </a:lnTo>
                    <a:lnTo>
                      <a:pt x="237" y="595"/>
                    </a:lnTo>
                    <a:lnTo>
                      <a:pt x="239" y="597"/>
                    </a:lnTo>
                    <a:lnTo>
                      <a:pt x="239" y="599"/>
                    </a:lnTo>
                    <a:lnTo>
                      <a:pt x="239" y="599"/>
                    </a:lnTo>
                    <a:lnTo>
                      <a:pt x="237" y="601"/>
                    </a:lnTo>
                    <a:lnTo>
                      <a:pt x="235" y="601"/>
                    </a:lnTo>
                    <a:lnTo>
                      <a:pt x="235" y="601"/>
                    </a:lnTo>
                    <a:lnTo>
                      <a:pt x="233" y="603"/>
                    </a:lnTo>
                    <a:lnTo>
                      <a:pt x="235" y="607"/>
                    </a:lnTo>
                    <a:lnTo>
                      <a:pt x="235" y="607"/>
                    </a:lnTo>
                    <a:lnTo>
                      <a:pt x="235" y="609"/>
                    </a:lnTo>
                    <a:lnTo>
                      <a:pt x="237" y="611"/>
                    </a:lnTo>
                    <a:lnTo>
                      <a:pt x="239" y="611"/>
                    </a:lnTo>
                    <a:lnTo>
                      <a:pt x="239" y="612"/>
                    </a:lnTo>
                    <a:lnTo>
                      <a:pt x="237" y="614"/>
                    </a:lnTo>
                    <a:lnTo>
                      <a:pt x="233" y="620"/>
                    </a:lnTo>
                    <a:lnTo>
                      <a:pt x="231" y="626"/>
                    </a:lnTo>
                    <a:lnTo>
                      <a:pt x="231" y="630"/>
                    </a:lnTo>
                    <a:lnTo>
                      <a:pt x="229" y="630"/>
                    </a:lnTo>
                    <a:lnTo>
                      <a:pt x="229" y="631"/>
                    </a:lnTo>
                    <a:lnTo>
                      <a:pt x="224" y="639"/>
                    </a:lnTo>
                    <a:lnTo>
                      <a:pt x="222" y="643"/>
                    </a:lnTo>
                    <a:lnTo>
                      <a:pt x="220" y="649"/>
                    </a:lnTo>
                    <a:lnTo>
                      <a:pt x="218" y="650"/>
                    </a:lnTo>
                    <a:lnTo>
                      <a:pt x="216" y="652"/>
                    </a:lnTo>
                    <a:lnTo>
                      <a:pt x="214" y="652"/>
                    </a:lnTo>
                    <a:lnTo>
                      <a:pt x="212" y="654"/>
                    </a:lnTo>
                    <a:lnTo>
                      <a:pt x="212" y="654"/>
                    </a:lnTo>
                    <a:lnTo>
                      <a:pt x="210" y="658"/>
                    </a:lnTo>
                    <a:lnTo>
                      <a:pt x="210" y="660"/>
                    </a:lnTo>
                    <a:lnTo>
                      <a:pt x="210" y="660"/>
                    </a:lnTo>
                    <a:lnTo>
                      <a:pt x="210" y="662"/>
                    </a:lnTo>
                    <a:lnTo>
                      <a:pt x="210" y="664"/>
                    </a:lnTo>
                    <a:lnTo>
                      <a:pt x="210" y="666"/>
                    </a:lnTo>
                    <a:lnTo>
                      <a:pt x="212" y="668"/>
                    </a:lnTo>
                    <a:lnTo>
                      <a:pt x="212" y="669"/>
                    </a:lnTo>
                    <a:lnTo>
                      <a:pt x="214" y="671"/>
                    </a:lnTo>
                    <a:lnTo>
                      <a:pt x="214" y="673"/>
                    </a:lnTo>
                    <a:lnTo>
                      <a:pt x="214" y="673"/>
                    </a:lnTo>
                    <a:lnTo>
                      <a:pt x="214" y="673"/>
                    </a:lnTo>
                    <a:lnTo>
                      <a:pt x="212" y="675"/>
                    </a:lnTo>
                    <a:lnTo>
                      <a:pt x="212" y="675"/>
                    </a:lnTo>
                    <a:lnTo>
                      <a:pt x="208" y="677"/>
                    </a:lnTo>
                    <a:lnTo>
                      <a:pt x="197" y="681"/>
                    </a:lnTo>
                    <a:lnTo>
                      <a:pt x="191" y="683"/>
                    </a:lnTo>
                    <a:lnTo>
                      <a:pt x="191" y="685"/>
                    </a:lnTo>
                    <a:lnTo>
                      <a:pt x="189" y="685"/>
                    </a:lnTo>
                    <a:lnTo>
                      <a:pt x="187" y="685"/>
                    </a:lnTo>
                    <a:lnTo>
                      <a:pt x="185" y="685"/>
                    </a:lnTo>
                    <a:lnTo>
                      <a:pt x="182" y="685"/>
                    </a:lnTo>
                    <a:lnTo>
                      <a:pt x="180" y="685"/>
                    </a:lnTo>
                    <a:lnTo>
                      <a:pt x="176" y="685"/>
                    </a:lnTo>
                    <a:lnTo>
                      <a:pt x="164" y="689"/>
                    </a:lnTo>
                    <a:lnTo>
                      <a:pt x="163" y="690"/>
                    </a:lnTo>
                    <a:lnTo>
                      <a:pt x="163" y="698"/>
                    </a:lnTo>
                    <a:lnTo>
                      <a:pt x="161" y="700"/>
                    </a:lnTo>
                    <a:lnTo>
                      <a:pt x="151" y="708"/>
                    </a:lnTo>
                    <a:lnTo>
                      <a:pt x="151" y="709"/>
                    </a:lnTo>
                    <a:lnTo>
                      <a:pt x="151" y="709"/>
                    </a:lnTo>
                    <a:lnTo>
                      <a:pt x="151" y="711"/>
                    </a:lnTo>
                    <a:lnTo>
                      <a:pt x="151" y="713"/>
                    </a:lnTo>
                    <a:lnTo>
                      <a:pt x="153" y="715"/>
                    </a:lnTo>
                    <a:lnTo>
                      <a:pt x="155" y="717"/>
                    </a:lnTo>
                    <a:lnTo>
                      <a:pt x="157" y="719"/>
                    </a:lnTo>
                    <a:lnTo>
                      <a:pt x="163" y="732"/>
                    </a:lnTo>
                    <a:lnTo>
                      <a:pt x="164" y="736"/>
                    </a:lnTo>
                    <a:lnTo>
                      <a:pt x="164" y="738"/>
                    </a:lnTo>
                    <a:lnTo>
                      <a:pt x="164" y="738"/>
                    </a:lnTo>
                    <a:lnTo>
                      <a:pt x="164" y="742"/>
                    </a:lnTo>
                    <a:lnTo>
                      <a:pt x="163" y="746"/>
                    </a:lnTo>
                    <a:lnTo>
                      <a:pt x="163" y="748"/>
                    </a:lnTo>
                    <a:lnTo>
                      <a:pt x="161" y="749"/>
                    </a:lnTo>
                    <a:lnTo>
                      <a:pt x="161" y="753"/>
                    </a:lnTo>
                    <a:lnTo>
                      <a:pt x="161" y="753"/>
                    </a:lnTo>
                    <a:lnTo>
                      <a:pt x="161" y="755"/>
                    </a:lnTo>
                    <a:lnTo>
                      <a:pt x="161" y="759"/>
                    </a:lnTo>
                    <a:lnTo>
                      <a:pt x="161" y="761"/>
                    </a:lnTo>
                    <a:lnTo>
                      <a:pt x="159" y="765"/>
                    </a:lnTo>
                    <a:lnTo>
                      <a:pt x="159" y="767"/>
                    </a:lnTo>
                    <a:lnTo>
                      <a:pt x="151" y="772"/>
                    </a:lnTo>
                    <a:lnTo>
                      <a:pt x="147" y="774"/>
                    </a:lnTo>
                    <a:lnTo>
                      <a:pt x="142" y="780"/>
                    </a:lnTo>
                    <a:lnTo>
                      <a:pt x="140" y="782"/>
                    </a:lnTo>
                    <a:lnTo>
                      <a:pt x="140" y="784"/>
                    </a:lnTo>
                    <a:lnTo>
                      <a:pt x="140" y="786"/>
                    </a:lnTo>
                    <a:lnTo>
                      <a:pt x="142" y="786"/>
                    </a:lnTo>
                    <a:lnTo>
                      <a:pt x="143" y="786"/>
                    </a:lnTo>
                    <a:lnTo>
                      <a:pt x="143" y="787"/>
                    </a:lnTo>
                    <a:lnTo>
                      <a:pt x="147" y="793"/>
                    </a:lnTo>
                    <a:lnTo>
                      <a:pt x="147" y="795"/>
                    </a:lnTo>
                    <a:lnTo>
                      <a:pt x="147" y="799"/>
                    </a:lnTo>
                    <a:lnTo>
                      <a:pt x="147" y="801"/>
                    </a:lnTo>
                    <a:lnTo>
                      <a:pt x="149" y="803"/>
                    </a:lnTo>
                    <a:lnTo>
                      <a:pt x="151" y="805"/>
                    </a:lnTo>
                    <a:lnTo>
                      <a:pt x="151" y="806"/>
                    </a:lnTo>
                    <a:lnTo>
                      <a:pt x="151" y="810"/>
                    </a:lnTo>
                    <a:lnTo>
                      <a:pt x="151" y="810"/>
                    </a:lnTo>
                    <a:lnTo>
                      <a:pt x="151" y="814"/>
                    </a:lnTo>
                    <a:lnTo>
                      <a:pt x="151" y="814"/>
                    </a:lnTo>
                    <a:lnTo>
                      <a:pt x="153" y="816"/>
                    </a:lnTo>
                    <a:lnTo>
                      <a:pt x="153" y="816"/>
                    </a:lnTo>
                    <a:lnTo>
                      <a:pt x="153" y="820"/>
                    </a:lnTo>
                    <a:lnTo>
                      <a:pt x="151" y="822"/>
                    </a:lnTo>
                    <a:lnTo>
                      <a:pt x="151" y="826"/>
                    </a:lnTo>
                    <a:lnTo>
                      <a:pt x="147" y="829"/>
                    </a:lnTo>
                    <a:lnTo>
                      <a:pt x="147" y="831"/>
                    </a:lnTo>
                    <a:lnTo>
                      <a:pt x="147" y="831"/>
                    </a:lnTo>
                    <a:lnTo>
                      <a:pt x="149" y="835"/>
                    </a:lnTo>
                    <a:lnTo>
                      <a:pt x="149" y="835"/>
                    </a:lnTo>
                    <a:lnTo>
                      <a:pt x="151" y="837"/>
                    </a:lnTo>
                    <a:lnTo>
                      <a:pt x="151" y="837"/>
                    </a:lnTo>
                    <a:lnTo>
                      <a:pt x="153" y="837"/>
                    </a:lnTo>
                    <a:lnTo>
                      <a:pt x="153" y="839"/>
                    </a:lnTo>
                    <a:lnTo>
                      <a:pt x="153" y="841"/>
                    </a:lnTo>
                    <a:lnTo>
                      <a:pt x="155" y="841"/>
                    </a:lnTo>
                    <a:lnTo>
                      <a:pt x="157" y="843"/>
                    </a:lnTo>
                    <a:lnTo>
                      <a:pt x="161" y="845"/>
                    </a:lnTo>
                    <a:lnTo>
                      <a:pt x="163" y="845"/>
                    </a:lnTo>
                    <a:lnTo>
                      <a:pt x="163" y="846"/>
                    </a:lnTo>
                    <a:lnTo>
                      <a:pt x="163" y="846"/>
                    </a:lnTo>
                    <a:lnTo>
                      <a:pt x="163" y="848"/>
                    </a:lnTo>
                    <a:lnTo>
                      <a:pt x="161" y="852"/>
                    </a:lnTo>
                    <a:lnTo>
                      <a:pt x="161" y="854"/>
                    </a:lnTo>
                    <a:lnTo>
                      <a:pt x="161" y="856"/>
                    </a:lnTo>
                    <a:lnTo>
                      <a:pt x="161" y="856"/>
                    </a:lnTo>
                    <a:lnTo>
                      <a:pt x="163" y="858"/>
                    </a:lnTo>
                    <a:lnTo>
                      <a:pt x="163" y="860"/>
                    </a:lnTo>
                    <a:lnTo>
                      <a:pt x="164" y="860"/>
                    </a:lnTo>
                    <a:lnTo>
                      <a:pt x="166" y="862"/>
                    </a:lnTo>
                    <a:lnTo>
                      <a:pt x="170" y="860"/>
                    </a:lnTo>
                    <a:lnTo>
                      <a:pt x="172" y="858"/>
                    </a:lnTo>
                    <a:lnTo>
                      <a:pt x="174" y="858"/>
                    </a:lnTo>
                    <a:lnTo>
                      <a:pt x="174" y="856"/>
                    </a:lnTo>
                    <a:lnTo>
                      <a:pt x="174" y="854"/>
                    </a:lnTo>
                    <a:lnTo>
                      <a:pt x="174" y="854"/>
                    </a:lnTo>
                    <a:lnTo>
                      <a:pt x="176" y="852"/>
                    </a:lnTo>
                    <a:lnTo>
                      <a:pt x="176" y="850"/>
                    </a:lnTo>
                    <a:lnTo>
                      <a:pt x="176" y="850"/>
                    </a:lnTo>
                    <a:lnTo>
                      <a:pt x="176" y="848"/>
                    </a:lnTo>
                    <a:lnTo>
                      <a:pt x="178" y="846"/>
                    </a:lnTo>
                    <a:lnTo>
                      <a:pt x="178" y="846"/>
                    </a:lnTo>
                    <a:lnTo>
                      <a:pt x="178" y="846"/>
                    </a:lnTo>
                    <a:lnTo>
                      <a:pt x="180" y="846"/>
                    </a:lnTo>
                    <a:lnTo>
                      <a:pt x="184" y="846"/>
                    </a:lnTo>
                    <a:lnTo>
                      <a:pt x="185" y="848"/>
                    </a:lnTo>
                    <a:lnTo>
                      <a:pt x="193" y="854"/>
                    </a:lnTo>
                    <a:lnTo>
                      <a:pt x="195" y="856"/>
                    </a:lnTo>
                    <a:lnTo>
                      <a:pt x="199" y="860"/>
                    </a:lnTo>
                    <a:lnTo>
                      <a:pt x="201" y="862"/>
                    </a:lnTo>
                    <a:lnTo>
                      <a:pt x="203" y="864"/>
                    </a:lnTo>
                    <a:lnTo>
                      <a:pt x="205" y="864"/>
                    </a:lnTo>
                    <a:lnTo>
                      <a:pt x="208" y="864"/>
                    </a:lnTo>
                    <a:lnTo>
                      <a:pt x="210" y="864"/>
                    </a:lnTo>
                    <a:lnTo>
                      <a:pt x="212" y="864"/>
                    </a:lnTo>
                    <a:lnTo>
                      <a:pt x="212" y="864"/>
                    </a:lnTo>
                    <a:lnTo>
                      <a:pt x="214" y="865"/>
                    </a:lnTo>
                    <a:lnTo>
                      <a:pt x="214" y="867"/>
                    </a:lnTo>
                    <a:lnTo>
                      <a:pt x="214" y="867"/>
                    </a:lnTo>
                    <a:lnTo>
                      <a:pt x="214" y="869"/>
                    </a:lnTo>
                    <a:lnTo>
                      <a:pt x="216" y="871"/>
                    </a:lnTo>
                    <a:lnTo>
                      <a:pt x="218" y="873"/>
                    </a:lnTo>
                    <a:lnTo>
                      <a:pt x="220" y="871"/>
                    </a:lnTo>
                    <a:lnTo>
                      <a:pt x="222" y="871"/>
                    </a:lnTo>
                    <a:lnTo>
                      <a:pt x="225" y="867"/>
                    </a:lnTo>
                    <a:lnTo>
                      <a:pt x="227" y="865"/>
                    </a:lnTo>
                    <a:lnTo>
                      <a:pt x="229" y="862"/>
                    </a:lnTo>
                    <a:lnTo>
                      <a:pt x="231" y="858"/>
                    </a:lnTo>
                    <a:lnTo>
                      <a:pt x="231" y="854"/>
                    </a:lnTo>
                    <a:lnTo>
                      <a:pt x="237" y="850"/>
                    </a:lnTo>
                    <a:lnTo>
                      <a:pt x="237" y="850"/>
                    </a:lnTo>
                    <a:lnTo>
                      <a:pt x="239" y="848"/>
                    </a:lnTo>
                    <a:lnTo>
                      <a:pt x="239" y="846"/>
                    </a:lnTo>
                    <a:lnTo>
                      <a:pt x="241" y="845"/>
                    </a:lnTo>
                    <a:lnTo>
                      <a:pt x="241" y="843"/>
                    </a:lnTo>
                    <a:lnTo>
                      <a:pt x="241" y="839"/>
                    </a:lnTo>
                    <a:lnTo>
                      <a:pt x="239" y="837"/>
                    </a:lnTo>
                    <a:lnTo>
                      <a:pt x="237" y="837"/>
                    </a:lnTo>
                    <a:lnTo>
                      <a:pt x="235" y="837"/>
                    </a:lnTo>
                    <a:lnTo>
                      <a:pt x="235" y="835"/>
                    </a:lnTo>
                    <a:lnTo>
                      <a:pt x="233" y="835"/>
                    </a:lnTo>
                    <a:lnTo>
                      <a:pt x="233" y="835"/>
                    </a:lnTo>
                    <a:lnTo>
                      <a:pt x="233" y="833"/>
                    </a:lnTo>
                    <a:lnTo>
                      <a:pt x="233" y="833"/>
                    </a:lnTo>
                    <a:lnTo>
                      <a:pt x="233" y="833"/>
                    </a:lnTo>
                    <a:lnTo>
                      <a:pt x="233" y="833"/>
                    </a:lnTo>
                    <a:lnTo>
                      <a:pt x="235" y="831"/>
                    </a:lnTo>
                    <a:lnTo>
                      <a:pt x="235" y="829"/>
                    </a:lnTo>
                    <a:lnTo>
                      <a:pt x="233" y="827"/>
                    </a:lnTo>
                    <a:lnTo>
                      <a:pt x="231" y="824"/>
                    </a:lnTo>
                    <a:lnTo>
                      <a:pt x="229" y="822"/>
                    </a:lnTo>
                    <a:lnTo>
                      <a:pt x="229" y="820"/>
                    </a:lnTo>
                    <a:lnTo>
                      <a:pt x="229" y="818"/>
                    </a:lnTo>
                    <a:lnTo>
                      <a:pt x="227" y="816"/>
                    </a:lnTo>
                    <a:lnTo>
                      <a:pt x="225" y="814"/>
                    </a:lnTo>
                    <a:lnTo>
                      <a:pt x="224" y="814"/>
                    </a:lnTo>
                    <a:lnTo>
                      <a:pt x="222" y="814"/>
                    </a:lnTo>
                    <a:lnTo>
                      <a:pt x="222" y="814"/>
                    </a:lnTo>
                    <a:lnTo>
                      <a:pt x="218" y="814"/>
                    </a:lnTo>
                    <a:lnTo>
                      <a:pt x="214" y="816"/>
                    </a:lnTo>
                    <a:lnTo>
                      <a:pt x="212" y="816"/>
                    </a:lnTo>
                    <a:lnTo>
                      <a:pt x="212" y="816"/>
                    </a:lnTo>
                    <a:lnTo>
                      <a:pt x="210" y="814"/>
                    </a:lnTo>
                    <a:lnTo>
                      <a:pt x="210" y="814"/>
                    </a:lnTo>
                    <a:lnTo>
                      <a:pt x="208" y="812"/>
                    </a:lnTo>
                    <a:lnTo>
                      <a:pt x="208" y="810"/>
                    </a:lnTo>
                    <a:lnTo>
                      <a:pt x="208" y="808"/>
                    </a:lnTo>
                    <a:lnTo>
                      <a:pt x="208" y="806"/>
                    </a:lnTo>
                    <a:lnTo>
                      <a:pt x="210" y="805"/>
                    </a:lnTo>
                    <a:lnTo>
                      <a:pt x="210" y="805"/>
                    </a:lnTo>
                    <a:lnTo>
                      <a:pt x="210" y="803"/>
                    </a:lnTo>
                    <a:lnTo>
                      <a:pt x="210" y="801"/>
                    </a:lnTo>
                    <a:lnTo>
                      <a:pt x="210" y="797"/>
                    </a:lnTo>
                    <a:lnTo>
                      <a:pt x="210" y="789"/>
                    </a:lnTo>
                    <a:lnTo>
                      <a:pt x="210" y="787"/>
                    </a:lnTo>
                    <a:lnTo>
                      <a:pt x="210" y="786"/>
                    </a:lnTo>
                    <a:lnTo>
                      <a:pt x="208" y="782"/>
                    </a:lnTo>
                    <a:lnTo>
                      <a:pt x="206" y="780"/>
                    </a:lnTo>
                    <a:lnTo>
                      <a:pt x="201" y="774"/>
                    </a:lnTo>
                    <a:lnTo>
                      <a:pt x="201" y="772"/>
                    </a:lnTo>
                    <a:lnTo>
                      <a:pt x="199" y="770"/>
                    </a:lnTo>
                    <a:lnTo>
                      <a:pt x="197" y="755"/>
                    </a:lnTo>
                    <a:lnTo>
                      <a:pt x="197" y="749"/>
                    </a:lnTo>
                    <a:lnTo>
                      <a:pt x="195" y="746"/>
                    </a:lnTo>
                    <a:lnTo>
                      <a:pt x="191" y="736"/>
                    </a:lnTo>
                    <a:lnTo>
                      <a:pt x="189" y="734"/>
                    </a:lnTo>
                    <a:lnTo>
                      <a:pt x="187" y="732"/>
                    </a:lnTo>
                    <a:lnTo>
                      <a:pt x="185" y="730"/>
                    </a:lnTo>
                    <a:lnTo>
                      <a:pt x="184" y="728"/>
                    </a:lnTo>
                    <a:lnTo>
                      <a:pt x="184" y="728"/>
                    </a:lnTo>
                    <a:lnTo>
                      <a:pt x="184" y="727"/>
                    </a:lnTo>
                    <a:lnTo>
                      <a:pt x="184" y="727"/>
                    </a:lnTo>
                    <a:lnTo>
                      <a:pt x="184" y="725"/>
                    </a:lnTo>
                    <a:lnTo>
                      <a:pt x="184" y="723"/>
                    </a:lnTo>
                    <a:lnTo>
                      <a:pt x="185" y="721"/>
                    </a:lnTo>
                    <a:lnTo>
                      <a:pt x="189" y="717"/>
                    </a:lnTo>
                    <a:lnTo>
                      <a:pt x="189" y="715"/>
                    </a:lnTo>
                    <a:lnTo>
                      <a:pt x="191" y="713"/>
                    </a:lnTo>
                    <a:lnTo>
                      <a:pt x="191" y="713"/>
                    </a:lnTo>
                    <a:lnTo>
                      <a:pt x="191" y="713"/>
                    </a:lnTo>
                    <a:lnTo>
                      <a:pt x="191" y="711"/>
                    </a:lnTo>
                    <a:lnTo>
                      <a:pt x="191" y="711"/>
                    </a:lnTo>
                    <a:lnTo>
                      <a:pt x="191" y="709"/>
                    </a:lnTo>
                    <a:lnTo>
                      <a:pt x="191" y="709"/>
                    </a:lnTo>
                    <a:lnTo>
                      <a:pt x="191" y="708"/>
                    </a:lnTo>
                    <a:lnTo>
                      <a:pt x="193" y="708"/>
                    </a:lnTo>
                    <a:lnTo>
                      <a:pt x="193" y="708"/>
                    </a:lnTo>
                    <a:lnTo>
                      <a:pt x="195" y="708"/>
                    </a:lnTo>
                    <a:lnTo>
                      <a:pt x="199" y="708"/>
                    </a:lnTo>
                    <a:lnTo>
                      <a:pt x="201" y="708"/>
                    </a:lnTo>
                    <a:lnTo>
                      <a:pt x="203" y="708"/>
                    </a:lnTo>
                    <a:lnTo>
                      <a:pt x="203" y="709"/>
                    </a:lnTo>
                    <a:lnTo>
                      <a:pt x="203" y="711"/>
                    </a:lnTo>
                    <a:lnTo>
                      <a:pt x="203" y="711"/>
                    </a:lnTo>
                    <a:lnTo>
                      <a:pt x="205" y="713"/>
                    </a:lnTo>
                    <a:lnTo>
                      <a:pt x="206" y="713"/>
                    </a:lnTo>
                    <a:lnTo>
                      <a:pt x="208" y="715"/>
                    </a:lnTo>
                    <a:lnTo>
                      <a:pt x="208" y="717"/>
                    </a:lnTo>
                    <a:lnTo>
                      <a:pt x="210" y="717"/>
                    </a:lnTo>
                    <a:lnTo>
                      <a:pt x="210" y="715"/>
                    </a:lnTo>
                    <a:lnTo>
                      <a:pt x="212" y="715"/>
                    </a:lnTo>
                    <a:lnTo>
                      <a:pt x="212" y="713"/>
                    </a:lnTo>
                    <a:lnTo>
                      <a:pt x="210" y="711"/>
                    </a:lnTo>
                    <a:lnTo>
                      <a:pt x="210" y="711"/>
                    </a:lnTo>
                    <a:lnTo>
                      <a:pt x="210" y="709"/>
                    </a:lnTo>
                    <a:lnTo>
                      <a:pt x="210" y="709"/>
                    </a:lnTo>
                    <a:lnTo>
                      <a:pt x="212" y="708"/>
                    </a:lnTo>
                    <a:lnTo>
                      <a:pt x="212" y="706"/>
                    </a:lnTo>
                    <a:lnTo>
                      <a:pt x="212" y="704"/>
                    </a:lnTo>
                    <a:lnTo>
                      <a:pt x="212" y="704"/>
                    </a:lnTo>
                    <a:lnTo>
                      <a:pt x="210" y="702"/>
                    </a:lnTo>
                    <a:lnTo>
                      <a:pt x="210" y="700"/>
                    </a:lnTo>
                    <a:lnTo>
                      <a:pt x="210" y="698"/>
                    </a:lnTo>
                    <a:lnTo>
                      <a:pt x="210" y="696"/>
                    </a:lnTo>
                    <a:lnTo>
                      <a:pt x="210" y="694"/>
                    </a:lnTo>
                    <a:lnTo>
                      <a:pt x="212" y="694"/>
                    </a:lnTo>
                    <a:lnTo>
                      <a:pt x="214" y="694"/>
                    </a:lnTo>
                    <a:lnTo>
                      <a:pt x="214" y="694"/>
                    </a:lnTo>
                    <a:lnTo>
                      <a:pt x="216" y="692"/>
                    </a:lnTo>
                    <a:lnTo>
                      <a:pt x="218" y="694"/>
                    </a:lnTo>
                    <a:lnTo>
                      <a:pt x="218" y="694"/>
                    </a:lnTo>
                    <a:lnTo>
                      <a:pt x="218" y="696"/>
                    </a:lnTo>
                    <a:lnTo>
                      <a:pt x="220" y="698"/>
                    </a:lnTo>
                    <a:lnTo>
                      <a:pt x="220" y="704"/>
                    </a:lnTo>
                    <a:lnTo>
                      <a:pt x="220" y="706"/>
                    </a:lnTo>
                    <a:lnTo>
                      <a:pt x="220" y="706"/>
                    </a:lnTo>
                    <a:lnTo>
                      <a:pt x="222" y="708"/>
                    </a:lnTo>
                    <a:lnTo>
                      <a:pt x="224" y="706"/>
                    </a:lnTo>
                    <a:lnTo>
                      <a:pt x="225" y="706"/>
                    </a:lnTo>
                    <a:lnTo>
                      <a:pt x="225" y="704"/>
                    </a:lnTo>
                    <a:lnTo>
                      <a:pt x="225" y="704"/>
                    </a:lnTo>
                    <a:lnTo>
                      <a:pt x="225" y="698"/>
                    </a:lnTo>
                    <a:lnTo>
                      <a:pt x="225" y="696"/>
                    </a:lnTo>
                    <a:lnTo>
                      <a:pt x="225" y="696"/>
                    </a:lnTo>
                    <a:lnTo>
                      <a:pt x="225" y="694"/>
                    </a:lnTo>
                    <a:lnTo>
                      <a:pt x="227" y="694"/>
                    </a:lnTo>
                    <a:lnTo>
                      <a:pt x="227" y="692"/>
                    </a:lnTo>
                    <a:lnTo>
                      <a:pt x="229" y="690"/>
                    </a:lnTo>
                    <a:lnTo>
                      <a:pt x="231" y="690"/>
                    </a:lnTo>
                    <a:lnTo>
                      <a:pt x="231" y="690"/>
                    </a:lnTo>
                    <a:lnTo>
                      <a:pt x="233" y="692"/>
                    </a:lnTo>
                    <a:lnTo>
                      <a:pt x="233" y="694"/>
                    </a:lnTo>
                    <a:lnTo>
                      <a:pt x="233" y="694"/>
                    </a:lnTo>
                    <a:lnTo>
                      <a:pt x="235" y="698"/>
                    </a:lnTo>
                    <a:lnTo>
                      <a:pt x="233" y="700"/>
                    </a:lnTo>
                    <a:lnTo>
                      <a:pt x="233" y="700"/>
                    </a:lnTo>
                    <a:lnTo>
                      <a:pt x="233" y="702"/>
                    </a:lnTo>
                    <a:lnTo>
                      <a:pt x="233" y="704"/>
                    </a:lnTo>
                    <a:lnTo>
                      <a:pt x="233" y="704"/>
                    </a:lnTo>
                    <a:lnTo>
                      <a:pt x="233" y="704"/>
                    </a:lnTo>
                    <a:lnTo>
                      <a:pt x="235" y="704"/>
                    </a:lnTo>
                    <a:lnTo>
                      <a:pt x="237" y="704"/>
                    </a:lnTo>
                    <a:lnTo>
                      <a:pt x="237" y="704"/>
                    </a:lnTo>
                    <a:lnTo>
                      <a:pt x="239" y="704"/>
                    </a:lnTo>
                    <a:lnTo>
                      <a:pt x="239" y="704"/>
                    </a:lnTo>
                    <a:lnTo>
                      <a:pt x="239" y="704"/>
                    </a:lnTo>
                    <a:lnTo>
                      <a:pt x="239" y="706"/>
                    </a:lnTo>
                    <a:lnTo>
                      <a:pt x="239" y="709"/>
                    </a:lnTo>
                    <a:lnTo>
                      <a:pt x="239" y="711"/>
                    </a:lnTo>
                    <a:lnTo>
                      <a:pt x="237" y="715"/>
                    </a:lnTo>
                    <a:lnTo>
                      <a:pt x="235" y="717"/>
                    </a:lnTo>
                    <a:lnTo>
                      <a:pt x="235" y="717"/>
                    </a:lnTo>
                    <a:lnTo>
                      <a:pt x="237" y="721"/>
                    </a:lnTo>
                    <a:lnTo>
                      <a:pt x="237" y="721"/>
                    </a:lnTo>
                    <a:lnTo>
                      <a:pt x="237" y="723"/>
                    </a:lnTo>
                    <a:lnTo>
                      <a:pt x="235" y="723"/>
                    </a:lnTo>
                    <a:lnTo>
                      <a:pt x="235" y="725"/>
                    </a:lnTo>
                    <a:lnTo>
                      <a:pt x="231" y="727"/>
                    </a:lnTo>
                    <a:lnTo>
                      <a:pt x="229" y="728"/>
                    </a:lnTo>
                    <a:lnTo>
                      <a:pt x="229" y="730"/>
                    </a:lnTo>
                    <a:lnTo>
                      <a:pt x="227" y="732"/>
                    </a:lnTo>
                    <a:lnTo>
                      <a:pt x="227" y="734"/>
                    </a:lnTo>
                    <a:lnTo>
                      <a:pt x="227" y="736"/>
                    </a:lnTo>
                    <a:lnTo>
                      <a:pt x="227" y="738"/>
                    </a:lnTo>
                    <a:lnTo>
                      <a:pt x="227" y="740"/>
                    </a:lnTo>
                    <a:lnTo>
                      <a:pt x="229" y="740"/>
                    </a:lnTo>
                    <a:lnTo>
                      <a:pt x="231" y="740"/>
                    </a:lnTo>
                    <a:lnTo>
                      <a:pt x="233" y="738"/>
                    </a:lnTo>
                    <a:lnTo>
                      <a:pt x="233" y="738"/>
                    </a:lnTo>
                    <a:lnTo>
                      <a:pt x="235" y="734"/>
                    </a:lnTo>
                    <a:lnTo>
                      <a:pt x="237" y="734"/>
                    </a:lnTo>
                    <a:lnTo>
                      <a:pt x="237" y="734"/>
                    </a:lnTo>
                    <a:lnTo>
                      <a:pt x="239" y="734"/>
                    </a:lnTo>
                    <a:lnTo>
                      <a:pt x="241" y="732"/>
                    </a:lnTo>
                    <a:lnTo>
                      <a:pt x="243" y="732"/>
                    </a:lnTo>
                    <a:lnTo>
                      <a:pt x="243" y="730"/>
                    </a:lnTo>
                    <a:lnTo>
                      <a:pt x="243" y="728"/>
                    </a:lnTo>
                    <a:lnTo>
                      <a:pt x="243" y="727"/>
                    </a:lnTo>
                    <a:lnTo>
                      <a:pt x="243" y="727"/>
                    </a:lnTo>
                    <a:lnTo>
                      <a:pt x="243" y="727"/>
                    </a:lnTo>
                    <a:lnTo>
                      <a:pt x="245" y="725"/>
                    </a:lnTo>
                    <a:lnTo>
                      <a:pt x="246" y="727"/>
                    </a:lnTo>
                    <a:lnTo>
                      <a:pt x="246" y="727"/>
                    </a:lnTo>
                    <a:lnTo>
                      <a:pt x="248" y="727"/>
                    </a:lnTo>
                    <a:lnTo>
                      <a:pt x="248" y="727"/>
                    </a:lnTo>
                    <a:lnTo>
                      <a:pt x="248" y="728"/>
                    </a:lnTo>
                    <a:lnTo>
                      <a:pt x="250" y="728"/>
                    </a:lnTo>
                    <a:lnTo>
                      <a:pt x="250" y="728"/>
                    </a:lnTo>
                    <a:lnTo>
                      <a:pt x="250" y="728"/>
                    </a:lnTo>
                    <a:lnTo>
                      <a:pt x="250" y="730"/>
                    </a:lnTo>
                    <a:lnTo>
                      <a:pt x="246" y="734"/>
                    </a:lnTo>
                    <a:lnTo>
                      <a:pt x="246" y="734"/>
                    </a:lnTo>
                    <a:lnTo>
                      <a:pt x="245" y="736"/>
                    </a:lnTo>
                    <a:lnTo>
                      <a:pt x="245" y="738"/>
                    </a:lnTo>
                    <a:lnTo>
                      <a:pt x="246" y="740"/>
                    </a:lnTo>
                    <a:lnTo>
                      <a:pt x="246" y="740"/>
                    </a:lnTo>
                    <a:lnTo>
                      <a:pt x="246" y="740"/>
                    </a:lnTo>
                    <a:lnTo>
                      <a:pt x="248" y="740"/>
                    </a:lnTo>
                    <a:lnTo>
                      <a:pt x="250" y="740"/>
                    </a:lnTo>
                    <a:lnTo>
                      <a:pt x="254" y="738"/>
                    </a:lnTo>
                    <a:lnTo>
                      <a:pt x="256" y="738"/>
                    </a:lnTo>
                    <a:lnTo>
                      <a:pt x="258" y="738"/>
                    </a:lnTo>
                    <a:lnTo>
                      <a:pt x="258" y="738"/>
                    </a:lnTo>
                    <a:lnTo>
                      <a:pt x="258" y="744"/>
                    </a:lnTo>
                    <a:lnTo>
                      <a:pt x="260" y="744"/>
                    </a:lnTo>
                    <a:lnTo>
                      <a:pt x="260" y="746"/>
                    </a:lnTo>
                    <a:lnTo>
                      <a:pt x="262" y="744"/>
                    </a:lnTo>
                    <a:lnTo>
                      <a:pt x="262" y="744"/>
                    </a:lnTo>
                    <a:lnTo>
                      <a:pt x="264" y="742"/>
                    </a:lnTo>
                    <a:lnTo>
                      <a:pt x="264" y="740"/>
                    </a:lnTo>
                    <a:lnTo>
                      <a:pt x="266" y="740"/>
                    </a:lnTo>
                    <a:lnTo>
                      <a:pt x="267" y="740"/>
                    </a:lnTo>
                    <a:lnTo>
                      <a:pt x="267" y="740"/>
                    </a:lnTo>
                    <a:lnTo>
                      <a:pt x="271" y="740"/>
                    </a:lnTo>
                    <a:lnTo>
                      <a:pt x="271" y="740"/>
                    </a:lnTo>
                    <a:lnTo>
                      <a:pt x="273" y="740"/>
                    </a:lnTo>
                    <a:lnTo>
                      <a:pt x="273" y="740"/>
                    </a:lnTo>
                    <a:lnTo>
                      <a:pt x="275" y="740"/>
                    </a:lnTo>
                    <a:lnTo>
                      <a:pt x="279" y="742"/>
                    </a:lnTo>
                    <a:lnTo>
                      <a:pt x="279" y="742"/>
                    </a:lnTo>
                    <a:lnTo>
                      <a:pt x="281" y="742"/>
                    </a:lnTo>
                    <a:lnTo>
                      <a:pt x="281" y="740"/>
                    </a:lnTo>
                    <a:lnTo>
                      <a:pt x="281" y="738"/>
                    </a:lnTo>
                    <a:lnTo>
                      <a:pt x="281" y="736"/>
                    </a:lnTo>
                    <a:lnTo>
                      <a:pt x="277" y="727"/>
                    </a:lnTo>
                    <a:lnTo>
                      <a:pt x="277" y="725"/>
                    </a:lnTo>
                    <a:lnTo>
                      <a:pt x="277" y="723"/>
                    </a:lnTo>
                    <a:lnTo>
                      <a:pt x="277" y="723"/>
                    </a:lnTo>
                    <a:lnTo>
                      <a:pt x="279" y="719"/>
                    </a:lnTo>
                    <a:lnTo>
                      <a:pt x="283" y="713"/>
                    </a:lnTo>
                    <a:lnTo>
                      <a:pt x="283" y="713"/>
                    </a:lnTo>
                    <a:lnTo>
                      <a:pt x="285" y="715"/>
                    </a:lnTo>
                    <a:lnTo>
                      <a:pt x="285" y="715"/>
                    </a:lnTo>
                    <a:lnTo>
                      <a:pt x="285" y="717"/>
                    </a:lnTo>
                    <a:lnTo>
                      <a:pt x="285" y="717"/>
                    </a:lnTo>
                    <a:lnTo>
                      <a:pt x="281" y="723"/>
                    </a:lnTo>
                    <a:lnTo>
                      <a:pt x="281" y="725"/>
                    </a:lnTo>
                    <a:lnTo>
                      <a:pt x="281" y="725"/>
                    </a:lnTo>
                    <a:lnTo>
                      <a:pt x="281" y="727"/>
                    </a:lnTo>
                    <a:lnTo>
                      <a:pt x="281" y="727"/>
                    </a:lnTo>
                    <a:lnTo>
                      <a:pt x="281" y="728"/>
                    </a:lnTo>
                    <a:lnTo>
                      <a:pt x="283" y="730"/>
                    </a:lnTo>
                    <a:lnTo>
                      <a:pt x="283" y="730"/>
                    </a:lnTo>
                    <a:lnTo>
                      <a:pt x="285" y="730"/>
                    </a:lnTo>
                    <a:lnTo>
                      <a:pt x="285" y="730"/>
                    </a:lnTo>
                    <a:lnTo>
                      <a:pt x="285" y="730"/>
                    </a:lnTo>
                    <a:lnTo>
                      <a:pt x="287" y="730"/>
                    </a:lnTo>
                    <a:lnTo>
                      <a:pt x="287" y="728"/>
                    </a:lnTo>
                    <a:lnTo>
                      <a:pt x="287" y="728"/>
                    </a:lnTo>
                    <a:lnTo>
                      <a:pt x="288" y="727"/>
                    </a:lnTo>
                    <a:lnTo>
                      <a:pt x="288" y="727"/>
                    </a:lnTo>
                    <a:lnTo>
                      <a:pt x="290" y="727"/>
                    </a:lnTo>
                    <a:lnTo>
                      <a:pt x="292" y="727"/>
                    </a:lnTo>
                    <a:lnTo>
                      <a:pt x="292" y="727"/>
                    </a:lnTo>
                    <a:lnTo>
                      <a:pt x="294" y="727"/>
                    </a:lnTo>
                    <a:lnTo>
                      <a:pt x="294" y="727"/>
                    </a:lnTo>
                    <a:lnTo>
                      <a:pt x="298" y="725"/>
                    </a:lnTo>
                    <a:lnTo>
                      <a:pt x="298" y="723"/>
                    </a:lnTo>
                    <a:lnTo>
                      <a:pt x="300" y="723"/>
                    </a:lnTo>
                    <a:lnTo>
                      <a:pt x="300" y="723"/>
                    </a:lnTo>
                    <a:lnTo>
                      <a:pt x="300" y="725"/>
                    </a:lnTo>
                    <a:lnTo>
                      <a:pt x="298" y="728"/>
                    </a:lnTo>
                    <a:lnTo>
                      <a:pt x="292" y="734"/>
                    </a:lnTo>
                    <a:lnTo>
                      <a:pt x="292" y="738"/>
                    </a:lnTo>
                    <a:lnTo>
                      <a:pt x="290" y="740"/>
                    </a:lnTo>
                    <a:lnTo>
                      <a:pt x="287" y="744"/>
                    </a:lnTo>
                    <a:lnTo>
                      <a:pt x="287" y="744"/>
                    </a:lnTo>
                    <a:lnTo>
                      <a:pt x="287" y="746"/>
                    </a:lnTo>
                    <a:lnTo>
                      <a:pt x="287" y="748"/>
                    </a:lnTo>
                    <a:lnTo>
                      <a:pt x="287" y="749"/>
                    </a:lnTo>
                    <a:lnTo>
                      <a:pt x="287" y="751"/>
                    </a:lnTo>
                    <a:lnTo>
                      <a:pt x="287" y="753"/>
                    </a:lnTo>
                    <a:lnTo>
                      <a:pt x="287" y="753"/>
                    </a:lnTo>
                    <a:lnTo>
                      <a:pt x="288" y="755"/>
                    </a:lnTo>
                    <a:lnTo>
                      <a:pt x="288" y="755"/>
                    </a:lnTo>
                    <a:lnTo>
                      <a:pt x="294" y="755"/>
                    </a:lnTo>
                    <a:lnTo>
                      <a:pt x="294" y="753"/>
                    </a:lnTo>
                    <a:lnTo>
                      <a:pt x="294" y="751"/>
                    </a:lnTo>
                    <a:lnTo>
                      <a:pt x="294" y="749"/>
                    </a:lnTo>
                    <a:lnTo>
                      <a:pt x="294" y="746"/>
                    </a:lnTo>
                    <a:lnTo>
                      <a:pt x="294" y="746"/>
                    </a:lnTo>
                    <a:lnTo>
                      <a:pt x="294" y="746"/>
                    </a:lnTo>
                    <a:lnTo>
                      <a:pt x="296" y="744"/>
                    </a:lnTo>
                    <a:lnTo>
                      <a:pt x="298" y="744"/>
                    </a:lnTo>
                    <a:lnTo>
                      <a:pt x="300" y="746"/>
                    </a:lnTo>
                    <a:lnTo>
                      <a:pt x="300" y="746"/>
                    </a:lnTo>
                    <a:lnTo>
                      <a:pt x="300" y="748"/>
                    </a:lnTo>
                    <a:lnTo>
                      <a:pt x="300" y="748"/>
                    </a:lnTo>
                    <a:lnTo>
                      <a:pt x="300" y="748"/>
                    </a:lnTo>
                    <a:lnTo>
                      <a:pt x="302" y="749"/>
                    </a:lnTo>
                    <a:lnTo>
                      <a:pt x="302" y="749"/>
                    </a:lnTo>
                    <a:lnTo>
                      <a:pt x="304" y="749"/>
                    </a:lnTo>
                    <a:lnTo>
                      <a:pt x="304" y="749"/>
                    </a:lnTo>
                    <a:lnTo>
                      <a:pt x="306" y="749"/>
                    </a:lnTo>
                    <a:lnTo>
                      <a:pt x="307" y="748"/>
                    </a:lnTo>
                    <a:lnTo>
                      <a:pt x="307" y="748"/>
                    </a:lnTo>
                    <a:lnTo>
                      <a:pt x="309" y="742"/>
                    </a:lnTo>
                    <a:lnTo>
                      <a:pt x="311" y="742"/>
                    </a:lnTo>
                    <a:lnTo>
                      <a:pt x="311" y="740"/>
                    </a:lnTo>
                    <a:lnTo>
                      <a:pt x="313" y="740"/>
                    </a:lnTo>
                    <a:lnTo>
                      <a:pt x="315" y="740"/>
                    </a:lnTo>
                    <a:lnTo>
                      <a:pt x="315" y="740"/>
                    </a:lnTo>
                    <a:lnTo>
                      <a:pt x="317" y="740"/>
                    </a:lnTo>
                    <a:lnTo>
                      <a:pt x="321" y="744"/>
                    </a:lnTo>
                    <a:lnTo>
                      <a:pt x="325" y="744"/>
                    </a:lnTo>
                    <a:lnTo>
                      <a:pt x="327" y="744"/>
                    </a:lnTo>
                    <a:lnTo>
                      <a:pt x="336" y="744"/>
                    </a:lnTo>
                    <a:lnTo>
                      <a:pt x="340" y="744"/>
                    </a:lnTo>
                    <a:lnTo>
                      <a:pt x="340" y="744"/>
                    </a:lnTo>
                    <a:lnTo>
                      <a:pt x="342" y="744"/>
                    </a:lnTo>
                    <a:lnTo>
                      <a:pt x="342" y="744"/>
                    </a:lnTo>
                    <a:lnTo>
                      <a:pt x="344" y="746"/>
                    </a:lnTo>
                    <a:lnTo>
                      <a:pt x="346" y="746"/>
                    </a:lnTo>
                    <a:lnTo>
                      <a:pt x="346" y="746"/>
                    </a:lnTo>
                    <a:lnTo>
                      <a:pt x="349" y="744"/>
                    </a:lnTo>
                    <a:lnTo>
                      <a:pt x="351" y="744"/>
                    </a:lnTo>
                    <a:lnTo>
                      <a:pt x="353" y="744"/>
                    </a:lnTo>
                    <a:lnTo>
                      <a:pt x="353" y="744"/>
                    </a:lnTo>
                    <a:lnTo>
                      <a:pt x="353" y="742"/>
                    </a:lnTo>
                    <a:lnTo>
                      <a:pt x="353" y="742"/>
                    </a:lnTo>
                    <a:lnTo>
                      <a:pt x="353" y="740"/>
                    </a:lnTo>
                    <a:lnTo>
                      <a:pt x="351" y="738"/>
                    </a:lnTo>
                    <a:lnTo>
                      <a:pt x="349" y="736"/>
                    </a:lnTo>
                    <a:lnTo>
                      <a:pt x="349" y="736"/>
                    </a:lnTo>
                    <a:lnTo>
                      <a:pt x="349" y="734"/>
                    </a:lnTo>
                    <a:lnTo>
                      <a:pt x="349" y="734"/>
                    </a:lnTo>
                    <a:lnTo>
                      <a:pt x="349" y="732"/>
                    </a:lnTo>
                    <a:lnTo>
                      <a:pt x="349" y="732"/>
                    </a:lnTo>
                    <a:lnTo>
                      <a:pt x="349" y="732"/>
                    </a:lnTo>
                    <a:lnTo>
                      <a:pt x="351" y="730"/>
                    </a:lnTo>
                    <a:lnTo>
                      <a:pt x="353" y="728"/>
                    </a:lnTo>
                    <a:lnTo>
                      <a:pt x="357" y="728"/>
                    </a:lnTo>
                    <a:lnTo>
                      <a:pt x="359" y="728"/>
                    </a:lnTo>
                    <a:lnTo>
                      <a:pt x="361" y="727"/>
                    </a:lnTo>
                    <a:lnTo>
                      <a:pt x="367" y="723"/>
                    </a:lnTo>
                    <a:lnTo>
                      <a:pt x="370" y="721"/>
                    </a:lnTo>
                    <a:lnTo>
                      <a:pt x="372" y="719"/>
                    </a:lnTo>
                    <a:lnTo>
                      <a:pt x="380" y="715"/>
                    </a:lnTo>
                    <a:lnTo>
                      <a:pt x="384" y="715"/>
                    </a:lnTo>
                    <a:lnTo>
                      <a:pt x="384" y="717"/>
                    </a:lnTo>
                    <a:lnTo>
                      <a:pt x="386" y="717"/>
                    </a:lnTo>
                    <a:lnTo>
                      <a:pt x="386" y="715"/>
                    </a:lnTo>
                    <a:lnTo>
                      <a:pt x="391" y="711"/>
                    </a:lnTo>
                    <a:lnTo>
                      <a:pt x="391" y="711"/>
                    </a:lnTo>
                    <a:lnTo>
                      <a:pt x="393" y="709"/>
                    </a:lnTo>
                    <a:lnTo>
                      <a:pt x="393" y="708"/>
                    </a:lnTo>
                    <a:lnTo>
                      <a:pt x="393" y="708"/>
                    </a:lnTo>
                    <a:lnTo>
                      <a:pt x="395" y="708"/>
                    </a:lnTo>
                    <a:lnTo>
                      <a:pt x="395" y="708"/>
                    </a:lnTo>
                    <a:lnTo>
                      <a:pt x="397" y="708"/>
                    </a:lnTo>
                    <a:lnTo>
                      <a:pt x="399" y="708"/>
                    </a:lnTo>
                    <a:lnTo>
                      <a:pt x="399" y="708"/>
                    </a:lnTo>
                    <a:lnTo>
                      <a:pt x="401" y="708"/>
                    </a:lnTo>
                    <a:lnTo>
                      <a:pt x="403" y="708"/>
                    </a:lnTo>
                    <a:lnTo>
                      <a:pt x="405" y="708"/>
                    </a:lnTo>
                    <a:lnTo>
                      <a:pt x="405" y="708"/>
                    </a:lnTo>
                    <a:lnTo>
                      <a:pt x="407" y="709"/>
                    </a:lnTo>
                    <a:lnTo>
                      <a:pt x="409" y="711"/>
                    </a:lnTo>
                    <a:lnTo>
                      <a:pt x="409" y="713"/>
                    </a:lnTo>
                    <a:lnTo>
                      <a:pt x="409" y="713"/>
                    </a:lnTo>
                    <a:lnTo>
                      <a:pt x="409" y="717"/>
                    </a:lnTo>
                    <a:lnTo>
                      <a:pt x="410" y="723"/>
                    </a:lnTo>
                    <a:lnTo>
                      <a:pt x="410" y="725"/>
                    </a:lnTo>
                    <a:lnTo>
                      <a:pt x="410" y="725"/>
                    </a:lnTo>
                    <a:lnTo>
                      <a:pt x="412" y="727"/>
                    </a:lnTo>
                    <a:lnTo>
                      <a:pt x="414" y="727"/>
                    </a:lnTo>
                    <a:lnTo>
                      <a:pt x="414" y="728"/>
                    </a:lnTo>
                    <a:lnTo>
                      <a:pt x="416" y="728"/>
                    </a:lnTo>
                    <a:lnTo>
                      <a:pt x="416" y="730"/>
                    </a:lnTo>
                    <a:lnTo>
                      <a:pt x="416" y="730"/>
                    </a:lnTo>
                    <a:lnTo>
                      <a:pt x="418" y="730"/>
                    </a:lnTo>
                    <a:lnTo>
                      <a:pt x="418" y="730"/>
                    </a:lnTo>
                    <a:lnTo>
                      <a:pt x="418" y="730"/>
                    </a:lnTo>
                    <a:lnTo>
                      <a:pt x="420" y="730"/>
                    </a:lnTo>
                    <a:lnTo>
                      <a:pt x="420" y="730"/>
                    </a:lnTo>
                    <a:lnTo>
                      <a:pt x="420" y="732"/>
                    </a:lnTo>
                    <a:lnTo>
                      <a:pt x="420" y="732"/>
                    </a:lnTo>
                    <a:lnTo>
                      <a:pt x="420" y="732"/>
                    </a:lnTo>
                    <a:lnTo>
                      <a:pt x="422" y="736"/>
                    </a:lnTo>
                    <a:lnTo>
                      <a:pt x="422" y="736"/>
                    </a:lnTo>
                    <a:lnTo>
                      <a:pt x="422" y="738"/>
                    </a:lnTo>
                    <a:lnTo>
                      <a:pt x="422" y="738"/>
                    </a:lnTo>
                    <a:lnTo>
                      <a:pt x="422" y="740"/>
                    </a:lnTo>
                    <a:lnTo>
                      <a:pt x="422" y="740"/>
                    </a:lnTo>
                    <a:lnTo>
                      <a:pt x="422" y="742"/>
                    </a:lnTo>
                    <a:lnTo>
                      <a:pt x="420" y="742"/>
                    </a:lnTo>
                    <a:lnTo>
                      <a:pt x="418" y="742"/>
                    </a:lnTo>
                    <a:lnTo>
                      <a:pt x="416" y="744"/>
                    </a:lnTo>
                    <a:lnTo>
                      <a:pt x="416" y="744"/>
                    </a:lnTo>
                    <a:lnTo>
                      <a:pt x="414" y="744"/>
                    </a:lnTo>
                    <a:lnTo>
                      <a:pt x="414" y="746"/>
                    </a:lnTo>
                    <a:lnTo>
                      <a:pt x="414" y="746"/>
                    </a:lnTo>
                    <a:lnTo>
                      <a:pt x="412" y="746"/>
                    </a:lnTo>
                    <a:lnTo>
                      <a:pt x="412" y="748"/>
                    </a:lnTo>
                    <a:lnTo>
                      <a:pt x="410" y="749"/>
                    </a:lnTo>
                    <a:lnTo>
                      <a:pt x="409" y="751"/>
                    </a:lnTo>
                    <a:lnTo>
                      <a:pt x="409" y="753"/>
                    </a:lnTo>
                    <a:lnTo>
                      <a:pt x="407" y="753"/>
                    </a:lnTo>
                    <a:lnTo>
                      <a:pt x="405" y="753"/>
                    </a:lnTo>
                    <a:lnTo>
                      <a:pt x="405" y="753"/>
                    </a:lnTo>
                    <a:lnTo>
                      <a:pt x="405" y="751"/>
                    </a:lnTo>
                    <a:lnTo>
                      <a:pt x="403" y="753"/>
                    </a:lnTo>
                    <a:lnTo>
                      <a:pt x="403" y="753"/>
                    </a:lnTo>
                    <a:lnTo>
                      <a:pt x="403" y="755"/>
                    </a:lnTo>
                    <a:lnTo>
                      <a:pt x="403" y="755"/>
                    </a:lnTo>
                    <a:lnTo>
                      <a:pt x="403" y="759"/>
                    </a:lnTo>
                    <a:lnTo>
                      <a:pt x="405" y="761"/>
                    </a:lnTo>
                    <a:lnTo>
                      <a:pt x="407" y="763"/>
                    </a:lnTo>
                    <a:lnTo>
                      <a:pt x="407" y="763"/>
                    </a:lnTo>
                    <a:lnTo>
                      <a:pt x="409" y="763"/>
                    </a:lnTo>
                    <a:lnTo>
                      <a:pt x="412" y="761"/>
                    </a:lnTo>
                    <a:lnTo>
                      <a:pt x="414" y="761"/>
                    </a:lnTo>
                    <a:lnTo>
                      <a:pt x="416" y="761"/>
                    </a:lnTo>
                    <a:lnTo>
                      <a:pt x="416" y="763"/>
                    </a:lnTo>
                    <a:lnTo>
                      <a:pt x="418" y="763"/>
                    </a:lnTo>
                    <a:lnTo>
                      <a:pt x="418" y="763"/>
                    </a:lnTo>
                    <a:lnTo>
                      <a:pt x="420" y="763"/>
                    </a:lnTo>
                    <a:lnTo>
                      <a:pt x="420" y="763"/>
                    </a:lnTo>
                    <a:lnTo>
                      <a:pt x="422" y="763"/>
                    </a:lnTo>
                    <a:lnTo>
                      <a:pt x="422" y="761"/>
                    </a:lnTo>
                    <a:lnTo>
                      <a:pt x="420" y="757"/>
                    </a:lnTo>
                    <a:lnTo>
                      <a:pt x="420" y="757"/>
                    </a:lnTo>
                    <a:lnTo>
                      <a:pt x="420" y="757"/>
                    </a:lnTo>
                    <a:lnTo>
                      <a:pt x="420" y="755"/>
                    </a:lnTo>
                    <a:lnTo>
                      <a:pt x="422" y="755"/>
                    </a:lnTo>
                    <a:lnTo>
                      <a:pt x="424" y="759"/>
                    </a:lnTo>
                    <a:lnTo>
                      <a:pt x="426" y="761"/>
                    </a:lnTo>
                    <a:lnTo>
                      <a:pt x="426" y="763"/>
                    </a:lnTo>
                    <a:lnTo>
                      <a:pt x="428" y="763"/>
                    </a:lnTo>
                    <a:lnTo>
                      <a:pt x="428" y="763"/>
                    </a:lnTo>
                    <a:lnTo>
                      <a:pt x="430" y="763"/>
                    </a:lnTo>
                    <a:lnTo>
                      <a:pt x="433" y="759"/>
                    </a:lnTo>
                    <a:lnTo>
                      <a:pt x="433" y="757"/>
                    </a:lnTo>
                    <a:lnTo>
                      <a:pt x="433" y="757"/>
                    </a:lnTo>
                    <a:lnTo>
                      <a:pt x="433" y="757"/>
                    </a:lnTo>
                    <a:lnTo>
                      <a:pt x="430" y="755"/>
                    </a:lnTo>
                    <a:lnTo>
                      <a:pt x="430" y="755"/>
                    </a:lnTo>
                    <a:lnTo>
                      <a:pt x="428" y="753"/>
                    </a:lnTo>
                    <a:lnTo>
                      <a:pt x="428" y="751"/>
                    </a:lnTo>
                    <a:lnTo>
                      <a:pt x="428" y="751"/>
                    </a:lnTo>
                    <a:lnTo>
                      <a:pt x="428" y="749"/>
                    </a:lnTo>
                    <a:lnTo>
                      <a:pt x="428" y="749"/>
                    </a:lnTo>
                    <a:lnTo>
                      <a:pt x="428" y="748"/>
                    </a:lnTo>
                    <a:lnTo>
                      <a:pt x="428" y="748"/>
                    </a:lnTo>
                    <a:lnTo>
                      <a:pt x="430" y="749"/>
                    </a:lnTo>
                    <a:lnTo>
                      <a:pt x="431" y="749"/>
                    </a:lnTo>
                    <a:lnTo>
                      <a:pt x="435" y="749"/>
                    </a:lnTo>
                    <a:lnTo>
                      <a:pt x="435" y="749"/>
                    </a:lnTo>
                    <a:lnTo>
                      <a:pt x="437" y="749"/>
                    </a:lnTo>
                    <a:lnTo>
                      <a:pt x="439" y="749"/>
                    </a:lnTo>
                    <a:lnTo>
                      <a:pt x="439" y="749"/>
                    </a:lnTo>
                    <a:lnTo>
                      <a:pt x="439" y="748"/>
                    </a:lnTo>
                    <a:lnTo>
                      <a:pt x="439" y="748"/>
                    </a:lnTo>
                    <a:lnTo>
                      <a:pt x="439" y="746"/>
                    </a:lnTo>
                    <a:lnTo>
                      <a:pt x="439" y="746"/>
                    </a:lnTo>
                    <a:lnTo>
                      <a:pt x="439" y="744"/>
                    </a:lnTo>
                    <a:lnTo>
                      <a:pt x="439" y="744"/>
                    </a:lnTo>
                    <a:lnTo>
                      <a:pt x="441" y="744"/>
                    </a:lnTo>
                    <a:lnTo>
                      <a:pt x="441" y="744"/>
                    </a:lnTo>
                    <a:lnTo>
                      <a:pt x="443" y="744"/>
                    </a:lnTo>
                    <a:lnTo>
                      <a:pt x="443" y="746"/>
                    </a:lnTo>
                    <a:lnTo>
                      <a:pt x="445" y="748"/>
                    </a:lnTo>
                    <a:lnTo>
                      <a:pt x="445" y="749"/>
                    </a:lnTo>
                    <a:lnTo>
                      <a:pt x="445" y="751"/>
                    </a:lnTo>
                    <a:lnTo>
                      <a:pt x="449" y="753"/>
                    </a:lnTo>
                    <a:lnTo>
                      <a:pt x="450" y="755"/>
                    </a:lnTo>
                    <a:lnTo>
                      <a:pt x="450" y="755"/>
                    </a:lnTo>
                    <a:lnTo>
                      <a:pt x="452" y="755"/>
                    </a:lnTo>
                    <a:lnTo>
                      <a:pt x="454" y="753"/>
                    </a:lnTo>
                    <a:lnTo>
                      <a:pt x="456" y="753"/>
                    </a:lnTo>
                    <a:lnTo>
                      <a:pt x="458" y="753"/>
                    </a:lnTo>
                    <a:lnTo>
                      <a:pt x="460" y="753"/>
                    </a:lnTo>
                    <a:lnTo>
                      <a:pt x="460" y="753"/>
                    </a:lnTo>
                    <a:lnTo>
                      <a:pt x="462" y="751"/>
                    </a:lnTo>
                    <a:lnTo>
                      <a:pt x="460" y="749"/>
                    </a:lnTo>
                    <a:lnTo>
                      <a:pt x="460" y="749"/>
                    </a:lnTo>
                    <a:lnTo>
                      <a:pt x="454" y="746"/>
                    </a:lnTo>
                    <a:lnTo>
                      <a:pt x="454" y="746"/>
                    </a:lnTo>
                    <a:lnTo>
                      <a:pt x="452" y="744"/>
                    </a:lnTo>
                    <a:lnTo>
                      <a:pt x="452" y="744"/>
                    </a:lnTo>
                    <a:lnTo>
                      <a:pt x="454" y="744"/>
                    </a:lnTo>
                    <a:lnTo>
                      <a:pt x="454" y="744"/>
                    </a:lnTo>
                    <a:lnTo>
                      <a:pt x="456" y="744"/>
                    </a:lnTo>
                    <a:lnTo>
                      <a:pt x="466" y="742"/>
                    </a:lnTo>
                    <a:lnTo>
                      <a:pt x="466" y="742"/>
                    </a:lnTo>
                    <a:lnTo>
                      <a:pt x="468" y="742"/>
                    </a:lnTo>
                    <a:lnTo>
                      <a:pt x="468" y="742"/>
                    </a:lnTo>
                    <a:lnTo>
                      <a:pt x="468" y="740"/>
                    </a:lnTo>
                    <a:lnTo>
                      <a:pt x="470" y="738"/>
                    </a:lnTo>
                    <a:lnTo>
                      <a:pt x="470" y="736"/>
                    </a:lnTo>
                    <a:lnTo>
                      <a:pt x="470" y="736"/>
                    </a:lnTo>
                    <a:lnTo>
                      <a:pt x="470" y="736"/>
                    </a:lnTo>
                    <a:lnTo>
                      <a:pt x="471" y="736"/>
                    </a:lnTo>
                    <a:lnTo>
                      <a:pt x="471" y="734"/>
                    </a:lnTo>
                    <a:lnTo>
                      <a:pt x="473" y="734"/>
                    </a:lnTo>
                    <a:lnTo>
                      <a:pt x="473" y="734"/>
                    </a:lnTo>
                    <a:lnTo>
                      <a:pt x="475" y="734"/>
                    </a:lnTo>
                    <a:lnTo>
                      <a:pt x="475" y="734"/>
                    </a:lnTo>
                    <a:lnTo>
                      <a:pt x="475" y="734"/>
                    </a:lnTo>
                    <a:lnTo>
                      <a:pt x="477" y="736"/>
                    </a:lnTo>
                    <a:lnTo>
                      <a:pt x="477" y="736"/>
                    </a:lnTo>
                    <a:lnTo>
                      <a:pt x="477" y="738"/>
                    </a:lnTo>
                    <a:lnTo>
                      <a:pt x="473" y="748"/>
                    </a:lnTo>
                    <a:lnTo>
                      <a:pt x="473" y="749"/>
                    </a:lnTo>
                    <a:lnTo>
                      <a:pt x="473" y="753"/>
                    </a:lnTo>
                    <a:lnTo>
                      <a:pt x="473" y="753"/>
                    </a:lnTo>
                    <a:lnTo>
                      <a:pt x="470" y="755"/>
                    </a:lnTo>
                    <a:lnTo>
                      <a:pt x="470" y="755"/>
                    </a:lnTo>
                    <a:lnTo>
                      <a:pt x="470" y="757"/>
                    </a:lnTo>
                    <a:lnTo>
                      <a:pt x="470" y="757"/>
                    </a:lnTo>
                    <a:lnTo>
                      <a:pt x="470" y="757"/>
                    </a:lnTo>
                    <a:lnTo>
                      <a:pt x="470" y="759"/>
                    </a:lnTo>
                    <a:lnTo>
                      <a:pt x="470" y="761"/>
                    </a:lnTo>
                    <a:lnTo>
                      <a:pt x="468" y="761"/>
                    </a:lnTo>
                    <a:lnTo>
                      <a:pt x="468" y="763"/>
                    </a:lnTo>
                    <a:lnTo>
                      <a:pt x="468" y="763"/>
                    </a:lnTo>
                    <a:lnTo>
                      <a:pt x="466" y="765"/>
                    </a:lnTo>
                    <a:lnTo>
                      <a:pt x="466" y="765"/>
                    </a:lnTo>
                    <a:lnTo>
                      <a:pt x="466" y="767"/>
                    </a:lnTo>
                    <a:lnTo>
                      <a:pt x="466" y="767"/>
                    </a:lnTo>
                    <a:lnTo>
                      <a:pt x="466" y="768"/>
                    </a:lnTo>
                    <a:lnTo>
                      <a:pt x="468" y="768"/>
                    </a:lnTo>
                    <a:lnTo>
                      <a:pt x="471" y="768"/>
                    </a:lnTo>
                    <a:lnTo>
                      <a:pt x="473" y="768"/>
                    </a:lnTo>
                    <a:lnTo>
                      <a:pt x="475" y="768"/>
                    </a:lnTo>
                    <a:lnTo>
                      <a:pt x="481" y="767"/>
                    </a:lnTo>
                    <a:lnTo>
                      <a:pt x="483" y="767"/>
                    </a:lnTo>
                    <a:lnTo>
                      <a:pt x="483" y="767"/>
                    </a:lnTo>
                    <a:lnTo>
                      <a:pt x="485" y="768"/>
                    </a:lnTo>
                    <a:lnTo>
                      <a:pt x="485" y="770"/>
                    </a:lnTo>
                    <a:lnTo>
                      <a:pt x="487" y="770"/>
                    </a:lnTo>
                    <a:lnTo>
                      <a:pt x="489" y="770"/>
                    </a:lnTo>
                    <a:lnTo>
                      <a:pt x="491" y="770"/>
                    </a:lnTo>
                    <a:lnTo>
                      <a:pt x="492" y="770"/>
                    </a:lnTo>
                    <a:lnTo>
                      <a:pt x="494" y="768"/>
                    </a:lnTo>
                    <a:lnTo>
                      <a:pt x="496" y="768"/>
                    </a:lnTo>
                    <a:lnTo>
                      <a:pt x="496" y="770"/>
                    </a:lnTo>
                    <a:lnTo>
                      <a:pt x="498" y="770"/>
                    </a:lnTo>
                    <a:lnTo>
                      <a:pt x="504" y="776"/>
                    </a:lnTo>
                    <a:lnTo>
                      <a:pt x="508" y="778"/>
                    </a:lnTo>
                    <a:lnTo>
                      <a:pt x="512" y="772"/>
                    </a:lnTo>
                    <a:lnTo>
                      <a:pt x="512" y="772"/>
                    </a:lnTo>
                    <a:lnTo>
                      <a:pt x="512" y="772"/>
                    </a:lnTo>
                    <a:lnTo>
                      <a:pt x="513" y="772"/>
                    </a:lnTo>
                    <a:lnTo>
                      <a:pt x="517" y="770"/>
                    </a:lnTo>
                    <a:lnTo>
                      <a:pt x="517" y="770"/>
                    </a:lnTo>
                    <a:lnTo>
                      <a:pt x="517" y="770"/>
                    </a:lnTo>
                    <a:lnTo>
                      <a:pt x="519" y="768"/>
                    </a:lnTo>
                    <a:lnTo>
                      <a:pt x="519" y="768"/>
                    </a:lnTo>
                    <a:lnTo>
                      <a:pt x="517" y="767"/>
                    </a:lnTo>
                    <a:lnTo>
                      <a:pt x="517" y="767"/>
                    </a:lnTo>
                    <a:lnTo>
                      <a:pt x="517" y="765"/>
                    </a:lnTo>
                    <a:lnTo>
                      <a:pt x="517" y="765"/>
                    </a:lnTo>
                    <a:lnTo>
                      <a:pt x="517" y="765"/>
                    </a:lnTo>
                    <a:lnTo>
                      <a:pt x="517" y="765"/>
                    </a:lnTo>
                    <a:lnTo>
                      <a:pt x="517" y="763"/>
                    </a:lnTo>
                    <a:lnTo>
                      <a:pt x="517" y="763"/>
                    </a:lnTo>
                    <a:lnTo>
                      <a:pt x="517" y="761"/>
                    </a:lnTo>
                    <a:lnTo>
                      <a:pt x="521" y="757"/>
                    </a:lnTo>
                    <a:lnTo>
                      <a:pt x="523" y="755"/>
                    </a:lnTo>
                    <a:lnTo>
                      <a:pt x="525" y="753"/>
                    </a:lnTo>
                    <a:lnTo>
                      <a:pt x="525" y="751"/>
                    </a:lnTo>
                    <a:lnTo>
                      <a:pt x="525" y="749"/>
                    </a:lnTo>
                    <a:lnTo>
                      <a:pt x="525" y="749"/>
                    </a:lnTo>
                    <a:lnTo>
                      <a:pt x="525" y="748"/>
                    </a:lnTo>
                    <a:lnTo>
                      <a:pt x="525" y="744"/>
                    </a:lnTo>
                    <a:lnTo>
                      <a:pt x="525" y="742"/>
                    </a:lnTo>
                    <a:lnTo>
                      <a:pt x="525" y="742"/>
                    </a:lnTo>
                    <a:lnTo>
                      <a:pt x="527" y="742"/>
                    </a:lnTo>
                    <a:lnTo>
                      <a:pt x="529" y="742"/>
                    </a:lnTo>
                    <a:lnTo>
                      <a:pt x="531" y="742"/>
                    </a:lnTo>
                    <a:lnTo>
                      <a:pt x="532" y="742"/>
                    </a:lnTo>
                    <a:lnTo>
                      <a:pt x="534" y="742"/>
                    </a:lnTo>
                    <a:lnTo>
                      <a:pt x="536" y="742"/>
                    </a:lnTo>
                    <a:lnTo>
                      <a:pt x="538" y="742"/>
                    </a:lnTo>
                    <a:lnTo>
                      <a:pt x="540" y="744"/>
                    </a:lnTo>
                    <a:lnTo>
                      <a:pt x="542" y="744"/>
                    </a:lnTo>
                    <a:lnTo>
                      <a:pt x="542" y="744"/>
                    </a:lnTo>
                    <a:lnTo>
                      <a:pt x="542" y="744"/>
                    </a:lnTo>
                    <a:lnTo>
                      <a:pt x="542" y="746"/>
                    </a:lnTo>
                    <a:lnTo>
                      <a:pt x="540" y="748"/>
                    </a:lnTo>
                    <a:lnTo>
                      <a:pt x="540" y="748"/>
                    </a:lnTo>
                    <a:lnTo>
                      <a:pt x="540" y="749"/>
                    </a:lnTo>
                    <a:lnTo>
                      <a:pt x="542" y="749"/>
                    </a:lnTo>
                    <a:lnTo>
                      <a:pt x="542" y="749"/>
                    </a:lnTo>
                    <a:lnTo>
                      <a:pt x="544" y="749"/>
                    </a:lnTo>
                    <a:lnTo>
                      <a:pt x="548" y="749"/>
                    </a:lnTo>
                    <a:lnTo>
                      <a:pt x="552" y="749"/>
                    </a:lnTo>
                    <a:lnTo>
                      <a:pt x="552" y="749"/>
                    </a:lnTo>
                    <a:lnTo>
                      <a:pt x="553" y="748"/>
                    </a:lnTo>
                    <a:lnTo>
                      <a:pt x="553" y="748"/>
                    </a:lnTo>
                    <a:lnTo>
                      <a:pt x="553" y="746"/>
                    </a:lnTo>
                    <a:lnTo>
                      <a:pt x="553" y="746"/>
                    </a:lnTo>
                    <a:lnTo>
                      <a:pt x="550" y="744"/>
                    </a:lnTo>
                    <a:lnTo>
                      <a:pt x="550" y="742"/>
                    </a:lnTo>
                    <a:lnTo>
                      <a:pt x="548" y="742"/>
                    </a:lnTo>
                    <a:lnTo>
                      <a:pt x="552" y="740"/>
                    </a:lnTo>
                    <a:lnTo>
                      <a:pt x="563" y="736"/>
                    </a:lnTo>
                    <a:lnTo>
                      <a:pt x="565" y="742"/>
                    </a:lnTo>
                    <a:lnTo>
                      <a:pt x="565" y="746"/>
                    </a:lnTo>
                    <a:lnTo>
                      <a:pt x="567" y="746"/>
                    </a:lnTo>
                    <a:lnTo>
                      <a:pt x="567" y="748"/>
                    </a:lnTo>
                    <a:lnTo>
                      <a:pt x="569" y="749"/>
                    </a:lnTo>
                    <a:lnTo>
                      <a:pt x="569" y="749"/>
                    </a:lnTo>
                    <a:lnTo>
                      <a:pt x="567" y="749"/>
                    </a:lnTo>
                    <a:lnTo>
                      <a:pt x="567" y="749"/>
                    </a:lnTo>
                    <a:lnTo>
                      <a:pt x="567" y="751"/>
                    </a:lnTo>
                    <a:lnTo>
                      <a:pt x="567" y="751"/>
                    </a:lnTo>
                    <a:lnTo>
                      <a:pt x="567" y="753"/>
                    </a:lnTo>
                    <a:lnTo>
                      <a:pt x="569" y="753"/>
                    </a:lnTo>
                    <a:lnTo>
                      <a:pt x="571" y="753"/>
                    </a:lnTo>
                    <a:lnTo>
                      <a:pt x="573" y="755"/>
                    </a:lnTo>
                    <a:lnTo>
                      <a:pt x="578" y="755"/>
                    </a:lnTo>
                    <a:lnTo>
                      <a:pt x="584" y="755"/>
                    </a:lnTo>
                    <a:lnTo>
                      <a:pt x="584" y="757"/>
                    </a:lnTo>
                    <a:lnTo>
                      <a:pt x="586" y="757"/>
                    </a:lnTo>
                    <a:lnTo>
                      <a:pt x="586" y="759"/>
                    </a:lnTo>
                    <a:lnTo>
                      <a:pt x="586" y="761"/>
                    </a:lnTo>
                    <a:lnTo>
                      <a:pt x="588" y="761"/>
                    </a:lnTo>
                    <a:lnTo>
                      <a:pt x="590" y="763"/>
                    </a:lnTo>
                    <a:lnTo>
                      <a:pt x="592" y="761"/>
                    </a:lnTo>
                    <a:lnTo>
                      <a:pt x="594" y="761"/>
                    </a:lnTo>
                    <a:lnTo>
                      <a:pt x="595" y="761"/>
                    </a:lnTo>
                    <a:lnTo>
                      <a:pt x="595" y="759"/>
                    </a:lnTo>
                    <a:lnTo>
                      <a:pt x="597" y="759"/>
                    </a:lnTo>
                    <a:lnTo>
                      <a:pt x="597" y="759"/>
                    </a:lnTo>
                    <a:lnTo>
                      <a:pt x="599" y="761"/>
                    </a:lnTo>
                    <a:lnTo>
                      <a:pt x="601" y="761"/>
                    </a:lnTo>
                    <a:lnTo>
                      <a:pt x="603" y="763"/>
                    </a:lnTo>
                    <a:lnTo>
                      <a:pt x="603" y="765"/>
                    </a:lnTo>
                    <a:lnTo>
                      <a:pt x="603" y="765"/>
                    </a:lnTo>
                    <a:lnTo>
                      <a:pt x="603" y="765"/>
                    </a:lnTo>
                    <a:lnTo>
                      <a:pt x="605" y="767"/>
                    </a:lnTo>
                    <a:lnTo>
                      <a:pt x="605" y="768"/>
                    </a:lnTo>
                    <a:lnTo>
                      <a:pt x="605" y="770"/>
                    </a:lnTo>
                    <a:lnTo>
                      <a:pt x="605" y="770"/>
                    </a:lnTo>
                    <a:lnTo>
                      <a:pt x="603" y="772"/>
                    </a:lnTo>
                    <a:lnTo>
                      <a:pt x="603" y="772"/>
                    </a:lnTo>
                    <a:lnTo>
                      <a:pt x="605" y="774"/>
                    </a:lnTo>
                    <a:lnTo>
                      <a:pt x="605" y="774"/>
                    </a:lnTo>
                    <a:lnTo>
                      <a:pt x="605" y="776"/>
                    </a:lnTo>
                    <a:lnTo>
                      <a:pt x="614" y="782"/>
                    </a:lnTo>
                    <a:lnTo>
                      <a:pt x="616" y="784"/>
                    </a:lnTo>
                    <a:lnTo>
                      <a:pt x="618" y="784"/>
                    </a:lnTo>
                    <a:lnTo>
                      <a:pt x="620" y="784"/>
                    </a:lnTo>
                    <a:lnTo>
                      <a:pt x="624" y="784"/>
                    </a:lnTo>
                    <a:lnTo>
                      <a:pt x="624" y="784"/>
                    </a:lnTo>
                    <a:lnTo>
                      <a:pt x="628" y="786"/>
                    </a:lnTo>
                    <a:lnTo>
                      <a:pt x="634" y="791"/>
                    </a:lnTo>
                    <a:lnTo>
                      <a:pt x="635" y="791"/>
                    </a:lnTo>
                    <a:lnTo>
                      <a:pt x="635" y="791"/>
                    </a:lnTo>
                    <a:lnTo>
                      <a:pt x="637" y="791"/>
                    </a:lnTo>
                    <a:lnTo>
                      <a:pt x="637" y="791"/>
                    </a:lnTo>
                    <a:lnTo>
                      <a:pt x="639" y="791"/>
                    </a:lnTo>
                    <a:lnTo>
                      <a:pt x="639" y="789"/>
                    </a:lnTo>
                    <a:lnTo>
                      <a:pt x="645" y="786"/>
                    </a:lnTo>
                    <a:lnTo>
                      <a:pt x="645" y="786"/>
                    </a:lnTo>
                    <a:lnTo>
                      <a:pt x="647" y="786"/>
                    </a:lnTo>
                    <a:lnTo>
                      <a:pt x="647" y="786"/>
                    </a:lnTo>
                    <a:lnTo>
                      <a:pt x="647" y="787"/>
                    </a:lnTo>
                    <a:lnTo>
                      <a:pt x="647" y="789"/>
                    </a:lnTo>
                    <a:lnTo>
                      <a:pt x="647" y="791"/>
                    </a:lnTo>
                    <a:lnTo>
                      <a:pt x="647" y="793"/>
                    </a:lnTo>
                    <a:lnTo>
                      <a:pt x="647" y="795"/>
                    </a:lnTo>
                    <a:lnTo>
                      <a:pt x="647" y="795"/>
                    </a:lnTo>
                    <a:lnTo>
                      <a:pt x="647" y="797"/>
                    </a:lnTo>
                    <a:lnTo>
                      <a:pt x="647" y="797"/>
                    </a:lnTo>
                    <a:lnTo>
                      <a:pt x="649" y="799"/>
                    </a:lnTo>
                    <a:lnTo>
                      <a:pt x="649" y="799"/>
                    </a:lnTo>
                    <a:lnTo>
                      <a:pt x="651" y="797"/>
                    </a:lnTo>
                    <a:lnTo>
                      <a:pt x="651" y="797"/>
                    </a:lnTo>
                    <a:lnTo>
                      <a:pt x="651" y="797"/>
                    </a:lnTo>
                    <a:lnTo>
                      <a:pt x="653" y="795"/>
                    </a:lnTo>
                    <a:lnTo>
                      <a:pt x="653" y="793"/>
                    </a:lnTo>
                    <a:lnTo>
                      <a:pt x="653" y="793"/>
                    </a:lnTo>
                    <a:lnTo>
                      <a:pt x="653" y="793"/>
                    </a:lnTo>
                    <a:lnTo>
                      <a:pt x="655" y="795"/>
                    </a:lnTo>
                    <a:lnTo>
                      <a:pt x="655" y="797"/>
                    </a:lnTo>
                    <a:lnTo>
                      <a:pt x="655" y="803"/>
                    </a:lnTo>
                    <a:lnTo>
                      <a:pt x="655" y="805"/>
                    </a:lnTo>
                    <a:lnTo>
                      <a:pt x="655" y="805"/>
                    </a:lnTo>
                    <a:lnTo>
                      <a:pt x="655" y="805"/>
                    </a:lnTo>
                    <a:lnTo>
                      <a:pt x="656" y="805"/>
                    </a:lnTo>
                    <a:lnTo>
                      <a:pt x="656" y="805"/>
                    </a:lnTo>
                    <a:lnTo>
                      <a:pt x="656" y="805"/>
                    </a:lnTo>
                    <a:lnTo>
                      <a:pt x="658" y="805"/>
                    </a:lnTo>
                    <a:lnTo>
                      <a:pt x="658" y="805"/>
                    </a:lnTo>
                    <a:lnTo>
                      <a:pt x="660" y="805"/>
                    </a:lnTo>
                    <a:lnTo>
                      <a:pt x="660" y="806"/>
                    </a:lnTo>
                    <a:lnTo>
                      <a:pt x="660" y="806"/>
                    </a:lnTo>
                    <a:lnTo>
                      <a:pt x="662" y="808"/>
                    </a:lnTo>
                    <a:lnTo>
                      <a:pt x="658" y="814"/>
                    </a:lnTo>
                    <a:lnTo>
                      <a:pt x="658" y="814"/>
                    </a:lnTo>
                    <a:lnTo>
                      <a:pt x="658" y="816"/>
                    </a:lnTo>
                    <a:lnTo>
                      <a:pt x="666" y="814"/>
                    </a:lnTo>
                    <a:lnTo>
                      <a:pt x="670" y="816"/>
                    </a:lnTo>
                    <a:lnTo>
                      <a:pt x="672" y="814"/>
                    </a:lnTo>
                    <a:lnTo>
                      <a:pt x="674" y="814"/>
                    </a:lnTo>
                    <a:lnTo>
                      <a:pt x="674" y="812"/>
                    </a:lnTo>
                    <a:lnTo>
                      <a:pt x="674" y="810"/>
                    </a:lnTo>
                    <a:lnTo>
                      <a:pt x="674" y="808"/>
                    </a:lnTo>
                    <a:lnTo>
                      <a:pt x="674" y="806"/>
                    </a:lnTo>
                    <a:lnTo>
                      <a:pt x="674" y="806"/>
                    </a:lnTo>
                    <a:lnTo>
                      <a:pt x="674" y="805"/>
                    </a:lnTo>
                    <a:lnTo>
                      <a:pt x="674" y="803"/>
                    </a:lnTo>
                    <a:lnTo>
                      <a:pt x="676" y="803"/>
                    </a:lnTo>
                    <a:lnTo>
                      <a:pt x="677" y="803"/>
                    </a:lnTo>
                    <a:lnTo>
                      <a:pt x="689" y="806"/>
                    </a:lnTo>
                    <a:lnTo>
                      <a:pt x="695" y="808"/>
                    </a:lnTo>
                    <a:lnTo>
                      <a:pt x="696" y="808"/>
                    </a:lnTo>
                    <a:lnTo>
                      <a:pt x="698" y="806"/>
                    </a:lnTo>
                    <a:lnTo>
                      <a:pt x="708" y="803"/>
                    </a:lnTo>
                    <a:lnTo>
                      <a:pt x="708" y="803"/>
                    </a:lnTo>
                    <a:lnTo>
                      <a:pt x="710" y="803"/>
                    </a:lnTo>
                    <a:lnTo>
                      <a:pt x="710" y="803"/>
                    </a:lnTo>
                    <a:lnTo>
                      <a:pt x="710" y="805"/>
                    </a:lnTo>
                    <a:lnTo>
                      <a:pt x="710" y="808"/>
                    </a:lnTo>
                    <a:lnTo>
                      <a:pt x="710" y="808"/>
                    </a:lnTo>
                    <a:lnTo>
                      <a:pt x="712" y="810"/>
                    </a:lnTo>
                    <a:lnTo>
                      <a:pt x="712" y="810"/>
                    </a:lnTo>
                    <a:lnTo>
                      <a:pt x="716" y="810"/>
                    </a:lnTo>
                    <a:lnTo>
                      <a:pt x="717" y="810"/>
                    </a:lnTo>
                    <a:lnTo>
                      <a:pt x="717" y="812"/>
                    </a:lnTo>
                    <a:lnTo>
                      <a:pt x="719" y="812"/>
                    </a:lnTo>
                    <a:lnTo>
                      <a:pt x="719" y="816"/>
                    </a:lnTo>
                    <a:lnTo>
                      <a:pt x="719" y="818"/>
                    </a:lnTo>
                    <a:lnTo>
                      <a:pt x="721" y="818"/>
                    </a:lnTo>
                    <a:lnTo>
                      <a:pt x="723" y="820"/>
                    </a:lnTo>
                    <a:lnTo>
                      <a:pt x="723" y="822"/>
                    </a:lnTo>
                    <a:lnTo>
                      <a:pt x="723" y="822"/>
                    </a:lnTo>
                    <a:lnTo>
                      <a:pt x="721" y="824"/>
                    </a:lnTo>
                    <a:lnTo>
                      <a:pt x="721" y="826"/>
                    </a:lnTo>
                    <a:lnTo>
                      <a:pt x="719" y="826"/>
                    </a:lnTo>
                    <a:lnTo>
                      <a:pt x="716" y="824"/>
                    </a:lnTo>
                    <a:lnTo>
                      <a:pt x="716" y="824"/>
                    </a:lnTo>
                    <a:lnTo>
                      <a:pt x="714" y="824"/>
                    </a:lnTo>
                    <a:lnTo>
                      <a:pt x="714" y="826"/>
                    </a:lnTo>
                    <a:lnTo>
                      <a:pt x="712" y="826"/>
                    </a:lnTo>
                    <a:lnTo>
                      <a:pt x="712" y="827"/>
                    </a:lnTo>
                    <a:lnTo>
                      <a:pt x="714" y="829"/>
                    </a:lnTo>
                    <a:lnTo>
                      <a:pt x="714" y="833"/>
                    </a:lnTo>
                    <a:lnTo>
                      <a:pt x="714" y="835"/>
                    </a:lnTo>
                    <a:lnTo>
                      <a:pt x="712" y="843"/>
                    </a:lnTo>
                    <a:lnTo>
                      <a:pt x="712" y="843"/>
                    </a:lnTo>
                    <a:lnTo>
                      <a:pt x="712" y="845"/>
                    </a:lnTo>
                    <a:lnTo>
                      <a:pt x="714" y="845"/>
                    </a:lnTo>
                    <a:lnTo>
                      <a:pt x="716" y="846"/>
                    </a:lnTo>
                    <a:lnTo>
                      <a:pt x="716" y="848"/>
                    </a:lnTo>
                    <a:lnTo>
                      <a:pt x="717" y="848"/>
                    </a:lnTo>
                    <a:lnTo>
                      <a:pt x="716" y="856"/>
                    </a:lnTo>
                    <a:lnTo>
                      <a:pt x="716" y="858"/>
                    </a:lnTo>
                    <a:lnTo>
                      <a:pt x="716" y="860"/>
                    </a:lnTo>
                    <a:lnTo>
                      <a:pt x="714" y="864"/>
                    </a:lnTo>
                    <a:lnTo>
                      <a:pt x="712" y="873"/>
                    </a:lnTo>
                    <a:lnTo>
                      <a:pt x="712" y="875"/>
                    </a:lnTo>
                    <a:lnTo>
                      <a:pt x="710" y="875"/>
                    </a:lnTo>
                    <a:lnTo>
                      <a:pt x="706" y="875"/>
                    </a:lnTo>
                    <a:lnTo>
                      <a:pt x="706" y="877"/>
                    </a:lnTo>
                    <a:lnTo>
                      <a:pt x="706" y="877"/>
                    </a:lnTo>
                    <a:lnTo>
                      <a:pt x="704" y="877"/>
                    </a:lnTo>
                    <a:lnTo>
                      <a:pt x="706" y="879"/>
                    </a:lnTo>
                    <a:lnTo>
                      <a:pt x="706" y="881"/>
                    </a:lnTo>
                    <a:lnTo>
                      <a:pt x="708" y="883"/>
                    </a:lnTo>
                    <a:lnTo>
                      <a:pt x="710" y="884"/>
                    </a:lnTo>
                    <a:lnTo>
                      <a:pt x="712" y="886"/>
                    </a:lnTo>
                    <a:lnTo>
                      <a:pt x="714" y="886"/>
                    </a:lnTo>
                    <a:lnTo>
                      <a:pt x="714" y="888"/>
                    </a:lnTo>
                    <a:lnTo>
                      <a:pt x="714" y="890"/>
                    </a:lnTo>
                    <a:lnTo>
                      <a:pt x="714" y="890"/>
                    </a:lnTo>
                    <a:lnTo>
                      <a:pt x="712" y="892"/>
                    </a:lnTo>
                    <a:lnTo>
                      <a:pt x="712" y="894"/>
                    </a:lnTo>
                    <a:lnTo>
                      <a:pt x="714" y="894"/>
                    </a:lnTo>
                    <a:lnTo>
                      <a:pt x="714" y="894"/>
                    </a:lnTo>
                    <a:lnTo>
                      <a:pt x="717" y="896"/>
                    </a:lnTo>
                    <a:lnTo>
                      <a:pt x="721" y="902"/>
                    </a:lnTo>
                    <a:lnTo>
                      <a:pt x="725" y="904"/>
                    </a:lnTo>
                    <a:lnTo>
                      <a:pt x="733" y="909"/>
                    </a:lnTo>
                    <a:lnTo>
                      <a:pt x="735" y="911"/>
                    </a:lnTo>
                    <a:lnTo>
                      <a:pt x="738" y="913"/>
                    </a:lnTo>
                    <a:lnTo>
                      <a:pt x="742" y="913"/>
                    </a:lnTo>
                    <a:lnTo>
                      <a:pt x="742" y="913"/>
                    </a:lnTo>
                    <a:lnTo>
                      <a:pt x="746" y="913"/>
                    </a:lnTo>
                    <a:lnTo>
                      <a:pt x="752" y="913"/>
                    </a:lnTo>
                    <a:lnTo>
                      <a:pt x="758" y="915"/>
                    </a:lnTo>
                    <a:lnTo>
                      <a:pt x="759" y="915"/>
                    </a:lnTo>
                    <a:lnTo>
                      <a:pt x="761" y="913"/>
                    </a:lnTo>
                    <a:lnTo>
                      <a:pt x="765" y="911"/>
                    </a:lnTo>
                    <a:lnTo>
                      <a:pt x="765" y="911"/>
                    </a:lnTo>
                    <a:lnTo>
                      <a:pt x="769" y="911"/>
                    </a:lnTo>
                    <a:lnTo>
                      <a:pt x="773" y="909"/>
                    </a:lnTo>
                    <a:lnTo>
                      <a:pt x="773" y="909"/>
                    </a:lnTo>
                    <a:lnTo>
                      <a:pt x="775" y="909"/>
                    </a:lnTo>
                    <a:lnTo>
                      <a:pt x="775" y="907"/>
                    </a:lnTo>
                    <a:lnTo>
                      <a:pt x="777" y="904"/>
                    </a:lnTo>
                    <a:lnTo>
                      <a:pt x="778" y="902"/>
                    </a:lnTo>
                    <a:lnTo>
                      <a:pt x="778" y="902"/>
                    </a:lnTo>
                    <a:lnTo>
                      <a:pt x="778" y="898"/>
                    </a:lnTo>
                    <a:lnTo>
                      <a:pt x="778" y="896"/>
                    </a:lnTo>
                    <a:lnTo>
                      <a:pt x="780" y="894"/>
                    </a:lnTo>
                    <a:lnTo>
                      <a:pt x="784" y="892"/>
                    </a:lnTo>
                    <a:lnTo>
                      <a:pt x="784" y="890"/>
                    </a:lnTo>
                    <a:lnTo>
                      <a:pt x="786" y="890"/>
                    </a:lnTo>
                    <a:lnTo>
                      <a:pt x="786" y="884"/>
                    </a:lnTo>
                    <a:lnTo>
                      <a:pt x="788" y="883"/>
                    </a:lnTo>
                    <a:lnTo>
                      <a:pt x="792" y="875"/>
                    </a:lnTo>
                    <a:lnTo>
                      <a:pt x="792" y="873"/>
                    </a:lnTo>
                    <a:lnTo>
                      <a:pt x="794" y="871"/>
                    </a:lnTo>
                    <a:lnTo>
                      <a:pt x="798" y="865"/>
                    </a:lnTo>
                    <a:lnTo>
                      <a:pt x="798" y="865"/>
                    </a:lnTo>
                    <a:lnTo>
                      <a:pt x="798" y="864"/>
                    </a:lnTo>
                    <a:lnTo>
                      <a:pt x="798" y="862"/>
                    </a:lnTo>
                    <a:lnTo>
                      <a:pt x="798" y="862"/>
                    </a:lnTo>
                    <a:lnTo>
                      <a:pt x="798" y="860"/>
                    </a:lnTo>
                    <a:lnTo>
                      <a:pt x="799" y="860"/>
                    </a:lnTo>
                    <a:lnTo>
                      <a:pt x="801" y="854"/>
                    </a:lnTo>
                    <a:lnTo>
                      <a:pt x="803" y="854"/>
                    </a:lnTo>
                    <a:lnTo>
                      <a:pt x="803" y="852"/>
                    </a:lnTo>
                    <a:lnTo>
                      <a:pt x="803" y="852"/>
                    </a:lnTo>
                    <a:lnTo>
                      <a:pt x="801" y="850"/>
                    </a:lnTo>
                    <a:lnTo>
                      <a:pt x="801" y="848"/>
                    </a:lnTo>
                    <a:lnTo>
                      <a:pt x="799" y="845"/>
                    </a:lnTo>
                    <a:lnTo>
                      <a:pt x="798" y="845"/>
                    </a:lnTo>
                    <a:lnTo>
                      <a:pt x="798" y="843"/>
                    </a:lnTo>
                    <a:lnTo>
                      <a:pt x="796" y="839"/>
                    </a:lnTo>
                    <a:lnTo>
                      <a:pt x="796" y="839"/>
                    </a:lnTo>
                    <a:lnTo>
                      <a:pt x="796" y="837"/>
                    </a:lnTo>
                    <a:lnTo>
                      <a:pt x="796" y="837"/>
                    </a:lnTo>
                    <a:lnTo>
                      <a:pt x="796" y="835"/>
                    </a:lnTo>
                    <a:lnTo>
                      <a:pt x="796" y="835"/>
                    </a:lnTo>
                    <a:lnTo>
                      <a:pt x="796" y="833"/>
                    </a:lnTo>
                    <a:lnTo>
                      <a:pt x="798" y="833"/>
                    </a:lnTo>
                    <a:lnTo>
                      <a:pt x="799" y="831"/>
                    </a:lnTo>
                    <a:lnTo>
                      <a:pt x="801" y="831"/>
                    </a:lnTo>
                    <a:lnTo>
                      <a:pt x="811" y="829"/>
                    </a:lnTo>
                    <a:lnTo>
                      <a:pt x="813" y="826"/>
                    </a:lnTo>
                    <a:lnTo>
                      <a:pt x="811" y="822"/>
                    </a:lnTo>
                    <a:lnTo>
                      <a:pt x="811" y="818"/>
                    </a:lnTo>
                    <a:lnTo>
                      <a:pt x="813" y="816"/>
                    </a:lnTo>
                    <a:lnTo>
                      <a:pt x="811" y="814"/>
                    </a:lnTo>
                    <a:lnTo>
                      <a:pt x="811" y="812"/>
                    </a:lnTo>
                    <a:lnTo>
                      <a:pt x="811" y="810"/>
                    </a:lnTo>
                    <a:lnTo>
                      <a:pt x="811" y="810"/>
                    </a:lnTo>
                    <a:lnTo>
                      <a:pt x="813" y="805"/>
                    </a:lnTo>
                    <a:lnTo>
                      <a:pt x="813" y="805"/>
                    </a:lnTo>
                    <a:lnTo>
                      <a:pt x="813" y="803"/>
                    </a:lnTo>
                    <a:lnTo>
                      <a:pt x="811" y="799"/>
                    </a:lnTo>
                    <a:lnTo>
                      <a:pt x="811" y="799"/>
                    </a:lnTo>
                    <a:lnTo>
                      <a:pt x="809" y="797"/>
                    </a:lnTo>
                    <a:lnTo>
                      <a:pt x="805" y="797"/>
                    </a:lnTo>
                    <a:lnTo>
                      <a:pt x="803" y="795"/>
                    </a:lnTo>
                    <a:lnTo>
                      <a:pt x="801" y="795"/>
                    </a:lnTo>
                    <a:lnTo>
                      <a:pt x="799" y="793"/>
                    </a:lnTo>
                    <a:lnTo>
                      <a:pt x="799" y="791"/>
                    </a:lnTo>
                    <a:lnTo>
                      <a:pt x="798" y="787"/>
                    </a:lnTo>
                    <a:lnTo>
                      <a:pt x="796" y="787"/>
                    </a:lnTo>
                    <a:lnTo>
                      <a:pt x="796" y="787"/>
                    </a:lnTo>
                    <a:lnTo>
                      <a:pt x="794" y="786"/>
                    </a:lnTo>
                    <a:lnTo>
                      <a:pt x="792" y="784"/>
                    </a:lnTo>
                    <a:lnTo>
                      <a:pt x="790" y="782"/>
                    </a:lnTo>
                    <a:lnTo>
                      <a:pt x="790" y="780"/>
                    </a:lnTo>
                    <a:lnTo>
                      <a:pt x="790" y="778"/>
                    </a:lnTo>
                    <a:lnTo>
                      <a:pt x="792" y="778"/>
                    </a:lnTo>
                    <a:lnTo>
                      <a:pt x="792" y="776"/>
                    </a:lnTo>
                    <a:lnTo>
                      <a:pt x="792" y="774"/>
                    </a:lnTo>
                    <a:lnTo>
                      <a:pt x="792" y="768"/>
                    </a:lnTo>
                    <a:lnTo>
                      <a:pt x="792" y="765"/>
                    </a:lnTo>
                    <a:lnTo>
                      <a:pt x="792" y="765"/>
                    </a:lnTo>
                    <a:lnTo>
                      <a:pt x="792" y="763"/>
                    </a:lnTo>
                    <a:lnTo>
                      <a:pt x="788" y="759"/>
                    </a:lnTo>
                    <a:lnTo>
                      <a:pt x="786" y="757"/>
                    </a:lnTo>
                    <a:lnTo>
                      <a:pt x="786" y="755"/>
                    </a:lnTo>
                    <a:lnTo>
                      <a:pt x="786" y="753"/>
                    </a:lnTo>
                    <a:lnTo>
                      <a:pt x="786" y="751"/>
                    </a:lnTo>
                    <a:lnTo>
                      <a:pt x="788" y="744"/>
                    </a:lnTo>
                    <a:lnTo>
                      <a:pt x="788" y="740"/>
                    </a:lnTo>
                    <a:lnTo>
                      <a:pt x="788" y="740"/>
                    </a:lnTo>
                    <a:lnTo>
                      <a:pt x="788" y="738"/>
                    </a:lnTo>
                    <a:lnTo>
                      <a:pt x="790" y="738"/>
                    </a:lnTo>
                    <a:lnTo>
                      <a:pt x="790" y="736"/>
                    </a:lnTo>
                    <a:lnTo>
                      <a:pt x="792" y="734"/>
                    </a:lnTo>
                    <a:lnTo>
                      <a:pt x="794" y="732"/>
                    </a:lnTo>
                    <a:lnTo>
                      <a:pt x="798" y="730"/>
                    </a:lnTo>
                    <a:lnTo>
                      <a:pt x="805" y="727"/>
                    </a:lnTo>
                    <a:lnTo>
                      <a:pt x="807" y="725"/>
                    </a:lnTo>
                    <a:lnTo>
                      <a:pt x="811" y="723"/>
                    </a:lnTo>
                    <a:lnTo>
                      <a:pt x="813" y="721"/>
                    </a:lnTo>
                    <a:lnTo>
                      <a:pt x="830" y="711"/>
                    </a:lnTo>
                    <a:lnTo>
                      <a:pt x="843" y="704"/>
                    </a:lnTo>
                    <a:lnTo>
                      <a:pt x="847" y="700"/>
                    </a:lnTo>
                    <a:lnTo>
                      <a:pt x="847" y="698"/>
                    </a:lnTo>
                    <a:lnTo>
                      <a:pt x="847" y="698"/>
                    </a:lnTo>
                    <a:lnTo>
                      <a:pt x="849" y="696"/>
                    </a:lnTo>
                    <a:lnTo>
                      <a:pt x="853" y="694"/>
                    </a:lnTo>
                    <a:lnTo>
                      <a:pt x="857" y="692"/>
                    </a:lnTo>
                    <a:lnTo>
                      <a:pt x="859" y="690"/>
                    </a:lnTo>
                    <a:lnTo>
                      <a:pt x="860" y="690"/>
                    </a:lnTo>
                    <a:lnTo>
                      <a:pt x="860" y="689"/>
                    </a:lnTo>
                    <a:lnTo>
                      <a:pt x="870" y="683"/>
                    </a:lnTo>
                    <a:lnTo>
                      <a:pt x="872" y="681"/>
                    </a:lnTo>
                    <a:lnTo>
                      <a:pt x="880" y="671"/>
                    </a:lnTo>
                    <a:lnTo>
                      <a:pt x="889" y="662"/>
                    </a:lnTo>
                    <a:lnTo>
                      <a:pt x="895" y="662"/>
                    </a:lnTo>
                    <a:lnTo>
                      <a:pt x="899" y="664"/>
                    </a:lnTo>
                    <a:lnTo>
                      <a:pt x="899" y="664"/>
                    </a:lnTo>
                    <a:lnTo>
                      <a:pt x="899" y="666"/>
                    </a:lnTo>
                    <a:lnTo>
                      <a:pt x="899" y="668"/>
                    </a:lnTo>
                    <a:lnTo>
                      <a:pt x="899" y="668"/>
                    </a:lnTo>
                    <a:lnTo>
                      <a:pt x="899" y="669"/>
                    </a:lnTo>
                    <a:lnTo>
                      <a:pt x="899" y="669"/>
                    </a:lnTo>
                    <a:lnTo>
                      <a:pt x="899" y="671"/>
                    </a:lnTo>
                    <a:lnTo>
                      <a:pt x="899" y="671"/>
                    </a:lnTo>
                    <a:lnTo>
                      <a:pt x="899" y="673"/>
                    </a:lnTo>
                    <a:lnTo>
                      <a:pt x="899" y="673"/>
                    </a:lnTo>
                    <a:lnTo>
                      <a:pt x="901" y="673"/>
                    </a:lnTo>
                    <a:lnTo>
                      <a:pt x="901" y="673"/>
                    </a:lnTo>
                    <a:lnTo>
                      <a:pt x="901" y="675"/>
                    </a:lnTo>
                    <a:lnTo>
                      <a:pt x="902" y="675"/>
                    </a:lnTo>
                    <a:lnTo>
                      <a:pt x="902" y="675"/>
                    </a:lnTo>
                    <a:lnTo>
                      <a:pt x="904" y="675"/>
                    </a:lnTo>
                    <a:lnTo>
                      <a:pt x="906" y="675"/>
                    </a:lnTo>
                    <a:lnTo>
                      <a:pt x="908" y="675"/>
                    </a:lnTo>
                    <a:lnTo>
                      <a:pt x="910" y="675"/>
                    </a:lnTo>
                    <a:lnTo>
                      <a:pt x="912" y="673"/>
                    </a:lnTo>
                    <a:lnTo>
                      <a:pt x="912" y="673"/>
                    </a:lnTo>
                    <a:lnTo>
                      <a:pt x="912" y="673"/>
                    </a:lnTo>
                    <a:lnTo>
                      <a:pt x="912" y="671"/>
                    </a:lnTo>
                    <a:lnTo>
                      <a:pt x="912" y="671"/>
                    </a:lnTo>
                    <a:lnTo>
                      <a:pt x="912" y="669"/>
                    </a:lnTo>
                    <a:lnTo>
                      <a:pt x="912" y="669"/>
                    </a:lnTo>
                    <a:lnTo>
                      <a:pt x="912" y="669"/>
                    </a:lnTo>
                    <a:lnTo>
                      <a:pt x="910" y="666"/>
                    </a:lnTo>
                    <a:lnTo>
                      <a:pt x="910" y="662"/>
                    </a:lnTo>
                    <a:lnTo>
                      <a:pt x="912" y="660"/>
                    </a:lnTo>
                    <a:lnTo>
                      <a:pt x="914" y="660"/>
                    </a:lnTo>
                    <a:lnTo>
                      <a:pt x="916" y="660"/>
                    </a:lnTo>
                    <a:lnTo>
                      <a:pt x="918" y="658"/>
                    </a:lnTo>
                    <a:lnTo>
                      <a:pt x="920" y="660"/>
                    </a:lnTo>
                    <a:lnTo>
                      <a:pt x="923" y="664"/>
                    </a:lnTo>
                    <a:lnTo>
                      <a:pt x="927" y="666"/>
                    </a:lnTo>
                    <a:lnTo>
                      <a:pt x="929" y="666"/>
                    </a:lnTo>
                    <a:lnTo>
                      <a:pt x="931" y="668"/>
                    </a:lnTo>
                    <a:lnTo>
                      <a:pt x="933" y="668"/>
                    </a:lnTo>
                    <a:lnTo>
                      <a:pt x="935" y="668"/>
                    </a:lnTo>
                    <a:lnTo>
                      <a:pt x="937" y="668"/>
                    </a:lnTo>
                    <a:lnTo>
                      <a:pt x="939" y="668"/>
                    </a:lnTo>
                    <a:lnTo>
                      <a:pt x="939" y="668"/>
                    </a:lnTo>
                    <a:lnTo>
                      <a:pt x="944" y="662"/>
                    </a:lnTo>
                    <a:lnTo>
                      <a:pt x="946" y="662"/>
                    </a:lnTo>
                    <a:lnTo>
                      <a:pt x="946" y="662"/>
                    </a:lnTo>
                    <a:lnTo>
                      <a:pt x="946" y="660"/>
                    </a:lnTo>
                    <a:lnTo>
                      <a:pt x="948" y="658"/>
                    </a:lnTo>
                    <a:lnTo>
                      <a:pt x="948" y="656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6" name="Freeform 8">
                <a:extLst>
                  <a:ext uri="{FF2B5EF4-FFF2-40B4-BE49-F238E27FC236}">
                    <a16:creationId xmlns:a16="http://schemas.microsoft.com/office/drawing/2014/main" id="{A28D9DCC-1F6D-4115-8D6F-9A512A10C0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9432" y="4345461"/>
                <a:ext cx="239713" cy="347663"/>
              </a:xfrm>
              <a:custGeom>
                <a:avLst/>
                <a:gdLst>
                  <a:gd name="T0" fmla="*/ 151 w 151"/>
                  <a:gd name="T1" fmla="*/ 75 h 219"/>
                  <a:gd name="T2" fmla="*/ 149 w 151"/>
                  <a:gd name="T3" fmla="*/ 71 h 219"/>
                  <a:gd name="T4" fmla="*/ 149 w 151"/>
                  <a:gd name="T5" fmla="*/ 48 h 219"/>
                  <a:gd name="T6" fmla="*/ 147 w 151"/>
                  <a:gd name="T7" fmla="*/ 44 h 219"/>
                  <a:gd name="T8" fmla="*/ 141 w 151"/>
                  <a:gd name="T9" fmla="*/ 29 h 219"/>
                  <a:gd name="T10" fmla="*/ 139 w 151"/>
                  <a:gd name="T11" fmla="*/ 16 h 219"/>
                  <a:gd name="T12" fmla="*/ 138 w 151"/>
                  <a:gd name="T13" fmla="*/ 8 h 219"/>
                  <a:gd name="T14" fmla="*/ 124 w 151"/>
                  <a:gd name="T15" fmla="*/ 2 h 219"/>
                  <a:gd name="T16" fmla="*/ 120 w 151"/>
                  <a:gd name="T17" fmla="*/ 23 h 219"/>
                  <a:gd name="T18" fmla="*/ 105 w 151"/>
                  <a:gd name="T19" fmla="*/ 31 h 219"/>
                  <a:gd name="T20" fmla="*/ 96 w 151"/>
                  <a:gd name="T21" fmla="*/ 29 h 219"/>
                  <a:gd name="T22" fmla="*/ 94 w 151"/>
                  <a:gd name="T23" fmla="*/ 54 h 219"/>
                  <a:gd name="T24" fmla="*/ 84 w 151"/>
                  <a:gd name="T25" fmla="*/ 46 h 219"/>
                  <a:gd name="T26" fmla="*/ 75 w 151"/>
                  <a:gd name="T27" fmla="*/ 48 h 219"/>
                  <a:gd name="T28" fmla="*/ 69 w 151"/>
                  <a:gd name="T29" fmla="*/ 56 h 219"/>
                  <a:gd name="T30" fmla="*/ 61 w 151"/>
                  <a:gd name="T31" fmla="*/ 48 h 219"/>
                  <a:gd name="T32" fmla="*/ 54 w 151"/>
                  <a:gd name="T33" fmla="*/ 63 h 219"/>
                  <a:gd name="T34" fmla="*/ 27 w 151"/>
                  <a:gd name="T35" fmla="*/ 65 h 219"/>
                  <a:gd name="T36" fmla="*/ 23 w 151"/>
                  <a:gd name="T37" fmla="*/ 77 h 219"/>
                  <a:gd name="T38" fmla="*/ 16 w 151"/>
                  <a:gd name="T39" fmla="*/ 80 h 219"/>
                  <a:gd name="T40" fmla="*/ 12 w 151"/>
                  <a:gd name="T41" fmla="*/ 96 h 219"/>
                  <a:gd name="T42" fmla="*/ 4 w 151"/>
                  <a:gd name="T43" fmla="*/ 111 h 219"/>
                  <a:gd name="T44" fmla="*/ 4 w 151"/>
                  <a:gd name="T45" fmla="*/ 118 h 219"/>
                  <a:gd name="T46" fmla="*/ 0 w 151"/>
                  <a:gd name="T47" fmla="*/ 126 h 219"/>
                  <a:gd name="T48" fmla="*/ 8 w 151"/>
                  <a:gd name="T49" fmla="*/ 145 h 219"/>
                  <a:gd name="T50" fmla="*/ 14 w 151"/>
                  <a:gd name="T51" fmla="*/ 153 h 219"/>
                  <a:gd name="T52" fmla="*/ 19 w 151"/>
                  <a:gd name="T53" fmla="*/ 164 h 219"/>
                  <a:gd name="T54" fmla="*/ 17 w 151"/>
                  <a:gd name="T55" fmla="*/ 170 h 219"/>
                  <a:gd name="T56" fmla="*/ 31 w 151"/>
                  <a:gd name="T57" fmla="*/ 204 h 219"/>
                  <a:gd name="T58" fmla="*/ 31 w 151"/>
                  <a:gd name="T59" fmla="*/ 175 h 219"/>
                  <a:gd name="T60" fmla="*/ 38 w 151"/>
                  <a:gd name="T61" fmla="*/ 183 h 219"/>
                  <a:gd name="T62" fmla="*/ 40 w 151"/>
                  <a:gd name="T63" fmla="*/ 183 h 219"/>
                  <a:gd name="T64" fmla="*/ 42 w 151"/>
                  <a:gd name="T65" fmla="*/ 193 h 219"/>
                  <a:gd name="T66" fmla="*/ 48 w 151"/>
                  <a:gd name="T67" fmla="*/ 208 h 219"/>
                  <a:gd name="T68" fmla="*/ 54 w 151"/>
                  <a:gd name="T69" fmla="*/ 215 h 219"/>
                  <a:gd name="T70" fmla="*/ 59 w 151"/>
                  <a:gd name="T71" fmla="*/ 217 h 219"/>
                  <a:gd name="T72" fmla="*/ 63 w 151"/>
                  <a:gd name="T73" fmla="*/ 214 h 219"/>
                  <a:gd name="T74" fmla="*/ 71 w 151"/>
                  <a:gd name="T75" fmla="*/ 214 h 219"/>
                  <a:gd name="T76" fmla="*/ 78 w 151"/>
                  <a:gd name="T77" fmla="*/ 206 h 219"/>
                  <a:gd name="T78" fmla="*/ 80 w 151"/>
                  <a:gd name="T79" fmla="*/ 202 h 219"/>
                  <a:gd name="T80" fmla="*/ 82 w 151"/>
                  <a:gd name="T81" fmla="*/ 198 h 219"/>
                  <a:gd name="T82" fmla="*/ 78 w 151"/>
                  <a:gd name="T83" fmla="*/ 168 h 219"/>
                  <a:gd name="T84" fmla="*/ 98 w 151"/>
                  <a:gd name="T85" fmla="*/ 151 h 219"/>
                  <a:gd name="T86" fmla="*/ 98 w 151"/>
                  <a:gd name="T87" fmla="*/ 118 h 219"/>
                  <a:gd name="T88" fmla="*/ 103 w 151"/>
                  <a:gd name="T89" fmla="*/ 116 h 219"/>
                  <a:gd name="T90" fmla="*/ 120 w 151"/>
                  <a:gd name="T91" fmla="*/ 116 h 219"/>
                  <a:gd name="T92" fmla="*/ 134 w 151"/>
                  <a:gd name="T93" fmla="*/ 124 h 219"/>
                  <a:gd name="T94" fmla="*/ 141 w 151"/>
                  <a:gd name="T95" fmla="*/ 116 h 219"/>
                  <a:gd name="T96" fmla="*/ 143 w 151"/>
                  <a:gd name="T97" fmla="*/ 101 h 219"/>
                  <a:gd name="T98" fmla="*/ 143 w 151"/>
                  <a:gd name="T99" fmla="*/ 97 h 219"/>
                  <a:gd name="T100" fmla="*/ 147 w 151"/>
                  <a:gd name="T101" fmla="*/ 96 h 219"/>
                  <a:gd name="T102" fmla="*/ 149 w 151"/>
                  <a:gd name="T103" fmla="*/ 96 h 219"/>
                  <a:gd name="T104" fmla="*/ 149 w 151"/>
                  <a:gd name="T105" fmla="*/ 92 h 219"/>
                  <a:gd name="T106" fmla="*/ 149 w 151"/>
                  <a:gd name="T107" fmla="*/ 88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1" h="219">
                    <a:moveTo>
                      <a:pt x="149" y="82"/>
                    </a:moveTo>
                    <a:lnTo>
                      <a:pt x="149" y="82"/>
                    </a:lnTo>
                    <a:lnTo>
                      <a:pt x="151" y="78"/>
                    </a:lnTo>
                    <a:lnTo>
                      <a:pt x="151" y="77"/>
                    </a:lnTo>
                    <a:lnTo>
                      <a:pt x="151" y="75"/>
                    </a:lnTo>
                    <a:lnTo>
                      <a:pt x="151" y="75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9" y="71"/>
                    </a:lnTo>
                    <a:lnTo>
                      <a:pt x="149" y="71"/>
                    </a:lnTo>
                    <a:lnTo>
                      <a:pt x="149" y="67"/>
                    </a:lnTo>
                    <a:lnTo>
                      <a:pt x="151" y="61"/>
                    </a:lnTo>
                    <a:lnTo>
                      <a:pt x="151" y="61"/>
                    </a:lnTo>
                    <a:lnTo>
                      <a:pt x="149" y="50"/>
                    </a:lnTo>
                    <a:lnTo>
                      <a:pt x="149" y="48"/>
                    </a:lnTo>
                    <a:lnTo>
                      <a:pt x="149" y="48"/>
                    </a:lnTo>
                    <a:lnTo>
                      <a:pt x="149" y="46"/>
                    </a:lnTo>
                    <a:lnTo>
                      <a:pt x="149" y="46"/>
                    </a:lnTo>
                    <a:lnTo>
                      <a:pt x="147" y="46"/>
                    </a:lnTo>
                    <a:lnTo>
                      <a:pt x="147" y="44"/>
                    </a:lnTo>
                    <a:lnTo>
                      <a:pt x="147" y="42"/>
                    </a:lnTo>
                    <a:lnTo>
                      <a:pt x="138" y="40"/>
                    </a:lnTo>
                    <a:lnTo>
                      <a:pt x="138" y="40"/>
                    </a:lnTo>
                    <a:lnTo>
                      <a:pt x="138" y="38"/>
                    </a:lnTo>
                    <a:lnTo>
                      <a:pt x="141" y="29"/>
                    </a:lnTo>
                    <a:lnTo>
                      <a:pt x="141" y="27"/>
                    </a:lnTo>
                    <a:lnTo>
                      <a:pt x="141" y="25"/>
                    </a:lnTo>
                    <a:lnTo>
                      <a:pt x="141" y="21"/>
                    </a:lnTo>
                    <a:lnTo>
                      <a:pt x="141" y="21"/>
                    </a:lnTo>
                    <a:lnTo>
                      <a:pt x="139" y="16"/>
                    </a:lnTo>
                    <a:lnTo>
                      <a:pt x="139" y="16"/>
                    </a:lnTo>
                    <a:lnTo>
                      <a:pt x="138" y="14"/>
                    </a:lnTo>
                    <a:lnTo>
                      <a:pt x="138" y="10"/>
                    </a:lnTo>
                    <a:lnTo>
                      <a:pt x="138" y="8"/>
                    </a:lnTo>
                    <a:lnTo>
                      <a:pt x="138" y="8"/>
                    </a:lnTo>
                    <a:lnTo>
                      <a:pt x="138" y="6"/>
                    </a:lnTo>
                    <a:lnTo>
                      <a:pt x="128" y="0"/>
                    </a:lnTo>
                    <a:lnTo>
                      <a:pt x="128" y="0"/>
                    </a:lnTo>
                    <a:lnTo>
                      <a:pt x="126" y="2"/>
                    </a:lnTo>
                    <a:lnTo>
                      <a:pt x="124" y="2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2" y="16"/>
                    </a:lnTo>
                    <a:lnTo>
                      <a:pt x="122" y="19"/>
                    </a:lnTo>
                    <a:lnTo>
                      <a:pt x="120" y="23"/>
                    </a:lnTo>
                    <a:lnTo>
                      <a:pt x="117" y="25"/>
                    </a:lnTo>
                    <a:lnTo>
                      <a:pt x="113" y="25"/>
                    </a:lnTo>
                    <a:lnTo>
                      <a:pt x="103" y="23"/>
                    </a:lnTo>
                    <a:lnTo>
                      <a:pt x="103" y="25"/>
                    </a:lnTo>
                    <a:lnTo>
                      <a:pt x="105" y="31"/>
                    </a:lnTo>
                    <a:lnTo>
                      <a:pt x="105" y="31"/>
                    </a:lnTo>
                    <a:lnTo>
                      <a:pt x="103" y="31"/>
                    </a:lnTo>
                    <a:lnTo>
                      <a:pt x="99" y="29"/>
                    </a:lnTo>
                    <a:lnTo>
                      <a:pt x="99" y="27"/>
                    </a:lnTo>
                    <a:lnTo>
                      <a:pt x="96" y="29"/>
                    </a:lnTo>
                    <a:lnTo>
                      <a:pt x="96" y="31"/>
                    </a:lnTo>
                    <a:lnTo>
                      <a:pt x="98" y="37"/>
                    </a:lnTo>
                    <a:lnTo>
                      <a:pt x="98" y="38"/>
                    </a:lnTo>
                    <a:lnTo>
                      <a:pt x="94" y="52"/>
                    </a:lnTo>
                    <a:lnTo>
                      <a:pt x="94" y="54"/>
                    </a:lnTo>
                    <a:lnTo>
                      <a:pt x="92" y="54"/>
                    </a:lnTo>
                    <a:lnTo>
                      <a:pt x="90" y="54"/>
                    </a:lnTo>
                    <a:lnTo>
                      <a:pt x="86" y="50"/>
                    </a:lnTo>
                    <a:lnTo>
                      <a:pt x="86" y="48"/>
                    </a:lnTo>
                    <a:lnTo>
                      <a:pt x="84" y="46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75" y="42"/>
                    </a:lnTo>
                    <a:lnTo>
                      <a:pt x="75" y="44"/>
                    </a:lnTo>
                    <a:lnTo>
                      <a:pt x="75" y="48"/>
                    </a:lnTo>
                    <a:lnTo>
                      <a:pt x="75" y="50"/>
                    </a:lnTo>
                    <a:lnTo>
                      <a:pt x="75" y="52"/>
                    </a:lnTo>
                    <a:lnTo>
                      <a:pt x="75" y="56"/>
                    </a:lnTo>
                    <a:lnTo>
                      <a:pt x="73" y="56"/>
                    </a:lnTo>
                    <a:lnTo>
                      <a:pt x="69" y="56"/>
                    </a:lnTo>
                    <a:lnTo>
                      <a:pt x="67" y="54"/>
                    </a:lnTo>
                    <a:lnTo>
                      <a:pt x="65" y="52"/>
                    </a:lnTo>
                    <a:lnTo>
                      <a:pt x="63" y="46"/>
                    </a:lnTo>
                    <a:lnTo>
                      <a:pt x="63" y="46"/>
                    </a:lnTo>
                    <a:lnTo>
                      <a:pt x="61" y="48"/>
                    </a:lnTo>
                    <a:lnTo>
                      <a:pt x="61" y="56"/>
                    </a:lnTo>
                    <a:lnTo>
                      <a:pt x="59" y="59"/>
                    </a:lnTo>
                    <a:lnTo>
                      <a:pt x="57" y="61"/>
                    </a:lnTo>
                    <a:lnTo>
                      <a:pt x="57" y="61"/>
                    </a:lnTo>
                    <a:lnTo>
                      <a:pt x="54" y="63"/>
                    </a:lnTo>
                    <a:lnTo>
                      <a:pt x="48" y="63"/>
                    </a:lnTo>
                    <a:lnTo>
                      <a:pt x="44" y="63"/>
                    </a:lnTo>
                    <a:lnTo>
                      <a:pt x="35" y="61"/>
                    </a:lnTo>
                    <a:lnTo>
                      <a:pt x="29" y="61"/>
                    </a:lnTo>
                    <a:lnTo>
                      <a:pt x="27" y="65"/>
                    </a:lnTo>
                    <a:lnTo>
                      <a:pt x="27" y="71"/>
                    </a:lnTo>
                    <a:lnTo>
                      <a:pt x="27" y="77"/>
                    </a:lnTo>
                    <a:lnTo>
                      <a:pt x="25" y="77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1" y="77"/>
                    </a:lnTo>
                    <a:lnTo>
                      <a:pt x="19" y="77"/>
                    </a:lnTo>
                    <a:lnTo>
                      <a:pt x="17" y="77"/>
                    </a:lnTo>
                    <a:lnTo>
                      <a:pt x="16" y="78"/>
                    </a:lnTo>
                    <a:lnTo>
                      <a:pt x="16" y="80"/>
                    </a:lnTo>
                    <a:lnTo>
                      <a:pt x="10" y="88"/>
                    </a:lnTo>
                    <a:lnTo>
                      <a:pt x="10" y="90"/>
                    </a:lnTo>
                    <a:lnTo>
                      <a:pt x="10" y="92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9"/>
                    </a:lnTo>
                    <a:lnTo>
                      <a:pt x="10" y="107"/>
                    </a:lnTo>
                    <a:lnTo>
                      <a:pt x="8" y="109"/>
                    </a:lnTo>
                    <a:lnTo>
                      <a:pt x="6" y="111"/>
                    </a:lnTo>
                    <a:lnTo>
                      <a:pt x="4" y="111"/>
                    </a:lnTo>
                    <a:lnTo>
                      <a:pt x="2" y="111"/>
                    </a:lnTo>
                    <a:lnTo>
                      <a:pt x="0" y="113"/>
                    </a:lnTo>
                    <a:lnTo>
                      <a:pt x="0" y="116"/>
                    </a:lnTo>
                    <a:lnTo>
                      <a:pt x="2" y="118"/>
                    </a:lnTo>
                    <a:lnTo>
                      <a:pt x="4" y="118"/>
                    </a:lnTo>
                    <a:lnTo>
                      <a:pt x="6" y="120"/>
                    </a:lnTo>
                    <a:lnTo>
                      <a:pt x="4" y="122"/>
                    </a:lnTo>
                    <a:lnTo>
                      <a:pt x="2" y="122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0" y="128"/>
                    </a:lnTo>
                    <a:lnTo>
                      <a:pt x="4" y="136"/>
                    </a:lnTo>
                    <a:lnTo>
                      <a:pt x="6" y="137"/>
                    </a:lnTo>
                    <a:lnTo>
                      <a:pt x="6" y="141"/>
                    </a:lnTo>
                    <a:lnTo>
                      <a:pt x="8" y="145"/>
                    </a:lnTo>
                    <a:lnTo>
                      <a:pt x="10" y="145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9"/>
                    </a:lnTo>
                    <a:lnTo>
                      <a:pt x="14" y="153"/>
                    </a:lnTo>
                    <a:lnTo>
                      <a:pt x="16" y="158"/>
                    </a:lnTo>
                    <a:lnTo>
                      <a:pt x="16" y="160"/>
                    </a:lnTo>
                    <a:lnTo>
                      <a:pt x="17" y="162"/>
                    </a:lnTo>
                    <a:lnTo>
                      <a:pt x="19" y="162"/>
                    </a:lnTo>
                    <a:lnTo>
                      <a:pt x="19" y="164"/>
                    </a:lnTo>
                    <a:lnTo>
                      <a:pt x="19" y="164"/>
                    </a:lnTo>
                    <a:lnTo>
                      <a:pt x="17" y="166"/>
                    </a:lnTo>
                    <a:lnTo>
                      <a:pt x="17" y="166"/>
                    </a:lnTo>
                    <a:lnTo>
                      <a:pt x="17" y="168"/>
                    </a:lnTo>
                    <a:lnTo>
                      <a:pt x="17" y="170"/>
                    </a:lnTo>
                    <a:lnTo>
                      <a:pt x="17" y="170"/>
                    </a:lnTo>
                    <a:lnTo>
                      <a:pt x="21" y="193"/>
                    </a:lnTo>
                    <a:lnTo>
                      <a:pt x="23" y="198"/>
                    </a:lnTo>
                    <a:lnTo>
                      <a:pt x="25" y="202"/>
                    </a:lnTo>
                    <a:lnTo>
                      <a:pt x="31" y="204"/>
                    </a:lnTo>
                    <a:lnTo>
                      <a:pt x="31" y="198"/>
                    </a:lnTo>
                    <a:lnTo>
                      <a:pt x="29" y="187"/>
                    </a:lnTo>
                    <a:lnTo>
                      <a:pt x="29" y="181"/>
                    </a:lnTo>
                    <a:lnTo>
                      <a:pt x="29" y="177"/>
                    </a:lnTo>
                    <a:lnTo>
                      <a:pt x="31" y="175"/>
                    </a:lnTo>
                    <a:lnTo>
                      <a:pt x="33" y="175"/>
                    </a:lnTo>
                    <a:lnTo>
                      <a:pt x="35" y="177"/>
                    </a:lnTo>
                    <a:lnTo>
                      <a:pt x="37" y="181"/>
                    </a:lnTo>
                    <a:lnTo>
                      <a:pt x="38" y="183"/>
                    </a:lnTo>
                    <a:lnTo>
                      <a:pt x="38" y="183"/>
                    </a:lnTo>
                    <a:lnTo>
                      <a:pt x="38" y="181"/>
                    </a:lnTo>
                    <a:lnTo>
                      <a:pt x="38" y="181"/>
                    </a:lnTo>
                    <a:lnTo>
                      <a:pt x="40" y="183"/>
                    </a:lnTo>
                    <a:lnTo>
                      <a:pt x="40" y="183"/>
                    </a:lnTo>
                    <a:lnTo>
                      <a:pt x="40" y="183"/>
                    </a:lnTo>
                    <a:lnTo>
                      <a:pt x="40" y="185"/>
                    </a:lnTo>
                    <a:lnTo>
                      <a:pt x="42" y="187"/>
                    </a:lnTo>
                    <a:lnTo>
                      <a:pt x="42" y="187"/>
                    </a:lnTo>
                    <a:lnTo>
                      <a:pt x="42" y="191"/>
                    </a:lnTo>
                    <a:lnTo>
                      <a:pt x="42" y="193"/>
                    </a:lnTo>
                    <a:lnTo>
                      <a:pt x="46" y="202"/>
                    </a:lnTo>
                    <a:lnTo>
                      <a:pt x="46" y="206"/>
                    </a:lnTo>
                    <a:lnTo>
                      <a:pt x="48" y="206"/>
                    </a:lnTo>
                    <a:lnTo>
                      <a:pt x="48" y="206"/>
                    </a:lnTo>
                    <a:lnTo>
                      <a:pt x="48" y="208"/>
                    </a:lnTo>
                    <a:lnTo>
                      <a:pt x="48" y="212"/>
                    </a:lnTo>
                    <a:lnTo>
                      <a:pt x="50" y="212"/>
                    </a:lnTo>
                    <a:lnTo>
                      <a:pt x="52" y="214"/>
                    </a:lnTo>
                    <a:lnTo>
                      <a:pt x="52" y="215"/>
                    </a:lnTo>
                    <a:lnTo>
                      <a:pt x="54" y="215"/>
                    </a:lnTo>
                    <a:lnTo>
                      <a:pt x="56" y="215"/>
                    </a:lnTo>
                    <a:lnTo>
                      <a:pt x="57" y="217"/>
                    </a:lnTo>
                    <a:lnTo>
                      <a:pt x="57" y="219"/>
                    </a:lnTo>
                    <a:lnTo>
                      <a:pt x="57" y="219"/>
                    </a:lnTo>
                    <a:lnTo>
                      <a:pt x="59" y="217"/>
                    </a:lnTo>
                    <a:lnTo>
                      <a:pt x="59" y="217"/>
                    </a:lnTo>
                    <a:lnTo>
                      <a:pt x="59" y="215"/>
                    </a:lnTo>
                    <a:lnTo>
                      <a:pt x="61" y="215"/>
                    </a:lnTo>
                    <a:lnTo>
                      <a:pt x="61" y="214"/>
                    </a:lnTo>
                    <a:lnTo>
                      <a:pt x="63" y="214"/>
                    </a:lnTo>
                    <a:lnTo>
                      <a:pt x="63" y="215"/>
                    </a:lnTo>
                    <a:lnTo>
                      <a:pt x="65" y="215"/>
                    </a:lnTo>
                    <a:lnTo>
                      <a:pt x="65" y="215"/>
                    </a:lnTo>
                    <a:lnTo>
                      <a:pt x="67" y="214"/>
                    </a:lnTo>
                    <a:lnTo>
                      <a:pt x="71" y="214"/>
                    </a:lnTo>
                    <a:lnTo>
                      <a:pt x="73" y="212"/>
                    </a:lnTo>
                    <a:lnTo>
                      <a:pt x="73" y="212"/>
                    </a:lnTo>
                    <a:lnTo>
                      <a:pt x="75" y="210"/>
                    </a:lnTo>
                    <a:lnTo>
                      <a:pt x="77" y="208"/>
                    </a:lnTo>
                    <a:lnTo>
                      <a:pt x="78" y="206"/>
                    </a:lnTo>
                    <a:lnTo>
                      <a:pt x="78" y="204"/>
                    </a:lnTo>
                    <a:lnTo>
                      <a:pt x="78" y="204"/>
                    </a:lnTo>
                    <a:lnTo>
                      <a:pt x="78" y="204"/>
                    </a:lnTo>
                    <a:lnTo>
                      <a:pt x="78" y="202"/>
                    </a:lnTo>
                    <a:lnTo>
                      <a:pt x="80" y="202"/>
                    </a:lnTo>
                    <a:lnTo>
                      <a:pt x="80" y="202"/>
                    </a:lnTo>
                    <a:lnTo>
                      <a:pt x="80" y="202"/>
                    </a:lnTo>
                    <a:lnTo>
                      <a:pt x="82" y="200"/>
                    </a:lnTo>
                    <a:lnTo>
                      <a:pt x="84" y="200"/>
                    </a:lnTo>
                    <a:lnTo>
                      <a:pt x="82" y="198"/>
                    </a:lnTo>
                    <a:lnTo>
                      <a:pt x="80" y="194"/>
                    </a:lnTo>
                    <a:lnTo>
                      <a:pt x="78" y="185"/>
                    </a:lnTo>
                    <a:lnTo>
                      <a:pt x="78" y="179"/>
                    </a:lnTo>
                    <a:lnTo>
                      <a:pt x="77" y="175"/>
                    </a:lnTo>
                    <a:lnTo>
                      <a:pt x="78" y="168"/>
                    </a:lnTo>
                    <a:lnTo>
                      <a:pt x="82" y="162"/>
                    </a:lnTo>
                    <a:lnTo>
                      <a:pt x="86" y="156"/>
                    </a:lnTo>
                    <a:lnTo>
                      <a:pt x="88" y="155"/>
                    </a:lnTo>
                    <a:lnTo>
                      <a:pt x="96" y="153"/>
                    </a:lnTo>
                    <a:lnTo>
                      <a:pt x="98" y="151"/>
                    </a:lnTo>
                    <a:lnTo>
                      <a:pt x="99" y="149"/>
                    </a:lnTo>
                    <a:lnTo>
                      <a:pt x="101" y="145"/>
                    </a:lnTo>
                    <a:lnTo>
                      <a:pt x="101" y="139"/>
                    </a:lnTo>
                    <a:lnTo>
                      <a:pt x="98" y="122"/>
                    </a:lnTo>
                    <a:lnTo>
                      <a:pt x="98" y="118"/>
                    </a:lnTo>
                    <a:lnTo>
                      <a:pt x="99" y="115"/>
                    </a:lnTo>
                    <a:lnTo>
                      <a:pt x="99" y="113"/>
                    </a:lnTo>
                    <a:lnTo>
                      <a:pt x="101" y="113"/>
                    </a:lnTo>
                    <a:lnTo>
                      <a:pt x="103" y="115"/>
                    </a:lnTo>
                    <a:lnTo>
                      <a:pt x="103" y="116"/>
                    </a:lnTo>
                    <a:lnTo>
                      <a:pt x="109" y="124"/>
                    </a:lnTo>
                    <a:lnTo>
                      <a:pt x="111" y="124"/>
                    </a:lnTo>
                    <a:lnTo>
                      <a:pt x="115" y="124"/>
                    </a:lnTo>
                    <a:lnTo>
                      <a:pt x="117" y="122"/>
                    </a:lnTo>
                    <a:lnTo>
                      <a:pt x="120" y="116"/>
                    </a:lnTo>
                    <a:lnTo>
                      <a:pt x="122" y="115"/>
                    </a:lnTo>
                    <a:lnTo>
                      <a:pt x="128" y="113"/>
                    </a:lnTo>
                    <a:lnTo>
                      <a:pt x="130" y="116"/>
                    </a:lnTo>
                    <a:lnTo>
                      <a:pt x="132" y="120"/>
                    </a:lnTo>
                    <a:lnTo>
                      <a:pt x="134" y="124"/>
                    </a:lnTo>
                    <a:lnTo>
                      <a:pt x="136" y="122"/>
                    </a:lnTo>
                    <a:lnTo>
                      <a:pt x="138" y="115"/>
                    </a:lnTo>
                    <a:lnTo>
                      <a:pt x="139" y="115"/>
                    </a:lnTo>
                    <a:lnTo>
                      <a:pt x="141" y="115"/>
                    </a:lnTo>
                    <a:lnTo>
                      <a:pt x="141" y="116"/>
                    </a:lnTo>
                    <a:lnTo>
                      <a:pt x="143" y="113"/>
                    </a:lnTo>
                    <a:lnTo>
                      <a:pt x="141" y="105"/>
                    </a:lnTo>
                    <a:lnTo>
                      <a:pt x="143" y="103"/>
                    </a:lnTo>
                    <a:lnTo>
                      <a:pt x="143" y="101"/>
                    </a:lnTo>
                    <a:lnTo>
                      <a:pt x="143" y="101"/>
                    </a:lnTo>
                    <a:lnTo>
                      <a:pt x="143" y="101"/>
                    </a:lnTo>
                    <a:lnTo>
                      <a:pt x="143" y="99"/>
                    </a:lnTo>
                    <a:lnTo>
                      <a:pt x="143" y="99"/>
                    </a:lnTo>
                    <a:lnTo>
                      <a:pt x="143" y="97"/>
                    </a:lnTo>
                    <a:lnTo>
                      <a:pt x="143" y="97"/>
                    </a:lnTo>
                    <a:lnTo>
                      <a:pt x="145" y="96"/>
                    </a:lnTo>
                    <a:lnTo>
                      <a:pt x="145" y="96"/>
                    </a:lnTo>
                    <a:lnTo>
                      <a:pt x="145" y="96"/>
                    </a:lnTo>
                    <a:lnTo>
                      <a:pt x="145" y="96"/>
                    </a:lnTo>
                    <a:lnTo>
                      <a:pt x="147" y="96"/>
                    </a:lnTo>
                    <a:lnTo>
                      <a:pt x="147" y="96"/>
                    </a:lnTo>
                    <a:lnTo>
                      <a:pt x="147" y="96"/>
                    </a:lnTo>
                    <a:lnTo>
                      <a:pt x="147" y="96"/>
                    </a:lnTo>
                    <a:lnTo>
                      <a:pt x="147" y="96"/>
                    </a:lnTo>
                    <a:lnTo>
                      <a:pt x="149" y="96"/>
                    </a:lnTo>
                    <a:lnTo>
                      <a:pt x="149" y="96"/>
                    </a:lnTo>
                    <a:lnTo>
                      <a:pt x="149" y="96"/>
                    </a:lnTo>
                    <a:lnTo>
                      <a:pt x="149" y="96"/>
                    </a:lnTo>
                    <a:lnTo>
                      <a:pt x="149" y="94"/>
                    </a:lnTo>
                    <a:lnTo>
                      <a:pt x="149" y="92"/>
                    </a:lnTo>
                    <a:lnTo>
                      <a:pt x="149" y="92"/>
                    </a:lnTo>
                    <a:lnTo>
                      <a:pt x="149" y="90"/>
                    </a:lnTo>
                    <a:lnTo>
                      <a:pt x="149" y="90"/>
                    </a:lnTo>
                    <a:lnTo>
                      <a:pt x="149" y="88"/>
                    </a:lnTo>
                    <a:lnTo>
                      <a:pt x="149" y="88"/>
                    </a:lnTo>
                    <a:lnTo>
                      <a:pt x="149" y="88"/>
                    </a:lnTo>
                    <a:lnTo>
                      <a:pt x="149" y="84"/>
                    </a:lnTo>
                    <a:lnTo>
                      <a:pt x="149" y="82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7" name="Freeform 9">
                <a:extLst>
                  <a:ext uri="{FF2B5EF4-FFF2-40B4-BE49-F238E27FC236}">
                    <a16:creationId xmlns:a16="http://schemas.microsoft.com/office/drawing/2014/main" id="{C841B784-98B0-4297-AAAC-34C3EE0A77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594" y="5345586"/>
                <a:ext cx="904875" cy="849313"/>
              </a:xfrm>
              <a:custGeom>
                <a:avLst/>
                <a:gdLst>
                  <a:gd name="T0" fmla="*/ 536 w 570"/>
                  <a:gd name="T1" fmla="*/ 274 h 535"/>
                  <a:gd name="T2" fmla="*/ 487 w 570"/>
                  <a:gd name="T3" fmla="*/ 272 h 535"/>
                  <a:gd name="T4" fmla="*/ 466 w 570"/>
                  <a:gd name="T5" fmla="*/ 230 h 535"/>
                  <a:gd name="T6" fmla="*/ 446 w 570"/>
                  <a:gd name="T7" fmla="*/ 227 h 535"/>
                  <a:gd name="T8" fmla="*/ 433 w 570"/>
                  <a:gd name="T9" fmla="*/ 198 h 535"/>
                  <a:gd name="T10" fmla="*/ 391 w 570"/>
                  <a:gd name="T11" fmla="*/ 170 h 535"/>
                  <a:gd name="T12" fmla="*/ 355 w 570"/>
                  <a:gd name="T13" fmla="*/ 158 h 535"/>
                  <a:gd name="T14" fmla="*/ 334 w 570"/>
                  <a:gd name="T15" fmla="*/ 97 h 535"/>
                  <a:gd name="T16" fmla="*/ 340 w 570"/>
                  <a:gd name="T17" fmla="*/ 59 h 535"/>
                  <a:gd name="T18" fmla="*/ 311 w 570"/>
                  <a:gd name="T19" fmla="*/ 38 h 535"/>
                  <a:gd name="T20" fmla="*/ 288 w 570"/>
                  <a:gd name="T21" fmla="*/ 48 h 535"/>
                  <a:gd name="T22" fmla="*/ 244 w 570"/>
                  <a:gd name="T23" fmla="*/ 33 h 535"/>
                  <a:gd name="T24" fmla="*/ 210 w 570"/>
                  <a:gd name="T25" fmla="*/ 36 h 535"/>
                  <a:gd name="T26" fmla="*/ 180 w 570"/>
                  <a:gd name="T27" fmla="*/ 14 h 535"/>
                  <a:gd name="T28" fmla="*/ 145 w 570"/>
                  <a:gd name="T29" fmla="*/ 10 h 535"/>
                  <a:gd name="T30" fmla="*/ 143 w 570"/>
                  <a:gd name="T31" fmla="*/ 27 h 535"/>
                  <a:gd name="T32" fmla="*/ 118 w 570"/>
                  <a:gd name="T33" fmla="*/ 65 h 535"/>
                  <a:gd name="T34" fmla="*/ 98 w 570"/>
                  <a:gd name="T35" fmla="*/ 82 h 535"/>
                  <a:gd name="T36" fmla="*/ 80 w 570"/>
                  <a:gd name="T37" fmla="*/ 80 h 535"/>
                  <a:gd name="T38" fmla="*/ 63 w 570"/>
                  <a:gd name="T39" fmla="*/ 111 h 535"/>
                  <a:gd name="T40" fmla="*/ 71 w 570"/>
                  <a:gd name="T41" fmla="*/ 124 h 535"/>
                  <a:gd name="T42" fmla="*/ 73 w 570"/>
                  <a:gd name="T43" fmla="*/ 145 h 535"/>
                  <a:gd name="T44" fmla="*/ 52 w 570"/>
                  <a:gd name="T45" fmla="*/ 175 h 535"/>
                  <a:gd name="T46" fmla="*/ 33 w 570"/>
                  <a:gd name="T47" fmla="*/ 196 h 535"/>
                  <a:gd name="T48" fmla="*/ 42 w 570"/>
                  <a:gd name="T49" fmla="*/ 236 h 535"/>
                  <a:gd name="T50" fmla="*/ 35 w 570"/>
                  <a:gd name="T51" fmla="*/ 270 h 535"/>
                  <a:gd name="T52" fmla="*/ 19 w 570"/>
                  <a:gd name="T53" fmla="*/ 299 h 535"/>
                  <a:gd name="T54" fmla="*/ 54 w 570"/>
                  <a:gd name="T55" fmla="*/ 307 h 535"/>
                  <a:gd name="T56" fmla="*/ 16 w 570"/>
                  <a:gd name="T57" fmla="*/ 360 h 535"/>
                  <a:gd name="T58" fmla="*/ 21 w 570"/>
                  <a:gd name="T59" fmla="*/ 409 h 535"/>
                  <a:gd name="T60" fmla="*/ 23 w 570"/>
                  <a:gd name="T61" fmla="*/ 430 h 535"/>
                  <a:gd name="T62" fmla="*/ 27 w 570"/>
                  <a:gd name="T63" fmla="*/ 463 h 535"/>
                  <a:gd name="T64" fmla="*/ 29 w 570"/>
                  <a:gd name="T65" fmla="*/ 501 h 535"/>
                  <a:gd name="T66" fmla="*/ 48 w 570"/>
                  <a:gd name="T67" fmla="*/ 527 h 535"/>
                  <a:gd name="T68" fmla="*/ 73 w 570"/>
                  <a:gd name="T69" fmla="*/ 527 h 535"/>
                  <a:gd name="T70" fmla="*/ 99 w 570"/>
                  <a:gd name="T71" fmla="*/ 525 h 535"/>
                  <a:gd name="T72" fmla="*/ 117 w 570"/>
                  <a:gd name="T73" fmla="*/ 525 h 535"/>
                  <a:gd name="T74" fmla="*/ 136 w 570"/>
                  <a:gd name="T75" fmla="*/ 506 h 535"/>
                  <a:gd name="T76" fmla="*/ 176 w 570"/>
                  <a:gd name="T77" fmla="*/ 502 h 535"/>
                  <a:gd name="T78" fmla="*/ 199 w 570"/>
                  <a:gd name="T79" fmla="*/ 493 h 535"/>
                  <a:gd name="T80" fmla="*/ 212 w 570"/>
                  <a:gd name="T81" fmla="*/ 485 h 535"/>
                  <a:gd name="T82" fmla="*/ 248 w 570"/>
                  <a:gd name="T83" fmla="*/ 472 h 535"/>
                  <a:gd name="T84" fmla="*/ 262 w 570"/>
                  <a:gd name="T85" fmla="*/ 436 h 535"/>
                  <a:gd name="T86" fmla="*/ 303 w 570"/>
                  <a:gd name="T87" fmla="*/ 423 h 535"/>
                  <a:gd name="T88" fmla="*/ 342 w 570"/>
                  <a:gd name="T89" fmla="*/ 426 h 535"/>
                  <a:gd name="T90" fmla="*/ 343 w 570"/>
                  <a:gd name="T91" fmla="*/ 400 h 535"/>
                  <a:gd name="T92" fmla="*/ 363 w 570"/>
                  <a:gd name="T93" fmla="*/ 381 h 535"/>
                  <a:gd name="T94" fmla="*/ 384 w 570"/>
                  <a:gd name="T95" fmla="*/ 392 h 535"/>
                  <a:gd name="T96" fmla="*/ 395 w 570"/>
                  <a:gd name="T97" fmla="*/ 404 h 535"/>
                  <a:gd name="T98" fmla="*/ 416 w 570"/>
                  <a:gd name="T99" fmla="*/ 411 h 535"/>
                  <a:gd name="T100" fmla="*/ 418 w 570"/>
                  <a:gd name="T101" fmla="*/ 394 h 535"/>
                  <a:gd name="T102" fmla="*/ 395 w 570"/>
                  <a:gd name="T103" fmla="*/ 386 h 535"/>
                  <a:gd name="T104" fmla="*/ 391 w 570"/>
                  <a:gd name="T105" fmla="*/ 373 h 535"/>
                  <a:gd name="T106" fmla="*/ 405 w 570"/>
                  <a:gd name="T107" fmla="*/ 373 h 535"/>
                  <a:gd name="T108" fmla="*/ 424 w 570"/>
                  <a:gd name="T109" fmla="*/ 367 h 535"/>
                  <a:gd name="T110" fmla="*/ 439 w 570"/>
                  <a:gd name="T111" fmla="*/ 375 h 535"/>
                  <a:gd name="T112" fmla="*/ 454 w 570"/>
                  <a:gd name="T113" fmla="*/ 362 h 535"/>
                  <a:gd name="T114" fmla="*/ 464 w 570"/>
                  <a:gd name="T115" fmla="*/ 356 h 535"/>
                  <a:gd name="T116" fmla="*/ 492 w 570"/>
                  <a:gd name="T117" fmla="*/ 346 h 535"/>
                  <a:gd name="T118" fmla="*/ 513 w 570"/>
                  <a:gd name="T119" fmla="*/ 329 h 535"/>
                  <a:gd name="T120" fmla="*/ 532 w 570"/>
                  <a:gd name="T121" fmla="*/ 322 h 535"/>
                  <a:gd name="T122" fmla="*/ 534 w 570"/>
                  <a:gd name="T123" fmla="*/ 301 h 535"/>
                  <a:gd name="T124" fmla="*/ 555 w 570"/>
                  <a:gd name="T125" fmla="*/ 280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0" h="535">
                    <a:moveTo>
                      <a:pt x="570" y="270"/>
                    </a:moveTo>
                    <a:lnTo>
                      <a:pt x="569" y="268"/>
                    </a:lnTo>
                    <a:lnTo>
                      <a:pt x="569" y="267"/>
                    </a:lnTo>
                    <a:lnTo>
                      <a:pt x="567" y="267"/>
                    </a:lnTo>
                    <a:lnTo>
                      <a:pt x="567" y="265"/>
                    </a:lnTo>
                    <a:lnTo>
                      <a:pt x="565" y="263"/>
                    </a:lnTo>
                    <a:lnTo>
                      <a:pt x="565" y="263"/>
                    </a:lnTo>
                    <a:lnTo>
                      <a:pt x="565" y="263"/>
                    </a:lnTo>
                    <a:lnTo>
                      <a:pt x="563" y="263"/>
                    </a:lnTo>
                    <a:lnTo>
                      <a:pt x="561" y="265"/>
                    </a:lnTo>
                    <a:lnTo>
                      <a:pt x="561" y="267"/>
                    </a:lnTo>
                    <a:lnTo>
                      <a:pt x="559" y="268"/>
                    </a:lnTo>
                    <a:lnTo>
                      <a:pt x="557" y="268"/>
                    </a:lnTo>
                    <a:lnTo>
                      <a:pt x="553" y="270"/>
                    </a:lnTo>
                    <a:lnTo>
                      <a:pt x="551" y="270"/>
                    </a:lnTo>
                    <a:lnTo>
                      <a:pt x="548" y="272"/>
                    </a:lnTo>
                    <a:lnTo>
                      <a:pt x="546" y="274"/>
                    </a:lnTo>
                    <a:lnTo>
                      <a:pt x="542" y="276"/>
                    </a:lnTo>
                    <a:lnTo>
                      <a:pt x="540" y="276"/>
                    </a:lnTo>
                    <a:lnTo>
                      <a:pt x="536" y="274"/>
                    </a:lnTo>
                    <a:lnTo>
                      <a:pt x="534" y="272"/>
                    </a:lnTo>
                    <a:lnTo>
                      <a:pt x="532" y="272"/>
                    </a:lnTo>
                    <a:lnTo>
                      <a:pt x="532" y="274"/>
                    </a:lnTo>
                    <a:lnTo>
                      <a:pt x="532" y="276"/>
                    </a:lnTo>
                    <a:lnTo>
                      <a:pt x="530" y="278"/>
                    </a:lnTo>
                    <a:lnTo>
                      <a:pt x="530" y="278"/>
                    </a:lnTo>
                    <a:lnTo>
                      <a:pt x="528" y="278"/>
                    </a:lnTo>
                    <a:lnTo>
                      <a:pt x="528" y="278"/>
                    </a:lnTo>
                    <a:lnTo>
                      <a:pt x="527" y="278"/>
                    </a:lnTo>
                    <a:lnTo>
                      <a:pt x="519" y="276"/>
                    </a:lnTo>
                    <a:lnTo>
                      <a:pt x="509" y="276"/>
                    </a:lnTo>
                    <a:lnTo>
                      <a:pt x="504" y="276"/>
                    </a:lnTo>
                    <a:lnTo>
                      <a:pt x="502" y="276"/>
                    </a:lnTo>
                    <a:lnTo>
                      <a:pt x="498" y="276"/>
                    </a:lnTo>
                    <a:lnTo>
                      <a:pt x="496" y="274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90" y="272"/>
                    </a:lnTo>
                    <a:lnTo>
                      <a:pt x="488" y="272"/>
                    </a:lnTo>
                    <a:lnTo>
                      <a:pt x="487" y="272"/>
                    </a:lnTo>
                    <a:lnTo>
                      <a:pt x="485" y="274"/>
                    </a:lnTo>
                    <a:lnTo>
                      <a:pt x="481" y="276"/>
                    </a:lnTo>
                    <a:lnTo>
                      <a:pt x="477" y="278"/>
                    </a:lnTo>
                    <a:lnTo>
                      <a:pt x="475" y="280"/>
                    </a:lnTo>
                    <a:lnTo>
                      <a:pt x="473" y="280"/>
                    </a:lnTo>
                    <a:lnTo>
                      <a:pt x="471" y="278"/>
                    </a:lnTo>
                    <a:lnTo>
                      <a:pt x="469" y="276"/>
                    </a:lnTo>
                    <a:lnTo>
                      <a:pt x="467" y="270"/>
                    </a:lnTo>
                    <a:lnTo>
                      <a:pt x="467" y="255"/>
                    </a:lnTo>
                    <a:lnTo>
                      <a:pt x="467" y="253"/>
                    </a:lnTo>
                    <a:lnTo>
                      <a:pt x="464" y="248"/>
                    </a:lnTo>
                    <a:lnTo>
                      <a:pt x="464" y="246"/>
                    </a:lnTo>
                    <a:lnTo>
                      <a:pt x="464" y="244"/>
                    </a:lnTo>
                    <a:lnTo>
                      <a:pt x="462" y="242"/>
                    </a:lnTo>
                    <a:lnTo>
                      <a:pt x="462" y="238"/>
                    </a:lnTo>
                    <a:lnTo>
                      <a:pt x="464" y="236"/>
                    </a:lnTo>
                    <a:lnTo>
                      <a:pt x="464" y="234"/>
                    </a:lnTo>
                    <a:lnTo>
                      <a:pt x="466" y="232"/>
                    </a:lnTo>
                    <a:lnTo>
                      <a:pt x="466" y="232"/>
                    </a:lnTo>
                    <a:lnTo>
                      <a:pt x="466" y="230"/>
                    </a:lnTo>
                    <a:lnTo>
                      <a:pt x="464" y="230"/>
                    </a:lnTo>
                    <a:lnTo>
                      <a:pt x="462" y="230"/>
                    </a:lnTo>
                    <a:lnTo>
                      <a:pt x="460" y="230"/>
                    </a:lnTo>
                    <a:lnTo>
                      <a:pt x="458" y="232"/>
                    </a:lnTo>
                    <a:lnTo>
                      <a:pt x="456" y="232"/>
                    </a:lnTo>
                    <a:lnTo>
                      <a:pt x="454" y="232"/>
                    </a:lnTo>
                    <a:lnTo>
                      <a:pt x="452" y="230"/>
                    </a:lnTo>
                    <a:lnTo>
                      <a:pt x="452" y="230"/>
                    </a:lnTo>
                    <a:lnTo>
                      <a:pt x="452" y="228"/>
                    </a:lnTo>
                    <a:lnTo>
                      <a:pt x="452" y="227"/>
                    </a:lnTo>
                    <a:lnTo>
                      <a:pt x="452" y="225"/>
                    </a:lnTo>
                    <a:lnTo>
                      <a:pt x="450" y="223"/>
                    </a:lnTo>
                    <a:lnTo>
                      <a:pt x="450" y="221"/>
                    </a:lnTo>
                    <a:lnTo>
                      <a:pt x="448" y="221"/>
                    </a:lnTo>
                    <a:lnTo>
                      <a:pt x="448" y="223"/>
                    </a:lnTo>
                    <a:lnTo>
                      <a:pt x="446" y="223"/>
                    </a:lnTo>
                    <a:lnTo>
                      <a:pt x="446" y="223"/>
                    </a:lnTo>
                    <a:lnTo>
                      <a:pt x="446" y="227"/>
                    </a:lnTo>
                    <a:lnTo>
                      <a:pt x="446" y="227"/>
                    </a:lnTo>
                    <a:lnTo>
                      <a:pt x="446" y="227"/>
                    </a:lnTo>
                    <a:lnTo>
                      <a:pt x="445" y="228"/>
                    </a:lnTo>
                    <a:lnTo>
                      <a:pt x="445" y="228"/>
                    </a:lnTo>
                    <a:lnTo>
                      <a:pt x="443" y="228"/>
                    </a:lnTo>
                    <a:lnTo>
                      <a:pt x="439" y="228"/>
                    </a:lnTo>
                    <a:lnTo>
                      <a:pt x="437" y="228"/>
                    </a:lnTo>
                    <a:lnTo>
                      <a:pt x="437" y="227"/>
                    </a:lnTo>
                    <a:lnTo>
                      <a:pt x="437" y="225"/>
                    </a:lnTo>
                    <a:lnTo>
                      <a:pt x="437" y="225"/>
                    </a:lnTo>
                    <a:lnTo>
                      <a:pt x="437" y="223"/>
                    </a:lnTo>
                    <a:lnTo>
                      <a:pt x="437" y="223"/>
                    </a:lnTo>
                    <a:lnTo>
                      <a:pt x="439" y="221"/>
                    </a:lnTo>
                    <a:lnTo>
                      <a:pt x="441" y="221"/>
                    </a:lnTo>
                    <a:lnTo>
                      <a:pt x="441" y="219"/>
                    </a:lnTo>
                    <a:lnTo>
                      <a:pt x="443" y="219"/>
                    </a:lnTo>
                    <a:lnTo>
                      <a:pt x="443" y="217"/>
                    </a:lnTo>
                    <a:lnTo>
                      <a:pt x="441" y="215"/>
                    </a:lnTo>
                    <a:lnTo>
                      <a:pt x="439" y="211"/>
                    </a:lnTo>
                    <a:lnTo>
                      <a:pt x="435" y="204"/>
                    </a:lnTo>
                    <a:lnTo>
                      <a:pt x="433" y="200"/>
                    </a:lnTo>
                    <a:lnTo>
                      <a:pt x="433" y="198"/>
                    </a:lnTo>
                    <a:lnTo>
                      <a:pt x="431" y="196"/>
                    </a:lnTo>
                    <a:lnTo>
                      <a:pt x="429" y="192"/>
                    </a:lnTo>
                    <a:lnTo>
                      <a:pt x="427" y="190"/>
                    </a:lnTo>
                    <a:lnTo>
                      <a:pt x="425" y="189"/>
                    </a:lnTo>
                    <a:lnTo>
                      <a:pt x="424" y="185"/>
                    </a:lnTo>
                    <a:lnTo>
                      <a:pt x="418" y="179"/>
                    </a:lnTo>
                    <a:lnTo>
                      <a:pt x="416" y="175"/>
                    </a:lnTo>
                    <a:lnTo>
                      <a:pt x="414" y="175"/>
                    </a:lnTo>
                    <a:lnTo>
                      <a:pt x="410" y="173"/>
                    </a:lnTo>
                    <a:lnTo>
                      <a:pt x="410" y="173"/>
                    </a:lnTo>
                    <a:lnTo>
                      <a:pt x="408" y="171"/>
                    </a:lnTo>
                    <a:lnTo>
                      <a:pt x="406" y="170"/>
                    </a:lnTo>
                    <a:lnTo>
                      <a:pt x="403" y="170"/>
                    </a:lnTo>
                    <a:lnTo>
                      <a:pt x="399" y="171"/>
                    </a:lnTo>
                    <a:lnTo>
                      <a:pt x="397" y="173"/>
                    </a:lnTo>
                    <a:lnTo>
                      <a:pt x="395" y="171"/>
                    </a:lnTo>
                    <a:lnTo>
                      <a:pt x="393" y="170"/>
                    </a:lnTo>
                    <a:lnTo>
                      <a:pt x="393" y="170"/>
                    </a:lnTo>
                    <a:lnTo>
                      <a:pt x="391" y="170"/>
                    </a:lnTo>
                    <a:lnTo>
                      <a:pt x="391" y="170"/>
                    </a:lnTo>
                    <a:lnTo>
                      <a:pt x="389" y="171"/>
                    </a:lnTo>
                    <a:lnTo>
                      <a:pt x="389" y="171"/>
                    </a:lnTo>
                    <a:lnTo>
                      <a:pt x="387" y="171"/>
                    </a:lnTo>
                    <a:lnTo>
                      <a:pt x="387" y="170"/>
                    </a:lnTo>
                    <a:lnTo>
                      <a:pt x="387" y="168"/>
                    </a:lnTo>
                    <a:lnTo>
                      <a:pt x="385" y="168"/>
                    </a:lnTo>
                    <a:lnTo>
                      <a:pt x="385" y="166"/>
                    </a:lnTo>
                    <a:lnTo>
                      <a:pt x="384" y="164"/>
                    </a:lnTo>
                    <a:lnTo>
                      <a:pt x="384" y="162"/>
                    </a:lnTo>
                    <a:lnTo>
                      <a:pt x="384" y="160"/>
                    </a:lnTo>
                    <a:lnTo>
                      <a:pt x="384" y="158"/>
                    </a:lnTo>
                    <a:lnTo>
                      <a:pt x="384" y="156"/>
                    </a:lnTo>
                    <a:lnTo>
                      <a:pt x="382" y="156"/>
                    </a:lnTo>
                    <a:lnTo>
                      <a:pt x="380" y="156"/>
                    </a:lnTo>
                    <a:lnTo>
                      <a:pt x="378" y="156"/>
                    </a:lnTo>
                    <a:lnTo>
                      <a:pt x="376" y="158"/>
                    </a:lnTo>
                    <a:lnTo>
                      <a:pt x="376" y="158"/>
                    </a:lnTo>
                    <a:lnTo>
                      <a:pt x="366" y="158"/>
                    </a:lnTo>
                    <a:lnTo>
                      <a:pt x="357" y="158"/>
                    </a:lnTo>
                    <a:lnTo>
                      <a:pt x="355" y="158"/>
                    </a:lnTo>
                    <a:lnTo>
                      <a:pt x="353" y="154"/>
                    </a:lnTo>
                    <a:lnTo>
                      <a:pt x="353" y="152"/>
                    </a:lnTo>
                    <a:lnTo>
                      <a:pt x="349" y="150"/>
                    </a:lnTo>
                    <a:lnTo>
                      <a:pt x="345" y="147"/>
                    </a:lnTo>
                    <a:lnTo>
                      <a:pt x="340" y="145"/>
                    </a:lnTo>
                    <a:lnTo>
                      <a:pt x="334" y="141"/>
                    </a:lnTo>
                    <a:lnTo>
                      <a:pt x="334" y="141"/>
                    </a:lnTo>
                    <a:lnTo>
                      <a:pt x="338" y="137"/>
                    </a:lnTo>
                    <a:lnTo>
                      <a:pt x="340" y="135"/>
                    </a:lnTo>
                    <a:lnTo>
                      <a:pt x="340" y="133"/>
                    </a:lnTo>
                    <a:lnTo>
                      <a:pt x="340" y="126"/>
                    </a:lnTo>
                    <a:lnTo>
                      <a:pt x="340" y="122"/>
                    </a:lnTo>
                    <a:lnTo>
                      <a:pt x="338" y="112"/>
                    </a:lnTo>
                    <a:lnTo>
                      <a:pt x="336" y="111"/>
                    </a:lnTo>
                    <a:lnTo>
                      <a:pt x="330" y="112"/>
                    </a:lnTo>
                    <a:lnTo>
                      <a:pt x="328" y="112"/>
                    </a:lnTo>
                    <a:lnTo>
                      <a:pt x="328" y="107"/>
                    </a:lnTo>
                    <a:lnTo>
                      <a:pt x="328" y="103"/>
                    </a:lnTo>
                    <a:lnTo>
                      <a:pt x="332" y="99"/>
                    </a:lnTo>
                    <a:lnTo>
                      <a:pt x="334" y="97"/>
                    </a:lnTo>
                    <a:lnTo>
                      <a:pt x="338" y="95"/>
                    </a:lnTo>
                    <a:lnTo>
                      <a:pt x="336" y="93"/>
                    </a:lnTo>
                    <a:lnTo>
                      <a:pt x="336" y="90"/>
                    </a:lnTo>
                    <a:lnTo>
                      <a:pt x="336" y="88"/>
                    </a:lnTo>
                    <a:lnTo>
                      <a:pt x="336" y="86"/>
                    </a:lnTo>
                    <a:lnTo>
                      <a:pt x="336" y="84"/>
                    </a:lnTo>
                    <a:lnTo>
                      <a:pt x="336" y="84"/>
                    </a:lnTo>
                    <a:lnTo>
                      <a:pt x="336" y="82"/>
                    </a:lnTo>
                    <a:lnTo>
                      <a:pt x="336" y="82"/>
                    </a:lnTo>
                    <a:lnTo>
                      <a:pt x="338" y="80"/>
                    </a:lnTo>
                    <a:lnTo>
                      <a:pt x="338" y="80"/>
                    </a:lnTo>
                    <a:lnTo>
                      <a:pt x="340" y="78"/>
                    </a:lnTo>
                    <a:lnTo>
                      <a:pt x="340" y="76"/>
                    </a:lnTo>
                    <a:lnTo>
                      <a:pt x="340" y="74"/>
                    </a:lnTo>
                    <a:lnTo>
                      <a:pt x="340" y="71"/>
                    </a:lnTo>
                    <a:lnTo>
                      <a:pt x="340" y="71"/>
                    </a:lnTo>
                    <a:lnTo>
                      <a:pt x="340" y="65"/>
                    </a:lnTo>
                    <a:lnTo>
                      <a:pt x="340" y="63"/>
                    </a:lnTo>
                    <a:lnTo>
                      <a:pt x="340" y="61"/>
                    </a:lnTo>
                    <a:lnTo>
                      <a:pt x="340" y="59"/>
                    </a:lnTo>
                    <a:lnTo>
                      <a:pt x="340" y="57"/>
                    </a:lnTo>
                    <a:lnTo>
                      <a:pt x="338" y="57"/>
                    </a:lnTo>
                    <a:lnTo>
                      <a:pt x="338" y="57"/>
                    </a:lnTo>
                    <a:lnTo>
                      <a:pt x="336" y="53"/>
                    </a:lnTo>
                    <a:lnTo>
                      <a:pt x="336" y="53"/>
                    </a:lnTo>
                    <a:lnTo>
                      <a:pt x="336" y="53"/>
                    </a:lnTo>
                    <a:lnTo>
                      <a:pt x="334" y="53"/>
                    </a:lnTo>
                    <a:lnTo>
                      <a:pt x="334" y="53"/>
                    </a:lnTo>
                    <a:lnTo>
                      <a:pt x="332" y="52"/>
                    </a:lnTo>
                    <a:lnTo>
                      <a:pt x="328" y="52"/>
                    </a:lnTo>
                    <a:lnTo>
                      <a:pt x="328" y="52"/>
                    </a:lnTo>
                    <a:lnTo>
                      <a:pt x="328" y="50"/>
                    </a:lnTo>
                    <a:lnTo>
                      <a:pt x="326" y="50"/>
                    </a:lnTo>
                    <a:lnTo>
                      <a:pt x="326" y="50"/>
                    </a:lnTo>
                    <a:lnTo>
                      <a:pt x="324" y="46"/>
                    </a:lnTo>
                    <a:lnTo>
                      <a:pt x="324" y="44"/>
                    </a:lnTo>
                    <a:lnTo>
                      <a:pt x="321" y="42"/>
                    </a:lnTo>
                    <a:lnTo>
                      <a:pt x="321" y="40"/>
                    </a:lnTo>
                    <a:lnTo>
                      <a:pt x="319" y="40"/>
                    </a:lnTo>
                    <a:lnTo>
                      <a:pt x="311" y="38"/>
                    </a:lnTo>
                    <a:lnTo>
                      <a:pt x="309" y="38"/>
                    </a:lnTo>
                    <a:lnTo>
                      <a:pt x="309" y="38"/>
                    </a:lnTo>
                    <a:lnTo>
                      <a:pt x="307" y="40"/>
                    </a:lnTo>
                    <a:lnTo>
                      <a:pt x="300" y="42"/>
                    </a:lnTo>
                    <a:lnTo>
                      <a:pt x="298" y="44"/>
                    </a:lnTo>
                    <a:lnTo>
                      <a:pt x="296" y="44"/>
                    </a:lnTo>
                    <a:lnTo>
                      <a:pt x="296" y="44"/>
                    </a:lnTo>
                    <a:lnTo>
                      <a:pt x="296" y="46"/>
                    </a:lnTo>
                    <a:lnTo>
                      <a:pt x="296" y="48"/>
                    </a:lnTo>
                    <a:lnTo>
                      <a:pt x="296" y="48"/>
                    </a:lnTo>
                    <a:lnTo>
                      <a:pt x="294" y="50"/>
                    </a:lnTo>
                    <a:lnTo>
                      <a:pt x="294" y="50"/>
                    </a:lnTo>
                    <a:lnTo>
                      <a:pt x="292" y="52"/>
                    </a:lnTo>
                    <a:lnTo>
                      <a:pt x="292" y="52"/>
                    </a:lnTo>
                    <a:lnTo>
                      <a:pt x="290" y="50"/>
                    </a:lnTo>
                    <a:lnTo>
                      <a:pt x="290" y="50"/>
                    </a:lnTo>
                    <a:lnTo>
                      <a:pt x="290" y="50"/>
                    </a:lnTo>
                    <a:lnTo>
                      <a:pt x="288" y="50"/>
                    </a:lnTo>
                    <a:lnTo>
                      <a:pt x="288" y="48"/>
                    </a:lnTo>
                    <a:lnTo>
                      <a:pt x="288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8"/>
                    </a:lnTo>
                    <a:lnTo>
                      <a:pt x="282" y="48"/>
                    </a:lnTo>
                    <a:lnTo>
                      <a:pt x="271" y="48"/>
                    </a:lnTo>
                    <a:lnTo>
                      <a:pt x="269" y="46"/>
                    </a:lnTo>
                    <a:lnTo>
                      <a:pt x="269" y="46"/>
                    </a:lnTo>
                    <a:lnTo>
                      <a:pt x="267" y="46"/>
                    </a:lnTo>
                    <a:lnTo>
                      <a:pt x="267" y="46"/>
                    </a:lnTo>
                    <a:lnTo>
                      <a:pt x="265" y="42"/>
                    </a:lnTo>
                    <a:lnTo>
                      <a:pt x="265" y="42"/>
                    </a:lnTo>
                    <a:lnTo>
                      <a:pt x="263" y="42"/>
                    </a:lnTo>
                    <a:lnTo>
                      <a:pt x="252" y="40"/>
                    </a:lnTo>
                    <a:lnTo>
                      <a:pt x="250" y="40"/>
                    </a:lnTo>
                    <a:lnTo>
                      <a:pt x="250" y="38"/>
                    </a:lnTo>
                    <a:lnTo>
                      <a:pt x="250" y="38"/>
                    </a:lnTo>
                    <a:lnTo>
                      <a:pt x="248" y="34"/>
                    </a:lnTo>
                    <a:lnTo>
                      <a:pt x="246" y="34"/>
                    </a:lnTo>
                    <a:lnTo>
                      <a:pt x="246" y="33"/>
                    </a:lnTo>
                    <a:lnTo>
                      <a:pt x="244" y="33"/>
                    </a:lnTo>
                    <a:lnTo>
                      <a:pt x="242" y="33"/>
                    </a:lnTo>
                    <a:lnTo>
                      <a:pt x="241" y="33"/>
                    </a:lnTo>
                    <a:lnTo>
                      <a:pt x="233" y="34"/>
                    </a:lnTo>
                    <a:lnTo>
                      <a:pt x="227" y="36"/>
                    </a:lnTo>
                    <a:lnTo>
                      <a:pt x="227" y="36"/>
                    </a:lnTo>
                    <a:lnTo>
                      <a:pt x="227" y="36"/>
                    </a:lnTo>
                    <a:lnTo>
                      <a:pt x="225" y="40"/>
                    </a:lnTo>
                    <a:lnTo>
                      <a:pt x="223" y="40"/>
                    </a:lnTo>
                    <a:lnTo>
                      <a:pt x="221" y="42"/>
                    </a:lnTo>
                    <a:lnTo>
                      <a:pt x="220" y="42"/>
                    </a:lnTo>
                    <a:lnTo>
                      <a:pt x="218" y="42"/>
                    </a:lnTo>
                    <a:lnTo>
                      <a:pt x="218" y="42"/>
                    </a:lnTo>
                    <a:lnTo>
                      <a:pt x="216" y="42"/>
                    </a:lnTo>
                    <a:lnTo>
                      <a:pt x="216" y="40"/>
                    </a:lnTo>
                    <a:lnTo>
                      <a:pt x="216" y="40"/>
                    </a:lnTo>
                    <a:lnTo>
                      <a:pt x="214" y="40"/>
                    </a:lnTo>
                    <a:lnTo>
                      <a:pt x="212" y="40"/>
                    </a:lnTo>
                    <a:lnTo>
                      <a:pt x="212" y="38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0" y="36"/>
                    </a:lnTo>
                    <a:lnTo>
                      <a:pt x="210" y="34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4" y="33"/>
                    </a:lnTo>
                    <a:lnTo>
                      <a:pt x="204" y="33"/>
                    </a:lnTo>
                    <a:lnTo>
                      <a:pt x="202" y="33"/>
                    </a:lnTo>
                    <a:lnTo>
                      <a:pt x="200" y="21"/>
                    </a:lnTo>
                    <a:lnTo>
                      <a:pt x="200" y="21"/>
                    </a:lnTo>
                    <a:lnTo>
                      <a:pt x="200" y="21"/>
                    </a:lnTo>
                    <a:lnTo>
                      <a:pt x="199" y="21"/>
                    </a:lnTo>
                    <a:lnTo>
                      <a:pt x="199" y="19"/>
                    </a:lnTo>
                    <a:lnTo>
                      <a:pt x="197" y="19"/>
                    </a:lnTo>
                    <a:lnTo>
                      <a:pt x="197" y="17"/>
                    </a:lnTo>
                    <a:lnTo>
                      <a:pt x="195" y="17"/>
                    </a:lnTo>
                    <a:lnTo>
                      <a:pt x="191" y="15"/>
                    </a:lnTo>
                    <a:lnTo>
                      <a:pt x="187" y="15"/>
                    </a:lnTo>
                    <a:lnTo>
                      <a:pt x="183" y="15"/>
                    </a:lnTo>
                    <a:lnTo>
                      <a:pt x="183" y="15"/>
                    </a:lnTo>
                    <a:lnTo>
                      <a:pt x="180" y="14"/>
                    </a:lnTo>
                    <a:lnTo>
                      <a:pt x="172" y="10"/>
                    </a:lnTo>
                    <a:lnTo>
                      <a:pt x="170" y="10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4" y="10"/>
                    </a:lnTo>
                    <a:lnTo>
                      <a:pt x="162" y="10"/>
                    </a:lnTo>
                    <a:lnTo>
                      <a:pt x="162" y="8"/>
                    </a:lnTo>
                    <a:lnTo>
                      <a:pt x="160" y="8"/>
                    </a:lnTo>
                    <a:lnTo>
                      <a:pt x="160" y="8"/>
                    </a:lnTo>
                    <a:lnTo>
                      <a:pt x="159" y="10"/>
                    </a:lnTo>
                    <a:lnTo>
                      <a:pt x="159" y="10"/>
                    </a:lnTo>
                    <a:lnTo>
                      <a:pt x="157" y="10"/>
                    </a:lnTo>
                    <a:lnTo>
                      <a:pt x="157" y="10"/>
                    </a:lnTo>
                    <a:lnTo>
                      <a:pt x="157" y="10"/>
                    </a:lnTo>
                    <a:lnTo>
                      <a:pt x="157" y="10"/>
                    </a:lnTo>
                    <a:lnTo>
                      <a:pt x="157" y="12"/>
                    </a:lnTo>
                    <a:lnTo>
                      <a:pt x="155" y="12"/>
                    </a:lnTo>
                    <a:lnTo>
                      <a:pt x="155" y="12"/>
                    </a:lnTo>
                    <a:lnTo>
                      <a:pt x="153" y="12"/>
                    </a:lnTo>
                    <a:lnTo>
                      <a:pt x="145" y="10"/>
                    </a:lnTo>
                    <a:lnTo>
                      <a:pt x="145" y="8"/>
                    </a:lnTo>
                    <a:lnTo>
                      <a:pt x="145" y="8"/>
                    </a:lnTo>
                    <a:lnTo>
                      <a:pt x="145" y="8"/>
                    </a:lnTo>
                    <a:lnTo>
                      <a:pt x="143" y="4"/>
                    </a:lnTo>
                    <a:lnTo>
                      <a:pt x="141" y="4"/>
                    </a:lnTo>
                    <a:lnTo>
                      <a:pt x="141" y="4"/>
                    </a:lnTo>
                    <a:lnTo>
                      <a:pt x="139" y="2"/>
                    </a:lnTo>
                    <a:lnTo>
                      <a:pt x="136" y="0"/>
                    </a:lnTo>
                    <a:lnTo>
                      <a:pt x="134" y="4"/>
                    </a:lnTo>
                    <a:lnTo>
                      <a:pt x="136" y="6"/>
                    </a:lnTo>
                    <a:lnTo>
                      <a:pt x="139" y="17"/>
                    </a:lnTo>
                    <a:lnTo>
                      <a:pt x="139" y="19"/>
                    </a:lnTo>
                    <a:lnTo>
                      <a:pt x="141" y="19"/>
                    </a:lnTo>
                    <a:lnTo>
                      <a:pt x="143" y="19"/>
                    </a:lnTo>
                    <a:lnTo>
                      <a:pt x="143" y="21"/>
                    </a:lnTo>
                    <a:lnTo>
                      <a:pt x="145" y="21"/>
                    </a:lnTo>
                    <a:lnTo>
                      <a:pt x="145" y="23"/>
                    </a:lnTo>
                    <a:lnTo>
                      <a:pt x="143" y="25"/>
                    </a:lnTo>
                    <a:lnTo>
                      <a:pt x="143" y="25"/>
                    </a:lnTo>
                    <a:lnTo>
                      <a:pt x="143" y="27"/>
                    </a:lnTo>
                    <a:lnTo>
                      <a:pt x="141" y="27"/>
                    </a:lnTo>
                    <a:lnTo>
                      <a:pt x="138" y="29"/>
                    </a:lnTo>
                    <a:lnTo>
                      <a:pt x="136" y="31"/>
                    </a:lnTo>
                    <a:lnTo>
                      <a:pt x="136" y="33"/>
                    </a:lnTo>
                    <a:lnTo>
                      <a:pt x="136" y="36"/>
                    </a:lnTo>
                    <a:lnTo>
                      <a:pt x="132" y="40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2" y="52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2" y="55"/>
                    </a:lnTo>
                    <a:lnTo>
                      <a:pt x="130" y="55"/>
                    </a:lnTo>
                    <a:lnTo>
                      <a:pt x="130" y="55"/>
                    </a:lnTo>
                    <a:lnTo>
                      <a:pt x="124" y="57"/>
                    </a:lnTo>
                    <a:lnTo>
                      <a:pt x="122" y="57"/>
                    </a:lnTo>
                    <a:lnTo>
                      <a:pt x="122" y="59"/>
                    </a:lnTo>
                    <a:lnTo>
                      <a:pt x="120" y="59"/>
                    </a:lnTo>
                    <a:lnTo>
                      <a:pt x="120" y="61"/>
                    </a:lnTo>
                    <a:lnTo>
                      <a:pt x="118" y="65"/>
                    </a:lnTo>
                    <a:lnTo>
                      <a:pt x="117" y="67"/>
                    </a:lnTo>
                    <a:lnTo>
                      <a:pt x="117" y="67"/>
                    </a:lnTo>
                    <a:lnTo>
                      <a:pt x="117" y="69"/>
                    </a:lnTo>
                    <a:lnTo>
                      <a:pt x="115" y="71"/>
                    </a:lnTo>
                    <a:lnTo>
                      <a:pt x="115" y="71"/>
                    </a:lnTo>
                    <a:lnTo>
                      <a:pt x="117" y="76"/>
                    </a:lnTo>
                    <a:lnTo>
                      <a:pt x="117" y="78"/>
                    </a:lnTo>
                    <a:lnTo>
                      <a:pt x="117" y="82"/>
                    </a:lnTo>
                    <a:lnTo>
                      <a:pt x="117" y="82"/>
                    </a:lnTo>
                    <a:lnTo>
                      <a:pt x="115" y="84"/>
                    </a:lnTo>
                    <a:lnTo>
                      <a:pt x="113" y="84"/>
                    </a:lnTo>
                    <a:lnTo>
                      <a:pt x="111" y="84"/>
                    </a:lnTo>
                    <a:lnTo>
                      <a:pt x="109" y="82"/>
                    </a:lnTo>
                    <a:lnTo>
                      <a:pt x="107" y="82"/>
                    </a:lnTo>
                    <a:lnTo>
                      <a:pt x="107" y="82"/>
                    </a:lnTo>
                    <a:lnTo>
                      <a:pt x="105" y="82"/>
                    </a:lnTo>
                    <a:lnTo>
                      <a:pt x="103" y="82"/>
                    </a:lnTo>
                    <a:lnTo>
                      <a:pt x="101" y="84"/>
                    </a:lnTo>
                    <a:lnTo>
                      <a:pt x="99" y="82"/>
                    </a:lnTo>
                    <a:lnTo>
                      <a:pt x="98" y="82"/>
                    </a:lnTo>
                    <a:lnTo>
                      <a:pt x="98" y="82"/>
                    </a:lnTo>
                    <a:lnTo>
                      <a:pt x="96" y="80"/>
                    </a:lnTo>
                    <a:lnTo>
                      <a:pt x="94" y="74"/>
                    </a:lnTo>
                    <a:lnTo>
                      <a:pt x="92" y="74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88" y="74"/>
                    </a:lnTo>
                    <a:lnTo>
                      <a:pt x="86" y="74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0" y="74"/>
                    </a:lnTo>
                    <a:lnTo>
                      <a:pt x="78" y="76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7" y="80"/>
                    </a:lnTo>
                    <a:lnTo>
                      <a:pt x="77" y="80"/>
                    </a:lnTo>
                    <a:lnTo>
                      <a:pt x="80" y="80"/>
                    </a:lnTo>
                    <a:lnTo>
                      <a:pt x="80" y="80"/>
                    </a:lnTo>
                    <a:lnTo>
                      <a:pt x="80" y="82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5" y="88"/>
                    </a:lnTo>
                    <a:lnTo>
                      <a:pt x="75" y="92"/>
                    </a:lnTo>
                    <a:lnTo>
                      <a:pt x="73" y="95"/>
                    </a:lnTo>
                    <a:lnTo>
                      <a:pt x="73" y="97"/>
                    </a:lnTo>
                    <a:lnTo>
                      <a:pt x="73" y="99"/>
                    </a:lnTo>
                    <a:lnTo>
                      <a:pt x="73" y="99"/>
                    </a:lnTo>
                    <a:lnTo>
                      <a:pt x="73" y="101"/>
                    </a:lnTo>
                    <a:lnTo>
                      <a:pt x="73" y="101"/>
                    </a:lnTo>
                    <a:lnTo>
                      <a:pt x="73" y="101"/>
                    </a:lnTo>
                    <a:lnTo>
                      <a:pt x="73" y="103"/>
                    </a:lnTo>
                    <a:lnTo>
                      <a:pt x="71" y="103"/>
                    </a:lnTo>
                    <a:lnTo>
                      <a:pt x="71" y="103"/>
                    </a:lnTo>
                    <a:lnTo>
                      <a:pt x="69" y="105"/>
                    </a:lnTo>
                    <a:lnTo>
                      <a:pt x="67" y="107"/>
                    </a:lnTo>
                    <a:lnTo>
                      <a:pt x="65" y="109"/>
                    </a:lnTo>
                    <a:lnTo>
                      <a:pt x="65" y="109"/>
                    </a:lnTo>
                    <a:lnTo>
                      <a:pt x="63" y="111"/>
                    </a:lnTo>
                    <a:lnTo>
                      <a:pt x="63" y="111"/>
                    </a:lnTo>
                    <a:lnTo>
                      <a:pt x="63" y="112"/>
                    </a:lnTo>
                    <a:lnTo>
                      <a:pt x="63" y="114"/>
                    </a:lnTo>
                    <a:lnTo>
                      <a:pt x="63" y="116"/>
                    </a:lnTo>
                    <a:lnTo>
                      <a:pt x="63" y="116"/>
                    </a:lnTo>
                    <a:lnTo>
                      <a:pt x="63" y="118"/>
                    </a:lnTo>
                    <a:lnTo>
                      <a:pt x="65" y="118"/>
                    </a:lnTo>
                    <a:lnTo>
                      <a:pt x="65" y="120"/>
                    </a:lnTo>
                    <a:lnTo>
                      <a:pt x="65" y="120"/>
                    </a:lnTo>
                    <a:lnTo>
                      <a:pt x="65" y="120"/>
                    </a:lnTo>
                    <a:lnTo>
                      <a:pt x="67" y="120"/>
                    </a:lnTo>
                    <a:lnTo>
                      <a:pt x="69" y="120"/>
                    </a:lnTo>
                    <a:lnTo>
                      <a:pt x="69" y="120"/>
                    </a:lnTo>
                    <a:lnTo>
                      <a:pt x="69" y="120"/>
                    </a:lnTo>
                    <a:lnTo>
                      <a:pt x="69" y="122"/>
                    </a:lnTo>
                    <a:lnTo>
                      <a:pt x="69" y="122"/>
                    </a:lnTo>
                    <a:lnTo>
                      <a:pt x="69" y="124"/>
                    </a:lnTo>
                    <a:lnTo>
                      <a:pt x="69" y="124"/>
                    </a:lnTo>
                    <a:lnTo>
                      <a:pt x="71" y="124"/>
                    </a:lnTo>
                    <a:lnTo>
                      <a:pt x="71" y="124"/>
                    </a:lnTo>
                    <a:lnTo>
                      <a:pt x="73" y="124"/>
                    </a:lnTo>
                    <a:lnTo>
                      <a:pt x="73" y="124"/>
                    </a:lnTo>
                    <a:lnTo>
                      <a:pt x="73" y="126"/>
                    </a:lnTo>
                    <a:lnTo>
                      <a:pt x="75" y="126"/>
                    </a:lnTo>
                    <a:lnTo>
                      <a:pt x="73" y="128"/>
                    </a:lnTo>
                    <a:lnTo>
                      <a:pt x="75" y="130"/>
                    </a:lnTo>
                    <a:lnTo>
                      <a:pt x="75" y="130"/>
                    </a:lnTo>
                    <a:lnTo>
                      <a:pt x="75" y="131"/>
                    </a:lnTo>
                    <a:lnTo>
                      <a:pt x="80" y="135"/>
                    </a:lnTo>
                    <a:lnTo>
                      <a:pt x="82" y="137"/>
                    </a:lnTo>
                    <a:lnTo>
                      <a:pt x="82" y="137"/>
                    </a:lnTo>
                    <a:lnTo>
                      <a:pt x="82" y="139"/>
                    </a:lnTo>
                    <a:lnTo>
                      <a:pt x="82" y="139"/>
                    </a:lnTo>
                    <a:lnTo>
                      <a:pt x="82" y="141"/>
                    </a:lnTo>
                    <a:lnTo>
                      <a:pt x="80" y="141"/>
                    </a:lnTo>
                    <a:lnTo>
                      <a:pt x="78" y="141"/>
                    </a:lnTo>
                    <a:lnTo>
                      <a:pt x="77" y="141"/>
                    </a:lnTo>
                    <a:lnTo>
                      <a:pt x="75" y="143"/>
                    </a:lnTo>
                    <a:lnTo>
                      <a:pt x="73" y="143"/>
                    </a:lnTo>
                    <a:lnTo>
                      <a:pt x="73" y="145"/>
                    </a:lnTo>
                    <a:lnTo>
                      <a:pt x="71" y="147"/>
                    </a:lnTo>
                    <a:lnTo>
                      <a:pt x="67" y="156"/>
                    </a:lnTo>
                    <a:lnTo>
                      <a:pt x="67" y="158"/>
                    </a:lnTo>
                    <a:lnTo>
                      <a:pt x="65" y="158"/>
                    </a:lnTo>
                    <a:lnTo>
                      <a:pt x="65" y="158"/>
                    </a:lnTo>
                    <a:lnTo>
                      <a:pt x="61" y="156"/>
                    </a:lnTo>
                    <a:lnTo>
                      <a:pt x="61" y="158"/>
                    </a:lnTo>
                    <a:lnTo>
                      <a:pt x="59" y="158"/>
                    </a:lnTo>
                    <a:lnTo>
                      <a:pt x="57" y="160"/>
                    </a:lnTo>
                    <a:lnTo>
                      <a:pt x="57" y="160"/>
                    </a:lnTo>
                    <a:lnTo>
                      <a:pt x="57" y="162"/>
                    </a:lnTo>
                    <a:lnTo>
                      <a:pt x="57" y="164"/>
                    </a:lnTo>
                    <a:lnTo>
                      <a:pt x="57" y="164"/>
                    </a:lnTo>
                    <a:lnTo>
                      <a:pt x="57" y="166"/>
                    </a:lnTo>
                    <a:lnTo>
                      <a:pt x="57" y="168"/>
                    </a:lnTo>
                    <a:lnTo>
                      <a:pt x="56" y="171"/>
                    </a:lnTo>
                    <a:lnTo>
                      <a:pt x="56" y="173"/>
                    </a:lnTo>
                    <a:lnTo>
                      <a:pt x="56" y="175"/>
                    </a:lnTo>
                    <a:lnTo>
                      <a:pt x="54" y="175"/>
                    </a:lnTo>
                    <a:lnTo>
                      <a:pt x="52" y="175"/>
                    </a:lnTo>
                    <a:lnTo>
                      <a:pt x="52" y="175"/>
                    </a:lnTo>
                    <a:lnTo>
                      <a:pt x="46" y="175"/>
                    </a:lnTo>
                    <a:lnTo>
                      <a:pt x="44" y="175"/>
                    </a:lnTo>
                    <a:lnTo>
                      <a:pt x="44" y="177"/>
                    </a:lnTo>
                    <a:lnTo>
                      <a:pt x="42" y="177"/>
                    </a:lnTo>
                    <a:lnTo>
                      <a:pt x="42" y="179"/>
                    </a:lnTo>
                    <a:lnTo>
                      <a:pt x="40" y="181"/>
                    </a:lnTo>
                    <a:lnTo>
                      <a:pt x="40" y="181"/>
                    </a:lnTo>
                    <a:lnTo>
                      <a:pt x="38" y="183"/>
                    </a:lnTo>
                    <a:lnTo>
                      <a:pt x="38" y="185"/>
                    </a:lnTo>
                    <a:lnTo>
                      <a:pt x="38" y="185"/>
                    </a:lnTo>
                    <a:lnTo>
                      <a:pt x="38" y="187"/>
                    </a:lnTo>
                    <a:lnTo>
                      <a:pt x="38" y="187"/>
                    </a:lnTo>
                    <a:lnTo>
                      <a:pt x="38" y="189"/>
                    </a:lnTo>
                    <a:lnTo>
                      <a:pt x="36" y="189"/>
                    </a:lnTo>
                    <a:lnTo>
                      <a:pt x="36" y="192"/>
                    </a:lnTo>
                    <a:lnTo>
                      <a:pt x="36" y="194"/>
                    </a:lnTo>
                    <a:lnTo>
                      <a:pt x="36" y="194"/>
                    </a:lnTo>
                    <a:lnTo>
                      <a:pt x="35" y="196"/>
                    </a:lnTo>
                    <a:lnTo>
                      <a:pt x="33" y="196"/>
                    </a:lnTo>
                    <a:lnTo>
                      <a:pt x="33" y="198"/>
                    </a:lnTo>
                    <a:lnTo>
                      <a:pt x="31" y="198"/>
                    </a:lnTo>
                    <a:lnTo>
                      <a:pt x="31" y="200"/>
                    </a:lnTo>
                    <a:lnTo>
                      <a:pt x="36" y="204"/>
                    </a:lnTo>
                    <a:lnTo>
                      <a:pt x="38" y="204"/>
                    </a:lnTo>
                    <a:lnTo>
                      <a:pt x="38" y="206"/>
                    </a:lnTo>
                    <a:lnTo>
                      <a:pt x="38" y="206"/>
                    </a:lnTo>
                    <a:lnTo>
                      <a:pt x="38" y="209"/>
                    </a:lnTo>
                    <a:lnTo>
                      <a:pt x="42" y="211"/>
                    </a:lnTo>
                    <a:lnTo>
                      <a:pt x="42" y="213"/>
                    </a:lnTo>
                    <a:lnTo>
                      <a:pt x="42" y="213"/>
                    </a:lnTo>
                    <a:lnTo>
                      <a:pt x="40" y="215"/>
                    </a:lnTo>
                    <a:lnTo>
                      <a:pt x="40" y="217"/>
                    </a:lnTo>
                    <a:lnTo>
                      <a:pt x="40" y="219"/>
                    </a:lnTo>
                    <a:lnTo>
                      <a:pt x="40" y="221"/>
                    </a:lnTo>
                    <a:lnTo>
                      <a:pt x="42" y="227"/>
                    </a:lnTo>
                    <a:lnTo>
                      <a:pt x="44" y="234"/>
                    </a:lnTo>
                    <a:lnTo>
                      <a:pt x="44" y="234"/>
                    </a:lnTo>
                    <a:lnTo>
                      <a:pt x="42" y="236"/>
                    </a:lnTo>
                    <a:lnTo>
                      <a:pt x="42" y="236"/>
                    </a:lnTo>
                    <a:lnTo>
                      <a:pt x="42" y="236"/>
                    </a:lnTo>
                    <a:lnTo>
                      <a:pt x="40" y="236"/>
                    </a:lnTo>
                    <a:lnTo>
                      <a:pt x="38" y="236"/>
                    </a:lnTo>
                    <a:lnTo>
                      <a:pt x="38" y="238"/>
                    </a:lnTo>
                    <a:lnTo>
                      <a:pt x="38" y="238"/>
                    </a:lnTo>
                    <a:lnTo>
                      <a:pt x="38" y="240"/>
                    </a:lnTo>
                    <a:lnTo>
                      <a:pt x="38" y="240"/>
                    </a:lnTo>
                    <a:lnTo>
                      <a:pt x="42" y="244"/>
                    </a:lnTo>
                    <a:lnTo>
                      <a:pt x="44" y="246"/>
                    </a:lnTo>
                    <a:lnTo>
                      <a:pt x="44" y="248"/>
                    </a:lnTo>
                    <a:lnTo>
                      <a:pt x="46" y="251"/>
                    </a:lnTo>
                    <a:lnTo>
                      <a:pt x="46" y="255"/>
                    </a:lnTo>
                    <a:lnTo>
                      <a:pt x="46" y="257"/>
                    </a:lnTo>
                    <a:lnTo>
                      <a:pt x="46" y="259"/>
                    </a:lnTo>
                    <a:lnTo>
                      <a:pt x="46" y="259"/>
                    </a:lnTo>
                    <a:lnTo>
                      <a:pt x="38" y="267"/>
                    </a:lnTo>
                    <a:lnTo>
                      <a:pt x="36" y="268"/>
                    </a:lnTo>
                    <a:lnTo>
                      <a:pt x="36" y="268"/>
                    </a:lnTo>
                    <a:lnTo>
                      <a:pt x="35" y="268"/>
                    </a:lnTo>
                    <a:lnTo>
                      <a:pt x="35" y="270"/>
                    </a:lnTo>
                    <a:lnTo>
                      <a:pt x="33" y="270"/>
                    </a:lnTo>
                    <a:lnTo>
                      <a:pt x="33" y="272"/>
                    </a:lnTo>
                    <a:lnTo>
                      <a:pt x="31" y="274"/>
                    </a:lnTo>
                    <a:lnTo>
                      <a:pt x="31" y="274"/>
                    </a:lnTo>
                    <a:lnTo>
                      <a:pt x="31" y="274"/>
                    </a:lnTo>
                    <a:lnTo>
                      <a:pt x="31" y="274"/>
                    </a:lnTo>
                    <a:lnTo>
                      <a:pt x="33" y="276"/>
                    </a:lnTo>
                    <a:lnTo>
                      <a:pt x="33" y="278"/>
                    </a:lnTo>
                    <a:lnTo>
                      <a:pt x="35" y="278"/>
                    </a:lnTo>
                    <a:lnTo>
                      <a:pt x="35" y="280"/>
                    </a:lnTo>
                    <a:lnTo>
                      <a:pt x="35" y="282"/>
                    </a:lnTo>
                    <a:lnTo>
                      <a:pt x="35" y="282"/>
                    </a:lnTo>
                    <a:lnTo>
                      <a:pt x="35" y="284"/>
                    </a:lnTo>
                    <a:lnTo>
                      <a:pt x="33" y="284"/>
                    </a:lnTo>
                    <a:lnTo>
                      <a:pt x="29" y="286"/>
                    </a:lnTo>
                    <a:lnTo>
                      <a:pt x="27" y="287"/>
                    </a:lnTo>
                    <a:lnTo>
                      <a:pt x="27" y="287"/>
                    </a:lnTo>
                    <a:lnTo>
                      <a:pt x="25" y="291"/>
                    </a:lnTo>
                    <a:lnTo>
                      <a:pt x="21" y="295"/>
                    </a:lnTo>
                    <a:lnTo>
                      <a:pt x="19" y="299"/>
                    </a:lnTo>
                    <a:lnTo>
                      <a:pt x="21" y="301"/>
                    </a:lnTo>
                    <a:lnTo>
                      <a:pt x="25" y="303"/>
                    </a:lnTo>
                    <a:lnTo>
                      <a:pt x="27" y="305"/>
                    </a:lnTo>
                    <a:lnTo>
                      <a:pt x="29" y="305"/>
                    </a:lnTo>
                    <a:lnTo>
                      <a:pt x="31" y="307"/>
                    </a:lnTo>
                    <a:lnTo>
                      <a:pt x="31" y="307"/>
                    </a:lnTo>
                    <a:lnTo>
                      <a:pt x="33" y="307"/>
                    </a:lnTo>
                    <a:lnTo>
                      <a:pt x="36" y="307"/>
                    </a:lnTo>
                    <a:lnTo>
                      <a:pt x="36" y="307"/>
                    </a:lnTo>
                    <a:lnTo>
                      <a:pt x="42" y="305"/>
                    </a:lnTo>
                    <a:lnTo>
                      <a:pt x="42" y="308"/>
                    </a:lnTo>
                    <a:lnTo>
                      <a:pt x="42" y="308"/>
                    </a:lnTo>
                    <a:lnTo>
                      <a:pt x="44" y="310"/>
                    </a:lnTo>
                    <a:lnTo>
                      <a:pt x="44" y="310"/>
                    </a:lnTo>
                    <a:lnTo>
                      <a:pt x="46" y="308"/>
                    </a:lnTo>
                    <a:lnTo>
                      <a:pt x="50" y="307"/>
                    </a:lnTo>
                    <a:lnTo>
                      <a:pt x="50" y="307"/>
                    </a:lnTo>
                    <a:lnTo>
                      <a:pt x="54" y="307"/>
                    </a:lnTo>
                    <a:lnTo>
                      <a:pt x="54" y="307"/>
                    </a:lnTo>
                    <a:lnTo>
                      <a:pt x="54" y="307"/>
                    </a:lnTo>
                    <a:lnTo>
                      <a:pt x="54" y="308"/>
                    </a:lnTo>
                    <a:lnTo>
                      <a:pt x="50" y="316"/>
                    </a:lnTo>
                    <a:lnTo>
                      <a:pt x="50" y="316"/>
                    </a:lnTo>
                    <a:lnTo>
                      <a:pt x="50" y="316"/>
                    </a:lnTo>
                    <a:lnTo>
                      <a:pt x="44" y="318"/>
                    </a:lnTo>
                    <a:lnTo>
                      <a:pt x="42" y="318"/>
                    </a:lnTo>
                    <a:lnTo>
                      <a:pt x="40" y="320"/>
                    </a:lnTo>
                    <a:lnTo>
                      <a:pt x="40" y="322"/>
                    </a:lnTo>
                    <a:lnTo>
                      <a:pt x="40" y="324"/>
                    </a:lnTo>
                    <a:lnTo>
                      <a:pt x="38" y="324"/>
                    </a:lnTo>
                    <a:lnTo>
                      <a:pt x="36" y="324"/>
                    </a:lnTo>
                    <a:lnTo>
                      <a:pt x="36" y="324"/>
                    </a:lnTo>
                    <a:lnTo>
                      <a:pt x="35" y="326"/>
                    </a:lnTo>
                    <a:lnTo>
                      <a:pt x="33" y="326"/>
                    </a:lnTo>
                    <a:lnTo>
                      <a:pt x="33" y="329"/>
                    </a:lnTo>
                    <a:lnTo>
                      <a:pt x="31" y="333"/>
                    </a:lnTo>
                    <a:lnTo>
                      <a:pt x="16" y="352"/>
                    </a:lnTo>
                    <a:lnTo>
                      <a:pt x="14" y="356"/>
                    </a:lnTo>
                    <a:lnTo>
                      <a:pt x="14" y="358"/>
                    </a:lnTo>
                    <a:lnTo>
                      <a:pt x="16" y="360"/>
                    </a:lnTo>
                    <a:lnTo>
                      <a:pt x="16" y="360"/>
                    </a:lnTo>
                    <a:lnTo>
                      <a:pt x="17" y="360"/>
                    </a:lnTo>
                    <a:lnTo>
                      <a:pt x="19" y="362"/>
                    </a:lnTo>
                    <a:lnTo>
                      <a:pt x="21" y="362"/>
                    </a:lnTo>
                    <a:lnTo>
                      <a:pt x="21" y="364"/>
                    </a:lnTo>
                    <a:lnTo>
                      <a:pt x="21" y="364"/>
                    </a:lnTo>
                    <a:lnTo>
                      <a:pt x="23" y="369"/>
                    </a:lnTo>
                    <a:lnTo>
                      <a:pt x="23" y="371"/>
                    </a:lnTo>
                    <a:lnTo>
                      <a:pt x="27" y="375"/>
                    </a:lnTo>
                    <a:lnTo>
                      <a:pt x="27" y="379"/>
                    </a:lnTo>
                    <a:lnTo>
                      <a:pt x="27" y="381"/>
                    </a:lnTo>
                    <a:lnTo>
                      <a:pt x="25" y="383"/>
                    </a:lnTo>
                    <a:lnTo>
                      <a:pt x="23" y="385"/>
                    </a:lnTo>
                    <a:lnTo>
                      <a:pt x="23" y="386"/>
                    </a:lnTo>
                    <a:lnTo>
                      <a:pt x="23" y="390"/>
                    </a:lnTo>
                    <a:lnTo>
                      <a:pt x="23" y="405"/>
                    </a:lnTo>
                    <a:lnTo>
                      <a:pt x="23" y="407"/>
                    </a:lnTo>
                    <a:lnTo>
                      <a:pt x="21" y="407"/>
                    </a:lnTo>
                    <a:lnTo>
                      <a:pt x="21" y="409"/>
                    </a:lnTo>
                    <a:lnTo>
                      <a:pt x="21" y="409"/>
                    </a:lnTo>
                    <a:lnTo>
                      <a:pt x="19" y="415"/>
                    </a:lnTo>
                    <a:lnTo>
                      <a:pt x="19" y="417"/>
                    </a:lnTo>
                    <a:lnTo>
                      <a:pt x="19" y="419"/>
                    </a:lnTo>
                    <a:lnTo>
                      <a:pt x="21" y="419"/>
                    </a:lnTo>
                    <a:lnTo>
                      <a:pt x="23" y="421"/>
                    </a:lnTo>
                    <a:lnTo>
                      <a:pt x="23" y="421"/>
                    </a:lnTo>
                    <a:lnTo>
                      <a:pt x="25" y="423"/>
                    </a:lnTo>
                    <a:lnTo>
                      <a:pt x="23" y="423"/>
                    </a:lnTo>
                    <a:lnTo>
                      <a:pt x="21" y="424"/>
                    </a:lnTo>
                    <a:lnTo>
                      <a:pt x="21" y="424"/>
                    </a:lnTo>
                    <a:lnTo>
                      <a:pt x="19" y="426"/>
                    </a:lnTo>
                    <a:lnTo>
                      <a:pt x="19" y="428"/>
                    </a:lnTo>
                    <a:lnTo>
                      <a:pt x="19" y="428"/>
                    </a:lnTo>
                    <a:lnTo>
                      <a:pt x="21" y="426"/>
                    </a:lnTo>
                    <a:lnTo>
                      <a:pt x="23" y="426"/>
                    </a:lnTo>
                    <a:lnTo>
                      <a:pt x="23" y="426"/>
                    </a:lnTo>
                    <a:lnTo>
                      <a:pt x="25" y="428"/>
                    </a:lnTo>
                    <a:lnTo>
                      <a:pt x="25" y="428"/>
                    </a:lnTo>
                    <a:lnTo>
                      <a:pt x="23" y="430"/>
                    </a:lnTo>
                    <a:lnTo>
                      <a:pt x="23" y="430"/>
                    </a:lnTo>
                    <a:lnTo>
                      <a:pt x="23" y="432"/>
                    </a:lnTo>
                    <a:lnTo>
                      <a:pt x="23" y="434"/>
                    </a:lnTo>
                    <a:lnTo>
                      <a:pt x="21" y="436"/>
                    </a:lnTo>
                    <a:lnTo>
                      <a:pt x="21" y="436"/>
                    </a:lnTo>
                    <a:lnTo>
                      <a:pt x="17" y="438"/>
                    </a:lnTo>
                    <a:lnTo>
                      <a:pt x="17" y="438"/>
                    </a:lnTo>
                    <a:lnTo>
                      <a:pt x="17" y="440"/>
                    </a:lnTo>
                    <a:lnTo>
                      <a:pt x="16" y="442"/>
                    </a:lnTo>
                    <a:lnTo>
                      <a:pt x="16" y="442"/>
                    </a:lnTo>
                    <a:lnTo>
                      <a:pt x="16" y="443"/>
                    </a:lnTo>
                    <a:lnTo>
                      <a:pt x="12" y="445"/>
                    </a:lnTo>
                    <a:lnTo>
                      <a:pt x="8" y="449"/>
                    </a:lnTo>
                    <a:lnTo>
                      <a:pt x="2" y="451"/>
                    </a:lnTo>
                    <a:lnTo>
                      <a:pt x="0" y="453"/>
                    </a:lnTo>
                    <a:lnTo>
                      <a:pt x="0" y="453"/>
                    </a:lnTo>
                    <a:lnTo>
                      <a:pt x="4" y="457"/>
                    </a:lnTo>
                    <a:lnTo>
                      <a:pt x="6" y="459"/>
                    </a:lnTo>
                    <a:lnTo>
                      <a:pt x="17" y="463"/>
                    </a:lnTo>
                    <a:lnTo>
                      <a:pt x="19" y="463"/>
                    </a:lnTo>
                    <a:lnTo>
                      <a:pt x="27" y="463"/>
                    </a:lnTo>
                    <a:lnTo>
                      <a:pt x="31" y="463"/>
                    </a:lnTo>
                    <a:lnTo>
                      <a:pt x="35" y="464"/>
                    </a:lnTo>
                    <a:lnTo>
                      <a:pt x="36" y="466"/>
                    </a:lnTo>
                    <a:lnTo>
                      <a:pt x="36" y="466"/>
                    </a:lnTo>
                    <a:lnTo>
                      <a:pt x="38" y="468"/>
                    </a:lnTo>
                    <a:lnTo>
                      <a:pt x="38" y="470"/>
                    </a:lnTo>
                    <a:lnTo>
                      <a:pt x="36" y="472"/>
                    </a:lnTo>
                    <a:lnTo>
                      <a:pt x="36" y="472"/>
                    </a:lnTo>
                    <a:lnTo>
                      <a:pt x="35" y="474"/>
                    </a:lnTo>
                    <a:lnTo>
                      <a:pt x="31" y="476"/>
                    </a:lnTo>
                    <a:lnTo>
                      <a:pt x="31" y="476"/>
                    </a:lnTo>
                    <a:lnTo>
                      <a:pt x="31" y="478"/>
                    </a:lnTo>
                    <a:lnTo>
                      <a:pt x="29" y="480"/>
                    </a:lnTo>
                    <a:lnTo>
                      <a:pt x="29" y="483"/>
                    </a:lnTo>
                    <a:lnTo>
                      <a:pt x="29" y="483"/>
                    </a:lnTo>
                    <a:lnTo>
                      <a:pt x="29" y="485"/>
                    </a:lnTo>
                    <a:lnTo>
                      <a:pt x="29" y="487"/>
                    </a:lnTo>
                    <a:lnTo>
                      <a:pt x="29" y="491"/>
                    </a:lnTo>
                    <a:lnTo>
                      <a:pt x="29" y="497"/>
                    </a:lnTo>
                    <a:lnTo>
                      <a:pt x="29" y="501"/>
                    </a:lnTo>
                    <a:lnTo>
                      <a:pt x="29" y="502"/>
                    </a:lnTo>
                    <a:lnTo>
                      <a:pt x="29" y="506"/>
                    </a:lnTo>
                    <a:lnTo>
                      <a:pt x="29" y="512"/>
                    </a:lnTo>
                    <a:lnTo>
                      <a:pt x="29" y="512"/>
                    </a:lnTo>
                    <a:lnTo>
                      <a:pt x="27" y="514"/>
                    </a:lnTo>
                    <a:lnTo>
                      <a:pt x="25" y="516"/>
                    </a:lnTo>
                    <a:lnTo>
                      <a:pt x="25" y="518"/>
                    </a:lnTo>
                    <a:lnTo>
                      <a:pt x="25" y="518"/>
                    </a:lnTo>
                    <a:lnTo>
                      <a:pt x="29" y="522"/>
                    </a:lnTo>
                    <a:lnTo>
                      <a:pt x="35" y="523"/>
                    </a:lnTo>
                    <a:lnTo>
                      <a:pt x="38" y="523"/>
                    </a:lnTo>
                    <a:lnTo>
                      <a:pt x="40" y="523"/>
                    </a:lnTo>
                    <a:lnTo>
                      <a:pt x="42" y="523"/>
                    </a:lnTo>
                    <a:lnTo>
                      <a:pt x="44" y="523"/>
                    </a:lnTo>
                    <a:lnTo>
                      <a:pt x="44" y="523"/>
                    </a:lnTo>
                    <a:lnTo>
                      <a:pt x="46" y="523"/>
                    </a:lnTo>
                    <a:lnTo>
                      <a:pt x="46" y="523"/>
                    </a:lnTo>
                    <a:lnTo>
                      <a:pt x="46" y="525"/>
                    </a:lnTo>
                    <a:lnTo>
                      <a:pt x="48" y="525"/>
                    </a:lnTo>
                    <a:lnTo>
                      <a:pt x="48" y="527"/>
                    </a:lnTo>
                    <a:lnTo>
                      <a:pt x="50" y="527"/>
                    </a:lnTo>
                    <a:lnTo>
                      <a:pt x="52" y="527"/>
                    </a:lnTo>
                    <a:lnTo>
                      <a:pt x="54" y="529"/>
                    </a:lnTo>
                    <a:lnTo>
                      <a:pt x="56" y="527"/>
                    </a:lnTo>
                    <a:lnTo>
                      <a:pt x="56" y="527"/>
                    </a:lnTo>
                    <a:lnTo>
                      <a:pt x="57" y="527"/>
                    </a:lnTo>
                    <a:lnTo>
                      <a:pt x="57" y="527"/>
                    </a:lnTo>
                    <a:lnTo>
                      <a:pt x="59" y="527"/>
                    </a:lnTo>
                    <a:lnTo>
                      <a:pt x="59" y="527"/>
                    </a:lnTo>
                    <a:lnTo>
                      <a:pt x="61" y="527"/>
                    </a:lnTo>
                    <a:lnTo>
                      <a:pt x="63" y="527"/>
                    </a:lnTo>
                    <a:lnTo>
                      <a:pt x="63" y="527"/>
                    </a:lnTo>
                    <a:lnTo>
                      <a:pt x="65" y="529"/>
                    </a:lnTo>
                    <a:lnTo>
                      <a:pt x="65" y="529"/>
                    </a:lnTo>
                    <a:lnTo>
                      <a:pt x="67" y="529"/>
                    </a:lnTo>
                    <a:lnTo>
                      <a:pt x="69" y="529"/>
                    </a:lnTo>
                    <a:lnTo>
                      <a:pt x="69" y="529"/>
                    </a:lnTo>
                    <a:lnTo>
                      <a:pt x="71" y="529"/>
                    </a:lnTo>
                    <a:lnTo>
                      <a:pt x="73" y="529"/>
                    </a:lnTo>
                    <a:lnTo>
                      <a:pt x="73" y="527"/>
                    </a:lnTo>
                    <a:lnTo>
                      <a:pt x="73" y="529"/>
                    </a:lnTo>
                    <a:lnTo>
                      <a:pt x="75" y="529"/>
                    </a:lnTo>
                    <a:lnTo>
                      <a:pt x="77" y="527"/>
                    </a:lnTo>
                    <a:lnTo>
                      <a:pt x="77" y="525"/>
                    </a:lnTo>
                    <a:lnTo>
                      <a:pt x="78" y="525"/>
                    </a:lnTo>
                    <a:lnTo>
                      <a:pt x="80" y="525"/>
                    </a:lnTo>
                    <a:lnTo>
                      <a:pt x="82" y="527"/>
                    </a:lnTo>
                    <a:lnTo>
                      <a:pt x="84" y="527"/>
                    </a:lnTo>
                    <a:lnTo>
                      <a:pt x="86" y="527"/>
                    </a:lnTo>
                    <a:lnTo>
                      <a:pt x="90" y="527"/>
                    </a:lnTo>
                    <a:lnTo>
                      <a:pt x="90" y="529"/>
                    </a:lnTo>
                    <a:lnTo>
                      <a:pt x="94" y="529"/>
                    </a:lnTo>
                    <a:lnTo>
                      <a:pt x="94" y="531"/>
                    </a:lnTo>
                    <a:lnTo>
                      <a:pt x="94" y="529"/>
                    </a:lnTo>
                    <a:lnTo>
                      <a:pt x="96" y="527"/>
                    </a:lnTo>
                    <a:lnTo>
                      <a:pt x="96" y="525"/>
                    </a:lnTo>
                    <a:lnTo>
                      <a:pt x="98" y="525"/>
                    </a:lnTo>
                    <a:lnTo>
                      <a:pt x="98" y="525"/>
                    </a:lnTo>
                    <a:lnTo>
                      <a:pt x="98" y="525"/>
                    </a:lnTo>
                    <a:lnTo>
                      <a:pt x="99" y="525"/>
                    </a:lnTo>
                    <a:lnTo>
                      <a:pt x="99" y="529"/>
                    </a:lnTo>
                    <a:lnTo>
                      <a:pt x="99" y="529"/>
                    </a:lnTo>
                    <a:lnTo>
                      <a:pt x="101" y="531"/>
                    </a:lnTo>
                    <a:lnTo>
                      <a:pt x="101" y="533"/>
                    </a:lnTo>
                    <a:lnTo>
                      <a:pt x="107" y="535"/>
                    </a:lnTo>
                    <a:lnTo>
                      <a:pt x="107" y="535"/>
                    </a:lnTo>
                    <a:lnTo>
                      <a:pt x="109" y="535"/>
                    </a:lnTo>
                    <a:lnTo>
                      <a:pt x="109" y="533"/>
                    </a:lnTo>
                    <a:lnTo>
                      <a:pt x="109" y="531"/>
                    </a:lnTo>
                    <a:lnTo>
                      <a:pt x="111" y="531"/>
                    </a:lnTo>
                    <a:lnTo>
                      <a:pt x="113" y="531"/>
                    </a:lnTo>
                    <a:lnTo>
                      <a:pt x="113" y="531"/>
                    </a:lnTo>
                    <a:lnTo>
                      <a:pt x="115" y="531"/>
                    </a:lnTo>
                    <a:lnTo>
                      <a:pt x="115" y="531"/>
                    </a:lnTo>
                    <a:lnTo>
                      <a:pt x="115" y="529"/>
                    </a:lnTo>
                    <a:lnTo>
                      <a:pt x="115" y="529"/>
                    </a:lnTo>
                    <a:lnTo>
                      <a:pt x="117" y="527"/>
                    </a:lnTo>
                    <a:lnTo>
                      <a:pt x="117" y="527"/>
                    </a:lnTo>
                    <a:lnTo>
                      <a:pt x="117" y="525"/>
                    </a:lnTo>
                    <a:lnTo>
                      <a:pt x="117" y="525"/>
                    </a:lnTo>
                    <a:lnTo>
                      <a:pt x="118" y="523"/>
                    </a:lnTo>
                    <a:lnTo>
                      <a:pt x="120" y="523"/>
                    </a:lnTo>
                    <a:lnTo>
                      <a:pt x="122" y="522"/>
                    </a:lnTo>
                    <a:lnTo>
                      <a:pt x="124" y="522"/>
                    </a:lnTo>
                    <a:lnTo>
                      <a:pt x="124" y="520"/>
                    </a:lnTo>
                    <a:lnTo>
                      <a:pt x="124" y="520"/>
                    </a:lnTo>
                    <a:lnTo>
                      <a:pt x="124" y="518"/>
                    </a:lnTo>
                    <a:lnTo>
                      <a:pt x="124" y="516"/>
                    </a:lnTo>
                    <a:lnTo>
                      <a:pt x="126" y="516"/>
                    </a:lnTo>
                    <a:lnTo>
                      <a:pt x="126" y="514"/>
                    </a:lnTo>
                    <a:lnTo>
                      <a:pt x="126" y="512"/>
                    </a:lnTo>
                    <a:lnTo>
                      <a:pt x="126" y="512"/>
                    </a:lnTo>
                    <a:lnTo>
                      <a:pt x="126" y="508"/>
                    </a:lnTo>
                    <a:lnTo>
                      <a:pt x="126" y="508"/>
                    </a:lnTo>
                    <a:lnTo>
                      <a:pt x="128" y="508"/>
                    </a:lnTo>
                    <a:lnTo>
                      <a:pt x="130" y="508"/>
                    </a:lnTo>
                    <a:lnTo>
                      <a:pt x="130" y="508"/>
                    </a:lnTo>
                    <a:lnTo>
                      <a:pt x="134" y="508"/>
                    </a:lnTo>
                    <a:lnTo>
                      <a:pt x="134" y="506"/>
                    </a:lnTo>
                    <a:lnTo>
                      <a:pt x="136" y="506"/>
                    </a:lnTo>
                    <a:lnTo>
                      <a:pt x="136" y="504"/>
                    </a:lnTo>
                    <a:lnTo>
                      <a:pt x="138" y="504"/>
                    </a:lnTo>
                    <a:lnTo>
                      <a:pt x="139" y="504"/>
                    </a:lnTo>
                    <a:lnTo>
                      <a:pt x="141" y="502"/>
                    </a:lnTo>
                    <a:lnTo>
                      <a:pt x="145" y="501"/>
                    </a:lnTo>
                    <a:lnTo>
                      <a:pt x="147" y="501"/>
                    </a:lnTo>
                    <a:lnTo>
                      <a:pt x="151" y="501"/>
                    </a:lnTo>
                    <a:lnTo>
                      <a:pt x="157" y="502"/>
                    </a:lnTo>
                    <a:lnTo>
                      <a:pt x="159" y="502"/>
                    </a:lnTo>
                    <a:lnTo>
                      <a:pt x="160" y="504"/>
                    </a:lnTo>
                    <a:lnTo>
                      <a:pt x="162" y="504"/>
                    </a:lnTo>
                    <a:lnTo>
                      <a:pt x="164" y="504"/>
                    </a:lnTo>
                    <a:lnTo>
                      <a:pt x="164" y="504"/>
                    </a:lnTo>
                    <a:lnTo>
                      <a:pt x="166" y="502"/>
                    </a:lnTo>
                    <a:lnTo>
                      <a:pt x="168" y="501"/>
                    </a:lnTo>
                    <a:lnTo>
                      <a:pt x="170" y="499"/>
                    </a:lnTo>
                    <a:lnTo>
                      <a:pt x="172" y="499"/>
                    </a:lnTo>
                    <a:lnTo>
                      <a:pt x="174" y="501"/>
                    </a:lnTo>
                    <a:lnTo>
                      <a:pt x="176" y="501"/>
                    </a:lnTo>
                    <a:lnTo>
                      <a:pt x="176" y="502"/>
                    </a:lnTo>
                    <a:lnTo>
                      <a:pt x="178" y="504"/>
                    </a:lnTo>
                    <a:lnTo>
                      <a:pt x="178" y="506"/>
                    </a:lnTo>
                    <a:lnTo>
                      <a:pt x="180" y="506"/>
                    </a:lnTo>
                    <a:lnTo>
                      <a:pt x="183" y="508"/>
                    </a:lnTo>
                    <a:lnTo>
                      <a:pt x="185" y="508"/>
                    </a:lnTo>
                    <a:lnTo>
                      <a:pt x="187" y="508"/>
                    </a:lnTo>
                    <a:lnTo>
                      <a:pt x="189" y="508"/>
                    </a:lnTo>
                    <a:lnTo>
                      <a:pt x="191" y="508"/>
                    </a:lnTo>
                    <a:lnTo>
                      <a:pt x="193" y="508"/>
                    </a:lnTo>
                    <a:lnTo>
                      <a:pt x="195" y="506"/>
                    </a:lnTo>
                    <a:lnTo>
                      <a:pt x="197" y="504"/>
                    </a:lnTo>
                    <a:lnTo>
                      <a:pt x="197" y="504"/>
                    </a:lnTo>
                    <a:lnTo>
                      <a:pt x="199" y="501"/>
                    </a:lnTo>
                    <a:lnTo>
                      <a:pt x="199" y="499"/>
                    </a:lnTo>
                    <a:lnTo>
                      <a:pt x="199" y="499"/>
                    </a:lnTo>
                    <a:lnTo>
                      <a:pt x="199" y="497"/>
                    </a:lnTo>
                    <a:lnTo>
                      <a:pt x="199" y="497"/>
                    </a:lnTo>
                    <a:lnTo>
                      <a:pt x="199" y="495"/>
                    </a:lnTo>
                    <a:lnTo>
                      <a:pt x="199" y="493"/>
                    </a:lnTo>
                    <a:lnTo>
                      <a:pt x="199" y="493"/>
                    </a:lnTo>
                    <a:lnTo>
                      <a:pt x="199" y="491"/>
                    </a:lnTo>
                    <a:lnTo>
                      <a:pt x="200" y="491"/>
                    </a:lnTo>
                    <a:lnTo>
                      <a:pt x="200" y="491"/>
                    </a:lnTo>
                    <a:lnTo>
                      <a:pt x="202" y="491"/>
                    </a:lnTo>
                    <a:lnTo>
                      <a:pt x="202" y="493"/>
                    </a:lnTo>
                    <a:lnTo>
                      <a:pt x="202" y="495"/>
                    </a:lnTo>
                    <a:lnTo>
                      <a:pt x="202" y="497"/>
                    </a:lnTo>
                    <a:lnTo>
                      <a:pt x="202" y="497"/>
                    </a:lnTo>
                    <a:lnTo>
                      <a:pt x="206" y="499"/>
                    </a:lnTo>
                    <a:lnTo>
                      <a:pt x="206" y="499"/>
                    </a:lnTo>
                    <a:lnTo>
                      <a:pt x="208" y="499"/>
                    </a:lnTo>
                    <a:lnTo>
                      <a:pt x="208" y="497"/>
                    </a:lnTo>
                    <a:lnTo>
                      <a:pt x="208" y="497"/>
                    </a:lnTo>
                    <a:lnTo>
                      <a:pt x="210" y="497"/>
                    </a:lnTo>
                    <a:lnTo>
                      <a:pt x="210" y="495"/>
                    </a:lnTo>
                    <a:lnTo>
                      <a:pt x="208" y="491"/>
                    </a:lnTo>
                    <a:lnTo>
                      <a:pt x="208" y="487"/>
                    </a:lnTo>
                    <a:lnTo>
                      <a:pt x="208" y="487"/>
                    </a:lnTo>
                    <a:lnTo>
                      <a:pt x="210" y="485"/>
                    </a:lnTo>
                    <a:lnTo>
                      <a:pt x="212" y="485"/>
                    </a:lnTo>
                    <a:lnTo>
                      <a:pt x="214" y="483"/>
                    </a:lnTo>
                    <a:lnTo>
                      <a:pt x="216" y="483"/>
                    </a:lnTo>
                    <a:lnTo>
                      <a:pt x="218" y="482"/>
                    </a:lnTo>
                    <a:lnTo>
                      <a:pt x="220" y="480"/>
                    </a:lnTo>
                    <a:lnTo>
                      <a:pt x="221" y="480"/>
                    </a:lnTo>
                    <a:lnTo>
                      <a:pt x="223" y="480"/>
                    </a:lnTo>
                    <a:lnTo>
                      <a:pt x="225" y="480"/>
                    </a:lnTo>
                    <a:lnTo>
                      <a:pt x="225" y="480"/>
                    </a:lnTo>
                    <a:lnTo>
                      <a:pt x="227" y="482"/>
                    </a:lnTo>
                    <a:lnTo>
                      <a:pt x="235" y="482"/>
                    </a:lnTo>
                    <a:lnTo>
                      <a:pt x="237" y="482"/>
                    </a:lnTo>
                    <a:lnTo>
                      <a:pt x="237" y="482"/>
                    </a:lnTo>
                    <a:lnTo>
                      <a:pt x="239" y="483"/>
                    </a:lnTo>
                    <a:lnTo>
                      <a:pt x="241" y="483"/>
                    </a:lnTo>
                    <a:lnTo>
                      <a:pt x="241" y="483"/>
                    </a:lnTo>
                    <a:lnTo>
                      <a:pt x="242" y="483"/>
                    </a:lnTo>
                    <a:lnTo>
                      <a:pt x="244" y="482"/>
                    </a:lnTo>
                    <a:lnTo>
                      <a:pt x="246" y="482"/>
                    </a:lnTo>
                    <a:lnTo>
                      <a:pt x="248" y="480"/>
                    </a:lnTo>
                    <a:lnTo>
                      <a:pt x="248" y="472"/>
                    </a:lnTo>
                    <a:lnTo>
                      <a:pt x="248" y="468"/>
                    </a:lnTo>
                    <a:lnTo>
                      <a:pt x="248" y="466"/>
                    </a:lnTo>
                    <a:lnTo>
                      <a:pt x="246" y="464"/>
                    </a:lnTo>
                    <a:lnTo>
                      <a:pt x="246" y="463"/>
                    </a:lnTo>
                    <a:lnTo>
                      <a:pt x="246" y="461"/>
                    </a:lnTo>
                    <a:lnTo>
                      <a:pt x="246" y="457"/>
                    </a:lnTo>
                    <a:lnTo>
                      <a:pt x="246" y="455"/>
                    </a:lnTo>
                    <a:lnTo>
                      <a:pt x="248" y="453"/>
                    </a:lnTo>
                    <a:lnTo>
                      <a:pt x="248" y="451"/>
                    </a:lnTo>
                    <a:lnTo>
                      <a:pt x="248" y="451"/>
                    </a:lnTo>
                    <a:lnTo>
                      <a:pt x="248" y="449"/>
                    </a:lnTo>
                    <a:lnTo>
                      <a:pt x="248" y="447"/>
                    </a:lnTo>
                    <a:lnTo>
                      <a:pt x="248" y="445"/>
                    </a:lnTo>
                    <a:lnTo>
                      <a:pt x="248" y="443"/>
                    </a:lnTo>
                    <a:lnTo>
                      <a:pt x="252" y="440"/>
                    </a:lnTo>
                    <a:lnTo>
                      <a:pt x="252" y="438"/>
                    </a:lnTo>
                    <a:lnTo>
                      <a:pt x="254" y="438"/>
                    </a:lnTo>
                    <a:lnTo>
                      <a:pt x="256" y="438"/>
                    </a:lnTo>
                    <a:lnTo>
                      <a:pt x="260" y="436"/>
                    </a:lnTo>
                    <a:lnTo>
                      <a:pt x="262" y="436"/>
                    </a:lnTo>
                    <a:lnTo>
                      <a:pt x="263" y="436"/>
                    </a:lnTo>
                    <a:lnTo>
                      <a:pt x="269" y="436"/>
                    </a:lnTo>
                    <a:lnTo>
                      <a:pt x="273" y="436"/>
                    </a:lnTo>
                    <a:lnTo>
                      <a:pt x="273" y="436"/>
                    </a:lnTo>
                    <a:lnTo>
                      <a:pt x="275" y="434"/>
                    </a:lnTo>
                    <a:lnTo>
                      <a:pt x="275" y="432"/>
                    </a:lnTo>
                    <a:lnTo>
                      <a:pt x="279" y="432"/>
                    </a:lnTo>
                    <a:lnTo>
                      <a:pt x="282" y="430"/>
                    </a:lnTo>
                    <a:lnTo>
                      <a:pt x="284" y="428"/>
                    </a:lnTo>
                    <a:lnTo>
                      <a:pt x="286" y="430"/>
                    </a:lnTo>
                    <a:lnTo>
                      <a:pt x="288" y="428"/>
                    </a:lnTo>
                    <a:lnTo>
                      <a:pt x="290" y="428"/>
                    </a:lnTo>
                    <a:lnTo>
                      <a:pt x="292" y="428"/>
                    </a:lnTo>
                    <a:lnTo>
                      <a:pt x="292" y="426"/>
                    </a:lnTo>
                    <a:lnTo>
                      <a:pt x="294" y="424"/>
                    </a:lnTo>
                    <a:lnTo>
                      <a:pt x="296" y="424"/>
                    </a:lnTo>
                    <a:lnTo>
                      <a:pt x="298" y="426"/>
                    </a:lnTo>
                    <a:lnTo>
                      <a:pt x="300" y="426"/>
                    </a:lnTo>
                    <a:lnTo>
                      <a:pt x="302" y="424"/>
                    </a:lnTo>
                    <a:lnTo>
                      <a:pt x="303" y="423"/>
                    </a:lnTo>
                    <a:lnTo>
                      <a:pt x="305" y="423"/>
                    </a:lnTo>
                    <a:lnTo>
                      <a:pt x="309" y="421"/>
                    </a:lnTo>
                    <a:lnTo>
                      <a:pt x="311" y="421"/>
                    </a:lnTo>
                    <a:lnTo>
                      <a:pt x="313" y="419"/>
                    </a:lnTo>
                    <a:lnTo>
                      <a:pt x="315" y="417"/>
                    </a:lnTo>
                    <a:lnTo>
                      <a:pt x="317" y="417"/>
                    </a:lnTo>
                    <a:lnTo>
                      <a:pt x="317" y="417"/>
                    </a:lnTo>
                    <a:lnTo>
                      <a:pt x="321" y="423"/>
                    </a:lnTo>
                    <a:lnTo>
                      <a:pt x="323" y="423"/>
                    </a:lnTo>
                    <a:lnTo>
                      <a:pt x="324" y="421"/>
                    </a:lnTo>
                    <a:lnTo>
                      <a:pt x="328" y="421"/>
                    </a:lnTo>
                    <a:lnTo>
                      <a:pt x="328" y="423"/>
                    </a:lnTo>
                    <a:lnTo>
                      <a:pt x="330" y="424"/>
                    </a:lnTo>
                    <a:lnTo>
                      <a:pt x="330" y="426"/>
                    </a:lnTo>
                    <a:lnTo>
                      <a:pt x="332" y="428"/>
                    </a:lnTo>
                    <a:lnTo>
                      <a:pt x="334" y="430"/>
                    </a:lnTo>
                    <a:lnTo>
                      <a:pt x="336" y="430"/>
                    </a:lnTo>
                    <a:lnTo>
                      <a:pt x="338" y="430"/>
                    </a:lnTo>
                    <a:lnTo>
                      <a:pt x="340" y="428"/>
                    </a:lnTo>
                    <a:lnTo>
                      <a:pt x="342" y="426"/>
                    </a:lnTo>
                    <a:lnTo>
                      <a:pt x="343" y="421"/>
                    </a:lnTo>
                    <a:lnTo>
                      <a:pt x="343" y="421"/>
                    </a:lnTo>
                    <a:lnTo>
                      <a:pt x="345" y="421"/>
                    </a:lnTo>
                    <a:lnTo>
                      <a:pt x="347" y="419"/>
                    </a:lnTo>
                    <a:lnTo>
                      <a:pt x="347" y="419"/>
                    </a:lnTo>
                    <a:lnTo>
                      <a:pt x="349" y="417"/>
                    </a:lnTo>
                    <a:lnTo>
                      <a:pt x="349" y="415"/>
                    </a:lnTo>
                    <a:lnTo>
                      <a:pt x="351" y="415"/>
                    </a:lnTo>
                    <a:lnTo>
                      <a:pt x="351" y="411"/>
                    </a:lnTo>
                    <a:lnTo>
                      <a:pt x="351" y="409"/>
                    </a:lnTo>
                    <a:lnTo>
                      <a:pt x="353" y="407"/>
                    </a:lnTo>
                    <a:lnTo>
                      <a:pt x="353" y="405"/>
                    </a:lnTo>
                    <a:lnTo>
                      <a:pt x="349" y="404"/>
                    </a:lnTo>
                    <a:lnTo>
                      <a:pt x="349" y="404"/>
                    </a:lnTo>
                    <a:lnTo>
                      <a:pt x="349" y="402"/>
                    </a:lnTo>
                    <a:lnTo>
                      <a:pt x="349" y="402"/>
                    </a:lnTo>
                    <a:lnTo>
                      <a:pt x="349" y="400"/>
                    </a:lnTo>
                    <a:lnTo>
                      <a:pt x="347" y="400"/>
                    </a:lnTo>
                    <a:lnTo>
                      <a:pt x="343" y="400"/>
                    </a:lnTo>
                    <a:lnTo>
                      <a:pt x="343" y="400"/>
                    </a:lnTo>
                    <a:lnTo>
                      <a:pt x="343" y="398"/>
                    </a:lnTo>
                    <a:lnTo>
                      <a:pt x="345" y="396"/>
                    </a:lnTo>
                    <a:lnTo>
                      <a:pt x="345" y="394"/>
                    </a:lnTo>
                    <a:lnTo>
                      <a:pt x="347" y="392"/>
                    </a:lnTo>
                    <a:lnTo>
                      <a:pt x="347" y="390"/>
                    </a:lnTo>
                    <a:lnTo>
                      <a:pt x="349" y="390"/>
                    </a:lnTo>
                    <a:lnTo>
                      <a:pt x="351" y="386"/>
                    </a:lnTo>
                    <a:lnTo>
                      <a:pt x="355" y="386"/>
                    </a:lnTo>
                    <a:lnTo>
                      <a:pt x="355" y="385"/>
                    </a:lnTo>
                    <a:lnTo>
                      <a:pt x="355" y="383"/>
                    </a:lnTo>
                    <a:lnTo>
                      <a:pt x="357" y="383"/>
                    </a:lnTo>
                    <a:lnTo>
                      <a:pt x="359" y="385"/>
                    </a:lnTo>
                    <a:lnTo>
                      <a:pt x="359" y="385"/>
                    </a:lnTo>
                    <a:lnTo>
                      <a:pt x="359" y="383"/>
                    </a:lnTo>
                    <a:lnTo>
                      <a:pt x="361" y="383"/>
                    </a:lnTo>
                    <a:lnTo>
                      <a:pt x="361" y="383"/>
                    </a:lnTo>
                    <a:lnTo>
                      <a:pt x="361" y="383"/>
                    </a:lnTo>
                    <a:lnTo>
                      <a:pt x="363" y="383"/>
                    </a:lnTo>
                    <a:lnTo>
                      <a:pt x="363" y="381"/>
                    </a:lnTo>
                    <a:lnTo>
                      <a:pt x="363" y="381"/>
                    </a:lnTo>
                    <a:lnTo>
                      <a:pt x="366" y="379"/>
                    </a:lnTo>
                    <a:lnTo>
                      <a:pt x="366" y="377"/>
                    </a:lnTo>
                    <a:lnTo>
                      <a:pt x="368" y="375"/>
                    </a:lnTo>
                    <a:lnTo>
                      <a:pt x="368" y="375"/>
                    </a:lnTo>
                    <a:lnTo>
                      <a:pt x="370" y="379"/>
                    </a:lnTo>
                    <a:lnTo>
                      <a:pt x="368" y="379"/>
                    </a:lnTo>
                    <a:lnTo>
                      <a:pt x="370" y="379"/>
                    </a:lnTo>
                    <a:lnTo>
                      <a:pt x="372" y="379"/>
                    </a:lnTo>
                    <a:lnTo>
                      <a:pt x="372" y="379"/>
                    </a:lnTo>
                    <a:lnTo>
                      <a:pt x="374" y="381"/>
                    </a:lnTo>
                    <a:lnTo>
                      <a:pt x="374" y="381"/>
                    </a:lnTo>
                    <a:lnTo>
                      <a:pt x="374" y="381"/>
                    </a:lnTo>
                    <a:lnTo>
                      <a:pt x="376" y="381"/>
                    </a:lnTo>
                    <a:lnTo>
                      <a:pt x="378" y="381"/>
                    </a:lnTo>
                    <a:lnTo>
                      <a:pt x="380" y="383"/>
                    </a:lnTo>
                    <a:lnTo>
                      <a:pt x="382" y="385"/>
                    </a:lnTo>
                    <a:lnTo>
                      <a:pt x="382" y="386"/>
                    </a:lnTo>
                    <a:lnTo>
                      <a:pt x="384" y="388"/>
                    </a:lnTo>
                    <a:lnTo>
                      <a:pt x="384" y="392"/>
                    </a:lnTo>
                    <a:lnTo>
                      <a:pt x="384" y="392"/>
                    </a:lnTo>
                    <a:lnTo>
                      <a:pt x="384" y="392"/>
                    </a:lnTo>
                    <a:lnTo>
                      <a:pt x="384" y="396"/>
                    </a:lnTo>
                    <a:lnTo>
                      <a:pt x="384" y="396"/>
                    </a:lnTo>
                    <a:lnTo>
                      <a:pt x="385" y="398"/>
                    </a:lnTo>
                    <a:lnTo>
                      <a:pt x="385" y="398"/>
                    </a:lnTo>
                    <a:lnTo>
                      <a:pt x="385" y="398"/>
                    </a:lnTo>
                    <a:lnTo>
                      <a:pt x="387" y="398"/>
                    </a:lnTo>
                    <a:lnTo>
                      <a:pt x="387" y="400"/>
                    </a:lnTo>
                    <a:lnTo>
                      <a:pt x="389" y="400"/>
                    </a:lnTo>
                    <a:lnTo>
                      <a:pt x="389" y="400"/>
                    </a:lnTo>
                    <a:lnTo>
                      <a:pt x="389" y="402"/>
                    </a:lnTo>
                    <a:lnTo>
                      <a:pt x="391" y="402"/>
                    </a:lnTo>
                    <a:lnTo>
                      <a:pt x="391" y="404"/>
                    </a:lnTo>
                    <a:lnTo>
                      <a:pt x="391" y="405"/>
                    </a:lnTo>
                    <a:lnTo>
                      <a:pt x="391" y="405"/>
                    </a:lnTo>
                    <a:lnTo>
                      <a:pt x="391" y="405"/>
                    </a:lnTo>
                    <a:lnTo>
                      <a:pt x="393" y="405"/>
                    </a:lnTo>
                    <a:lnTo>
                      <a:pt x="395" y="404"/>
                    </a:lnTo>
                    <a:lnTo>
                      <a:pt x="395" y="404"/>
                    </a:lnTo>
                    <a:lnTo>
                      <a:pt x="395" y="404"/>
                    </a:lnTo>
                    <a:lnTo>
                      <a:pt x="395" y="402"/>
                    </a:lnTo>
                    <a:lnTo>
                      <a:pt x="397" y="402"/>
                    </a:lnTo>
                    <a:lnTo>
                      <a:pt x="397" y="404"/>
                    </a:lnTo>
                    <a:lnTo>
                      <a:pt x="397" y="404"/>
                    </a:lnTo>
                    <a:lnTo>
                      <a:pt x="399" y="404"/>
                    </a:lnTo>
                    <a:lnTo>
                      <a:pt x="399" y="404"/>
                    </a:lnTo>
                    <a:lnTo>
                      <a:pt x="401" y="405"/>
                    </a:lnTo>
                    <a:lnTo>
                      <a:pt x="401" y="405"/>
                    </a:lnTo>
                    <a:lnTo>
                      <a:pt x="403" y="407"/>
                    </a:lnTo>
                    <a:lnTo>
                      <a:pt x="403" y="409"/>
                    </a:lnTo>
                    <a:lnTo>
                      <a:pt x="405" y="409"/>
                    </a:lnTo>
                    <a:lnTo>
                      <a:pt x="405" y="409"/>
                    </a:lnTo>
                    <a:lnTo>
                      <a:pt x="405" y="409"/>
                    </a:lnTo>
                    <a:lnTo>
                      <a:pt x="406" y="411"/>
                    </a:lnTo>
                    <a:lnTo>
                      <a:pt x="408" y="411"/>
                    </a:lnTo>
                    <a:lnTo>
                      <a:pt x="410" y="411"/>
                    </a:lnTo>
                    <a:lnTo>
                      <a:pt x="410" y="411"/>
                    </a:lnTo>
                    <a:lnTo>
                      <a:pt x="414" y="411"/>
                    </a:lnTo>
                    <a:lnTo>
                      <a:pt x="416" y="413"/>
                    </a:lnTo>
                    <a:lnTo>
                      <a:pt x="416" y="411"/>
                    </a:lnTo>
                    <a:lnTo>
                      <a:pt x="420" y="409"/>
                    </a:lnTo>
                    <a:lnTo>
                      <a:pt x="420" y="409"/>
                    </a:lnTo>
                    <a:lnTo>
                      <a:pt x="420" y="409"/>
                    </a:lnTo>
                    <a:lnTo>
                      <a:pt x="420" y="407"/>
                    </a:lnTo>
                    <a:lnTo>
                      <a:pt x="418" y="407"/>
                    </a:lnTo>
                    <a:lnTo>
                      <a:pt x="416" y="405"/>
                    </a:lnTo>
                    <a:lnTo>
                      <a:pt x="416" y="405"/>
                    </a:lnTo>
                    <a:lnTo>
                      <a:pt x="416" y="405"/>
                    </a:lnTo>
                    <a:lnTo>
                      <a:pt x="414" y="405"/>
                    </a:lnTo>
                    <a:lnTo>
                      <a:pt x="414" y="404"/>
                    </a:lnTo>
                    <a:lnTo>
                      <a:pt x="416" y="404"/>
                    </a:lnTo>
                    <a:lnTo>
                      <a:pt x="416" y="402"/>
                    </a:lnTo>
                    <a:lnTo>
                      <a:pt x="416" y="402"/>
                    </a:lnTo>
                    <a:lnTo>
                      <a:pt x="416" y="398"/>
                    </a:lnTo>
                    <a:lnTo>
                      <a:pt x="418" y="398"/>
                    </a:lnTo>
                    <a:lnTo>
                      <a:pt x="418" y="398"/>
                    </a:lnTo>
                    <a:lnTo>
                      <a:pt x="418" y="396"/>
                    </a:lnTo>
                    <a:lnTo>
                      <a:pt x="418" y="396"/>
                    </a:lnTo>
                    <a:lnTo>
                      <a:pt x="418" y="394"/>
                    </a:lnTo>
                    <a:lnTo>
                      <a:pt x="418" y="394"/>
                    </a:lnTo>
                    <a:lnTo>
                      <a:pt x="418" y="394"/>
                    </a:lnTo>
                    <a:lnTo>
                      <a:pt x="418" y="394"/>
                    </a:lnTo>
                    <a:lnTo>
                      <a:pt x="418" y="392"/>
                    </a:lnTo>
                    <a:lnTo>
                      <a:pt x="418" y="392"/>
                    </a:lnTo>
                    <a:lnTo>
                      <a:pt x="418" y="390"/>
                    </a:lnTo>
                    <a:lnTo>
                      <a:pt x="416" y="390"/>
                    </a:lnTo>
                    <a:lnTo>
                      <a:pt x="412" y="388"/>
                    </a:lnTo>
                    <a:lnTo>
                      <a:pt x="410" y="390"/>
                    </a:lnTo>
                    <a:lnTo>
                      <a:pt x="408" y="388"/>
                    </a:lnTo>
                    <a:lnTo>
                      <a:pt x="406" y="388"/>
                    </a:lnTo>
                    <a:lnTo>
                      <a:pt x="406" y="390"/>
                    </a:lnTo>
                    <a:lnTo>
                      <a:pt x="406" y="390"/>
                    </a:lnTo>
                    <a:lnTo>
                      <a:pt x="406" y="392"/>
                    </a:lnTo>
                    <a:lnTo>
                      <a:pt x="405" y="392"/>
                    </a:lnTo>
                    <a:lnTo>
                      <a:pt x="405" y="390"/>
                    </a:lnTo>
                    <a:lnTo>
                      <a:pt x="403" y="390"/>
                    </a:lnTo>
                    <a:lnTo>
                      <a:pt x="401" y="390"/>
                    </a:lnTo>
                    <a:lnTo>
                      <a:pt x="401" y="388"/>
                    </a:lnTo>
                    <a:lnTo>
                      <a:pt x="397" y="386"/>
                    </a:lnTo>
                    <a:lnTo>
                      <a:pt x="395" y="386"/>
                    </a:lnTo>
                    <a:lnTo>
                      <a:pt x="393" y="386"/>
                    </a:lnTo>
                    <a:lnTo>
                      <a:pt x="389" y="385"/>
                    </a:lnTo>
                    <a:lnTo>
                      <a:pt x="389" y="385"/>
                    </a:lnTo>
                    <a:lnTo>
                      <a:pt x="389" y="385"/>
                    </a:lnTo>
                    <a:lnTo>
                      <a:pt x="391" y="383"/>
                    </a:lnTo>
                    <a:lnTo>
                      <a:pt x="391" y="383"/>
                    </a:lnTo>
                    <a:lnTo>
                      <a:pt x="391" y="383"/>
                    </a:lnTo>
                    <a:lnTo>
                      <a:pt x="391" y="383"/>
                    </a:lnTo>
                    <a:lnTo>
                      <a:pt x="393" y="381"/>
                    </a:lnTo>
                    <a:lnTo>
                      <a:pt x="393" y="381"/>
                    </a:lnTo>
                    <a:lnTo>
                      <a:pt x="393" y="381"/>
                    </a:lnTo>
                    <a:lnTo>
                      <a:pt x="393" y="379"/>
                    </a:lnTo>
                    <a:lnTo>
                      <a:pt x="393" y="379"/>
                    </a:lnTo>
                    <a:lnTo>
                      <a:pt x="391" y="379"/>
                    </a:lnTo>
                    <a:lnTo>
                      <a:pt x="391" y="377"/>
                    </a:lnTo>
                    <a:lnTo>
                      <a:pt x="391" y="377"/>
                    </a:lnTo>
                    <a:lnTo>
                      <a:pt x="391" y="375"/>
                    </a:lnTo>
                    <a:lnTo>
                      <a:pt x="391" y="375"/>
                    </a:lnTo>
                    <a:lnTo>
                      <a:pt x="391" y="373"/>
                    </a:lnTo>
                    <a:lnTo>
                      <a:pt x="391" y="373"/>
                    </a:lnTo>
                    <a:lnTo>
                      <a:pt x="393" y="373"/>
                    </a:lnTo>
                    <a:lnTo>
                      <a:pt x="393" y="371"/>
                    </a:lnTo>
                    <a:lnTo>
                      <a:pt x="393" y="371"/>
                    </a:lnTo>
                    <a:lnTo>
                      <a:pt x="395" y="371"/>
                    </a:lnTo>
                    <a:lnTo>
                      <a:pt x="395" y="371"/>
                    </a:lnTo>
                    <a:lnTo>
                      <a:pt x="395" y="373"/>
                    </a:lnTo>
                    <a:lnTo>
                      <a:pt x="395" y="373"/>
                    </a:lnTo>
                    <a:lnTo>
                      <a:pt x="395" y="375"/>
                    </a:lnTo>
                    <a:lnTo>
                      <a:pt x="397" y="375"/>
                    </a:lnTo>
                    <a:lnTo>
                      <a:pt x="397" y="377"/>
                    </a:lnTo>
                    <a:lnTo>
                      <a:pt x="397" y="379"/>
                    </a:lnTo>
                    <a:lnTo>
                      <a:pt x="399" y="379"/>
                    </a:lnTo>
                    <a:lnTo>
                      <a:pt x="401" y="379"/>
                    </a:lnTo>
                    <a:lnTo>
                      <a:pt x="401" y="377"/>
                    </a:lnTo>
                    <a:lnTo>
                      <a:pt x="403" y="377"/>
                    </a:lnTo>
                    <a:lnTo>
                      <a:pt x="405" y="377"/>
                    </a:lnTo>
                    <a:lnTo>
                      <a:pt x="405" y="375"/>
                    </a:lnTo>
                    <a:lnTo>
                      <a:pt x="405" y="375"/>
                    </a:lnTo>
                    <a:lnTo>
                      <a:pt x="405" y="373"/>
                    </a:lnTo>
                    <a:lnTo>
                      <a:pt x="405" y="373"/>
                    </a:lnTo>
                    <a:lnTo>
                      <a:pt x="406" y="371"/>
                    </a:lnTo>
                    <a:lnTo>
                      <a:pt x="406" y="369"/>
                    </a:lnTo>
                    <a:lnTo>
                      <a:pt x="406" y="369"/>
                    </a:lnTo>
                    <a:lnTo>
                      <a:pt x="406" y="367"/>
                    </a:lnTo>
                    <a:lnTo>
                      <a:pt x="406" y="367"/>
                    </a:lnTo>
                    <a:lnTo>
                      <a:pt x="408" y="367"/>
                    </a:lnTo>
                    <a:lnTo>
                      <a:pt x="410" y="367"/>
                    </a:lnTo>
                    <a:lnTo>
                      <a:pt x="410" y="365"/>
                    </a:lnTo>
                    <a:lnTo>
                      <a:pt x="412" y="365"/>
                    </a:lnTo>
                    <a:lnTo>
                      <a:pt x="412" y="365"/>
                    </a:lnTo>
                    <a:lnTo>
                      <a:pt x="414" y="365"/>
                    </a:lnTo>
                    <a:lnTo>
                      <a:pt x="414" y="364"/>
                    </a:lnTo>
                    <a:lnTo>
                      <a:pt x="416" y="364"/>
                    </a:lnTo>
                    <a:lnTo>
                      <a:pt x="418" y="364"/>
                    </a:lnTo>
                    <a:lnTo>
                      <a:pt x="420" y="365"/>
                    </a:lnTo>
                    <a:lnTo>
                      <a:pt x="420" y="365"/>
                    </a:lnTo>
                    <a:lnTo>
                      <a:pt x="422" y="365"/>
                    </a:lnTo>
                    <a:lnTo>
                      <a:pt x="422" y="365"/>
                    </a:lnTo>
                    <a:lnTo>
                      <a:pt x="424" y="367"/>
                    </a:lnTo>
                    <a:lnTo>
                      <a:pt x="424" y="367"/>
                    </a:lnTo>
                    <a:lnTo>
                      <a:pt x="424" y="367"/>
                    </a:lnTo>
                    <a:lnTo>
                      <a:pt x="424" y="369"/>
                    </a:lnTo>
                    <a:lnTo>
                      <a:pt x="425" y="369"/>
                    </a:lnTo>
                    <a:lnTo>
                      <a:pt x="427" y="369"/>
                    </a:lnTo>
                    <a:lnTo>
                      <a:pt x="427" y="371"/>
                    </a:lnTo>
                    <a:lnTo>
                      <a:pt x="425" y="371"/>
                    </a:lnTo>
                    <a:lnTo>
                      <a:pt x="425" y="371"/>
                    </a:lnTo>
                    <a:lnTo>
                      <a:pt x="425" y="373"/>
                    </a:lnTo>
                    <a:lnTo>
                      <a:pt x="424" y="373"/>
                    </a:lnTo>
                    <a:lnTo>
                      <a:pt x="425" y="375"/>
                    </a:lnTo>
                    <a:lnTo>
                      <a:pt x="425" y="375"/>
                    </a:lnTo>
                    <a:lnTo>
                      <a:pt x="427" y="373"/>
                    </a:lnTo>
                    <a:lnTo>
                      <a:pt x="429" y="373"/>
                    </a:lnTo>
                    <a:lnTo>
                      <a:pt x="429" y="373"/>
                    </a:lnTo>
                    <a:lnTo>
                      <a:pt x="429" y="373"/>
                    </a:lnTo>
                    <a:lnTo>
                      <a:pt x="431" y="373"/>
                    </a:lnTo>
                    <a:lnTo>
                      <a:pt x="431" y="373"/>
                    </a:lnTo>
                    <a:lnTo>
                      <a:pt x="433" y="373"/>
                    </a:lnTo>
                    <a:lnTo>
                      <a:pt x="435" y="373"/>
                    </a:lnTo>
                    <a:lnTo>
                      <a:pt x="439" y="375"/>
                    </a:lnTo>
                    <a:lnTo>
                      <a:pt x="441" y="375"/>
                    </a:lnTo>
                    <a:lnTo>
                      <a:pt x="443" y="375"/>
                    </a:lnTo>
                    <a:lnTo>
                      <a:pt x="443" y="375"/>
                    </a:lnTo>
                    <a:lnTo>
                      <a:pt x="445" y="375"/>
                    </a:lnTo>
                    <a:lnTo>
                      <a:pt x="445" y="375"/>
                    </a:lnTo>
                    <a:lnTo>
                      <a:pt x="448" y="377"/>
                    </a:lnTo>
                    <a:lnTo>
                      <a:pt x="448" y="377"/>
                    </a:lnTo>
                    <a:lnTo>
                      <a:pt x="448" y="379"/>
                    </a:lnTo>
                    <a:lnTo>
                      <a:pt x="450" y="377"/>
                    </a:lnTo>
                    <a:lnTo>
                      <a:pt x="452" y="377"/>
                    </a:lnTo>
                    <a:lnTo>
                      <a:pt x="452" y="375"/>
                    </a:lnTo>
                    <a:lnTo>
                      <a:pt x="452" y="375"/>
                    </a:lnTo>
                    <a:lnTo>
                      <a:pt x="452" y="373"/>
                    </a:lnTo>
                    <a:lnTo>
                      <a:pt x="452" y="371"/>
                    </a:lnTo>
                    <a:lnTo>
                      <a:pt x="452" y="369"/>
                    </a:lnTo>
                    <a:lnTo>
                      <a:pt x="452" y="369"/>
                    </a:lnTo>
                    <a:lnTo>
                      <a:pt x="452" y="367"/>
                    </a:lnTo>
                    <a:lnTo>
                      <a:pt x="452" y="365"/>
                    </a:lnTo>
                    <a:lnTo>
                      <a:pt x="454" y="365"/>
                    </a:lnTo>
                    <a:lnTo>
                      <a:pt x="454" y="362"/>
                    </a:lnTo>
                    <a:lnTo>
                      <a:pt x="454" y="362"/>
                    </a:lnTo>
                    <a:lnTo>
                      <a:pt x="456" y="364"/>
                    </a:lnTo>
                    <a:lnTo>
                      <a:pt x="458" y="364"/>
                    </a:lnTo>
                    <a:lnTo>
                      <a:pt x="458" y="364"/>
                    </a:lnTo>
                    <a:lnTo>
                      <a:pt x="458" y="362"/>
                    </a:lnTo>
                    <a:lnTo>
                      <a:pt x="460" y="362"/>
                    </a:lnTo>
                    <a:lnTo>
                      <a:pt x="460" y="362"/>
                    </a:lnTo>
                    <a:lnTo>
                      <a:pt x="460" y="360"/>
                    </a:lnTo>
                    <a:lnTo>
                      <a:pt x="460" y="360"/>
                    </a:lnTo>
                    <a:lnTo>
                      <a:pt x="460" y="358"/>
                    </a:lnTo>
                    <a:lnTo>
                      <a:pt x="458" y="358"/>
                    </a:lnTo>
                    <a:lnTo>
                      <a:pt x="458" y="358"/>
                    </a:lnTo>
                    <a:lnTo>
                      <a:pt x="458" y="356"/>
                    </a:lnTo>
                    <a:lnTo>
                      <a:pt x="458" y="354"/>
                    </a:lnTo>
                    <a:lnTo>
                      <a:pt x="460" y="354"/>
                    </a:lnTo>
                    <a:lnTo>
                      <a:pt x="460" y="354"/>
                    </a:lnTo>
                    <a:lnTo>
                      <a:pt x="462" y="354"/>
                    </a:lnTo>
                    <a:lnTo>
                      <a:pt x="462" y="356"/>
                    </a:lnTo>
                    <a:lnTo>
                      <a:pt x="464" y="356"/>
                    </a:lnTo>
                    <a:lnTo>
                      <a:pt x="464" y="356"/>
                    </a:lnTo>
                    <a:lnTo>
                      <a:pt x="466" y="358"/>
                    </a:lnTo>
                    <a:lnTo>
                      <a:pt x="467" y="358"/>
                    </a:lnTo>
                    <a:lnTo>
                      <a:pt x="469" y="358"/>
                    </a:lnTo>
                    <a:lnTo>
                      <a:pt x="469" y="358"/>
                    </a:lnTo>
                    <a:lnTo>
                      <a:pt x="471" y="358"/>
                    </a:lnTo>
                    <a:lnTo>
                      <a:pt x="473" y="356"/>
                    </a:lnTo>
                    <a:lnTo>
                      <a:pt x="473" y="356"/>
                    </a:lnTo>
                    <a:lnTo>
                      <a:pt x="475" y="356"/>
                    </a:lnTo>
                    <a:lnTo>
                      <a:pt x="475" y="356"/>
                    </a:lnTo>
                    <a:lnTo>
                      <a:pt x="475" y="354"/>
                    </a:lnTo>
                    <a:lnTo>
                      <a:pt x="475" y="354"/>
                    </a:lnTo>
                    <a:lnTo>
                      <a:pt x="477" y="354"/>
                    </a:lnTo>
                    <a:lnTo>
                      <a:pt x="477" y="354"/>
                    </a:lnTo>
                    <a:lnTo>
                      <a:pt x="481" y="354"/>
                    </a:lnTo>
                    <a:lnTo>
                      <a:pt x="485" y="352"/>
                    </a:lnTo>
                    <a:lnTo>
                      <a:pt x="488" y="350"/>
                    </a:lnTo>
                    <a:lnTo>
                      <a:pt x="490" y="350"/>
                    </a:lnTo>
                    <a:lnTo>
                      <a:pt x="490" y="350"/>
                    </a:lnTo>
                    <a:lnTo>
                      <a:pt x="492" y="348"/>
                    </a:lnTo>
                    <a:lnTo>
                      <a:pt x="492" y="346"/>
                    </a:lnTo>
                    <a:lnTo>
                      <a:pt x="492" y="346"/>
                    </a:lnTo>
                    <a:lnTo>
                      <a:pt x="492" y="343"/>
                    </a:lnTo>
                    <a:lnTo>
                      <a:pt x="492" y="341"/>
                    </a:lnTo>
                    <a:lnTo>
                      <a:pt x="492" y="341"/>
                    </a:lnTo>
                    <a:lnTo>
                      <a:pt x="492" y="339"/>
                    </a:lnTo>
                    <a:lnTo>
                      <a:pt x="494" y="339"/>
                    </a:lnTo>
                    <a:lnTo>
                      <a:pt x="498" y="339"/>
                    </a:lnTo>
                    <a:lnTo>
                      <a:pt x="500" y="339"/>
                    </a:lnTo>
                    <a:lnTo>
                      <a:pt x="502" y="339"/>
                    </a:lnTo>
                    <a:lnTo>
                      <a:pt x="504" y="339"/>
                    </a:lnTo>
                    <a:lnTo>
                      <a:pt x="504" y="339"/>
                    </a:lnTo>
                    <a:lnTo>
                      <a:pt x="506" y="339"/>
                    </a:lnTo>
                    <a:lnTo>
                      <a:pt x="506" y="337"/>
                    </a:lnTo>
                    <a:lnTo>
                      <a:pt x="507" y="335"/>
                    </a:lnTo>
                    <a:lnTo>
                      <a:pt x="507" y="335"/>
                    </a:lnTo>
                    <a:lnTo>
                      <a:pt x="509" y="331"/>
                    </a:lnTo>
                    <a:lnTo>
                      <a:pt x="511" y="331"/>
                    </a:lnTo>
                    <a:lnTo>
                      <a:pt x="511" y="329"/>
                    </a:lnTo>
                    <a:lnTo>
                      <a:pt x="511" y="329"/>
                    </a:lnTo>
                    <a:lnTo>
                      <a:pt x="513" y="329"/>
                    </a:lnTo>
                    <a:lnTo>
                      <a:pt x="513" y="331"/>
                    </a:lnTo>
                    <a:lnTo>
                      <a:pt x="513" y="331"/>
                    </a:lnTo>
                    <a:lnTo>
                      <a:pt x="513" y="333"/>
                    </a:lnTo>
                    <a:lnTo>
                      <a:pt x="515" y="333"/>
                    </a:lnTo>
                    <a:lnTo>
                      <a:pt x="517" y="335"/>
                    </a:lnTo>
                    <a:lnTo>
                      <a:pt x="517" y="335"/>
                    </a:lnTo>
                    <a:lnTo>
                      <a:pt x="519" y="335"/>
                    </a:lnTo>
                    <a:lnTo>
                      <a:pt x="521" y="333"/>
                    </a:lnTo>
                    <a:lnTo>
                      <a:pt x="523" y="333"/>
                    </a:lnTo>
                    <a:lnTo>
                      <a:pt x="523" y="333"/>
                    </a:lnTo>
                    <a:lnTo>
                      <a:pt x="523" y="333"/>
                    </a:lnTo>
                    <a:lnTo>
                      <a:pt x="525" y="331"/>
                    </a:lnTo>
                    <a:lnTo>
                      <a:pt x="525" y="331"/>
                    </a:lnTo>
                    <a:lnTo>
                      <a:pt x="527" y="329"/>
                    </a:lnTo>
                    <a:lnTo>
                      <a:pt x="527" y="329"/>
                    </a:lnTo>
                    <a:lnTo>
                      <a:pt x="527" y="327"/>
                    </a:lnTo>
                    <a:lnTo>
                      <a:pt x="528" y="326"/>
                    </a:lnTo>
                    <a:lnTo>
                      <a:pt x="530" y="326"/>
                    </a:lnTo>
                    <a:lnTo>
                      <a:pt x="532" y="322"/>
                    </a:lnTo>
                    <a:lnTo>
                      <a:pt x="532" y="322"/>
                    </a:lnTo>
                    <a:lnTo>
                      <a:pt x="532" y="322"/>
                    </a:lnTo>
                    <a:lnTo>
                      <a:pt x="532" y="320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2" y="316"/>
                    </a:lnTo>
                    <a:lnTo>
                      <a:pt x="532" y="314"/>
                    </a:lnTo>
                    <a:lnTo>
                      <a:pt x="532" y="312"/>
                    </a:lnTo>
                    <a:lnTo>
                      <a:pt x="532" y="310"/>
                    </a:lnTo>
                    <a:lnTo>
                      <a:pt x="534" y="308"/>
                    </a:lnTo>
                    <a:lnTo>
                      <a:pt x="534" y="308"/>
                    </a:lnTo>
                    <a:lnTo>
                      <a:pt x="536" y="307"/>
                    </a:lnTo>
                    <a:lnTo>
                      <a:pt x="536" y="307"/>
                    </a:lnTo>
                    <a:lnTo>
                      <a:pt x="536" y="307"/>
                    </a:lnTo>
                    <a:lnTo>
                      <a:pt x="536" y="307"/>
                    </a:lnTo>
                    <a:lnTo>
                      <a:pt x="534" y="305"/>
                    </a:lnTo>
                    <a:lnTo>
                      <a:pt x="532" y="305"/>
                    </a:lnTo>
                    <a:lnTo>
                      <a:pt x="534" y="303"/>
                    </a:lnTo>
                    <a:lnTo>
                      <a:pt x="534" y="303"/>
                    </a:lnTo>
                    <a:lnTo>
                      <a:pt x="534" y="303"/>
                    </a:lnTo>
                    <a:lnTo>
                      <a:pt x="534" y="301"/>
                    </a:lnTo>
                    <a:lnTo>
                      <a:pt x="536" y="301"/>
                    </a:lnTo>
                    <a:lnTo>
                      <a:pt x="538" y="299"/>
                    </a:lnTo>
                    <a:lnTo>
                      <a:pt x="538" y="297"/>
                    </a:lnTo>
                    <a:lnTo>
                      <a:pt x="538" y="295"/>
                    </a:lnTo>
                    <a:lnTo>
                      <a:pt x="540" y="293"/>
                    </a:lnTo>
                    <a:lnTo>
                      <a:pt x="540" y="293"/>
                    </a:lnTo>
                    <a:lnTo>
                      <a:pt x="542" y="291"/>
                    </a:lnTo>
                    <a:lnTo>
                      <a:pt x="542" y="291"/>
                    </a:lnTo>
                    <a:lnTo>
                      <a:pt x="542" y="289"/>
                    </a:lnTo>
                    <a:lnTo>
                      <a:pt x="542" y="287"/>
                    </a:lnTo>
                    <a:lnTo>
                      <a:pt x="542" y="287"/>
                    </a:lnTo>
                    <a:lnTo>
                      <a:pt x="542" y="286"/>
                    </a:lnTo>
                    <a:lnTo>
                      <a:pt x="544" y="286"/>
                    </a:lnTo>
                    <a:lnTo>
                      <a:pt x="546" y="284"/>
                    </a:lnTo>
                    <a:lnTo>
                      <a:pt x="548" y="284"/>
                    </a:lnTo>
                    <a:lnTo>
                      <a:pt x="548" y="282"/>
                    </a:lnTo>
                    <a:lnTo>
                      <a:pt x="548" y="282"/>
                    </a:lnTo>
                    <a:lnTo>
                      <a:pt x="551" y="282"/>
                    </a:lnTo>
                    <a:lnTo>
                      <a:pt x="551" y="282"/>
                    </a:lnTo>
                    <a:lnTo>
                      <a:pt x="555" y="280"/>
                    </a:lnTo>
                    <a:lnTo>
                      <a:pt x="555" y="280"/>
                    </a:lnTo>
                    <a:lnTo>
                      <a:pt x="557" y="280"/>
                    </a:lnTo>
                    <a:lnTo>
                      <a:pt x="557" y="278"/>
                    </a:lnTo>
                    <a:lnTo>
                      <a:pt x="559" y="276"/>
                    </a:lnTo>
                    <a:lnTo>
                      <a:pt x="559" y="276"/>
                    </a:lnTo>
                    <a:lnTo>
                      <a:pt x="561" y="274"/>
                    </a:lnTo>
                    <a:lnTo>
                      <a:pt x="561" y="274"/>
                    </a:lnTo>
                    <a:lnTo>
                      <a:pt x="563" y="274"/>
                    </a:lnTo>
                    <a:lnTo>
                      <a:pt x="565" y="274"/>
                    </a:lnTo>
                    <a:lnTo>
                      <a:pt x="567" y="272"/>
                    </a:lnTo>
                    <a:lnTo>
                      <a:pt x="569" y="272"/>
                    </a:lnTo>
                    <a:lnTo>
                      <a:pt x="569" y="270"/>
                    </a:lnTo>
                    <a:lnTo>
                      <a:pt x="570" y="270"/>
                    </a:lnTo>
                    <a:lnTo>
                      <a:pt x="570" y="27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8" name="Freeform 10">
                <a:extLst>
                  <a:ext uri="{FF2B5EF4-FFF2-40B4-BE49-F238E27FC236}">
                    <a16:creationId xmlns:a16="http://schemas.microsoft.com/office/drawing/2014/main" id="{001B4F62-7E5B-4EE8-BCBE-C98E59991A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02394" y="6666386"/>
                <a:ext cx="817563" cy="1101725"/>
              </a:xfrm>
              <a:custGeom>
                <a:avLst/>
                <a:gdLst>
                  <a:gd name="T0" fmla="*/ 508 w 515"/>
                  <a:gd name="T1" fmla="*/ 11 h 694"/>
                  <a:gd name="T2" fmla="*/ 485 w 515"/>
                  <a:gd name="T3" fmla="*/ 5 h 694"/>
                  <a:gd name="T4" fmla="*/ 479 w 515"/>
                  <a:gd name="T5" fmla="*/ 3 h 694"/>
                  <a:gd name="T6" fmla="*/ 451 w 515"/>
                  <a:gd name="T7" fmla="*/ 30 h 694"/>
                  <a:gd name="T8" fmla="*/ 445 w 515"/>
                  <a:gd name="T9" fmla="*/ 40 h 694"/>
                  <a:gd name="T10" fmla="*/ 416 w 515"/>
                  <a:gd name="T11" fmla="*/ 28 h 694"/>
                  <a:gd name="T12" fmla="*/ 401 w 515"/>
                  <a:gd name="T13" fmla="*/ 38 h 694"/>
                  <a:gd name="T14" fmla="*/ 369 w 515"/>
                  <a:gd name="T15" fmla="*/ 61 h 694"/>
                  <a:gd name="T16" fmla="*/ 342 w 515"/>
                  <a:gd name="T17" fmla="*/ 55 h 694"/>
                  <a:gd name="T18" fmla="*/ 319 w 515"/>
                  <a:gd name="T19" fmla="*/ 59 h 694"/>
                  <a:gd name="T20" fmla="*/ 298 w 515"/>
                  <a:gd name="T21" fmla="*/ 87 h 694"/>
                  <a:gd name="T22" fmla="*/ 275 w 515"/>
                  <a:gd name="T23" fmla="*/ 114 h 694"/>
                  <a:gd name="T24" fmla="*/ 224 w 515"/>
                  <a:gd name="T25" fmla="*/ 91 h 694"/>
                  <a:gd name="T26" fmla="*/ 191 w 515"/>
                  <a:gd name="T27" fmla="*/ 99 h 694"/>
                  <a:gd name="T28" fmla="*/ 172 w 515"/>
                  <a:gd name="T29" fmla="*/ 110 h 694"/>
                  <a:gd name="T30" fmla="*/ 174 w 515"/>
                  <a:gd name="T31" fmla="*/ 135 h 694"/>
                  <a:gd name="T32" fmla="*/ 157 w 515"/>
                  <a:gd name="T33" fmla="*/ 169 h 694"/>
                  <a:gd name="T34" fmla="*/ 189 w 515"/>
                  <a:gd name="T35" fmla="*/ 186 h 694"/>
                  <a:gd name="T36" fmla="*/ 151 w 515"/>
                  <a:gd name="T37" fmla="*/ 220 h 694"/>
                  <a:gd name="T38" fmla="*/ 113 w 515"/>
                  <a:gd name="T39" fmla="*/ 222 h 694"/>
                  <a:gd name="T40" fmla="*/ 77 w 515"/>
                  <a:gd name="T41" fmla="*/ 234 h 694"/>
                  <a:gd name="T42" fmla="*/ 31 w 515"/>
                  <a:gd name="T43" fmla="*/ 232 h 694"/>
                  <a:gd name="T44" fmla="*/ 16 w 515"/>
                  <a:gd name="T45" fmla="*/ 245 h 694"/>
                  <a:gd name="T46" fmla="*/ 0 w 515"/>
                  <a:gd name="T47" fmla="*/ 258 h 694"/>
                  <a:gd name="T48" fmla="*/ 39 w 515"/>
                  <a:gd name="T49" fmla="*/ 281 h 694"/>
                  <a:gd name="T50" fmla="*/ 42 w 515"/>
                  <a:gd name="T51" fmla="*/ 298 h 694"/>
                  <a:gd name="T52" fmla="*/ 62 w 515"/>
                  <a:gd name="T53" fmla="*/ 308 h 694"/>
                  <a:gd name="T54" fmla="*/ 56 w 515"/>
                  <a:gd name="T55" fmla="*/ 321 h 694"/>
                  <a:gd name="T56" fmla="*/ 81 w 515"/>
                  <a:gd name="T57" fmla="*/ 348 h 694"/>
                  <a:gd name="T58" fmla="*/ 75 w 515"/>
                  <a:gd name="T59" fmla="*/ 380 h 694"/>
                  <a:gd name="T60" fmla="*/ 81 w 515"/>
                  <a:gd name="T61" fmla="*/ 414 h 694"/>
                  <a:gd name="T62" fmla="*/ 123 w 515"/>
                  <a:gd name="T63" fmla="*/ 409 h 694"/>
                  <a:gd name="T64" fmla="*/ 128 w 515"/>
                  <a:gd name="T65" fmla="*/ 456 h 694"/>
                  <a:gd name="T66" fmla="*/ 123 w 515"/>
                  <a:gd name="T67" fmla="*/ 504 h 694"/>
                  <a:gd name="T68" fmla="*/ 147 w 515"/>
                  <a:gd name="T69" fmla="*/ 515 h 694"/>
                  <a:gd name="T70" fmla="*/ 126 w 515"/>
                  <a:gd name="T71" fmla="*/ 593 h 694"/>
                  <a:gd name="T72" fmla="*/ 123 w 515"/>
                  <a:gd name="T73" fmla="*/ 627 h 694"/>
                  <a:gd name="T74" fmla="*/ 123 w 515"/>
                  <a:gd name="T75" fmla="*/ 645 h 694"/>
                  <a:gd name="T76" fmla="*/ 111 w 515"/>
                  <a:gd name="T77" fmla="*/ 667 h 694"/>
                  <a:gd name="T78" fmla="*/ 178 w 515"/>
                  <a:gd name="T79" fmla="*/ 685 h 694"/>
                  <a:gd name="T80" fmla="*/ 239 w 515"/>
                  <a:gd name="T81" fmla="*/ 622 h 694"/>
                  <a:gd name="T82" fmla="*/ 245 w 515"/>
                  <a:gd name="T83" fmla="*/ 593 h 694"/>
                  <a:gd name="T84" fmla="*/ 319 w 515"/>
                  <a:gd name="T85" fmla="*/ 549 h 694"/>
                  <a:gd name="T86" fmla="*/ 369 w 515"/>
                  <a:gd name="T87" fmla="*/ 544 h 694"/>
                  <a:gd name="T88" fmla="*/ 390 w 515"/>
                  <a:gd name="T89" fmla="*/ 542 h 694"/>
                  <a:gd name="T90" fmla="*/ 338 w 515"/>
                  <a:gd name="T91" fmla="*/ 506 h 694"/>
                  <a:gd name="T92" fmla="*/ 372 w 515"/>
                  <a:gd name="T93" fmla="*/ 454 h 694"/>
                  <a:gd name="T94" fmla="*/ 395 w 515"/>
                  <a:gd name="T95" fmla="*/ 411 h 694"/>
                  <a:gd name="T96" fmla="*/ 416 w 515"/>
                  <a:gd name="T97" fmla="*/ 413 h 694"/>
                  <a:gd name="T98" fmla="*/ 426 w 515"/>
                  <a:gd name="T99" fmla="*/ 411 h 694"/>
                  <a:gd name="T100" fmla="*/ 449 w 515"/>
                  <a:gd name="T101" fmla="*/ 346 h 694"/>
                  <a:gd name="T102" fmla="*/ 443 w 515"/>
                  <a:gd name="T103" fmla="*/ 338 h 694"/>
                  <a:gd name="T104" fmla="*/ 441 w 515"/>
                  <a:gd name="T105" fmla="*/ 331 h 694"/>
                  <a:gd name="T106" fmla="*/ 454 w 515"/>
                  <a:gd name="T107" fmla="*/ 304 h 694"/>
                  <a:gd name="T108" fmla="*/ 443 w 515"/>
                  <a:gd name="T109" fmla="*/ 276 h 694"/>
                  <a:gd name="T110" fmla="*/ 441 w 515"/>
                  <a:gd name="T111" fmla="*/ 247 h 694"/>
                  <a:gd name="T112" fmla="*/ 437 w 515"/>
                  <a:gd name="T113" fmla="*/ 215 h 694"/>
                  <a:gd name="T114" fmla="*/ 433 w 515"/>
                  <a:gd name="T115" fmla="*/ 203 h 694"/>
                  <a:gd name="T116" fmla="*/ 445 w 515"/>
                  <a:gd name="T117" fmla="*/ 199 h 694"/>
                  <a:gd name="T118" fmla="*/ 454 w 515"/>
                  <a:gd name="T119" fmla="*/ 201 h 694"/>
                  <a:gd name="T120" fmla="*/ 479 w 515"/>
                  <a:gd name="T121" fmla="*/ 154 h 694"/>
                  <a:gd name="T122" fmla="*/ 506 w 515"/>
                  <a:gd name="T123" fmla="*/ 89 h 694"/>
                  <a:gd name="T124" fmla="*/ 513 w 515"/>
                  <a:gd name="T125" fmla="*/ 36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15" h="694">
                    <a:moveTo>
                      <a:pt x="512" y="11"/>
                    </a:moveTo>
                    <a:lnTo>
                      <a:pt x="512" y="11"/>
                    </a:lnTo>
                    <a:lnTo>
                      <a:pt x="512" y="5"/>
                    </a:lnTo>
                    <a:lnTo>
                      <a:pt x="510" y="0"/>
                    </a:lnTo>
                    <a:lnTo>
                      <a:pt x="508" y="0"/>
                    </a:lnTo>
                    <a:lnTo>
                      <a:pt x="508" y="2"/>
                    </a:lnTo>
                    <a:lnTo>
                      <a:pt x="508" y="2"/>
                    </a:lnTo>
                    <a:lnTo>
                      <a:pt x="508" y="2"/>
                    </a:lnTo>
                    <a:lnTo>
                      <a:pt x="512" y="11"/>
                    </a:lnTo>
                    <a:close/>
                    <a:moveTo>
                      <a:pt x="515" y="19"/>
                    </a:moveTo>
                    <a:lnTo>
                      <a:pt x="515" y="15"/>
                    </a:lnTo>
                    <a:lnTo>
                      <a:pt x="513" y="13"/>
                    </a:lnTo>
                    <a:lnTo>
                      <a:pt x="512" y="13"/>
                    </a:lnTo>
                    <a:lnTo>
                      <a:pt x="512" y="13"/>
                    </a:lnTo>
                    <a:lnTo>
                      <a:pt x="512" y="15"/>
                    </a:lnTo>
                    <a:lnTo>
                      <a:pt x="510" y="13"/>
                    </a:lnTo>
                    <a:lnTo>
                      <a:pt x="508" y="11"/>
                    </a:lnTo>
                    <a:lnTo>
                      <a:pt x="506" y="9"/>
                    </a:lnTo>
                    <a:lnTo>
                      <a:pt x="506" y="7"/>
                    </a:lnTo>
                    <a:lnTo>
                      <a:pt x="506" y="7"/>
                    </a:lnTo>
                    <a:lnTo>
                      <a:pt x="506" y="7"/>
                    </a:lnTo>
                    <a:lnTo>
                      <a:pt x="506" y="7"/>
                    </a:lnTo>
                    <a:lnTo>
                      <a:pt x="506" y="7"/>
                    </a:lnTo>
                    <a:lnTo>
                      <a:pt x="506" y="7"/>
                    </a:lnTo>
                    <a:lnTo>
                      <a:pt x="500" y="9"/>
                    </a:lnTo>
                    <a:lnTo>
                      <a:pt x="498" y="9"/>
                    </a:lnTo>
                    <a:lnTo>
                      <a:pt x="492" y="9"/>
                    </a:lnTo>
                    <a:lnTo>
                      <a:pt x="491" y="9"/>
                    </a:lnTo>
                    <a:lnTo>
                      <a:pt x="487" y="9"/>
                    </a:lnTo>
                    <a:lnTo>
                      <a:pt x="485" y="9"/>
                    </a:lnTo>
                    <a:lnTo>
                      <a:pt x="485" y="7"/>
                    </a:lnTo>
                    <a:lnTo>
                      <a:pt x="485" y="7"/>
                    </a:lnTo>
                    <a:lnTo>
                      <a:pt x="485" y="7"/>
                    </a:lnTo>
                    <a:lnTo>
                      <a:pt x="485" y="5"/>
                    </a:lnTo>
                    <a:lnTo>
                      <a:pt x="487" y="5"/>
                    </a:lnTo>
                    <a:lnTo>
                      <a:pt x="487" y="3"/>
                    </a:lnTo>
                    <a:lnTo>
                      <a:pt x="487" y="3"/>
                    </a:lnTo>
                    <a:lnTo>
                      <a:pt x="487" y="2"/>
                    </a:lnTo>
                    <a:lnTo>
                      <a:pt x="487" y="2"/>
                    </a:lnTo>
                    <a:lnTo>
                      <a:pt x="483" y="2"/>
                    </a:lnTo>
                    <a:lnTo>
                      <a:pt x="481" y="2"/>
                    </a:lnTo>
                    <a:lnTo>
                      <a:pt x="479" y="0"/>
                    </a:lnTo>
                    <a:lnTo>
                      <a:pt x="477" y="0"/>
                    </a:lnTo>
                    <a:lnTo>
                      <a:pt x="477" y="0"/>
                    </a:lnTo>
                    <a:lnTo>
                      <a:pt x="477" y="0"/>
                    </a:lnTo>
                    <a:lnTo>
                      <a:pt x="475" y="0"/>
                    </a:lnTo>
                    <a:lnTo>
                      <a:pt x="477" y="2"/>
                    </a:lnTo>
                    <a:lnTo>
                      <a:pt x="477" y="2"/>
                    </a:lnTo>
                    <a:lnTo>
                      <a:pt x="477" y="3"/>
                    </a:lnTo>
                    <a:lnTo>
                      <a:pt x="479" y="3"/>
                    </a:lnTo>
                    <a:lnTo>
                      <a:pt x="479" y="3"/>
                    </a:lnTo>
                    <a:lnTo>
                      <a:pt x="479" y="5"/>
                    </a:lnTo>
                    <a:lnTo>
                      <a:pt x="479" y="5"/>
                    </a:lnTo>
                    <a:lnTo>
                      <a:pt x="479" y="7"/>
                    </a:lnTo>
                    <a:lnTo>
                      <a:pt x="477" y="7"/>
                    </a:lnTo>
                    <a:lnTo>
                      <a:pt x="475" y="7"/>
                    </a:lnTo>
                    <a:lnTo>
                      <a:pt x="473" y="9"/>
                    </a:lnTo>
                    <a:lnTo>
                      <a:pt x="471" y="11"/>
                    </a:lnTo>
                    <a:lnTo>
                      <a:pt x="470" y="13"/>
                    </a:lnTo>
                    <a:lnTo>
                      <a:pt x="468" y="15"/>
                    </a:lnTo>
                    <a:lnTo>
                      <a:pt x="468" y="15"/>
                    </a:lnTo>
                    <a:lnTo>
                      <a:pt x="468" y="17"/>
                    </a:lnTo>
                    <a:lnTo>
                      <a:pt x="468" y="17"/>
                    </a:lnTo>
                    <a:lnTo>
                      <a:pt x="468" y="19"/>
                    </a:lnTo>
                    <a:lnTo>
                      <a:pt x="468" y="19"/>
                    </a:lnTo>
                    <a:lnTo>
                      <a:pt x="468" y="21"/>
                    </a:lnTo>
                    <a:lnTo>
                      <a:pt x="456" y="26"/>
                    </a:lnTo>
                    <a:lnTo>
                      <a:pt x="451" y="30"/>
                    </a:lnTo>
                    <a:lnTo>
                      <a:pt x="447" y="30"/>
                    </a:lnTo>
                    <a:lnTo>
                      <a:pt x="445" y="30"/>
                    </a:lnTo>
                    <a:lnTo>
                      <a:pt x="445" y="30"/>
                    </a:lnTo>
                    <a:lnTo>
                      <a:pt x="443" y="30"/>
                    </a:lnTo>
                    <a:lnTo>
                      <a:pt x="443" y="30"/>
                    </a:lnTo>
                    <a:lnTo>
                      <a:pt x="441" y="32"/>
                    </a:lnTo>
                    <a:lnTo>
                      <a:pt x="441" y="32"/>
                    </a:lnTo>
                    <a:lnTo>
                      <a:pt x="443" y="34"/>
                    </a:lnTo>
                    <a:lnTo>
                      <a:pt x="443" y="34"/>
                    </a:lnTo>
                    <a:lnTo>
                      <a:pt x="443" y="34"/>
                    </a:lnTo>
                    <a:lnTo>
                      <a:pt x="445" y="34"/>
                    </a:lnTo>
                    <a:lnTo>
                      <a:pt x="445" y="36"/>
                    </a:lnTo>
                    <a:lnTo>
                      <a:pt x="447" y="36"/>
                    </a:lnTo>
                    <a:lnTo>
                      <a:pt x="447" y="36"/>
                    </a:lnTo>
                    <a:lnTo>
                      <a:pt x="447" y="38"/>
                    </a:lnTo>
                    <a:lnTo>
                      <a:pt x="445" y="40"/>
                    </a:lnTo>
                    <a:lnTo>
                      <a:pt x="445" y="40"/>
                    </a:lnTo>
                    <a:lnTo>
                      <a:pt x="443" y="40"/>
                    </a:lnTo>
                    <a:lnTo>
                      <a:pt x="443" y="40"/>
                    </a:lnTo>
                    <a:lnTo>
                      <a:pt x="439" y="40"/>
                    </a:lnTo>
                    <a:lnTo>
                      <a:pt x="437" y="40"/>
                    </a:lnTo>
                    <a:lnTo>
                      <a:pt x="435" y="38"/>
                    </a:lnTo>
                    <a:lnTo>
                      <a:pt x="433" y="36"/>
                    </a:lnTo>
                    <a:lnTo>
                      <a:pt x="433" y="36"/>
                    </a:lnTo>
                    <a:lnTo>
                      <a:pt x="433" y="34"/>
                    </a:lnTo>
                    <a:lnTo>
                      <a:pt x="433" y="34"/>
                    </a:lnTo>
                    <a:lnTo>
                      <a:pt x="433" y="32"/>
                    </a:lnTo>
                    <a:lnTo>
                      <a:pt x="433" y="30"/>
                    </a:lnTo>
                    <a:lnTo>
                      <a:pt x="431" y="30"/>
                    </a:lnTo>
                    <a:lnTo>
                      <a:pt x="422" y="32"/>
                    </a:lnTo>
                    <a:lnTo>
                      <a:pt x="420" y="32"/>
                    </a:lnTo>
                    <a:lnTo>
                      <a:pt x="418" y="32"/>
                    </a:lnTo>
                    <a:lnTo>
                      <a:pt x="418" y="30"/>
                    </a:lnTo>
                    <a:lnTo>
                      <a:pt x="416" y="28"/>
                    </a:lnTo>
                    <a:lnTo>
                      <a:pt x="416" y="26"/>
                    </a:lnTo>
                    <a:lnTo>
                      <a:pt x="414" y="24"/>
                    </a:lnTo>
                    <a:lnTo>
                      <a:pt x="412" y="24"/>
                    </a:lnTo>
                    <a:lnTo>
                      <a:pt x="410" y="24"/>
                    </a:lnTo>
                    <a:lnTo>
                      <a:pt x="409" y="24"/>
                    </a:lnTo>
                    <a:lnTo>
                      <a:pt x="407" y="24"/>
                    </a:lnTo>
                    <a:lnTo>
                      <a:pt x="403" y="24"/>
                    </a:lnTo>
                    <a:lnTo>
                      <a:pt x="403" y="26"/>
                    </a:lnTo>
                    <a:lnTo>
                      <a:pt x="403" y="26"/>
                    </a:lnTo>
                    <a:lnTo>
                      <a:pt x="403" y="28"/>
                    </a:lnTo>
                    <a:lnTo>
                      <a:pt x="403" y="30"/>
                    </a:lnTo>
                    <a:lnTo>
                      <a:pt x="401" y="30"/>
                    </a:lnTo>
                    <a:lnTo>
                      <a:pt x="401" y="34"/>
                    </a:lnTo>
                    <a:lnTo>
                      <a:pt x="401" y="34"/>
                    </a:lnTo>
                    <a:lnTo>
                      <a:pt x="401" y="36"/>
                    </a:lnTo>
                    <a:lnTo>
                      <a:pt x="401" y="36"/>
                    </a:lnTo>
                    <a:lnTo>
                      <a:pt x="401" y="38"/>
                    </a:lnTo>
                    <a:lnTo>
                      <a:pt x="399" y="40"/>
                    </a:lnTo>
                    <a:lnTo>
                      <a:pt x="395" y="41"/>
                    </a:lnTo>
                    <a:lnTo>
                      <a:pt x="395" y="41"/>
                    </a:lnTo>
                    <a:lnTo>
                      <a:pt x="393" y="43"/>
                    </a:lnTo>
                    <a:lnTo>
                      <a:pt x="391" y="45"/>
                    </a:lnTo>
                    <a:lnTo>
                      <a:pt x="388" y="49"/>
                    </a:lnTo>
                    <a:lnTo>
                      <a:pt x="388" y="51"/>
                    </a:lnTo>
                    <a:lnTo>
                      <a:pt x="386" y="51"/>
                    </a:lnTo>
                    <a:lnTo>
                      <a:pt x="384" y="51"/>
                    </a:lnTo>
                    <a:lnTo>
                      <a:pt x="384" y="49"/>
                    </a:lnTo>
                    <a:lnTo>
                      <a:pt x="382" y="49"/>
                    </a:lnTo>
                    <a:lnTo>
                      <a:pt x="380" y="49"/>
                    </a:lnTo>
                    <a:lnTo>
                      <a:pt x="378" y="49"/>
                    </a:lnTo>
                    <a:lnTo>
                      <a:pt x="378" y="49"/>
                    </a:lnTo>
                    <a:lnTo>
                      <a:pt x="372" y="57"/>
                    </a:lnTo>
                    <a:lnTo>
                      <a:pt x="370" y="61"/>
                    </a:lnTo>
                    <a:lnTo>
                      <a:pt x="369" y="61"/>
                    </a:lnTo>
                    <a:lnTo>
                      <a:pt x="367" y="62"/>
                    </a:lnTo>
                    <a:lnTo>
                      <a:pt x="367" y="62"/>
                    </a:lnTo>
                    <a:lnTo>
                      <a:pt x="361" y="62"/>
                    </a:lnTo>
                    <a:lnTo>
                      <a:pt x="359" y="62"/>
                    </a:lnTo>
                    <a:lnTo>
                      <a:pt x="357" y="62"/>
                    </a:lnTo>
                    <a:lnTo>
                      <a:pt x="355" y="62"/>
                    </a:lnTo>
                    <a:lnTo>
                      <a:pt x="355" y="62"/>
                    </a:lnTo>
                    <a:lnTo>
                      <a:pt x="353" y="61"/>
                    </a:lnTo>
                    <a:lnTo>
                      <a:pt x="349" y="61"/>
                    </a:lnTo>
                    <a:lnTo>
                      <a:pt x="349" y="61"/>
                    </a:lnTo>
                    <a:lnTo>
                      <a:pt x="348" y="61"/>
                    </a:lnTo>
                    <a:lnTo>
                      <a:pt x="348" y="59"/>
                    </a:lnTo>
                    <a:lnTo>
                      <a:pt x="348" y="57"/>
                    </a:lnTo>
                    <a:lnTo>
                      <a:pt x="348" y="57"/>
                    </a:lnTo>
                    <a:lnTo>
                      <a:pt x="346" y="57"/>
                    </a:lnTo>
                    <a:lnTo>
                      <a:pt x="346" y="57"/>
                    </a:lnTo>
                    <a:lnTo>
                      <a:pt x="342" y="55"/>
                    </a:lnTo>
                    <a:lnTo>
                      <a:pt x="340" y="55"/>
                    </a:lnTo>
                    <a:lnTo>
                      <a:pt x="340" y="57"/>
                    </a:lnTo>
                    <a:lnTo>
                      <a:pt x="338" y="57"/>
                    </a:lnTo>
                    <a:lnTo>
                      <a:pt x="338" y="59"/>
                    </a:lnTo>
                    <a:lnTo>
                      <a:pt x="338" y="61"/>
                    </a:lnTo>
                    <a:lnTo>
                      <a:pt x="338" y="61"/>
                    </a:lnTo>
                    <a:lnTo>
                      <a:pt x="336" y="62"/>
                    </a:lnTo>
                    <a:lnTo>
                      <a:pt x="334" y="62"/>
                    </a:lnTo>
                    <a:lnTo>
                      <a:pt x="334" y="62"/>
                    </a:lnTo>
                    <a:lnTo>
                      <a:pt x="332" y="62"/>
                    </a:lnTo>
                    <a:lnTo>
                      <a:pt x="332" y="61"/>
                    </a:lnTo>
                    <a:lnTo>
                      <a:pt x="332" y="59"/>
                    </a:lnTo>
                    <a:lnTo>
                      <a:pt x="330" y="59"/>
                    </a:lnTo>
                    <a:lnTo>
                      <a:pt x="330" y="57"/>
                    </a:lnTo>
                    <a:lnTo>
                      <a:pt x="325" y="59"/>
                    </a:lnTo>
                    <a:lnTo>
                      <a:pt x="323" y="59"/>
                    </a:lnTo>
                    <a:lnTo>
                      <a:pt x="319" y="59"/>
                    </a:lnTo>
                    <a:lnTo>
                      <a:pt x="313" y="61"/>
                    </a:lnTo>
                    <a:lnTo>
                      <a:pt x="313" y="61"/>
                    </a:lnTo>
                    <a:lnTo>
                      <a:pt x="311" y="61"/>
                    </a:lnTo>
                    <a:lnTo>
                      <a:pt x="311" y="62"/>
                    </a:lnTo>
                    <a:lnTo>
                      <a:pt x="309" y="64"/>
                    </a:lnTo>
                    <a:lnTo>
                      <a:pt x="309" y="64"/>
                    </a:lnTo>
                    <a:lnTo>
                      <a:pt x="308" y="66"/>
                    </a:lnTo>
                    <a:lnTo>
                      <a:pt x="306" y="66"/>
                    </a:lnTo>
                    <a:lnTo>
                      <a:pt x="306" y="66"/>
                    </a:lnTo>
                    <a:lnTo>
                      <a:pt x="304" y="66"/>
                    </a:lnTo>
                    <a:lnTo>
                      <a:pt x="302" y="68"/>
                    </a:lnTo>
                    <a:lnTo>
                      <a:pt x="302" y="70"/>
                    </a:lnTo>
                    <a:lnTo>
                      <a:pt x="302" y="72"/>
                    </a:lnTo>
                    <a:lnTo>
                      <a:pt x="302" y="76"/>
                    </a:lnTo>
                    <a:lnTo>
                      <a:pt x="302" y="76"/>
                    </a:lnTo>
                    <a:lnTo>
                      <a:pt x="300" y="78"/>
                    </a:lnTo>
                    <a:lnTo>
                      <a:pt x="298" y="87"/>
                    </a:lnTo>
                    <a:lnTo>
                      <a:pt x="294" y="97"/>
                    </a:lnTo>
                    <a:lnTo>
                      <a:pt x="294" y="97"/>
                    </a:lnTo>
                    <a:lnTo>
                      <a:pt x="294" y="99"/>
                    </a:lnTo>
                    <a:lnTo>
                      <a:pt x="288" y="102"/>
                    </a:lnTo>
                    <a:lnTo>
                      <a:pt x="288" y="102"/>
                    </a:lnTo>
                    <a:lnTo>
                      <a:pt x="287" y="102"/>
                    </a:lnTo>
                    <a:lnTo>
                      <a:pt x="287" y="100"/>
                    </a:lnTo>
                    <a:lnTo>
                      <a:pt x="285" y="100"/>
                    </a:lnTo>
                    <a:lnTo>
                      <a:pt x="285" y="100"/>
                    </a:lnTo>
                    <a:lnTo>
                      <a:pt x="285" y="100"/>
                    </a:lnTo>
                    <a:lnTo>
                      <a:pt x="285" y="102"/>
                    </a:lnTo>
                    <a:lnTo>
                      <a:pt x="285" y="104"/>
                    </a:lnTo>
                    <a:lnTo>
                      <a:pt x="285" y="106"/>
                    </a:lnTo>
                    <a:lnTo>
                      <a:pt x="283" y="108"/>
                    </a:lnTo>
                    <a:lnTo>
                      <a:pt x="277" y="114"/>
                    </a:lnTo>
                    <a:lnTo>
                      <a:pt x="277" y="114"/>
                    </a:lnTo>
                    <a:lnTo>
                      <a:pt x="275" y="114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71" y="116"/>
                    </a:lnTo>
                    <a:lnTo>
                      <a:pt x="269" y="114"/>
                    </a:lnTo>
                    <a:lnTo>
                      <a:pt x="266" y="114"/>
                    </a:lnTo>
                    <a:lnTo>
                      <a:pt x="260" y="110"/>
                    </a:lnTo>
                    <a:lnTo>
                      <a:pt x="256" y="106"/>
                    </a:lnTo>
                    <a:lnTo>
                      <a:pt x="250" y="99"/>
                    </a:lnTo>
                    <a:lnTo>
                      <a:pt x="243" y="97"/>
                    </a:lnTo>
                    <a:lnTo>
                      <a:pt x="239" y="95"/>
                    </a:lnTo>
                    <a:lnTo>
                      <a:pt x="233" y="91"/>
                    </a:lnTo>
                    <a:lnTo>
                      <a:pt x="229" y="87"/>
                    </a:lnTo>
                    <a:lnTo>
                      <a:pt x="227" y="87"/>
                    </a:lnTo>
                    <a:lnTo>
                      <a:pt x="226" y="87"/>
                    </a:lnTo>
                    <a:lnTo>
                      <a:pt x="224" y="89"/>
                    </a:lnTo>
                    <a:lnTo>
                      <a:pt x="224" y="91"/>
                    </a:lnTo>
                    <a:lnTo>
                      <a:pt x="224" y="91"/>
                    </a:lnTo>
                    <a:lnTo>
                      <a:pt x="222" y="93"/>
                    </a:lnTo>
                    <a:lnTo>
                      <a:pt x="222" y="93"/>
                    </a:lnTo>
                    <a:lnTo>
                      <a:pt x="220" y="93"/>
                    </a:lnTo>
                    <a:lnTo>
                      <a:pt x="218" y="93"/>
                    </a:lnTo>
                    <a:lnTo>
                      <a:pt x="218" y="91"/>
                    </a:lnTo>
                    <a:lnTo>
                      <a:pt x="216" y="89"/>
                    </a:lnTo>
                    <a:lnTo>
                      <a:pt x="214" y="87"/>
                    </a:lnTo>
                    <a:lnTo>
                      <a:pt x="214" y="87"/>
                    </a:lnTo>
                    <a:lnTo>
                      <a:pt x="212" y="85"/>
                    </a:lnTo>
                    <a:lnTo>
                      <a:pt x="210" y="85"/>
                    </a:lnTo>
                    <a:lnTo>
                      <a:pt x="210" y="83"/>
                    </a:lnTo>
                    <a:lnTo>
                      <a:pt x="208" y="83"/>
                    </a:lnTo>
                    <a:lnTo>
                      <a:pt x="203" y="83"/>
                    </a:lnTo>
                    <a:lnTo>
                      <a:pt x="197" y="85"/>
                    </a:lnTo>
                    <a:lnTo>
                      <a:pt x="195" y="93"/>
                    </a:lnTo>
                    <a:lnTo>
                      <a:pt x="193" y="95"/>
                    </a:lnTo>
                    <a:lnTo>
                      <a:pt x="191" y="99"/>
                    </a:lnTo>
                    <a:lnTo>
                      <a:pt x="191" y="99"/>
                    </a:lnTo>
                    <a:lnTo>
                      <a:pt x="191" y="100"/>
                    </a:lnTo>
                    <a:lnTo>
                      <a:pt x="191" y="100"/>
                    </a:lnTo>
                    <a:lnTo>
                      <a:pt x="191" y="102"/>
                    </a:lnTo>
                    <a:lnTo>
                      <a:pt x="193" y="102"/>
                    </a:lnTo>
                    <a:lnTo>
                      <a:pt x="193" y="104"/>
                    </a:lnTo>
                    <a:lnTo>
                      <a:pt x="191" y="104"/>
                    </a:lnTo>
                    <a:lnTo>
                      <a:pt x="191" y="104"/>
                    </a:lnTo>
                    <a:lnTo>
                      <a:pt x="189" y="106"/>
                    </a:lnTo>
                    <a:lnTo>
                      <a:pt x="184" y="108"/>
                    </a:lnTo>
                    <a:lnTo>
                      <a:pt x="184" y="110"/>
                    </a:lnTo>
                    <a:lnTo>
                      <a:pt x="182" y="110"/>
                    </a:lnTo>
                    <a:lnTo>
                      <a:pt x="180" y="110"/>
                    </a:lnTo>
                    <a:lnTo>
                      <a:pt x="178" y="108"/>
                    </a:lnTo>
                    <a:lnTo>
                      <a:pt x="176" y="108"/>
                    </a:lnTo>
                    <a:lnTo>
                      <a:pt x="176" y="108"/>
                    </a:lnTo>
                    <a:lnTo>
                      <a:pt x="172" y="110"/>
                    </a:lnTo>
                    <a:lnTo>
                      <a:pt x="170" y="116"/>
                    </a:lnTo>
                    <a:lnTo>
                      <a:pt x="168" y="121"/>
                    </a:lnTo>
                    <a:lnTo>
                      <a:pt x="168" y="123"/>
                    </a:lnTo>
                    <a:lnTo>
                      <a:pt x="168" y="125"/>
                    </a:lnTo>
                    <a:lnTo>
                      <a:pt x="168" y="127"/>
                    </a:lnTo>
                    <a:lnTo>
                      <a:pt x="168" y="129"/>
                    </a:lnTo>
                    <a:lnTo>
                      <a:pt x="168" y="129"/>
                    </a:lnTo>
                    <a:lnTo>
                      <a:pt x="168" y="133"/>
                    </a:lnTo>
                    <a:lnTo>
                      <a:pt x="168" y="133"/>
                    </a:lnTo>
                    <a:lnTo>
                      <a:pt x="168" y="133"/>
                    </a:lnTo>
                    <a:lnTo>
                      <a:pt x="168" y="133"/>
                    </a:lnTo>
                    <a:lnTo>
                      <a:pt x="170" y="133"/>
                    </a:lnTo>
                    <a:lnTo>
                      <a:pt x="170" y="133"/>
                    </a:lnTo>
                    <a:lnTo>
                      <a:pt x="172" y="133"/>
                    </a:lnTo>
                    <a:lnTo>
                      <a:pt x="172" y="133"/>
                    </a:lnTo>
                    <a:lnTo>
                      <a:pt x="174" y="133"/>
                    </a:lnTo>
                    <a:lnTo>
                      <a:pt x="174" y="135"/>
                    </a:lnTo>
                    <a:lnTo>
                      <a:pt x="174" y="137"/>
                    </a:lnTo>
                    <a:lnTo>
                      <a:pt x="172" y="144"/>
                    </a:lnTo>
                    <a:lnTo>
                      <a:pt x="172" y="146"/>
                    </a:lnTo>
                    <a:lnTo>
                      <a:pt x="170" y="148"/>
                    </a:lnTo>
                    <a:lnTo>
                      <a:pt x="168" y="150"/>
                    </a:lnTo>
                    <a:lnTo>
                      <a:pt x="166" y="152"/>
                    </a:lnTo>
                    <a:lnTo>
                      <a:pt x="163" y="156"/>
                    </a:lnTo>
                    <a:lnTo>
                      <a:pt x="157" y="159"/>
                    </a:lnTo>
                    <a:lnTo>
                      <a:pt x="157" y="159"/>
                    </a:lnTo>
                    <a:lnTo>
                      <a:pt x="155" y="161"/>
                    </a:lnTo>
                    <a:lnTo>
                      <a:pt x="155" y="161"/>
                    </a:lnTo>
                    <a:lnTo>
                      <a:pt x="155" y="163"/>
                    </a:lnTo>
                    <a:lnTo>
                      <a:pt x="155" y="163"/>
                    </a:lnTo>
                    <a:lnTo>
                      <a:pt x="157" y="165"/>
                    </a:lnTo>
                    <a:lnTo>
                      <a:pt x="157" y="167"/>
                    </a:lnTo>
                    <a:lnTo>
                      <a:pt x="157" y="169"/>
                    </a:lnTo>
                    <a:lnTo>
                      <a:pt x="157" y="169"/>
                    </a:lnTo>
                    <a:lnTo>
                      <a:pt x="159" y="169"/>
                    </a:lnTo>
                    <a:lnTo>
                      <a:pt x="180" y="169"/>
                    </a:lnTo>
                    <a:lnTo>
                      <a:pt x="184" y="171"/>
                    </a:lnTo>
                    <a:lnTo>
                      <a:pt x="187" y="173"/>
                    </a:lnTo>
                    <a:lnTo>
                      <a:pt x="187" y="173"/>
                    </a:lnTo>
                    <a:lnTo>
                      <a:pt x="189" y="173"/>
                    </a:lnTo>
                    <a:lnTo>
                      <a:pt x="193" y="178"/>
                    </a:lnTo>
                    <a:lnTo>
                      <a:pt x="193" y="180"/>
                    </a:lnTo>
                    <a:lnTo>
                      <a:pt x="193" y="180"/>
                    </a:lnTo>
                    <a:lnTo>
                      <a:pt x="193" y="182"/>
                    </a:lnTo>
                    <a:lnTo>
                      <a:pt x="193" y="182"/>
                    </a:lnTo>
                    <a:lnTo>
                      <a:pt x="193" y="184"/>
                    </a:lnTo>
                    <a:lnTo>
                      <a:pt x="191" y="184"/>
                    </a:lnTo>
                    <a:lnTo>
                      <a:pt x="191" y="184"/>
                    </a:lnTo>
                    <a:lnTo>
                      <a:pt x="191" y="184"/>
                    </a:lnTo>
                    <a:lnTo>
                      <a:pt x="191" y="186"/>
                    </a:lnTo>
                    <a:lnTo>
                      <a:pt x="189" y="186"/>
                    </a:lnTo>
                    <a:lnTo>
                      <a:pt x="189" y="188"/>
                    </a:lnTo>
                    <a:lnTo>
                      <a:pt x="187" y="188"/>
                    </a:lnTo>
                    <a:lnTo>
                      <a:pt x="185" y="192"/>
                    </a:lnTo>
                    <a:lnTo>
                      <a:pt x="182" y="196"/>
                    </a:lnTo>
                    <a:lnTo>
                      <a:pt x="180" y="199"/>
                    </a:lnTo>
                    <a:lnTo>
                      <a:pt x="180" y="201"/>
                    </a:lnTo>
                    <a:lnTo>
                      <a:pt x="178" y="201"/>
                    </a:lnTo>
                    <a:lnTo>
                      <a:pt x="178" y="201"/>
                    </a:lnTo>
                    <a:lnTo>
                      <a:pt x="174" y="203"/>
                    </a:lnTo>
                    <a:lnTo>
                      <a:pt x="161" y="203"/>
                    </a:lnTo>
                    <a:lnTo>
                      <a:pt x="161" y="205"/>
                    </a:lnTo>
                    <a:lnTo>
                      <a:pt x="157" y="205"/>
                    </a:lnTo>
                    <a:lnTo>
                      <a:pt x="157" y="207"/>
                    </a:lnTo>
                    <a:lnTo>
                      <a:pt x="155" y="209"/>
                    </a:lnTo>
                    <a:lnTo>
                      <a:pt x="155" y="211"/>
                    </a:lnTo>
                    <a:lnTo>
                      <a:pt x="151" y="218"/>
                    </a:lnTo>
                    <a:lnTo>
                      <a:pt x="151" y="220"/>
                    </a:lnTo>
                    <a:lnTo>
                      <a:pt x="149" y="222"/>
                    </a:lnTo>
                    <a:lnTo>
                      <a:pt x="147" y="222"/>
                    </a:lnTo>
                    <a:lnTo>
                      <a:pt x="144" y="222"/>
                    </a:lnTo>
                    <a:lnTo>
                      <a:pt x="142" y="224"/>
                    </a:lnTo>
                    <a:lnTo>
                      <a:pt x="140" y="224"/>
                    </a:lnTo>
                    <a:lnTo>
                      <a:pt x="138" y="222"/>
                    </a:lnTo>
                    <a:lnTo>
                      <a:pt x="134" y="220"/>
                    </a:lnTo>
                    <a:lnTo>
                      <a:pt x="134" y="220"/>
                    </a:lnTo>
                    <a:lnTo>
                      <a:pt x="132" y="220"/>
                    </a:lnTo>
                    <a:lnTo>
                      <a:pt x="130" y="220"/>
                    </a:lnTo>
                    <a:lnTo>
                      <a:pt x="128" y="218"/>
                    </a:lnTo>
                    <a:lnTo>
                      <a:pt x="128" y="220"/>
                    </a:lnTo>
                    <a:lnTo>
                      <a:pt x="126" y="220"/>
                    </a:lnTo>
                    <a:lnTo>
                      <a:pt x="124" y="220"/>
                    </a:lnTo>
                    <a:lnTo>
                      <a:pt x="119" y="220"/>
                    </a:lnTo>
                    <a:lnTo>
                      <a:pt x="115" y="222"/>
                    </a:lnTo>
                    <a:lnTo>
                      <a:pt x="113" y="222"/>
                    </a:lnTo>
                    <a:lnTo>
                      <a:pt x="111" y="222"/>
                    </a:lnTo>
                    <a:lnTo>
                      <a:pt x="111" y="224"/>
                    </a:lnTo>
                    <a:lnTo>
                      <a:pt x="111" y="226"/>
                    </a:lnTo>
                    <a:lnTo>
                      <a:pt x="109" y="228"/>
                    </a:lnTo>
                    <a:lnTo>
                      <a:pt x="109" y="228"/>
                    </a:lnTo>
                    <a:lnTo>
                      <a:pt x="107" y="228"/>
                    </a:lnTo>
                    <a:lnTo>
                      <a:pt x="100" y="220"/>
                    </a:lnTo>
                    <a:lnTo>
                      <a:pt x="98" y="218"/>
                    </a:lnTo>
                    <a:lnTo>
                      <a:pt x="96" y="218"/>
                    </a:lnTo>
                    <a:lnTo>
                      <a:pt x="94" y="218"/>
                    </a:lnTo>
                    <a:lnTo>
                      <a:pt x="92" y="220"/>
                    </a:lnTo>
                    <a:lnTo>
                      <a:pt x="90" y="220"/>
                    </a:lnTo>
                    <a:lnTo>
                      <a:pt x="88" y="220"/>
                    </a:lnTo>
                    <a:lnTo>
                      <a:pt x="86" y="220"/>
                    </a:lnTo>
                    <a:lnTo>
                      <a:pt x="84" y="222"/>
                    </a:lnTo>
                    <a:lnTo>
                      <a:pt x="81" y="228"/>
                    </a:lnTo>
                    <a:lnTo>
                      <a:pt x="77" y="234"/>
                    </a:lnTo>
                    <a:lnTo>
                      <a:pt x="75" y="241"/>
                    </a:lnTo>
                    <a:lnTo>
                      <a:pt x="75" y="243"/>
                    </a:lnTo>
                    <a:lnTo>
                      <a:pt x="73" y="243"/>
                    </a:lnTo>
                    <a:lnTo>
                      <a:pt x="67" y="241"/>
                    </a:lnTo>
                    <a:lnTo>
                      <a:pt x="65" y="241"/>
                    </a:lnTo>
                    <a:lnTo>
                      <a:pt x="46" y="243"/>
                    </a:lnTo>
                    <a:lnTo>
                      <a:pt x="44" y="243"/>
                    </a:lnTo>
                    <a:lnTo>
                      <a:pt x="42" y="243"/>
                    </a:lnTo>
                    <a:lnTo>
                      <a:pt x="41" y="241"/>
                    </a:lnTo>
                    <a:lnTo>
                      <a:pt x="41" y="241"/>
                    </a:lnTo>
                    <a:lnTo>
                      <a:pt x="39" y="239"/>
                    </a:lnTo>
                    <a:lnTo>
                      <a:pt x="39" y="239"/>
                    </a:lnTo>
                    <a:lnTo>
                      <a:pt x="41" y="236"/>
                    </a:lnTo>
                    <a:lnTo>
                      <a:pt x="39" y="236"/>
                    </a:lnTo>
                    <a:lnTo>
                      <a:pt x="37" y="234"/>
                    </a:lnTo>
                    <a:lnTo>
                      <a:pt x="35" y="232"/>
                    </a:lnTo>
                    <a:lnTo>
                      <a:pt x="31" y="232"/>
                    </a:lnTo>
                    <a:lnTo>
                      <a:pt x="29" y="232"/>
                    </a:lnTo>
                    <a:lnTo>
                      <a:pt x="27" y="234"/>
                    </a:lnTo>
                    <a:lnTo>
                      <a:pt x="25" y="234"/>
                    </a:lnTo>
                    <a:lnTo>
                      <a:pt x="25" y="236"/>
                    </a:lnTo>
                    <a:lnTo>
                      <a:pt x="23" y="236"/>
                    </a:lnTo>
                    <a:lnTo>
                      <a:pt x="23" y="237"/>
                    </a:lnTo>
                    <a:lnTo>
                      <a:pt x="23" y="239"/>
                    </a:lnTo>
                    <a:lnTo>
                      <a:pt x="23" y="239"/>
                    </a:lnTo>
                    <a:lnTo>
                      <a:pt x="23" y="239"/>
                    </a:lnTo>
                    <a:lnTo>
                      <a:pt x="23" y="241"/>
                    </a:lnTo>
                    <a:lnTo>
                      <a:pt x="23" y="241"/>
                    </a:lnTo>
                    <a:lnTo>
                      <a:pt x="21" y="241"/>
                    </a:lnTo>
                    <a:lnTo>
                      <a:pt x="21" y="241"/>
                    </a:lnTo>
                    <a:lnTo>
                      <a:pt x="20" y="241"/>
                    </a:lnTo>
                    <a:lnTo>
                      <a:pt x="18" y="243"/>
                    </a:lnTo>
                    <a:lnTo>
                      <a:pt x="18" y="245"/>
                    </a:lnTo>
                    <a:lnTo>
                      <a:pt x="16" y="245"/>
                    </a:lnTo>
                    <a:lnTo>
                      <a:pt x="16" y="247"/>
                    </a:lnTo>
                    <a:lnTo>
                      <a:pt x="14" y="249"/>
                    </a:lnTo>
                    <a:lnTo>
                      <a:pt x="10" y="249"/>
                    </a:lnTo>
                    <a:lnTo>
                      <a:pt x="8" y="249"/>
                    </a:lnTo>
                    <a:lnTo>
                      <a:pt x="6" y="247"/>
                    </a:lnTo>
                    <a:lnTo>
                      <a:pt x="4" y="247"/>
                    </a:lnTo>
                    <a:lnTo>
                      <a:pt x="0" y="247"/>
                    </a:lnTo>
                    <a:lnTo>
                      <a:pt x="0" y="247"/>
                    </a:lnTo>
                    <a:lnTo>
                      <a:pt x="0" y="249"/>
                    </a:lnTo>
                    <a:lnTo>
                      <a:pt x="0" y="251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0" y="255"/>
                    </a:lnTo>
                    <a:lnTo>
                      <a:pt x="0" y="256"/>
                    </a:lnTo>
                    <a:lnTo>
                      <a:pt x="0" y="256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0" y="260"/>
                    </a:lnTo>
                    <a:lnTo>
                      <a:pt x="0" y="260"/>
                    </a:lnTo>
                    <a:lnTo>
                      <a:pt x="0" y="260"/>
                    </a:lnTo>
                    <a:lnTo>
                      <a:pt x="2" y="262"/>
                    </a:lnTo>
                    <a:lnTo>
                      <a:pt x="2" y="262"/>
                    </a:lnTo>
                    <a:lnTo>
                      <a:pt x="8" y="264"/>
                    </a:lnTo>
                    <a:lnTo>
                      <a:pt x="21" y="268"/>
                    </a:lnTo>
                    <a:lnTo>
                      <a:pt x="23" y="268"/>
                    </a:lnTo>
                    <a:lnTo>
                      <a:pt x="25" y="272"/>
                    </a:lnTo>
                    <a:lnTo>
                      <a:pt x="27" y="272"/>
                    </a:lnTo>
                    <a:lnTo>
                      <a:pt x="29" y="272"/>
                    </a:lnTo>
                    <a:lnTo>
                      <a:pt x="31" y="274"/>
                    </a:lnTo>
                    <a:lnTo>
                      <a:pt x="31" y="274"/>
                    </a:lnTo>
                    <a:lnTo>
                      <a:pt x="33" y="274"/>
                    </a:lnTo>
                    <a:lnTo>
                      <a:pt x="35" y="279"/>
                    </a:lnTo>
                    <a:lnTo>
                      <a:pt x="39" y="281"/>
                    </a:lnTo>
                    <a:lnTo>
                      <a:pt x="39" y="283"/>
                    </a:lnTo>
                    <a:lnTo>
                      <a:pt x="31" y="289"/>
                    </a:lnTo>
                    <a:lnTo>
                      <a:pt x="29" y="291"/>
                    </a:lnTo>
                    <a:lnTo>
                      <a:pt x="27" y="295"/>
                    </a:lnTo>
                    <a:lnTo>
                      <a:pt x="25" y="295"/>
                    </a:lnTo>
                    <a:lnTo>
                      <a:pt x="25" y="296"/>
                    </a:lnTo>
                    <a:lnTo>
                      <a:pt x="27" y="296"/>
                    </a:lnTo>
                    <a:lnTo>
                      <a:pt x="29" y="298"/>
                    </a:lnTo>
                    <a:lnTo>
                      <a:pt x="29" y="298"/>
                    </a:lnTo>
                    <a:lnTo>
                      <a:pt x="33" y="296"/>
                    </a:lnTo>
                    <a:lnTo>
                      <a:pt x="33" y="296"/>
                    </a:lnTo>
                    <a:lnTo>
                      <a:pt x="33" y="296"/>
                    </a:lnTo>
                    <a:lnTo>
                      <a:pt x="35" y="296"/>
                    </a:lnTo>
                    <a:lnTo>
                      <a:pt x="37" y="298"/>
                    </a:lnTo>
                    <a:lnTo>
                      <a:pt x="39" y="298"/>
                    </a:lnTo>
                    <a:lnTo>
                      <a:pt x="41" y="298"/>
                    </a:lnTo>
                    <a:lnTo>
                      <a:pt x="42" y="298"/>
                    </a:lnTo>
                    <a:lnTo>
                      <a:pt x="52" y="296"/>
                    </a:lnTo>
                    <a:lnTo>
                      <a:pt x="54" y="296"/>
                    </a:lnTo>
                    <a:lnTo>
                      <a:pt x="54" y="296"/>
                    </a:lnTo>
                    <a:lnTo>
                      <a:pt x="58" y="293"/>
                    </a:lnTo>
                    <a:lnTo>
                      <a:pt x="58" y="293"/>
                    </a:lnTo>
                    <a:lnTo>
                      <a:pt x="60" y="293"/>
                    </a:lnTo>
                    <a:lnTo>
                      <a:pt x="60" y="295"/>
                    </a:lnTo>
                    <a:lnTo>
                      <a:pt x="60" y="296"/>
                    </a:lnTo>
                    <a:lnTo>
                      <a:pt x="58" y="298"/>
                    </a:lnTo>
                    <a:lnTo>
                      <a:pt x="58" y="300"/>
                    </a:lnTo>
                    <a:lnTo>
                      <a:pt x="58" y="300"/>
                    </a:lnTo>
                    <a:lnTo>
                      <a:pt x="58" y="302"/>
                    </a:lnTo>
                    <a:lnTo>
                      <a:pt x="58" y="302"/>
                    </a:lnTo>
                    <a:lnTo>
                      <a:pt x="60" y="304"/>
                    </a:lnTo>
                    <a:lnTo>
                      <a:pt x="60" y="304"/>
                    </a:lnTo>
                    <a:lnTo>
                      <a:pt x="62" y="306"/>
                    </a:lnTo>
                    <a:lnTo>
                      <a:pt x="62" y="308"/>
                    </a:lnTo>
                    <a:lnTo>
                      <a:pt x="63" y="312"/>
                    </a:lnTo>
                    <a:lnTo>
                      <a:pt x="65" y="315"/>
                    </a:lnTo>
                    <a:lnTo>
                      <a:pt x="65" y="315"/>
                    </a:lnTo>
                    <a:lnTo>
                      <a:pt x="67" y="315"/>
                    </a:lnTo>
                    <a:lnTo>
                      <a:pt x="67" y="317"/>
                    </a:lnTo>
                    <a:lnTo>
                      <a:pt x="67" y="317"/>
                    </a:lnTo>
                    <a:lnTo>
                      <a:pt x="67" y="319"/>
                    </a:lnTo>
                    <a:lnTo>
                      <a:pt x="65" y="319"/>
                    </a:lnTo>
                    <a:lnTo>
                      <a:pt x="65" y="319"/>
                    </a:lnTo>
                    <a:lnTo>
                      <a:pt x="63" y="319"/>
                    </a:lnTo>
                    <a:lnTo>
                      <a:pt x="62" y="319"/>
                    </a:lnTo>
                    <a:lnTo>
                      <a:pt x="60" y="319"/>
                    </a:lnTo>
                    <a:lnTo>
                      <a:pt x="60" y="319"/>
                    </a:lnTo>
                    <a:lnTo>
                      <a:pt x="58" y="319"/>
                    </a:lnTo>
                    <a:lnTo>
                      <a:pt x="58" y="319"/>
                    </a:lnTo>
                    <a:lnTo>
                      <a:pt x="56" y="321"/>
                    </a:lnTo>
                    <a:lnTo>
                      <a:pt x="56" y="321"/>
                    </a:lnTo>
                    <a:lnTo>
                      <a:pt x="56" y="323"/>
                    </a:lnTo>
                    <a:lnTo>
                      <a:pt x="56" y="325"/>
                    </a:lnTo>
                    <a:lnTo>
                      <a:pt x="56" y="327"/>
                    </a:lnTo>
                    <a:lnTo>
                      <a:pt x="56" y="329"/>
                    </a:lnTo>
                    <a:lnTo>
                      <a:pt x="58" y="333"/>
                    </a:lnTo>
                    <a:lnTo>
                      <a:pt x="60" y="334"/>
                    </a:lnTo>
                    <a:lnTo>
                      <a:pt x="62" y="334"/>
                    </a:lnTo>
                    <a:lnTo>
                      <a:pt x="67" y="336"/>
                    </a:lnTo>
                    <a:lnTo>
                      <a:pt x="73" y="340"/>
                    </a:lnTo>
                    <a:lnTo>
                      <a:pt x="75" y="340"/>
                    </a:lnTo>
                    <a:lnTo>
                      <a:pt x="75" y="342"/>
                    </a:lnTo>
                    <a:lnTo>
                      <a:pt x="77" y="342"/>
                    </a:lnTo>
                    <a:lnTo>
                      <a:pt x="77" y="344"/>
                    </a:lnTo>
                    <a:lnTo>
                      <a:pt x="77" y="346"/>
                    </a:lnTo>
                    <a:lnTo>
                      <a:pt x="79" y="348"/>
                    </a:lnTo>
                    <a:lnTo>
                      <a:pt x="79" y="348"/>
                    </a:lnTo>
                    <a:lnTo>
                      <a:pt x="81" y="348"/>
                    </a:lnTo>
                    <a:lnTo>
                      <a:pt x="81" y="350"/>
                    </a:lnTo>
                    <a:lnTo>
                      <a:pt x="82" y="350"/>
                    </a:lnTo>
                    <a:lnTo>
                      <a:pt x="82" y="350"/>
                    </a:lnTo>
                    <a:lnTo>
                      <a:pt x="82" y="352"/>
                    </a:lnTo>
                    <a:lnTo>
                      <a:pt x="82" y="354"/>
                    </a:lnTo>
                    <a:lnTo>
                      <a:pt x="82" y="354"/>
                    </a:lnTo>
                    <a:lnTo>
                      <a:pt x="81" y="357"/>
                    </a:lnTo>
                    <a:lnTo>
                      <a:pt x="81" y="357"/>
                    </a:lnTo>
                    <a:lnTo>
                      <a:pt x="81" y="363"/>
                    </a:lnTo>
                    <a:lnTo>
                      <a:pt x="81" y="365"/>
                    </a:lnTo>
                    <a:lnTo>
                      <a:pt x="79" y="367"/>
                    </a:lnTo>
                    <a:lnTo>
                      <a:pt x="77" y="367"/>
                    </a:lnTo>
                    <a:lnTo>
                      <a:pt x="77" y="367"/>
                    </a:lnTo>
                    <a:lnTo>
                      <a:pt x="75" y="369"/>
                    </a:lnTo>
                    <a:lnTo>
                      <a:pt x="75" y="369"/>
                    </a:lnTo>
                    <a:lnTo>
                      <a:pt x="73" y="371"/>
                    </a:lnTo>
                    <a:lnTo>
                      <a:pt x="75" y="380"/>
                    </a:lnTo>
                    <a:lnTo>
                      <a:pt x="75" y="388"/>
                    </a:lnTo>
                    <a:lnTo>
                      <a:pt x="75" y="388"/>
                    </a:lnTo>
                    <a:lnTo>
                      <a:pt x="73" y="388"/>
                    </a:lnTo>
                    <a:lnTo>
                      <a:pt x="73" y="392"/>
                    </a:lnTo>
                    <a:lnTo>
                      <a:pt x="73" y="395"/>
                    </a:lnTo>
                    <a:lnTo>
                      <a:pt x="73" y="397"/>
                    </a:lnTo>
                    <a:lnTo>
                      <a:pt x="73" y="397"/>
                    </a:lnTo>
                    <a:lnTo>
                      <a:pt x="73" y="399"/>
                    </a:lnTo>
                    <a:lnTo>
                      <a:pt x="75" y="401"/>
                    </a:lnTo>
                    <a:lnTo>
                      <a:pt x="77" y="403"/>
                    </a:lnTo>
                    <a:lnTo>
                      <a:pt x="77" y="405"/>
                    </a:lnTo>
                    <a:lnTo>
                      <a:pt x="77" y="409"/>
                    </a:lnTo>
                    <a:lnTo>
                      <a:pt x="77" y="411"/>
                    </a:lnTo>
                    <a:lnTo>
                      <a:pt x="77" y="411"/>
                    </a:lnTo>
                    <a:lnTo>
                      <a:pt x="77" y="413"/>
                    </a:lnTo>
                    <a:lnTo>
                      <a:pt x="81" y="414"/>
                    </a:lnTo>
                    <a:lnTo>
                      <a:pt x="81" y="414"/>
                    </a:lnTo>
                    <a:lnTo>
                      <a:pt x="82" y="416"/>
                    </a:lnTo>
                    <a:lnTo>
                      <a:pt x="86" y="420"/>
                    </a:lnTo>
                    <a:lnTo>
                      <a:pt x="86" y="420"/>
                    </a:lnTo>
                    <a:lnTo>
                      <a:pt x="88" y="420"/>
                    </a:lnTo>
                    <a:lnTo>
                      <a:pt x="88" y="422"/>
                    </a:lnTo>
                    <a:lnTo>
                      <a:pt x="88" y="422"/>
                    </a:lnTo>
                    <a:lnTo>
                      <a:pt x="90" y="422"/>
                    </a:lnTo>
                    <a:lnTo>
                      <a:pt x="92" y="422"/>
                    </a:lnTo>
                    <a:lnTo>
                      <a:pt x="94" y="422"/>
                    </a:lnTo>
                    <a:lnTo>
                      <a:pt x="100" y="418"/>
                    </a:lnTo>
                    <a:lnTo>
                      <a:pt x="103" y="413"/>
                    </a:lnTo>
                    <a:lnTo>
                      <a:pt x="105" y="413"/>
                    </a:lnTo>
                    <a:lnTo>
                      <a:pt x="107" y="413"/>
                    </a:lnTo>
                    <a:lnTo>
                      <a:pt x="113" y="409"/>
                    </a:lnTo>
                    <a:lnTo>
                      <a:pt x="117" y="407"/>
                    </a:lnTo>
                    <a:lnTo>
                      <a:pt x="121" y="407"/>
                    </a:lnTo>
                    <a:lnTo>
                      <a:pt x="123" y="409"/>
                    </a:lnTo>
                    <a:lnTo>
                      <a:pt x="123" y="409"/>
                    </a:lnTo>
                    <a:lnTo>
                      <a:pt x="126" y="414"/>
                    </a:lnTo>
                    <a:lnTo>
                      <a:pt x="126" y="414"/>
                    </a:lnTo>
                    <a:lnTo>
                      <a:pt x="128" y="416"/>
                    </a:lnTo>
                    <a:lnTo>
                      <a:pt x="128" y="420"/>
                    </a:lnTo>
                    <a:lnTo>
                      <a:pt x="128" y="422"/>
                    </a:lnTo>
                    <a:lnTo>
                      <a:pt x="128" y="422"/>
                    </a:lnTo>
                    <a:lnTo>
                      <a:pt x="130" y="424"/>
                    </a:lnTo>
                    <a:lnTo>
                      <a:pt x="130" y="424"/>
                    </a:lnTo>
                    <a:lnTo>
                      <a:pt x="132" y="426"/>
                    </a:lnTo>
                    <a:lnTo>
                      <a:pt x="132" y="426"/>
                    </a:lnTo>
                    <a:lnTo>
                      <a:pt x="130" y="430"/>
                    </a:lnTo>
                    <a:lnTo>
                      <a:pt x="124" y="441"/>
                    </a:lnTo>
                    <a:lnTo>
                      <a:pt x="124" y="443"/>
                    </a:lnTo>
                    <a:lnTo>
                      <a:pt x="124" y="443"/>
                    </a:lnTo>
                    <a:lnTo>
                      <a:pt x="126" y="449"/>
                    </a:lnTo>
                    <a:lnTo>
                      <a:pt x="128" y="456"/>
                    </a:lnTo>
                    <a:lnTo>
                      <a:pt x="128" y="456"/>
                    </a:lnTo>
                    <a:lnTo>
                      <a:pt x="128" y="458"/>
                    </a:lnTo>
                    <a:lnTo>
                      <a:pt x="124" y="466"/>
                    </a:lnTo>
                    <a:lnTo>
                      <a:pt x="124" y="468"/>
                    </a:lnTo>
                    <a:lnTo>
                      <a:pt x="124" y="470"/>
                    </a:lnTo>
                    <a:lnTo>
                      <a:pt x="124" y="473"/>
                    </a:lnTo>
                    <a:lnTo>
                      <a:pt x="126" y="477"/>
                    </a:lnTo>
                    <a:lnTo>
                      <a:pt x="126" y="479"/>
                    </a:lnTo>
                    <a:lnTo>
                      <a:pt x="126" y="481"/>
                    </a:lnTo>
                    <a:lnTo>
                      <a:pt x="121" y="500"/>
                    </a:lnTo>
                    <a:lnTo>
                      <a:pt x="121" y="502"/>
                    </a:lnTo>
                    <a:lnTo>
                      <a:pt x="121" y="502"/>
                    </a:lnTo>
                    <a:lnTo>
                      <a:pt x="121" y="502"/>
                    </a:lnTo>
                    <a:lnTo>
                      <a:pt x="121" y="504"/>
                    </a:lnTo>
                    <a:lnTo>
                      <a:pt x="121" y="504"/>
                    </a:lnTo>
                    <a:lnTo>
                      <a:pt x="123" y="504"/>
                    </a:lnTo>
                    <a:lnTo>
                      <a:pt x="123" y="504"/>
                    </a:lnTo>
                    <a:lnTo>
                      <a:pt x="124" y="504"/>
                    </a:lnTo>
                    <a:lnTo>
                      <a:pt x="124" y="506"/>
                    </a:lnTo>
                    <a:lnTo>
                      <a:pt x="124" y="506"/>
                    </a:lnTo>
                    <a:lnTo>
                      <a:pt x="126" y="506"/>
                    </a:lnTo>
                    <a:lnTo>
                      <a:pt x="126" y="508"/>
                    </a:lnTo>
                    <a:lnTo>
                      <a:pt x="128" y="508"/>
                    </a:lnTo>
                    <a:lnTo>
                      <a:pt x="130" y="508"/>
                    </a:lnTo>
                    <a:lnTo>
                      <a:pt x="136" y="504"/>
                    </a:lnTo>
                    <a:lnTo>
                      <a:pt x="136" y="504"/>
                    </a:lnTo>
                    <a:lnTo>
                      <a:pt x="138" y="504"/>
                    </a:lnTo>
                    <a:lnTo>
                      <a:pt x="140" y="504"/>
                    </a:lnTo>
                    <a:lnTo>
                      <a:pt x="140" y="506"/>
                    </a:lnTo>
                    <a:lnTo>
                      <a:pt x="140" y="506"/>
                    </a:lnTo>
                    <a:lnTo>
                      <a:pt x="142" y="508"/>
                    </a:lnTo>
                    <a:lnTo>
                      <a:pt x="142" y="510"/>
                    </a:lnTo>
                    <a:lnTo>
                      <a:pt x="145" y="515"/>
                    </a:lnTo>
                    <a:lnTo>
                      <a:pt x="147" y="515"/>
                    </a:lnTo>
                    <a:lnTo>
                      <a:pt x="147" y="519"/>
                    </a:lnTo>
                    <a:lnTo>
                      <a:pt x="144" y="523"/>
                    </a:lnTo>
                    <a:lnTo>
                      <a:pt x="144" y="523"/>
                    </a:lnTo>
                    <a:lnTo>
                      <a:pt x="142" y="525"/>
                    </a:lnTo>
                    <a:lnTo>
                      <a:pt x="140" y="534"/>
                    </a:lnTo>
                    <a:lnTo>
                      <a:pt x="136" y="540"/>
                    </a:lnTo>
                    <a:lnTo>
                      <a:pt x="128" y="563"/>
                    </a:lnTo>
                    <a:lnTo>
                      <a:pt x="124" y="570"/>
                    </a:lnTo>
                    <a:lnTo>
                      <a:pt x="123" y="574"/>
                    </a:lnTo>
                    <a:lnTo>
                      <a:pt x="119" y="576"/>
                    </a:lnTo>
                    <a:lnTo>
                      <a:pt x="117" y="578"/>
                    </a:lnTo>
                    <a:lnTo>
                      <a:pt x="117" y="578"/>
                    </a:lnTo>
                    <a:lnTo>
                      <a:pt x="117" y="580"/>
                    </a:lnTo>
                    <a:lnTo>
                      <a:pt x="121" y="588"/>
                    </a:lnTo>
                    <a:lnTo>
                      <a:pt x="123" y="591"/>
                    </a:lnTo>
                    <a:lnTo>
                      <a:pt x="124" y="593"/>
                    </a:lnTo>
                    <a:lnTo>
                      <a:pt x="126" y="593"/>
                    </a:lnTo>
                    <a:lnTo>
                      <a:pt x="126" y="595"/>
                    </a:lnTo>
                    <a:lnTo>
                      <a:pt x="128" y="595"/>
                    </a:lnTo>
                    <a:lnTo>
                      <a:pt x="128" y="597"/>
                    </a:lnTo>
                    <a:lnTo>
                      <a:pt x="128" y="597"/>
                    </a:lnTo>
                    <a:lnTo>
                      <a:pt x="128" y="599"/>
                    </a:lnTo>
                    <a:lnTo>
                      <a:pt x="126" y="605"/>
                    </a:lnTo>
                    <a:lnTo>
                      <a:pt x="121" y="614"/>
                    </a:lnTo>
                    <a:lnTo>
                      <a:pt x="119" y="616"/>
                    </a:lnTo>
                    <a:lnTo>
                      <a:pt x="119" y="616"/>
                    </a:lnTo>
                    <a:lnTo>
                      <a:pt x="119" y="618"/>
                    </a:lnTo>
                    <a:lnTo>
                      <a:pt x="119" y="620"/>
                    </a:lnTo>
                    <a:lnTo>
                      <a:pt x="119" y="620"/>
                    </a:lnTo>
                    <a:lnTo>
                      <a:pt x="119" y="622"/>
                    </a:lnTo>
                    <a:lnTo>
                      <a:pt x="121" y="624"/>
                    </a:lnTo>
                    <a:lnTo>
                      <a:pt x="121" y="626"/>
                    </a:lnTo>
                    <a:lnTo>
                      <a:pt x="121" y="626"/>
                    </a:lnTo>
                    <a:lnTo>
                      <a:pt x="123" y="627"/>
                    </a:lnTo>
                    <a:lnTo>
                      <a:pt x="128" y="631"/>
                    </a:lnTo>
                    <a:lnTo>
                      <a:pt x="130" y="633"/>
                    </a:lnTo>
                    <a:lnTo>
                      <a:pt x="130" y="635"/>
                    </a:lnTo>
                    <a:lnTo>
                      <a:pt x="132" y="637"/>
                    </a:lnTo>
                    <a:lnTo>
                      <a:pt x="132" y="637"/>
                    </a:lnTo>
                    <a:lnTo>
                      <a:pt x="130" y="639"/>
                    </a:lnTo>
                    <a:lnTo>
                      <a:pt x="130" y="641"/>
                    </a:lnTo>
                    <a:lnTo>
                      <a:pt x="126" y="645"/>
                    </a:lnTo>
                    <a:lnTo>
                      <a:pt x="126" y="645"/>
                    </a:lnTo>
                    <a:lnTo>
                      <a:pt x="124" y="645"/>
                    </a:lnTo>
                    <a:lnTo>
                      <a:pt x="124" y="645"/>
                    </a:lnTo>
                    <a:lnTo>
                      <a:pt x="123" y="645"/>
                    </a:lnTo>
                    <a:lnTo>
                      <a:pt x="123" y="645"/>
                    </a:lnTo>
                    <a:lnTo>
                      <a:pt x="123" y="643"/>
                    </a:lnTo>
                    <a:lnTo>
                      <a:pt x="123" y="645"/>
                    </a:lnTo>
                    <a:lnTo>
                      <a:pt x="123" y="645"/>
                    </a:lnTo>
                    <a:lnTo>
                      <a:pt x="123" y="645"/>
                    </a:lnTo>
                    <a:lnTo>
                      <a:pt x="123" y="647"/>
                    </a:lnTo>
                    <a:lnTo>
                      <a:pt x="123" y="650"/>
                    </a:lnTo>
                    <a:lnTo>
                      <a:pt x="123" y="652"/>
                    </a:lnTo>
                    <a:lnTo>
                      <a:pt x="123" y="652"/>
                    </a:lnTo>
                    <a:lnTo>
                      <a:pt x="123" y="654"/>
                    </a:lnTo>
                    <a:lnTo>
                      <a:pt x="119" y="658"/>
                    </a:lnTo>
                    <a:lnTo>
                      <a:pt x="117" y="660"/>
                    </a:lnTo>
                    <a:lnTo>
                      <a:pt x="117" y="662"/>
                    </a:lnTo>
                    <a:lnTo>
                      <a:pt x="117" y="662"/>
                    </a:lnTo>
                    <a:lnTo>
                      <a:pt x="117" y="664"/>
                    </a:lnTo>
                    <a:lnTo>
                      <a:pt x="117" y="666"/>
                    </a:lnTo>
                    <a:lnTo>
                      <a:pt x="117" y="666"/>
                    </a:lnTo>
                    <a:lnTo>
                      <a:pt x="117" y="666"/>
                    </a:lnTo>
                    <a:lnTo>
                      <a:pt x="115" y="667"/>
                    </a:lnTo>
                    <a:lnTo>
                      <a:pt x="115" y="667"/>
                    </a:lnTo>
                    <a:lnTo>
                      <a:pt x="113" y="667"/>
                    </a:lnTo>
                    <a:lnTo>
                      <a:pt x="111" y="667"/>
                    </a:lnTo>
                    <a:lnTo>
                      <a:pt x="111" y="667"/>
                    </a:lnTo>
                    <a:lnTo>
                      <a:pt x="111" y="667"/>
                    </a:lnTo>
                    <a:lnTo>
                      <a:pt x="111" y="667"/>
                    </a:lnTo>
                    <a:lnTo>
                      <a:pt x="113" y="669"/>
                    </a:lnTo>
                    <a:lnTo>
                      <a:pt x="124" y="681"/>
                    </a:lnTo>
                    <a:lnTo>
                      <a:pt x="126" y="683"/>
                    </a:lnTo>
                    <a:lnTo>
                      <a:pt x="130" y="683"/>
                    </a:lnTo>
                    <a:lnTo>
                      <a:pt x="132" y="685"/>
                    </a:lnTo>
                    <a:lnTo>
                      <a:pt x="134" y="686"/>
                    </a:lnTo>
                    <a:lnTo>
                      <a:pt x="136" y="688"/>
                    </a:lnTo>
                    <a:lnTo>
                      <a:pt x="136" y="688"/>
                    </a:lnTo>
                    <a:lnTo>
                      <a:pt x="153" y="694"/>
                    </a:lnTo>
                    <a:lnTo>
                      <a:pt x="161" y="694"/>
                    </a:lnTo>
                    <a:lnTo>
                      <a:pt x="166" y="694"/>
                    </a:lnTo>
                    <a:lnTo>
                      <a:pt x="166" y="690"/>
                    </a:lnTo>
                    <a:lnTo>
                      <a:pt x="170" y="686"/>
                    </a:lnTo>
                    <a:lnTo>
                      <a:pt x="178" y="685"/>
                    </a:lnTo>
                    <a:lnTo>
                      <a:pt x="191" y="683"/>
                    </a:lnTo>
                    <a:lnTo>
                      <a:pt x="193" y="681"/>
                    </a:lnTo>
                    <a:lnTo>
                      <a:pt x="195" y="677"/>
                    </a:lnTo>
                    <a:lnTo>
                      <a:pt x="197" y="675"/>
                    </a:lnTo>
                    <a:lnTo>
                      <a:pt x="222" y="660"/>
                    </a:lnTo>
                    <a:lnTo>
                      <a:pt x="227" y="658"/>
                    </a:lnTo>
                    <a:lnTo>
                      <a:pt x="229" y="658"/>
                    </a:lnTo>
                    <a:lnTo>
                      <a:pt x="229" y="658"/>
                    </a:lnTo>
                    <a:lnTo>
                      <a:pt x="231" y="650"/>
                    </a:lnTo>
                    <a:lnTo>
                      <a:pt x="233" y="648"/>
                    </a:lnTo>
                    <a:lnTo>
                      <a:pt x="237" y="645"/>
                    </a:lnTo>
                    <a:lnTo>
                      <a:pt x="237" y="645"/>
                    </a:lnTo>
                    <a:lnTo>
                      <a:pt x="237" y="643"/>
                    </a:lnTo>
                    <a:lnTo>
                      <a:pt x="239" y="629"/>
                    </a:lnTo>
                    <a:lnTo>
                      <a:pt x="239" y="626"/>
                    </a:lnTo>
                    <a:lnTo>
                      <a:pt x="237" y="622"/>
                    </a:lnTo>
                    <a:lnTo>
                      <a:pt x="239" y="622"/>
                    </a:lnTo>
                    <a:lnTo>
                      <a:pt x="239" y="620"/>
                    </a:lnTo>
                    <a:lnTo>
                      <a:pt x="239" y="618"/>
                    </a:lnTo>
                    <a:lnTo>
                      <a:pt x="241" y="616"/>
                    </a:lnTo>
                    <a:lnTo>
                      <a:pt x="243" y="612"/>
                    </a:lnTo>
                    <a:lnTo>
                      <a:pt x="243" y="612"/>
                    </a:lnTo>
                    <a:lnTo>
                      <a:pt x="245" y="610"/>
                    </a:lnTo>
                    <a:lnTo>
                      <a:pt x="246" y="608"/>
                    </a:lnTo>
                    <a:lnTo>
                      <a:pt x="248" y="608"/>
                    </a:lnTo>
                    <a:lnTo>
                      <a:pt x="248" y="605"/>
                    </a:lnTo>
                    <a:lnTo>
                      <a:pt x="246" y="607"/>
                    </a:lnTo>
                    <a:lnTo>
                      <a:pt x="245" y="608"/>
                    </a:lnTo>
                    <a:lnTo>
                      <a:pt x="245" y="608"/>
                    </a:lnTo>
                    <a:lnTo>
                      <a:pt x="243" y="608"/>
                    </a:lnTo>
                    <a:lnTo>
                      <a:pt x="243" y="607"/>
                    </a:lnTo>
                    <a:lnTo>
                      <a:pt x="245" y="605"/>
                    </a:lnTo>
                    <a:lnTo>
                      <a:pt x="245" y="595"/>
                    </a:lnTo>
                    <a:lnTo>
                      <a:pt x="245" y="593"/>
                    </a:lnTo>
                    <a:lnTo>
                      <a:pt x="248" y="586"/>
                    </a:lnTo>
                    <a:lnTo>
                      <a:pt x="252" y="582"/>
                    </a:lnTo>
                    <a:lnTo>
                      <a:pt x="269" y="569"/>
                    </a:lnTo>
                    <a:lnTo>
                      <a:pt x="273" y="565"/>
                    </a:lnTo>
                    <a:lnTo>
                      <a:pt x="279" y="563"/>
                    </a:lnTo>
                    <a:lnTo>
                      <a:pt x="283" y="563"/>
                    </a:lnTo>
                    <a:lnTo>
                      <a:pt x="300" y="561"/>
                    </a:lnTo>
                    <a:lnTo>
                      <a:pt x="302" y="559"/>
                    </a:lnTo>
                    <a:lnTo>
                      <a:pt x="304" y="559"/>
                    </a:lnTo>
                    <a:lnTo>
                      <a:pt x="304" y="557"/>
                    </a:lnTo>
                    <a:lnTo>
                      <a:pt x="306" y="555"/>
                    </a:lnTo>
                    <a:lnTo>
                      <a:pt x="308" y="555"/>
                    </a:lnTo>
                    <a:lnTo>
                      <a:pt x="313" y="553"/>
                    </a:lnTo>
                    <a:lnTo>
                      <a:pt x="315" y="553"/>
                    </a:lnTo>
                    <a:lnTo>
                      <a:pt x="317" y="553"/>
                    </a:lnTo>
                    <a:lnTo>
                      <a:pt x="317" y="551"/>
                    </a:lnTo>
                    <a:lnTo>
                      <a:pt x="319" y="549"/>
                    </a:lnTo>
                    <a:lnTo>
                      <a:pt x="325" y="549"/>
                    </a:lnTo>
                    <a:lnTo>
                      <a:pt x="328" y="548"/>
                    </a:lnTo>
                    <a:lnTo>
                      <a:pt x="330" y="546"/>
                    </a:lnTo>
                    <a:lnTo>
                      <a:pt x="334" y="546"/>
                    </a:lnTo>
                    <a:lnTo>
                      <a:pt x="336" y="546"/>
                    </a:lnTo>
                    <a:lnTo>
                      <a:pt x="336" y="546"/>
                    </a:lnTo>
                    <a:lnTo>
                      <a:pt x="336" y="546"/>
                    </a:lnTo>
                    <a:lnTo>
                      <a:pt x="338" y="546"/>
                    </a:lnTo>
                    <a:lnTo>
                      <a:pt x="340" y="544"/>
                    </a:lnTo>
                    <a:lnTo>
                      <a:pt x="342" y="544"/>
                    </a:lnTo>
                    <a:lnTo>
                      <a:pt x="346" y="542"/>
                    </a:lnTo>
                    <a:lnTo>
                      <a:pt x="351" y="544"/>
                    </a:lnTo>
                    <a:lnTo>
                      <a:pt x="355" y="544"/>
                    </a:lnTo>
                    <a:lnTo>
                      <a:pt x="359" y="546"/>
                    </a:lnTo>
                    <a:lnTo>
                      <a:pt x="359" y="546"/>
                    </a:lnTo>
                    <a:lnTo>
                      <a:pt x="363" y="546"/>
                    </a:lnTo>
                    <a:lnTo>
                      <a:pt x="369" y="544"/>
                    </a:lnTo>
                    <a:lnTo>
                      <a:pt x="370" y="544"/>
                    </a:lnTo>
                    <a:lnTo>
                      <a:pt x="372" y="544"/>
                    </a:lnTo>
                    <a:lnTo>
                      <a:pt x="374" y="544"/>
                    </a:lnTo>
                    <a:lnTo>
                      <a:pt x="376" y="546"/>
                    </a:lnTo>
                    <a:lnTo>
                      <a:pt x="384" y="546"/>
                    </a:lnTo>
                    <a:lnTo>
                      <a:pt x="393" y="551"/>
                    </a:lnTo>
                    <a:lnTo>
                      <a:pt x="401" y="557"/>
                    </a:lnTo>
                    <a:lnTo>
                      <a:pt x="403" y="559"/>
                    </a:lnTo>
                    <a:lnTo>
                      <a:pt x="405" y="557"/>
                    </a:lnTo>
                    <a:lnTo>
                      <a:pt x="403" y="555"/>
                    </a:lnTo>
                    <a:lnTo>
                      <a:pt x="393" y="549"/>
                    </a:lnTo>
                    <a:lnTo>
                      <a:pt x="391" y="548"/>
                    </a:lnTo>
                    <a:lnTo>
                      <a:pt x="391" y="546"/>
                    </a:lnTo>
                    <a:lnTo>
                      <a:pt x="391" y="546"/>
                    </a:lnTo>
                    <a:lnTo>
                      <a:pt x="390" y="546"/>
                    </a:lnTo>
                    <a:lnTo>
                      <a:pt x="390" y="544"/>
                    </a:lnTo>
                    <a:lnTo>
                      <a:pt x="390" y="542"/>
                    </a:lnTo>
                    <a:lnTo>
                      <a:pt x="390" y="542"/>
                    </a:lnTo>
                    <a:lnTo>
                      <a:pt x="390" y="540"/>
                    </a:lnTo>
                    <a:lnTo>
                      <a:pt x="391" y="538"/>
                    </a:lnTo>
                    <a:lnTo>
                      <a:pt x="390" y="538"/>
                    </a:lnTo>
                    <a:lnTo>
                      <a:pt x="388" y="536"/>
                    </a:lnTo>
                    <a:lnTo>
                      <a:pt x="384" y="538"/>
                    </a:lnTo>
                    <a:lnTo>
                      <a:pt x="382" y="540"/>
                    </a:lnTo>
                    <a:lnTo>
                      <a:pt x="378" y="542"/>
                    </a:lnTo>
                    <a:lnTo>
                      <a:pt x="361" y="540"/>
                    </a:lnTo>
                    <a:lnTo>
                      <a:pt x="357" y="540"/>
                    </a:lnTo>
                    <a:lnTo>
                      <a:pt x="351" y="538"/>
                    </a:lnTo>
                    <a:lnTo>
                      <a:pt x="342" y="529"/>
                    </a:lnTo>
                    <a:lnTo>
                      <a:pt x="338" y="525"/>
                    </a:lnTo>
                    <a:lnTo>
                      <a:pt x="336" y="521"/>
                    </a:lnTo>
                    <a:lnTo>
                      <a:pt x="336" y="517"/>
                    </a:lnTo>
                    <a:lnTo>
                      <a:pt x="338" y="513"/>
                    </a:lnTo>
                    <a:lnTo>
                      <a:pt x="338" y="506"/>
                    </a:lnTo>
                    <a:lnTo>
                      <a:pt x="340" y="504"/>
                    </a:lnTo>
                    <a:lnTo>
                      <a:pt x="340" y="502"/>
                    </a:lnTo>
                    <a:lnTo>
                      <a:pt x="342" y="500"/>
                    </a:lnTo>
                    <a:lnTo>
                      <a:pt x="342" y="498"/>
                    </a:lnTo>
                    <a:lnTo>
                      <a:pt x="344" y="498"/>
                    </a:lnTo>
                    <a:lnTo>
                      <a:pt x="344" y="496"/>
                    </a:lnTo>
                    <a:lnTo>
                      <a:pt x="346" y="496"/>
                    </a:lnTo>
                    <a:lnTo>
                      <a:pt x="344" y="494"/>
                    </a:lnTo>
                    <a:lnTo>
                      <a:pt x="346" y="492"/>
                    </a:lnTo>
                    <a:lnTo>
                      <a:pt x="351" y="483"/>
                    </a:lnTo>
                    <a:lnTo>
                      <a:pt x="357" y="479"/>
                    </a:lnTo>
                    <a:lnTo>
                      <a:pt x="359" y="475"/>
                    </a:lnTo>
                    <a:lnTo>
                      <a:pt x="359" y="473"/>
                    </a:lnTo>
                    <a:lnTo>
                      <a:pt x="361" y="473"/>
                    </a:lnTo>
                    <a:lnTo>
                      <a:pt x="363" y="470"/>
                    </a:lnTo>
                    <a:lnTo>
                      <a:pt x="365" y="464"/>
                    </a:lnTo>
                    <a:lnTo>
                      <a:pt x="372" y="454"/>
                    </a:lnTo>
                    <a:lnTo>
                      <a:pt x="378" y="449"/>
                    </a:lnTo>
                    <a:lnTo>
                      <a:pt x="382" y="447"/>
                    </a:lnTo>
                    <a:lnTo>
                      <a:pt x="380" y="445"/>
                    </a:lnTo>
                    <a:lnTo>
                      <a:pt x="378" y="441"/>
                    </a:lnTo>
                    <a:lnTo>
                      <a:pt x="376" y="432"/>
                    </a:lnTo>
                    <a:lnTo>
                      <a:pt x="376" y="430"/>
                    </a:lnTo>
                    <a:lnTo>
                      <a:pt x="378" y="428"/>
                    </a:lnTo>
                    <a:lnTo>
                      <a:pt x="378" y="428"/>
                    </a:lnTo>
                    <a:lnTo>
                      <a:pt x="380" y="426"/>
                    </a:lnTo>
                    <a:lnTo>
                      <a:pt x="382" y="426"/>
                    </a:lnTo>
                    <a:lnTo>
                      <a:pt x="382" y="424"/>
                    </a:lnTo>
                    <a:lnTo>
                      <a:pt x="382" y="422"/>
                    </a:lnTo>
                    <a:lnTo>
                      <a:pt x="382" y="422"/>
                    </a:lnTo>
                    <a:lnTo>
                      <a:pt x="384" y="418"/>
                    </a:lnTo>
                    <a:lnTo>
                      <a:pt x="386" y="416"/>
                    </a:lnTo>
                    <a:lnTo>
                      <a:pt x="393" y="413"/>
                    </a:lnTo>
                    <a:lnTo>
                      <a:pt x="395" y="411"/>
                    </a:lnTo>
                    <a:lnTo>
                      <a:pt x="397" y="411"/>
                    </a:lnTo>
                    <a:lnTo>
                      <a:pt x="399" y="411"/>
                    </a:lnTo>
                    <a:lnTo>
                      <a:pt x="403" y="413"/>
                    </a:lnTo>
                    <a:lnTo>
                      <a:pt x="405" y="413"/>
                    </a:lnTo>
                    <a:lnTo>
                      <a:pt x="410" y="411"/>
                    </a:lnTo>
                    <a:lnTo>
                      <a:pt x="414" y="411"/>
                    </a:lnTo>
                    <a:lnTo>
                      <a:pt x="414" y="409"/>
                    </a:lnTo>
                    <a:lnTo>
                      <a:pt x="414" y="409"/>
                    </a:lnTo>
                    <a:lnTo>
                      <a:pt x="418" y="409"/>
                    </a:lnTo>
                    <a:lnTo>
                      <a:pt x="420" y="407"/>
                    </a:lnTo>
                    <a:lnTo>
                      <a:pt x="424" y="409"/>
                    </a:lnTo>
                    <a:lnTo>
                      <a:pt x="424" y="409"/>
                    </a:lnTo>
                    <a:lnTo>
                      <a:pt x="420" y="411"/>
                    </a:lnTo>
                    <a:lnTo>
                      <a:pt x="418" y="411"/>
                    </a:lnTo>
                    <a:lnTo>
                      <a:pt x="416" y="411"/>
                    </a:lnTo>
                    <a:lnTo>
                      <a:pt x="416" y="411"/>
                    </a:lnTo>
                    <a:lnTo>
                      <a:pt x="416" y="413"/>
                    </a:lnTo>
                    <a:lnTo>
                      <a:pt x="416" y="413"/>
                    </a:lnTo>
                    <a:lnTo>
                      <a:pt x="418" y="413"/>
                    </a:lnTo>
                    <a:lnTo>
                      <a:pt x="420" y="413"/>
                    </a:lnTo>
                    <a:lnTo>
                      <a:pt x="443" y="418"/>
                    </a:lnTo>
                    <a:lnTo>
                      <a:pt x="445" y="418"/>
                    </a:lnTo>
                    <a:lnTo>
                      <a:pt x="445" y="416"/>
                    </a:lnTo>
                    <a:lnTo>
                      <a:pt x="443" y="414"/>
                    </a:lnTo>
                    <a:lnTo>
                      <a:pt x="439" y="414"/>
                    </a:lnTo>
                    <a:lnTo>
                      <a:pt x="435" y="414"/>
                    </a:lnTo>
                    <a:lnTo>
                      <a:pt x="435" y="414"/>
                    </a:lnTo>
                    <a:lnTo>
                      <a:pt x="433" y="413"/>
                    </a:lnTo>
                    <a:lnTo>
                      <a:pt x="431" y="413"/>
                    </a:lnTo>
                    <a:lnTo>
                      <a:pt x="430" y="413"/>
                    </a:lnTo>
                    <a:lnTo>
                      <a:pt x="428" y="413"/>
                    </a:lnTo>
                    <a:lnTo>
                      <a:pt x="426" y="411"/>
                    </a:lnTo>
                    <a:lnTo>
                      <a:pt x="424" y="413"/>
                    </a:lnTo>
                    <a:lnTo>
                      <a:pt x="426" y="411"/>
                    </a:lnTo>
                    <a:lnTo>
                      <a:pt x="426" y="409"/>
                    </a:lnTo>
                    <a:lnTo>
                      <a:pt x="443" y="413"/>
                    </a:lnTo>
                    <a:lnTo>
                      <a:pt x="445" y="413"/>
                    </a:lnTo>
                    <a:lnTo>
                      <a:pt x="445" y="416"/>
                    </a:lnTo>
                    <a:lnTo>
                      <a:pt x="447" y="416"/>
                    </a:lnTo>
                    <a:lnTo>
                      <a:pt x="449" y="416"/>
                    </a:lnTo>
                    <a:lnTo>
                      <a:pt x="452" y="416"/>
                    </a:lnTo>
                    <a:lnTo>
                      <a:pt x="454" y="414"/>
                    </a:lnTo>
                    <a:lnTo>
                      <a:pt x="454" y="414"/>
                    </a:lnTo>
                    <a:lnTo>
                      <a:pt x="456" y="403"/>
                    </a:lnTo>
                    <a:lnTo>
                      <a:pt x="454" y="380"/>
                    </a:lnTo>
                    <a:lnTo>
                      <a:pt x="454" y="376"/>
                    </a:lnTo>
                    <a:lnTo>
                      <a:pt x="454" y="355"/>
                    </a:lnTo>
                    <a:lnTo>
                      <a:pt x="454" y="348"/>
                    </a:lnTo>
                    <a:lnTo>
                      <a:pt x="452" y="348"/>
                    </a:lnTo>
                    <a:lnTo>
                      <a:pt x="449" y="346"/>
                    </a:lnTo>
                    <a:lnTo>
                      <a:pt x="449" y="346"/>
                    </a:lnTo>
                    <a:lnTo>
                      <a:pt x="449" y="346"/>
                    </a:lnTo>
                    <a:lnTo>
                      <a:pt x="447" y="344"/>
                    </a:lnTo>
                    <a:lnTo>
                      <a:pt x="447" y="344"/>
                    </a:lnTo>
                    <a:lnTo>
                      <a:pt x="447" y="342"/>
                    </a:lnTo>
                    <a:lnTo>
                      <a:pt x="447" y="342"/>
                    </a:lnTo>
                    <a:lnTo>
                      <a:pt x="447" y="342"/>
                    </a:lnTo>
                    <a:lnTo>
                      <a:pt x="449" y="340"/>
                    </a:lnTo>
                    <a:lnTo>
                      <a:pt x="449" y="340"/>
                    </a:lnTo>
                    <a:lnTo>
                      <a:pt x="447" y="340"/>
                    </a:lnTo>
                    <a:lnTo>
                      <a:pt x="447" y="340"/>
                    </a:lnTo>
                    <a:lnTo>
                      <a:pt x="445" y="340"/>
                    </a:lnTo>
                    <a:lnTo>
                      <a:pt x="445" y="340"/>
                    </a:lnTo>
                    <a:lnTo>
                      <a:pt x="445" y="340"/>
                    </a:lnTo>
                    <a:lnTo>
                      <a:pt x="445" y="338"/>
                    </a:lnTo>
                    <a:lnTo>
                      <a:pt x="445" y="338"/>
                    </a:lnTo>
                    <a:lnTo>
                      <a:pt x="443" y="338"/>
                    </a:lnTo>
                    <a:lnTo>
                      <a:pt x="443" y="338"/>
                    </a:lnTo>
                    <a:lnTo>
                      <a:pt x="441" y="338"/>
                    </a:lnTo>
                    <a:lnTo>
                      <a:pt x="441" y="338"/>
                    </a:lnTo>
                    <a:lnTo>
                      <a:pt x="439" y="336"/>
                    </a:lnTo>
                    <a:lnTo>
                      <a:pt x="439" y="336"/>
                    </a:lnTo>
                    <a:lnTo>
                      <a:pt x="437" y="336"/>
                    </a:lnTo>
                    <a:lnTo>
                      <a:pt x="437" y="336"/>
                    </a:lnTo>
                    <a:lnTo>
                      <a:pt x="435" y="334"/>
                    </a:lnTo>
                    <a:lnTo>
                      <a:pt x="435" y="334"/>
                    </a:lnTo>
                    <a:lnTo>
                      <a:pt x="437" y="333"/>
                    </a:lnTo>
                    <a:lnTo>
                      <a:pt x="437" y="333"/>
                    </a:lnTo>
                    <a:lnTo>
                      <a:pt x="437" y="333"/>
                    </a:lnTo>
                    <a:lnTo>
                      <a:pt x="435" y="331"/>
                    </a:lnTo>
                    <a:lnTo>
                      <a:pt x="435" y="331"/>
                    </a:lnTo>
                    <a:lnTo>
                      <a:pt x="437" y="331"/>
                    </a:lnTo>
                    <a:lnTo>
                      <a:pt x="439" y="331"/>
                    </a:lnTo>
                    <a:lnTo>
                      <a:pt x="439" y="331"/>
                    </a:lnTo>
                    <a:lnTo>
                      <a:pt x="441" y="331"/>
                    </a:lnTo>
                    <a:lnTo>
                      <a:pt x="441" y="331"/>
                    </a:lnTo>
                    <a:lnTo>
                      <a:pt x="441" y="329"/>
                    </a:lnTo>
                    <a:lnTo>
                      <a:pt x="439" y="327"/>
                    </a:lnTo>
                    <a:lnTo>
                      <a:pt x="439" y="327"/>
                    </a:lnTo>
                    <a:lnTo>
                      <a:pt x="439" y="327"/>
                    </a:lnTo>
                    <a:lnTo>
                      <a:pt x="439" y="325"/>
                    </a:lnTo>
                    <a:lnTo>
                      <a:pt x="439" y="325"/>
                    </a:lnTo>
                    <a:lnTo>
                      <a:pt x="443" y="327"/>
                    </a:lnTo>
                    <a:lnTo>
                      <a:pt x="445" y="327"/>
                    </a:lnTo>
                    <a:lnTo>
                      <a:pt x="445" y="327"/>
                    </a:lnTo>
                    <a:lnTo>
                      <a:pt x="447" y="327"/>
                    </a:lnTo>
                    <a:lnTo>
                      <a:pt x="449" y="325"/>
                    </a:lnTo>
                    <a:lnTo>
                      <a:pt x="451" y="325"/>
                    </a:lnTo>
                    <a:lnTo>
                      <a:pt x="454" y="327"/>
                    </a:lnTo>
                    <a:lnTo>
                      <a:pt x="454" y="327"/>
                    </a:lnTo>
                    <a:lnTo>
                      <a:pt x="454" y="323"/>
                    </a:lnTo>
                    <a:lnTo>
                      <a:pt x="454" y="304"/>
                    </a:lnTo>
                    <a:lnTo>
                      <a:pt x="452" y="291"/>
                    </a:lnTo>
                    <a:lnTo>
                      <a:pt x="452" y="279"/>
                    </a:lnTo>
                    <a:lnTo>
                      <a:pt x="451" y="279"/>
                    </a:lnTo>
                    <a:lnTo>
                      <a:pt x="451" y="279"/>
                    </a:lnTo>
                    <a:lnTo>
                      <a:pt x="447" y="277"/>
                    </a:lnTo>
                    <a:lnTo>
                      <a:pt x="445" y="277"/>
                    </a:lnTo>
                    <a:lnTo>
                      <a:pt x="443" y="277"/>
                    </a:lnTo>
                    <a:lnTo>
                      <a:pt x="441" y="279"/>
                    </a:lnTo>
                    <a:lnTo>
                      <a:pt x="441" y="281"/>
                    </a:lnTo>
                    <a:lnTo>
                      <a:pt x="435" y="285"/>
                    </a:lnTo>
                    <a:lnTo>
                      <a:pt x="433" y="285"/>
                    </a:lnTo>
                    <a:lnTo>
                      <a:pt x="431" y="285"/>
                    </a:lnTo>
                    <a:lnTo>
                      <a:pt x="433" y="283"/>
                    </a:lnTo>
                    <a:lnTo>
                      <a:pt x="441" y="277"/>
                    </a:lnTo>
                    <a:lnTo>
                      <a:pt x="441" y="276"/>
                    </a:lnTo>
                    <a:lnTo>
                      <a:pt x="443" y="276"/>
                    </a:lnTo>
                    <a:lnTo>
                      <a:pt x="443" y="276"/>
                    </a:lnTo>
                    <a:lnTo>
                      <a:pt x="445" y="276"/>
                    </a:lnTo>
                    <a:lnTo>
                      <a:pt x="445" y="276"/>
                    </a:lnTo>
                    <a:lnTo>
                      <a:pt x="449" y="276"/>
                    </a:lnTo>
                    <a:lnTo>
                      <a:pt x="451" y="276"/>
                    </a:lnTo>
                    <a:lnTo>
                      <a:pt x="451" y="274"/>
                    </a:lnTo>
                    <a:lnTo>
                      <a:pt x="451" y="268"/>
                    </a:lnTo>
                    <a:lnTo>
                      <a:pt x="449" y="266"/>
                    </a:lnTo>
                    <a:lnTo>
                      <a:pt x="447" y="266"/>
                    </a:lnTo>
                    <a:lnTo>
                      <a:pt x="447" y="266"/>
                    </a:lnTo>
                    <a:lnTo>
                      <a:pt x="447" y="268"/>
                    </a:lnTo>
                    <a:lnTo>
                      <a:pt x="447" y="268"/>
                    </a:lnTo>
                    <a:lnTo>
                      <a:pt x="447" y="270"/>
                    </a:lnTo>
                    <a:lnTo>
                      <a:pt x="447" y="270"/>
                    </a:lnTo>
                    <a:lnTo>
                      <a:pt x="445" y="264"/>
                    </a:lnTo>
                    <a:lnTo>
                      <a:pt x="443" y="255"/>
                    </a:lnTo>
                    <a:lnTo>
                      <a:pt x="441" y="251"/>
                    </a:lnTo>
                    <a:lnTo>
                      <a:pt x="441" y="247"/>
                    </a:lnTo>
                    <a:lnTo>
                      <a:pt x="443" y="243"/>
                    </a:lnTo>
                    <a:lnTo>
                      <a:pt x="443" y="237"/>
                    </a:lnTo>
                    <a:lnTo>
                      <a:pt x="447" y="226"/>
                    </a:lnTo>
                    <a:lnTo>
                      <a:pt x="447" y="222"/>
                    </a:lnTo>
                    <a:lnTo>
                      <a:pt x="449" y="222"/>
                    </a:lnTo>
                    <a:lnTo>
                      <a:pt x="449" y="217"/>
                    </a:lnTo>
                    <a:lnTo>
                      <a:pt x="449" y="217"/>
                    </a:lnTo>
                    <a:lnTo>
                      <a:pt x="449" y="217"/>
                    </a:lnTo>
                    <a:lnTo>
                      <a:pt x="445" y="217"/>
                    </a:lnTo>
                    <a:lnTo>
                      <a:pt x="443" y="217"/>
                    </a:lnTo>
                    <a:lnTo>
                      <a:pt x="441" y="217"/>
                    </a:lnTo>
                    <a:lnTo>
                      <a:pt x="441" y="217"/>
                    </a:lnTo>
                    <a:lnTo>
                      <a:pt x="441" y="217"/>
                    </a:lnTo>
                    <a:lnTo>
                      <a:pt x="439" y="217"/>
                    </a:lnTo>
                    <a:lnTo>
                      <a:pt x="439" y="217"/>
                    </a:lnTo>
                    <a:lnTo>
                      <a:pt x="439" y="217"/>
                    </a:lnTo>
                    <a:lnTo>
                      <a:pt x="437" y="215"/>
                    </a:lnTo>
                    <a:lnTo>
                      <a:pt x="437" y="215"/>
                    </a:lnTo>
                    <a:lnTo>
                      <a:pt x="435" y="215"/>
                    </a:lnTo>
                    <a:lnTo>
                      <a:pt x="435" y="215"/>
                    </a:lnTo>
                    <a:lnTo>
                      <a:pt x="435" y="213"/>
                    </a:lnTo>
                    <a:lnTo>
                      <a:pt x="435" y="213"/>
                    </a:lnTo>
                    <a:lnTo>
                      <a:pt x="435" y="211"/>
                    </a:lnTo>
                    <a:lnTo>
                      <a:pt x="435" y="211"/>
                    </a:lnTo>
                    <a:lnTo>
                      <a:pt x="437" y="209"/>
                    </a:lnTo>
                    <a:lnTo>
                      <a:pt x="437" y="209"/>
                    </a:lnTo>
                    <a:lnTo>
                      <a:pt x="435" y="207"/>
                    </a:lnTo>
                    <a:lnTo>
                      <a:pt x="435" y="207"/>
                    </a:lnTo>
                    <a:lnTo>
                      <a:pt x="435" y="205"/>
                    </a:lnTo>
                    <a:lnTo>
                      <a:pt x="435" y="205"/>
                    </a:lnTo>
                    <a:lnTo>
                      <a:pt x="433" y="205"/>
                    </a:lnTo>
                    <a:lnTo>
                      <a:pt x="433" y="203"/>
                    </a:lnTo>
                    <a:lnTo>
                      <a:pt x="433" y="203"/>
                    </a:lnTo>
                    <a:lnTo>
                      <a:pt x="433" y="203"/>
                    </a:lnTo>
                    <a:lnTo>
                      <a:pt x="433" y="201"/>
                    </a:lnTo>
                    <a:lnTo>
                      <a:pt x="431" y="199"/>
                    </a:lnTo>
                    <a:lnTo>
                      <a:pt x="431" y="199"/>
                    </a:lnTo>
                    <a:lnTo>
                      <a:pt x="431" y="198"/>
                    </a:lnTo>
                    <a:lnTo>
                      <a:pt x="431" y="198"/>
                    </a:lnTo>
                    <a:lnTo>
                      <a:pt x="433" y="196"/>
                    </a:lnTo>
                    <a:lnTo>
                      <a:pt x="433" y="196"/>
                    </a:lnTo>
                    <a:lnTo>
                      <a:pt x="433" y="196"/>
                    </a:lnTo>
                    <a:lnTo>
                      <a:pt x="433" y="196"/>
                    </a:lnTo>
                    <a:lnTo>
                      <a:pt x="435" y="196"/>
                    </a:lnTo>
                    <a:lnTo>
                      <a:pt x="435" y="198"/>
                    </a:lnTo>
                    <a:lnTo>
                      <a:pt x="437" y="198"/>
                    </a:lnTo>
                    <a:lnTo>
                      <a:pt x="437" y="199"/>
                    </a:lnTo>
                    <a:lnTo>
                      <a:pt x="439" y="199"/>
                    </a:lnTo>
                    <a:lnTo>
                      <a:pt x="443" y="199"/>
                    </a:lnTo>
                    <a:lnTo>
                      <a:pt x="443" y="199"/>
                    </a:lnTo>
                    <a:lnTo>
                      <a:pt x="445" y="199"/>
                    </a:lnTo>
                    <a:lnTo>
                      <a:pt x="445" y="199"/>
                    </a:lnTo>
                    <a:lnTo>
                      <a:pt x="445" y="201"/>
                    </a:lnTo>
                    <a:lnTo>
                      <a:pt x="443" y="201"/>
                    </a:lnTo>
                    <a:lnTo>
                      <a:pt x="441" y="203"/>
                    </a:lnTo>
                    <a:lnTo>
                      <a:pt x="441" y="203"/>
                    </a:lnTo>
                    <a:lnTo>
                      <a:pt x="441" y="205"/>
                    </a:lnTo>
                    <a:lnTo>
                      <a:pt x="443" y="205"/>
                    </a:lnTo>
                    <a:lnTo>
                      <a:pt x="443" y="205"/>
                    </a:lnTo>
                    <a:lnTo>
                      <a:pt x="445" y="205"/>
                    </a:lnTo>
                    <a:lnTo>
                      <a:pt x="445" y="207"/>
                    </a:lnTo>
                    <a:lnTo>
                      <a:pt x="445" y="207"/>
                    </a:lnTo>
                    <a:lnTo>
                      <a:pt x="447" y="207"/>
                    </a:lnTo>
                    <a:lnTo>
                      <a:pt x="449" y="203"/>
                    </a:lnTo>
                    <a:lnTo>
                      <a:pt x="451" y="203"/>
                    </a:lnTo>
                    <a:lnTo>
                      <a:pt x="454" y="201"/>
                    </a:lnTo>
                    <a:lnTo>
                      <a:pt x="454" y="201"/>
                    </a:lnTo>
                    <a:lnTo>
                      <a:pt x="454" y="201"/>
                    </a:lnTo>
                    <a:lnTo>
                      <a:pt x="454" y="199"/>
                    </a:lnTo>
                    <a:lnTo>
                      <a:pt x="456" y="199"/>
                    </a:lnTo>
                    <a:lnTo>
                      <a:pt x="454" y="194"/>
                    </a:lnTo>
                    <a:lnTo>
                      <a:pt x="456" y="194"/>
                    </a:lnTo>
                    <a:lnTo>
                      <a:pt x="456" y="192"/>
                    </a:lnTo>
                    <a:lnTo>
                      <a:pt x="460" y="188"/>
                    </a:lnTo>
                    <a:lnTo>
                      <a:pt x="464" y="178"/>
                    </a:lnTo>
                    <a:lnTo>
                      <a:pt x="464" y="178"/>
                    </a:lnTo>
                    <a:lnTo>
                      <a:pt x="466" y="177"/>
                    </a:lnTo>
                    <a:lnTo>
                      <a:pt x="473" y="165"/>
                    </a:lnTo>
                    <a:lnTo>
                      <a:pt x="470" y="167"/>
                    </a:lnTo>
                    <a:lnTo>
                      <a:pt x="468" y="169"/>
                    </a:lnTo>
                    <a:lnTo>
                      <a:pt x="466" y="169"/>
                    </a:lnTo>
                    <a:lnTo>
                      <a:pt x="466" y="167"/>
                    </a:lnTo>
                    <a:lnTo>
                      <a:pt x="473" y="163"/>
                    </a:lnTo>
                    <a:lnTo>
                      <a:pt x="475" y="161"/>
                    </a:lnTo>
                    <a:lnTo>
                      <a:pt x="479" y="154"/>
                    </a:lnTo>
                    <a:lnTo>
                      <a:pt x="481" y="154"/>
                    </a:lnTo>
                    <a:lnTo>
                      <a:pt x="481" y="152"/>
                    </a:lnTo>
                    <a:lnTo>
                      <a:pt x="483" y="152"/>
                    </a:lnTo>
                    <a:lnTo>
                      <a:pt x="485" y="150"/>
                    </a:lnTo>
                    <a:lnTo>
                      <a:pt x="487" y="144"/>
                    </a:lnTo>
                    <a:lnTo>
                      <a:pt x="489" y="142"/>
                    </a:lnTo>
                    <a:lnTo>
                      <a:pt x="492" y="135"/>
                    </a:lnTo>
                    <a:lnTo>
                      <a:pt x="494" y="127"/>
                    </a:lnTo>
                    <a:lnTo>
                      <a:pt x="496" y="125"/>
                    </a:lnTo>
                    <a:lnTo>
                      <a:pt x="496" y="123"/>
                    </a:lnTo>
                    <a:lnTo>
                      <a:pt x="498" y="118"/>
                    </a:lnTo>
                    <a:lnTo>
                      <a:pt x="498" y="116"/>
                    </a:lnTo>
                    <a:lnTo>
                      <a:pt x="500" y="112"/>
                    </a:lnTo>
                    <a:lnTo>
                      <a:pt x="502" y="110"/>
                    </a:lnTo>
                    <a:lnTo>
                      <a:pt x="502" y="104"/>
                    </a:lnTo>
                    <a:lnTo>
                      <a:pt x="504" y="99"/>
                    </a:lnTo>
                    <a:lnTo>
                      <a:pt x="506" y="89"/>
                    </a:lnTo>
                    <a:lnTo>
                      <a:pt x="506" y="74"/>
                    </a:lnTo>
                    <a:lnTo>
                      <a:pt x="508" y="64"/>
                    </a:lnTo>
                    <a:lnTo>
                      <a:pt x="508" y="59"/>
                    </a:lnTo>
                    <a:lnTo>
                      <a:pt x="510" y="59"/>
                    </a:lnTo>
                    <a:lnTo>
                      <a:pt x="512" y="55"/>
                    </a:lnTo>
                    <a:lnTo>
                      <a:pt x="512" y="55"/>
                    </a:lnTo>
                    <a:lnTo>
                      <a:pt x="512" y="51"/>
                    </a:lnTo>
                    <a:lnTo>
                      <a:pt x="512" y="49"/>
                    </a:lnTo>
                    <a:lnTo>
                      <a:pt x="512" y="47"/>
                    </a:lnTo>
                    <a:lnTo>
                      <a:pt x="513" y="45"/>
                    </a:lnTo>
                    <a:lnTo>
                      <a:pt x="513" y="41"/>
                    </a:lnTo>
                    <a:lnTo>
                      <a:pt x="515" y="40"/>
                    </a:lnTo>
                    <a:lnTo>
                      <a:pt x="513" y="40"/>
                    </a:lnTo>
                    <a:lnTo>
                      <a:pt x="512" y="40"/>
                    </a:lnTo>
                    <a:lnTo>
                      <a:pt x="513" y="38"/>
                    </a:lnTo>
                    <a:lnTo>
                      <a:pt x="513" y="36"/>
                    </a:lnTo>
                    <a:lnTo>
                      <a:pt x="513" y="36"/>
                    </a:lnTo>
                    <a:lnTo>
                      <a:pt x="515" y="36"/>
                    </a:lnTo>
                    <a:lnTo>
                      <a:pt x="515" y="32"/>
                    </a:lnTo>
                    <a:lnTo>
                      <a:pt x="515" y="26"/>
                    </a:lnTo>
                    <a:lnTo>
                      <a:pt x="515" y="22"/>
                    </a:lnTo>
                    <a:lnTo>
                      <a:pt x="515" y="1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9" name="Freeform 11">
                <a:extLst>
                  <a:ext uri="{FF2B5EF4-FFF2-40B4-BE49-F238E27FC236}">
                    <a16:creationId xmlns:a16="http://schemas.microsoft.com/office/drawing/2014/main" id="{2AF01BFB-0197-498E-A5E8-6C6B166ADB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5544" y="3554886"/>
                <a:ext cx="179388" cy="230188"/>
              </a:xfrm>
              <a:custGeom>
                <a:avLst/>
                <a:gdLst>
                  <a:gd name="T0" fmla="*/ 107 w 113"/>
                  <a:gd name="T1" fmla="*/ 108 h 145"/>
                  <a:gd name="T2" fmla="*/ 103 w 113"/>
                  <a:gd name="T3" fmla="*/ 105 h 145"/>
                  <a:gd name="T4" fmla="*/ 100 w 113"/>
                  <a:gd name="T5" fmla="*/ 103 h 145"/>
                  <a:gd name="T6" fmla="*/ 96 w 113"/>
                  <a:gd name="T7" fmla="*/ 95 h 145"/>
                  <a:gd name="T8" fmla="*/ 96 w 113"/>
                  <a:gd name="T9" fmla="*/ 87 h 145"/>
                  <a:gd name="T10" fmla="*/ 94 w 113"/>
                  <a:gd name="T11" fmla="*/ 82 h 145"/>
                  <a:gd name="T12" fmla="*/ 94 w 113"/>
                  <a:gd name="T13" fmla="*/ 78 h 145"/>
                  <a:gd name="T14" fmla="*/ 98 w 113"/>
                  <a:gd name="T15" fmla="*/ 70 h 145"/>
                  <a:gd name="T16" fmla="*/ 107 w 113"/>
                  <a:gd name="T17" fmla="*/ 38 h 145"/>
                  <a:gd name="T18" fmla="*/ 107 w 113"/>
                  <a:gd name="T19" fmla="*/ 34 h 145"/>
                  <a:gd name="T20" fmla="*/ 103 w 113"/>
                  <a:gd name="T21" fmla="*/ 28 h 145"/>
                  <a:gd name="T22" fmla="*/ 102 w 113"/>
                  <a:gd name="T23" fmla="*/ 25 h 145"/>
                  <a:gd name="T24" fmla="*/ 103 w 113"/>
                  <a:gd name="T25" fmla="*/ 17 h 145"/>
                  <a:gd name="T26" fmla="*/ 103 w 113"/>
                  <a:gd name="T27" fmla="*/ 17 h 145"/>
                  <a:gd name="T28" fmla="*/ 98 w 113"/>
                  <a:gd name="T29" fmla="*/ 11 h 145"/>
                  <a:gd name="T30" fmla="*/ 90 w 113"/>
                  <a:gd name="T31" fmla="*/ 8 h 145"/>
                  <a:gd name="T32" fmla="*/ 79 w 113"/>
                  <a:gd name="T33" fmla="*/ 4 h 145"/>
                  <a:gd name="T34" fmla="*/ 75 w 113"/>
                  <a:gd name="T35" fmla="*/ 0 h 145"/>
                  <a:gd name="T36" fmla="*/ 67 w 113"/>
                  <a:gd name="T37" fmla="*/ 8 h 145"/>
                  <a:gd name="T38" fmla="*/ 63 w 113"/>
                  <a:gd name="T39" fmla="*/ 11 h 145"/>
                  <a:gd name="T40" fmla="*/ 58 w 113"/>
                  <a:gd name="T41" fmla="*/ 11 h 145"/>
                  <a:gd name="T42" fmla="*/ 50 w 113"/>
                  <a:gd name="T43" fmla="*/ 17 h 145"/>
                  <a:gd name="T44" fmla="*/ 48 w 113"/>
                  <a:gd name="T45" fmla="*/ 19 h 145"/>
                  <a:gd name="T46" fmla="*/ 21 w 113"/>
                  <a:gd name="T47" fmla="*/ 23 h 145"/>
                  <a:gd name="T48" fmla="*/ 20 w 113"/>
                  <a:gd name="T49" fmla="*/ 23 h 145"/>
                  <a:gd name="T50" fmla="*/ 14 w 113"/>
                  <a:gd name="T51" fmla="*/ 23 h 145"/>
                  <a:gd name="T52" fmla="*/ 12 w 113"/>
                  <a:gd name="T53" fmla="*/ 30 h 145"/>
                  <a:gd name="T54" fmla="*/ 16 w 113"/>
                  <a:gd name="T55" fmla="*/ 36 h 145"/>
                  <a:gd name="T56" fmla="*/ 20 w 113"/>
                  <a:gd name="T57" fmla="*/ 38 h 145"/>
                  <a:gd name="T58" fmla="*/ 21 w 113"/>
                  <a:gd name="T59" fmla="*/ 40 h 145"/>
                  <a:gd name="T60" fmla="*/ 20 w 113"/>
                  <a:gd name="T61" fmla="*/ 47 h 145"/>
                  <a:gd name="T62" fmla="*/ 18 w 113"/>
                  <a:gd name="T63" fmla="*/ 55 h 145"/>
                  <a:gd name="T64" fmla="*/ 6 w 113"/>
                  <a:gd name="T65" fmla="*/ 80 h 145"/>
                  <a:gd name="T66" fmla="*/ 2 w 113"/>
                  <a:gd name="T67" fmla="*/ 89 h 145"/>
                  <a:gd name="T68" fmla="*/ 4 w 113"/>
                  <a:gd name="T69" fmla="*/ 93 h 145"/>
                  <a:gd name="T70" fmla="*/ 4 w 113"/>
                  <a:gd name="T71" fmla="*/ 95 h 145"/>
                  <a:gd name="T72" fmla="*/ 4 w 113"/>
                  <a:gd name="T73" fmla="*/ 97 h 145"/>
                  <a:gd name="T74" fmla="*/ 4 w 113"/>
                  <a:gd name="T75" fmla="*/ 99 h 145"/>
                  <a:gd name="T76" fmla="*/ 2 w 113"/>
                  <a:gd name="T77" fmla="*/ 103 h 145"/>
                  <a:gd name="T78" fmla="*/ 2 w 113"/>
                  <a:gd name="T79" fmla="*/ 106 h 145"/>
                  <a:gd name="T80" fmla="*/ 4 w 113"/>
                  <a:gd name="T81" fmla="*/ 110 h 145"/>
                  <a:gd name="T82" fmla="*/ 4 w 113"/>
                  <a:gd name="T83" fmla="*/ 116 h 145"/>
                  <a:gd name="T84" fmla="*/ 2 w 113"/>
                  <a:gd name="T85" fmla="*/ 124 h 145"/>
                  <a:gd name="T86" fmla="*/ 8 w 113"/>
                  <a:gd name="T87" fmla="*/ 127 h 145"/>
                  <a:gd name="T88" fmla="*/ 10 w 113"/>
                  <a:gd name="T89" fmla="*/ 131 h 145"/>
                  <a:gd name="T90" fmla="*/ 10 w 113"/>
                  <a:gd name="T91" fmla="*/ 135 h 145"/>
                  <a:gd name="T92" fmla="*/ 12 w 113"/>
                  <a:gd name="T93" fmla="*/ 137 h 145"/>
                  <a:gd name="T94" fmla="*/ 20 w 113"/>
                  <a:gd name="T95" fmla="*/ 137 h 145"/>
                  <a:gd name="T96" fmla="*/ 29 w 113"/>
                  <a:gd name="T97" fmla="*/ 137 h 145"/>
                  <a:gd name="T98" fmla="*/ 42 w 113"/>
                  <a:gd name="T99" fmla="*/ 145 h 145"/>
                  <a:gd name="T100" fmla="*/ 44 w 113"/>
                  <a:gd name="T101" fmla="*/ 145 h 145"/>
                  <a:gd name="T102" fmla="*/ 50 w 113"/>
                  <a:gd name="T103" fmla="*/ 145 h 145"/>
                  <a:gd name="T104" fmla="*/ 56 w 113"/>
                  <a:gd name="T105" fmla="*/ 141 h 145"/>
                  <a:gd name="T106" fmla="*/ 69 w 113"/>
                  <a:gd name="T107" fmla="*/ 131 h 145"/>
                  <a:gd name="T108" fmla="*/ 84 w 113"/>
                  <a:gd name="T109" fmla="*/ 133 h 145"/>
                  <a:gd name="T110" fmla="*/ 86 w 113"/>
                  <a:gd name="T111" fmla="*/ 135 h 145"/>
                  <a:gd name="T112" fmla="*/ 92 w 113"/>
                  <a:gd name="T113" fmla="*/ 137 h 145"/>
                  <a:gd name="T114" fmla="*/ 92 w 113"/>
                  <a:gd name="T115" fmla="*/ 135 h 145"/>
                  <a:gd name="T116" fmla="*/ 96 w 113"/>
                  <a:gd name="T117" fmla="*/ 127 h 145"/>
                  <a:gd name="T118" fmla="*/ 102 w 113"/>
                  <a:gd name="T119" fmla="*/ 122 h 145"/>
                  <a:gd name="T120" fmla="*/ 111 w 113"/>
                  <a:gd name="T121" fmla="*/ 118 h 145"/>
                  <a:gd name="T122" fmla="*/ 113 w 113"/>
                  <a:gd name="T123" fmla="*/ 11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3" h="145">
                    <a:moveTo>
                      <a:pt x="109" y="110"/>
                    </a:moveTo>
                    <a:lnTo>
                      <a:pt x="107" y="108"/>
                    </a:lnTo>
                    <a:lnTo>
                      <a:pt x="105" y="105"/>
                    </a:lnTo>
                    <a:lnTo>
                      <a:pt x="103" y="105"/>
                    </a:lnTo>
                    <a:lnTo>
                      <a:pt x="102" y="105"/>
                    </a:lnTo>
                    <a:lnTo>
                      <a:pt x="100" y="103"/>
                    </a:lnTo>
                    <a:lnTo>
                      <a:pt x="98" y="99"/>
                    </a:lnTo>
                    <a:lnTo>
                      <a:pt x="96" y="95"/>
                    </a:lnTo>
                    <a:lnTo>
                      <a:pt x="96" y="91"/>
                    </a:lnTo>
                    <a:lnTo>
                      <a:pt x="96" y="87"/>
                    </a:lnTo>
                    <a:lnTo>
                      <a:pt x="96" y="86"/>
                    </a:lnTo>
                    <a:lnTo>
                      <a:pt x="94" y="82"/>
                    </a:lnTo>
                    <a:lnTo>
                      <a:pt x="94" y="80"/>
                    </a:lnTo>
                    <a:lnTo>
                      <a:pt x="94" y="78"/>
                    </a:lnTo>
                    <a:lnTo>
                      <a:pt x="96" y="74"/>
                    </a:lnTo>
                    <a:lnTo>
                      <a:pt x="98" y="70"/>
                    </a:lnTo>
                    <a:lnTo>
                      <a:pt x="102" y="65"/>
                    </a:lnTo>
                    <a:lnTo>
                      <a:pt x="107" y="38"/>
                    </a:lnTo>
                    <a:lnTo>
                      <a:pt x="107" y="36"/>
                    </a:lnTo>
                    <a:lnTo>
                      <a:pt x="107" y="34"/>
                    </a:lnTo>
                    <a:lnTo>
                      <a:pt x="105" y="30"/>
                    </a:lnTo>
                    <a:lnTo>
                      <a:pt x="103" y="28"/>
                    </a:lnTo>
                    <a:lnTo>
                      <a:pt x="102" y="27"/>
                    </a:lnTo>
                    <a:lnTo>
                      <a:pt x="102" y="25"/>
                    </a:lnTo>
                    <a:lnTo>
                      <a:pt x="103" y="19"/>
                    </a:lnTo>
                    <a:lnTo>
                      <a:pt x="103" y="17"/>
                    </a:lnTo>
                    <a:lnTo>
                      <a:pt x="103" y="17"/>
                    </a:lnTo>
                    <a:lnTo>
                      <a:pt x="103" y="17"/>
                    </a:lnTo>
                    <a:lnTo>
                      <a:pt x="102" y="15"/>
                    </a:lnTo>
                    <a:lnTo>
                      <a:pt x="98" y="11"/>
                    </a:lnTo>
                    <a:lnTo>
                      <a:pt x="92" y="8"/>
                    </a:lnTo>
                    <a:lnTo>
                      <a:pt x="90" y="8"/>
                    </a:lnTo>
                    <a:lnTo>
                      <a:pt x="82" y="6"/>
                    </a:lnTo>
                    <a:lnTo>
                      <a:pt x="79" y="4"/>
                    </a:lnTo>
                    <a:lnTo>
                      <a:pt x="77" y="2"/>
                    </a:lnTo>
                    <a:lnTo>
                      <a:pt x="75" y="0"/>
                    </a:lnTo>
                    <a:lnTo>
                      <a:pt x="69" y="6"/>
                    </a:lnTo>
                    <a:lnTo>
                      <a:pt x="67" y="8"/>
                    </a:lnTo>
                    <a:lnTo>
                      <a:pt x="65" y="9"/>
                    </a:lnTo>
                    <a:lnTo>
                      <a:pt x="63" y="11"/>
                    </a:lnTo>
                    <a:lnTo>
                      <a:pt x="60" y="11"/>
                    </a:lnTo>
                    <a:lnTo>
                      <a:pt x="58" y="11"/>
                    </a:lnTo>
                    <a:lnTo>
                      <a:pt x="50" y="17"/>
                    </a:lnTo>
                    <a:lnTo>
                      <a:pt x="50" y="17"/>
                    </a:lnTo>
                    <a:lnTo>
                      <a:pt x="50" y="17"/>
                    </a:lnTo>
                    <a:lnTo>
                      <a:pt x="48" y="19"/>
                    </a:lnTo>
                    <a:lnTo>
                      <a:pt x="25" y="23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0" y="23"/>
                    </a:lnTo>
                    <a:lnTo>
                      <a:pt x="16" y="23"/>
                    </a:lnTo>
                    <a:lnTo>
                      <a:pt x="14" y="23"/>
                    </a:lnTo>
                    <a:lnTo>
                      <a:pt x="12" y="27"/>
                    </a:lnTo>
                    <a:lnTo>
                      <a:pt x="12" y="30"/>
                    </a:lnTo>
                    <a:lnTo>
                      <a:pt x="14" y="32"/>
                    </a:lnTo>
                    <a:lnTo>
                      <a:pt x="16" y="36"/>
                    </a:lnTo>
                    <a:lnTo>
                      <a:pt x="18" y="36"/>
                    </a:lnTo>
                    <a:lnTo>
                      <a:pt x="20" y="38"/>
                    </a:lnTo>
                    <a:lnTo>
                      <a:pt x="21" y="38"/>
                    </a:lnTo>
                    <a:lnTo>
                      <a:pt x="21" y="40"/>
                    </a:lnTo>
                    <a:lnTo>
                      <a:pt x="20" y="42"/>
                    </a:lnTo>
                    <a:lnTo>
                      <a:pt x="20" y="47"/>
                    </a:lnTo>
                    <a:lnTo>
                      <a:pt x="20" y="51"/>
                    </a:lnTo>
                    <a:lnTo>
                      <a:pt x="18" y="55"/>
                    </a:lnTo>
                    <a:lnTo>
                      <a:pt x="14" y="67"/>
                    </a:lnTo>
                    <a:lnTo>
                      <a:pt x="6" y="80"/>
                    </a:lnTo>
                    <a:lnTo>
                      <a:pt x="2" y="87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4" y="93"/>
                    </a:lnTo>
                    <a:lnTo>
                      <a:pt x="4" y="93"/>
                    </a:lnTo>
                    <a:lnTo>
                      <a:pt x="4" y="95"/>
                    </a:lnTo>
                    <a:lnTo>
                      <a:pt x="6" y="95"/>
                    </a:lnTo>
                    <a:lnTo>
                      <a:pt x="4" y="97"/>
                    </a:lnTo>
                    <a:lnTo>
                      <a:pt x="4" y="97"/>
                    </a:lnTo>
                    <a:lnTo>
                      <a:pt x="4" y="99"/>
                    </a:lnTo>
                    <a:lnTo>
                      <a:pt x="4" y="99"/>
                    </a:lnTo>
                    <a:lnTo>
                      <a:pt x="2" y="103"/>
                    </a:lnTo>
                    <a:lnTo>
                      <a:pt x="2" y="105"/>
                    </a:lnTo>
                    <a:lnTo>
                      <a:pt x="2" y="106"/>
                    </a:lnTo>
                    <a:lnTo>
                      <a:pt x="2" y="106"/>
                    </a:lnTo>
                    <a:lnTo>
                      <a:pt x="4" y="110"/>
                    </a:lnTo>
                    <a:lnTo>
                      <a:pt x="4" y="112"/>
                    </a:lnTo>
                    <a:lnTo>
                      <a:pt x="4" y="116"/>
                    </a:lnTo>
                    <a:lnTo>
                      <a:pt x="0" y="122"/>
                    </a:lnTo>
                    <a:lnTo>
                      <a:pt x="2" y="124"/>
                    </a:lnTo>
                    <a:lnTo>
                      <a:pt x="4" y="126"/>
                    </a:lnTo>
                    <a:lnTo>
                      <a:pt x="8" y="127"/>
                    </a:lnTo>
                    <a:lnTo>
                      <a:pt x="10" y="129"/>
                    </a:lnTo>
                    <a:lnTo>
                      <a:pt x="10" y="131"/>
                    </a:lnTo>
                    <a:lnTo>
                      <a:pt x="10" y="133"/>
                    </a:lnTo>
                    <a:lnTo>
                      <a:pt x="10" y="135"/>
                    </a:lnTo>
                    <a:lnTo>
                      <a:pt x="12" y="135"/>
                    </a:lnTo>
                    <a:lnTo>
                      <a:pt x="12" y="137"/>
                    </a:lnTo>
                    <a:lnTo>
                      <a:pt x="16" y="137"/>
                    </a:lnTo>
                    <a:lnTo>
                      <a:pt x="20" y="137"/>
                    </a:lnTo>
                    <a:lnTo>
                      <a:pt x="25" y="137"/>
                    </a:lnTo>
                    <a:lnTo>
                      <a:pt x="29" y="137"/>
                    </a:lnTo>
                    <a:lnTo>
                      <a:pt x="42" y="143"/>
                    </a:lnTo>
                    <a:lnTo>
                      <a:pt x="42" y="145"/>
                    </a:lnTo>
                    <a:lnTo>
                      <a:pt x="44" y="145"/>
                    </a:lnTo>
                    <a:lnTo>
                      <a:pt x="44" y="145"/>
                    </a:lnTo>
                    <a:lnTo>
                      <a:pt x="46" y="145"/>
                    </a:lnTo>
                    <a:lnTo>
                      <a:pt x="50" y="145"/>
                    </a:lnTo>
                    <a:lnTo>
                      <a:pt x="54" y="143"/>
                    </a:lnTo>
                    <a:lnTo>
                      <a:pt x="56" y="141"/>
                    </a:lnTo>
                    <a:lnTo>
                      <a:pt x="65" y="133"/>
                    </a:lnTo>
                    <a:lnTo>
                      <a:pt x="69" y="131"/>
                    </a:lnTo>
                    <a:lnTo>
                      <a:pt x="77" y="133"/>
                    </a:lnTo>
                    <a:lnTo>
                      <a:pt x="84" y="133"/>
                    </a:lnTo>
                    <a:lnTo>
                      <a:pt x="84" y="133"/>
                    </a:lnTo>
                    <a:lnTo>
                      <a:pt x="86" y="135"/>
                    </a:lnTo>
                    <a:lnTo>
                      <a:pt x="90" y="137"/>
                    </a:lnTo>
                    <a:lnTo>
                      <a:pt x="92" y="137"/>
                    </a:lnTo>
                    <a:lnTo>
                      <a:pt x="92" y="137"/>
                    </a:lnTo>
                    <a:lnTo>
                      <a:pt x="92" y="135"/>
                    </a:lnTo>
                    <a:lnTo>
                      <a:pt x="92" y="131"/>
                    </a:lnTo>
                    <a:lnTo>
                      <a:pt x="96" y="127"/>
                    </a:lnTo>
                    <a:lnTo>
                      <a:pt x="98" y="124"/>
                    </a:lnTo>
                    <a:lnTo>
                      <a:pt x="102" y="122"/>
                    </a:lnTo>
                    <a:lnTo>
                      <a:pt x="109" y="120"/>
                    </a:lnTo>
                    <a:lnTo>
                      <a:pt x="111" y="118"/>
                    </a:lnTo>
                    <a:lnTo>
                      <a:pt x="111" y="116"/>
                    </a:lnTo>
                    <a:lnTo>
                      <a:pt x="113" y="112"/>
                    </a:lnTo>
                    <a:lnTo>
                      <a:pt x="109" y="11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0" name="Freeform 12">
                <a:extLst>
                  <a:ext uri="{FF2B5EF4-FFF2-40B4-BE49-F238E27FC236}">
                    <a16:creationId xmlns:a16="http://schemas.microsoft.com/office/drawing/2014/main" id="{3E596296-43A1-4625-9118-79F35DE144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6194" y="3077049"/>
                <a:ext cx="1746250" cy="1595438"/>
              </a:xfrm>
              <a:custGeom>
                <a:avLst/>
                <a:gdLst>
                  <a:gd name="T0" fmla="*/ 1070 w 1100"/>
                  <a:gd name="T1" fmla="*/ 472 h 1005"/>
                  <a:gd name="T2" fmla="*/ 993 w 1100"/>
                  <a:gd name="T3" fmla="*/ 489 h 1005"/>
                  <a:gd name="T4" fmla="*/ 1022 w 1100"/>
                  <a:gd name="T5" fmla="*/ 453 h 1005"/>
                  <a:gd name="T6" fmla="*/ 1024 w 1100"/>
                  <a:gd name="T7" fmla="*/ 423 h 1005"/>
                  <a:gd name="T8" fmla="*/ 986 w 1100"/>
                  <a:gd name="T9" fmla="*/ 373 h 1005"/>
                  <a:gd name="T10" fmla="*/ 967 w 1100"/>
                  <a:gd name="T11" fmla="*/ 345 h 1005"/>
                  <a:gd name="T12" fmla="*/ 934 w 1100"/>
                  <a:gd name="T13" fmla="*/ 358 h 1005"/>
                  <a:gd name="T14" fmla="*/ 936 w 1100"/>
                  <a:gd name="T15" fmla="*/ 295 h 1005"/>
                  <a:gd name="T16" fmla="*/ 902 w 1100"/>
                  <a:gd name="T17" fmla="*/ 314 h 1005"/>
                  <a:gd name="T18" fmla="*/ 873 w 1100"/>
                  <a:gd name="T19" fmla="*/ 301 h 1005"/>
                  <a:gd name="T20" fmla="*/ 862 w 1100"/>
                  <a:gd name="T21" fmla="*/ 297 h 1005"/>
                  <a:gd name="T22" fmla="*/ 839 w 1100"/>
                  <a:gd name="T23" fmla="*/ 314 h 1005"/>
                  <a:gd name="T24" fmla="*/ 814 w 1100"/>
                  <a:gd name="T25" fmla="*/ 324 h 1005"/>
                  <a:gd name="T26" fmla="*/ 812 w 1100"/>
                  <a:gd name="T27" fmla="*/ 301 h 1005"/>
                  <a:gd name="T28" fmla="*/ 793 w 1100"/>
                  <a:gd name="T29" fmla="*/ 255 h 1005"/>
                  <a:gd name="T30" fmla="*/ 759 w 1100"/>
                  <a:gd name="T31" fmla="*/ 179 h 1005"/>
                  <a:gd name="T32" fmla="*/ 742 w 1100"/>
                  <a:gd name="T33" fmla="*/ 137 h 1005"/>
                  <a:gd name="T34" fmla="*/ 709 w 1100"/>
                  <a:gd name="T35" fmla="*/ 139 h 1005"/>
                  <a:gd name="T36" fmla="*/ 669 w 1100"/>
                  <a:gd name="T37" fmla="*/ 118 h 1005"/>
                  <a:gd name="T38" fmla="*/ 637 w 1100"/>
                  <a:gd name="T39" fmla="*/ 107 h 1005"/>
                  <a:gd name="T40" fmla="*/ 631 w 1100"/>
                  <a:gd name="T41" fmla="*/ 69 h 1005"/>
                  <a:gd name="T42" fmla="*/ 564 w 1100"/>
                  <a:gd name="T43" fmla="*/ 12 h 1005"/>
                  <a:gd name="T44" fmla="*/ 336 w 1100"/>
                  <a:gd name="T45" fmla="*/ 267 h 1005"/>
                  <a:gd name="T46" fmla="*/ 124 w 1100"/>
                  <a:gd name="T47" fmla="*/ 310 h 1005"/>
                  <a:gd name="T48" fmla="*/ 86 w 1100"/>
                  <a:gd name="T49" fmla="*/ 529 h 1005"/>
                  <a:gd name="T50" fmla="*/ 149 w 1100"/>
                  <a:gd name="T51" fmla="*/ 661 h 1005"/>
                  <a:gd name="T52" fmla="*/ 246 w 1100"/>
                  <a:gd name="T53" fmla="*/ 780 h 1005"/>
                  <a:gd name="T54" fmla="*/ 311 w 1100"/>
                  <a:gd name="T55" fmla="*/ 782 h 1005"/>
                  <a:gd name="T56" fmla="*/ 356 w 1100"/>
                  <a:gd name="T57" fmla="*/ 798 h 1005"/>
                  <a:gd name="T58" fmla="*/ 381 w 1100"/>
                  <a:gd name="T59" fmla="*/ 805 h 1005"/>
                  <a:gd name="T60" fmla="*/ 438 w 1100"/>
                  <a:gd name="T61" fmla="*/ 817 h 1005"/>
                  <a:gd name="T62" fmla="*/ 465 w 1100"/>
                  <a:gd name="T63" fmla="*/ 822 h 1005"/>
                  <a:gd name="T64" fmla="*/ 463 w 1100"/>
                  <a:gd name="T65" fmla="*/ 860 h 1005"/>
                  <a:gd name="T66" fmla="*/ 488 w 1100"/>
                  <a:gd name="T67" fmla="*/ 891 h 1005"/>
                  <a:gd name="T68" fmla="*/ 515 w 1100"/>
                  <a:gd name="T69" fmla="*/ 925 h 1005"/>
                  <a:gd name="T70" fmla="*/ 561 w 1100"/>
                  <a:gd name="T71" fmla="*/ 961 h 1005"/>
                  <a:gd name="T72" fmla="*/ 612 w 1100"/>
                  <a:gd name="T73" fmla="*/ 1003 h 1005"/>
                  <a:gd name="T74" fmla="*/ 639 w 1100"/>
                  <a:gd name="T75" fmla="*/ 961 h 1005"/>
                  <a:gd name="T76" fmla="*/ 690 w 1100"/>
                  <a:gd name="T77" fmla="*/ 870 h 1005"/>
                  <a:gd name="T78" fmla="*/ 673 w 1100"/>
                  <a:gd name="T79" fmla="*/ 811 h 1005"/>
                  <a:gd name="T80" fmla="*/ 688 w 1100"/>
                  <a:gd name="T81" fmla="*/ 780 h 1005"/>
                  <a:gd name="T82" fmla="*/ 681 w 1100"/>
                  <a:gd name="T83" fmla="*/ 750 h 1005"/>
                  <a:gd name="T84" fmla="*/ 711 w 1100"/>
                  <a:gd name="T85" fmla="*/ 731 h 1005"/>
                  <a:gd name="T86" fmla="*/ 730 w 1100"/>
                  <a:gd name="T87" fmla="*/ 752 h 1005"/>
                  <a:gd name="T88" fmla="*/ 717 w 1100"/>
                  <a:gd name="T89" fmla="*/ 767 h 1005"/>
                  <a:gd name="T90" fmla="*/ 803 w 1100"/>
                  <a:gd name="T91" fmla="*/ 803 h 1005"/>
                  <a:gd name="T92" fmla="*/ 789 w 1100"/>
                  <a:gd name="T93" fmla="*/ 855 h 1005"/>
                  <a:gd name="T94" fmla="*/ 755 w 1100"/>
                  <a:gd name="T95" fmla="*/ 883 h 1005"/>
                  <a:gd name="T96" fmla="*/ 795 w 1100"/>
                  <a:gd name="T97" fmla="*/ 889 h 1005"/>
                  <a:gd name="T98" fmla="*/ 843 w 1100"/>
                  <a:gd name="T99" fmla="*/ 826 h 1005"/>
                  <a:gd name="T100" fmla="*/ 896 w 1100"/>
                  <a:gd name="T101" fmla="*/ 834 h 1005"/>
                  <a:gd name="T102" fmla="*/ 921 w 1100"/>
                  <a:gd name="T103" fmla="*/ 824 h 1005"/>
                  <a:gd name="T104" fmla="*/ 934 w 1100"/>
                  <a:gd name="T105" fmla="*/ 805 h 1005"/>
                  <a:gd name="T106" fmla="*/ 929 w 1100"/>
                  <a:gd name="T107" fmla="*/ 752 h 1005"/>
                  <a:gd name="T108" fmla="*/ 988 w 1100"/>
                  <a:gd name="T109" fmla="*/ 720 h 1005"/>
                  <a:gd name="T110" fmla="*/ 990 w 1100"/>
                  <a:gd name="T111" fmla="*/ 681 h 1005"/>
                  <a:gd name="T112" fmla="*/ 934 w 1100"/>
                  <a:gd name="T113" fmla="*/ 695 h 1005"/>
                  <a:gd name="T114" fmla="*/ 879 w 1100"/>
                  <a:gd name="T115" fmla="*/ 638 h 1005"/>
                  <a:gd name="T116" fmla="*/ 921 w 1100"/>
                  <a:gd name="T117" fmla="*/ 598 h 1005"/>
                  <a:gd name="T118" fmla="*/ 980 w 1100"/>
                  <a:gd name="T119" fmla="*/ 558 h 1005"/>
                  <a:gd name="T120" fmla="*/ 1047 w 1100"/>
                  <a:gd name="T121" fmla="*/ 514 h 1005"/>
                  <a:gd name="T122" fmla="*/ 1091 w 1100"/>
                  <a:gd name="T123" fmla="*/ 484 h 10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00" h="1005">
                    <a:moveTo>
                      <a:pt x="1100" y="468"/>
                    </a:moveTo>
                    <a:lnTo>
                      <a:pt x="1100" y="468"/>
                    </a:lnTo>
                    <a:lnTo>
                      <a:pt x="1100" y="468"/>
                    </a:lnTo>
                    <a:lnTo>
                      <a:pt x="1098" y="466"/>
                    </a:lnTo>
                    <a:lnTo>
                      <a:pt x="1098" y="466"/>
                    </a:lnTo>
                    <a:lnTo>
                      <a:pt x="1094" y="466"/>
                    </a:lnTo>
                    <a:lnTo>
                      <a:pt x="1094" y="466"/>
                    </a:lnTo>
                    <a:lnTo>
                      <a:pt x="1093" y="466"/>
                    </a:lnTo>
                    <a:lnTo>
                      <a:pt x="1091" y="465"/>
                    </a:lnTo>
                    <a:lnTo>
                      <a:pt x="1089" y="465"/>
                    </a:lnTo>
                    <a:lnTo>
                      <a:pt x="1085" y="465"/>
                    </a:lnTo>
                    <a:lnTo>
                      <a:pt x="1083" y="465"/>
                    </a:lnTo>
                    <a:lnTo>
                      <a:pt x="1081" y="466"/>
                    </a:lnTo>
                    <a:lnTo>
                      <a:pt x="1081" y="466"/>
                    </a:lnTo>
                    <a:lnTo>
                      <a:pt x="1079" y="468"/>
                    </a:lnTo>
                    <a:lnTo>
                      <a:pt x="1079" y="468"/>
                    </a:lnTo>
                    <a:lnTo>
                      <a:pt x="1079" y="470"/>
                    </a:lnTo>
                    <a:lnTo>
                      <a:pt x="1077" y="470"/>
                    </a:lnTo>
                    <a:lnTo>
                      <a:pt x="1077" y="470"/>
                    </a:lnTo>
                    <a:lnTo>
                      <a:pt x="1074" y="470"/>
                    </a:lnTo>
                    <a:lnTo>
                      <a:pt x="1074" y="470"/>
                    </a:lnTo>
                    <a:lnTo>
                      <a:pt x="1074" y="472"/>
                    </a:lnTo>
                    <a:lnTo>
                      <a:pt x="1072" y="472"/>
                    </a:lnTo>
                    <a:lnTo>
                      <a:pt x="1072" y="474"/>
                    </a:lnTo>
                    <a:lnTo>
                      <a:pt x="1072" y="476"/>
                    </a:lnTo>
                    <a:lnTo>
                      <a:pt x="1072" y="476"/>
                    </a:lnTo>
                    <a:lnTo>
                      <a:pt x="1072" y="476"/>
                    </a:lnTo>
                    <a:lnTo>
                      <a:pt x="1072" y="476"/>
                    </a:lnTo>
                    <a:lnTo>
                      <a:pt x="1070" y="476"/>
                    </a:lnTo>
                    <a:lnTo>
                      <a:pt x="1070" y="474"/>
                    </a:lnTo>
                    <a:lnTo>
                      <a:pt x="1070" y="474"/>
                    </a:lnTo>
                    <a:lnTo>
                      <a:pt x="1070" y="472"/>
                    </a:lnTo>
                    <a:lnTo>
                      <a:pt x="1068" y="472"/>
                    </a:lnTo>
                    <a:lnTo>
                      <a:pt x="1066" y="472"/>
                    </a:lnTo>
                    <a:lnTo>
                      <a:pt x="1060" y="470"/>
                    </a:lnTo>
                    <a:lnTo>
                      <a:pt x="1056" y="470"/>
                    </a:lnTo>
                    <a:lnTo>
                      <a:pt x="1054" y="470"/>
                    </a:lnTo>
                    <a:lnTo>
                      <a:pt x="1053" y="470"/>
                    </a:lnTo>
                    <a:lnTo>
                      <a:pt x="1053" y="472"/>
                    </a:lnTo>
                    <a:lnTo>
                      <a:pt x="1051" y="472"/>
                    </a:lnTo>
                    <a:lnTo>
                      <a:pt x="1051" y="472"/>
                    </a:lnTo>
                    <a:lnTo>
                      <a:pt x="1051" y="470"/>
                    </a:lnTo>
                    <a:lnTo>
                      <a:pt x="1049" y="470"/>
                    </a:lnTo>
                    <a:lnTo>
                      <a:pt x="1049" y="470"/>
                    </a:lnTo>
                    <a:lnTo>
                      <a:pt x="1047" y="470"/>
                    </a:lnTo>
                    <a:lnTo>
                      <a:pt x="1039" y="468"/>
                    </a:lnTo>
                    <a:lnTo>
                      <a:pt x="1037" y="468"/>
                    </a:lnTo>
                    <a:lnTo>
                      <a:pt x="1035" y="466"/>
                    </a:lnTo>
                    <a:lnTo>
                      <a:pt x="1033" y="468"/>
                    </a:lnTo>
                    <a:lnTo>
                      <a:pt x="1032" y="468"/>
                    </a:lnTo>
                    <a:lnTo>
                      <a:pt x="1028" y="472"/>
                    </a:lnTo>
                    <a:lnTo>
                      <a:pt x="1024" y="474"/>
                    </a:lnTo>
                    <a:lnTo>
                      <a:pt x="1009" y="482"/>
                    </a:lnTo>
                    <a:lnTo>
                      <a:pt x="1007" y="482"/>
                    </a:lnTo>
                    <a:lnTo>
                      <a:pt x="1007" y="482"/>
                    </a:lnTo>
                    <a:lnTo>
                      <a:pt x="1005" y="482"/>
                    </a:lnTo>
                    <a:lnTo>
                      <a:pt x="1003" y="482"/>
                    </a:lnTo>
                    <a:lnTo>
                      <a:pt x="1003" y="482"/>
                    </a:lnTo>
                    <a:lnTo>
                      <a:pt x="1001" y="485"/>
                    </a:lnTo>
                    <a:lnTo>
                      <a:pt x="1001" y="487"/>
                    </a:lnTo>
                    <a:lnTo>
                      <a:pt x="999" y="489"/>
                    </a:lnTo>
                    <a:lnTo>
                      <a:pt x="995" y="489"/>
                    </a:lnTo>
                    <a:lnTo>
                      <a:pt x="993" y="489"/>
                    </a:lnTo>
                    <a:lnTo>
                      <a:pt x="993" y="489"/>
                    </a:lnTo>
                    <a:lnTo>
                      <a:pt x="993" y="487"/>
                    </a:lnTo>
                    <a:lnTo>
                      <a:pt x="995" y="485"/>
                    </a:lnTo>
                    <a:lnTo>
                      <a:pt x="995" y="482"/>
                    </a:lnTo>
                    <a:lnTo>
                      <a:pt x="995" y="480"/>
                    </a:lnTo>
                    <a:lnTo>
                      <a:pt x="995" y="478"/>
                    </a:lnTo>
                    <a:lnTo>
                      <a:pt x="995" y="478"/>
                    </a:lnTo>
                    <a:lnTo>
                      <a:pt x="995" y="476"/>
                    </a:lnTo>
                    <a:lnTo>
                      <a:pt x="997" y="474"/>
                    </a:lnTo>
                    <a:lnTo>
                      <a:pt x="1003" y="472"/>
                    </a:lnTo>
                    <a:lnTo>
                      <a:pt x="1024" y="463"/>
                    </a:lnTo>
                    <a:lnTo>
                      <a:pt x="1026" y="461"/>
                    </a:lnTo>
                    <a:lnTo>
                      <a:pt x="1032" y="459"/>
                    </a:lnTo>
                    <a:lnTo>
                      <a:pt x="1033" y="459"/>
                    </a:lnTo>
                    <a:lnTo>
                      <a:pt x="1035" y="457"/>
                    </a:lnTo>
                    <a:lnTo>
                      <a:pt x="1035" y="455"/>
                    </a:lnTo>
                    <a:lnTo>
                      <a:pt x="1033" y="455"/>
                    </a:lnTo>
                    <a:lnTo>
                      <a:pt x="1033" y="455"/>
                    </a:lnTo>
                    <a:lnTo>
                      <a:pt x="1032" y="455"/>
                    </a:lnTo>
                    <a:lnTo>
                      <a:pt x="1032" y="455"/>
                    </a:lnTo>
                    <a:lnTo>
                      <a:pt x="1032" y="455"/>
                    </a:lnTo>
                    <a:lnTo>
                      <a:pt x="1030" y="457"/>
                    </a:lnTo>
                    <a:lnTo>
                      <a:pt x="1030" y="457"/>
                    </a:lnTo>
                    <a:lnTo>
                      <a:pt x="1030" y="457"/>
                    </a:lnTo>
                    <a:lnTo>
                      <a:pt x="1028" y="457"/>
                    </a:lnTo>
                    <a:lnTo>
                      <a:pt x="1026" y="453"/>
                    </a:lnTo>
                    <a:lnTo>
                      <a:pt x="1026" y="451"/>
                    </a:lnTo>
                    <a:lnTo>
                      <a:pt x="1026" y="451"/>
                    </a:lnTo>
                    <a:lnTo>
                      <a:pt x="1024" y="451"/>
                    </a:lnTo>
                    <a:lnTo>
                      <a:pt x="1024" y="451"/>
                    </a:lnTo>
                    <a:lnTo>
                      <a:pt x="1024" y="453"/>
                    </a:lnTo>
                    <a:lnTo>
                      <a:pt x="1024" y="453"/>
                    </a:lnTo>
                    <a:lnTo>
                      <a:pt x="1022" y="453"/>
                    </a:lnTo>
                    <a:lnTo>
                      <a:pt x="1022" y="453"/>
                    </a:lnTo>
                    <a:lnTo>
                      <a:pt x="1018" y="453"/>
                    </a:lnTo>
                    <a:lnTo>
                      <a:pt x="1014" y="453"/>
                    </a:lnTo>
                    <a:lnTo>
                      <a:pt x="1012" y="453"/>
                    </a:lnTo>
                    <a:lnTo>
                      <a:pt x="1012" y="451"/>
                    </a:lnTo>
                    <a:lnTo>
                      <a:pt x="1012" y="451"/>
                    </a:lnTo>
                    <a:lnTo>
                      <a:pt x="1012" y="449"/>
                    </a:lnTo>
                    <a:lnTo>
                      <a:pt x="1011" y="447"/>
                    </a:lnTo>
                    <a:lnTo>
                      <a:pt x="1011" y="447"/>
                    </a:lnTo>
                    <a:lnTo>
                      <a:pt x="1009" y="447"/>
                    </a:lnTo>
                    <a:lnTo>
                      <a:pt x="1009" y="447"/>
                    </a:lnTo>
                    <a:lnTo>
                      <a:pt x="1009" y="447"/>
                    </a:lnTo>
                    <a:lnTo>
                      <a:pt x="1007" y="447"/>
                    </a:lnTo>
                    <a:lnTo>
                      <a:pt x="1007" y="446"/>
                    </a:lnTo>
                    <a:lnTo>
                      <a:pt x="1007" y="446"/>
                    </a:lnTo>
                    <a:lnTo>
                      <a:pt x="1007" y="446"/>
                    </a:lnTo>
                    <a:lnTo>
                      <a:pt x="1007" y="444"/>
                    </a:lnTo>
                    <a:lnTo>
                      <a:pt x="1007" y="444"/>
                    </a:lnTo>
                    <a:lnTo>
                      <a:pt x="1009" y="444"/>
                    </a:lnTo>
                    <a:lnTo>
                      <a:pt x="1016" y="440"/>
                    </a:lnTo>
                    <a:lnTo>
                      <a:pt x="1018" y="440"/>
                    </a:lnTo>
                    <a:lnTo>
                      <a:pt x="1020" y="438"/>
                    </a:lnTo>
                    <a:lnTo>
                      <a:pt x="1020" y="436"/>
                    </a:lnTo>
                    <a:lnTo>
                      <a:pt x="1020" y="436"/>
                    </a:lnTo>
                    <a:lnTo>
                      <a:pt x="1022" y="434"/>
                    </a:lnTo>
                    <a:lnTo>
                      <a:pt x="1024" y="432"/>
                    </a:lnTo>
                    <a:lnTo>
                      <a:pt x="1026" y="430"/>
                    </a:lnTo>
                    <a:lnTo>
                      <a:pt x="1026" y="428"/>
                    </a:lnTo>
                    <a:lnTo>
                      <a:pt x="1026" y="428"/>
                    </a:lnTo>
                    <a:lnTo>
                      <a:pt x="1024" y="427"/>
                    </a:lnTo>
                    <a:lnTo>
                      <a:pt x="1024" y="427"/>
                    </a:lnTo>
                    <a:lnTo>
                      <a:pt x="1024" y="423"/>
                    </a:lnTo>
                    <a:lnTo>
                      <a:pt x="1022" y="423"/>
                    </a:lnTo>
                    <a:lnTo>
                      <a:pt x="1022" y="421"/>
                    </a:lnTo>
                    <a:lnTo>
                      <a:pt x="1020" y="419"/>
                    </a:lnTo>
                    <a:lnTo>
                      <a:pt x="1020" y="417"/>
                    </a:lnTo>
                    <a:lnTo>
                      <a:pt x="1020" y="415"/>
                    </a:lnTo>
                    <a:lnTo>
                      <a:pt x="1020" y="413"/>
                    </a:lnTo>
                    <a:lnTo>
                      <a:pt x="1020" y="413"/>
                    </a:lnTo>
                    <a:lnTo>
                      <a:pt x="1020" y="411"/>
                    </a:lnTo>
                    <a:lnTo>
                      <a:pt x="1018" y="411"/>
                    </a:lnTo>
                    <a:lnTo>
                      <a:pt x="1016" y="411"/>
                    </a:lnTo>
                    <a:lnTo>
                      <a:pt x="1014" y="411"/>
                    </a:lnTo>
                    <a:lnTo>
                      <a:pt x="1014" y="411"/>
                    </a:lnTo>
                    <a:lnTo>
                      <a:pt x="1007" y="406"/>
                    </a:lnTo>
                    <a:lnTo>
                      <a:pt x="1007" y="406"/>
                    </a:lnTo>
                    <a:lnTo>
                      <a:pt x="1005" y="404"/>
                    </a:lnTo>
                    <a:lnTo>
                      <a:pt x="1003" y="404"/>
                    </a:lnTo>
                    <a:lnTo>
                      <a:pt x="1001" y="404"/>
                    </a:lnTo>
                    <a:lnTo>
                      <a:pt x="1001" y="404"/>
                    </a:lnTo>
                    <a:lnTo>
                      <a:pt x="999" y="402"/>
                    </a:lnTo>
                    <a:lnTo>
                      <a:pt x="999" y="402"/>
                    </a:lnTo>
                    <a:lnTo>
                      <a:pt x="997" y="400"/>
                    </a:lnTo>
                    <a:lnTo>
                      <a:pt x="997" y="394"/>
                    </a:lnTo>
                    <a:lnTo>
                      <a:pt x="995" y="392"/>
                    </a:lnTo>
                    <a:lnTo>
                      <a:pt x="993" y="388"/>
                    </a:lnTo>
                    <a:lnTo>
                      <a:pt x="988" y="381"/>
                    </a:lnTo>
                    <a:lnTo>
                      <a:pt x="988" y="381"/>
                    </a:lnTo>
                    <a:lnTo>
                      <a:pt x="986" y="379"/>
                    </a:lnTo>
                    <a:lnTo>
                      <a:pt x="986" y="377"/>
                    </a:lnTo>
                    <a:lnTo>
                      <a:pt x="988" y="375"/>
                    </a:lnTo>
                    <a:lnTo>
                      <a:pt x="988" y="375"/>
                    </a:lnTo>
                    <a:lnTo>
                      <a:pt x="988" y="373"/>
                    </a:lnTo>
                    <a:lnTo>
                      <a:pt x="986" y="373"/>
                    </a:lnTo>
                    <a:lnTo>
                      <a:pt x="984" y="371"/>
                    </a:lnTo>
                    <a:lnTo>
                      <a:pt x="984" y="371"/>
                    </a:lnTo>
                    <a:lnTo>
                      <a:pt x="984" y="371"/>
                    </a:lnTo>
                    <a:lnTo>
                      <a:pt x="984" y="369"/>
                    </a:lnTo>
                    <a:lnTo>
                      <a:pt x="986" y="369"/>
                    </a:lnTo>
                    <a:lnTo>
                      <a:pt x="986" y="368"/>
                    </a:lnTo>
                    <a:lnTo>
                      <a:pt x="986" y="368"/>
                    </a:lnTo>
                    <a:lnTo>
                      <a:pt x="986" y="366"/>
                    </a:lnTo>
                    <a:lnTo>
                      <a:pt x="986" y="364"/>
                    </a:lnTo>
                    <a:lnTo>
                      <a:pt x="986" y="360"/>
                    </a:lnTo>
                    <a:lnTo>
                      <a:pt x="984" y="360"/>
                    </a:lnTo>
                    <a:lnTo>
                      <a:pt x="984" y="358"/>
                    </a:lnTo>
                    <a:lnTo>
                      <a:pt x="984" y="358"/>
                    </a:lnTo>
                    <a:lnTo>
                      <a:pt x="982" y="358"/>
                    </a:lnTo>
                    <a:lnTo>
                      <a:pt x="982" y="358"/>
                    </a:lnTo>
                    <a:lnTo>
                      <a:pt x="982" y="358"/>
                    </a:lnTo>
                    <a:lnTo>
                      <a:pt x="982" y="356"/>
                    </a:lnTo>
                    <a:lnTo>
                      <a:pt x="982" y="352"/>
                    </a:lnTo>
                    <a:lnTo>
                      <a:pt x="982" y="350"/>
                    </a:lnTo>
                    <a:lnTo>
                      <a:pt x="980" y="345"/>
                    </a:lnTo>
                    <a:lnTo>
                      <a:pt x="976" y="343"/>
                    </a:lnTo>
                    <a:lnTo>
                      <a:pt x="974" y="347"/>
                    </a:lnTo>
                    <a:lnTo>
                      <a:pt x="974" y="347"/>
                    </a:lnTo>
                    <a:lnTo>
                      <a:pt x="972" y="347"/>
                    </a:lnTo>
                    <a:lnTo>
                      <a:pt x="972" y="347"/>
                    </a:lnTo>
                    <a:lnTo>
                      <a:pt x="972" y="345"/>
                    </a:lnTo>
                    <a:lnTo>
                      <a:pt x="971" y="343"/>
                    </a:lnTo>
                    <a:lnTo>
                      <a:pt x="971" y="343"/>
                    </a:lnTo>
                    <a:lnTo>
                      <a:pt x="969" y="343"/>
                    </a:lnTo>
                    <a:lnTo>
                      <a:pt x="969" y="345"/>
                    </a:lnTo>
                    <a:lnTo>
                      <a:pt x="969" y="345"/>
                    </a:lnTo>
                    <a:lnTo>
                      <a:pt x="967" y="345"/>
                    </a:lnTo>
                    <a:lnTo>
                      <a:pt x="967" y="345"/>
                    </a:lnTo>
                    <a:lnTo>
                      <a:pt x="965" y="343"/>
                    </a:lnTo>
                    <a:lnTo>
                      <a:pt x="965" y="343"/>
                    </a:lnTo>
                    <a:lnTo>
                      <a:pt x="965" y="343"/>
                    </a:lnTo>
                    <a:lnTo>
                      <a:pt x="963" y="345"/>
                    </a:lnTo>
                    <a:lnTo>
                      <a:pt x="961" y="347"/>
                    </a:lnTo>
                    <a:lnTo>
                      <a:pt x="959" y="347"/>
                    </a:lnTo>
                    <a:lnTo>
                      <a:pt x="957" y="347"/>
                    </a:lnTo>
                    <a:lnTo>
                      <a:pt x="953" y="345"/>
                    </a:lnTo>
                    <a:lnTo>
                      <a:pt x="951" y="343"/>
                    </a:lnTo>
                    <a:lnTo>
                      <a:pt x="950" y="345"/>
                    </a:lnTo>
                    <a:lnTo>
                      <a:pt x="948" y="347"/>
                    </a:lnTo>
                    <a:lnTo>
                      <a:pt x="948" y="348"/>
                    </a:lnTo>
                    <a:lnTo>
                      <a:pt x="950" y="348"/>
                    </a:lnTo>
                    <a:lnTo>
                      <a:pt x="953" y="350"/>
                    </a:lnTo>
                    <a:lnTo>
                      <a:pt x="953" y="352"/>
                    </a:lnTo>
                    <a:lnTo>
                      <a:pt x="953" y="352"/>
                    </a:lnTo>
                    <a:lnTo>
                      <a:pt x="953" y="354"/>
                    </a:lnTo>
                    <a:lnTo>
                      <a:pt x="948" y="354"/>
                    </a:lnTo>
                    <a:lnTo>
                      <a:pt x="946" y="356"/>
                    </a:lnTo>
                    <a:lnTo>
                      <a:pt x="944" y="356"/>
                    </a:lnTo>
                    <a:lnTo>
                      <a:pt x="942" y="362"/>
                    </a:lnTo>
                    <a:lnTo>
                      <a:pt x="940" y="362"/>
                    </a:lnTo>
                    <a:lnTo>
                      <a:pt x="936" y="362"/>
                    </a:lnTo>
                    <a:lnTo>
                      <a:pt x="932" y="364"/>
                    </a:lnTo>
                    <a:lnTo>
                      <a:pt x="932" y="364"/>
                    </a:lnTo>
                    <a:lnTo>
                      <a:pt x="930" y="362"/>
                    </a:lnTo>
                    <a:lnTo>
                      <a:pt x="930" y="362"/>
                    </a:lnTo>
                    <a:lnTo>
                      <a:pt x="930" y="362"/>
                    </a:lnTo>
                    <a:lnTo>
                      <a:pt x="930" y="360"/>
                    </a:lnTo>
                    <a:lnTo>
                      <a:pt x="932" y="360"/>
                    </a:lnTo>
                    <a:lnTo>
                      <a:pt x="934" y="358"/>
                    </a:lnTo>
                    <a:lnTo>
                      <a:pt x="934" y="358"/>
                    </a:lnTo>
                    <a:lnTo>
                      <a:pt x="934" y="358"/>
                    </a:lnTo>
                    <a:lnTo>
                      <a:pt x="934" y="356"/>
                    </a:lnTo>
                    <a:lnTo>
                      <a:pt x="932" y="356"/>
                    </a:lnTo>
                    <a:lnTo>
                      <a:pt x="932" y="356"/>
                    </a:lnTo>
                    <a:lnTo>
                      <a:pt x="932" y="354"/>
                    </a:lnTo>
                    <a:lnTo>
                      <a:pt x="932" y="352"/>
                    </a:lnTo>
                    <a:lnTo>
                      <a:pt x="934" y="343"/>
                    </a:lnTo>
                    <a:lnTo>
                      <a:pt x="934" y="343"/>
                    </a:lnTo>
                    <a:lnTo>
                      <a:pt x="936" y="339"/>
                    </a:lnTo>
                    <a:lnTo>
                      <a:pt x="936" y="337"/>
                    </a:lnTo>
                    <a:lnTo>
                      <a:pt x="936" y="337"/>
                    </a:lnTo>
                    <a:lnTo>
                      <a:pt x="938" y="335"/>
                    </a:lnTo>
                    <a:lnTo>
                      <a:pt x="936" y="331"/>
                    </a:lnTo>
                    <a:lnTo>
                      <a:pt x="936" y="329"/>
                    </a:lnTo>
                    <a:lnTo>
                      <a:pt x="936" y="328"/>
                    </a:lnTo>
                    <a:lnTo>
                      <a:pt x="936" y="326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36" y="322"/>
                    </a:lnTo>
                    <a:lnTo>
                      <a:pt x="936" y="320"/>
                    </a:lnTo>
                    <a:lnTo>
                      <a:pt x="936" y="320"/>
                    </a:lnTo>
                    <a:lnTo>
                      <a:pt x="936" y="318"/>
                    </a:lnTo>
                    <a:lnTo>
                      <a:pt x="936" y="318"/>
                    </a:lnTo>
                    <a:lnTo>
                      <a:pt x="934" y="314"/>
                    </a:lnTo>
                    <a:lnTo>
                      <a:pt x="934" y="312"/>
                    </a:lnTo>
                    <a:lnTo>
                      <a:pt x="934" y="310"/>
                    </a:lnTo>
                    <a:lnTo>
                      <a:pt x="934" y="307"/>
                    </a:lnTo>
                    <a:lnTo>
                      <a:pt x="936" y="299"/>
                    </a:lnTo>
                    <a:lnTo>
                      <a:pt x="936" y="297"/>
                    </a:lnTo>
                    <a:lnTo>
                      <a:pt x="936" y="297"/>
                    </a:lnTo>
                    <a:lnTo>
                      <a:pt x="936" y="295"/>
                    </a:lnTo>
                    <a:lnTo>
                      <a:pt x="934" y="293"/>
                    </a:lnTo>
                    <a:lnTo>
                      <a:pt x="930" y="290"/>
                    </a:lnTo>
                    <a:lnTo>
                      <a:pt x="929" y="288"/>
                    </a:lnTo>
                    <a:lnTo>
                      <a:pt x="929" y="286"/>
                    </a:lnTo>
                    <a:lnTo>
                      <a:pt x="927" y="286"/>
                    </a:lnTo>
                    <a:lnTo>
                      <a:pt x="927" y="284"/>
                    </a:lnTo>
                    <a:lnTo>
                      <a:pt x="925" y="284"/>
                    </a:lnTo>
                    <a:lnTo>
                      <a:pt x="925" y="284"/>
                    </a:lnTo>
                    <a:lnTo>
                      <a:pt x="923" y="284"/>
                    </a:lnTo>
                    <a:lnTo>
                      <a:pt x="923" y="284"/>
                    </a:lnTo>
                    <a:lnTo>
                      <a:pt x="919" y="286"/>
                    </a:lnTo>
                    <a:lnTo>
                      <a:pt x="919" y="288"/>
                    </a:lnTo>
                    <a:lnTo>
                      <a:pt x="917" y="288"/>
                    </a:lnTo>
                    <a:lnTo>
                      <a:pt x="917" y="291"/>
                    </a:lnTo>
                    <a:lnTo>
                      <a:pt x="913" y="295"/>
                    </a:lnTo>
                    <a:lnTo>
                      <a:pt x="911" y="295"/>
                    </a:lnTo>
                    <a:lnTo>
                      <a:pt x="910" y="297"/>
                    </a:lnTo>
                    <a:lnTo>
                      <a:pt x="908" y="299"/>
                    </a:lnTo>
                    <a:lnTo>
                      <a:pt x="908" y="299"/>
                    </a:lnTo>
                    <a:lnTo>
                      <a:pt x="906" y="299"/>
                    </a:lnTo>
                    <a:lnTo>
                      <a:pt x="904" y="301"/>
                    </a:lnTo>
                    <a:lnTo>
                      <a:pt x="904" y="303"/>
                    </a:lnTo>
                    <a:lnTo>
                      <a:pt x="902" y="303"/>
                    </a:lnTo>
                    <a:lnTo>
                      <a:pt x="900" y="305"/>
                    </a:lnTo>
                    <a:lnTo>
                      <a:pt x="900" y="305"/>
                    </a:lnTo>
                    <a:lnTo>
                      <a:pt x="900" y="305"/>
                    </a:lnTo>
                    <a:lnTo>
                      <a:pt x="900" y="307"/>
                    </a:lnTo>
                    <a:lnTo>
                      <a:pt x="900" y="307"/>
                    </a:lnTo>
                    <a:lnTo>
                      <a:pt x="900" y="309"/>
                    </a:lnTo>
                    <a:lnTo>
                      <a:pt x="900" y="310"/>
                    </a:lnTo>
                    <a:lnTo>
                      <a:pt x="902" y="312"/>
                    </a:lnTo>
                    <a:lnTo>
                      <a:pt x="902" y="314"/>
                    </a:lnTo>
                    <a:lnTo>
                      <a:pt x="902" y="314"/>
                    </a:lnTo>
                    <a:lnTo>
                      <a:pt x="900" y="314"/>
                    </a:lnTo>
                    <a:lnTo>
                      <a:pt x="898" y="316"/>
                    </a:lnTo>
                    <a:lnTo>
                      <a:pt x="896" y="316"/>
                    </a:lnTo>
                    <a:lnTo>
                      <a:pt x="894" y="316"/>
                    </a:lnTo>
                    <a:lnTo>
                      <a:pt x="892" y="316"/>
                    </a:lnTo>
                    <a:lnTo>
                      <a:pt x="892" y="318"/>
                    </a:lnTo>
                    <a:lnTo>
                      <a:pt x="892" y="318"/>
                    </a:lnTo>
                    <a:lnTo>
                      <a:pt x="890" y="320"/>
                    </a:lnTo>
                    <a:lnTo>
                      <a:pt x="889" y="322"/>
                    </a:lnTo>
                    <a:lnTo>
                      <a:pt x="889" y="322"/>
                    </a:lnTo>
                    <a:lnTo>
                      <a:pt x="887" y="320"/>
                    </a:lnTo>
                    <a:lnTo>
                      <a:pt x="887" y="320"/>
                    </a:lnTo>
                    <a:lnTo>
                      <a:pt x="887" y="318"/>
                    </a:lnTo>
                    <a:lnTo>
                      <a:pt x="885" y="312"/>
                    </a:lnTo>
                    <a:lnTo>
                      <a:pt x="885" y="312"/>
                    </a:lnTo>
                    <a:lnTo>
                      <a:pt x="883" y="310"/>
                    </a:lnTo>
                    <a:lnTo>
                      <a:pt x="883" y="310"/>
                    </a:lnTo>
                    <a:lnTo>
                      <a:pt x="881" y="310"/>
                    </a:lnTo>
                    <a:lnTo>
                      <a:pt x="879" y="310"/>
                    </a:lnTo>
                    <a:lnTo>
                      <a:pt x="875" y="309"/>
                    </a:lnTo>
                    <a:lnTo>
                      <a:pt x="875" y="309"/>
                    </a:lnTo>
                    <a:lnTo>
                      <a:pt x="875" y="307"/>
                    </a:lnTo>
                    <a:lnTo>
                      <a:pt x="875" y="307"/>
                    </a:lnTo>
                    <a:lnTo>
                      <a:pt x="879" y="305"/>
                    </a:lnTo>
                    <a:lnTo>
                      <a:pt x="879" y="305"/>
                    </a:lnTo>
                    <a:lnTo>
                      <a:pt x="879" y="305"/>
                    </a:lnTo>
                    <a:lnTo>
                      <a:pt x="879" y="305"/>
                    </a:lnTo>
                    <a:lnTo>
                      <a:pt x="877" y="305"/>
                    </a:lnTo>
                    <a:lnTo>
                      <a:pt x="875" y="303"/>
                    </a:lnTo>
                    <a:lnTo>
                      <a:pt x="875" y="301"/>
                    </a:lnTo>
                    <a:lnTo>
                      <a:pt x="873" y="301"/>
                    </a:lnTo>
                    <a:lnTo>
                      <a:pt x="875" y="299"/>
                    </a:lnTo>
                    <a:lnTo>
                      <a:pt x="875" y="299"/>
                    </a:lnTo>
                    <a:lnTo>
                      <a:pt x="875" y="299"/>
                    </a:lnTo>
                    <a:lnTo>
                      <a:pt x="877" y="301"/>
                    </a:lnTo>
                    <a:lnTo>
                      <a:pt x="879" y="301"/>
                    </a:lnTo>
                    <a:lnTo>
                      <a:pt x="879" y="301"/>
                    </a:lnTo>
                    <a:lnTo>
                      <a:pt x="879" y="301"/>
                    </a:lnTo>
                    <a:lnTo>
                      <a:pt x="879" y="299"/>
                    </a:lnTo>
                    <a:lnTo>
                      <a:pt x="879" y="299"/>
                    </a:lnTo>
                    <a:lnTo>
                      <a:pt x="875" y="293"/>
                    </a:lnTo>
                    <a:lnTo>
                      <a:pt x="875" y="293"/>
                    </a:lnTo>
                    <a:lnTo>
                      <a:pt x="873" y="293"/>
                    </a:lnTo>
                    <a:lnTo>
                      <a:pt x="871" y="293"/>
                    </a:lnTo>
                    <a:lnTo>
                      <a:pt x="866" y="295"/>
                    </a:lnTo>
                    <a:lnTo>
                      <a:pt x="864" y="295"/>
                    </a:lnTo>
                    <a:lnTo>
                      <a:pt x="864" y="293"/>
                    </a:lnTo>
                    <a:lnTo>
                      <a:pt x="864" y="293"/>
                    </a:lnTo>
                    <a:lnTo>
                      <a:pt x="862" y="293"/>
                    </a:lnTo>
                    <a:lnTo>
                      <a:pt x="862" y="291"/>
                    </a:lnTo>
                    <a:lnTo>
                      <a:pt x="862" y="291"/>
                    </a:lnTo>
                    <a:lnTo>
                      <a:pt x="862" y="290"/>
                    </a:lnTo>
                    <a:lnTo>
                      <a:pt x="860" y="290"/>
                    </a:lnTo>
                    <a:lnTo>
                      <a:pt x="860" y="290"/>
                    </a:lnTo>
                    <a:lnTo>
                      <a:pt x="858" y="288"/>
                    </a:lnTo>
                    <a:lnTo>
                      <a:pt x="856" y="290"/>
                    </a:lnTo>
                    <a:lnTo>
                      <a:pt x="856" y="290"/>
                    </a:lnTo>
                    <a:lnTo>
                      <a:pt x="856" y="291"/>
                    </a:lnTo>
                    <a:lnTo>
                      <a:pt x="858" y="293"/>
                    </a:lnTo>
                    <a:lnTo>
                      <a:pt x="858" y="295"/>
                    </a:lnTo>
                    <a:lnTo>
                      <a:pt x="860" y="295"/>
                    </a:lnTo>
                    <a:lnTo>
                      <a:pt x="862" y="297"/>
                    </a:lnTo>
                    <a:lnTo>
                      <a:pt x="862" y="297"/>
                    </a:lnTo>
                    <a:lnTo>
                      <a:pt x="862" y="299"/>
                    </a:lnTo>
                    <a:lnTo>
                      <a:pt x="860" y="299"/>
                    </a:lnTo>
                    <a:lnTo>
                      <a:pt x="858" y="299"/>
                    </a:lnTo>
                    <a:lnTo>
                      <a:pt x="858" y="299"/>
                    </a:lnTo>
                    <a:lnTo>
                      <a:pt x="856" y="301"/>
                    </a:lnTo>
                    <a:lnTo>
                      <a:pt x="858" y="301"/>
                    </a:lnTo>
                    <a:lnTo>
                      <a:pt x="858" y="303"/>
                    </a:lnTo>
                    <a:lnTo>
                      <a:pt x="860" y="303"/>
                    </a:lnTo>
                    <a:lnTo>
                      <a:pt x="862" y="303"/>
                    </a:lnTo>
                    <a:lnTo>
                      <a:pt x="862" y="305"/>
                    </a:lnTo>
                    <a:lnTo>
                      <a:pt x="862" y="307"/>
                    </a:lnTo>
                    <a:lnTo>
                      <a:pt x="862" y="309"/>
                    </a:lnTo>
                    <a:lnTo>
                      <a:pt x="860" y="310"/>
                    </a:lnTo>
                    <a:lnTo>
                      <a:pt x="858" y="310"/>
                    </a:lnTo>
                    <a:lnTo>
                      <a:pt x="858" y="310"/>
                    </a:lnTo>
                    <a:lnTo>
                      <a:pt x="852" y="307"/>
                    </a:lnTo>
                    <a:lnTo>
                      <a:pt x="850" y="305"/>
                    </a:lnTo>
                    <a:lnTo>
                      <a:pt x="850" y="305"/>
                    </a:lnTo>
                    <a:lnTo>
                      <a:pt x="848" y="307"/>
                    </a:lnTo>
                    <a:lnTo>
                      <a:pt x="848" y="307"/>
                    </a:lnTo>
                    <a:lnTo>
                      <a:pt x="847" y="307"/>
                    </a:lnTo>
                    <a:lnTo>
                      <a:pt x="847" y="307"/>
                    </a:lnTo>
                    <a:lnTo>
                      <a:pt x="845" y="307"/>
                    </a:lnTo>
                    <a:lnTo>
                      <a:pt x="843" y="307"/>
                    </a:lnTo>
                    <a:lnTo>
                      <a:pt x="841" y="307"/>
                    </a:lnTo>
                    <a:lnTo>
                      <a:pt x="841" y="307"/>
                    </a:lnTo>
                    <a:lnTo>
                      <a:pt x="841" y="307"/>
                    </a:lnTo>
                    <a:lnTo>
                      <a:pt x="839" y="309"/>
                    </a:lnTo>
                    <a:lnTo>
                      <a:pt x="839" y="309"/>
                    </a:lnTo>
                    <a:lnTo>
                      <a:pt x="839" y="310"/>
                    </a:lnTo>
                    <a:lnTo>
                      <a:pt x="839" y="312"/>
                    </a:lnTo>
                    <a:lnTo>
                      <a:pt x="839" y="314"/>
                    </a:lnTo>
                    <a:lnTo>
                      <a:pt x="839" y="318"/>
                    </a:lnTo>
                    <a:lnTo>
                      <a:pt x="841" y="324"/>
                    </a:lnTo>
                    <a:lnTo>
                      <a:pt x="841" y="326"/>
                    </a:lnTo>
                    <a:lnTo>
                      <a:pt x="841" y="328"/>
                    </a:lnTo>
                    <a:lnTo>
                      <a:pt x="841" y="329"/>
                    </a:lnTo>
                    <a:lnTo>
                      <a:pt x="843" y="331"/>
                    </a:lnTo>
                    <a:lnTo>
                      <a:pt x="845" y="333"/>
                    </a:lnTo>
                    <a:lnTo>
                      <a:pt x="845" y="333"/>
                    </a:lnTo>
                    <a:lnTo>
                      <a:pt x="845" y="335"/>
                    </a:lnTo>
                    <a:lnTo>
                      <a:pt x="845" y="337"/>
                    </a:lnTo>
                    <a:lnTo>
                      <a:pt x="845" y="337"/>
                    </a:lnTo>
                    <a:lnTo>
                      <a:pt x="845" y="339"/>
                    </a:lnTo>
                    <a:lnTo>
                      <a:pt x="847" y="339"/>
                    </a:lnTo>
                    <a:lnTo>
                      <a:pt x="845" y="341"/>
                    </a:lnTo>
                    <a:lnTo>
                      <a:pt x="845" y="341"/>
                    </a:lnTo>
                    <a:lnTo>
                      <a:pt x="841" y="345"/>
                    </a:lnTo>
                    <a:lnTo>
                      <a:pt x="837" y="341"/>
                    </a:lnTo>
                    <a:lnTo>
                      <a:pt x="833" y="337"/>
                    </a:lnTo>
                    <a:lnTo>
                      <a:pt x="831" y="337"/>
                    </a:lnTo>
                    <a:lnTo>
                      <a:pt x="818" y="339"/>
                    </a:lnTo>
                    <a:lnTo>
                      <a:pt x="818" y="339"/>
                    </a:lnTo>
                    <a:lnTo>
                      <a:pt x="816" y="337"/>
                    </a:lnTo>
                    <a:lnTo>
                      <a:pt x="816" y="335"/>
                    </a:lnTo>
                    <a:lnTo>
                      <a:pt x="816" y="333"/>
                    </a:lnTo>
                    <a:lnTo>
                      <a:pt x="816" y="333"/>
                    </a:lnTo>
                    <a:lnTo>
                      <a:pt x="814" y="331"/>
                    </a:lnTo>
                    <a:lnTo>
                      <a:pt x="814" y="331"/>
                    </a:lnTo>
                    <a:lnTo>
                      <a:pt x="810" y="329"/>
                    </a:lnTo>
                    <a:lnTo>
                      <a:pt x="810" y="326"/>
                    </a:lnTo>
                    <a:lnTo>
                      <a:pt x="810" y="324"/>
                    </a:lnTo>
                    <a:lnTo>
                      <a:pt x="810" y="324"/>
                    </a:lnTo>
                    <a:lnTo>
                      <a:pt x="814" y="324"/>
                    </a:lnTo>
                    <a:lnTo>
                      <a:pt x="814" y="324"/>
                    </a:lnTo>
                    <a:lnTo>
                      <a:pt x="816" y="324"/>
                    </a:lnTo>
                    <a:lnTo>
                      <a:pt x="816" y="322"/>
                    </a:lnTo>
                    <a:lnTo>
                      <a:pt x="818" y="322"/>
                    </a:lnTo>
                    <a:lnTo>
                      <a:pt x="818" y="320"/>
                    </a:lnTo>
                    <a:lnTo>
                      <a:pt x="816" y="318"/>
                    </a:lnTo>
                    <a:lnTo>
                      <a:pt x="816" y="318"/>
                    </a:lnTo>
                    <a:lnTo>
                      <a:pt x="814" y="316"/>
                    </a:lnTo>
                    <a:lnTo>
                      <a:pt x="814" y="316"/>
                    </a:lnTo>
                    <a:lnTo>
                      <a:pt x="814" y="316"/>
                    </a:lnTo>
                    <a:lnTo>
                      <a:pt x="816" y="316"/>
                    </a:lnTo>
                    <a:lnTo>
                      <a:pt x="816" y="314"/>
                    </a:lnTo>
                    <a:lnTo>
                      <a:pt x="816" y="314"/>
                    </a:lnTo>
                    <a:lnTo>
                      <a:pt x="818" y="312"/>
                    </a:lnTo>
                    <a:lnTo>
                      <a:pt x="818" y="310"/>
                    </a:lnTo>
                    <a:lnTo>
                      <a:pt x="818" y="310"/>
                    </a:lnTo>
                    <a:lnTo>
                      <a:pt x="820" y="309"/>
                    </a:lnTo>
                    <a:lnTo>
                      <a:pt x="822" y="305"/>
                    </a:lnTo>
                    <a:lnTo>
                      <a:pt x="822" y="305"/>
                    </a:lnTo>
                    <a:lnTo>
                      <a:pt x="822" y="303"/>
                    </a:lnTo>
                    <a:lnTo>
                      <a:pt x="822" y="301"/>
                    </a:lnTo>
                    <a:lnTo>
                      <a:pt x="820" y="301"/>
                    </a:lnTo>
                    <a:lnTo>
                      <a:pt x="820" y="301"/>
                    </a:lnTo>
                    <a:lnTo>
                      <a:pt x="820" y="303"/>
                    </a:lnTo>
                    <a:lnTo>
                      <a:pt x="818" y="303"/>
                    </a:lnTo>
                    <a:lnTo>
                      <a:pt x="818" y="305"/>
                    </a:lnTo>
                    <a:lnTo>
                      <a:pt x="818" y="305"/>
                    </a:lnTo>
                    <a:lnTo>
                      <a:pt x="816" y="305"/>
                    </a:lnTo>
                    <a:lnTo>
                      <a:pt x="816" y="305"/>
                    </a:lnTo>
                    <a:lnTo>
                      <a:pt x="812" y="303"/>
                    </a:lnTo>
                    <a:lnTo>
                      <a:pt x="812" y="301"/>
                    </a:lnTo>
                    <a:lnTo>
                      <a:pt x="812" y="301"/>
                    </a:lnTo>
                    <a:lnTo>
                      <a:pt x="812" y="299"/>
                    </a:lnTo>
                    <a:lnTo>
                      <a:pt x="812" y="297"/>
                    </a:lnTo>
                    <a:lnTo>
                      <a:pt x="814" y="297"/>
                    </a:lnTo>
                    <a:lnTo>
                      <a:pt x="816" y="297"/>
                    </a:lnTo>
                    <a:lnTo>
                      <a:pt x="818" y="295"/>
                    </a:lnTo>
                    <a:lnTo>
                      <a:pt x="820" y="295"/>
                    </a:lnTo>
                    <a:lnTo>
                      <a:pt x="820" y="293"/>
                    </a:lnTo>
                    <a:lnTo>
                      <a:pt x="822" y="291"/>
                    </a:lnTo>
                    <a:lnTo>
                      <a:pt x="822" y="291"/>
                    </a:lnTo>
                    <a:lnTo>
                      <a:pt x="824" y="290"/>
                    </a:lnTo>
                    <a:lnTo>
                      <a:pt x="824" y="291"/>
                    </a:lnTo>
                    <a:lnTo>
                      <a:pt x="826" y="293"/>
                    </a:lnTo>
                    <a:lnTo>
                      <a:pt x="828" y="293"/>
                    </a:lnTo>
                    <a:lnTo>
                      <a:pt x="828" y="295"/>
                    </a:lnTo>
                    <a:lnTo>
                      <a:pt x="829" y="293"/>
                    </a:lnTo>
                    <a:lnTo>
                      <a:pt x="829" y="291"/>
                    </a:lnTo>
                    <a:lnTo>
                      <a:pt x="828" y="290"/>
                    </a:lnTo>
                    <a:lnTo>
                      <a:pt x="828" y="288"/>
                    </a:lnTo>
                    <a:lnTo>
                      <a:pt x="826" y="286"/>
                    </a:lnTo>
                    <a:lnTo>
                      <a:pt x="826" y="286"/>
                    </a:lnTo>
                    <a:lnTo>
                      <a:pt x="824" y="282"/>
                    </a:lnTo>
                    <a:lnTo>
                      <a:pt x="822" y="280"/>
                    </a:lnTo>
                    <a:lnTo>
                      <a:pt x="814" y="269"/>
                    </a:lnTo>
                    <a:lnTo>
                      <a:pt x="808" y="263"/>
                    </a:lnTo>
                    <a:lnTo>
                      <a:pt x="805" y="259"/>
                    </a:lnTo>
                    <a:lnTo>
                      <a:pt x="803" y="259"/>
                    </a:lnTo>
                    <a:lnTo>
                      <a:pt x="801" y="259"/>
                    </a:lnTo>
                    <a:lnTo>
                      <a:pt x="799" y="257"/>
                    </a:lnTo>
                    <a:lnTo>
                      <a:pt x="797" y="255"/>
                    </a:lnTo>
                    <a:lnTo>
                      <a:pt x="795" y="255"/>
                    </a:lnTo>
                    <a:lnTo>
                      <a:pt x="793" y="255"/>
                    </a:lnTo>
                    <a:lnTo>
                      <a:pt x="793" y="255"/>
                    </a:lnTo>
                    <a:lnTo>
                      <a:pt x="791" y="255"/>
                    </a:lnTo>
                    <a:lnTo>
                      <a:pt x="791" y="255"/>
                    </a:lnTo>
                    <a:lnTo>
                      <a:pt x="789" y="253"/>
                    </a:lnTo>
                    <a:lnTo>
                      <a:pt x="789" y="251"/>
                    </a:lnTo>
                    <a:lnTo>
                      <a:pt x="791" y="251"/>
                    </a:lnTo>
                    <a:lnTo>
                      <a:pt x="791" y="250"/>
                    </a:lnTo>
                    <a:lnTo>
                      <a:pt x="789" y="250"/>
                    </a:lnTo>
                    <a:lnTo>
                      <a:pt x="787" y="248"/>
                    </a:lnTo>
                    <a:lnTo>
                      <a:pt x="782" y="244"/>
                    </a:lnTo>
                    <a:lnTo>
                      <a:pt x="778" y="238"/>
                    </a:lnTo>
                    <a:lnTo>
                      <a:pt x="776" y="236"/>
                    </a:lnTo>
                    <a:lnTo>
                      <a:pt x="776" y="236"/>
                    </a:lnTo>
                    <a:lnTo>
                      <a:pt x="774" y="234"/>
                    </a:lnTo>
                    <a:lnTo>
                      <a:pt x="772" y="231"/>
                    </a:lnTo>
                    <a:lnTo>
                      <a:pt x="770" y="229"/>
                    </a:lnTo>
                    <a:lnTo>
                      <a:pt x="768" y="225"/>
                    </a:lnTo>
                    <a:lnTo>
                      <a:pt x="766" y="221"/>
                    </a:lnTo>
                    <a:lnTo>
                      <a:pt x="763" y="210"/>
                    </a:lnTo>
                    <a:lnTo>
                      <a:pt x="761" y="204"/>
                    </a:lnTo>
                    <a:lnTo>
                      <a:pt x="759" y="202"/>
                    </a:lnTo>
                    <a:lnTo>
                      <a:pt x="759" y="200"/>
                    </a:lnTo>
                    <a:lnTo>
                      <a:pt x="759" y="198"/>
                    </a:lnTo>
                    <a:lnTo>
                      <a:pt x="757" y="194"/>
                    </a:lnTo>
                    <a:lnTo>
                      <a:pt x="757" y="192"/>
                    </a:lnTo>
                    <a:lnTo>
                      <a:pt x="755" y="189"/>
                    </a:lnTo>
                    <a:lnTo>
                      <a:pt x="755" y="185"/>
                    </a:lnTo>
                    <a:lnTo>
                      <a:pt x="755" y="185"/>
                    </a:lnTo>
                    <a:lnTo>
                      <a:pt x="755" y="183"/>
                    </a:lnTo>
                    <a:lnTo>
                      <a:pt x="755" y="183"/>
                    </a:lnTo>
                    <a:lnTo>
                      <a:pt x="757" y="181"/>
                    </a:lnTo>
                    <a:lnTo>
                      <a:pt x="759" y="181"/>
                    </a:lnTo>
                    <a:lnTo>
                      <a:pt x="759" y="179"/>
                    </a:lnTo>
                    <a:lnTo>
                      <a:pt x="759" y="177"/>
                    </a:lnTo>
                    <a:lnTo>
                      <a:pt x="759" y="175"/>
                    </a:lnTo>
                    <a:lnTo>
                      <a:pt x="759" y="175"/>
                    </a:lnTo>
                    <a:lnTo>
                      <a:pt x="757" y="175"/>
                    </a:lnTo>
                    <a:lnTo>
                      <a:pt x="757" y="173"/>
                    </a:lnTo>
                    <a:lnTo>
                      <a:pt x="751" y="172"/>
                    </a:lnTo>
                    <a:lnTo>
                      <a:pt x="749" y="172"/>
                    </a:lnTo>
                    <a:lnTo>
                      <a:pt x="747" y="166"/>
                    </a:lnTo>
                    <a:lnTo>
                      <a:pt x="744" y="162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2" y="158"/>
                    </a:lnTo>
                    <a:lnTo>
                      <a:pt x="742" y="156"/>
                    </a:lnTo>
                    <a:lnTo>
                      <a:pt x="744" y="156"/>
                    </a:lnTo>
                    <a:lnTo>
                      <a:pt x="744" y="154"/>
                    </a:lnTo>
                    <a:lnTo>
                      <a:pt x="742" y="154"/>
                    </a:lnTo>
                    <a:lnTo>
                      <a:pt x="742" y="153"/>
                    </a:lnTo>
                    <a:lnTo>
                      <a:pt x="742" y="151"/>
                    </a:lnTo>
                    <a:lnTo>
                      <a:pt x="740" y="151"/>
                    </a:lnTo>
                    <a:lnTo>
                      <a:pt x="742" y="149"/>
                    </a:lnTo>
                    <a:lnTo>
                      <a:pt x="742" y="149"/>
                    </a:lnTo>
                    <a:lnTo>
                      <a:pt x="742" y="149"/>
                    </a:lnTo>
                    <a:lnTo>
                      <a:pt x="744" y="149"/>
                    </a:lnTo>
                    <a:lnTo>
                      <a:pt x="744" y="147"/>
                    </a:lnTo>
                    <a:lnTo>
                      <a:pt x="746" y="147"/>
                    </a:lnTo>
                    <a:lnTo>
                      <a:pt x="746" y="147"/>
                    </a:lnTo>
                    <a:lnTo>
                      <a:pt x="746" y="145"/>
                    </a:lnTo>
                    <a:lnTo>
                      <a:pt x="746" y="145"/>
                    </a:lnTo>
                    <a:lnTo>
                      <a:pt x="744" y="143"/>
                    </a:lnTo>
                    <a:lnTo>
                      <a:pt x="744" y="141"/>
                    </a:lnTo>
                    <a:lnTo>
                      <a:pt x="742" y="139"/>
                    </a:lnTo>
                    <a:lnTo>
                      <a:pt x="742" y="137"/>
                    </a:lnTo>
                    <a:lnTo>
                      <a:pt x="742" y="137"/>
                    </a:lnTo>
                    <a:lnTo>
                      <a:pt x="740" y="139"/>
                    </a:lnTo>
                    <a:lnTo>
                      <a:pt x="738" y="139"/>
                    </a:lnTo>
                    <a:lnTo>
                      <a:pt x="738" y="141"/>
                    </a:lnTo>
                    <a:lnTo>
                      <a:pt x="736" y="141"/>
                    </a:lnTo>
                    <a:lnTo>
                      <a:pt x="736" y="141"/>
                    </a:lnTo>
                    <a:lnTo>
                      <a:pt x="734" y="141"/>
                    </a:lnTo>
                    <a:lnTo>
                      <a:pt x="734" y="139"/>
                    </a:lnTo>
                    <a:lnTo>
                      <a:pt x="734" y="137"/>
                    </a:lnTo>
                    <a:lnTo>
                      <a:pt x="734" y="137"/>
                    </a:lnTo>
                    <a:lnTo>
                      <a:pt x="734" y="133"/>
                    </a:lnTo>
                    <a:lnTo>
                      <a:pt x="734" y="133"/>
                    </a:lnTo>
                    <a:lnTo>
                      <a:pt x="734" y="132"/>
                    </a:lnTo>
                    <a:lnTo>
                      <a:pt x="734" y="132"/>
                    </a:lnTo>
                    <a:lnTo>
                      <a:pt x="732" y="132"/>
                    </a:lnTo>
                    <a:lnTo>
                      <a:pt x="728" y="133"/>
                    </a:lnTo>
                    <a:lnTo>
                      <a:pt x="728" y="135"/>
                    </a:lnTo>
                    <a:lnTo>
                      <a:pt x="728" y="135"/>
                    </a:lnTo>
                    <a:lnTo>
                      <a:pt x="726" y="135"/>
                    </a:lnTo>
                    <a:lnTo>
                      <a:pt x="726" y="137"/>
                    </a:lnTo>
                    <a:lnTo>
                      <a:pt x="726" y="137"/>
                    </a:lnTo>
                    <a:lnTo>
                      <a:pt x="725" y="137"/>
                    </a:lnTo>
                    <a:lnTo>
                      <a:pt x="723" y="139"/>
                    </a:lnTo>
                    <a:lnTo>
                      <a:pt x="721" y="137"/>
                    </a:lnTo>
                    <a:lnTo>
                      <a:pt x="719" y="137"/>
                    </a:lnTo>
                    <a:lnTo>
                      <a:pt x="717" y="135"/>
                    </a:lnTo>
                    <a:lnTo>
                      <a:pt x="717" y="135"/>
                    </a:lnTo>
                    <a:lnTo>
                      <a:pt x="715" y="135"/>
                    </a:lnTo>
                    <a:lnTo>
                      <a:pt x="713" y="137"/>
                    </a:lnTo>
                    <a:lnTo>
                      <a:pt x="713" y="139"/>
                    </a:lnTo>
                    <a:lnTo>
                      <a:pt x="709" y="139"/>
                    </a:lnTo>
                    <a:lnTo>
                      <a:pt x="709" y="139"/>
                    </a:lnTo>
                    <a:lnTo>
                      <a:pt x="707" y="141"/>
                    </a:lnTo>
                    <a:lnTo>
                      <a:pt x="705" y="141"/>
                    </a:lnTo>
                    <a:lnTo>
                      <a:pt x="705" y="141"/>
                    </a:lnTo>
                    <a:lnTo>
                      <a:pt x="704" y="141"/>
                    </a:lnTo>
                    <a:lnTo>
                      <a:pt x="702" y="139"/>
                    </a:lnTo>
                    <a:lnTo>
                      <a:pt x="702" y="139"/>
                    </a:lnTo>
                    <a:lnTo>
                      <a:pt x="700" y="135"/>
                    </a:lnTo>
                    <a:lnTo>
                      <a:pt x="700" y="135"/>
                    </a:lnTo>
                    <a:lnTo>
                      <a:pt x="698" y="133"/>
                    </a:lnTo>
                    <a:lnTo>
                      <a:pt x="698" y="133"/>
                    </a:lnTo>
                    <a:lnTo>
                      <a:pt x="696" y="133"/>
                    </a:lnTo>
                    <a:lnTo>
                      <a:pt x="694" y="133"/>
                    </a:lnTo>
                    <a:lnTo>
                      <a:pt x="692" y="135"/>
                    </a:lnTo>
                    <a:lnTo>
                      <a:pt x="692" y="133"/>
                    </a:lnTo>
                    <a:lnTo>
                      <a:pt x="690" y="133"/>
                    </a:lnTo>
                    <a:lnTo>
                      <a:pt x="690" y="133"/>
                    </a:lnTo>
                    <a:lnTo>
                      <a:pt x="688" y="133"/>
                    </a:lnTo>
                    <a:lnTo>
                      <a:pt x="688" y="132"/>
                    </a:lnTo>
                    <a:lnTo>
                      <a:pt x="686" y="128"/>
                    </a:lnTo>
                    <a:lnTo>
                      <a:pt x="684" y="126"/>
                    </a:lnTo>
                    <a:lnTo>
                      <a:pt x="684" y="124"/>
                    </a:lnTo>
                    <a:lnTo>
                      <a:pt x="684" y="124"/>
                    </a:lnTo>
                    <a:lnTo>
                      <a:pt x="684" y="122"/>
                    </a:lnTo>
                    <a:lnTo>
                      <a:pt x="683" y="120"/>
                    </a:lnTo>
                    <a:lnTo>
                      <a:pt x="681" y="120"/>
                    </a:lnTo>
                    <a:lnTo>
                      <a:pt x="679" y="118"/>
                    </a:lnTo>
                    <a:lnTo>
                      <a:pt x="677" y="118"/>
                    </a:lnTo>
                    <a:lnTo>
                      <a:pt x="675" y="118"/>
                    </a:lnTo>
                    <a:lnTo>
                      <a:pt x="673" y="116"/>
                    </a:lnTo>
                    <a:lnTo>
                      <a:pt x="673" y="116"/>
                    </a:lnTo>
                    <a:lnTo>
                      <a:pt x="671" y="116"/>
                    </a:lnTo>
                    <a:lnTo>
                      <a:pt x="669" y="118"/>
                    </a:lnTo>
                    <a:lnTo>
                      <a:pt x="667" y="118"/>
                    </a:lnTo>
                    <a:lnTo>
                      <a:pt x="667" y="120"/>
                    </a:lnTo>
                    <a:lnTo>
                      <a:pt x="665" y="122"/>
                    </a:lnTo>
                    <a:lnTo>
                      <a:pt x="664" y="122"/>
                    </a:lnTo>
                    <a:lnTo>
                      <a:pt x="664" y="122"/>
                    </a:lnTo>
                    <a:lnTo>
                      <a:pt x="662" y="122"/>
                    </a:lnTo>
                    <a:lnTo>
                      <a:pt x="658" y="122"/>
                    </a:lnTo>
                    <a:lnTo>
                      <a:pt x="656" y="122"/>
                    </a:lnTo>
                    <a:lnTo>
                      <a:pt x="652" y="122"/>
                    </a:lnTo>
                    <a:lnTo>
                      <a:pt x="650" y="122"/>
                    </a:lnTo>
                    <a:lnTo>
                      <a:pt x="650" y="122"/>
                    </a:lnTo>
                    <a:lnTo>
                      <a:pt x="650" y="122"/>
                    </a:lnTo>
                    <a:lnTo>
                      <a:pt x="648" y="124"/>
                    </a:lnTo>
                    <a:lnTo>
                      <a:pt x="648" y="124"/>
                    </a:lnTo>
                    <a:lnTo>
                      <a:pt x="648" y="126"/>
                    </a:lnTo>
                    <a:lnTo>
                      <a:pt x="648" y="126"/>
                    </a:lnTo>
                    <a:lnTo>
                      <a:pt x="646" y="128"/>
                    </a:lnTo>
                    <a:lnTo>
                      <a:pt x="646" y="128"/>
                    </a:lnTo>
                    <a:lnTo>
                      <a:pt x="644" y="126"/>
                    </a:lnTo>
                    <a:lnTo>
                      <a:pt x="644" y="126"/>
                    </a:lnTo>
                    <a:lnTo>
                      <a:pt x="643" y="124"/>
                    </a:lnTo>
                    <a:lnTo>
                      <a:pt x="643" y="122"/>
                    </a:lnTo>
                    <a:lnTo>
                      <a:pt x="641" y="120"/>
                    </a:lnTo>
                    <a:lnTo>
                      <a:pt x="639" y="118"/>
                    </a:lnTo>
                    <a:lnTo>
                      <a:pt x="639" y="116"/>
                    </a:lnTo>
                    <a:lnTo>
                      <a:pt x="637" y="114"/>
                    </a:lnTo>
                    <a:lnTo>
                      <a:pt x="637" y="113"/>
                    </a:lnTo>
                    <a:lnTo>
                      <a:pt x="635" y="113"/>
                    </a:lnTo>
                    <a:lnTo>
                      <a:pt x="635" y="111"/>
                    </a:lnTo>
                    <a:lnTo>
                      <a:pt x="635" y="111"/>
                    </a:lnTo>
                    <a:lnTo>
                      <a:pt x="637" y="109"/>
                    </a:lnTo>
                    <a:lnTo>
                      <a:pt x="637" y="107"/>
                    </a:lnTo>
                    <a:lnTo>
                      <a:pt x="639" y="107"/>
                    </a:lnTo>
                    <a:lnTo>
                      <a:pt x="641" y="107"/>
                    </a:lnTo>
                    <a:lnTo>
                      <a:pt x="643" y="107"/>
                    </a:lnTo>
                    <a:lnTo>
                      <a:pt x="644" y="107"/>
                    </a:lnTo>
                    <a:lnTo>
                      <a:pt x="644" y="107"/>
                    </a:lnTo>
                    <a:lnTo>
                      <a:pt x="644" y="105"/>
                    </a:lnTo>
                    <a:lnTo>
                      <a:pt x="644" y="99"/>
                    </a:lnTo>
                    <a:lnTo>
                      <a:pt x="644" y="99"/>
                    </a:lnTo>
                    <a:lnTo>
                      <a:pt x="644" y="97"/>
                    </a:lnTo>
                    <a:lnTo>
                      <a:pt x="641" y="94"/>
                    </a:lnTo>
                    <a:lnTo>
                      <a:pt x="641" y="92"/>
                    </a:lnTo>
                    <a:lnTo>
                      <a:pt x="641" y="90"/>
                    </a:lnTo>
                    <a:lnTo>
                      <a:pt x="641" y="78"/>
                    </a:lnTo>
                    <a:lnTo>
                      <a:pt x="643" y="75"/>
                    </a:lnTo>
                    <a:lnTo>
                      <a:pt x="644" y="71"/>
                    </a:lnTo>
                    <a:lnTo>
                      <a:pt x="644" y="69"/>
                    </a:lnTo>
                    <a:lnTo>
                      <a:pt x="644" y="67"/>
                    </a:lnTo>
                    <a:lnTo>
                      <a:pt x="643" y="65"/>
                    </a:lnTo>
                    <a:lnTo>
                      <a:pt x="643" y="65"/>
                    </a:lnTo>
                    <a:lnTo>
                      <a:pt x="641" y="63"/>
                    </a:lnTo>
                    <a:lnTo>
                      <a:pt x="641" y="65"/>
                    </a:lnTo>
                    <a:lnTo>
                      <a:pt x="641" y="65"/>
                    </a:lnTo>
                    <a:lnTo>
                      <a:pt x="639" y="65"/>
                    </a:lnTo>
                    <a:lnTo>
                      <a:pt x="639" y="65"/>
                    </a:lnTo>
                    <a:lnTo>
                      <a:pt x="639" y="67"/>
                    </a:lnTo>
                    <a:lnTo>
                      <a:pt x="637" y="67"/>
                    </a:lnTo>
                    <a:lnTo>
                      <a:pt x="635" y="67"/>
                    </a:lnTo>
                    <a:lnTo>
                      <a:pt x="635" y="67"/>
                    </a:lnTo>
                    <a:lnTo>
                      <a:pt x="633" y="69"/>
                    </a:lnTo>
                    <a:lnTo>
                      <a:pt x="633" y="69"/>
                    </a:lnTo>
                    <a:lnTo>
                      <a:pt x="631" y="69"/>
                    </a:lnTo>
                    <a:lnTo>
                      <a:pt x="631" y="69"/>
                    </a:lnTo>
                    <a:lnTo>
                      <a:pt x="629" y="69"/>
                    </a:lnTo>
                    <a:lnTo>
                      <a:pt x="627" y="69"/>
                    </a:lnTo>
                    <a:lnTo>
                      <a:pt x="627" y="67"/>
                    </a:lnTo>
                    <a:lnTo>
                      <a:pt x="625" y="67"/>
                    </a:lnTo>
                    <a:lnTo>
                      <a:pt x="625" y="65"/>
                    </a:lnTo>
                    <a:lnTo>
                      <a:pt x="625" y="63"/>
                    </a:lnTo>
                    <a:lnTo>
                      <a:pt x="627" y="59"/>
                    </a:lnTo>
                    <a:lnTo>
                      <a:pt x="627" y="57"/>
                    </a:lnTo>
                    <a:lnTo>
                      <a:pt x="629" y="55"/>
                    </a:lnTo>
                    <a:lnTo>
                      <a:pt x="629" y="55"/>
                    </a:lnTo>
                    <a:lnTo>
                      <a:pt x="629" y="55"/>
                    </a:lnTo>
                    <a:lnTo>
                      <a:pt x="633" y="54"/>
                    </a:lnTo>
                    <a:lnTo>
                      <a:pt x="635" y="54"/>
                    </a:lnTo>
                    <a:lnTo>
                      <a:pt x="637" y="52"/>
                    </a:lnTo>
                    <a:lnTo>
                      <a:pt x="637" y="52"/>
                    </a:lnTo>
                    <a:lnTo>
                      <a:pt x="637" y="50"/>
                    </a:lnTo>
                    <a:lnTo>
                      <a:pt x="637" y="48"/>
                    </a:lnTo>
                    <a:lnTo>
                      <a:pt x="637" y="46"/>
                    </a:lnTo>
                    <a:lnTo>
                      <a:pt x="635" y="46"/>
                    </a:lnTo>
                    <a:lnTo>
                      <a:pt x="635" y="44"/>
                    </a:lnTo>
                    <a:lnTo>
                      <a:pt x="633" y="44"/>
                    </a:lnTo>
                    <a:lnTo>
                      <a:pt x="633" y="42"/>
                    </a:lnTo>
                    <a:lnTo>
                      <a:pt x="633" y="38"/>
                    </a:lnTo>
                    <a:lnTo>
                      <a:pt x="616" y="36"/>
                    </a:lnTo>
                    <a:lnTo>
                      <a:pt x="604" y="36"/>
                    </a:lnTo>
                    <a:lnTo>
                      <a:pt x="557" y="35"/>
                    </a:lnTo>
                    <a:lnTo>
                      <a:pt x="553" y="33"/>
                    </a:lnTo>
                    <a:lnTo>
                      <a:pt x="553" y="31"/>
                    </a:lnTo>
                    <a:lnTo>
                      <a:pt x="553" y="31"/>
                    </a:lnTo>
                    <a:lnTo>
                      <a:pt x="553" y="29"/>
                    </a:lnTo>
                    <a:lnTo>
                      <a:pt x="555" y="25"/>
                    </a:lnTo>
                    <a:lnTo>
                      <a:pt x="564" y="12"/>
                    </a:lnTo>
                    <a:lnTo>
                      <a:pt x="564" y="10"/>
                    </a:lnTo>
                    <a:lnTo>
                      <a:pt x="564" y="8"/>
                    </a:lnTo>
                    <a:lnTo>
                      <a:pt x="564" y="4"/>
                    </a:lnTo>
                    <a:lnTo>
                      <a:pt x="564" y="2"/>
                    </a:lnTo>
                    <a:lnTo>
                      <a:pt x="561" y="0"/>
                    </a:lnTo>
                    <a:lnTo>
                      <a:pt x="561" y="4"/>
                    </a:lnTo>
                    <a:lnTo>
                      <a:pt x="540" y="21"/>
                    </a:lnTo>
                    <a:lnTo>
                      <a:pt x="536" y="23"/>
                    </a:lnTo>
                    <a:lnTo>
                      <a:pt x="513" y="29"/>
                    </a:lnTo>
                    <a:lnTo>
                      <a:pt x="490" y="38"/>
                    </a:lnTo>
                    <a:lnTo>
                      <a:pt x="488" y="42"/>
                    </a:lnTo>
                    <a:lnTo>
                      <a:pt x="484" y="59"/>
                    </a:lnTo>
                    <a:lnTo>
                      <a:pt x="479" y="76"/>
                    </a:lnTo>
                    <a:lnTo>
                      <a:pt x="471" y="97"/>
                    </a:lnTo>
                    <a:lnTo>
                      <a:pt x="465" y="111"/>
                    </a:lnTo>
                    <a:lnTo>
                      <a:pt x="459" y="122"/>
                    </a:lnTo>
                    <a:lnTo>
                      <a:pt x="448" y="141"/>
                    </a:lnTo>
                    <a:lnTo>
                      <a:pt x="440" y="153"/>
                    </a:lnTo>
                    <a:lnTo>
                      <a:pt x="438" y="158"/>
                    </a:lnTo>
                    <a:lnTo>
                      <a:pt x="435" y="168"/>
                    </a:lnTo>
                    <a:lnTo>
                      <a:pt x="433" y="170"/>
                    </a:lnTo>
                    <a:lnTo>
                      <a:pt x="431" y="172"/>
                    </a:lnTo>
                    <a:lnTo>
                      <a:pt x="414" y="179"/>
                    </a:lnTo>
                    <a:lnTo>
                      <a:pt x="400" y="187"/>
                    </a:lnTo>
                    <a:lnTo>
                      <a:pt x="383" y="196"/>
                    </a:lnTo>
                    <a:lnTo>
                      <a:pt x="364" y="206"/>
                    </a:lnTo>
                    <a:lnTo>
                      <a:pt x="362" y="208"/>
                    </a:lnTo>
                    <a:lnTo>
                      <a:pt x="353" y="219"/>
                    </a:lnTo>
                    <a:lnTo>
                      <a:pt x="349" y="225"/>
                    </a:lnTo>
                    <a:lnTo>
                      <a:pt x="341" y="253"/>
                    </a:lnTo>
                    <a:lnTo>
                      <a:pt x="339" y="261"/>
                    </a:lnTo>
                    <a:lnTo>
                      <a:pt x="336" y="267"/>
                    </a:lnTo>
                    <a:lnTo>
                      <a:pt x="332" y="272"/>
                    </a:lnTo>
                    <a:lnTo>
                      <a:pt x="316" y="284"/>
                    </a:lnTo>
                    <a:lnTo>
                      <a:pt x="305" y="297"/>
                    </a:lnTo>
                    <a:lnTo>
                      <a:pt x="305" y="301"/>
                    </a:lnTo>
                    <a:lnTo>
                      <a:pt x="303" y="303"/>
                    </a:lnTo>
                    <a:lnTo>
                      <a:pt x="301" y="320"/>
                    </a:lnTo>
                    <a:lnTo>
                      <a:pt x="301" y="322"/>
                    </a:lnTo>
                    <a:lnTo>
                      <a:pt x="299" y="324"/>
                    </a:lnTo>
                    <a:lnTo>
                      <a:pt x="280" y="329"/>
                    </a:lnTo>
                    <a:lnTo>
                      <a:pt x="261" y="335"/>
                    </a:lnTo>
                    <a:lnTo>
                      <a:pt x="252" y="337"/>
                    </a:lnTo>
                    <a:lnTo>
                      <a:pt x="242" y="335"/>
                    </a:lnTo>
                    <a:lnTo>
                      <a:pt x="231" y="337"/>
                    </a:lnTo>
                    <a:lnTo>
                      <a:pt x="219" y="339"/>
                    </a:lnTo>
                    <a:lnTo>
                      <a:pt x="210" y="343"/>
                    </a:lnTo>
                    <a:lnTo>
                      <a:pt x="194" y="350"/>
                    </a:lnTo>
                    <a:lnTo>
                      <a:pt x="181" y="356"/>
                    </a:lnTo>
                    <a:lnTo>
                      <a:pt x="170" y="360"/>
                    </a:lnTo>
                    <a:lnTo>
                      <a:pt x="162" y="358"/>
                    </a:lnTo>
                    <a:lnTo>
                      <a:pt x="154" y="354"/>
                    </a:lnTo>
                    <a:lnTo>
                      <a:pt x="151" y="347"/>
                    </a:lnTo>
                    <a:lnTo>
                      <a:pt x="147" y="337"/>
                    </a:lnTo>
                    <a:lnTo>
                      <a:pt x="147" y="335"/>
                    </a:lnTo>
                    <a:lnTo>
                      <a:pt x="147" y="329"/>
                    </a:lnTo>
                    <a:lnTo>
                      <a:pt x="145" y="328"/>
                    </a:lnTo>
                    <a:lnTo>
                      <a:pt x="145" y="326"/>
                    </a:lnTo>
                    <a:lnTo>
                      <a:pt x="141" y="322"/>
                    </a:lnTo>
                    <a:lnTo>
                      <a:pt x="137" y="318"/>
                    </a:lnTo>
                    <a:lnTo>
                      <a:pt x="133" y="314"/>
                    </a:lnTo>
                    <a:lnTo>
                      <a:pt x="130" y="312"/>
                    </a:lnTo>
                    <a:lnTo>
                      <a:pt x="126" y="312"/>
                    </a:lnTo>
                    <a:lnTo>
                      <a:pt x="124" y="310"/>
                    </a:lnTo>
                    <a:lnTo>
                      <a:pt x="122" y="312"/>
                    </a:lnTo>
                    <a:lnTo>
                      <a:pt x="116" y="314"/>
                    </a:lnTo>
                    <a:lnTo>
                      <a:pt x="110" y="314"/>
                    </a:lnTo>
                    <a:lnTo>
                      <a:pt x="109" y="316"/>
                    </a:lnTo>
                    <a:lnTo>
                      <a:pt x="107" y="316"/>
                    </a:lnTo>
                    <a:lnTo>
                      <a:pt x="99" y="326"/>
                    </a:lnTo>
                    <a:lnTo>
                      <a:pt x="91" y="331"/>
                    </a:lnTo>
                    <a:lnTo>
                      <a:pt x="90" y="331"/>
                    </a:lnTo>
                    <a:lnTo>
                      <a:pt x="78" y="343"/>
                    </a:lnTo>
                    <a:lnTo>
                      <a:pt x="78" y="347"/>
                    </a:lnTo>
                    <a:lnTo>
                      <a:pt x="69" y="373"/>
                    </a:lnTo>
                    <a:lnTo>
                      <a:pt x="65" y="377"/>
                    </a:lnTo>
                    <a:lnTo>
                      <a:pt x="55" y="388"/>
                    </a:lnTo>
                    <a:lnTo>
                      <a:pt x="48" y="400"/>
                    </a:lnTo>
                    <a:lnTo>
                      <a:pt x="32" y="415"/>
                    </a:lnTo>
                    <a:lnTo>
                      <a:pt x="25" y="421"/>
                    </a:lnTo>
                    <a:lnTo>
                      <a:pt x="13" y="432"/>
                    </a:lnTo>
                    <a:lnTo>
                      <a:pt x="8" y="440"/>
                    </a:lnTo>
                    <a:lnTo>
                      <a:pt x="4" y="451"/>
                    </a:lnTo>
                    <a:lnTo>
                      <a:pt x="2" y="468"/>
                    </a:lnTo>
                    <a:lnTo>
                      <a:pt x="0" y="485"/>
                    </a:lnTo>
                    <a:lnTo>
                      <a:pt x="0" y="491"/>
                    </a:lnTo>
                    <a:lnTo>
                      <a:pt x="4" y="495"/>
                    </a:lnTo>
                    <a:lnTo>
                      <a:pt x="23" y="503"/>
                    </a:lnTo>
                    <a:lnTo>
                      <a:pt x="29" y="506"/>
                    </a:lnTo>
                    <a:lnTo>
                      <a:pt x="38" y="514"/>
                    </a:lnTo>
                    <a:lnTo>
                      <a:pt x="44" y="518"/>
                    </a:lnTo>
                    <a:lnTo>
                      <a:pt x="72" y="516"/>
                    </a:lnTo>
                    <a:lnTo>
                      <a:pt x="78" y="518"/>
                    </a:lnTo>
                    <a:lnTo>
                      <a:pt x="82" y="520"/>
                    </a:lnTo>
                    <a:lnTo>
                      <a:pt x="86" y="524"/>
                    </a:lnTo>
                    <a:lnTo>
                      <a:pt x="86" y="529"/>
                    </a:lnTo>
                    <a:lnTo>
                      <a:pt x="86" y="541"/>
                    </a:lnTo>
                    <a:lnTo>
                      <a:pt x="86" y="546"/>
                    </a:lnTo>
                    <a:lnTo>
                      <a:pt x="86" y="548"/>
                    </a:lnTo>
                    <a:lnTo>
                      <a:pt x="84" y="552"/>
                    </a:lnTo>
                    <a:lnTo>
                      <a:pt x="84" y="554"/>
                    </a:lnTo>
                    <a:lnTo>
                      <a:pt x="84" y="558"/>
                    </a:lnTo>
                    <a:lnTo>
                      <a:pt x="86" y="562"/>
                    </a:lnTo>
                    <a:lnTo>
                      <a:pt x="84" y="567"/>
                    </a:lnTo>
                    <a:lnTo>
                      <a:pt x="82" y="573"/>
                    </a:lnTo>
                    <a:lnTo>
                      <a:pt x="76" y="584"/>
                    </a:lnTo>
                    <a:lnTo>
                      <a:pt x="76" y="586"/>
                    </a:lnTo>
                    <a:lnTo>
                      <a:pt x="76" y="592"/>
                    </a:lnTo>
                    <a:lnTo>
                      <a:pt x="74" y="598"/>
                    </a:lnTo>
                    <a:lnTo>
                      <a:pt x="74" y="602"/>
                    </a:lnTo>
                    <a:lnTo>
                      <a:pt x="76" y="607"/>
                    </a:lnTo>
                    <a:lnTo>
                      <a:pt x="80" y="615"/>
                    </a:lnTo>
                    <a:lnTo>
                      <a:pt x="86" y="621"/>
                    </a:lnTo>
                    <a:lnTo>
                      <a:pt x="91" y="624"/>
                    </a:lnTo>
                    <a:lnTo>
                      <a:pt x="93" y="628"/>
                    </a:lnTo>
                    <a:lnTo>
                      <a:pt x="95" y="636"/>
                    </a:lnTo>
                    <a:lnTo>
                      <a:pt x="97" y="638"/>
                    </a:lnTo>
                    <a:lnTo>
                      <a:pt x="99" y="640"/>
                    </a:lnTo>
                    <a:lnTo>
                      <a:pt x="105" y="641"/>
                    </a:lnTo>
                    <a:lnTo>
                      <a:pt x="110" y="643"/>
                    </a:lnTo>
                    <a:lnTo>
                      <a:pt x="126" y="643"/>
                    </a:lnTo>
                    <a:lnTo>
                      <a:pt x="131" y="641"/>
                    </a:lnTo>
                    <a:lnTo>
                      <a:pt x="135" y="640"/>
                    </a:lnTo>
                    <a:lnTo>
                      <a:pt x="141" y="638"/>
                    </a:lnTo>
                    <a:lnTo>
                      <a:pt x="145" y="640"/>
                    </a:lnTo>
                    <a:lnTo>
                      <a:pt x="149" y="643"/>
                    </a:lnTo>
                    <a:lnTo>
                      <a:pt x="149" y="649"/>
                    </a:lnTo>
                    <a:lnTo>
                      <a:pt x="149" y="661"/>
                    </a:lnTo>
                    <a:lnTo>
                      <a:pt x="147" y="678"/>
                    </a:lnTo>
                    <a:lnTo>
                      <a:pt x="149" y="681"/>
                    </a:lnTo>
                    <a:lnTo>
                      <a:pt x="151" y="685"/>
                    </a:lnTo>
                    <a:lnTo>
                      <a:pt x="154" y="691"/>
                    </a:lnTo>
                    <a:lnTo>
                      <a:pt x="156" y="693"/>
                    </a:lnTo>
                    <a:lnTo>
                      <a:pt x="156" y="697"/>
                    </a:lnTo>
                    <a:lnTo>
                      <a:pt x="158" y="700"/>
                    </a:lnTo>
                    <a:lnTo>
                      <a:pt x="162" y="704"/>
                    </a:lnTo>
                    <a:lnTo>
                      <a:pt x="170" y="712"/>
                    </a:lnTo>
                    <a:lnTo>
                      <a:pt x="173" y="714"/>
                    </a:lnTo>
                    <a:lnTo>
                      <a:pt x="173" y="718"/>
                    </a:lnTo>
                    <a:lnTo>
                      <a:pt x="179" y="737"/>
                    </a:lnTo>
                    <a:lnTo>
                      <a:pt x="181" y="744"/>
                    </a:lnTo>
                    <a:lnTo>
                      <a:pt x="185" y="752"/>
                    </a:lnTo>
                    <a:lnTo>
                      <a:pt x="192" y="763"/>
                    </a:lnTo>
                    <a:lnTo>
                      <a:pt x="196" y="775"/>
                    </a:lnTo>
                    <a:lnTo>
                      <a:pt x="198" y="778"/>
                    </a:lnTo>
                    <a:lnTo>
                      <a:pt x="202" y="780"/>
                    </a:lnTo>
                    <a:lnTo>
                      <a:pt x="208" y="784"/>
                    </a:lnTo>
                    <a:lnTo>
                      <a:pt x="219" y="786"/>
                    </a:lnTo>
                    <a:lnTo>
                      <a:pt x="221" y="786"/>
                    </a:lnTo>
                    <a:lnTo>
                      <a:pt x="223" y="786"/>
                    </a:lnTo>
                    <a:lnTo>
                      <a:pt x="225" y="786"/>
                    </a:lnTo>
                    <a:lnTo>
                      <a:pt x="227" y="784"/>
                    </a:lnTo>
                    <a:lnTo>
                      <a:pt x="229" y="784"/>
                    </a:lnTo>
                    <a:lnTo>
                      <a:pt x="233" y="782"/>
                    </a:lnTo>
                    <a:lnTo>
                      <a:pt x="234" y="784"/>
                    </a:lnTo>
                    <a:lnTo>
                      <a:pt x="236" y="784"/>
                    </a:lnTo>
                    <a:lnTo>
                      <a:pt x="238" y="786"/>
                    </a:lnTo>
                    <a:lnTo>
                      <a:pt x="240" y="784"/>
                    </a:lnTo>
                    <a:lnTo>
                      <a:pt x="242" y="784"/>
                    </a:lnTo>
                    <a:lnTo>
                      <a:pt x="246" y="780"/>
                    </a:lnTo>
                    <a:lnTo>
                      <a:pt x="248" y="780"/>
                    </a:lnTo>
                    <a:lnTo>
                      <a:pt x="250" y="780"/>
                    </a:lnTo>
                    <a:lnTo>
                      <a:pt x="259" y="780"/>
                    </a:lnTo>
                    <a:lnTo>
                      <a:pt x="263" y="780"/>
                    </a:lnTo>
                    <a:lnTo>
                      <a:pt x="265" y="780"/>
                    </a:lnTo>
                    <a:lnTo>
                      <a:pt x="269" y="782"/>
                    </a:lnTo>
                    <a:lnTo>
                      <a:pt x="269" y="782"/>
                    </a:lnTo>
                    <a:lnTo>
                      <a:pt x="271" y="784"/>
                    </a:lnTo>
                    <a:lnTo>
                      <a:pt x="273" y="784"/>
                    </a:lnTo>
                    <a:lnTo>
                      <a:pt x="286" y="780"/>
                    </a:lnTo>
                    <a:lnTo>
                      <a:pt x="288" y="780"/>
                    </a:lnTo>
                    <a:lnTo>
                      <a:pt x="288" y="782"/>
                    </a:lnTo>
                    <a:lnTo>
                      <a:pt x="288" y="784"/>
                    </a:lnTo>
                    <a:lnTo>
                      <a:pt x="290" y="784"/>
                    </a:lnTo>
                    <a:lnTo>
                      <a:pt x="290" y="786"/>
                    </a:lnTo>
                    <a:lnTo>
                      <a:pt x="294" y="786"/>
                    </a:lnTo>
                    <a:lnTo>
                      <a:pt x="295" y="786"/>
                    </a:lnTo>
                    <a:lnTo>
                      <a:pt x="295" y="786"/>
                    </a:lnTo>
                    <a:lnTo>
                      <a:pt x="295" y="786"/>
                    </a:lnTo>
                    <a:lnTo>
                      <a:pt x="295" y="784"/>
                    </a:lnTo>
                    <a:lnTo>
                      <a:pt x="295" y="782"/>
                    </a:lnTo>
                    <a:lnTo>
                      <a:pt x="295" y="782"/>
                    </a:lnTo>
                    <a:lnTo>
                      <a:pt x="297" y="780"/>
                    </a:lnTo>
                    <a:lnTo>
                      <a:pt x="299" y="780"/>
                    </a:lnTo>
                    <a:lnTo>
                      <a:pt x="301" y="780"/>
                    </a:lnTo>
                    <a:lnTo>
                      <a:pt x="301" y="780"/>
                    </a:lnTo>
                    <a:lnTo>
                      <a:pt x="303" y="780"/>
                    </a:lnTo>
                    <a:lnTo>
                      <a:pt x="303" y="782"/>
                    </a:lnTo>
                    <a:lnTo>
                      <a:pt x="305" y="784"/>
                    </a:lnTo>
                    <a:lnTo>
                      <a:pt x="307" y="784"/>
                    </a:lnTo>
                    <a:lnTo>
                      <a:pt x="309" y="784"/>
                    </a:lnTo>
                    <a:lnTo>
                      <a:pt x="311" y="782"/>
                    </a:lnTo>
                    <a:lnTo>
                      <a:pt x="313" y="782"/>
                    </a:lnTo>
                    <a:lnTo>
                      <a:pt x="315" y="780"/>
                    </a:lnTo>
                    <a:lnTo>
                      <a:pt x="315" y="778"/>
                    </a:lnTo>
                    <a:lnTo>
                      <a:pt x="315" y="778"/>
                    </a:lnTo>
                    <a:lnTo>
                      <a:pt x="322" y="777"/>
                    </a:lnTo>
                    <a:lnTo>
                      <a:pt x="324" y="777"/>
                    </a:lnTo>
                    <a:lnTo>
                      <a:pt x="324" y="778"/>
                    </a:lnTo>
                    <a:lnTo>
                      <a:pt x="326" y="778"/>
                    </a:lnTo>
                    <a:lnTo>
                      <a:pt x="328" y="782"/>
                    </a:lnTo>
                    <a:lnTo>
                      <a:pt x="330" y="784"/>
                    </a:lnTo>
                    <a:lnTo>
                      <a:pt x="339" y="788"/>
                    </a:lnTo>
                    <a:lnTo>
                      <a:pt x="343" y="788"/>
                    </a:lnTo>
                    <a:lnTo>
                      <a:pt x="351" y="786"/>
                    </a:lnTo>
                    <a:lnTo>
                      <a:pt x="355" y="786"/>
                    </a:lnTo>
                    <a:lnTo>
                      <a:pt x="356" y="786"/>
                    </a:lnTo>
                    <a:lnTo>
                      <a:pt x="358" y="786"/>
                    </a:lnTo>
                    <a:lnTo>
                      <a:pt x="358" y="786"/>
                    </a:lnTo>
                    <a:lnTo>
                      <a:pt x="358" y="788"/>
                    </a:lnTo>
                    <a:lnTo>
                      <a:pt x="358" y="788"/>
                    </a:lnTo>
                    <a:lnTo>
                      <a:pt x="358" y="790"/>
                    </a:lnTo>
                    <a:lnTo>
                      <a:pt x="356" y="790"/>
                    </a:lnTo>
                    <a:lnTo>
                      <a:pt x="356" y="790"/>
                    </a:lnTo>
                    <a:lnTo>
                      <a:pt x="351" y="790"/>
                    </a:lnTo>
                    <a:lnTo>
                      <a:pt x="349" y="792"/>
                    </a:lnTo>
                    <a:lnTo>
                      <a:pt x="349" y="792"/>
                    </a:lnTo>
                    <a:lnTo>
                      <a:pt x="349" y="792"/>
                    </a:lnTo>
                    <a:lnTo>
                      <a:pt x="349" y="794"/>
                    </a:lnTo>
                    <a:lnTo>
                      <a:pt x="349" y="794"/>
                    </a:lnTo>
                    <a:lnTo>
                      <a:pt x="351" y="796"/>
                    </a:lnTo>
                    <a:lnTo>
                      <a:pt x="353" y="798"/>
                    </a:lnTo>
                    <a:lnTo>
                      <a:pt x="355" y="798"/>
                    </a:lnTo>
                    <a:lnTo>
                      <a:pt x="356" y="798"/>
                    </a:lnTo>
                    <a:lnTo>
                      <a:pt x="358" y="798"/>
                    </a:lnTo>
                    <a:lnTo>
                      <a:pt x="360" y="798"/>
                    </a:lnTo>
                    <a:lnTo>
                      <a:pt x="360" y="799"/>
                    </a:lnTo>
                    <a:lnTo>
                      <a:pt x="360" y="799"/>
                    </a:lnTo>
                    <a:lnTo>
                      <a:pt x="360" y="801"/>
                    </a:lnTo>
                    <a:lnTo>
                      <a:pt x="362" y="801"/>
                    </a:lnTo>
                    <a:lnTo>
                      <a:pt x="362" y="803"/>
                    </a:lnTo>
                    <a:lnTo>
                      <a:pt x="364" y="803"/>
                    </a:lnTo>
                    <a:lnTo>
                      <a:pt x="366" y="801"/>
                    </a:lnTo>
                    <a:lnTo>
                      <a:pt x="366" y="801"/>
                    </a:lnTo>
                    <a:lnTo>
                      <a:pt x="370" y="803"/>
                    </a:lnTo>
                    <a:lnTo>
                      <a:pt x="370" y="803"/>
                    </a:lnTo>
                    <a:lnTo>
                      <a:pt x="370" y="805"/>
                    </a:lnTo>
                    <a:lnTo>
                      <a:pt x="370" y="805"/>
                    </a:lnTo>
                    <a:lnTo>
                      <a:pt x="370" y="805"/>
                    </a:lnTo>
                    <a:lnTo>
                      <a:pt x="370" y="807"/>
                    </a:lnTo>
                    <a:lnTo>
                      <a:pt x="370" y="809"/>
                    </a:lnTo>
                    <a:lnTo>
                      <a:pt x="372" y="811"/>
                    </a:lnTo>
                    <a:lnTo>
                      <a:pt x="372" y="813"/>
                    </a:lnTo>
                    <a:lnTo>
                      <a:pt x="374" y="815"/>
                    </a:lnTo>
                    <a:lnTo>
                      <a:pt x="374" y="815"/>
                    </a:lnTo>
                    <a:lnTo>
                      <a:pt x="376" y="815"/>
                    </a:lnTo>
                    <a:lnTo>
                      <a:pt x="376" y="815"/>
                    </a:lnTo>
                    <a:lnTo>
                      <a:pt x="377" y="815"/>
                    </a:lnTo>
                    <a:lnTo>
                      <a:pt x="377" y="815"/>
                    </a:lnTo>
                    <a:lnTo>
                      <a:pt x="377" y="815"/>
                    </a:lnTo>
                    <a:lnTo>
                      <a:pt x="377" y="813"/>
                    </a:lnTo>
                    <a:lnTo>
                      <a:pt x="379" y="805"/>
                    </a:lnTo>
                    <a:lnTo>
                      <a:pt x="379" y="805"/>
                    </a:lnTo>
                    <a:lnTo>
                      <a:pt x="381" y="805"/>
                    </a:lnTo>
                    <a:lnTo>
                      <a:pt x="381" y="805"/>
                    </a:lnTo>
                    <a:lnTo>
                      <a:pt x="381" y="805"/>
                    </a:lnTo>
                    <a:lnTo>
                      <a:pt x="383" y="803"/>
                    </a:lnTo>
                    <a:lnTo>
                      <a:pt x="385" y="803"/>
                    </a:lnTo>
                    <a:lnTo>
                      <a:pt x="387" y="805"/>
                    </a:lnTo>
                    <a:lnTo>
                      <a:pt x="393" y="809"/>
                    </a:lnTo>
                    <a:lnTo>
                      <a:pt x="395" y="809"/>
                    </a:lnTo>
                    <a:lnTo>
                      <a:pt x="397" y="809"/>
                    </a:lnTo>
                    <a:lnTo>
                      <a:pt x="398" y="809"/>
                    </a:lnTo>
                    <a:lnTo>
                      <a:pt x="400" y="811"/>
                    </a:lnTo>
                    <a:lnTo>
                      <a:pt x="400" y="811"/>
                    </a:lnTo>
                    <a:lnTo>
                      <a:pt x="402" y="813"/>
                    </a:lnTo>
                    <a:lnTo>
                      <a:pt x="402" y="813"/>
                    </a:lnTo>
                    <a:lnTo>
                      <a:pt x="404" y="817"/>
                    </a:lnTo>
                    <a:lnTo>
                      <a:pt x="404" y="818"/>
                    </a:lnTo>
                    <a:lnTo>
                      <a:pt x="406" y="818"/>
                    </a:lnTo>
                    <a:lnTo>
                      <a:pt x="408" y="820"/>
                    </a:lnTo>
                    <a:lnTo>
                      <a:pt x="410" y="822"/>
                    </a:lnTo>
                    <a:lnTo>
                      <a:pt x="410" y="822"/>
                    </a:lnTo>
                    <a:lnTo>
                      <a:pt x="418" y="822"/>
                    </a:lnTo>
                    <a:lnTo>
                      <a:pt x="421" y="822"/>
                    </a:lnTo>
                    <a:lnTo>
                      <a:pt x="425" y="822"/>
                    </a:lnTo>
                    <a:lnTo>
                      <a:pt x="429" y="824"/>
                    </a:lnTo>
                    <a:lnTo>
                      <a:pt x="431" y="824"/>
                    </a:lnTo>
                    <a:lnTo>
                      <a:pt x="433" y="824"/>
                    </a:lnTo>
                    <a:lnTo>
                      <a:pt x="437" y="822"/>
                    </a:lnTo>
                    <a:lnTo>
                      <a:pt x="437" y="822"/>
                    </a:lnTo>
                    <a:lnTo>
                      <a:pt x="437" y="820"/>
                    </a:lnTo>
                    <a:lnTo>
                      <a:pt x="438" y="820"/>
                    </a:lnTo>
                    <a:lnTo>
                      <a:pt x="438" y="818"/>
                    </a:lnTo>
                    <a:lnTo>
                      <a:pt x="438" y="818"/>
                    </a:lnTo>
                    <a:lnTo>
                      <a:pt x="438" y="817"/>
                    </a:lnTo>
                    <a:lnTo>
                      <a:pt x="438" y="817"/>
                    </a:lnTo>
                    <a:lnTo>
                      <a:pt x="438" y="817"/>
                    </a:lnTo>
                    <a:lnTo>
                      <a:pt x="438" y="815"/>
                    </a:lnTo>
                    <a:lnTo>
                      <a:pt x="438" y="815"/>
                    </a:lnTo>
                    <a:lnTo>
                      <a:pt x="438" y="815"/>
                    </a:lnTo>
                    <a:lnTo>
                      <a:pt x="438" y="813"/>
                    </a:lnTo>
                    <a:lnTo>
                      <a:pt x="438" y="811"/>
                    </a:lnTo>
                    <a:lnTo>
                      <a:pt x="438" y="811"/>
                    </a:lnTo>
                    <a:lnTo>
                      <a:pt x="440" y="809"/>
                    </a:lnTo>
                    <a:lnTo>
                      <a:pt x="440" y="809"/>
                    </a:lnTo>
                    <a:lnTo>
                      <a:pt x="442" y="807"/>
                    </a:lnTo>
                    <a:lnTo>
                      <a:pt x="442" y="807"/>
                    </a:lnTo>
                    <a:lnTo>
                      <a:pt x="442" y="807"/>
                    </a:lnTo>
                    <a:lnTo>
                      <a:pt x="444" y="807"/>
                    </a:lnTo>
                    <a:lnTo>
                      <a:pt x="446" y="805"/>
                    </a:lnTo>
                    <a:lnTo>
                      <a:pt x="450" y="805"/>
                    </a:lnTo>
                    <a:lnTo>
                      <a:pt x="452" y="805"/>
                    </a:lnTo>
                    <a:lnTo>
                      <a:pt x="454" y="805"/>
                    </a:lnTo>
                    <a:lnTo>
                      <a:pt x="454" y="805"/>
                    </a:lnTo>
                    <a:lnTo>
                      <a:pt x="454" y="805"/>
                    </a:lnTo>
                    <a:lnTo>
                      <a:pt x="456" y="805"/>
                    </a:lnTo>
                    <a:lnTo>
                      <a:pt x="456" y="807"/>
                    </a:lnTo>
                    <a:lnTo>
                      <a:pt x="456" y="807"/>
                    </a:lnTo>
                    <a:lnTo>
                      <a:pt x="456" y="811"/>
                    </a:lnTo>
                    <a:lnTo>
                      <a:pt x="456" y="813"/>
                    </a:lnTo>
                    <a:lnTo>
                      <a:pt x="454" y="817"/>
                    </a:lnTo>
                    <a:lnTo>
                      <a:pt x="454" y="817"/>
                    </a:lnTo>
                    <a:lnTo>
                      <a:pt x="454" y="818"/>
                    </a:lnTo>
                    <a:lnTo>
                      <a:pt x="456" y="818"/>
                    </a:lnTo>
                    <a:lnTo>
                      <a:pt x="456" y="820"/>
                    </a:lnTo>
                    <a:lnTo>
                      <a:pt x="458" y="820"/>
                    </a:lnTo>
                    <a:lnTo>
                      <a:pt x="463" y="822"/>
                    </a:lnTo>
                    <a:lnTo>
                      <a:pt x="465" y="822"/>
                    </a:lnTo>
                    <a:lnTo>
                      <a:pt x="465" y="822"/>
                    </a:lnTo>
                    <a:lnTo>
                      <a:pt x="465" y="822"/>
                    </a:lnTo>
                    <a:lnTo>
                      <a:pt x="467" y="820"/>
                    </a:lnTo>
                    <a:lnTo>
                      <a:pt x="469" y="820"/>
                    </a:lnTo>
                    <a:lnTo>
                      <a:pt x="469" y="820"/>
                    </a:lnTo>
                    <a:lnTo>
                      <a:pt x="469" y="822"/>
                    </a:lnTo>
                    <a:lnTo>
                      <a:pt x="469" y="824"/>
                    </a:lnTo>
                    <a:lnTo>
                      <a:pt x="469" y="826"/>
                    </a:lnTo>
                    <a:lnTo>
                      <a:pt x="469" y="826"/>
                    </a:lnTo>
                    <a:lnTo>
                      <a:pt x="467" y="828"/>
                    </a:lnTo>
                    <a:lnTo>
                      <a:pt x="467" y="828"/>
                    </a:lnTo>
                    <a:lnTo>
                      <a:pt x="465" y="828"/>
                    </a:lnTo>
                    <a:lnTo>
                      <a:pt x="463" y="828"/>
                    </a:lnTo>
                    <a:lnTo>
                      <a:pt x="461" y="828"/>
                    </a:lnTo>
                    <a:lnTo>
                      <a:pt x="459" y="828"/>
                    </a:lnTo>
                    <a:lnTo>
                      <a:pt x="459" y="828"/>
                    </a:lnTo>
                    <a:lnTo>
                      <a:pt x="459" y="828"/>
                    </a:lnTo>
                    <a:lnTo>
                      <a:pt x="459" y="830"/>
                    </a:lnTo>
                    <a:lnTo>
                      <a:pt x="459" y="832"/>
                    </a:lnTo>
                    <a:lnTo>
                      <a:pt x="458" y="832"/>
                    </a:lnTo>
                    <a:lnTo>
                      <a:pt x="458" y="834"/>
                    </a:lnTo>
                    <a:lnTo>
                      <a:pt x="456" y="834"/>
                    </a:lnTo>
                    <a:lnTo>
                      <a:pt x="452" y="843"/>
                    </a:lnTo>
                    <a:lnTo>
                      <a:pt x="452" y="845"/>
                    </a:lnTo>
                    <a:lnTo>
                      <a:pt x="452" y="847"/>
                    </a:lnTo>
                    <a:lnTo>
                      <a:pt x="454" y="849"/>
                    </a:lnTo>
                    <a:lnTo>
                      <a:pt x="456" y="853"/>
                    </a:lnTo>
                    <a:lnTo>
                      <a:pt x="456" y="855"/>
                    </a:lnTo>
                    <a:lnTo>
                      <a:pt x="458" y="855"/>
                    </a:lnTo>
                    <a:lnTo>
                      <a:pt x="459" y="856"/>
                    </a:lnTo>
                    <a:lnTo>
                      <a:pt x="461" y="856"/>
                    </a:lnTo>
                    <a:lnTo>
                      <a:pt x="463" y="860"/>
                    </a:lnTo>
                    <a:lnTo>
                      <a:pt x="463" y="860"/>
                    </a:lnTo>
                    <a:lnTo>
                      <a:pt x="467" y="862"/>
                    </a:lnTo>
                    <a:lnTo>
                      <a:pt x="467" y="862"/>
                    </a:lnTo>
                    <a:lnTo>
                      <a:pt x="467" y="864"/>
                    </a:lnTo>
                    <a:lnTo>
                      <a:pt x="469" y="866"/>
                    </a:lnTo>
                    <a:lnTo>
                      <a:pt x="469" y="866"/>
                    </a:lnTo>
                    <a:lnTo>
                      <a:pt x="471" y="870"/>
                    </a:lnTo>
                    <a:lnTo>
                      <a:pt x="473" y="872"/>
                    </a:lnTo>
                    <a:lnTo>
                      <a:pt x="475" y="872"/>
                    </a:lnTo>
                    <a:lnTo>
                      <a:pt x="479" y="868"/>
                    </a:lnTo>
                    <a:lnTo>
                      <a:pt x="480" y="868"/>
                    </a:lnTo>
                    <a:lnTo>
                      <a:pt x="482" y="866"/>
                    </a:lnTo>
                    <a:lnTo>
                      <a:pt x="482" y="864"/>
                    </a:lnTo>
                    <a:lnTo>
                      <a:pt x="484" y="862"/>
                    </a:lnTo>
                    <a:lnTo>
                      <a:pt x="484" y="860"/>
                    </a:lnTo>
                    <a:lnTo>
                      <a:pt x="486" y="858"/>
                    </a:lnTo>
                    <a:lnTo>
                      <a:pt x="486" y="860"/>
                    </a:lnTo>
                    <a:lnTo>
                      <a:pt x="492" y="866"/>
                    </a:lnTo>
                    <a:lnTo>
                      <a:pt x="492" y="868"/>
                    </a:lnTo>
                    <a:lnTo>
                      <a:pt x="492" y="870"/>
                    </a:lnTo>
                    <a:lnTo>
                      <a:pt x="492" y="874"/>
                    </a:lnTo>
                    <a:lnTo>
                      <a:pt x="492" y="874"/>
                    </a:lnTo>
                    <a:lnTo>
                      <a:pt x="492" y="874"/>
                    </a:lnTo>
                    <a:lnTo>
                      <a:pt x="494" y="876"/>
                    </a:lnTo>
                    <a:lnTo>
                      <a:pt x="496" y="879"/>
                    </a:lnTo>
                    <a:lnTo>
                      <a:pt x="496" y="883"/>
                    </a:lnTo>
                    <a:lnTo>
                      <a:pt x="496" y="883"/>
                    </a:lnTo>
                    <a:lnTo>
                      <a:pt x="494" y="885"/>
                    </a:lnTo>
                    <a:lnTo>
                      <a:pt x="492" y="885"/>
                    </a:lnTo>
                    <a:lnTo>
                      <a:pt x="490" y="887"/>
                    </a:lnTo>
                    <a:lnTo>
                      <a:pt x="488" y="889"/>
                    </a:lnTo>
                    <a:lnTo>
                      <a:pt x="488" y="889"/>
                    </a:lnTo>
                    <a:lnTo>
                      <a:pt x="488" y="891"/>
                    </a:lnTo>
                    <a:lnTo>
                      <a:pt x="488" y="895"/>
                    </a:lnTo>
                    <a:lnTo>
                      <a:pt x="488" y="896"/>
                    </a:lnTo>
                    <a:lnTo>
                      <a:pt x="488" y="902"/>
                    </a:lnTo>
                    <a:lnTo>
                      <a:pt x="488" y="904"/>
                    </a:lnTo>
                    <a:lnTo>
                      <a:pt x="488" y="904"/>
                    </a:lnTo>
                    <a:lnTo>
                      <a:pt x="492" y="904"/>
                    </a:lnTo>
                    <a:lnTo>
                      <a:pt x="494" y="904"/>
                    </a:lnTo>
                    <a:lnTo>
                      <a:pt x="494" y="904"/>
                    </a:lnTo>
                    <a:lnTo>
                      <a:pt x="496" y="906"/>
                    </a:lnTo>
                    <a:lnTo>
                      <a:pt x="496" y="908"/>
                    </a:lnTo>
                    <a:lnTo>
                      <a:pt x="496" y="910"/>
                    </a:lnTo>
                    <a:lnTo>
                      <a:pt x="498" y="912"/>
                    </a:lnTo>
                    <a:lnTo>
                      <a:pt x="500" y="912"/>
                    </a:lnTo>
                    <a:lnTo>
                      <a:pt x="501" y="914"/>
                    </a:lnTo>
                    <a:lnTo>
                      <a:pt x="503" y="914"/>
                    </a:lnTo>
                    <a:lnTo>
                      <a:pt x="505" y="914"/>
                    </a:lnTo>
                    <a:lnTo>
                      <a:pt x="505" y="915"/>
                    </a:lnTo>
                    <a:lnTo>
                      <a:pt x="507" y="915"/>
                    </a:lnTo>
                    <a:lnTo>
                      <a:pt x="507" y="917"/>
                    </a:lnTo>
                    <a:lnTo>
                      <a:pt x="507" y="917"/>
                    </a:lnTo>
                    <a:lnTo>
                      <a:pt x="505" y="919"/>
                    </a:lnTo>
                    <a:lnTo>
                      <a:pt x="505" y="921"/>
                    </a:lnTo>
                    <a:lnTo>
                      <a:pt x="505" y="925"/>
                    </a:lnTo>
                    <a:lnTo>
                      <a:pt x="505" y="927"/>
                    </a:lnTo>
                    <a:lnTo>
                      <a:pt x="505" y="929"/>
                    </a:lnTo>
                    <a:lnTo>
                      <a:pt x="505" y="929"/>
                    </a:lnTo>
                    <a:lnTo>
                      <a:pt x="507" y="929"/>
                    </a:lnTo>
                    <a:lnTo>
                      <a:pt x="509" y="929"/>
                    </a:lnTo>
                    <a:lnTo>
                      <a:pt x="509" y="927"/>
                    </a:lnTo>
                    <a:lnTo>
                      <a:pt x="513" y="925"/>
                    </a:lnTo>
                    <a:lnTo>
                      <a:pt x="513" y="925"/>
                    </a:lnTo>
                    <a:lnTo>
                      <a:pt x="515" y="925"/>
                    </a:lnTo>
                    <a:lnTo>
                      <a:pt x="517" y="925"/>
                    </a:lnTo>
                    <a:lnTo>
                      <a:pt x="520" y="929"/>
                    </a:lnTo>
                    <a:lnTo>
                      <a:pt x="520" y="931"/>
                    </a:lnTo>
                    <a:lnTo>
                      <a:pt x="520" y="935"/>
                    </a:lnTo>
                    <a:lnTo>
                      <a:pt x="520" y="936"/>
                    </a:lnTo>
                    <a:lnTo>
                      <a:pt x="520" y="938"/>
                    </a:lnTo>
                    <a:lnTo>
                      <a:pt x="520" y="940"/>
                    </a:lnTo>
                    <a:lnTo>
                      <a:pt x="522" y="942"/>
                    </a:lnTo>
                    <a:lnTo>
                      <a:pt x="522" y="944"/>
                    </a:lnTo>
                    <a:lnTo>
                      <a:pt x="522" y="946"/>
                    </a:lnTo>
                    <a:lnTo>
                      <a:pt x="520" y="950"/>
                    </a:lnTo>
                    <a:lnTo>
                      <a:pt x="520" y="952"/>
                    </a:lnTo>
                    <a:lnTo>
                      <a:pt x="526" y="950"/>
                    </a:lnTo>
                    <a:lnTo>
                      <a:pt x="528" y="952"/>
                    </a:lnTo>
                    <a:lnTo>
                      <a:pt x="530" y="954"/>
                    </a:lnTo>
                    <a:lnTo>
                      <a:pt x="532" y="954"/>
                    </a:lnTo>
                    <a:lnTo>
                      <a:pt x="541" y="952"/>
                    </a:lnTo>
                    <a:lnTo>
                      <a:pt x="543" y="952"/>
                    </a:lnTo>
                    <a:lnTo>
                      <a:pt x="545" y="952"/>
                    </a:lnTo>
                    <a:lnTo>
                      <a:pt x="545" y="954"/>
                    </a:lnTo>
                    <a:lnTo>
                      <a:pt x="549" y="961"/>
                    </a:lnTo>
                    <a:lnTo>
                      <a:pt x="553" y="965"/>
                    </a:lnTo>
                    <a:lnTo>
                      <a:pt x="555" y="965"/>
                    </a:lnTo>
                    <a:lnTo>
                      <a:pt x="557" y="965"/>
                    </a:lnTo>
                    <a:lnTo>
                      <a:pt x="557" y="965"/>
                    </a:lnTo>
                    <a:lnTo>
                      <a:pt x="559" y="965"/>
                    </a:lnTo>
                    <a:lnTo>
                      <a:pt x="559" y="965"/>
                    </a:lnTo>
                    <a:lnTo>
                      <a:pt x="559" y="963"/>
                    </a:lnTo>
                    <a:lnTo>
                      <a:pt x="559" y="963"/>
                    </a:lnTo>
                    <a:lnTo>
                      <a:pt x="561" y="961"/>
                    </a:lnTo>
                    <a:lnTo>
                      <a:pt x="561" y="961"/>
                    </a:lnTo>
                    <a:lnTo>
                      <a:pt x="561" y="961"/>
                    </a:lnTo>
                    <a:lnTo>
                      <a:pt x="562" y="961"/>
                    </a:lnTo>
                    <a:lnTo>
                      <a:pt x="568" y="965"/>
                    </a:lnTo>
                    <a:lnTo>
                      <a:pt x="572" y="971"/>
                    </a:lnTo>
                    <a:lnTo>
                      <a:pt x="578" y="974"/>
                    </a:lnTo>
                    <a:lnTo>
                      <a:pt x="580" y="974"/>
                    </a:lnTo>
                    <a:lnTo>
                      <a:pt x="582" y="976"/>
                    </a:lnTo>
                    <a:lnTo>
                      <a:pt x="582" y="978"/>
                    </a:lnTo>
                    <a:lnTo>
                      <a:pt x="582" y="980"/>
                    </a:lnTo>
                    <a:lnTo>
                      <a:pt x="582" y="982"/>
                    </a:lnTo>
                    <a:lnTo>
                      <a:pt x="582" y="984"/>
                    </a:lnTo>
                    <a:lnTo>
                      <a:pt x="583" y="988"/>
                    </a:lnTo>
                    <a:lnTo>
                      <a:pt x="585" y="988"/>
                    </a:lnTo>
                    <a:lnTo>
                      <a:pt x="587" y="990"/>
                    </a:lnTo>
                    <a:lnTo>
                      <a:pt x="587" y="990"/>
                    </a:lnTo>
                    <a:lnTo>
                      <a:pt x="589" y="988"/>
                    </a:lnTo>
                    <a:lnTo>
                      <a:pt x="589" y="988"/>
                    </a:lnTo>
                    <a:lnTo>
                      <a:pt x="591" y="986"/>
                    </a:lnTo>
                    <a:lnTo>
                      <a:pt x="593" y="986"/>
                    </a:lnTo>
                    <a:lnTo>
                      <a:pt x="593" y="988"/>
                    </a:lnTo>
                    <a:lnTo>
                      <a:pt x="597" y="990"/>
                    </a:lnTo>
                    <a:lnTo>
                      <a:pt x="599" y="992"/>
                    </a:lnTo>
                    <a:lnTo>
                      <a:pt x="601" y="993"/>
                    </a:lnTo>
                    <a:lnTo>
                      <a:pt x="601" y="995"/>
                    </a:lnTo>
                    <a:lnTo>
                      <a:pt x="602" y="999"/>
                    </a:lnTo>
                    <a:lnTo>
                      <a:pt x="602" y="999"/>
                    </a:lnTo>
                    <a:lnTo>
                      <a:pt x="604" y="999"/>
                    </a:lnTo>
                    <a:lnTo>
                      <a:pt x="606" y="1001"/>
                    </a:lnTo>
                    <a:lnTo>
                      <a:pt x="606" y="1001"/>
                    </a:lnTo>
                    <a:lnTo>
                      <a:pt x="608" y="1003"/>
                    </a:lnTo>
                    <a:lnTo>
                      <a:pt x="608" y="1005"/>
                    </a:lnTo>
                    <a:lnTo>
                      <a:pt x="610" y="1005"/>
                    </a:lnTo>
                    <a:lnTo>
                      <a:pt x="612" y="1003"/>
                    </a:lnTo>
                    <a:lnTo>
                      <a:pt x="614" y="1001"/>
                    </a:lnTo>
                    <a:lnTo>
                      <a:pt x="616" y="1001"/>
                    </a:lnTo>
                    <a:lnTo>
                      <a:pt x="616" y="1001"/>
                    </a:lnTo>
                    <a:lnTo>
                      <a:pt x="620" y="1001"/>
                    </a:lnTo>
                    <a:lnTo>
                      <a:pt x="622" y="1001"/>
                    </a:lnTo>
                    <a:lnTo>
                      <a:pt x="623" y="1001"/>
                    </a:lnTo>
                    <a:lnTo>
                      <a:pt x="625" y="1003"/>
                    </a:lnTo>
                    <a:lnTo>
                      <a:pt x="627" y="1003"/>
                    </a:lnTo>
                    <a:lnTo>
                      <a:pt x="637" y="997"/>
                    </a:lnTo>
                    <a:lnTo>
                      <a:pt x="644" y="995"/>
                    </a:lnTo>
                    <a:lnTo>
                      <a:pt x="652" y="990"/>
                    </a:lnTo>
                    <a:lnTo>
                      <a:pt x="658" y="988"/>
                    </a:lnTo>
                    <a:lnTo>
                      <a:pt x="658" y="988"/>
                    </a:lnTo>
                    <a:lnTo>
                      <a:pt x="658" y="986"/>
                    </a:lnTo>
                    <a:lnTo>
                      <a:pt x="656" y="984"/>
                    </a:lnTo>
                    <a:lnTo>
                      <a:pt x="654" y="984"/>
                    </a:lnTo>
                    <a:lnTo>
                      <a:pt x="652" y="982"/>
                    </a:lnTo>
                    <a:lnTo>
                      <a:pt x="652" y="980"/>
                    </a:lnTo>
                    <a:lnTo>
                      <a:pt x="650" y="980"/>
                    </a:lnTo>
                    <a:lnTo>
                      <a:pt x="648" y="980"/>
                    </a:lnTo>
                    <a:lnTo>
                      <a:pt x="646" y="980"/>
                    </a:lnTo>
                    <a:lnTo>
                      <a:pt x="644" y="980"/>
                    </a:lnTo>
                    <a:lnTo>
                      <a:pt x="641" y="978"/>
                    </a:lnTo>
                    <a:lnTo>
                      <a:pt x="637" y="978"/>
                    </a:lnTo>
                    <a:lnTo>
                      <a:pt x="637" y="976"/>
                    </a:lnTo>
                    <a:lnTo>
                      <a:pt x="635" y="976"/>
                    </a:lnTo>
                    <a:lnTo>
                      <a:pt x="635" y="976"/>
                    </a:lnTo>
                    <a:lnTo>
                      <a:pt x="633" y="974"/>
                    </a:lnTo>
                    <a:lnTo>
                      <a:pt x="633" y="973"/>
                    </a:lnTo>
                    <a:lnTo>
                      <a:pt x="633" y="971"/>
                    </a:lnTo>
                    <a:lnTo>
                      <a:pt x="639" y="963"/>
                    </a:lnTo>
                    <a:lnTo>
                      <a:pt x="639" y="961"/>
                    </a:lnTo>
                    <a:lnTo>
                      <a:pt x="646" y="954"/>
                    </a:lnTo>
                    <a:lnTo>
                      <a:pt x="650" y="952"/>
                    </a:lnTo>
                    <a:lnTo>
                      <a:pt x="656" y="950"/>
                    </a:lnTo>
                    <a:lnTo>
                      <a:pt x="658" y="950"/>
                    </a:lnTo>
                    <a:lnTo>
                      <a:pt x="665" y="944"/>
                    </a:lnTo>
                    <a:lnTo>
                      <a:pt x="667" y="944"/>
                    </a:lnTo>
                    <a:lnTo>
                      <a:pt x="671" y="942"/>
                    </a:lnTo>
                    <a:lnTo>
                      <a:pt x="671" y="942"/>
                    </a:lnTo>
                    <a:lnTo>
                      <a:pt x="675" y="938"/>
                    </a:lnTo>
                    <a:lnTo>
                      <a:pt x="677" y="936"/>
                    </a:lnTo>
                    <a:lnTo>
                      <a:pt x="677" y="935"/>
                    </a:lnTo>
                    <a:lnTo>
                      <a:pt x="679" y="933"/>
                    </a:lnTo>
                    <a:lnTo>
                      <a:pt x="681" y="927"/>
                    </a:lnTo>
                    <a:lnTo>
                      <a:pt x="681" y="927"/>
                    </a:lnTo>
                    <a:lnTo>
                      <a:pt x="683" y="925"/>
                    </a:lnTo>
                    <a:lnTo>
                      <a:pt x="683" y="923"/>
                    </a:lnTo>
                    <a:lnTo>
                      <a:pt x="684" y="921"/>
                    </a:lnTo>
                    <a:lnTo>
                      <a:pt x="684" y="919"/>
                    </a:lnTo>
                    <a:lnTo>
                      <a:pt x="686" y="917"/>
                    </a:lnTo>
                    <a:lnTo>
                      <a:pt x="686" y="914"/>
                    </a:lnTo>
                    <a:lnTo>
                      <a:pt x="686" y="912"/>
                    </a:lnTo>
                    <a:lnTo>
                      <a:pt x="684" y="908"/>
                    </a:lnTo>
                    <a:lnTo>
                      <a:pt x="683" y="904"/>
                    </a:lnTo>
                    <a:lnTo>
                      <a:pt x="683" y="902"/>
                    </a:lnTo>
                    <a:lnTo>
                      <a:pt x="681" y="900"/>
                    </a:lnTo>
                    <a:lnTo>
                      <a:pt x="681" y="898"/>
                    </a:lnTo>
                    <a:lnTo>
                      <a:pt x="681" y="895"/>
                    </a:lnTo>
                    <a:lnTo>
                      <a:pt x="683" y="889"/>
                    </a:lnTo>
                    <a:lnTo>
                      <a:pt x="686" y="874"/>
                    </a:lnTo>
                    <a:lnTo>
                      <a:pt x="688" y="872"/>
                    </a:lnTo>
                    <a:lnTo>
                      <a:pt x="688" y="872"/>
                    </a:lnTo>
                    <a:lnTo>
                      <a:pt x="690" y="870"/>
                    </a:lnTo>
                    <a:lnTo>
                      <a:pt x="690" y="868"/>
                    </a:lnTo>
                    <a:lnTo>
                      <a:pt x="688" y="868"/>
                    </a:lnTo>
                    <a:lnTo>
                      <a:pt x="686" y="866"/>
                    </a:lnTo>
                    <a:lnTo>
                      <a:pt x="684" y="864"/>
                    </a:lnTo>
                    <a:lnTo>
                      <a:pt x="683" y="862"/>
                    </a:lnTo>
                    <a:lnTo>
                      <a:pt x="683" y="860"/>
                    </a:lnTo>
                    <a:lnTo>
                      <a:pt x="681" y="858"/>
                    </a:lnTo>
                    <a:lnTo>
                      <a:pt x="681" y="856"/>
                    </a:lnTo>
                    <a:lnTo>
                      <a:pt x="679" y="853"/>
                    </a:lnTo>
                    <a:lnTo>
                      <a:pt x="679" y="847"/>
                    </a:lnTo>
                    <a:lnTo>
                      <a:pt x="679" y="843"/>
                    </a:lnTo>
                    <a:lnTo>
                      <a:pt x="677" y="841"/>
                    </a:lnTo>
                    <a:lnTo>
                      <a:pt x="675" y="839"/>
                    </a:lnTo>
                    <a:lnTo>
                      <a:pt x="673" y="839"/>
                    </a:lnTo>
                    <a:lnTo>
                      <a:pt x="671" y="837"/>
                    </a:lnTo>
                    <a:lnTo>
                      <a:pt x="669" y="837"/>
                    </a:lnTo>
                    <a:lnTo>
                      <a:pt x="664" y="839"/>
                    </a:lnTo>
                    <a:lnTo>
                      <a:pt x="662" y="839"/>
                    </a:lnTo>
                    <a:lnTo>
                      <a:pt x="660" y="837"/>
                    </a:lnTo>
                    <a:lnTo>
                      <a:pt x="660" y="837"/>
                    </a:lnTo>
                    <a:lnTo>
                      <a:pt x="660" y="836"/>
                    </a:lnTo>
                    <a:lnTo>
                      <a:pt x="662" y="834"/>
                    </a:lnTo>
                    <a:lnTo>
                      <a:pt x="662" y="832"/>
                    </a:lnTo>
                    <a:lnTo>
                      <a:pt x="664" y="830"/>
                    </a:lnTo>
                    <a:lnTo>
                      <a:pt x="664" y="828"/>
                    </a:lnTo>
                    <a:lnTo>
                      <a:pt x="664" y="826"/>
                    </a:lnTo>
                    <a:lnTo>
                      <a:pt x="664" y="824"/>
                    </a:lnTo>
                    <a:lnTo>
                      <a:pt x="671" y="818"/>
                    </a:lnTo>
                    <a:lnTo>
                      <a:pt x="673" y="817"/>
                    </a:lnTo>
                    <a:lnTo>
                      <a:pt x="675" y="815"/>
                    </a:lnTo>
                    <a:lnTo>
                      <a:pt x="673" y="811"/>
                    </a:lnTo>
                    <a:lnTo>
                      <a:pt x="673" y="811"/>
                    </a:lnTo>
                    <a:lnTo>
                      <a:pt x="671" y="809"/>
                    </a:lnTo>
                    <a:lnTo>
                      <a:pt x="658" y="805"/>
                    </a:lnTo>
                    <a:lnTo>
                      <a:pt x="658" y="805"/>
                    </a:lnTo>
                    <a:lnTo>
                      <a:pt x="658" y="803"/>
                    </a:lnTo>
                    <a:lnTo>
                      <a:pt x="658" y="801"/>
                    </a:lnTo>
                    <a:lnTo>
                      <a:pt x="658" y="801"/>
                    </a:lnTo>
                    <a:lnTo>
                      <a:pt x="658" y="799"/>
                    </a:lnTo>
                    <a:lnTo>
                      <a:pt x="662" y="794"/>
                    </a:lnTo>
                    <a:lnTo>
                      <a:pt x="665" y="782"/>
                    </a:lnTo>
                    <a:lnTo>
                      <a:pt x="665" y="780"/>
                    </a:lnTo>
                    <a:lnTo>
                      <a:pt x="665" y="778"/>
                    </a:lnTo>
                    <a:lnTo>
                      <a:pt x="665" y="777"/>
                    </a:lnTo>
                    <a:lnTo>
                      <a:pt x="664" y="773"/>
                    </a:lnTo>
                    <a:lnTo>
                      <a:pt x="665" y="769"/>
                    </a:lnTo>
                    <a:lnTo>
                      <a:pt x="665" y="767"/>
                    </a:lnTo>
                    <a:lnTo>
                      <a:pt x="665" y="767"/>
                    </a:lnTo>
                    <a:lnTo>
                      <a:pt x="667" y="767"/>
                    </a:lnTo>
                    <a:lnTo>
                      <a:pt x="667" y="767"/>
                    </a:lnTo>
                    <a:lnTo>
                      <a:pt x="669" y="769"/>
                    </a:lnTo>
                    <a:lnTo>
                      <a:pt x="669" y="773"/>
                    </a:lnTo>
                    <a:lnTo>
                      <a:pt x="669" y="775"/>
                    </a:lnTo>
                    <a:lnTo>
                      <a:pt x="671" y="775"/>
                    </a:lnTo>
                    <a:lnTo>
                      <a:pt x="673" y="777"/>
                    </a:lnTo>
                    <a:lnTo>
                      <a:pt x="673" y="777"/>
                    </a:lnTo>
                    <a:lnTo>
                      <a:pt x="675" y="780"/>
                    </a:lnTo>
                    <a:lnTo>
                      <a:pt x="675" y="782"/>
                    </a:lnTo>
                    <a:lnTo>
                      <a:pt x="677" y="782"/>
                    </a:lnTo>
                    <a:lnTo>
                      <a:pt x="679" y="782"/>
                    </a:lnTo>
                    <a:lnTo>
                      <a:pt x="683" y="782"/>
                    </a:lnTo>
                    <a:lnTo>
                      <a:pt x="684" y="782"/>
                    </a:lnTo>
                    <a:lnTo>
                      <a:pt x="686" y="782"/>
                    </a:lnTo>
                    <a:lnTo>
                      <a:pt x="688" y="780"/>
                    </a:lnTo>
                    <a:lnTo>
                      <a:pt x="688" y="778"/>
                    </a:lnTo>
                    <a:lnTo>
                      <a:pt x="690" y="777"/>
                    </a:lnTo>
                    <a:lnTo>
                      <a:pt x="690" y="775"/>
                    </a:lnTo>
                    <a:lnTo>
                      <a:pt x="690" y="773"/>
                    </a:lnTo>
                    <a:lnTo>
                      <a:pt x="690" y="771"/>
                    </a:lnTo>
                    <a:lnTo>
                      <a:pt x="690" y="769"/>
                    </a:lnTo>
                    <a:lnTo>
                      <a:pt x="690" y="767"/>
                    </a:lnTo>
                    <a:lnTo>
                      <a:pt x="690" y="767"/>
                    </a:lnTo>
                    <a:lnTo>
                      <a:pt x="688" y="765"/>
                    </a:lnTo>
                    <a:lnTo>
                      <a:pt x="688" y="765"/>
                    </a:lnTo>
                    <a:lnTo>
                      <a:pt x="686" y="765"/>
                    </a:lnTo>
                    <a:lnTo>
                      <a:pt x="686" y="765"/>
                    </a:lnTo>
                    <a:lnTo>
                      <a:pt x="684" y="767"/>
                    </a:lnTo>
                    <a:lnTo>
                      <a:pt x="683" y="765"/>
                    </a:lnTo>
                    <a:lnTo>
                      <a:pt x="681" y="765"/>
                    </a:lnTo>
                    <a:lnTo>
                      <a:pt x="679" y="765"/>
                    </a:lnTo>
                    <a:lnTo>
                      <a:pt x="675" y="765"/>
                    </a:lnTo>
                    <a:lnTo>
                      <a:pt x="673" y="765"/>
                    </a:lnTo>
                    <a:lnTo>
                      <a:pt x="673" y="763"/>
                    </a:lnTo>
                    <a:lnTo>
                      <a:pt x="673" y="763"/>
                    </a:lnTo>
                    <a:lnTo>
                      <a:pt x="673" y="759"/>
                    </a:lnTo>
                    <a:lnTo>
                      <a:pt x="673" y="758"/>
                    </a:lnTo>
                    <a:lnTo>
                      <a:pt x="673" y="756"/>
                    </a:lnTo>
                    <a:lnTo>
                      <a:pt x="673" y="754"/>
                    </a:lnTo>
                    <a:lnTo>
                      <a:pt x="671" y="748"/>
                    </a:lnTo>
                    <a:lnTo>
                      <a:pt x="671" y="746"/>
                    </a:lnTo>
                    <a:lnTo>
                      <a:pt x="671" y="746"/>
                    </a:lnTo>
                    <a:lnTo>
                      <a:pt x="675" y="746"/>
                    </a:lnTo>
                    <a:lnTo>
                      <a:pt x="677" y="746"/>
                    </a:lnTo>
                    <a:lnTo>
                      <a:pt x="679" y="748"/>
                    </a:lnTo>
                    <a:lnTo>
                      <a:pt x="681" y="750"/>
                    </a:lnTo>
                    <a:lnTo>
                      <a:pt x="681" y="750"/>
                    </a:lnTo>
                    <a:lnTo>
                      <a:pt x="683" y="752"/>
                    </a:lnTo>
                    <a:lnTo>
                      <a:pt x="683" y="752"/>
                    </a:lnTo>
                    <a:lnTo>
                      <a:pt x="684" y="752"/>
                    </a:lnTo>
                    <a:lnTo>
                      <a:pt x="688" y="754"/>
                    </a:lnTo>
                    <a:lnTo>
                      <a:pt x="688" y="756"/>
                    </a:lnTo>
                    <a:lnTo>
                      <a:pt x="690" y="756"/>
                    </a:lnTo>
                    <a:lnTo>
                      <a:pt x="692" y="756"/>
                    </a:lnTo>
                    <a:lnTo>
                      <a:pt x="694" y="756"/>
                    </a:lnTo>
                    <a:lnTo>
                      <a:pt x="696" y="754"/>
                    </a:lnTo>
                    <a:lnTo>
                      <a:pt x="700" y="752"/>
                    </a:lnTo>
                    <a:lnTo>
                      <a:pt x="700" y="750"/>
                    </a:lnTo>
                    <a:lnTo>
                      <a:pt x="700" y="750"/>
                    </a:lnTo>
                    <a:lnTo>
                      <a:pt x="702" y="752"/>
                    </a:lnTo>
                    <a:lnTo>
                      <a:pt x="704" y="752"/>
                    </a:lnTo>
                    <a:lnTo>
                      <a:pt x="704" y="752"/>
                    </a:lnTo>
                    <a:lnTo>
                      <a:pt x="705" y="752"/>
                    </a:lnTo>
                    <a:lnTo>
                      <a:pt x="705" y="750"/>
                    </a:lnTo>
                    <a:lnTo>
                      <a:pt x="705" y="750"/>
                    </a:lnTo>
                    <a:lnTo>
                      <a:pt x="707" y="746"/>
                    </a:lnTo>
                    <a:lnTo>
                      <a:pt x="705" y="744"/>
                    </a:lnTo>
                    <a:lnTo>
                      <a:pt x="705" y="740"/>
                    </a:lnTo>
                    <a:lnTo>
                      <a:pt x="705" y="739"/>
                    </a:lnTo>
                    <a:lnTo>
                      <a:pt x="705" y="739"/>
                    </a:lnTo>
                    <a:lnTo>
                      <a:pt x="705" y="739"/>
                    </a:lnTo>
                    <a:lnTo>
                      <a:pt x="707" y="737"/>
                    </a:lnTo>
                    <a:lnTo>
                      <a:pt x="709" y="735"/>
                    </a:lnTo>
                    <a:lnTo>
                      <a:pt x="709" y="735"/>
                    </a:lnTo>
                    <a:lnTo>
                      <a:pt x="709" y="735"/>
                    </a:lnTo>
                    <a:lnTo>
                      <a:pt x="709" y="733"/>
                    </a:lnTo>
                    <a:lnTo>
                      <a:pt x="709" y="731"/>
                    </a:lnTo>
                    <a:lnTo>
                      <a:pt x="709" y="731"/>
                    </a:lnTo>
                    <a:lnTo>
                      <a:pt x="711" y="731"/>
                    </a:lnTo>
                    <a:lnTo>
                      <a:pt x="713" y="731"/>
                    </a:lnTo>
                    <a:lnTo>
                      <a:pt x="719" y="731"/>
                    </a:lnTo>
                    <a:lnTo>
                      <a:pt x="723" y="731"/>
                    </a:lnTo>
                    <a:lnTo>
                      <a:pt x="728" y="729"/>
                    </a:lnTo>
                    <a:lnTo>
                      <a:pt x="732" y="729"/>
                    </a:lnTo>
                    <a:lnTo>
                      <a:pt x="732" y="729"/>
                    </a:lnTo>
                    <a:lnTo>
                      <a:pt x="734" y="729"/>
                    </a:lnTo>
                    <a:lnTo>
                      <a:pt x="734" y="729"/>
                    </a:lnTo>
                    <a:lnTo>
                      <a:pt x="734" y="729"/>
                    </a:lnTo>
                    <a:lnTo>
                      <a:pt x="734" y="731"/>
                    </a:lnTo>
                    <a:lnTo>
                      <a:pt x="732" y="733"/>
                    </a:lnTo>
                    <a:lnTo>
                      <a:pt x="730" y="737"/>
                    </a:lnTo>
                    <a:lnTo>
                      <a:pt x="730" y="739"/>
                    </a:lnTo>
                    <a:lnTo>
                      <a:pt x="730" y="739"/>
                    </a:lnTo>
                    <a:lnTo>
                      <a:pt x="730" y="740"/>
                    </a:lnTo>
                    <a:lnTo>
                      <a:pt x="734" y="742"/>
                    </a:lnTo>
                    <a:lnTo>
                      <a:pt x="734" y="744"/>
                    </a:lnTo>
                    <a:lnTo>
                      <a:pt x="734" y="746"/>
                    </a:lnTo>
                    <a:lnTo>
                      <a:pt x="732" y="746"/>
                    </a:lnTo>
                    <a:lnTo>
                      <a:pt x="732" y="746"/>
                    </a:lnTo>
                    <a:lnTo>
                      <a:pt x="730" y="746"/>
                    </a:lnTo>
                    <a:lnTo>
                      <a:pt x="728" y="746"/>
                    </a:lnTo>
                    <a:lnTo>
                      <a:pt x="726" y="746"/>
                    </a:lnTo>
                    <a:lnTo>
                      <a:pt x="726" y="744"/>
                    </a:lnTo>
                    <a:lnTo>
                      <a:pt x="725" y="746"/>
                    </a:lnTo>
                    <a:lnTo>
                      <a:pt x="725" y="746"/>
                    </a:lnTo>
                    <a:lnTo>
                      <a:pt x="725" y="746"/>
                    </a:lnTo>
                    <a:lnTo>
                      <a:pt x="725" y="748"/>
                    </a:lnTo>
                    <a:lnTo>
                      <a:pt x="725" y="748"/>
                    </a:lnTo>
                    <a:lnTo>
                      <a:pt x="725" y="750"/>
                    </a:lnTo>
                    <a:lnTo>
                      <a:pt x="726" y="752"/>
                    </a:lnTo>
                    <a:lnTo>
                      <a:pt x="730" y="752"/>
                    </a:lnTo>
                    <a:lnTo>
                      <a:pt x="734" y="752"/>
                    </a:lnTo>
                    <a:lnTo>
                      <a:pt x="736" y="752"/>
                    </a:lnTo>
                    <a:lnTo>
                      <a:pt x="742" y="750"/>
                    </a:lnTo>
                    <a:lnTo>
                      <a:pt x="744" y="750"/>
                    </a:lnTo>
                    <a:lnTo>
                      <a:pt x="744" y="750"/>
                    </a:lnTo>
                    <a:lnTo>
                      <a:pt x="744" y="752"/>
                    </a:lnTo>
                    <a:lnTo>
                      <a:pt x="744" y="752"/>
                    </a:lnTo>
                    <a:lnTo>
                      <a:pt x="744" y="754"/>
                    </a:lnTo>
                    <a:lnTo>
                      <a:pt x="744" y="754"/>
                    </a:lnTo>
                    <a:lnTo>
                      <a:pt x="742" y="756"/>
                    </a:lnTo>
                    <a:lnTo>
                      <a:pt x="740" y="758"/>
                    </a:lnTo>
                    <a:lnTo>
                      <a:pt x="738" y="758"/>
                    </a:lnTo>
                    <a:lnTo>
                      <a:pt x="736" y="758"/>
                    </a:lnTo>
                    <a:lnTo>
                      <a:pt x="734" y="759"/>
                    </a:lnTo>
                    <a:lnTo>
                      <a:pt x="730" y="759"/>
                    </a:lnTo>
                    <a:lnTo>
                      <a:pt x="728" y="759"/>
                    </a:lnTo>
                    <a:lnTo>
                      <a:pt x="726" y="758"/>
                    </a:lnTo>
                    <a:lnTo>
                      <a:pt x="725" y="758"/>
                    </a:lnTo>
                    <a:lnTo>
                      <a:pt x="723" y="756"/>
                    </a:lnTo>
                    <a:lnTo>
                      <a:pt x="721" y="752"/>
                    </a:lnTo>
                    <a:lnTo>
                      <a:pt x="719" y="752"/>
                    </a:lnTo>
                    <a:lnTo>
                      <a:pt x="717" y="752"/>
                    </a:lnTo>
                    <a:lnTo>
                      <a:pt x="717" y="752"/>
                    </a:lnTo>
                    <a:lnTo>
                      <a:pt x="717" y="752"/>
                    </a:lnTo>
                    <a:lnTo>
                      <a:pt x="717" y="754"/>
                    </a:lnTo>
                    <a:lnTo>
                      <a:pt x="717" y="756"/>
                    </a:lnTo>
                    <a:lnTo>
                      <a:pt x="719" y="758"/>
                    </a:lnTo>
                    <a:lnTo>
                      <a:pt x="719" y="759"/>
                    </a:lnTo>
                    <a:lnTo>
                      <a:pt x="721" y="761"/>
                    </a:lnTo>
                    <a:lnTo>
                      <a:pt x="719" y="763"/>
                    </a:lnTo>
                    <a:lnTo>
                      <a:pt x="719" y="763"/>
                    </a:lnTo>
                    <a:lnTo>
                      <a:pt x="717" y="767"/>
                    </a:lnTo>
                    <a:lnTo>
                      <a:pt x="715" y="767"/>
                    </a:lnTo>
                    <a:lnTo>
                      <a:pt x="715" y="769"/>
                    </a:lnTo>
                    <a:lnTo>
                      <a:pt x="715" y="771"/>
                    </a:lnTo>
                    <a:lnTo>
                      <a:pt x="717" y="773"/>
                    </a:lnTo>
                    <a:lnTo>
                      <a:pt x="717" y="773"/>
                    </a:lnTo>
                    <a:lnTo>
                      <a:pt x="719" y="775"/>
                    </a:lnTo>
                    <a:lnTo>
                      <a:pt x="721" y="775"/>
                    </a:lnTo>
                    <a:lnTo>
                      <a:pt x="725" y="775"/>
                    </a:lnTo>
                    <a:lnTo>
                      <a:pt x="728" y="775"/>
                    </a:lnTo>
                    <a:lnTo>
                      <a:pt x="732" y="775"/>
                    </a:lnTo>
                    <a:lnTo>
                      <a:pt x="736" y="775"/>
                    </a:lnTo>
                    <a:lnTo>
                      <a:pt x="742" y="777"/>
                    </a:lnTo>
                    <a:lnTo>
                      <a:pt x="746" y="778"/>
                    </a:lnTo>
                    <a:lnTo>
                      <a:pt x="749" y="778"/>
                    </a:lnTo>
                    <a:lnTo>
                      <a:pt x="763" y="775"/>
                    </a:lnTo>
                    <a:lnTo>
                      <a:pt x="768" y="775"/>
                    </a:lnTo>
                    <a:lnTo>
                      <a:pt x="774" y="773"/>
                    </a:lnTo>
                    <a:lnTo>
                      <a:pt x="784" y="767"/>
                    </a:lnTo>
                    <a:lnTo>
                      <a:pt x="786" y="767"/>
                    </a:lnTo>
                    <a:lnTo>
                      <a:pt x="787" y="767"/>
                    </a:lnTo>
                    <a:lnTo>
                      <a:pt x="789" y="767"/>
                    </a:lnTo>
                    <a:lnTo>
                      <a:pt x="789" y="769"/>
                    </a:lnTo>
                    <a:lnTo>
                      <a:pt x="791" y="769"/>
                    </a:lnTo>
                    <a:lnTo>
                      <a:pt x="795" y="775"/>
                    </a:lnTo>
                    <a:lnTo>
                      <a:pt x="797" y="778"/>
                    </a:lnTo>
                    <a:lnTo>
                      <a:pt x="795" y="780"/>
                    </a:lnTo>
                    <a:lnTo>
                      <a:pt x="795" y="782"/>
                    </a:lnTo>
                    <a:lnTo>
                      <a:pt x="795" y="782"/>
                    </a:lnTo>
                    <a:lnTo>
                      <a:pt x="797" y="784"/>
                    </a:lnTo>
                    <a:lnTo>
                      <a:pt x="799" y="788"/>
                    </a:lnTo>
                    <a:lnTo>
                      <a:pt x="803" y="792"/>
                    </a:lnTo>
                    <a:lnTo>
                      <a:pt x="803" y="803"/>
                    </a:lnTo>
                    <a:lnTo>
                      <a:pt x="803" y="805"/>
                    </a:lnTo>
                    <a:lnTo>
                      <a:pt x="803" y="805"/>
                    </a:lnTo>
                    <a:lnTo>
                      <a:pt x="803" y="807"/>
                    </a:lnTo>
                    <a:lnTo>
                      <a:pt x="801" y="809"/>
                    </a:lnTo>
                    <a:lnTo>
                      <a:pt x="801" y="809"/>
                    </a:lnTo>
                    <a:lnTo>
                      <a:pt x="799" y="809"/>
                    </a:lnTo>
                    <a:lnTo>
                      <a:pt x="797" y="809"/>
                    </a:lnTo>
                    <a:lnTo>
                      <a:pt x="793" y="807"/>
                    </a:lnTo>
                    <a:lnTo>
                      <a:pt x="791" y="805"/>
                    </a:lnTo>
                    <a:lnTo>
                      <a:pt x="789" y="807"/>
                    </a:lnTo>
                    <a:lnTo>
                      <a:pt x="787" y="807"/>
                    </a:lnTo>
                    <a:lnTo>
                      <a:pt x="787" y="809"/>
                    </a:lnTo>
                    <a:lnTo>
                      <a:pt x="786" y="815"/>
                    </a:lnTo>
                    <a:lnTo>
                      <a:pt x="786" y="817"/>
                    </a:lnTo>
                    <a:lnTo>
                      <a:pt x="786" y="818"/>
                    </a:lnTo>
                    <a:lnTo>
                      <a:pt x="786" y="818"/>
                    </a:lnTo>
                    <a:lnTo>
                      <a:pt x="787" y="826"/>
                    </a:lnTo>
                    <a:lnTo>
                      <a:pt x="787" y="828"/>
                    </a:lnTo>
                    <a:lnTo>
                      <a:pt x="789" y="828"/>
                    </a:lnTo>
                    <a:lnTo>
                      <a:pt x="789" y="830"/>
                    </a:lnTo>
                    <a:lnTo>
                      <a:pt x="791" y="830"/>
                    </a:lnTo>
                    <a:lnTo>
                      <a:pt x="793" y="830"/>
                    </a:lnTo>
                    <a:lnTo>
                      <a:pt x="793" y="832"/>
                    </a:lnTo>
                    <a:lnTo>
                      <a:pt x="793" y="832"/>
                    </a:lnTo>
                    <a:lnTo>
                      <a:pt x="795" y="834"/>
                    </a:lnTo>
                    <a:lnTo>
                      <a:pt x="793" y="837"/>
                    </a:lnTo>
                    <a:lnTo>
                      <a:pt x="793" y="839"/>
                    </a:lnTo>
                    <a:lnTo>
                      <a:pt x="789" y="845"/>
                    </a:lnTo>
                    <a:lnTo>
                      <a:pt x="787" y="849"/>
                    </a:lnTo>
                    <a:lnTo>
                      <a:pt x="787" y="851"/>
                    </a:lnTo>
                    <a:lnTo>
                      <a:pt x="787" y="853"/>
                    </a:lnTo>
                    <a:lnTo>
                      <a:pt x="789" y="855"/>
                    </a:lnTo>
                    <a:lnTo>
                      <a:pt x="795" y="858"/>
                    </a:lnTo>
                    <a:lnTo>
                      <a:pt x="795" y="858"/>
                    </a:lnTo>
                    <a:lnTo>
                      <a:pt x="795" y="860"/>
                    </a:lnTo>
                    <a:lnTo>
                      <a:pt x="793" y="862"/>
                    </a:lnTo>
                    <a:lnTo>
                      <a:pt x="789" y="866"/>
                    </a:lnTo>
                    <a:lnTo>
                      <a:pt x="787" y="870"/>
                    </a:lnTo>
                    <a:lnTo>
                      <a:pt x="787" y="872"/>
                    </a:lnTo>
                    <a:lnTo>
                      <a:pt x="786" y="874"/>
                    </a:lnTo>
                    <a:lnTo>
                      <a:pt x="786" y="874"/>
                    </a:lnTo>
                    <a:lnTo>
                      <a:pt x="784" y="874"/>
                    </a:lnTo>
                    <a:lnTo>
                      <a:pt x="784" y="874"/>
                    </a:lnTo>
                    <a:lnTo>
                      <a:pt x="784" y="874"/>
                    </a:lnTo>
                    <a:lnTo>
                      <a:pt x="780" y="872"/>
                    </a:lnTo>
                    <a:lnTo>
                      <a:pt x="780" y="872"/>
                    </a:lnTo>
                    <a:lnTo>
                      <a:pt x="778" y="872"/>
                    </a:lnTo>
                    <a:lnTo>
                      <a:pt x="774" y="874"/>
                    </a:lnTo>
                    <a:lnTo>
                      <a:pt x="772" y="876"/>
                    </a:lnTo>
                    <a:lnTo>
                      <a:pt x="772" y="876"/>
                    </a:lnTo>
                    <a:lnTo>
                      <a:pt x="770" y="874"/>
                    </a:lnTo>
                    <a:lnTo>
                      <a:pt x="768" y="874"/>
                    </a:lnTo>
                    <a:lnTo>
                      <a:pt x="766" y="872"/>
                    </a:lnTo>
                    <a:lnTo>
                      <a:pt x="765" y="872"/>
                    </a:lnTo>
                    <a:lnTo>
                      <a:pt x="765" y="872"/>
                    </a:lnTo>
                    <a:lnTo>
                      <a:pt x="763" y="870"/>
                    </a:lnTo>
                    <a:lnTo>
                      <a:pt x="761" y="868"/>
                    </a:lnTo>
                    <a:lnTo>
                      <a:pt x="761" y="868"/>
                    </a:lnTo>
                    <a:lnTo>
                      <a:pt x="759" y="868"/>
                    </a:lnTo>
                    <a:lnTo>
                      <a:pt x="757" y="870"/>
                    </a:lnTo>
                    <a:lnTo>
                      <a:pt x="757" y="872"/>
                    </a:lnTo>
                    <a:lnTo>
                      <a:pt x="755" y="876"/>
                    </a:lnTo>
                    <a:lnTo>
                      <a:pt x="755" y="877"/>
                    </a:lnTo>
                    <a:lnTo>
                      <a:pt x="755" y="883"/>
                    </a:lnTo>
                    <a:lnTo>
                      <a:pt x="757" y="885"/>
                    </a:lnTo>
                    <a:lnTo>
                      <a:pt x="757" y="885"/>
                    </a:lnTo>
                    <a:lnTo>
                      <a:pt x="759" y="887"/>
                    </a:lnTo>
                    <a:lnTo>
                      <a:pt x="766" y="891"/>
                    </a:lnTo>
                    <a:lnTo>
                      <a:pt x="766" y="893"/>
                    </a:lnTo>
                    <a:lnTo>
                      <a:pt x="766" y="895"/>
                    </a:lnTo>
                    <a:lnTo>
                      <a:pt x="768" y="896"/>
                    </a:lnTo>
                    <a:lnTo>
                      <a:pt x="768" y="898"/>
                    </a:lnTo>
                    <a:lnTo>
                      <a:pt x="774" y="900"/>
                    </a:lnTo>
                    <a:lnTo>
                      <a:pt x="776" y="900"/>
                    </a:lnTo>
                    <a:lnTo>
                      <a:pt x="776" y="900"/>
                    </a:lnTo>
                    <a:lnTo>
                      <a:pt x="780" y="902"/>
                    </a:lnTo>
                    <a:lnTo>
                      <a:pt x="780" y="902"/>
                    </a:lnTo>
                    <a:lnTo>
                      <a:pt x="782" y="902"/>
                    </a:lnTo>
                    <a:lnTo>
                      <a:pt x="782" y="900"/>
                    </a:lnTo>
                    <a:lnTo>
                      <a:pt x="782" y="900"/>
                    </a:lnTo>
                    <a:lnTo>
                      <a:pt x="782" y="898"/>
                    </a:lnTo>
                    <a:lnTo>
                      <a:pt x="784" y="896"/>
                    </a:lnTo>
                    <a:lnTo>
                      <a:pt x="784" y="893"/>
                    </a:lnTo>
                    <a:lnTo>
                      <a:pt x="786" y="893"/>
                    </a:lnTo>
                    <a:lnTo>
                      <a:pt x="786" y="891"/>
                    </a:lnTo>
                    <a:lnTo>
                      <a:pt x="784" y="889"/>
                    </a:lnTo>
                    <a:lnTo>
                      <a:pt x="784" y="887"/>
                    </a:lnTo>
                    <a:lnTo>
                      <a:pt x="784" y="887"/>
                    </a:lnTo>
                    <a:lnTo>
                      <a:pt x="786" y="885"/>
                    </a:lnTo>
                    <a:lnTo>
                      <a:pt x="786" y="885"/>
                    </a:lnTo>
                    <a:lnTo>
                      <a:pt x="787" y="887"/>
                    </a:lnTo>
                    <a:lnTo>
                      <a:pt x="787" y="887"/>
                    </a:lnTo>
                    <a:lnTo>
                      <a:pt x="789" y="889"/>
                    </a:lnTo>
                    <a:lnTo>
                      <a:pt x="791" y="891"/>
                    </a:lnTo>
                    <a:lnTo>
                      <a:pt x="793" y="891"/>
                    </a:lnTo>
                    <a:lnTo>
                      <a:pt x="795" y="889"/>
                    </a:lnTo>
                    <a:lnTo>
                      <a:pt x="799" y="887"/>
                    </a:lnTo>
                    <a:lnTo>
                      <a:pt x="807" y="885"/>
                    </a:lnTo>
                    <a:lnTo>
                      <a:pt x="816" y="879"/>
                    </a:lnTo>
                    <a:lnTo>
                      <a:pt x="818" y="879"/>
                    </a:lnTo>
                    <a:lnTo>
                      <a:pt x="818" y="877"/>
                    </a:lnTo>
                    <a:lnTo>
                      <a:pt x="818" y="876"/>
                    </a:lnTo>
                    <a:lnTo>
                      <a:pt x="820" y="876"/>
                    </a:lnTo>
                    <a:lnTo>
                      <a:pt x="820" y="874"/>
                    </a:lnTo>
                    <a:lnTo>
                      <a:pt x="820" y="874"/>
                    </a:lnTo>
                    <a:lnTo>
                      <a:pt x="818" y="874"/>
                    </a:lnTo>
                    <a:lnTo>
                      <a:pt x="818" y="872"/>
                    </a:lnTo>
                    <a:lnTo>
                      <a:pt x="816" y="870"/>
                    </a:lnTo>
                    <a:lnTo>
                      <a:pt x="816" y="870"/>
                    </a:lnTo>
                    <a:lnTo>
                      <a:pt x="818" y="868"/>
                    </a:lnTo>
                    <a:lnTo>
                      <a:pt x="829" y="860"/>
                    </a:lnTo>
                    <a:lnTo>
                      <a:pt x="833" y="856"/>
                    </a:lnTo>
                    <a:lnTo>
                      <a:pt x="833" y="853"/>
                    </a:lnTo>
                    <a:lnTo>
                      <a:pt x="833" y="853"/>
                    </a:lnTo>
                    <a:lnTo>
                      <a:pt x="833" y="849"/>
                    </a:lnTo>
                    <a:lnTo>
                      <a:pt x="833" y="847"/>
                    </a:lnTo>
                    <a:lnTo>
                      <a:pt x="833" y="843"/>
                    </a:lnTo>
                    <a:lnTo>
                      <a:pt x="833" y="839"/>
                    </a:lnTo>
                    <a:lnTo>
                      <a:pt x="833" y="837"/>
                    </a:lnTo>
                    <a:lnTo>
                      <a:pt x="835" y="836"/>
                    </a:lnTo>
                    <a:lnTo>
                      <a:pt x="835" y="832"/>
                    </a:lnTo>
                    <a:lnTo>
                      <a:pt x="835" y="830"/>
                    </a:lnTo>
                    <a:lnTo>
                      <a:pt x="835" y="830"/>
                    </a:lnTo>
                    <a:lnTo>
                      <a:pt x="837" y="828"/>
                    </a:lnTo>
                    <a:lnTo>
                      <a:pt x="839" y="828"/>
                    </a:lnTo>
                    <a:lnTo>
                      <a:pt x="841" y="826"/>
                    </a:lnTo>
                    <a:lnTo>
                      <a:pt x="841" y="826"/>
                    </a:lnTo>
                    <a:lnTo>
                      <a:pt x="843" y="826"/>
                    </a:lnTo>
                    <a:lnTo>
                      <a:pt x="843" y="826"/>
                    </a:lnTo>
                    <a:lnTo>
                      <a:pt x="843" y="828"/>
                    </a:lnTo>
                    <a:lnTo>
                      <a:pt x="843" y="830"/>
                    </a:lnTo>
                    <a:lnTo>
                      <a:pt x="843" y="830"/>
                    </a:lnTo>
                    <a:lnTo>
                      <a:pt x="843" y="832"/>
                    </a:lnTo>
                    <a:lnTo>
                      <a:pt x="843" y="834"/>
                    </a:lnTo>
                    <a:lnTo>
                      <a:pt x="845" y="834"/>
                    </a:lnTo>
                    <a:lnTo>
                      <a:pt x="847" y="836"/>
                    </a:lnTo>
                    <a:lnTo>
                      <a:pt x="848" y="836"/>
                    </a:lnTo>
                    <a:lnTo>
                      <a:pt x="850" y="836"/>
                    </a:lnTo>
                    <a:lnTo>
                      <a:pt x="854" y="836"/>
                    </a:lnTo>
                    <a:lnTo>
                      <a:pt x="858" y="836"/>
                    </a:lnTo>
                    <a:lnTo>
                      <a:pt x="864" y="837"/>
                    </a:lnTo>
                    <a:lnTo>
                      <a:pt x="868" y="839"/>
                    </a:lnTo>
                    <a:lnTo>
                      <a:pt x="869" y="839"/>
                    </a:lnTo>
                    <a:lnTo>
                      <a:pt x="875" y="837"/>
                    </a:lnTo>
                    <a:lnTo>
                      <a:pt x="877" y="837"/>
                    </a:lnTo>
                    <a:lnTo>
                      <a:pt x="879" y="839"/>
                    </a:lnTo>
                    <a:lnTo>
                      <a:pt x="879" y="841"/>
                    </a:lnTo>
                    <a:lnTo>
                      <a:pt x="881" y="843"/>
                    </a:lnTo>
                    <a:lnTo>
                      <a:pt x="881" y="845"/>
                    </a:lnTo>
                    <a:lnTo>
                      <a:pt x="881" y="845"/>
                    </a:lnTo>
                    <a:lnTo>
                      <a:pt x="883" y="845"/>
                    </a:lnTo>
                    <a:lnTo>
                      <a:pt x="885" y="845"/>
                    </a:lnTo>
                    <a:lnTo>
                      <a:pt x="887" y="845"/>
                    </a:lnTo>
                    <a:lnTo>
                      <a:pt x="889" y="843"/>
                    </a:lnTo>
                    <a:lnTo>
                      <a:pt x="889" y="843"/>
                    </a:lnTo>
                    <a:lnTo>
                      <a:pt x="890" y="837"/>
                    </a:lnTo>
                    <a:lnTo>
                      <a:pt x="890" y="837"/>
                    </a:lnTo>
                    <a:lnTo>
                      <a:pt x="892" y="836"/>
                    </a:lnTo>
                    <a:lnTo>
                      <a:pt x="892" y="834"/>
                    </a:lnTo>
                    <a:lnTo>
                      <a:pt x="896" y="834"/>
                    </a:lnTo>
                    <a:lnTo>
                      <a:pt x="900" y="832"/>
                    </a:lnTo>
                    <a:lnTo>
                      <a:pt x="902" y="832"/>
                    </a:lnTo>
                    <a:lnTo>
                      <a:pt x="904" y="832"/>
                    </a:lnTo>
                    <a:lnTo>
                      <a:pt x="904" y="834"/>
                    </a:lnTo>
                    <a:lnTo>
                      <a:pt x="904" y="836"/>
                    </a:lnTo>
                    <a:lnTo>
                      <a:pt x="902" y="837"/>
                    </a:lnTo>
                    <a:lnTo>
                      <a:pt x="902" y="839"/>
                    </a:lnTo>
                    <a:lnTo>
                      <a:pt x="902" y="839"/>
                    </a:lnTo>
                    <a:lnTo>
                      <a:pt x="900" y="841"/>
                    </a:lnTo>
                    <a:lnTo>
                      <a:pt x="902" y="841"/>
                    </a:lnTo>
                    <a:lnTo>
                      <a:pt x="902" y="843"/>
                    </a:lnTo>
                    <a:lnTo>
                      <a:pt x="910" y="849"/>
                    </a:lnTo>
                    <a:lnTo>
                      <a:pt x="911" y="851"/>
                    </a:lnTo>
                    <a:lnTo>
                      <a:pt x="915" y="853"/>
                    </a:lnTo>
                    <a:lnTo>
                      <a:pt x="919" y="853"/>
                    </a:lnTo>
                    <a:lnTo>
                      <a:pt x="921" y="851"/>
                    </a:lnTo>
                    <a:lnTo>
                      <a:pt x="923" y="851"/>
                    </a:lnTo>
                    <a:lnTo>
                      <a:pt x="923" y="851"/>
                    </a:lnTo>
                    <a:lnTo>
                      <a:pt x="925" y="851"/>
                    </a:lnTo>
                    <a:lnTo>
                      <a:pt x="927" y="851"/>
                    </a:lnTo>
                    <a:lnTo>
                      <a:pt x="927" y="851"/>
                    </a:lnTo>
                    <a:lnTo>
                      <a:pt x="929" y="849"/>
                    </a:lnTo>
                    <a:lnTo>
                      <a:pt x="929" y="849"/>
                    </a:lnTo>
                    <a:lnTo>
                      <a:pt x="929" y="847"/>
                    </a:lnTo>
                    <a:lnTo>
                      <a:pt x="930" y="845"/>
                    </a:lnTo>
                    <a:lnTo>
                      <a:pt x="930" y="843"/>
                    </a:lnTo>
                    <a:lnTo>
                      <a:pt x="930" y="843"/>
                    </a:lnTo>
                    <a:lnTo>
                      <a:pt x="930" y="841"/>
                    </a:lnTo>
                    <a:lnTo>
                      <a:pt x="929" y="837"/>
                    </a:lnTo>
                    <a:lnTo>
                      <a:pt x="923" y="830"/>
                    </a:lnTo>
                    <a:lnTo>
                      <a:pt x="921" y="828"/>
                    </a:lnTo>
                    <a:lnTo>
                      <a:pt x="921" y="824"/>
                    </a:lnTo>
                    <a:lnTo>
                      <a:pt x="921" y="817"/>
                    </a:lnTo>
                    <a:lnTo>
                      <a:pt x="921" y="813"/>
                    </a:lnTo>
                    <a:lnTo>
                      <a:pt x="919" y="811"/>
                    </a:lnTo>
                    <a:lnTo>
                      <a:pt x="919" y="809"/>
                    </a:lnTo>
                    <a:lnTo>
                      <a:pt x="921" y="809"/>
                    </a:lnTo>
                    <a:lnTo>
                      <a:pt x="921" y="805"/>
                    </a:lnTo>
                    <a:lnTo>
                      <a:pt x="921" y="805"/>
                    </a:lnTo>
                    <a:lnTo>
                      <a:pt x="921" y="803"/>
                    </a:lnTo>
                    <a:lnTo>
                      <a:pt x="921" y="803"/>
                    </a:lnTo>
                    <a:lnTo>
                      <a:pt x="919" y="798"/>
                    </a:lnTo>
                    <a:lnTo>
                      <a:pt x="921" y="796"/>
                    </a:lnTo>
                    <a:lnTo>
                      <a:pt x="921" y="796"/>
                    </a:lnTo>
                    <a:lnTo>
                      <a:pt x="923" y="796"/>
                    </a:lnTo>
                    <a:lnTo>
                      <a:pt x="923" y="796"/>
                    </a:lnTo>
                    <a:lnTo>
                      <a:pt x="923" y="796"/>
                    </a:lnTo>
                    <a:lnTo>
                      <a:pt x="925" y="796"/>
                    </a:lnTo>
                    <a:lnTo>
                      <a:pt x="925" y="796"/>
                    </a:lnTo>
                    <a:lnTo>
                      <a:pt x="927" y="796"/>
                    </a:lnTo>
                    <a:lnTo>
                      <a:pt x="929" y="796"/>
                    </a:lnTo>
                    <a:lnTo>
                      <a:pt x="929" y="796"/>
                    </a:lnTo>
                    <a:lnTo>
                      <a:pt x="929" y="798"/>
                    </a:lnTo>
                    <a:lnTo>
                      <a:pt x="930" y="798"/>
                    </a:lnTo>
                    <a:lnTo>
                      <a:pt x="930" y="799"/>
                    </a:lnTo>
                    <a:lnTo>
                      <a:pt x="930" y="801"/>
                    </a:lnTo>
                    <a:lnTo>
                      <a:pt x="932" y="801"/>
                    </a:lnTo>
                    <a:lnTo>
                      <a:pt x="932" y="803"/>
                    </a:lnTo>
                    <a:lnTo>
                      <a:pt x="932" y="805"/>
                    </a:lnTo>
                    <a:lnTo>
                      <a:pt x="932" y="805"/>
                    </a:lnTo>
                    <a:lnTo>
                      <a:pt x="932" y="805"/>
                    </a:lnTo>
                    <a:lnTo>
                      <a:pt x="932" y="805"/>
                    </a:lnTo>
                    <a:lnTo>
                      <a:pt x="932" y="805"/>
                    </a:lnTo>
                    <a:lnTo>
                      <a:pt x="934" y="805"/>
                    </a:lnTo>
                    <a:lnTo>
                      <a:pt x="936" y="805"/>
                    </a:lnTo>
                    <a:lnTo>
                      <a:pt x="936" y="805"/>
                    </a:lnTo>
                    <a:lnTo>
                      <a:pt x="950" y="799"/>
                    </a:lnTo>
                    <a:lnTo>
                      <a:pt x="950" y="799"/>
                    </a:lnTo>
                    <a:lnTo>
                      <a:pt x="951" y="798"/>
                    </a:lnTo>
                    <a:lnTo>
                      <a:pt x="951" y="798"/>
                    </a:lnTo>
                    <a:lnTo>
                      <a:pt x="951" y="796"/>
                    </a:lnTo>
                    <a:lnTo>
                      <a:pt x="951" y="792"/>
                    </a:lnTo>
                    <a:lnTo>
                      <a:pt x="950" y="784"/>
                    </a:lnTo>
                    <a:lnTo>
                      <a:pt x="950" y="782"/>
                    </a:lnTo>
                    <a:lnTo>
                      <a:pt x="948" y="780"/>
                    </a:lnTo>
                    <a:lnTo>
                      <a:pt x="946" y="778"/>
                    </a:lnTo>
                    <a:lnTo>
                      <a:pt x="940" y="773"/>
                    </a:lnTo>
                    <a:lnTo>
                      <a:pt x="938" y="773"/>
                    </a:lnTo>
                    <a:lnTo>
                      <a:pt x="938" y="773"/>
                    </a:lnTo>
                    <a:lnTo>
                      <a:pt x="936" y="773"/>
                    </a:lnTo>
                    <a:lnTo>
                      <a:pt x="936" y="773"/>
                    </a:lnTo>
                    <a:lnTo>
                      <a:pt x="934" y="773"/>
                    </a:lnTo>
                    <a:lnTo>
                      <a:pt x="929" y="773"/>
                    </a:lnTo>
                    <a:lnTo>
                      <a:pt x="925" y="769"/>
                    </a:lnTo>
                    <a:lnTo>
                      <a:pt x="919" y="761"/>
                    </a:lnTo>
                    <a:lnTo>
                      <a:pt x="917" y="761"/>
                    </a:lnTo>
                    <a:lnTo>
                      <a:pt x="917" y="759"/>
                    </a:lnTo>
                    <a:lnTo>
                      <a:pt x="917" y="758"/>
                    </a:lnTo>
                    <a:lnTo>
                      <a:pt x="919" y="758"/>
                    </a:lnTo>
                    <a:lnTo>
                      <a:pt x="919" y="758"/>
                    </a:lnTo>
                    <a:lnTo>
                      <a:pt x="919" y="756"/>
                    </a:lnTo>
                    <a:lnTo>
                      <a:pt x="923" y="756"/>
                    </a:lnTo>
                    <a:lnTo>
                      <a:pt x="925" y="756"/>
                    </a:lnTo>
                    <a:lnTo>
                      <a:pt x="927" y="756"/>
                    </a:lnTo>
                    <a:lnTo>
                      <a:pt x="929" y="754"/>
                    </a:lnTo>
                    <a:lnTo>
                      <a:pt x="929" y="752"/>
                    </a:lnTo>
                    <a:lnTo>
                      <a:pt x="929" y="752"/>
                    </a:lnTo>
                    <a:lnTo>
                      <a:pt x="930" y="750"/>
                    </a:lnTo>
                    <a:lnTo>
                      <a:pt x="930" y="748"/>
                    </a:lnTo>
                    <a:lnTo>
                      <a:pt x="929" y="746"/>
                    </a:lnTo>
                    <a:lnTo>
                      <a:pt x="927" y="740"/>
                    </a:lnTo>
                    <a:lnTo>
                      <a:pt x="925" y="737"/>
                    </a:lnTo>
                    <a:lnTo>
                      <a:pt x="925" y="737"/>
                    </a:lnTo>
                    <a:lnTo>
                      <a:pt x="925" y="737"/>
                    </a:lnTo>
                    <a:lnTo>
                      <a:pt x="925" y="737"/>
                    </a:lnTo>
                    <a:lnTo>
                      <a:pt x="925" y="735"/>
                    </a:lnTo>
                    <a:lnTo>
                      <a:pt x="925" y="735"/>
                    </a:lnTo>
                    <a:lnTo>
                      <a:pt x="927" y="733"/>
                    </a:lnTo>
                    <a:lnTo>
                      <a:pt x="929" y="731"/>
                    </a:lnTo>
                    <a:lnTo>
                      <a:pt x="930" y="731"/>
                    </a:lnTo>
                    <a:lnTo>
                      <a:pt x="934" y="729"/>
                    </a:lnTo>
                    <a:lnTo>
                      <a:pt x="944" y="725"/>
                    </a:lnTo>
                    <a:lnTo>
                      <a:pt x="946" y="725"/>
                    </a:lnTo>
                    <a:lnTo>
                      <a:pt x="946" y="725"/>
                    </a:lnTo>
                    <a:lnTo>
                      <a:pt x="950" y="725"/>
                    </a:lnTo>
                    <a:lnTo>
                      <a:pt x="955" y="723"/>
                    </a:lnTo>
                    <a:lnTo>
                      <a:pt x="969" y="720"/>
                    </a:lnTo>
                    <a:lnTo>
                      <a:pt x="969" y="720"/>
                    </a:lnTo>
                    <a:lnTo>
                      <a:pt x="972" y="720"/>
                    </a:lnTo>
                    <a:lnTo>
                      <a:pt x="974" y="720"/>
                    </a:lnTo>
                    <a:lnTo>
                      <a:pt x="976" y="720"/>
                    </a:lnTo>
                    <a:lnTo>
                      <a:pt x="978" y="720"/>
                    </a:lnTo>
                    <a:lnTo>
                      <a:pt x="980" y="720"/>
                    </a:lnTo>
                    <a:lnTo>
                      <a:pt x="982" y="720"/>
                    </a:lnTo>
                    <a:lnTo>
                      <a:pt x="984" y="721"/>
                    </a:lnTo>
                    <a:lnTo>
                      <a:pt x="986" y="721"/>
                    </a:lnTo>
                    <a:lnTo>
                      <a:pt x="988" y="721"/>
                    </a:lnTo>
                    <a:lnTo>
                      <a:pt x="988" y="720"/>
                    </a:lnTo>
                    <a:lnTo>
                      <a:pt x="990" y="720"/>
                    </a:lnTo>
                    <a:lnTo>
                      <a:pt x="990" y="718"/>
                    </a:lnTo>
                    <a:lnTo>
                      <a:pt x="990" y="718"/>
                    </a:lnTo>
                    <a:lnTo>
                      <a:pt x="992" y="718"/>
                    </a:lnTo>
                    <a:lnTo>
                      <a:pt x="992" y="718"/>
                    </a:lnTo>
                    <a:lnTo>
                      <a:pt x="993" y="716"/>
                    </a:lnTo>
                    <a:lnTo>
                      <a:pt x="993" y="714"/>
                    </a:lnTo>
                    <a:lnTo>
                      <a:pt x="993" y="712"/>
                    </a:lnTo>
                    <a:lnTo>
                      <a:pt x="993" y="710"/>
                    </a:lnTo>
                    <a:lnTo>
                      <a:pt x="993" y="710"/>
                    </a:lnTo>
                    <a:lnTo>
                      <a:pt x="993" y="708"/>
                    </a:lnTo>
                    <a:lnTo>
                      <a:pt x="993" y="708"/>
                    </a:lnTo>
                    <a:lnTo>
                      <a:pt x="993" y="706"/>
                    </a:lnTo>
                    <a:lnTo>
                      <a:pt x="993" y="704"/>
                    </a:lnTo>
                    <a:lnTo>
                      <a:pt x="992" y="702"/>
                    </a:lnTo>
                    <a:lnTo>
                      <a:pt x="990" y="700"/>
                    </a:lnTo>
                    <a:lnTo>
                      <a:pt x="990" y="699"/>
                    </a:lnTo>
                    <a:lnTo>
                      <a:pt x="990" y="699"/>
                    </a:lnTo>
                    <a:lnTo>
                      <a:pt x="990" y="697"/>
                    </a:lnTo>
                    <a:lnTo>
                      <a:pt x="990" y="695"/>
                    </a:lnTo>
                    <a:lnTo>
                      <a:pt x="990" y="695"/>
                    </a:lnTo>
                    <a:lnTo>
                      <a:pt x="990" y="693"/>
                    </a:lnTo>
                    <a:lnTo>
                      <a:pt x="990" y="693"/>
                    </a:lnTo>
                    <a:lnTo>
                      <a:pt x="990" y="691"/>
                    </a:lnTo>
                    <a:lnTo>
                      <a:pt x="990" y="691"/>
                    </a:lnTo>
                    <a:lnTo>
                      <a:pt x="988" y="689"/>
                    </a:lnTo>
                    <a:lnTo>
                      <a:pt x="988" y="687"/>
                    </a:lnTo>
                    <a:lnTo>
                      <a:pt x="988" y="685"/>
                    </a:lnTo>
                    <a:lnTo>
                      <a:pt x="988" y="683"/>
                    </a:lnTo>
                    <a:lnTo>
                      <a:pt x="988" y="683"/>
                    </a:lnTo>
                    <a:lnTo>
                      <a:pt x="988" y="681"/>
                    </a:lnTo>
                    <a:lnTo>
                      <a:pt x="990" y="681"/>
                    </a:lnTo>
                    <a:lnTo>
                      <a:pt x="990" y="680"/>
                    </a:lnTo>
                    <a:lnTo>
                      <a:pt x="990" y="680"/>
                    </a:lnTo>
                    <a:lnTo>
                      <a:pt x="990" y="680"/>
                    </a:lnTo>
                    <a:lnTo>
                      <a:pt x="988" y="678"/>
                    </a:lnTo>
                    <a:lnTo>
                      <a:pt x="988" y="678"/>
                    </a:lnTo>
                    <a:lnTo>
                      <a:pt x="988" y="676"/>
                    </a:lnTo>
                    <a:lnTo>
                      <a:pt x="986" y="676"/>
                    </a:lnTo>
                    <a:lnTo>
                      <a:pt x="986" y="676"/>
                    </a:lnTo>
                    <a:lnTo>
                      <a:pt x="984" y="676"/>
                    </a:lnTo>
                    <a:lnTo>
                      <a:pt x="982" y="676"/>
                    </a:lnTo>
                    <a:lnTo>
                      <a:pt x="980" y="676"/>
                    </a:lnTo>
                    <a:lnTo>
                      <a:pt x="976" y="676"/>
                    </a:lnTo>
                    <a:lnTo>
                      <a:pt x="974" y="678"/>
                    </a:lnTo>
                    <a:lnTo>
                      <a:pt x="972" y="680"/>
                    </a:lnTo>
                    <a:lnTo>
                      <a:pt x="972" y="681"/>
                    </a:lnTo>
                    <a:lnTo>
                      <a:pt x="971" y="685"/>
                    </a:lnTo>
                    <a:lnTo>
                      <a:pt x="971" y="685"/>
                    </a:lnTo>
                    <a:lnTo>
                      <a:pt x="971" y="687"/>
                    </a:lnTo>
                    <a:lnTo>
                      <a:pt x="969" y="689"/>
                    </a:lnTo>
                    <a:lnTo>
                      <a:pt x="967" y="689"/>
                    </a:lnTo>
                    <a:lnTo>
                      <a:pt x="965" y="689"/>
                    </a:lnTo>
                    <a:lnTo>
                      <a:pt x="963" y="689"/>
                    </a:lnTo>
                    <a:lnTo>
                      <a:pt x="961" y="689"/>
                    </a:lnTo>
                    <a:lnTo>
                      <a:pt x="957" y="687"/>
                    </a:lnTo>
                    <a:lnTo>
                      <a:pt x="957" y="687"/>
                    </a:lnTo>
                    <a:lnTo>
                      <a:pt x="955" y="687"/>
                    </a:lnTo>
                    <a:lnTo>
                      <a:pt x="951" y="689"/>
                    </a:lnTo>
                    <a:lnTo>
                      <a:pt x="948" y="691"/>
                    </a:lnTo>
                    <a:lnTo>
                      <a:pt x="944" y="693"/>
                    </a:lnTo>
                    <a:lnTo>
                      <a:pt x="938" y="693"/>
                    </a:lnTo>
                    <a:lnTo>
                      <a:pt x="936" y="695"/>
                    </a:lnTo>
                    <a:lnTo>
                      <a:pt x="934" y="695"/>
                    </a:lnTo>
                    <a:lnTo>
                      <a:pt x="934" y="695"/>
                    </a:lnTo>
                    <a:lnTo>
                      <a:pt x="929" y="691"/>
                    </a:lnTo>
                    <a:lnTo>
                      <a:pt x="929" y="689"/>
                    </a:lnTo>
                    <a:lnTo>
                      <a:pt x="923" y="689"/>
                    </a:lnTo>
                    <a:lnTo>
                      <a:pt x="921" y="689"/>
                    </a:lnTo>
                    <a:lnTo>
                      <a:pt x="921" y="689"/>
                    </a:lnTo>
                    <a:lnTo>
                      <a:pt x="917" y="691"/>
                    </a:lnTo>
                    <a:lnTo>
                      <a:pt x="915" y="691"/>
                    </a:lnTo>
                    <a:lnTo>
                      <a:pt x="915" y="691"/>
                    </a:lnTo>
                    <a:lnTo>
                      <a:pt x="913" y="689"/>
                    </a:lnTo>
                    <a:lnTo>
                      <a:pt x="910" y="685"/>
                    </a:lnTo>
                    <a:lnTo>
                      <a:pt x="908" y="685"/>
                    </a:lnTo>
                    <a:lnTo>
                      <a:pt x="906" y="685"/>
                    </a:lnTo>
                    <a:lnTo>
                      <a:pt x="904" y="685"/>
                    </a:lnTo>
                    <a:lnTo>
                      <a:pt x="902" y="685"/>
                    </a:lnTo>
                    <a:lnTo>
                      <a:pt x="900" y="683"/>
                    </a:lnTo>
                    <a:lnTo>
                      <a:pt x="900" y="683"/>
                    </a:lnTo>
                    <a:lnTo>
                      <a:pt x="898" y="681"/>
                    </a:lnTo>
                    <a:lnTo>
                      <a:pt x="896" y="678"/>
                    </a:lnTo>
                    <a:lnTo>
                      <a:pt x="894" y="676"/>
                    </a:lnTo>
                    <a:lnTo>
                      <a:pt x="892" y="676"/>
                    </a:lnTo>
                    <a:lnTo>
                      <a:pt x="890" y="676"/>
                    </a:lnTo>
                    <a:lnTo>
                      <a:pt x="890" y="674"/>
                    </a:lnTo>
                    <a:lnTo>
                      <a:pt x="889" y="674"/>
                    </a:lnTo>
                    <a:lnTo>
                      <a:pt x="889" y="674"/>
                    </a:lnTo>
                    <a:lnTo>
                      <a:pt x="887" y="672"/>
                    </a:lnTo>
                    <a:lnTo>
                      <a:pt x="887" y="668"/>
                    </a:lnTo>
                    <a:lnTo>
                      <a:pt x="885" y="661"/>
                    </a:lnTo>
                    <a:lnTo>
                      <a:pt x="881" y="641"/>
                    </a:lnTo>
                    <a:lnTo>
                      <a:pt x="881" y="640"/>
                    </a:lnTo>
                    <a:lnTo>
                      <a:pt x="879" y="638"/>
                    </a:lnTo>
                    <a:lnTo>
                      <a:pt x="879" y="638"/>
                    </a:lnTo>
                    <a:lnTo>
                      <a:pt x="879" y="636"/>
                    </a:lnTo>
                    <a:lnTo>
                      <a:pt x="881" y="634"/>
                    </a:lnTo>
                    <a:lnTo>
                      <a:pt x="883" y="634"/>
                    </a:lnTo>
                    <a:lnTo>
                      <a:pt x="883" y="634"/>
                    </a:lnTo>
                    <a:lnTo>
                      <a:pt x="885" y="632"/>
                    </a:lnTo>
                    <a:lnTo>
                      <a:pt x="883" y="628"/>
                    </a:lnTo>
                    <a:lnTo>
                      <a:pt x="885" y="626"/>
                    </a:lnTo>
                    <a:lnTo>
                      <a:pt x="885" y="624"/>
                    </a:lnTo>
                    <a:lnTo>
                      <a:pt x="887" y="619"/>
                    </a:lnTo>
                    <a:lnTo>
                      <a:pt x="889" y="619"/>
                    </a:lnTo>
                    <a:lnTo>
                      <a:pt x="889" y="619"/>
                    </a:lnTo>
                    <a:lnTo>
                      <a:pt x="892" y="615"/>
                    </a:lnTo>
                    <a:lnTo>
                      <a:pt x="892" y="615"/>
                    </a:lnTo>
                    <a:lnTo>
                      <a:pt x="896" y="615"/>
                    </a:lnTo>
                    <a:lnTo>
                      <a:pt x="896" y="615"/>
                    </a:lnTo>
                    <a:lnTo>
                      <a:pt x="898" y="613"/>
                    </a:lnTo>
                    <a:lnTo>
                      <a:pt x="898" y="609"/>
                    </a:lnTo>
                    <a:lnTo>
                      <a:pt x="900" y="609"/>
                    </a:lnTo>
                    <a:lnTo>
                      <a:pt x="900" y="609"/>
                    </a:lnTo>
                    <a:lnTo>
                      <a:pt x="908" y="609"/>
                    </a:lnTo>
                    <a:lnTo>
                      <a:pt x="910" y="609"/>
                    </a:lnTo>
                    <a:lnTo>
                      <a:pt x="910" y="609"/>
                    </a:lnTo>
                    <a:lnTo>
                      <a:pt x="911" y="609"/>
                    </a:lnTo>
                    <a:lnTo>
                      <a:pt x="913" y="605"/>
                    </a:lnTo>
                    <a:lnTo>
                      <a:pt x="915" y="603"/>
                    </a:lnTo>
                    <a:lnTo>
                      <a:pt x="917" y="603"/>
                    </a:lnTo>
                    <a:lnTo>
                      <a:pt x="917" y="603"/>
                    </a:lnTo>
                    <a:lnTo>
                      <a:pt x="919" y="603"/>
                    </a:lnTo>
                    <a:lnTo>
                      <a:pt x="919" y="602"/>
                    </a:lnTo>
                    <a:lnTo>
                      <a:pt x="921" y="600"/>
                    </a:lnTo>
                    <a:lnTo>
                      <a:pt x="921" y="598"/>
                    </a:lnTo>
                    <a:lnTo>
                      <a:pt x="921" y="598"/>
                    </a:lnTo>
                    <a:lnTo>
                      <a:pt x="921" y="596"/>
                    </a:lnTo>
                    <a:lnTo>
                      <a:pt x="929" y="590"/>
                    </a:lnTo>
                    <a:lnTo>
                      <a:pt x="930" y="588"/>
                    </a:lnTo>
                    <a:lnTo>
                      <a:pt x="930" y="588"/>
                    </a:lnTo>
                    <a:lnTo>
                      <a:pt x="930" y="586"/>
                    </a:lnTo>
                    <a:lnTo>
                      <a:pt x="932" y="584"/>
                    </a:lnTo>
                    <a:lnTo>
                      <a:pt x="932" y="584"/>
                    </a:lnTo>
                    <a:lnTo>
                      <a:pt x="936" y="583"/>
                    </a:lnTo>
                    <a:lnTo>
                      <a:pt x="938" y="583"/>
                    </a:lnTo>
                    <a:lnTo>
                      <a:pt x="940" y="581"/>
                    </a:lnTo>
                    <a:lnTo>
                      <a:pt x="940" y="581"/>
                    </a:lnTo>
                    <a:lnTo>
                      <a:pt x="944" y="579"/>
                    </a:lnTo>
                    <a:lnTo>
                      <a:pt x="944" y="577"/>
                    </a:lnTo>
                    <a:lnTo>
                      <a:pt x="944" y="577"/>
                    </a:lnTo>
                    <a:lnTo>
                      <a:pt x="946" y="575"/>
                    </a:lnTo>
                    <a:lnTo>
                      <a:pt x="946" y="575"/>
                    </a:lnTo>
                    <a:lnTo>
                      <a:pt x="950" y="573"/>
                    </a:lnTo>
                    <a:lnTo>
                      <a:pt x="951" y="571"/>
                    </a:lnTo>
                    <a:lnTo>
                      <a:pt x="953" y="573"/>
                    </a:lnTo>
                    <a:lnTo>
                      <a:pt x="955" y="573"/>
                    </a:lnTo>
                    <a:lnTo>
                      <a:pt x="955" y="571"/>
                    </a:lnTo>
                    <a:lnTo>
                      <a:pt x="955" y="571"/>
                    </a:lnTo>
                    <a:lnTo>
                      <a:pt x="957" y="567"/>
                    </a:lnTo>
                    <a:lnTo>
                      <a:pt x="957" y="567"/>
                    </a:lnTo>
                    <a:lnTo>
                      <a:pt x="959" y="565"/>
                    </a:lnTo>
                    <a:lnTo>
                      <a:pt x="963" y="565"/>
                    </a:lnTo>
                    <a:lnTo>
                      <a:pt x="967" y="565"/>
                    </a:lnTo>
                    <a:lnTo>
                      <a:pt x="971" y="563"/>
                    </a:lnTo>
                    <a:lnTo>
                      <a:pt x="972" y="562"/>
                    </a:lnTo>
                    <a:lnTo>
                      <a:pt x="976" y="560"/>
                    </a:lnTo>
                    <a:lnTo>
                      <a:pt x="978" y="558"/>
                    </a:lnTo>
                    <a:lnTo>
                      <a:pt x="980" y="558"/>
                    </a:lnTo>
                    <a:lnTo>
                      <a:pt x="980" y="556"/>
                    </a:lnTo>
                    <a:lnTo>
                      <a:pt x="982" y="556"/>
                    </a:lnTo>
                    <a:lnTo>
                      <a:pt x="982" y="552"/>
                    </a:lnTo>
                    <a:lnTo>
                      <a:pt x="982" y="552"/>
                    </a:lnTo>
                    <a:lnTo>
                      <a:pt x="986" y="548"/>
                    </a:lnTo>
                    <a:lnTo>
                      <a:pt x="986" y="548"/>
                    </a:lnTo>
                    <a:lnTo>
                      <a:pt x="988" y="546"/>
                    </a:lnTo>
                    <a:lnTo>
                      <a:pt x="992" y="546"/>
                    </a:lnTo>
                    <a:lnTo>
                      <a:pt x="993" y="546"/>
                    </a:lnTo>
                    <a:lnTo>
                      <a:pt x="995" y="546"/>
                    </a:lnTo>
                    <a:lnTo>
                      <a:pt x="997" y="546"/>
                    </a:lnTo>
                    <a:lnTo>
                      <a:pt x="999" y="546"/>
                    </a:lnTo>
                    <a:lnTo>
                      <a:pt x="999" y="544"/>
                    </a:lnTo>
                    <a:lnTo>
                      <a:pt x="999" y="543"/>
                    </a:lnTo>
                    <a:lnTo>
                      <a:pt x="999" y="541"/>
                    </a:lnTo>
                    <a:lnTo>
                      <a:pt x="1001" y="541"/>
                    </a:lnTo>
                    <a:lnTo>
                      <a:pt x="1007" y="541"/>
                    </a:lnTo>
                    <a:lnTo>
                      <a:pt x="1009" y="541"/>
                    </a:lnTo>
                    <a:lnTo>
                      <a:pt x="1011" y="539"/>
                    </a:lnTo>
                    <a:lnTo>
                      <a:pt x="1014" y="535"/>
                    </a:lnTo>
                    <a:lnTo>
                      <a:pt x="1022" y="531"/>
                    </a:lnTo>
                    <a:lnTo>
                      <a:pt x="1024" y="529"/>
                    </a:lnTo>
                    <a:lnTo>
                      <a:pt x="1026" y="529"/>
                    </a:lnTo>
                    <a:lnTo>
                      <a:pt x="1030" y="527"/>
                    </a:lnTo>
                    <a:lnTo>
                      <a:pt x="1032" y="527"/>
                    </a:lnTo>
                    <a:lnTo>
                      <a:pt x="1033" y="527"/>
                    </a:lnTo>
                    <a:lnTo>
                      <a:pt x="1035" y="525"/>
                    </a:lnTo>
                    <a:lnTo>
                      <a:pt x="1037" y="524"/>
                    </a:lnTo>
                    <a:lnTo>
                      <a:pt x="1041" y="522"/>
                    </a:lnTo>
                    <a:lnTo>
                      <a:pt x="1045" y="520"/>
                    </a:lnTo>
                    <a:lnTo>
                      <a:pt x="1049" y="518"/>
                    </a:lnTo>
                    <a:lnTo>
                      <a:pt x="1047" y="514"/>
                    </a:lnTo>
                    <a:lnTo>
                      <a:pt x="1053" y="512"/>
                    </a:lnTo>
                    <a:lnTo>
                      <a:pt x="1054" y="510"/>
                    </a:lnTo>
                    <a:lnTo>
                      <a:pt x="1056" y="510"/>
                    </a:lnTo>
                    <a:lnTo>
                      <a:pt x="1056" y="506"/>
                    </a:lnTo>
                    <a:lnTo>
                      <a:pt x="1056" y="506"/>
                    </a:lnTo>
                    <a:lnTo>
                      <a:pt x="1058" y="505"/>
                    </a:lnTo>
                    <a:lnTo>
                      <a:pt x="1058" y="505"/>
                    </a:lnTo>
                    <a:lnTo>
                      <a:pt x="1062" y="505"/>
                    </a:lnTo>
                    <a:lnTo>
                      <a:pt x="1064" y="505"/>
                    </a:lnTo>
                    <a:lnTo>
                      <a:pt x="1068" y="503"/>
                    </a:lnTo>
                    <a:lnTo>
                      <a:pt x="1070" y="501"/>
                    </a:lnTo>
                    <a:lnTo>
                      <a:pt x="1072" y="501"/>
                    </a:lnTo>
                    <a:lnTo>
                      <a:pt x="1072" y="501"/>
                    </a:lnTo>
                    <a:lnTo>
                      <a:pt x="1074" y="503"/>
                    </a:lnTo>
                    <a:lnTo>
                      <a:pt x="1075" y="503"/>
                    </a:lnTo>
                    <a:lnTo>
                      <a:pt x="1075" y="503"/>
                    </a:lnTo>
                    <a:lnTo>
                      <a:pt x="1077" y="503"/>
                    </a:lnTo>
                    <a:lnTo>
                      <a:pt x="1079" y="503"/>
                    </a:lnTo>
                    <a:lnTo>
                      <a:pt x="1081" y="501"/>
                    </a:lnTo>
                    <a:lnTo>
                      <a:pt x="1081" y="501"/>
                    </a:lnTo>
                    <a:lnTo>
                      <a:pt x="1081" y="497"/>
                    </a:lnTo>
                    <a:lnTo>
                      <a:pt x="1081" y="497"/>
                    </a:lnTo>
                    <a:lnTo>
                      <a:pt x="1083" y="495"/>
                    </a:lnTo>
                    <a:lnTo>
                      <a:pt x="1083" y="495"/>
                    </a:lnTo>
                    <a:lnTo>
                      <a:pt x="1083" y="493"/>
                    </a:lnTo>
                    <a:lnTo>
                      <a:pt x="1081" y="491"/>
                    </a:lnTo>
                    <a:lnTo>
                      <a:pt x="1081" y="489"/>
                    </a:lnTo>
                    <a:lnTo>
                      <a:pt x="1083" y="487"/>
                    </a:lnTo>
                    <a:lnTo>
                      <a:pt x="1085" y="487"/>
                    </a:lnTo>
                    <a:lnTo>
                      <a:pt x="1089" y="489"/>
                    </a:lnTo>
                    <a:lnTo>
                      <a:pt x="1091" y="487"/>
                    </a:lnTo>
                    <a:lnTo>
                      <a:pt x="1091" y="484"/>
                    </a:lnTo>
                    <a:lnTo>
                      <a:pt x="1093" y="484"/>
                    </a:lnTo>
                    <a:lnTo>
                      <a:pt x="1094" y="484"/>
                    </a:lnTo>
                    <a:lnTo>
                      <a:pt x="1094" y="482"/>
                    </a:lnTo>
                    <a:lnTo>
                      <a:pt x="1094" y="480"/>
                    </a:lnTo>
                    <a:lnTo>
                      <a:pt x="1093" y="480"/>
                    </a:lnTo>
                    <a:lnTo>
                      <a:pt x="1093" y="478"/>
                    </a:lnTo>
                    <a:lnTo>
                      <a:pt x="1091" y="478"/>
                    </a:lnTo>
                    <a:lnTo>
                      <a:pt x="1091" y="476"/>
                    </a:lnTo>
                    <a:lnTo>
                      <a:pt x="1093" y="476"/>
                    </a:lnTo>
                    <a:lnTo>
                      <a:pt x="1093" y="476"/>
                    </a:lnTo>
                    <a:lnTo>
                      <a:pt x="1093" y="476"/>
                    </a:lnTo>
                    <a:lnTo>
                      <a:pt x="1094" y="476"/>
                    </a:lnTo>
                    <a:lnTo>
                      <a:pt x="1096" y="474"/>
                    </a:lnTo>
                    <a:lnTo>
                      <a:pt x="1100" y="470"/>
                    </a:lnTo>
                    <a:lnTo>
                      <a:pt x="1100" y="470"/>
                    </a:lnTo>
                    <a:lnTo>
                      <a:pt x="1100" y="468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1" name="Freeform 13">
                <a:extLst>
                  <a:ext uri="{FF2B5EF4-FFF2-40B4-BE49-F238E27FC236}">
                    <a16:creationId xmlns:a16="http://schemas.microsoft.com/office/drawing/2014/main" id="{A71D6360-99C3-442E-97FE-CA0775789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7732" y="2540474"/>
                <a:ext cx="608013" cy="685800"/>
              </a:xfrm>
              <a:custGeom>
                <a:avLst/>
                <a:gdLst>
                  <a:gd name="T0" fmla="*/ 381 w 383"/>
                  <a:gd name="T1" fmla="*/ 287 h 432"/>
                  <a:gd name="T2" fmla="*/ 378 w 383"/>
                  <a:gd name="T3" fmla="*/ 270 h 432"/>
                  <a:gd name="T4" fmla="*/ 368 w 383"/>
                  <a:gd name="T5" fmla="*/ 272 h 432"/>
                  <a:gd name="T6" fmla="*/ 362 w 383"/>
                  <a:gd name="T7" fmla="*/ 253 h 432"/>
                  <a:gd name="T8" fmla="*/ 370 w 383"/>
                  <a:gd name="T9" fmla="*/ 245 h 432"/>
                  <a:gd name="T10" fmla="*/ 345 w 383"/>
                  <a:gd name="T11" fmla="*/ 215 h 432"/>
                  <a:gd name="T12" fmla="*/ 349 w 383"/>
                  <a:gd name="T13" fmla="*/ 192 h 432"/>
                  <a:gd name="T14" fmla="*/ 340 w 383"/>
                  <a:gd name="T15" fmla="*/ 182 h 432"/>
                  <a:gd name="T16" fmla="*/ 332 w 383"/>
                  <a:gd name="T17" fmla="*/ 180 h 432"/>
                  <a:gd name="T18" fmla="*/ 324 w 383"/>
                  <a:gd name="T19" fmla="*/ 177 h 432"/>
                  <a:gd name="T20" fmla="*/ 309 w 383"/>
                  <a:gd name="T21" fmla="*/ 173 h 432"/>
                  <a:gd name="T22" fmla="*/ 296 w 383"/>
                  <a:gd name="T23" fmla="*/ 178 h 432"/>
                  <a:gd name="T24" fmla="*/ 261 w 383"/>
                  <a:gd name="T25" fmla="*/ 100 h 432"/>
                  <a:gd name="T26" fmla="*/ 238 w 383"/>
                  <a:gd name="T27" fmla="*/ 72 h 432"/>
                  <a:gd name="T28" fmla="*/ 227 w 383"/>
                  <a:gd name="T29" fmla="*/ 51 h 432"/>
                  <a:gd name="T30" fmla="*/ 221 w 383"/>
                  <a:gd name="T31" fmla="*/ 42 h 432"/>
                  <a:gd name="T32" fmla="*/ 259 w 383"/>
                  <a:gd name="T33" fmla="*/ 13 h 432"/>
                  <a:gd name="T34" fmla="*/ 237 w 383"/>
                  <a:gd name="T35" fmla="*/ 11 h 432"/>
                  <a:gd name="T36" fmla="*/ 202 w 383"/>
                  <a:gd name="T37" fmla="*/ 30 h 432"/>
                  <a:gd name="T38" fmla="*/ 185 w 383"/>
                  <a:gd name="T39" fmla="*/ 30 h 432"/>
                  <a:gd name="T40" fmla="*/ 166 w 383"/>
                  <a:gd name="T41" fmla="*/ 61 h 432"/>
                  <a:gd name="T42" fmla="*/ 143 w 383"/>
                  <a:gd name="T43" fmla="*/ 66 h 432"/>
                  <a:gd name="T44" fmla="*/ 120 w 383"/>
                  <a:gd name="T45" fmla="*/ 81 h 432"/>
                  <a:gd name="T46" fmla="*/ 86 w 383"/>
                  <a:gd name="T47" fmla="*/ 110 h 432"/>
                  <a:gd name="T48" fmla="*/ 88 w 383"/>
                  <a:gd name="T49" fmla="*/ 133 h 432"/>
                  <a:gd name="T50" fmla="*/ 82 w 383"/>
                  <a:gd name="T51" fmla="*/ 198 h 432"/>
                  <a:gd name="T52" fmla="*/ 92 w 383"/>
                  <a:gd name="T53" fmla="*/ 217 h 432"/>
                  <a:gd name="T54" fmla="*/ 71 w 383"/>
                  <a:gd name="T55" fmla="*/ 237 h 432"/>
                  <a:gd name="T56" fmla="*/ 52 w 383"/>
                  <a:gd name="T57" fmla="*/ 249 h 432"/>
                  <a:gd name="T58" fmla="*/ 40 w 383"/>
                  <a:gd name="T59" fmla="*/ 270 h 432"/>
                  <a:gd name="T60" fmla="*/ 25 w 383"/>
                  <a:gd name="T61" fmla="*/ 293 h 432"/>
                  <a:gd name="T62" fmla="*/ 2 w 383"/>
                  <a:gd name="T63" fmla="*/ 312 h 432"/>
                  <a:gd name="T64" fmla="*/ 15 w 383"/>
                  <a:gd name="T65" fmla="*/ 348 h 432"/>
                  <a:gd name="T66" fmla="*/ 99 w 383"/>
                  <a:gd name="T67" fmla="*/ 380 h 432"/>
                  <a:gd name="T68" fmla="*/ 120 w 383"/>
                  <a:gd name="T69" fmla="*/ 371 h 432"/>
                  <a:gd name="T70" fmla="*/ 135 w 383"/>
                  <a:gd name="T71" fmla="*/ 378 h 432"/>
                  <a:gd name="T72" fmla="*/ 147 w 383"/>
                  <a:gd name="T73" fmla="*/ 386 h 432"/>
                  <a:gd name="T74" fmla="*/ 156 w 383"/>
                  <a:gd name="T75" fmla="*/ 380 h 432"/>
                  <a:gd name="T76" fmla="*/ 156 w 383"/>
                  <a:gd name="T77" fmla="*/ 390 h 432"/>
                  <a:gd name="T78" fmla="*/ 164 w 383"/>
                  <a:gd name="T79" fmla="*/ 397 h 432"/>
                  <a:gd name="T80" fmla="*/ 172 w 383"/>
                  <a:gd name="T81" fmla="*/ 399 h 432"/>
                  <a:gd name="T82" fmla="*/ 170 w 383"/>
                  <a:gd name="T83" fmla="*/ 405 h 432"/>
                  <a:gd name="T84" fmla="*/ 166 w 383"/>
                  <a:gd name="T85" fmla="*/ 414 h 432"/>
                  <a:gd name="T86" fmla="*/ 172 w 383"/>
                  <a:gd name="T87" fmla="*/ 424 h 432"/>
                  <a:gd name="T88" fmla="*/ 181 w 383"/>
                  <a:gd name="T89" fmla="*/ 426 h 432"/>
                  <a:gd name="T90" fmla="*/ 187 w 383"/>
                  <a:gd name="T91" fmla="*/ 414 h 432"/>
                  <a:gd name="T92" fmla="*/ 212 w 383"/>
                  <a:gd name="T93" fmla="*/ 399 h 432"/>
                  <a:gd name="T94" fmla="*/ 235 w 383"/>
                  <a:gd name="T95" fmla="*/ 397 h 432"/>
                  <a:gd name="T96" fmla="*/ 256 w 383"/>
                  <a:gd name="T97" fmla="*/ 405 h 432"/>
                  <a:gd name="T98" fmla="*/ 288 w 383"/>
                  <a:gd name="T99" fmla="*/ 393 h 432"/>
                  <a:gd name="T100" fmla="*/ 292 w 383"/>
                  <a:gd name="T101" fmla="*/ 378 h 432"/>
                  <a:gd name="T102" fmla="*/ 298 w 383"/>
                  <a:gd name="T103" fmla="*/ 359 h 432"/>
                  <a:gd name="T104" fmla="*/ 296 w 383"/>
                  <a:gd name="T105" fmla="*/ 350 h 432"/>
                  <a:gd name="T106" fmla="*/ 311 w 383"/>
                  <a:gd name="T107" fmla="*/ 352 h 432"/>
                  <a:gd name="T108" fmla="*/ 317 w 383"/>
                  <a:gd name="T109" fmla="*/ 352 h 432"/>
                  <a:gd name="T110" fmla="*/ 322 w 383"/>
                  <a:gd name="T111" fmla="*/ 342 h 432"/>
                  <a:gd name="T112" fmla="*/ 349 w 383"/>
                  <a:gd name="T113" fmla="*/ 348 h 432"/>
                  <a:gd name="T114" fmla="*/ 345 w 383"/>
                  <a:gd name="T115" fmla="*/ 336 h 432"/>
                  <a:gd name="T116" fmla="*/ 340 w 383"/>
                  <a:gd name="T117" fmla="*/ 336 h 432"/>
                  <a:gd name="T118" fmla="*/ 359 w 383"/>
                  <a:gd name="T119" fmla="*/ 319 h 432"/>
                  <a:gd name="T120" fmla="*/ 361 w 383"/>
                  <a:gd name="T121" fmla="*/ 308 h 432"/>
                  <a:gd name="T122" fmla="*/ 381 w 383"/>
                  <a:gd name="T123" fmla="*/ 315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83" h="432">
                    <a:moveTo>
                      <a:pt x="381" y="304"/>
                    </a:moveTo>
                    <a:lnTo>
                      <a:pt x="381" y="302"/>
                    </a:lnTo>
                    <a:lnTo>
                      <a:pt x="381" y="298"/>
                    </a:lnTo>
                    <a:lnTo>
                      <a:pt x="383" y="296"/>
                    </a:lnTo>
                    <a:lnTo>
                      <a:pt x="383" y="296"/>
                    </a:lnTo>
                    <a:lnTo>
                      <a:pt x="383" y="295"/>
                    </a:lnTo>
                    <a:lnTo>
                      <a:pt x="383" y="295"/>
                    </a:lnTo>
                    <a:lnTo>
                      <a:pt x="383" y="293"/>
                    </a:lnTo>
                    <a:lnTo>
                      <a:pt x="383" y="293"/>
                    </a:lnTo>
                    <a:lnTo>
                      <a:pt x="383" y="291"/>
                    </a:lnTo>
                    <a:lnTo>
                      <a:pt x="381" y="291"/>
                    </a:lnTo>
                    <a:lnTo>
                      <a:pt x="381" y="287"/>
                    </a:lnTo>
                    <a:lnTo>
                      <a:pt x="383" y="283"/>
                    </a:lnTo>
                    <a:lnTo>
                      <a:pt x="383" y="281"/>
                    </a:lnTo>
                    <a:lnTo>
                      <a:pt x="383" y="281"/>
                    </a:lnTo>
                    <a:lnTo>
                      <a:pt x="381" y="279"/>
                    </a:lnTo>
                    <a:lnTo>
                      <a:pt x="381" y="277"/>
                    </a:lnTo>
                    <a:lnTo>
                      <a:pt x="381" y="277"/>
                    </a:lnTo>
                    <a:lnTo>
                      <a:pt x="380" y="276"/>
                    </a:lnTo>
                    <a:lnTo>
                      <a:pt x="380" y="276"/>
                    </a:lnTo>
                    <a:lnTo>
                      <a:pt x="378" y="276"/>
                    </a:lnTo>
                    <a:lnTo>
                      <a:pt x="378" y="276"/>
                    </a:lnTo>
                    <a:lnTo>
                      <a:pt x="378" y="272"/>
                    </a:lnTo>
                    <a:lnTo>
                      <a:pt x="378" y="270"/>
                    </a:lnTo>
                    <a:lnTo>
                      <a:pt x="376" y="270"/>
                    </a:lnTo>
                    <a:lnTo>
                      <a:pt x="376" y="270"/>
                    </a:lnTo>
                    <a:lnTo>
                      <a:pt x="376" y="270"/>
                    </a:lnTo>
                    <a:lnTo>
                      <a:pt x="376" y="270"/>
                    </a:lnTo>
                    <a:lnTo>
                      <a:pt x="376" y="270"/>
                    </a:lnTo>
                    <a:lnTo>
                      <a:pt x="374" y="270"/>
                    </a:lnTo>
                    <a:lnTo>
                      <a:pt x="372" y="270"/>
                    </a:lnTo>
                    <a:lnTo>
                      <a:pt x="372" y="270"/>
                    </a:lnTo>
                    <a:lnTo>
                      <a:pt x="370" y="270"/>
                    </a:lnTo>
                    <a:lnTo>
                      <a:pt x="370" y="270"/>
                    </a:lnTo>
                    <a:lnTo>
                      <a:pt x="368" y="272"/>
                    </a:lnTo>
                    <a:lnTo>
                      <a:pt x="368" y="272"/>
                    </a:lnTo>
                    <a:lnTo>
                      <a:pt x="366" y="270"/>
                    </a:lnTo>
                    <a:lnTo>
                      <a:pt x="366" y="270"/>
                    </a:lnTo>
                    <a:lnTo>
                      <a:pt x="364" y="268"/>
                    </a:lnTo>
                    <a:lnTo>
                      <a:pt x="362" y="264"/>
                    </a:lnTo>
                    <a:lnTo>
                      <a:pt x="359" y="260"/>
                    </a:lnTo>
                    <a:lnTo>
                      <a:pt x="357" y="260"/>
                    </a:lnTo>
                    <a:lnTo>
                      <a:pt x="357" y="258"/>
                    </a:lnTo>
                    <a:lnTo>
                      <a:pt x="357" y="258"/>
                    </a:lnTo>
                    <a:lnTo>
                      <a:pt x="357" y="257"/>
                    </a:lnTo>
                    <a:lnTo>
                      <a:pt x="357" y="257"/>
                    </a:lnTo>
                    <a:lnTo>
                      <a:pt x="359" y="255"/>
                    </a:lnTo>
                    <a:lnTo>
                      <a:pt x="362" y="253"/>
                    </a:lnTo>
                    <a:lnTo>
                      <a:pt x="364" y="253"/>
                    </a:lnTo>
                    <a:lnTo>
                      <a:pt x="366" y="253"/>
                    </a:lnTo>
                    <a:lnTo>
                      <a:pt x="372" y="255"/>
                    </a:lnTo>
                    <a:lnTo>
                      <a:pt x="374" y="251"/>
                    </a:lnTo>
                    <a:lnTo>
                      <a:pt x="374" y="249"/>
                    </a:lnTo>
                    <a:lnTo>
                      <a:pt x="374" y="249"/>
                    </a:lnTo>
                    <a:lnTo>
                      <a:pt x="374" y="247"/>
                    </a:lnTo>
                    <a:lnTo>
                      <a:pt x="374" y="247"/>
                    </a:lnTo>
                    <a:lnTo>
                      <a:pt x="374" y="245"/>
                    </a:lnTo>
                    <a:lnTo>
                      <a:pt x="374" y="245"/>
                    </a:lnTo>
                    <a:lnTo>
                      <a:pt x="372" y="245"/>
                    </a:lnTo>
                    <a:lnTo>
                      <a:pt x="370" y="245"/>
                    </a:lnTo>
                    <a:lnTo>
                      <a:pt x="370" y="243"/>
                    </a:lnTo>
                    <a:lnTo>
                      <a:pt x="368" y="239"/>
                    </a:lnTo>
                    <a:lnTo>
                      <a:pt x="368" y="239"/>
                    </a:lnTo>
                    <a:lnTo>
                      <a:pt x="366" y="237"/>
                    </a:lnTo>
                    <a:lnTo>
                      <a:pt x="361" y="232"/>
                    </a:lnTo>
                    <a:lnTo>
                      <a:pt x="359" y="230"/>
                    </a:lnTo>
                    <a:lnTo>
                      <a:pt x="351" y="224"/>
                    </a:lnTo>
                    <a:lnTo>
                      <a:pt x="349" y="220"/>
                    </a:lnTo>
                    <a:lnTo>
                      <a:pt x="347" y="218"/>
                    </a:lnTo>
                    <a:lnTo>
                      <a:pt x="347" y="217"/>
                    </a:lnTo>
                    <a:lnTo>
                      <a:pt x="345" y="217"/>
                    </a:lnTo>
                    <a:lnTo>
                      <a:pt x="345" y="215"/>
                    </a:lnTo>
                    <a:lnTo>
                      <a:pt x="345" y="213"/>
                    </a:lnTo>
                    <a:lnTo>
                      <a:pt x="345" y="211"/>
                    </a:lnTo>
                    <a:lnTo>
                      <a:pt x="347" y="211"/>
                    </a:lnTo>
                    <a:lnTo>
                      <a:pt x="347" y="207"/>
                    </a:lnTo>
                    <a:lnTo>
                      <a:pt x="347" y="207"/>
                    </a:lnTo>
                    <a:lnTo>
                      <a:pt x="345" y="205"/>
                    </a:lnTo>
                    <a:lnTo>
                      <a:pt x="345" y="203"/>
                    </a:lnTo>
                    <a:lnTo>
                      <a:pt x="345" y="198"/>
                    </a:lnTo>
                    <a:lnTo>
                      <a:pt x="345" y="196"/>
                    </a:lnTo>
                    <a:lnTo>
                      <a:pt x="345" y="196"/>
                    </a:lnTo>
                    <a:lnTo>
                      <a:pt x="347" y="194"/>
                    </a:lnTo>
                    <a:lnTo>
                      <a:pt x="349" y="192"/>
                    </a:lnTo>
                    <a:lnTo>
                      <a:pt x="347" y="190"/>
                    </a:lnTo>
                    <a:lnTo>
                      <a:pt x="347" y="190"/>
                    </a:lnTo>
                    <a:lnTo>
                      <a:pt x="343" y="190"/>
                    </a:lnTo>
                    <a:lnTo>
                      <a:pt x="343" y="190"/>
                    </a:lnTo>
                    <a:lnTo>
                      <a:pt x="343" y="190"/>
                    </a:lnTo>
                    <a:lnTo>
                      <a:pt x="343" y="186"/>
                    </a:lnTo>
                    <a:lnTo>
                      <a:pt x="343" y="186"/>
                    </a:lnTo>
                    <a:lnTo>
                      <a:pt x="341" y="184"/>
                    </a:lnTo>
                    <a:lnTo>
                      <a:pt x="341" y="182"/>
                    </a:lnTo>
                    <a:lnTo>
                      <a:pt x="341" y="182"/>
                    </a:lnTo>
                    <a:lnTo>
                      <a:pt x="341" y="182"/>
                    </a:lnTo>
                    <a:lnTo>
                      <a:pt x="340" y="182"/>
                    </a:lnTo>
                    <a:lnTo>
                      <a:pt x="340" y="184"/>
                    </a:lnTo>
                    <a:lnTo>
                      <a:pt x="340" y="186"/>
                    </a:lnTo>
                    <a:lnTo>
                      <a:pt x="338" y="186"/>
                    </a:lnTo>
                    <a:lnTo>
                      <a:pt x="338" y="186"/>
                    </a:lnTo>
                    <a:lnTo>
                      <a:pt x="338" y="186"/>
                    </a:lnTo>
                    <a:lnTo>
                      <a:pt x="338" y="184"/>
                    </a:lnTo>
                    <a:lnTo>
                      <a:pt x="336" y="182"/>
                    </a:lnTo>
                    <a:lnTo>
                      <a:pt x="336" y="182"/>
                    </a:lnTo>
                    <a:lnTo>
                      <a:pt x="336" y="180"/>
                    </a:lnTo>
                    <a:lnTo>
                      <a:pt x="334" y="180"/>
                    </a:lnTo>
                    <a:lnTo>
                      <a:pt x="334" y="180"/>
                    </a:lnTo>
                    <a:lnTo>
                      <a:pt x="332" y="180"/>
                    </a:lnTo>
                    <a:lnTo>
                      <a:pt x="332" y="182"/>
                    </a:lnTo>
                    <a:lnTo>
                      <a:pt x="332" y="182"/>
                    </a:lnTo>
                    <a:lnTo>
                      <a:pt x="332" y="182"/>
                    </a:lnTo>
                    <a:lnTo>
                      <a:pt x="330" y="180"/>
                    </a:lnTo>
                    <a:lnTo>
                      <a:pt x="330" y="178"/>
                    </a:lnTo>
                    <a:lnTo>
                      <a:pt x="328" y="178"/>
                    </a:lnTo>
                    <a:lnTo>
                      <a:pt x="328" y="178"/>
                    </a:lnTo>
                    <a:lnTo>
                      <a:pt x="328" y="178"/>
                    </a:lnTo>
                    <a:lnTo>
                      <a:pt x="326" y="180"/>
                    </a:lnTo>
                    <a:lnTo>
                      <a:pt x="326" y="180"/>
                    </a:lnTo>
                    <a:lnTo>
                      <a:pt x="324" y="180"/>
                    </a:lnTo>
                    <a:lnTo>
                      <a:pt x="324" y="177"/>
                    </a:lnTo>
                    <a:lnTo>
                      <a:pt x="322" y="171"/>
                    </a:lnTo>
                    <a:lnTo>
                      <a:pt x="317" y="161"/>
                    </a:lnTo>
                    <a:lnTo>
                      <a:pt x="315" y="161"/>
                    </a:lnTo>
                    <a:lnTo>
                      <a:pt x="315" y="161"/>
                    </a:lnTo>
                    <a:lnTo>
                      <a:pt x="315" y="161"/>
                    </a:lnTo>
                    <a:lnTo>
                      <a:pt x="313" y="161"/>
                    </a:lnTo>
                    <a:lnTo>
                      <a:pt x="313" y="161"/>
                    </a:lnTo>
                    <a:lnTo>
                      <a:pt x="311" y="163"/>
                    </a:lnTo>
                    <a:lnTo>
                      <a:pt x="309" y="165"/>
                    </a:lnTo>
                    <a:lnTo>
                      <a:pt x="311" y="171"/>
                    </a:lnTo>
                    <a:lnTo>
                      <a:pt x="309" y="171"/>
                    </a:lnTo>
                    <a:lnTo>
                      <a:pt x="309" y="173"/>
                    </a:lnTo>
                    <a:lnTo>
                      <a:pt x="307" y="173"/>
                    </a:lnTo>
                    <a:lnTo>
                      <a:pt x="307" y="173"/>
                    </a:lnTo>
                    <a:lnTo>
                      <a:pt x="307" y="175"/>
                    </a:lnTo>
                    <a:lnTo>
                      <a:pt x="305" y="177"/>
                    </a:lnTo>
                    <a:lnTo>
                      <a:pt x="305" y="177"/>
                    </a:lnTo>
                    <a:lnTo>
                      <a:pt x="305" y="178"/>
                    </a:lnTo>
                    <a:lnTo>
                      <a:pt x="303" y="178"/>
                    </a:lnTo>
                    <a:lnTo>
                      <a:pt x="303" y="178"/>
                    </a:lnTo>
                    <a:lnTo>
                      <a:pt x="299" y="177"/>
                    </a:lnTo>
                    <a:lnTo>
                      <a:pt x="299" y="177"/>
                    </a:lnTo>
                    <a:lnTo>
                      <a:pt x="298" y="177"/>
                    </a:lnTo>
                    <a:lnTo>
                      <a:pt x="296" y="178"/>
                    </a:lnTo>
                    <a:lnTo>
                      <a:pt x="292" y="177"/>
                    </a:lnTo>
                    <a:lnTo>
                      <a:pt x="290" y="175"/>
                    </a:lnTo>
                    <a:lnTo>
                      <a:pt x="288" y="171"/>
                    </a:lnTo>
                    <a:lnTo>
                      <a:pt x="288" y="169"/>
                    </a:lnTo>
                    <a:lnTo>
                      <a:pt x="286" y="161"/>
                    </a:lnTo>
                    <a:lnTo>
                      <a:pt x="279" y="140"/>
                    </a:lnTo>
                    <a:lnTo>
                      <a:pt x="263" y="110"/>
                    </a:lnTo>
                    <a:lnTo>
                      <a:pt x="259" y="104"/>
                    </a:lnTo>
                    <a:lnTo>
                      <a:pt x="259" y="104"/>
                    </a:lnTo>
                    <a:lnTo>
                      <a:pt x="259" y="102"/>
                    </a:lnTo>
                    <a:lnTo>
                      <a:pt x="261" y="102"/>
                    </a:lnTo>
                    <a:lnTo>
                      <a:pt x="261" y="100"/>
                    </a:lnTo>
                    <a:lnTo>
                      <a:pt x="263" y="100"/>
                    </a:lnTo>
                    <a:lnTo>
                      <a:pt x="265" y="102"/>
                    </a:lnTo>
                    <a:lnTo>
                      <a:pt x="265" y="102"/>
                    </a:lnTo>
                    <a:lnTo>
                      <a:pt x="265" y="100"/>
                    </a:lnTo>
                    <a:lnTo>
                      <a:pt x="265" y="100"/>
                    </a:lnTo>
                    <a:lnTo>
                      <a:pt x="265" y="99"/>
                    </a:lnTo>
                    <a:lnTo>
                      <a:pt x="261" y="91"/>
                    </a:lnTo>
                    <a:lnTo>
                      <a:pt x="256" y="83"/>
                    </a:lnTo>
                    <a:lnTo>
                      <a:pt x="256" y="81"/>
                    </a:lnTo>
                    <a:lnTo>
                      <a:pt x="252" y="80"/>
                    </a:lnTo>
                    <a:lnTo>
                      <a:pt x="244" y="76"/>
                    </a:lnTo>
                    <a:lnTo>
                      <a:pt x="238" y="72"/>
                    </a:lnTo>
                    <a:lnTo>
                      <a:pt x="233" y="70"/>
                    </a:lnTo>
                    <a:lnTo>
                      <a:pt x="233" y="68"/>
                    </a:lnTo>
                    <a:lnTo>
                      <a:pt x="231" y="68"/>
                    </a:lnTo>
                    <a:lnTo>
                      <a:pt x="227" y="68"/>
                    </a:lnTo>
                    <a:lnTo>
                      <a:pt x="219" y="66"/>
                    </a:lnTo>
                    <a:lnTo>
                      <a:pt x="219" y="66"/>
                    </a:lnTo>
                    <a:lnTo>
                      <a:pt x="217" y="66"/>
                    </a:lnTo>
                    <a:lnTo>
                      <a:pt x="217" y="64"/>
                    </a:lnTo>
                    <a:lnTo>
                      <a:pt x="217" y="62"/>
                    </a:lnTo>
                    <a:lnTo>
                      <a:pt x="225" y="55"/>
                    </a:lnTo>
                    <a:lnTo>
                      <a:pt x="225" y="53"/>
                    </a:lnTo>
                    <a:lnTo>
                      <a:pt x="227" y="51"/>
                    </a:lnTo>
                    <a:lnTo>
                      <a:pt x="227" y="49"/>
                    </a:lnTo>
                    <a:lnTo>
                      <a:pt x="227" y="47"/>
                    </a:lnTo>
                    <a:lnTo>
                      <a:pt x="227" y="47"/>
                    </a:lnTo>
                    <a:lnTo>
                      <a:pt x="225" y="47"/>
                    </a:lnTo>
                    <a:lnTo>
                      <a:pt x="225" y="47"/>
                    </a:lnTo>
                    <a:lnTo>
                      <a:pt x="225" y="47"/>
                    </a:lnTo>
                    <a:lnTo>
                      <a:pt x="223" y="49"/>
                    </a:lnTo>
                    <a:lnTo>
                      <a:pt x="223" y="49"/>
                    </a:lnTo>
                    <a:lnTo>
                      <a:pt x="221" y="47"/>
                    </a:lnTo>
                    <a:lnTo>
                      <a:pt x="221" y="45"/>
                    </a:lnTo>
                    <a:lnTo>
                      <a:pt x="221" y="43"/>
                    </a:lnTo>
                    <a:lnTo>
                      <a:pt x="221" y="42"/>
                    </a:lnTo>
                    <a:lnTo>
                      <a:pt x="221" y="40"/>
                    </a:lnTo>
                    <a:lnTo>
                      <a:pt x="221" y="40"/>
                    </a:lnTo>
                    <a:lnTo>
                      <a:pt x="223" y="38"/>
                    </a:lnTo>
                    <a:lnTo>
                      <a:pt x="231" y="36"/>
                    </a:lnTo>
                    <a:lnTo>
                      <a:pt x="235" y="36"/>
                    </a:lnTo>
                    <a:lnTo>
                      <a:pt x="237" y="34"/>
                    </a:lnTo>
                    <a:lnTo>
                      <a:pt x="238" y="32"/>
                    </a:lnTo>
                    <a:lnTo>
                      <a:pt x="242" y="26"/>
                    </a:lnTo>
                    <a:lnTo>
                      <a:pt x="252" y="19"/>
                    </a:lnTo>
                    <a:lnTo>
                      <a:pt x="258" y="15"/>
                    </a:lnTo>
                    <a:lnTo>
                      <a:pt x="259" y="15"/>
                    </a:lnTo>
                    <a:lnTo>
                      <a:pt x="259" y="13"/>
                    </a:lnTo>
                    <a:lnTo>
                      <a:pt x="259" y="13"/>
                    </a:lnTo>
                    <a:lnTo>
                      <a:pt x="254" y="3"/>
                    </a:lnTo>
                    <a:lnTo>
                      <a:pt x="254" y="2"/>
                    </a:lnTo>
                    <a:lnTo>
                      <a:pt x="252" y="0"/>
                    </a:lnTo>
                    <a:lnTo>
                      <a:pt x="250" y="0"/>
                    </a:lnTo>
                    <a:lnTo>
                      <a:pt x="250" y="2"/>
                    </a:lnTo>
                    <a:lnTo>
                      <a:pt x="248" y="3"/>
                    </a:lnTo>
                    <a:lnTo>
                      <a:pt x="246" y="3"/>
                    </a:lnTo>
                    <a:lnTo>
                      <a:pt x="244" y="5"/>
                    </a:lnTo>
                    <a:lnTo>
                      <a:pt x="238" y="7"/>
                    </a:lnTo>
                    <a:lnTo>
                      <a:pt x="237" y="9"/>
                    </a:lnTo>
                    <a:lnTo>
                      <a:pt x="237" y="11"/>
                    </a:lnTo>
                    <a:lnTo>
                      <a:pt x="237" y="13"/>
                    </a:lnTo>
                    <a:lnTo>
                      <a:pt x="235" y="13"/>
                    </a:lnTo>
                    <a:lnTo>
                      <a:pt x="233" y="15"/>
                    </a:lnTo>
                    <a:lnTo>
                      <a:pt x="233" y="17"/>
                    </a:lnTo>
                    <a:lnTo>
                      <a:pt x="231" y="17"/>
                    </a:lnTo>
                    <a:lnTo>
                      <a:pt x="221" y="19"/>
                    </a:lnTo>
                    <a:lnTo>
                      <a:pt x="216" y="21"/>
                    </a:lnTo>
                    <a:lnTo>
                      <a:pt x="212" y="26"/>
                    </a:lnTo>
                    <a:lnTo>
                      <a:pt x="208" y="32"/>
                    </a:lnTo>
                    <a:lnTo>
                      <a:pt x="204" y="32"/>
                    </a:lnTo>
                    <a:lnTo>
                      <a:pt x="204" y="30"/>
                    </a:lnTo>
                    <a:lnTo>
                      <a:pt x="202" y="30"/>
                    </a:lnTo>
                    <a:lnTo>
                      <a:pt x="200" y="28"/>
                    </a:lnTo>
                    <a:lnTo>
                      <a:pt x="200" y="28"/>
                    </a:lnTo>
                    <a:lnTo>
                      <a:pt x="200" y="26"/>
                    </a:lnTo>
                    <a:lnTo>
                      <a:pt x="200" y="24"/>
                    </a:lnTo>
                    <a:lnTo>
                      <a:pt x="200" y="24"/>
                    </a:lnTo>
                    <a:lnTo>
                      <a:pt x="198" y="22"/>
                    </a:lnTo>
                    <a:lnTo>
                      <a:pt x="197" y="24"/>
                    </a:lnTo>
                    <a:lnTo>
                      <a:pt x="197" y="26"/>
                    </a:lnTo>
                    <a:lnTo>
                      <a:pt x="193" y="26"/>
                    </a:lnTo>
                    <a:lnTo>
                      <a:pt x="185" y="26"/>
                    </a:lnTo>
                    <a:lnTo>
                      <a:pt x="181" y="28"/>
                    </a:lnTo>
                    <a:lnTo>
                      <a:pt x="185" y="30"/>
                    </a:lnTo>
                    <a:lnTo>
                      <a:pt x="189" y="34"/>
                    </a:lnTo>
                    <a:lnTo>
                      <a:pt x="189" y="38"/>
                    </a:lnTo>
                    <a:lnTo>
                      <a:pt x="189" y="42"/>
                    </a:lnTo>
                    <a:lnTo>
                      <a:pt x="185" y="45"/>
                    </a:lnTo>
                    <a:lnTo>
                      <a:pt x="183" y="47"/>
                    </a:lnTo>
                    <a:lnTo>
                      <a:pt x="181" y="53"/>
                    </a:lnTo>
                    <a:lnTo>
                      <a:pt x="181" y="55"/>
                    </a:lnTo>
                    <a:lnTo>
                      <a:pt x="177" y="55"/>
                    </a:lnTo>
                    <a:lnTo>
                      <a:pt x="176" y="55"/>
                    </a:lnTo>
                    <a:lnTo>
                      <a:pt x="174" y="55"/>
                    </a:lnTo>
                    <a:lnTo>
                      <a:pt x="170" y="57"/>
                    </a:lnTo>
                    <a:lnTo>
                      <a:pt x="166" y="61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2" y="62"/>
                    </a:lnTo>
                    <a:lnTo>
                      <a:pt x="160" y="62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6" y="64"/>
                    </a:lnTo>
                    <a:lnTo>
                      <a:pt x="149" y="62"/>
                    </a:lnTo>
                    <a:lnTo>
                      <a:pt x="147" y="62"/>
                    </a:lnTo>
                    <a:lnTo>
                      <a:pt x="149" y="66"/>
                    </a:lnTo>
                    <a:lnTo>
                      <a:pt x="147" y="66"/>
                    </a:lnTo>
                    <a:lnTo>
                      <a:pt x="143" y="66"/>
                    </a:lnTo>
                    <a:lnTo>
                      <a:pt x="143" y="68"/>
                    </a:lnTo>
                    <a:lnTo>
                      <a:pt x="141" y="68"/>
                    </a:lnTo>
                    <a:lnTo>
                      <a:pt x="141" y="70"/>
                    </a:lnTo>
                    <a:lnTo>
                      <a:pt x="141" y="72"/>
                    </a:lnTo>
                    <a:lnTo>
                      <a:pt x="139" y="72"/>
                    </a:lnTo>
                    <a:lnTo>
                      <a:pt x="135" y="72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8" y="76"/>
                    </a:lnTo>
                    <a:lnTo>
                      <a:pt x="122" y="74"/>
                    </a:lnTo>
                    <a:lnTo>
                      <a:pt x="120" y="76"/>
                    </a:lnTo>
                    <a:lnTo>
                      <a:pt x="120" y="81"/>
                    </a:lnTo>
                    <a:lnTo>
                      <a:pt x="116" y="85"/>
                    </a:lnTo>
                    <a:lnTo>
                      <a:pt x="115" y="85"/>
                    </a:lnTo>
                    <a:lnTo>
                      <a:pt x="107" y="83"/>
                    </a:lnTo>
                    <a:lnTo>
                      <a:pt x="103" y="91"/>
                    </a:lnTo>
                    <a:lnTo>
                      <a:pt x="101" y="93"/>
                    </a:lnTo>
                    <a:lnTo>
                      <a:pt x="99" y="93"/>
                    </a:lnTo>
                    <a:lnTo>
                      <a:pt x="90" y="100"/>
                    </a:lnTo>
                    <a:lnTo>
                      <a:pt x="88" y="102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6" y="110"/>
                    </a:lnTo>
                    <a:lnTo>
                      <a:pt x="86" y="110"/>
                    </a:lnTo>
                    <a:lnTo>
                      <a:pt x="86" y="110"/>
                    </a:lnTo>
                    <a:lnTo>
                      <a:pt x="84" y="112"/>
                    </a:lnTo>
                    <a:lnTo>
                      <a:pt x="84" y="114"/>
                    </a:lnTo>
                    <a:lnTo>
                      <a:pt x="84" y="114"/>
                    </a:lnTo>
                    <a:lnTo>
                      <a:pt x="84" y="116"/>
                    </a:lnTo>
                    <a:lnTo>
                      <a:pt x="84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0" y="120"/>
                    </a:lnTo>
                    <a:lnTo>
                      <a:pt x="80" y="120"/>
                    </a:lnTo>
                    <a:lnTo>
                      <a:pt x="82" y="121"/>
                    </a:lnTo>
                    <a:lnTo>
                      <a:pt x="88" y="133"/>
                    </a:lnTo>
                    <a:lnTo>
                      <a:pt x="92" y="148"/>
                    </a:lnTo>
                    <a:lnTo>
                      <a:pt x="95" y="154"/>
                    </a:lnTo>
                    <a:lnTo>
                      <a:pt x="95" y="156"/>
                    </a:lnTo>
                    <a:lnTo>
                      <a:pt x="95" y="159"/>
                    </a:lnTo>
                    <a:lnTo>
                      <a:pt x="94" y="161"/>
                    </a:lnTo>
                    <a:lnTo>
                      <a:pt x="92" y="163"/>
                    </a:lnTo>
                    <a:lnTo>
                      <a:pt x="90" y="167"/>
                    </a:lnTo>
                    <a:lnTo>
                      <a:pt x="86" y="178"/>
                    </a:lnTo>
                    <a:lnTo>
                      <a:pt x="84" y="182"/>
                    </a:lnTo>
                    <a:lnTo>
                      <a:pt x="84" y="190"/>
                    </a:lnTo>
                    <a:lnTo>
                      <a:pt x="82" y="196"/>
                    </a:lnTo>
                    <a:lnTo>
                      <a:pt x="82" y="198"/>
                    </a:lnTo>
                    <a:lnTo>
                      <a:pt x="82" y="201"/>
                    </a:lnTo>
                    <a:lnTo>
                      <a:pt x="84" y="203"/>
                    </a:lnTo>
                    <a:lnTo>
                      <a:pt x="84" y="205"/>
                    </a:lnTo>
                    <a:lnTo>
                      <a:pt x="86" y="207"/>
                    </a:lnTo>
                    <a:lnTo>
                      <a:pt x="88" y="207"/>
                    </a:lnTo>
                    <a:lnTo>
                      <a:pt x="94" y="207"/>
                    </a:lnTo>
                    <a:lnTo>
                      <a:pt x="95" y="207"/>
                    </a:lnTo>
                    <a:lnTo>
                      <a:pt x="97" y="207"/>
                    </a:lnTo>
                    <a:lnTo>
                      <a:pt x="101" y="209"/>
                    </a:lnTo>
                    <a:lnTo>
                      <a:pt x="101" y="211"/>
                    </a:lnTo>
                    <a:lnTo>
                      <a:pt x="94" y="215"/>
                    </a:lnTo>
                    <a:lnTo>
                      <a:pt x="92" y="217"/>
                    </a:lnTo>
                    <a:lnTo>
                      <a:pt x="90" y="220"/>
                    </a:lnTo>
                    <a:lnTo>
                      <a:pt x="90" y="222"/>
                    </a:lnTo>
                    <a:lnTo>
                      <a:pt x="88" y="224"/>
                    </a:lnTo>
                    <a:lnTo>
                      <a:pt x="86" y="226"/>
                    </a:lnTo>
                    <a:lnTo>
                      <a:pt x="84" y="230"/>
                    </a:lnTo>
                    <a:lnTo>
                      <a:pt x="82" y="230"/>
                    </a:lnTo>
                    <a:lnTo>
                      <a:pt x="78" y="230"/>
                    </a:lnTo>
                    <a:lnTo>
                      <a:pt x="76" y="230"/>
                    </a:lnTo>
                    <a:lnTo>
                      <a:pt x="74" y="232"/>
                    </a:lnTo>
                    <a:lnTo>
                      <a:pt x="73" y="234"/>
                    </a:lnTo>
                    <a:lnTo>
                      <a:pt x="71" y="236"/>
                    </a:lnTo>
                    <a:lnTo>
                      <a:pt x="71" y="237"/>
                    </a:lnTo>
                    <a:lnTo>
                      <a:pt x="69" y="239"/>
                    </a:lnTo>
                    <a:lnTo>
                      <a:pt x="67" y="239"/>
                    </a:lnTo>
                    <a:lnTo>
                      <a:pt x="63" y="237"/>
                    </a:lnTo>
                    <a:lnTo>
                      <a:pt x="61" y="237"/>
                    </a:lnTo>
                    <a:lnTo>
                      <a:pt x="61" y="237"/>
                    </a:lnTo>
                    <a:lnTo>
                      <a:pt x="59" y="239"/>
                    </a:lnTo>
                    <a:lnTo>
                      <a:pt x="57" y="239"/>
                    </a:lnTo>
                    <a:lnTo>
                      <a:pt x="57" y="241"/>
                    </a:lnTo>
                    <a:lnTo>
                      <a:pt x="57" y="245"/>
                    </a:lnTo>
                    <a:lnTo>
                      <a:pt x="57" y="247"/>
                    </a:lnTo>
                    <a:lnTo>
                      <a:pt x="53" y="249"/>
                    </a:lnTo>
                    <a:lnTo>
                      <a:pt x="52" y="249"/>
                    </a:lnTo>
                    <a:lnTo>
                      <a:pt x="52" y="251"/>
                    </a:lnTo>
                    <a:lnTo>
                      <a:pt x="52" y="253"/>
                    </a:lnTo>
                    <a:lnTo>
                      <a:pt x="52" y="255"/>
                    </a:lnTo>
                    <a:lnTo>
                      <a:pt x="52" y="255"/>
                    </a:lnTo>
                    <a:lnTo>
                      <a:pt x="50" y="257"/>
                    </a:lnTo>
                    <a:lnTo>
                      <a:pt x="48" y="258"/>
                    </a:lnTo>
                    <a:lnTo>
                      <a:pt x="46" y="262"/>
                    </a:lnTo>
                    <a:lnTo>
                      <a:pt x="44" y="264"/>
                    </a:lnTo>
                    <a:lnTo>
                      <a:pt x="42" y="264"/>
                    </a:lnTo>
                    <a:lnTo>
                      <a:pt x="42" y="268"/>
                    </a:lnTo>
                    <a:lnTo>
                      <a:pt x="40" y="270"/>
                    </a:lnTo>
                    <a:lnTo>
                      <a:pt x="40" y="270"/>
                    </a:lnTo>
                    <a:lnTo>
                      <a:pt x="40" y="272"/>
                    </a:lnTo>
                    <a:lnTo>
                      <a:pt x="38" y="274"/>
                    </a:lnTo>
                    <a:lnTo>
                      <a:pt x="36" y="274"/>
                    </a:lnTo>
                    <a:lnTo>
                      <a:pt x="33" y="276"/>
                    </a:lnTo>
                    <a:lnTo>
                      <a:pt x="31" y="276"/>
                    </a:lnTo>
                    <a:lnTo>
                      <a:pt x="29" y="277"/>
                    </a:lnTo>
                    <a:lnTo>
                      <a:pt x="27" y="279"/>
                    </a:lnTo>
                    <a:lnTo>
                      <a:pt x="27" y="283"/>
                    </a:lnTo>
                    <a:lnTo>
                      <a:pt x="27" y="285"/>
                    </a:lnTo>
                    <a:lnTo>
                      <a:pt x="27" y="289"/>
                    </a:lnTo>
                    <a:lnTo>
                      <a:pt x="27" y="293"/>
                    </a:lnTo>
                    <a:lnTo>
                      <a:pt x="25" y="293"/>
                    </a:lnTo>
                    <a:lnTo>
                      <a:pt x="19" y="295"/>
                    </a:lnTo>
                    <a:lnTo>
                      <a:pt x="19" y="296"/>
                    </a:lnTo>
                    <a:lnTo>
                      <a:pt x="17" y="298"/>
                    </a:lnTo>
                    <a:lnTo>
                      <a:pt x="12" y="308"/>
                    </a:lnTo>
                    <a:lnTo>
                      <a:pt x="10" y="308"/>
                    </a:lnTo>
                    <a:lnTo>
                      <a:pt x="8" y="308"/>
                    </a:lnTo>
                    <a:lnTo>
                      <a:pt x="6" y="308"/>
                    </a:lnTo>
                    <a:lnTo>
                      <a:pt x="6" y="308"/>
                    </a:lnTo>
                    <a:lnTo>
                      <a:pt x="8" y="310"/>
                    </a:lnTo>
                    <a:lnTo>
                      <a:pt x="8" y="312"/>
                    </a:lnTo>
                    <a:lnTo>
                      <a:pt x="6" y="312"/>
                    </a:lnTo>
                    <a:lnTo>
                      <a:pt x="2" y="312"/>
                    </a:lnTo>
                    <a:lnTo>
                      <a:pt x="0" y="315"/>
                    </a:lnTo>
                    <a:lnTo>
                      <a:pt x="0" y="317"/>
                    </a:lnTo>
                    <a:lnTo>
                      <a:pt x="0" y="317"/>
                    </a:lnTo>
                    <a:lnTo>
                      <a:pt x="6" y="321"/>
                    </a:lnTo>
                    <a:lnTo>
                      <a:pt x="8" y="325"/>
                    </a:lnTo>
                    <a:lnTo>
                      <a:pt x="12" y="331"/>
                    </a:lnTo>
                    <a:lnTo>
                      <a:pt x="13" y="336"/>
                    </a:lnTo>
                    <a:lnTo>
                      <a:pt x="12" y="338"/>
                    </a:lnTo>
                    <a:lnTo>
                      <a:pt x="15" y="340"/>
                    </a:lnTo>
                    <a:lnTo>
                      <a:pt x="15" y="342"/>
                    </a:lnTo>
                    <a:lnTo>
                      <a:pt x="15" y="346"/>
                    </a:lnTo>
                    <a:lnTo>
                      <a:pt x="15" y="348"/>
                    </a:lnTo>
                    <a:lnTo>
                      <a:pt x="15" y="350"/>
                    </a:lnTo>
                    <a:lnTo>
                      <a:pt x="6" y="363"/>
                    </a:lnTo>
                    <a:lnTo>
                      <a:pt x="4" y="367"/>
                    </a:lnTo>
                    <a:lnTo>
                      <a:pt x="4" y="369"/>
                    </a:lnTo>
                    <a:lnTo>
                      <a:pt x="4" y="369"/>
                    </a:lnTo>
                    <a:lnTo>
                      <a:pt x="4" y="371"/>
                    </a:lnTo>
                    <a:lnTo>
                      <a:pt x="8" y="373"/>
                    </a:lnTo>
                    <a:lnTo>
                      <a:pt x="55" y="374"/>
                    </a:lnTo>
                    <a:lnTo>
                      <a:pt x="67" y="374"/>
                    </a:lnTo>
                    <a:lnTo>
                      <a:pt x="84" y="376"/>
                    </a:lnTo>
                    <a:lnTo>
                      <a:pt x="92" y="378"/>
                    </a:lnTo>
                    <a:lnTo>
                      <a:pt x="99" y="380"/>
                    </a:lnTo>
                    <a:lnTo>
                      <a:pt x="101" y="382"/>
                    </a:lnTo>
                    <a:lnTo>
                      <a:pt x="101" y="380"/>
                    </a:lnTo>
                    <a:lnTo>
                      <a:pt x="101" y="380"/>
                    </a:lnTo>
                    <a:lnTo>
                      <a:pt x="103" y="378"/>
                    </a:lnTo>
                    <a:lnTo>
                      <a:pt x="103" y="376"/>
                    </a:lnTo>
                    <a:lnTo>
                      <a:pt x="105" y="376"/>
                    </a:lnTo>
                    <a:lnTo>
                      <a:pt x="109" y="373"/>
                    </a:lnTo>
                    <a:lnTo>
                      <a:pt x="109" y="373"/>
                    </a:lnTo>
                    <a:lnTo>
                      <a:pt x="111" y="373"/>
                    </a:lnTo>
                    <a:lnTo>
                      <a:pt x="113" y="373"/>
                    </a:lnTo>
                    <a:lnTo>
                      <a:pt x="115" y="373"/>
                    </a:lnTo>
                    <a:lnTo>
                      <a:pt x="120" y="371"/>
                    </a:lnTo>
                    <a:lnTo>
                      <a:pt x="122" y="371"/>
                    </a:lnTo>
                    <a:lnTo>
                      <a:pt x="122" y="371"/>
                    </a:lnTo>
                    <a:lnTo>
                      <a:pt x="122" y="371"/>
                    </a:lnTo>
                    <a:lnTo>
                      <a:pt x="124" y="373"/>
                    </a:lnTo>
                    <a:lnTo>
                      <a:pt x="124" y="373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2" y="374"/>
                    </a:lnTo>
                    <a:lnTo>
                      <a:pt x="134" y="376"/>
                    </a:lnTo>
                    <a:lnTo>
                      <a:pt x="134" y="376"/>
                    </a:lnTo>
                    <a:lnTo>
                      <a:pt x="135" y="376"/>
                    </a:lnTo>
                    <a:lnTo>
                      <a:pt x="135" y="378"/>
                    </a:lnTo>
                    <a:lnTo>
                      <a:pt x="135" y="378"/>
                    </a:lnTo>
                    <a:lnTo>
                      <a:pt x="135" y="380"/>
                    </a:lnTo>
                    <a:lnTo>
                      <a:pt x="137" y="380"/>
                    </a:lnTo>
                    <a:lnTo>
                      <a:pt x="137" y="382"/>
                    </a:lnTo>
                    <a:lnTo>
                      <a:pt x="137" y="382"/>
                    </a:lnTo>
                    <a:lnTo>
                      <a:pt x="141" y="384"/>
                    </a:lnTo>
                    <a:lnTo>
                      <a:pt x="141" y="384"/>
                    </a:lnTo>
                    <a:lnTo>
                      <a:pt x="141" y="386"/>
                    </a:lnTo>
                    <a:lnTo>
                      <a:pt x="143" y="386"/>
                    </a:lnTo>
                    <a:lnTo>
                      <a:pt x="143" y="388"/>
                    </a:lnTo>
                    <a:lnTo>
                      <a:pt x="145" y="388"/>
                    </a:lnTo>
                    <a:lnTo>
                      <a:pt x="147" y="386"/>
                    </a:lnTo>
                    <a:lnTo>
                      <a:pt x="151" y="386"/>
                    </a:lnTo>
                    <a:lnTo>
                      <a:pt x="153" y="386"/>
                    </a:lnTo>
                    <a:lnTo>
                      <a:pt x="153" y="384"/>
                    </a:lnTo>
                    <a:lnTo>
                      <a:pt x="153" y="384"/>
                    </a:lnTo>
                    <a:lnTo>
                      <a:pt x="155" y="384"/>
                    </a:lnTo>
                    <a:lnTo>
                      <a:pt x="155" y="384"/>
                    </a:lnTo>
                    <a:lnTo>
                      <a:pt x="155" y="382"/>
                    </a:lnTo>
                    <a:lnTo>
                      <a:pt x="155" y="382"/>
                    </a:lnTo>
                    <a:lnTo>
                      <a:pt x="155" y="380"/>
                    </a:lnTo>
                    <a:lnTo>
                      <a:pt x="155" y="380"/>
                    </a:lnTo>
                    <a:lnTo>
                      <a:pt x="156" y="378"/>
                    </a:lnTo>
                    <a:lnTo>
                      <a:pt x="156" y="380"/>
                    </a:lnTo>
                    <a:lnTo>
                      <a:pt x="158" y="380"/>
                    </a:lnTo>
                    <a:lnTo>
                      <a:pt x="158" y="382"/>
                    </a:lnTo>
                    <a:lnTo>
                      <a:pt x="158" y="382"/>
                    </a:lnTo>
                    <a:lnTo>
                      <a:pt x="158" y="384"/>
                    </a:lnTo>
                    <a:lnTo>
                      <a:pt x="158" y="386"/>
                    </a:lnTo>
                    <a:lnTo>
                      <a:pt x="156" y="386"/>
                    </a:lnTo>
                    <a:lnTo>
                      <a:pt x="156" y="386"/>
                    </a:lnTo>
                    <a:lnTo>
                      <a:pt x="156" y="388"/>
                    </a:lnTo>
                    <a:lnTo>
                      <a:pt x="156" y="388"/>
                    </a:lnTo>
                    <a:lnTo>
                      <a:pt x="156" y="388"/>
                    </a:lnTo>
                    <a:lnTo>
                      <a:pt x="156" y="388"/>
                    </a:lnTo>
                    <a:lnTo>
                      <a:pt x="156" y="390"/>
                    </a:lnTo>
                    <a:lnTo>
                      <a:pt x="156" y="390"/>
                    </a:lnTo>
                    <a:lnTo>
                      <a:pt x="156" y="390"/>
                    </a:lnTo>
                    <a:lnTo>
                      <a:pt x="156" y="393"/>
                    </a:lnTo>
                    <a:lnTo>
                      <a:pt x="156" y="393"/>
                    </a:lnTo>
                    <a:lnTo>
                      <a:pt x="158" y="395"/>
                    </a:lnTo>
                    <a:lnTo>
                      <a:pt x="160" y="395"/>
                    </a:lnTo>
                    <a:lnTo>
                      <a:pt x="160" y="397"/>
                    </a:lnTo>
                    <a:lnTo>
                      <a:pt x="162" y="397"/>
                    </a:lnTo>
                    <a:lnTo>
                      <a:pt x="162" y="399"/>
                    </a:lnTo>
                    <a:lnTo>
                      <a:pt x="162" y="399"/>
                    </a:lnTo>
                    <a:lnTo>
                      <a:pt x="164" y="399"/>
                    </a:lnTo>
                    <a:lnTo>
                      <a:pt x="164" y="397"/>
                    </a:lnTo>
                    <a:lnTo>
                      <a:pt x="164" y="395"/>
                    </a:lnTo>
                    <a:lnTo>
                      <a:pt x="164" y="395"/>
                    </a:lnTo>
                    <a:lnTo>
                      <a:pt x="164" y="393"/>
                    </a:lnTo>
                    <a:lnTo>
                      <a:pt x="166" y="393"/>
                    </a:lnTo>
                    <a:lnTo>
                      <a:pt x="168" y="393"/>
                    </a:lnTo>
                    <a:lnTo>
                      <a:pt x="168" y="393"/>
                    </a:lnTo>
                    <a:lnTo>
                      <a:pt x="168" y="393"/>
                    </a:lnTo>
                    <a:lnTo>
                      <a:pt x="170" y="393"/>
                    </a:lnTo>
                    <a:lnTo>
                      <a:pt x="170" y="395"/>
                    </a:lnTo>
                    <a:lnTo>
                      <a:pt x="170" y="397"/>
                    </a:lnTo>
                    <a:lnTo>
                      <a:pt x="170" y="397"/>
                    </a:lnTo>
                    <a:lnTo>
                      <a:pt x="172" y="399"/>
                    </a:lnTo>
                    <a:lnTo>
                      <a:pt x="174" y="403"/>
                    </a:lnTo>
                    <a:lnTo>
                      <a:pt x="174" y="403"/>
                    </a:lnTo>
                    <a:lnTo>
                      <a:pt x="174" y="405"/>
                    </a:lnTo>
                    <a:lnTo>
                      <a:pt x="174" y="405"/>
                    </a:lnTo>
                    <a:lnTo>
                      <a:pt x="174" y="405"/>
                    </a:lnTo>
                    <a:lnTo>
                      <a:pt x="174" y="405"/>
                    </a:lnTo>
                    <a:lnTo>
                      <a:pt x="174" y="405"/>
                    </a:lnTo>
                    <a:lnTo>
                      <a:pt x="172" y="405"/>
                    </a:lnTo>
                    <a:lnTo>
                      <a:pt x="172" y="405"/>
                    </a:lnTo>
                    <a:lnTo>
                      <a:pt x="172" y="405"/>
                    </a:lnTo>
                    <a:lnTo>
                      <a:pt x="172" y="405"/>
                    </a:lnTo>
                    <a:lnTo>
                      <a:pt x="170" y="405"/>
                    </a:lnTo>
                    <a:lnTo>
                      <a:pt x="170" y="405"/>
                    </a:lnTo>
                    <a:lnTo>
                      <a:pt x="170" y="407"/>
                    </a:lnTo>
                    <a:lnTo>
                      <a:pt x="170" y="407"/>
                    </a:lnTo>
                    <a:lnTo>
                      <a:pt x="170" y="409"/>
                    </a:lnTo>
                    <a:lnTo>
                      <a:pt x="170" y="411"/>
                    </a:lnTo>
                    <a:lnTo>
                      <a:pt x="170" y="411"/>
                    </a:lnTo>
                    <a:lnTo>
                      <a:pt x="170" y="411"/>
                    </a:lnTo>
                    <a:lnTo>
                      <a:pt x="170" y="413"/>
                    </a:lnTo>
                    <a:lnTo>
                      <a:pt x="168" y="413"/>
                    </a:lnTo>
                    <a:lnTo>
                      <a:pt x="168" y="413"/>
                    </a:lnTo>
                    <a:lnTo>
                      <a:pt x="166" y="413"/>
                    </a:lnTo>
                    <a:lnTo>
                      <a:pt x="166" y="414"/>
                    </a:lnTo>
                    <a:lnTo>
                      <a:pt x="166" y="414"/>
                    </a:lnTo>
                    <a:lnTo>
                      <a:pt x="166" y="414"/>
                    </a:lnTo>
                    <a:lnTo>
                      <a:pt x="168" y="418"/>
                    </a:lnTo>
                    <a:lnTo>
                      <a:pt x="168" y="418"/>
                    </a:lnTo>
                    <a:lnTo>
                      <a:pt x="168" y="418"/>
                    </a:lnTo>
                    <a:lnTo>
                      <a:pt x="168" y="418"/>
                    </a:lnTo>
                    <a:lnTo>
                      <a:pt x="168" y="420"/>
                    </a:lnTo>
                    <a:lnTo>
                      <a:pt x="168" y="420"/>
                    </a:lnTo>
                    <a:lnTo>
                      <a:pt x="168" y="420"/>
                    </a:lnTo>
                    <a:lnTo>
                      <a:pt x="170" y="422"/>
                    </a:lnTo>
                    <a:lnTo>
                      <a:pt x="172" y="424"/>
                    </a:lnTo>
                    <a:lnTo>
                      <a:pt x="172" y="424"/>
                    </a:lnTo>
                    <a:lnTo>
                      <a:pt x="172" y="426"/>
                    </a:lnTo>
                    <a:lnTo>
                      <a:pt x="172" y="426"/>
                    </a:lnTo>
                    <a:lnTo>
                      <a:pt x="172" y="426"/>
                    </a:lnTo>
                    <a:lnTo>
                      <a:pt x="174" y="428"/>
                    </a:lnTo>
                    <a:lnTo>
                      <a:pt x="174" y="428"/>
                    </a:lnTo>
                    <a:lnTo>
                      <a:pt x="174" y="432"/>
                    </a:lnTo>
                    <a:lnTo>
                      <a:pt x="176" y="432"/>
                    </a:lnTo>
                    <a:lnTo>
                      <a:pt x="177" y="432"/>
                    </a:lnTo>
                    <a:lnTo>
                      <a:pt x="181" y="430"/>
                    </a:lnTo>
                    <a:lnTo>
                      <a:pt x="183" y="430"/>
                    </a:lnTo>
                    <a:lnTo>
                      <a:pt x="183" y="428"/>
                    </a:lnTo>
                    <a:lnTo>
                      <a:pt x="181" y="426"/>
                    </a:lnTo>
                    <a:lnTo>
                      <a:pt x="181" y="426"/>
                    </a:lnTo>
                    <a:lnTo>
                      <a:pt x="181" y="424"/>
                    </a:lnTo>
                    <a:lnTo>
                      <a:pt x="181" y="424"/>
                    </a:lnTo>
                    <a:lnTo>
                      <a:pt x="181" y="422"/>
                    </a:lnTo>
                    <a:lnTo>
                      <a:pt x="183" y="418"/>
                    </a:lnTo>
                    <a:lnTo>
                      <a:pt x="185" y="418"/>
                    </a:lnTo>
                    <a:lnTo>
                      <a:pt x="185" y="418"/>
                    </a:lnTo>
                    <a:lnTo>
                      <a:pt x="187" y="418"/>
                    </a:lnTo>
                    <a:lnTo>
                      <a:pt x="187" y="418"/>
                    </a:lnTo>
                    <a:lnTo>
                      <a:pt x="187" y="416"/>
                    </a:lnTo>
                    <a:lnTo>
                      <a:pt x="187" y="414"/>
                    </a:lnTo>
                    <a:lnTo>
                      <a:pt x="187" y="414"/>
                    </a:lnTo>
                    <a:lnTo>
                      <a:pt x="189" y="413"/>
                    </a:lnTo>
                    <a:lnTo>
                      <a:pt x="191" y="411"/>
                    </a:lnTo>
                    <a:lnTo>
                      <a:pt x="193" y="409"/>
                    </a:lnTo>
                    <a:lnTo>
                      <a:pt x="197" y="403"/>
                    </a:lnTo>
                    <a:lnTo>
                      <a:pt x="198" y="399"/>
                    </a:lnTo>
                    <a:lnTo>
                      <a:pt x="200" y="397"/>
                    </a:lnTo>
                    <a:lnTo>
                      <a:pt x="200" y="395"/>
                    </a:lnTo>
                    <a:lnTo>
                      <a:pt x="202" y="397"/>
                    </a:lnTo>
                    <a:lnTo>
                      <a:pt x="204" y="397"/>
                    </a:lnTo>
                    <a:lnTo>
                      <a:pt x="208" y="399"/>
                    </a:lnTo>
                    <a:lnTo>
                      <a:pt x="212" y="399"/>
                    </a:lnTo>
                    <a:lnTo>
                      <a:pt x="212" y="399"/>
                    </a:lnTo>
                    <a:lnTo>
                      <a:pt x="214" y="399"/>
                    </a:lnTo>
                    <a:lnTo>
                      <a:pt x="217" y="401"/>
                    </a:lnTo>
                    <a:lnTo>
                      <a:pt x="219" y="403"/>
                    </a:lnTo>
                    <a:lnTo>
                      <a:pt x="223" y="403"/>
                    </a:lnTo>
                    <a:lnTo>
                      <a:pt x="225" y="401"/>
                    </a:lnTo>
                    <a:lnTo>
                      <a:pt x="227" y="401"/>
                    </a:lnTo>
                    <a:lnTo>
                      <a:pt x="233" y="403"/>
                    </a:lnTo>
                    <a:lnTo>
                      <a:pt x="233" y="401"/>
                    </a:lnTo>
                    <a:lnTo>
                      <a:pt x="235" y="401"/>
                    </a:lnTo>
                    <a:lnTo>
                      <a:pt x="235" y="399"/>
                    </a:lnTo>
                    <a:lnTo>
                      <a:pt x="235" y="399"/>
                    </a:lnTo>
                    <a:lnTo>
                      <a:pt x="235" y="397"/>
                    </a:lnTo>
                    <a:lnTo>
                      <a:pt x="237" y="395"/>
                    </a:lnTo>
                    <a:lnTo>
                      <a:pt x="240" y="393"/>
                    </a:lnTo>
                    <a:lnTo>
                      <a:pt x="242" y="393"/>
                    </a:lnTo>
                    <a:lnTo>
                      <a:pt x="244" y="393"/>
                    </a:lnTo>
                    <a:lnTo>
                      <a:pt x="246" y="393"/>
                    </a:lnTo>
                    <a:lnTo>
                      <a:pt x="248" y="393"/>
                    </a:lnTo>
                    <a:lnTo>
                      <a:pt x="248" y="395"/>
                    </a:lnTo>
                    <a:lnTo>
                      <a:pt x="252" y="397"/>
                    </a:lnTo>
                    <a:lnTo>
                      <a:pt x="252" y="397"/>
                    </a:lnTo>
                    <a:lnTo>
                      <a:pt x="254" y="403"/>
                    </a:lnTo>
                    <a:lnTo>
                      <a:pt x="254" y="403"/>
                    </a:lnTo>
                    <a:lnTo>
                      <a:pt x="256" y="405"/>
                    </a:lnTo>
                    <a:lnTo>
                      <a:pt x="258" y="405"/>
                    </a:lnTo>
                    <a:lnTo>
                      <a:pt x="263" y="407"/>
                    </a:lnTo>
                    <a:lnTo>
                      <a:pt x="265" y="407"/>
                    </a:lnTo>
                    <a:lnTo>
                      <a:pt x="267" y="405"/>
                    </a:lnTo>
                    <a:lnTo>
                      <a:pt x="269" y="405"/>
                    </a:lnTo>
                    <a:lnTo>
                      <a:pt x="271" y="403"/>
                    </a:lnTo>
                    <a:lnTo>
                      <a:pt x="275" y="405"/>
                    </a:lnTo>
                    <a:lnTo>
                      <a:pt x="275" y="403"/>
                    </a:lnTo>
                    <a:lnTo>
                      <a:pt x="277" y="403"/>
                    </a:lnTo>
                    <a:lnTo>
                      <a:pt x="280" y="397"/>
                    </a:lnTo>
                    <a:lnTo>
                      <a:pt x="286" y="395"/>
                    </a:lnTo>
                    <a:lnTo>
                      <a:pt x="288" y="393"/>
                    </a:lnTo>
                    <a:lnTo>
                      <a:pt x="290" y="393"/>
                    </a:lnTo>
                    <a:lnTo>
                      <a:pt x="294" y="392"/>
                    </a:lnTo>
                    <a:lnTo>
                      <a:pt x="298" y="390"/>
                    </a:lnTo>
                    <a:lnTo>
                      <a:pt x="298" y="388"/>
                    </a:lnTo>
                    <a:lnTo>
                      <a:pt x="298" y="386"/>
                    </a:lnTo>
                    <a:lnTo>
                      <a:pt x="298" y="386"/>
                    </a:lnTo>
                    <a:lnTo>
                      <a:pt x="296" y="384"/>
                    </a:lnTo>
                    <a:lnTo>
                      <a:pt x="294" y="382"/>
                    </a:lnTo>
                    <a:lnTo>
                      <a:pt x="294" y="382"/>
                    </a:lnTo>
                    <a:lnTo>
                      <a:pt x="294" y="380"/>
                    </a:lnTo>
                    <a:lnTo>
                      <a:pt x="292" y="378"/>
                    </a:lnTo>
                    <a:lnTo>
                      <a:pt x="292" y="378"/>
                    </a:lnTo>
                    <a:lnTo>
                      <a:pt x="292" y="376"/>
                    </a:lnTo>
                    <a:lnTo>
                      <a:pt x="292" y="374"/>
                    </a:lnTo>
                    <a:lnTo>
                      <a:pt x="294" y="373"/>
                    </a:lnTo>
                    <a:lnTo>
                      <a:pt x="296" y="365"/>
                    </a:lnTo>
                    <a:lnTo>
                      <a:pt x="296" y="363"/>
                    </a:lnTo>
                    <a:lnTo>
                      <a:pt x="298" y="363"/>
                    </a:lnTo>
                    <a:lnTo>
                      <a:pt x="298" y="361"/>
                    </a:lnTo>
                    <a:lnTo>
                      <a:pt x="298" y="361"/>
                    </a:lnTo>
                    <a:lnTo>
                      <a:pt x="298" y="361"/>
                    </a:lnTo>
                    <a:lnTo>
                      <a:pt x="298" y="359"/>
                    </a:lnTo>
                    <a:lnTo>
                      <a:pt x="298" y="359"/>
                    </a:lnTo>
                    <a:lnTo>
                      <a:pt x="298" y="359"/>
                    </a:lnTo>
                    <a:lnTo>
                      <a:pt x="298" y="357"/>
                    </a:lnTo>
                    <a:lnTo>
                      <a:pt x="298" y="357"/>
                    </a:lnTo>
                    <a:lnTo>
                      <a:pt x="298" y="357"/>
                    </a:lnTo>
                    <a:lnTo>
                      <a:pt x="301" y="357"/>
                    </a:lnTo>
                    <a:lnTo>
                      <a:pt x="301" y="355"/>
                    </a:lnTo>
                    <a:lnTo>
                      <a:pt x="301" y="355"/>
                    </a:lnTo>
                    <a:lnTo>
                      <a:pt x="301" y="355"/>
                    </a:lnTo>
                    <a:lnTo>
                      <a:pt x="298" y="354"/>
                    </a:lnTo>
                    <a:lnTo>
                      <a:pt x="296" y="354"/>
                    </a:lnTo>
                    <a:lnTo>
                      <a:pt x="296" y="352"/>
                    </a:lnTo>
                    <a:lnTo>
                      <a:pt x="296" y="352"/>
                    </a:lnTo>
                    <a:lnTo>
                      <a:pt x="296" y="350"/>
                    </a:lnTo>
                    <a:lnTo>
                      <a:pt x="296" y="350"/>
                    </a:lnTo>
                    <a:lnTo>
                      <a:pt x="298" y="350"/>
                    </a:lnTo>
                    <a:lnTo>
                      <a:pt x="298" y="348"/>
                    </a:lnTo>
                    <a:lnTo>
                      <a:pt x="299" y="348"/>
                    </a:lnTo>
                    <a:lnTo>
                      <a:pt x="301" y="352"/>
                    </a:lnTo>
                    <a:lnTo>
                      <a:pt x="303" y="352"/>
                    </a:lnTo>
                    <a:lnTo>
                      <a:pt x="305" y="352"/>
                    </a:lnTo>
                    <a:lnTo>
                      <a:pt x="305" y="354"/>
                    </a:lnTo>
                    <a:lnTo>
                      <a:pt x="307" y="354"/>
                    </a:lnTo>
                    <a:lnTo>
                      <a:pt x="309" y="354"/>
                    </a:lnTo>
                    <a:lnTo>
                      <a:pt x="309" y="354"/>
                    </a:lnTo>
                    <a:lnTo>
                      <a:pt x="311" y="352"/>
                    </a:lnTo>
                    <a:lnTo>
                      <a:pt x="311" y="352"/>
                    </a:lnTo>
                    <a:lnTo>
                      <a:pt x="311" y="352"/>
                    </a:lnTo>
                    <a:lnTo>
                      <a:pt x="311" y="350"/>
                    </a:lnTo>
                    <a:lnTo>
                      <a:pt x="311" y="348"/>
                    </a:lnTo>
                    <a:lnTo>
                      <a:pt x="311" y="348"/>
                    </a:lnTo>
                    <a:lnTo>
                      <a:pt x="313" y="348"/>
                    </a:lnTo>
                    <a:lnTo>
                      <a:pt x="313" y="350"/>
                    </a:lnTo>
                    <a:lnTo>
                      <a:pt x="315" y="352"/>
                    </a:lnTo>
                    <a:lnTo>
                      <a:pt x="315" y="352"/>
                    </a:lnTo>
                    <a:lnTo>
                      <a:pt x="317" y="352"/>
                    </a:lnTo>
                    <a:lnTo>
                      <a:pt x="317" y="352"/>
                    </a:lnTo>
                    <a:lnTo>
                      <a:pt x="317" y="352"/>
                    </a:lnTo>
                    <a:lnTo>
                      <a:pt x="319" y="350"/>
                    </a:lnTo>
                    <a:lnTo>
                      <a:pt x="319" y="348"/>
                    </a:lnTo>
                    <a:lnTo>
                      <a:pt x="319" y="348"/>
                    </a:lnTo>
                    <a:lnTo>
                      <a:pt x="319" y="346"/>
                    </a:lnTo>
                    <a:lnTo>
                      <a:pt x="319" y="346"/>
                    </a:lnTo>
                    <a:lnTo>
                      <a:pt x="319" y="344"/>
                    </a:lnTo>
                    <a:lnTo>
                      <a:pt x="319" y="344"/>
                    </a:lnTo>
                    <a:lnTo>
                      <a:pt x="319" y="342"/>
                    </a:lnTo>
                    <a:lnTo>
                      <a:pt x="319" y="342"/>
                    </a:lnTo>
                    <a:lnTo>
                      <a:pt x="320" y="342"/>
                    </a:lnTo>
                    <a:lnTo>
                      <a:pt x="320" y="342"/>
                    </a:lnTo>
                    <a:lnTo>
                      <a:pt x="322" y="342"/>
                    </a:lnTo>
                    <a:lnTo>
                      <a:pt x="322" y="344"/>
                    </a:lnTo>
                    <a:lnTo>
                      <a:pt x="324" y="348"/>
                    </a:lnTo>
                    <a:lnTo>
                      <a:pt x="324" y="352"/>
                    </a:lnTo>
                    <a:lnTo>
                      <a:pt x="326" y="354"/>
                    </a:lnTo>
                    <a:lnTo>
                      <a:pt x="326" y="354"/>
                    </a:lnTo>
                    <a:lnTo>
                      <a:pt x="328" y="355"/>
                    </a:lnTo>
                    <a:lnTo>
                      <a:pt x="330" y="355"/>
                    </a:lnTo>
                    <a:lnTo>
                      <a:pt x="332" y="357"/>
                    </a:lnTo>
                    <a:lnTo>
                      <a:pt x="336" y="357"/>
                    </a:lnTo>
                    <a:lnTo>
                      <a:pt x="343" y="352"/>
                    </a:lnTo>
                    <a:lnTo>
                      <a:pt x="349" y="348"/>
                    </a:lnTo>
                    <a:lnTo>
                      <a:pt x="349" y="348"/>
                    </a:lnTo>
                    <a:lnTo>
                      <a:pt x="349" y="346"/>
                    </a:lnTo>
                    <a:lnTo>
                      <a:pt x="349" y="344"/>
                    </a:lnTo>
                    <a:lnTo>
                      <a:pt x="349" y="342"/>
                    </a:lnTo>
                    <a:lnTo>
                      <a:pt x="351" y="340"/>
                    </a:lnTo>
                    <a:lnTo>
                      <a:pt x="351" y="340"/>
                    </a:lnTo>
                    <a:lnTo>
                      <a:pt x="351" y="340"/>
                    </a:lnTo>
                    <a:lnTo>
                      <a:pt x="349" y="338"/>
                    </a:lnTo>
                    <a:lnTo>
                      <a:pt x="349" y="338"/>
                    </a:lnTo>
                    <a:lnTo>
                      <a:pt x="349" y="338"/>
                    </a:lnTo>
                    <a:lnTo>
                      <a:pt x="347" y="338"/>
                    </a:lnTo>
                    <a:lnTo>
                      <a:pt x="347" y="336"/>
                    </a:lnTo>
                    <a:lnTo>
                      <a:pt x="345" y="336"/>
                    </a:lnTo>
                    <a:lnTo>
                      <a:pt x="345" y="336"/>
                    </a:lnTo>
                    <a:lnTo>
                      <a:pt x="345" y="335"/>
                    </a:lnTo>
                    <a:lnTo>
                      <a:pt x="345" y="335"/>
                    </a:lnTo>
                    <a:lnTo>
                      <a:pt x="345" y="335"/>
                    </a:lnTo>
                    <a:lnTo>
                      <a:pt x="345" y="333"/>
                    </a:lnTo>
                    <a:lnTo>
                      <a:pt x="343" y="333"/>
                    </a:lnTo>
                    <a:lnTo>
                      <a:pt x="343" y="333"/>
                    </a:lnTo>
                    <a:lnTo>
                      <a:pt x="343" y="333"/>
                    </a:lnTo>
                    <a:lnTo>
                      <a:pt x="341" y="333"/>
                    </a:lnTo>
                    <a:lnTo>
                      <a:pt x="340" y="336"/>
                    </a:lnTo>
                    <a:lnTo>
                      <a:pt x="340" y="336"/>
                    </a:lnTo>
                    <a:lnTo>
                      <a:pt x="340" y="336"/>
                    </a:lnTo>
                    <a:lnTo>
                      <a:pt x="338" y="336"/>
                    </a:lnTo>
                    <a:lnTo>
                      <a:pt x="338" y="336"/>
                    </a:lnTo>
                    <a:lnTo>
                      <a:pt x="338" y="336"/>
                    </a:lnTo>
                    <a:lnTo>
                      <a:pt x="338" y="335"/>
                    </a:lnTo>
                    <a:lnTo>
                      <a:pt x="338" y="333"/>
                    </a:lnTo>
                    <a:lnTo>
                      <a:pt x="340" y="333"/>
                    </a:lnTo>
                    <a:lnTo>
                      <a:pt x="341" y="331"/>
                    </a:lnTo>
                    <a:lnTo>
                      <a:pt x="345" y="329"/>
                    </a:lnTo>
                    <a:lnTo>
                      <a:pt x="347" y="329"/>
                    </a:lnTo>
                    <a:lnTo>
                      <a:pt x="349" y="327"/>
                    </a:lnTo>
                    <a:lnTo>
                      <a:pt x="351" y="325"/>
                    </a:lnTo>
                    <a:lnTo>
                      <a:pt x="359" y="319"/>
                    </a:lnTo>
                    <a:lnTo>
                      <a:pt x="361" y="317"/>
                    </a:lnTo>
                    <a:lnTo>
                      <a:pt x="362" y="317"/>
                    </a:lnTo>
                    <a:lnTo>
                      <a:pt x="362" y="315"/>
                    </a:lnTo>
                    <a:lnTo>
                      <a:pt x="362" y="315"/>
                    </a:lnTo>
                    <a:lnTo>
                      <a:pt x="362" y="315"/>
                    </a:lnTo>
                    <a:lnTo>
                      <a:pt x="361" y="315"/>
                    </a:lnTo>
                    <a:lnTo>
                      <a:pt x="361" y="315"/>
                    </a:lnTo>
                    <a:lnTo>
                      <a:pt x="361" y="314"/>
                    </a:lnTo>
                    <a:lnTo>
                      <a:pt x="361" y="314"/>
                    </a:lnTo>
                    <a:lnTo>
                      <a:pt x="361" y="310"/>
                    </a:lnTo>
                    <a:lnTo>
                      <a:pt x="361" y="308"/>
                    </a:lnTo>
                    <a:lnTo>
                      <a:pt x="361" y="308"/>
                    </a:lnTo>
                    <a:lnTo>
                      <a:pt x="364" y="306"/>
                    </a:lnTo>
                    <a:lnTo>
                      <a:pt x="366" y="306"/>
                    </a:lnTo>
                    <a:lnTo>
                      <a:pt x="368" y="308"/>
                    </a:lnTo>
                    <a:lnTo>
                      <a:pt x="370" y="308"/>
                    </a:lnTo>
                    <a:lnTo>
                      <a:pt x="374" y="306"/>
                    </a:lnTo>
                    <a:lnTo>
                      <a:pt x="376" y="308"/>
                    </a:lnTo>
                    <a:lnTo>
                      <a:pt x="376" y="308"/>
                    </a:lnTo>
                    <a:lnTo>
                      <a:pt x="376" y="310"/>
                    </a:lnTo>
                    <a:lnTo>
                      <a:pt x="378" y="314"/>
                    </a:lnTo>
                    <a:lnTo>
                      <a:pt x="380" y="315"/>
                    </a:lnTo>
                    <a:lnTo>
                      <a:pt x="380" y="317"/>
                    </a:lnTo>
                    <a:lnTo>
                      <a:pt x="381" y="315"/>
                    </a:lnTo>
                    <a:lnTo>
                      <a:pt x="383" y="315"/>
                    </a:lnTo>
                    <a:lnTo>
                      <a:pt x="383" y="314"/>
                    </a:lnTo>
                    <a:lnTo>
                      <a:pt x="383" y="312"/>
                    </a:lnTo>
                    <a:lnTo>
                      <a:pt x="383" y="310"/>
                    </a:lnTo>
                    <a:lnTo>
                      <a:pt x="381" y="304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2" name="Freeform 14">
                <a:extLst>
                  <a:ext uri="{FF2B5EF4-FFF2-40B4-BE49-F238E27FC236}">
                    <a16:creationId xmlns:a16="http://schemas.microsoft.com/office/drawing/2014/main" id="{AAA8AFCE-F518-44F1-8A30-B6138CE7A8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7607" y="6001224"/>
                <a:ext cx="1412875" cy="1217613"/>
              </a:xfrm>
              <a:custGeom>
                <a:avLst/>
                <a:gdLst>
                  <a:gd name="T0" fmla="*/ 583 w 890"/>
                  <a:gd name="T1" fmla="*/ 746 h 767"/>
                  <a:gd name="T2" fmla="*/ 574 w 890"/>
                  <a:gd name="T3" fmla="*/ 746 h 767"/>
                  <a:gd name="T4" fmla="*/ 568 w 890"/>
                  <a:gd name="T5" fmla="*/ 744 h 767"/>
                  <a:gd name="T6" fmla="*/ 570 w 890"/>
                  <a:gd name="T7" fmla="*/ 748 h 767"/>
                  <a:gd name="T8" fmla="*/ 568 w 890"/>
                  <a:gd name="T9" fmla="*/ 750 h 767"/>
                  <a:gd name="T10" fmla="*/ 566 w 890"/>
                  <a:gd name="T11" fmla="*/ 752 h 767"/>
                  <a:gd name="T12" fmla="*/ 564 w 890"/>
                  <a:gd name="T13" fmla="*/ 753 h 767"/>
                  <a:gd name="T14" fmla="*/ 568 w 890"/>
                  <a:gd name="T15" fmla="*/ 755 h 767"/>
                  <a:gd name="T16" fmla="*/ 572 w 890"/>
                  <a:gd name="T17" fmla="*/ 757 h 767"/>
                  <a:gd name="T18" fmla="*/ 574 w 890"/>
                  <a:gd name="T19" fmla="*/ 759 h 767"/>
                  <a:gd name="T20" fmla="*/ 578 w 890"/>
                  <a:gd name="T21" fmla="*/ 759 h 767"/>
                  <a:gd name="T22" fmla="*/ 576 w 890"/>
                  <a:gd name="T23" fmla="*/ 761 h 767"/>
                  <a:gd name="T24" fmla="*/ 578 w 890"/>
                  <a:gd name="T25" fmla="*/ 765 h 767"/>
                  <a:gd name="T26" fmla="*/ 583 w 890"/>
                  <a:gd name="T27" fmla="*/ 767 h 767"/>
                  <a:gd name="T28" fmla="*/ 17 w 890"/>
                  <a:gd name="T29" fmla="*/ 597 h 767"/>
                  <a:gd name="T30" fmla="*/ 11 w 890"/>
                  <a:gd name="T31" fmla="*/ 599 h 767"/>
                  <a:gd name="T32" fmla="*/ 6 w 890"/>
                  <a:gd name="T33" fmla="*/ 601 h 767"/>
                  <a:gd name="T34" fmla="*/ 2 w 890"/>
                  <a:gd name="T35" fmla="*/ 613 h 767"/>
                  <a:gd name="T36" fmla="*/ 0 w 890"/>
                  <a:gd name="T37" fmla="*/ 613 h 767"/>
                  <a:gd name="T38" fmla="*/ 2 w 890"/>
                  <a:gd name="T39" fmla="*/ 613 h 767"/>
                  <a:gd name="T40" fmla="*/ 6 w 890"/>
                  <a:gd name="T41" fmla="*/ 615 h 767"/>
                  <a:gd name="T42" fmla="*/ 13 w 890"/>
                  <a:gd name="T43" fmla="*/ 609 h 767"/>
                  <a:gd name="T44" fmla="*/ 15 w 890"/>
                  <a:gd name="T45" fmla="*/ 601 h 767"/>
                  <a:gd name="T46" fmla="*/ 19 w 890"/>
                  <a:gd name="T47" fmla="*/ 601 h 767"/>
                  <a:gd name="T48" fmla="*/ 25 w 890"/>
                  <a:gd name="T49" fmla="*/ 597 h 767"/>
                  <a:gd name="T50" fmla="*/ 890 w 890"/>
                  <a:gd name="T51" fmla="*/ 6 h 767"/>
                  <a:gd name="T52" fmla="*/ 888 w 890"/>
                  <a:gd name="T53" fmla="*/ 2 h 767"/>
                  <a:gd name="T54" fmla="*/ 885 w 890"/>
                  <a:gd name="T55" fmla="*/ 6 h 767"/>
                  <a:gd name="T56" fmla="*/ 881 w 890"/>
                  <a:gd name="T57" fmla="*/ 0 h 767"/>
                  <a:gd name="T58" fmla="*/ 877 w 890"/>
                  <a:gd name="T59" fmla="*/ 4 h 767"/>
                  <a:gd name="T60" fmla="*/ 877 w 890"/>
                  <a:gd name="T61" fmla="*/ 6 h 767"/>
                  <a:gd name="T62" fmla="*/ 885 w 890"/>
                  <a:gd name="T63" fmla="*/ 10 h 767"/>
                  <a:gd name="T64" fmla="*/ 887 w 890"/>
                  <a:gd name="T65" fmla="*/ 6 h 767"/>
                  <a:gd name="T66" fmla="*/ 583 w 890"/>
                  <a:gd name="T67" fmla="*/ 620 h 767"/>
                  <a:gd name="T68" fmla="*/ 578 w 890"/>
                  <a:gd name="T69" fmla="*/ 622 h 767"/>
                  <a:gd name="T70" fmla="*/ 574 w 890"/>
                  <a:gd name="T71" fmla="*/ 624 h 767"/>
                  <a:gd name="T72" fmla="*/ 570 w 890"/>
                  <a:gd name="T73" fmla="*/ 622 h 767"/>
                  <a:gd name="T74" fmla="*/ 574 w 890"/>
                  <a:gd name="T75" fmla="*/ 618 h 767"/>
                  <a:gd name="T76" fmla="*/ 568 w 890"/>
                  <a:gd name="T77" fmla="*/ 618 h 767"/>
                  <a:gd name="T78" fmla="*/ 564 w 890"/>
                  <a:gd name="T79" fmla="*/ 615 h 767"/>
                  <a:gd name="T80" fmla="*/ 562 w 890"/>
                  <a:gd name="T81" fmla="*/ 615 h 767"/>
                  <a:gd name="T82" fmla="*/ 560 w 890"/>
                  <a:gd name="T83" fmla="*/ 618 h 767"/>
                  <a:gd name="T84" fmla="*/ 562 w 890"/>
                  <a:gd name="T85" fmla="*/ 622 h 767"/>
                  <a:gd name="T86" fmla="*/ 564 w 890"/>
                  <a:gd name="T87" fmla="*/ 626 h 767"/>
                  <a:gd name="T88" fmla="*/ 564 w 890"/>
                  <a:gd name="T89" fmla="*/ 630 h 767"/>
                  <a:gd name="T90" fmla="*/ 564 w 890"/>
                  <a:gd name="T91" fmla="*/ 634 h 767"/>
                  <a:gd name="T92" fmla="*/ 568 w 890"/>
                  <a:gd name="T93" fmla="*/ 636 h 767"/>
                  <a:gd name="T94" fmla="*/ 570 w 890"/>
                  <a:gd name="T95" fmla="*/ 636 h 767"/>
                  <a:gd name="T96" fmla="*/ 578 w 890"/>
                  <a:gd name="T97" fmla="*/ 636 h 767"/>
                  <a:gd name="T98" fmla="*/ 581 w 890"/>
                  <a:gd name="T99" fmla="*/ 624 h 767"/>
                  <a:gd name="T100" fmla="*/ 585 w 890"/>
                  <a:gd name="T101" fmla="*/ 618 h 7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90" h="767">
                    <a:moveTo>
                      <a:pt x="581" y="750"/>
                    </a:moveTo>
                    <a:lnTo>
                      <a:pt x="583" y="746"/>
                    </a:lnTo>
                    <a:lnTo>
                      <a:pt x="583" y="746"/>
                    </a:lnTo>
                    <a:lnTo>
                      <a:pt x="583" y="746"/>
                    </a:lnTo>
                    <a:lnTo>
                      <a:pt x="580" y="744"/>
                    </a:lnTo>
                    <a:lnTo>
                      <a:pt x="578" y="744"/>
                    </a:lnTo>
                    <a:lnTo>
                      <a:pt x="576" y="746"/>
                    </a:lnTo>
                    <a:lnTo>
                      <a:pt x="574" y="746"/>
                    </a:lnTo>
                    <a:lnTo>
                      <a:pt x="574" y="746"/>
                    </a:lnTo>
                    <a:lnTo>
                      <a:pt x="572" y="746"/>
                    </a:lnTo>
                    <a:lnTo>
                      <a:pt x="568" y="744"/>
                    </a:lnTo>
                    <a:lnTo>
                      <a:pt x="568" y="744"/>
                    </a:lnTo>
                    <a:lnTo>
                      <a:pt x="568" y="746"/>
                    </a:lnTo>
                    <a:lnTo>
                      <a:pt x="568" y="746"/>
                    </a:lnTo>
                    <a:lnTo>
                      <a:pt x="568" y="746"/>
                    </a:lnTo>
                    <a:lnTo>
                      <a:pt x="570" y="748"/>
                    </a:lnTo>
                    <a:lnTo>
                      <a:pt x="570" y="750"/>
                    </a:lnTo>
                    <a:lnTo>
                      <a:pt x="570" y="750"/>
                    </a:lnTo>
                    <a:lnTo>
                      <a:pt x="568" y="750"/>
                    </a:lnTo>
                    <a:lnTo>
                      <a:pt x="568" y="750"/>
                    </a:lnTo>
                    <a:lnTo>
                      <a:pt x="566" y="750"/>
                    </a:lnTo>
                    <a:lnTo>
                      <a:pt x="564" y="750"/>
                    </a:lnTo>
                    <a:lnTo>
                      <a:pt x="564" y="750"/>
                    </a:lnTo>
                    <a:lnTo>
                      <a:pt x="566" y="752"/>
                    </a:lnTo>
                    <a:lnTo>
                      <a:pt x="566" y="752"/>
                    </a:lnTo>
                    <a:lnTo>
                      <a:pt x="566" y="752"/>
                    </a:lnTo>
                    <a:lnTo>
                      <a:pt x="564" y="753"/>
                    </a:lnTo>
                    <a:lnTo>
                      <a:pt x="564" y="753"/>
                    </a:lnTo>
                    <a:lnTo>
                      <a:pt x="566" y="755"/>
                    </a:lnTo>
                    <a:lnTo>
                      <a:pt x="566" y="755"/>
                    </a:lnTo>
                    <a:lnTo>
                      <a:pt x="568" y="755"/>
                    </a:lnTo>
                    <a:lnTo>
                      <a:pt x="568" y="755"/>
                    </a:lnTo>
                    <a:lnTo>
                      <a:pt x="570" y="757"/>
                    </a:lnTo>
                    <a:lnTo>
                      <a:pt x="570" y="757"/>
                    </a:lnTo>
                    <a:lnTo>
                      <a:pt x="572" y="757"/>
                    </a:lnTo>
                    <a:lnTo>
                      <a:pt x="572" y="757"/>
                    </a:lnTo>
                    <a:lnTo>
                      <a:pt x="574" y="757"/>
                    </a:lnTo>
                    <a:lnTo>
                      <a:pt x="574" y="757"/>
                    </a:lnTo>
                    <a:lnTo>
                      <a:pt x="574" y="759"/>
                    </a:lnTo>
                    <a:lnTo>
                      <a:pt x="574" y="759"/>
                    </a:lnTo>
                    <a:lnTo>
                      <a:pt x="574" y="759"/>
                    </a:lnTo>
                    <a:lnTo>
                      <a:pt x="576" y="759"/>
                    </a:lnTo>
                    <a:lnTo>
                      <a:pt x="576" y="759"/>
                    </a:lnTo>
                    <a:lnTo>
                      <a:pt x="578" y="759"/>
                    </a:lnTo>
                    <a:lnTo>
                      <a:pt x="578" y="759"/>
                    </a:lnTo>
                    <a:lnTo>
                      <a:pt x="576" y="761"/>
                    </a:lnTo>
                    <a:lnTo>
                      <a:pt x="576" y="761"/>
                    </a:lnTo>
                    <a:lnTo>
                      <a:pt x="576" y="761"/>
                    </a:lnTo>
                    <a:lnTo>
                      <a:pt x="576" y="763"/>
                    </a:lnTo>
                    <a:lnTo>
                      <a:pt x="576" y="763"/>
                    </a:lnTo>
                    <a:lnTo>
                      <a:pt x="578" y="765"/>
                    </a:lnTo>
                    <a:lnTo>
                      <a:pt x="578" y="765"/>
                    </a:lnTo>
                    <a:lnTo>
                      <a:pt x="578" y="765"/>
                    </a:lnTo>
                    <a:lnTo>
                      <a:pt x="581" y="767"/>
                    </a:lnTo>
                    <a:lnTo>
                      <a:pt x="583" y="767"/>
                    </a:lnTo>
                    <a:lnTo>
                      <a:pt x="583" y="767"/>
                    </a:lnTo>
                    <a:lnTo>
                      <a:pt x="581" y="750"/>
                    </a:lnTo>
                    <a:close/>
                    <a:moveTo>
                      <a:pt x="21" y="597"/>
                    </a:moveTo>
                    <a:lnTo>
                      <a:pt x="19" y="597"/>
                    </a:lnTo>
                    <a:lnTo>
                      <a:pt x="17" y="597"/>
                    </a:lnTo>
                    <a:lnTo>
                      <a:pt x="15" y="597"/>
                    </a:lnTo>
                    <a:lnTo>
                      <a:pt x="13" y="597"/>
                    </a:lnTo>
                    <a:lnTo>
                      <a:pt x="13" y="599"/>
                    </a:lnTo>
                    <a:lnTo>
                      <a:pt x="11" y="599"/>
                    </a:lnTo>
                    <a:lnTo>
                      <a:pt x="9" y="601"/>
                    </a:lnTo>
                    <a:lnTo>
                      <a:pt x="9" y="601"/>
                    </a:lnTo>
                    <a:lnTo>
                      <a:pt x="7" y="601"/>
                    </a:lnTo>
                    <a:lnTo>
                      <a:pt x="6" y="601"/>
                    </a:lnTo>
                    <a:lnTo>
                      <a:pt x="2" y="601"/>
                    </a:lnTo>
                    <a:lnTo>
                      <a:pt x="2" y="611"/>
                    </a:lnTo>
                    <a:lnTo>
                      <a:pt x="2" y="613"/>
                    </a:lnTo>
                    <a:lnTo>
                      <a:pt x="2" y="613"/>
                    </a:lnTo>
                    <a:lnTo>
                      <a:pt x="2" y="613"/>
                    </a:lnTo>
                    <a:lnTo>
                      <a:pt x="0" y="613"/>
                    </a:lnTo>
                    <a:lnTo>
                      <a:pt x="0" y="615"/>
                    </a:lnTo>
                    <a:lnTo>
                      <a:pt x="0" y="613"/>
                    </a:lnTo>
                    <a:lnTo>
                      <a:pt x="2" y="613"/>
                    </a:lnTo>
                    <a:lnTo>
                      <a:pt x="2" y="613"/>
                    </a:lnTo>
                    <a:lnTo>
                      <a:pt x="2" y="613"/>
                    </a:lnTo>
                    <a:lnTo>
                      <a:pt x="2" y="613"/>
                    </a:lnTo>
                    <a:lnTo>
                      <a:pt x="4" y="613"/>
                    </a:lnTo>
                    <a:lnTo>
                      <a:pt x="4" y="613"/>
                    </a:lnTo>
                    <a:lnTo>
                      <a:pt x="4" y="615"/>
                    </a:lnTo>
                    <a:lnTo>
                      <a:pt x="6" y="615"/>
                    </a:lnTo>
                    <a:lnTo>
                      <a:pt x="9" y="618"/>
                    </a:lnTo>
                    <a:lnTo>
                      <a:pt x="7" y="615"/>
                    </a:lnTo>
                    <a:lnTo>
                      <a:pt x="7" y="613"/>
                    </a:lnTo>
                    <a:lnTo>
                      <a:pt x="13" y="609"/>
                    </a:lnTo>
                    <a:lnTo>
                      <a:pt x="13" y="607"/>
                    </a:lnTo>
                    <a:lnTo>
                      <a:pt x="13" y="605"/>
                    </a:lnTo>
                    <a:lnTo>
                      <a:pt x="13" y="603"/>
                    </a:lnTo>
                    <a:lnTo>
                      <a:pt x="15" y="601"/>
                    </a:lnTo>
                    <a:lnTo>
                      <a:pt x="15" y="601"/>
                    </a:lnTo>
                    <a:lnTo>
                      <a:pt x="17" y="603"/>
                    </a:lnTo>
                    <a:lnTo>
                      <a:pt x="19" y="601"/>
                    </a:lnTo>
                    <a:lnTo>
                      <a:pt x="19" y="601"/>
                    </a:lnTo>
                    <a:lnTo>
                      <a:pt x="21" y="599"/>
                    </a:lnTo>
                    <a:lnTo>
                      <a:pt x="23" y="597"/>
                    </a:lnTo>
                    <a:lnTo>
                      <a:pt x="25" y="599"/>
                    </a:lnTo>
                    <a:lnTo>
                      <a:pt x="25" y="597"/>
                    </a:lnTo>
                    <a:lnTo>
                      <a:pt x="23" y="596"/>
                    </a:lnTo>
                    <a:lnTo>
                      <a:pt x="21" y="597"/>
                    </a:lnTo>
                    <a:close/>
                    <a:moveTo>
                      <a:pt x="890" y="6"/>
                    </a:moveTo>
                    <a:lnTo>
                      <a:pt x="890" y="6"/>
                    </a:lnTo>
                    <a:lnTo>
                      <a:pt x="890" y="4"/>
                    </a:lnTo>
                    <a:lnTo>
                      <a:pt x="890" y="2"/>
                    </a:lnTo>
                    <a:lnTo>
                      <a:pt x="890" y="2"/>
                    </a:lnTo>
                    <a:lnTo>
                      <a:pt x="888" y="2"/>
                    </a:lnTo>
                    <a:lnTo>
                      <a:pt x="888" y="2"/>
                    </a:lnTo>
                    <a:lnTo>
                      <a:pt x="888" y="4"/>
                    </a:lnTo>
                    <a:lnTo>
                      <a:pt x="887" y="4"/>
                    </a:lnTo>
                    <a:lnTo>
                      <a:pt x="885" y="6"/>
                    </a:lnTo>
                    <a:lnTo>
                      <a:pt x="881" y="6"/>
                    </a:lnTo>
                    <a:lnTo>
                      <a:pt x="879" y="4"/>
                    </a:lnTo>
                    <a:lnTo>
                      <a:pt x="879" y="4"/>
                    </a:lnTo>
                    <a:lnTo>
                      <a:pt x="881" y="0"/>
                    </a:lnTo>
                    <a:lnTo>
                      <a:pt x="879" y="2"/>
                    </a:lnTo>
                    <a:lnTo>
                      <a:pt x="879" y="2"/>
                    </a:lnTo>
                    <a:lnTo>
                      <a:pt x="877" y="2"/>
                    </a:lnTo>
                    <a:lnTo>
                      <a:pt x="877" y="4"/>
                    </a:lnTo>
                    <a:lnTo>
                      <a:pt x="875" y="4"/>
                    </a:lnTo>
                    <a:lnTo>
                      <a:pt x="875" y="4"/>
                    </a:lnTo>
                    <a:lnTo>
                      <a:pt x="875" y="6"/>
                    </a:lnTo>
                    <a:lnTo>
                      <a:pt x="877" y="6"/>
                    </a:lnTo>
                    <a:lnTo>
                      <a:pt x="877" y="6"/>
                    </a:lnTo>
                    <a:lnTo>
                      <a:pt x="881" y="8"/>
                    </a:lnTo>
                    <a:lnTo>
                      <a:pt x="885" y="8"/>
                    </a:lnTo>
                    <a:lnTo>
                      <a:pt x="885" y="10"/>
                    </a:lnTo>
                    <a:lnTo>
                      <a:pt x="887" y="8"/>
                    </a:lnTo>
                    <a:lnTo>
                      <a:pt x="888" y="8"/>
                    </a:lnTo>
                    <a:lnTo>
                      <a:pt x="887" y="8"/>
                    </a:lnTo>
                    <a:lnTo>
                      <a:pt x="887" y="6"/>
                    </a:lnTo>
                    <a:lnTo>
                      <a:pt x="887" y="6"/>
                    </a:lnTo>
                    <a:lnTo>
                      <a:pt x="888" y="6"/>
                    </a:lnTo>
                    <a:lnTo>
                      <a:pt x="890" y="6"/>
                    </a:lnTo>
                    <a:close/>
                    <a:moveTo>
                      <a:pt x="583" y="620"/>
                    </a:moveTo>
                    <a:lnTo>
                      <a:pt x="583" y="620"/>
                    </a:lnTo>
                    <a:lnTo>
                      <a:pt x="583" y="620"/>
                    </a:lnTo>
                    <a:lnTo>
                      <a:pt x="580" y="622"/>
                    </a:lnTo>
                    <a:lnTo>
                      <a:pt x="578" y="622"/>
                    </a:lnTo>
                    <a:lnTo>
                      <a:pt x="576" y="626"/>
                    </a:lnTo>
                    <a:lnTo>
                      <a:pt x="574" y="626"/>
                    </a:lnTo>
                    <a:lnTo>
                      <a:pt x="574" y="626"/>
                    </a:lnTo>
                    <a:lnTo>
                      <a:pt x="574" y="624"/>
                    </a:lnTo>
                    <a:lnTo>
                      <a:pt x="572" y="624"/>
                    </a:lnTo>
                    <a:lnTo>
                      <a:pt x="572" y="624"/>
                    </a:lnTo>
                    <a:lnTo>
                      <a:pt x="570" y="624"/>
                    </a:lnTo>
                    <a:lnTo>
                      <a:pt x="570" y="622"/>
                    </a:lnTo>
                    <a:lnTo>
                      <a:pt x="570" y="622"/>
                    </a:lnTo>
                    <a:lnTo>
                      <a:pt x="572" y="620"/>
                    </a:lnTo>
                    <a:lnTo>
                      <a:pt x="574" y="620"/>
                    </a:lnTo>
                    <a:lnTo>
                      <a:pt x="574" y="618"/>
                    </a:lnTo>
                    <a:lnTo>
                      <a:pt x="574" y="618"/>
                    </a:lnTo>
                    <a:lnTo>
                      <a:pt x="572" y="618"/>
                    </a:lnTo>
                    <a:lnTo>
                      <a:pt x="572" y="618"/>
                    </a:lnTo>
                    <a:lnTo>
                      <a:pt x="568" y="618"/>
                    </a:lnTo>
                    <a:lnTo>
                      <a:pt x="566" y="618"/>
                    </a:lnTo>
                    <a:lnTo>
                      <a:pt x="566" y="617"/>
                    </a:lnTo>
                    <a:lnTo>
                      <a:pt x="564" y="617"/>
                    </a:lnTo>
                    <a:lnTo>
                      <a:pt x="564" y="615"/>
                    </a:lnTo>
                    <a:lnTo>
                      <a:pt x="562" y="615"/>
                    </a:lnTo>
                    <a:lnTo>
                      <a:pt x="562" y="615"/>
                    </a:lnTo>
                    <a:lnTo>
                      <a:pt x="562" y="615"/>
                    </a:lnTo>
                    <a:lnTo>
                      <a:pt x="562" y="615"/>
                    </a:lnTo>
                    <a:lnTo>
                      <a:pt x="560" y="617"/>
                    </a:lnTo>
                    <a:lnTo>
                      <a:pt x="560" y="617"/>
                    </a:lnTo>
                    <a:lnTo>
                      <a:pt x="560" y="618"/>
                    </a:lnTo>
                    <a:lnTo>
                      <a:pt x="560" y="618"/>
                    </a:lnTo>
                    <a:lnTo>
                      <a:pt x="562" y="620"/>
                    </a:lnTo>
                    <a:lnTo>
                      <a:pt x="562" y="622"/>
                    </a:lnTo>
                    <a:lnTo>
                      <a:pt x="562" y="622"/>
                    </a:lnTo>
                    <a:lnTo>
                      <a:pt x="562" y="622"/>
                    </a:lnTo>
                    <a:lnTo>
                      <a:pt x="562" y="624"/>
                    </a:lnTo>
                    <a:lnTo>
                      <a:pt x="564" y="624"/>
                    </a:lnTo>
                    <a:lnTo>
                      <a:pt x="564" y="624"/>
                    </a:lnTo>
                    <a:lnTo>
                      <a:pt x="564" y="626"/>
                    </a:lnTo>
                    <a:lnTo>
                      <a:pt x="564" y="626"/>
                    </a:lnTo>
                    <a:lnTo>
                      <a:pt x="566" y="628"/>
                    </a:lnTo>
                    <a:lnTo>
                      <a:pt x="566" y="628"/>
                    </a:lnTo>
                    <a:lnTo>
                      <a:pt x="564" y="630"/>
                    </a:lnTo>
                    <a:lnTo>
                      <a:pt x="564" y="630"/>
                    </a:lnTo>
                    <a:lnTo>
                      <a:pt x="564" y="632"/>
                    </a:lnTo>
                    <a:lnTo>
                      <a:pt x="564" y="632"/>
                    </a:lnTo>
                    <a:lnTo>
                      <a:pt x="564" y="634"/>
                    </a:lnTo>
                    <a:lnTo>
                      <a:pt x="564" y="634"/>
                    </a:lnTo>
                    <a:lnTo>
                      <a:pt x="566" y="634"/>
                    </a:lnTo>
                    <a:lnTo>
                      <a:pt x="566" y="634"/>
                    </a:lnTo>
                    <a:lnTo>
                      <a:pt x="568" y="636"/>
                    </a:lnTo>
                    <a:lnTo>
                      <a:pt x="568" y="636"/>
                    </a:lnTo>
                    <a:lnTo>
                      <a:pt x="568" y="636"/>
                    </a:lnTo>
                    <a:lnTo>
                      <a:pt x="570" y="636"/>
                    </a:lnTo>
                    <a:lnTo>
                      <a:pt x="570" y="636"/>
                    </a:lnTo>
                    <a:lnTo>
                      <a:pt x="570" y="636"/>
                    </a:lnTo>
                    <a:lnTo>
                      <a:pt x="572" y="636"/>
                    </a:lnTo>
                    <a:lnTo>
                      <a:pt x="574" y="636"/>
                    </a:lnTo>
                    <a:lnTo>
                      <a:pt x="578" y="636"/>
                    </a:lnTo>
                    <a:lnTo>
                      <a:pt x="578" y="636"/>
                    </a:lnTo>
                    <a:lnTo>
                      <a:pt x="578" y="636"/>
                    </a:lnTo>
                    <a:lnTo>
                      <a:pt x="580" y="630"/>
                    </a:lnTo>
                    <a:lnTo>
                      <a:pt x="581" y="624"/>
                    </a:lnTo>
                    <a:lnTo>
                      <a:pt x="583" y="620"/>
                    </a:lnTo>
                    <a:lnTo>
                      <a:pt x="583" y="620"/>
                    </a:lnTo>
                    <a:lnTo>
                      <a:pt x="583" y="618"/>
                    </a:lnTo>
                    <a:lnTo>
                      <a:pt x="585" y="618"/>
                    </a:lnTo>
                    <a:lnTo>
                      <a:pt x="583" y="618"/>
                    </a:lnTo>
                    <a:lnTo>
                      <a:pt x="583" y="62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3" name="Freeform 15">
                <a:extLst>
                  <a:ext uri="{FF2B5EF4-FFF2-40B4-BE49-F238E27FC236}">
                    <a16:creationId xmlns:a16="http://schemas.microsoft.com/office/drawing/2014/main" id="{4D138507-573F-46AC-BD25-A68FFB5E4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9507" y="4777261"/>
                <a:ext cx="1211263" cy="1009650"/>
              </a:xfrm>
              <a:custGeom>
                <a:avLst/>
                <a:gdLst>
                  <a:gd name="T0" fmla="*/ 717 w 763"/>
                  <a:gd name="T1" fmla="*/ 80 h 636"/>
                  <a:gd name="T2" fmla="*/ 690 w 763"/>
                  <a:gd name="T3" fmla="*/ 59 h 636"/>
                  <a:gd name="T4" fmla="*/ 622 w 763"/>
                  <a:gd name="T5" fmla="*/ 29 h 636"/>
                  <a:gd name="T6" fmla="*/ 570 w 763"/>
                  <a:gd name="T7" fmla="*/ 8 h 636"/>
                  <a:gd name="T8" fmla="*/ 574 w 763"/>
                  <a:gd name="T9" fmla="*/ 63 h 636"/>
                  <a:gd name="T10" fmla="*/ 542 w 763"/>
                  <a:gd name="T11" fmla="*/ 63 h 636"/>
                  <a:gd name="T12" fmla="*/ 465 w 763"/>
                  <a:gd name="T13" fmla="*/ 59 h 636"/>
                  <a:gd name="T14" fmla="*/ 450 w 763"/>
                  <a:gd name="T15" fmla="*/ 14 h 636"/>
                  <a:gd name="T16" fmla="*/ 391 w 763"/>
                  <a:gd name="T17" fmla="*/ 23 h 636"/>
                  <a:gd name="T18" fmla="*/ 326 w 763"/>
                  <a:gd name="T19" fmla="*/ 10 h 636"/>
                  <a:gd name="T20" fmla="*/ 271 w 763"/>
                  <a:gd name="T21" fmla="*/ 61 h 636"/>
                  <a:gd name="T22" fmla="*/ 273 w 763"/>
                  <a:gd name="T23" fmla="*/ 90 h 636"/>
                  <a:gd name="T24" fmla="*/ 246 w 763"/>
                  <a:gd name="T25" fmla="*/ 132 h 636"/>
                  <a:gd name="T26" fmla="*/ 236 w 763"/>
                  <a:gd name="T27" fmla="*/ 162 h 636"/>
                  <a:gd name="T28" fmla="*/ 208 w 763"/>
                  <a:gd name="T29" fmla="*/ 191 h 636"/>
                  <a:gd name="T30" fmla="*/ 158 w 763"/>
                  <a:gd name="T31" fmla="*/ 191 h 636"/>
                  <a:gd name="T32" fmla="*/ 128 w 763"/>
                  <a:gd name="T33" fmla="*/ 231 h 636"/>
                  <a:gd name="T34" fmla="*/ 122 w 763"/>
                  <a:gd name="T35" fmla="*/ 259 h 636"/>
                  <a:gd name="T36" fmla="*/ 130 w 763"/>
                  <a:gd name="T37" fmla="*/ 286 h 636"/>
                  <a:gd name="T38" fmla="*/ 149 w 763"/>
                  <a:gd name="T39" fmla="*/ 341 h 636"/>
                  <a:gd name="T40" fmla="*/ 162 w 763"/>
                  <a:gd name="T41" fmla="*/ 356 h 636"/>
                  <a:gd name="T42" fmla="*/ 149 w 763"/>
                  <a:gd name="T43" fmla="*/ 366 h 636"/>
                  <a:gd name="T44" fmla="*/ 103 w 763"/>
                  <a:gd name="T45" fmla="*/ 347 h 636"/>
                  <a:gd name="T46" fmla="*/ 82 w 763"/>
                  <a:gd name="T47" fmla="*/ 341 h 636"/>
                  <a:gd name="T48" fmla="*/ 55 w 763"/>
                  <a:gd name="T49" fmla="*/ 354 h 636"/>
                  <a:gd name="T50" fmla="*/ 80 w 763"/>
                  <a:gd name="T51" fmla="*/ 410 h 636"/>
                  <a:gd name="T52" fmla="*/ 97 w 763"/>
                  <a:gd name="T53" fmla="*/ 432 h 636"/>
                  <a:gd name="T54" fmla="*/ 105 w 763"/>
                  <a:gd name="T55" fmla="*/ 476 h 636"/>
                  <a:gd name="T56" fmla="*/ 90 w 763"/>
                  <a:gd name="T57" fmla="*/ 507 h 636"/>
                  <a:gd name="T58" fmla="*/ 67 w 763"/>
                  <a:gd name="T59" fmla="*/ 528 h 636"/>
                  <a:gd name="T60" fmla="*/ 34 w 763"/>
                  <a:gd name="T61" fmla="*/ 567 h 636"/>
                  <a:gd name="T62" fmla="*/ 13 w 763"/>
                  <a:gd name="T63" fmla="*/ 598 h 636"/>
                  <a:gd name="T64" fmla="*/ 4 w 763"/>
                  <a:gd name="T65" fmla="*/ 625 h 636"/>
                  <a:gd name="T66" fmla="*/ 23 w 763"/>
                  <a:gd name="T67" fmla="*/ 634 h 636"/>
                  <a:gd name="T68" fmla="*/ 103 w 763"/>
                  <a:gd name="T69" fmla="*/ 607 h 636"/>
                  <a:gd name="T70" fmla="*/ 120 w 763"/>
                  <a:gd name="T71" fmla="*/ 588 h 636"/>
                  <a:gd name="T72" fmla="*/ 133 w 763"/>
                  <a:gd name="T73" fmla="*/ 539 h 636"/>
                  <a:gd name="T74" fmla="*/ 151 w 763"/>
                  <a:gd name="T75" fmla="*/ 566 h 636"/>
                  <a:gd name="T76" fmla="*/ 175 w 763"/>
                  <a:gd name="T77" fmla="*/ 562 h 636"/>
                  <a:gd name="T78" fmla="*/ 202 w 763"/>
                  <a:gd name="T79" fmla="*/ 558 h 636"/>
                  <a:gd name="T80" fmla="*/ 204 w 763"/>
                  <a:gd name="T81" fmla="*/ 529 h 636"/>
                  <a:gd name="T82" fmla="*/ 246 w 763"/>
                  <a:gd name="T83" fmla="*/ 499 h 636"/>
                  <a:gd name="T84" fmla="*/ 240 w 763"/>
                  <a:gd name="T85" fmla="*/ 480 h 636"/>
                  <a:gd name="T86" fmla="*/ 261 w 763"/>
                  <a:gd name="T87" fmla="*/ 474 h 636"/>
                  <a:gd name="T88" fmla="*/ 276 w 763"/>
                  <a:gd name="T89" fmla="*/ 459 h 636"/>
                  <a:gd name="T90" fmla="*/ 297 w 763"/>
                  <a:gd name="T91" fmla="*/ 476 h 636"/>
                  <a:gd name="T92" fmla="*/ 334 w 763"/>
                  <a:gd name="T93" fmla="*/ 501 h 636"/>
                  <a:gd name="T94" fmla="*/ 385 w 763"/>
                  <a:gd name="T95" fmla="*/ 482 h 636"/>
                  <a:gd name="T96" fmla="*/ 410 w 763"/>
                  <a:gd name="T97" fmla="*/ 465 h 636"/>
                  <a:gd name="T98" fmla="*/ 482 w 763"/>
                  <a:gd name="T99" fmla="*/ 408 h 636"/>
                  <a:gd name="T100" fmla="*/ 501 w 763"/>
                  <a:gd name="T101" fmla="*/ 394 h 636"/>
                  <a:gd name="T102" fmla="*/ 484 w 763"/>
                  <a:gd name="T103" fmla="*/ 394 h 636"/>
                  <a:gd name="T104" fmla="*/ 469 w 763"/>
                  <a:gd name="T105" fmla="*/ 411 h 636"/>
                  <a:gd name="T106" fmla="*/ 480 w 763"/>
                  <a:gd name="T107" fmla="*/ 379 h 636"/>
                  <a:gd name="T108" fmla="*/ 519 w 763"/>
                  <a:gd name="T109" fmla="*/ 381 h 636"/>
                  <a:gd name="T110" fmla="*/ 532 w 763"/>
                  <a:gd name="T111" fmla="*/ 381 h 636"/>
                  <a:gd name="T112" fmla="*/ 622 w 763"/>
                  <a:gd name="T113" fmla="*/ 347 h 636"/>
                  <a:gd name="T114" fmla="*/ 599 w 763"/>
                  <a:gd name="T115" fmla="*/ 328 h 636"/>
                  <a:gd name="T116" fmla="*/ 658 w 763"/>
                  <a:gd name="T117" fmla="*/ 313 h 636"/>
                  <a:gd name="T118" fmla="*/ 673 w 763"/>
                  <a:gd name="T119" fmla="*/ 278 h 636"/>
                  <a:gd name="T120" fmla="*/ 704 w 763"/>
                  <a:gd name="T121" fmla="*/ 248 h 636"/>
                  <a:gd name="T122" fmla="*/ 734 w 763"/>
                  <a:gd name="T123" fmla="*/ 136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63" h="636">
                    <a:moveTo>
                      <a:pt x="763" y="124"/>
                    </a:moveTo>
                    <a:lnTo>
                      <a:pt x="759" y="118"/>
                    </a:lnTo>
                    <a:lnTo>
                      <a:pt x="757" y="117"/>
                    </a:lnTo>
                    <a:lnTo>
                      <a:pt x="757" y="115"/>
                    </a:lnTo>
                    <a:lnTo>
                      <a:pt x="757" y="113"/>
                    </a:lnTo>
                    <a:lnTo>
                      <a:pt x="757" y="109"/>
                    </a:lnTo>
                    <a:lnTo>
                      <a:pt x="757" y="107"/>
                    </a:lnTo>
                    <a:lnTo>
                      <a:pt x="757" y="105"/>
                    </a:lnTo>
                    <a:lnTo>
                      <a:pt x="755" y="103"/>
                    </a:lnTo>
                    <a:lnTo>
                      <a:pt x="738" y="99"/>
                    </a:lnTo>
                    <a:lnTo>
                      <a:pt x="736" y="99"/>
                    </a:lnTo>
                    <a:lnTo>
                      <a:pt x="734" y="98"/>
                    </a:lnTo>
                    <a:lnTo>
                      <a:pt x="732" y="96"/>
                    </a:lnTo>
                    <a:lnTo>
                      <a:pt x="732" y="94"/>
                    </a:lnTo>
                    <a:lnTo>
                      <a:pt x="732" y="90"/>
                    </a:lnTo>
                    <a:lnTo>
                      <a:pt x="730" y="86"/>
                    </a:lnTo>
                    <a:lnTo>
                      <a:pt x="730" y="82"/>
                    </a:lnTo>
                    <a:lnTo>
                      <a:pt x="728" y="80"/>
                    </a:lnTo>
                    <a:lnTo>
                      <a:pt x="723" y="78"/>
                    </a:lnTo>
                    <a:lnTo>
                      <a:pt x="721" y="78"/>
                    </a:lnTo>
                    <a:lnTo>
                      <a:pt x="719" y="78"/>
                    </a:lnTo>
                    <a:lnTo>
                      <a:pt x="719" y="78"/>
                    </a:lnTo>
                    <a:lnTo>
                      <a:pt x="717" y="80"/>
                    </a:lnTo>
                    <a:lnTo>
                      <a:pt x="717" y="82"/>
                    </a:lnTo>
                    <a:lnTo>
                      <a:pt x="715" y="82"/>
                    </a:lnTo>
                    <a:lnTo>
                      <a:pt x="715" y="84"/>
                    </a:lnTo>
                    <a:lnTo>
                      <a:pt x="713" y="84"/>
                    </a:lnTo>
                    <a:lnTo>
                      <a:pt x="713" y="84"/>
                    </a:lnTo>
                    <a:lnTo>
                      <a:pt x="711" y="86"/>
                    </a:lnTo>
                    <a:lnTo>
                      <a:pt x="711" y="88"/>
                    </a:lnTo>
                    <a:lnTo>
                      <a:pt x="709" y="88"/>
                    </a:lnTo>
                    <a:lnTo>
                      <a:pt x="707" y="88"/>
                    </a:lnTo>
                    <a:lnTo>
                      <a:pt x="704" y="84"/>
                    </a:lnTo>
                    <a:lnTo>
                      <a:pt x="704" y="80"/>
                    </a:lnTo>
                    <a:lnTo>
                      <a:pt x="704" y="78"/>
                    </a:lnTo>
                    <a:lnTo>
                      <a:pt x="704" y="75"/>
                    </a:lnTo>
                    <a:lnTo>
                      <a:pt x="704" y="75"/>
                    </a:lnTo>
                    <a:lnTo>
                      <a:pt x="704" y="73"/>
                    </a:lnTo>
                    <a:lnTo>
                      <a:pt x="704" y="71"/>
                    </a:lnTo>
                    <a:lnTo>
                      <a:pt x="704" y="69"/>
                    </a:lnTo>
                    <a:lnTo>
                      <a:pt x="704" y="69"/>
                    </a:lnTo>
                    <a:lnTo>
                      <a:pt x="704" y="67"/>
                    </a:lnTo>
                    <a:lnTo>
                      <a:pt x="702" y="65"/>
                    </a:lnTo>
                    <a:lnTo>
                      <a:pt x="700" y="65"/>
                    </a:lnTo>
                    <a:lnTo>
                      <a:pt x="696" y="61"/>
                    </a:lnTo>
                    <a:lnTo>
                      <a:pt x="690" y="59"/>
                    </a:lnTo>
                    <a:lnTo>
                      <a:pt x="688" y="59"/>
                    </a:lnTo>
                    <a:lnTo>
                      <a:pt x="686" y="59"/>
                    </a:lnTo>
                    <a:lnTo>
                      <a:pt x="685" y="59"/>
                    </a:lnTo>
                    <a:lnTo>
                      <a:pt x="683" y="59"/>
                    </a:lnTo>
                    <a:lnTo>
                      <a:pt x="677" y="54"/>
                    </a:lnTo>
                    <a:lnTo>
                      <a:pt x="675" y="52"/>
                    </a:lnTo>
                    <a:lnTo>
                      <a:pt x="673" y="52"/>
                    </a:lnTo>
                    <a:lnTo>
                      <a:pt x="669" y="52"/>
                    </a:lnTo>
                    <a:lnTo>
                      <a:pt x="667" y="50"/>
                    </a:lnTo>
                    <a:lnTo>
                      <a:pt x="667" y="50"/>
                    </a:lnTo>
                    <a:lnTo>
                      <a:pt x="664" y="46"/>
                    </a:lnTo>
                    <a:lnTo>
                      <a:pt x="660" y="44"/>
                    </a:lnTo>
                    <a:lnTo>
                      <a:pt x="654" y="39"/>
                    </a:lnTo>
                    <a:lnTo>
                      <a:pt x="643" y="31"/>
                    </a:lnTo>
                    <a:lnTo>
                      <a:pt x="641" y="29"/>
                    </a:lnTo>
                    <a:lnTo>
                      <a:pt x="639" y="29"/>
                    </a:lnTo>
                    <a:lnTo>
                      <a:pt x="637" y="29"/>
                    </a:lnTo>
                    <a:lnTo>
                      <a:pt x="633" y="31"/>
                    </a:lnTo>
                    <a:lnTo>
                      <a:pt x="631" y="31"/>
                    </a:lnTo>
                    <a:lnTo>
                      <a:pt x="629" y="31"/>
                    </a:lnTo>
                    <a:lnTo>
                      <a:pt x="627" y="31"/>
                    </a:lnTo>
                    <a:lnTo>
                      <a:pt x="624" y="31"/>
                    </a:lnTo>
                    <a:lnTo>
                      <a:pt x="622" y="29"/>
                    </a:lnTo>
                    <a:lnTo>
                      <a:pt x="620" y="27"/>
                    </a:lnTo>
                    <a:lnTo>
                      <a:pt x="620" y="25"/>
                    </a:lnTo>
                    <a:lnTo>
                      <a:pt x="616" y="21"/>
                    </a:lnTo>
                    <a:lnTo>
                      <a:pt x="614" y="20"/>
                    </a:lnTo>
                    <a:lnTo>
                      <a:pt x="612" y="18"/>
                    </a:lnTo>
                    <a:lnTo>
                      <a:pt x="591" y="8"/>
                    </a:lnTo>
                    <a:lnTo>
                      <a:pt x="587" y="0"/>
                    </a:lnTo>
                    <a:lnTo>
                      <a:pt x="585" y="0"/>
                    </a:lnTo>
                    <a:lnTo>
                      <a:pt x="585" y="0"/>
                    </a:lnTo>
                    <a:lnTo>
                      <a:pt x="583" y="0"/>
                    </a:lnTo>
                    <a:lnTo>
                      <a:pt x="582" y="0"/>
                    </a:lnTo>
                    <a:lnTo>
                      <a:pt x="582" y="0"/>
                    </a:lnTo>
                    <a:lnTo>
                      <a:pt x="580" y="4"/>
                    </a:lnTo>
                    <a:lnTo>
                      <a:pt x="578" y="4"/>
                    </a:lnTo>
                    <a:lnTo>
                      <a:pt x="578" y="4"/>
                    </a:lnTo>
                    <a:lnTo>
                      <a:pt x="578" y="6"/>
                    </a:lnTo>
                    <a:lnTo>
                      <a:pt x="576" y="6"/>
                    </a:lnTo>
                    <a:lnTo>
                      <a:pt x="574" y="6"/>
                    </a:lnTo>
                    <a:lnTo>
                      <a:pt x="572" y="6"/>
                    </a:lnTo>
                    <a:lnTo>
                      <a:pt x="570" y="8"/>
                    </a:lnTo>
                    <a:lnTo>
                      <a:pt x="570" y="8"/>
                    </a:lnTo>
                    <a:lnTo>
                      <a:pt x="570" y="8"/>
                    </a:lnTo>
                    <a:lnTo>
                      <a:pt x="570" y="8"/>
                    </a:lnTo>
                    <a:lnTo>
                      <a:pt x="570" y="10"/>
                    </a:lnTo>
                    <a:lnTo>
                      <a:pt x="570" y="12"/>
                    </a:lnTo>
                    <a:lnTo>
                      <a:pt x="572" y="14"/>
                    </a:lnTo>
                    <a:lnTo>
                      <a:pt x="576" y="18"/>
                    </a:lnTo>
                    <a:lnTo>
                      <a:pt x="576" y="20"/>
                    </a:lnTo>
                    <a:lnTo>
                      <a:pt x="576" y="21"/>
                    </a:lnTo>
                    <a:lnTo>
                      <a:pt x="578" y="29"/>
                    </a:lnTo>
                    <a:lnTo>
                      <a:pt x="578" y="33"/>
                    </a:lnTo>
                    <a:lnTo>
                      <a:pt x="578" y="35"/>
                    </a:lnTo>
                    <a:lnTo>
                      <a:pt x="574" y="39"/>
                    </a:lnTo>
                    <a:lnTo>
                      <a:pt x="574" y="40"/>
                    </a:lnTo>
                    <a:lnTo>
                      <a:pt x="574" y="42"/>
                    </a:lnTo>
                    <a:lnTo>
                      <a:pt x="574" y="44"/>
                    </a:lnTo>
                    <a:lnTo>
                      <a:pt x="576" y="48"/>
                    </a:lnTo>
                    <a:lnTo>
                      <a:pt x="578" y="50"/>
                    </a:lnTo>
                    <a:lnTo>
                      <a:pt x="576" y="52"/>
                    </a:lnTo>
                    <a:lnTo>
                      <a:pt x="576" y="56"/>
                    </a:lnTo>
                    <a:lnTo>
                      <a:pt x="576" y="58"/>
                    </a:lnTo>
                    <a:lnTo>
                      <a:pt x="576" y="59"/>
                    </a:lnTo>
                    <a:lnTo>
                      <a:pt x="576" y="59"/>
                    </a:lnTo>
                    <a:lnTo>
                      <a:pt x="576" y="61"/>
                    </a:lnTo>
                    <a:lnTo>
                      <a:pt x="574" y="61"/>
                    </a:lnTo>
                    <a:lnTo>
                      <a:pt x="574" y="63"/>
                    </a:lnTo>
                    <a:lnTo>
                      <a:pt x="568" y="73"/>
                    </a:lnTo>
                    <a:lnTo>
                      <a:pt x="566" y="75"/>
                    </a:lnTo>
                    <a:lnTo>
                      <a:pt x="562" y="77"/>
                    </a:lnTo>
                    <a:lnTo>
                      <a:pt x="557" y="77"/>
                    </a:lnTo>
                    <a:lnTo>
                      <a:pt x="551" y="73"/>
                    </a:lnTo>
                    <a:lnTo>
                      <a:pt x="551" y="73"/>
                    </a:lnTo>
                    <a:lnTo>
                      <a:pt x="551" y="69"/>
                    </a:lnTo>
                    <a:lnTo>
                      <a:pt x="551" y="67"/>
                    </a:lnTo>
                    <a:lnTo>
                      <a:pt x="551" y="67"/>
                    </a:lnTo>
                    <a:lnTo>
                      <a:pt x="551" y="65"/>
                    </a:lnTo>
                    <a:lnTo>
                      <a:pt x="551" y="65"/>
                    </a:lnTo>
                    <a:lnTo>
                      <a:pt x="553" y="61"/>
                    </a:lnTo>
                    <a:lnTo>
                      <a:pt x="553" y="61"/>
                    </a:lnTo>
                    <a:lnTo>
                      <a:pt x="553" y="59"/>
                    </a:lnTo>
                    <a:lnTo>
                      <a:pt x="553" y="58"/>
                    </a:lnTo>
                    <a:lnTo>
                      <a:pt x="553" y="58"/>
                    </a:lnTo>
                    <a:lnTo>
                      <a:pt x="551" y="58"/>
                    </a:lnTo>
                    <a:lnTo>
                      <a:pt x="549" y="59"/>
                    </a:lnTo>
                    <a:lnTo>
                      <a:pt x="547" y="61"/>
                    </a:lnTo>
                    <a:lnTo>
                      <a:pt x="547" y="61"/>
                    </a:lnTo>
                    <a:lnTo>
                      <a:pt x="545" y="61"/>
                    </a:lnTo>
                    <a:lnTo>
                      <a:pt x="543" y="63"/>
                    </a:lnTo>
                    <a:lnTo>
                      <a:pt x="542" y="63"/>
                    </a:lnTo>
                    <a:lnTo>
                      <a:pt x="540" y="65"/>
                    </a:lnTo>
                    <a:lnTo>
                      <a:pt x="538" y="65"/>
                    </a:lnTo>
                    <a:lnTo>
                      <a:pt x="536" y="63"/>
                    </a:lnTo>
                    <a:lnTo>
                      <a:pt x="530" y="63"/>
                    </a:lnTo>
                    <a:lnTo>
                      <a:pt x="522" y="61"/>
                    </a:lnTo>
                    <a:lnTo>
                      <a:pt x="511" y="54"/>
                    </a:lnTo>
                    <a:lnTo>
                      <a:pt x="509" y="54"/>
                    </a:lnTo>
                    <a:lnTo>
                      <a:pt x="507" y="54"/>
                    </a:lnTo>
                    <a:lnTo>
                      <a:pt x="505" y="54"/>
                    </a:lnTo>
                    <a:lnTo>
                      <a:pt x="503" y="54"/>
                    </a:lnTo>
                    <a:lnTo>
                      <a:pt x="503" y="54"/>
                    </a:lnTo>
                    <a:lnTo>
                      <a:pt x="500" y="56"/>
                    </a:lnTo>
                    <a:lnTo>
                      <a:pt x="496" y="58"/>
                    </a:lnTo>
                    <a:lnTo>
                      <a:pt x="494" y="58"/>
                    </a:lnTo>
                    <a:lnTo>
                      <a:pt x="488" y="63"/>
                    </a:lnTo>
                    <a:lnTo>
                      <a:pt x="482" y="71"/>
                    </a:lnTo>
                    <a:lnTo>
                      <a:pt x="480" y="71"/>
                    </a:lnTo>
                    <a:lnTo>
                      <a:pt x="480" y="71"/>
                    </a:lnTo>
                    <a:lnTo>
                      <a:pt x="480" y="71"/>
                    </a:lnTo>
                    <a:lnTo>
                      <a:pt x="479" y="71"/>
                    </a:lnTo>
                    <a:lnTo>
                      <a:pt x="477" y="67"/>
                    </a:lnTo>
                    <a:lnTo>
                      <a:pt x="467" y="61"/>
                    </a:lnTo>
                    <a:lnTo>
                      <a:pt x="465" y="59"/>
                    </a:lnTo>
                    <a:lnTo>
                      <a:pt x="463" y="59"/>
                    </a:lnTo>
                    <a:lnTo>
                      <a:pt x="461" y="59"/>
                    </a:lnTo>
                    <a:lnTo>
                      <a:pt x="460" y="59"/>
                    </a:lnTo>
                    <a:lnTo>
                      <a:pt x="458" y="59"/>
                    </a:lnTo>
                    <a:lnTo>
                      <a:pt x="454" y="61"/>
                    </a:lnTo>
                    <a:lnTo>
                      <a:pt x="452" y="61"/>
                    </a:lnTo>
                    <a:lnTo>
                      <a:pt x="452" y="61"/>
                    </a:lnTo>
                    <a:lnTo>
                      <a:pt x="452" y="59"/>
                    </a:lnTo>
                    <a:lnTo>
                      <a:pt x="452" y="58"/>
                    </a:lnTo>
                    <a:lnTo>
                      <a:pt x="452" y="58"/>
                    </a:lnTo>
                    <a:lnTo>
                      <a:pt x="454" y="54"/>
                    </a:lnTo>
                    <a:lnTo>
                      <a:pt x="458" y="46"/>
                    </a:lnTo>
                    <a:lnTo>
                      <a:pt x="463" y="37"/>
                    </a:lnTo>
                    <a:lnTo>
                      <a:pt x="465" y="37"/>
                    </a:lnTo>
                    <a:lnTo>
                      <a:pt x="465" y="35"/>
                    </a:lnTo>
                    <a:lnTo>
                      <a:pt x="465" y="31"/>
                    </a:lnTo>
                    <a:lnTo>
                      <a:pt x="465" y="27"/>
                    </a:lnTo>
                    <a:lnTo>
                      <a:pt x="465" y="21"/>
                    </a:lnTo>
                    <a:lnTo>
                      <a:pt x="463" y="14"/>
                    </a:lnTo>
                    <a:lnTo>
                      <a:pt x="461" y="6"/>
                    </a:lnTo>
                    <a:lnTo>
                      <a:pt x="458" y="10"/>
                    </a:lnTo>
                    <a:lnTo>
                      <a:pt x="452" y="14"/>
                    </a:lnTo>
                    <a:lnTo>
                      <a:pt x="450" y="14"/>
                    </a:lnTo>
                    <a:lnTo>
                      <a:pt x="446" y="14"/>
                    </a:lnTo>
                    <a:lnTo>
                      <a:pt x="446" y="16"/>
                    </a:lnTo>
                    <a:lnTo>
                      <a:pt x="444" y="16"/>
                    </a:lnTo>
                    <a:lnTo>
                      <a:pt x="442" y="18"/>
                    </a:lnTo>
                    <a:lnTo>
                      <a:pt x="442" y="18"/>
                    </a:lnTo>
                    <a:lnTo>
                      <a:pt x="440" y="18"/>
                    </a:lnTo>
                    <a:lnTo>
                      <a:pt x="439" y="16"/>
                    </a:lnTo>
                    <a:lnTo>
                      <a:pt x="431" y="14"/>
                    </a:lnTo>
                    <a:lnTo>
                      <a:pt x="427" y="14"/>
                    </a:lnTo>
                    <a:lnTo>
                      <a:pt x="425" y="14"/>
                    </a:lnTo>
                    <a:lnTo>
                      <a:pt x="423" y="16"/>
                    </a:lnTo>
                    <a:lnTo>
                      <a:pt x="423" y="16"/>
                    </a:lnTo>
                    <a:lnTo>
                      <a:pt x="423" y="16"/>
                    </a:lnTo>
                    <a:lnTo>
                      <a:pt x="421" y="18"/>
                    </a:lnTo>
                    <a:lnTo>
                      <a:pt x="419" y="18"/>
                    </a:lnTo>
                    <a:lnTo>
                      <a:pt x="395" y="18"/>
                    </a:lnTo>
                    <a:lnTo>
                      <a:pt x="393" y="18"/>
                    </a:lnTo>
                    <a:lnTo>
                      <a:pt x="391" y="20"/>
                    </a:lnTo>
                    <a:lnTo>
                      <a:pt x="391" y="20"/>
                    </a:lnTo>
                    <a:lnTo>
                      <a:pt x="391" y="21"/>
                    </a:lnTo>
                    <a:lnTo>
                      <a:pt x="391" y="21"/>
                    </a:lnTo>
                    <a:lnTo>
                      <a:pt x="391" y="23"/>
                    </a:lnTo>
                    <a:lnTo>
                      <a:pt x="391" y="23"/>
                    </a:lnTo>
                    <a:lnTo>
                      <a:pt x="389" y="25"/>
                    </a:lnTo>
                    <a:lnTo>
                      <a:pt x="389" y="25"/>
                    </a:lnTo>
                    <a:lnTo>
                      <a:pt x="389" y="25"/>
                    </a:lnTo>
                    <a:lnTo>
                      <a:pt x="379" y="31"/>
                    </a:lnTo>
                    <a:lnTo>
                      <a:pt x="379" y="31"/>
                    </a:lnTo>
                    <a:lnTo>
                      <a:pt x="366" y="31"/>
                    </a:lnTo>
                    <a:lnTo>
                      <a:pt x="364" y="31"/>
                    </a:lnTo>
                    <a:lnTo>
                      <a:pt x="357" y="27"/>
                    </a:lnTo>
                    <a:lnTo>
                      <a:pt x="355" y="27"/>
                    </a:lnTo>
                    <a:lnTo>
                      <a:pt x="353" y="27"/>
                    </a:lnTo>
                    <a:lnTo>
                      <a:pt x="351" y="27"/>
                    </a:lnTo>
                    <a:lnTo>
                      <a:pt x="349" y="25"/>
                    </a:lnTo>
                    <a:lnTo>
                      <a:pt x="345" y="23"/>
                    </a:lnTo>
                    <a:lnTo>
                      <a:pt x="345" y="21"/>
                    </a:lnTo>
                    <a:lnTo>
                      <a:pt x="343" y="20"/>
                    </a:lnTo>
                    <a:lnTo>
                      <a:pt x="343" y="18"/>
                    </a:lnTo>
                    <a:lnTo>
                      <a:pt x="336" y="8"/>
                    </a:lnTo>
                    <a:lnTo>
                      <a:pt x="332" y="4"/>
                    </a:lnTo>
                    <a:lnTo>
                      <a:pt x="328" y="2"/>
                    </a:lnTo>
                    <a:lnTo>
                      <a:pt x="324" y="2"/>
                    </a:lnTo>
                    <a:lnTo>
                      <a:pt x="324" y="4"/>
                    </a:lnTo>
                    <a:lnTo>
                      <a:pt x="324" y="6"/>
                    </a:lnTo>
                    <a:lnTo>
                      <a:pt x="326" y="10"/>
                    </a:lnTo>
                    <a:lnTo>
                      <a:pt x="326" y="12"/>
                    </a:lnTo>
                    <a:lnTo>
                      <a:pt x="328" y="14"/>
                    </a:lnTo>
                    <a:lnTo>
                      <a:pt x="328" y="16"/>
                    </a:lnTo>
                    <a:lnTo>
                      <a:pt x="326" y="18"/>
                    </a:lnTo>
                    <a:lnTo>
                      <a:pt x="326" y="18"/>
                    </a:lnTo>
                    <a:lnTo>
                      <a:pt x="326" y="20"/>
                    </a:lnTo>
                    <a:lnTo>
                      <a:pt x="326" y="20"/>
                    </a:lnTo>
                    <a:lnTo>
                      <a:pt x="322" y="23"/>
                    </a:lnTo>
                    <a:lnTo>
                      <a:pt x="320" y="25"/>
                    </a:lnTo>
                    <a:lnTo>
                      <a:pt x="318" y="25"/>
                    </a:lnTo>
                    <a:lnTo>
                      <a:pt x="316" y="25"/>
                    </a:lnTo>
                    <a:lnTo>
                      <a:pt x="313" y="27"/>
                    </a:lnTo>
                    <a:lnTo>
                      <a:pt x="307" y="27"/>
                    </a:lnTo>
                    <a:lnTo>
                      <a:pt x="305" y="31"/>
                    </a:lnTo>
                    <a:lnTo>
                      <a:pt x="294" y="40"/>
                    </a:lnTo>
                    <a:lnTo>
                      <a:pt x="292" y="40"/>
                    </a:lnTo>
                    <a:lnTo>
                      <a:pt x="286" y="44"/>
                    </a:lnTo>
                    <a:lnTo>
                      <a:pt x="282" y="44"/>
                    </a:lnTo>
                    <a:lnTo>
                      <a:pt x="280" y="46"/>
                    </a:lnTo>
                    <a:lnTo>
                      <a:pt x="278" y="48"/>
                    </a:lnTo>
                    <a:lnTo>
                      <a:pt x="273" y="58"/>
                    </a:lnTo>
                    <a:lnTo>
                      <a:pt x="271" y="59"/>
                    </a:lnTo>
                    <a:lnTo>
                      <a:pt x="271" y="61"/>
                    </a:lnTo>
                    <a:lnTo>
                      <a:pt x="271" y="61"/>
                    </a:lnTo>
                    <a:lnTo>
                      <a:pt x="273" y="63"/>
                    </a:lnTo>
                    <a:lnTo>
                      <a:pt x="273" y="65"/>
                    </a:lnTo>
                    <a:lnTo>
                      <a:pt x="273" y="65"/>
                    </a:lnTo>
                    <a:lnTo>
                      <a:pt x="275" y="65"/>
                    </a:lnTo>
                    <a:lnTo>
                      <a:pt x="275" y="67"/>
                    </a:lnTo>
                    <a:lnTo>
                      <a:pt x="273" y="69"/>
                    </a:lnTo>
                    <a:lnTo>
                      <a:pt x="273" y="69"/>
                    </a:lnTo>
                    <a:lnTo>
                      <a:pt x="271" y="69"/>
                    </a:lnTo>
                    <a:lnTo>
                      <a:pt x="269" y="71"/>
                    </a:lnTo>
                    <a:lnTo>
                      <a:pt x="267" y="71"/>
                    </a:lnTo>
                    <a:lnTo>
                      <a:pt x="267" y="73"/>
                    </a:lnTo>
                    <a:lnTo>
                      <a:pt x="267" y="77"/>
                    </a:lnTo>
                    <a:lnTo>
                      <a:pt x="267" y="78"/>
                    </a:lnTo>
                    <a:lnTo>
                      <a:pt x="267" y="80"/>
                    </a:lnTo>
                    <a:lnTo>
                      <a:pt x="267" y="80"/>
                    </a:lnTo>
                    <a:lnTo>
                      <a:pt x="269" y="82"/>
                    </a:lnTo>
                    <a:lnTo>
                      <a:pt x="273" y="84"/>
                    </a:lnTo>
                    <a:lnTo>
                      <a:pt x="273" y="84"/>
                    </a:lnTo>
                    <a:lnTo>
                      <a:pt x="273" y="86"/>
                    </a:lnTo>
                    <a:lnTo>
                      <a:pt x="275" y="86"/>
                    </a:lnTo>
                    <a:lnTo>
                      <a:pt x="273" y="88"/>
                    </a:lnTo>
                    <a:lnTo>
                      <a:pt x="273" y="90"/>
                    </a:lnTo>
                    <a:lnTo>
                      <a:pt x="273" y="92"/>
                    </a:lnTo>
                    <a:lnTo>
                      <a:pt x="273" y="92"/>
                    </a:lnTo>
                    <a:lnTo>
                      <a:pt x="273" y="96"/>
                    </a:lnTo>
                    <a:lnTo>
                      <a:pt x="273" y="98"/>
                    </a:lnTo>
                    <a:lnTo>
                      <a:pt x="271" y="98"/>
                    </a:lnTo>
                    <a:lnTo>
                      <a:pt x="271" y="98"/>
                    </a:lnTo>
                    <a:lnTo>
                      <a:pt x="269" y="98"/>
                    </a:lnTo>
                    <a:lnTo>
                      <a:pt x="267" y="98"/>
                    </a:lnTo>
                    <a:lnTo>
                      <a:pt x="267" y="99"/>
                    </a:lnTo>
                    <a:lnTo>
                      <a:pt x="267" y="101"/>
                    </a:lnTo>
                    <a:lnTo>
                      <a:pt x="267" y="101"/>
                    </a:lnTo>
                    <a:lnTo>
                      <a:pt x="267" y="103"/>
                    </a:lnTo>
                    <a:lnTo>
                      <a:pt x="265" y="103"/>
                    </a:lnTo>
                    <a:lnTo>
                      <a:pt x="265" y="101"/>
                    </a:lnTo>
                    <a:lnTo>
                      <a:pt x="263" y="101"/>
                    </a:lnTo>
                    <a:lnTo>
                      <a:pt x="263" y="101"/>
                    </a:lnTo>
                    <a:lnTo>
                      <a:pt x="261" y="101"/>
                    </a:lnTo>
                    <a:lnTo>
                      <a:pt x="261" y="101"/>
                    </a:lnTo>
                    <a:lnTo>
                      <a:pt x="259" y="103"/>
                    </a:lnTo>
                    <a:lnTo>
                      <a:pt x="259" y="107"/>
                    </a:lnTo>
                    <a:lnTo>
                      <a:pt x="259" y="109"/>
                    </a:lnTo>
                    <a:lnTo>
                      <a:pt x="257" y="113"/>
                    </a:lnTo>
                    <a:lnTo>
                      <a:pt x="246" y="132"/>
                    </a:lnTo>
                    <a:lnTo>
                      <a:pt x="246" y="134"/>
                    </a:lnTo>
                    <a:lnTo>
                      <a:pt x="244" y="136"/>
                    </a:lnTo>
                    <a:lnTo>
                      <a:pt x="244" y="139"/>
                    </a:lnTo>
                    <a:lnTo>
                      <a:pt x="244" y="143"/>
                    </a:lnTo>
                    <a:lnTo>
                      <a:pt x="242" y="143"/>
                    </a:lnTo>
                    <a:lnTo>
                      <a:pt x="242" y="147"/>
                    </a:lnTo>
                    <a:lnTo>
                      <a:pt x="244" y="149"/>
                    </a:lnTo>
                    <a:lnTo>
                      <a:pt x="244" y="151"/>
                    </a:lnTo>
                    <a:lnTo>
                      <a:pt x="244" y="151"/>
                    </a:lnTo>
                    <a:lnTo>
                      <a:pt x="250" y="155"/>
                    </a:lnTo>
                    <a:lnTo>
                      <a:pt x="250" y="157"/>
                    </a:lnTo>
                    <a:lnTo>
                      <a:pt x="250" y="157"/>
                    </a:lnTo>
                    <a:lnTo>
                      <a:pt x="250" y="158"/>
                    </a:lnTo>
                    <a:lnTo>
                      <a:pt x="252" y="162"/>
                    </a:lnTo>
                    <a:lnTo>
                      <a:pt x="250" y="162"/>
                    </a:lnTo>
                    <a:lnTo>
                      <a:pt x="250" y="164"/>
                    </a:lnTo>
                    <a:lnTo>
                      <a:pt x="248" y="164"/>
                    </a:lnTo>
                    <a:lnTo>
                      <a:pt x="248" y="164"/>
                    </a:lnTo>
                    <a:lnTo>
                      <a:pt x="246" y="164"/>
                    </a:lnTo>
                    <a:lnTo>
                      <a:pt x="246" y="164"/>
                    </a:lnTo>
                    <a:lnTo>
                      <a:pt x="240" y="162"/>
                    </a:lnTo>
                    <a:lnTo>
                      <a:pt x="238" y="162"/>
                    </a:lnTo>
                    <a:lnTo>
                      <a:pt x="236" y="162"/>
                    </a:lnTo>
                    <a:lnTo>
                      <a:pt x="236" y="162"/>
                    </a:lnTo>
                    <a:lnTo>
                      <a:pt x="234" y="164"/>
                    </a:lnTo>
                    <a:lnTo>
                      <a:pt x="234" y="164"/>
                    </a:lnTo>
                    <a:lnTo>
                      <a:pt x="234" y="166"/>
                    </a:lnTo>
                    <a:lnTo>
                      <a:pt x="234" y="168"/>
                    </a:lnTo>
                    <a:lnTo>
                      <a:pt x="234" y="168"/>
                    </a:lnTo>
                    <a:lnTo>
                      <a:pt x="234" y="168"/>
                    </a:lnTo>
                    <a:lnTo>
                      <a:pt x="234" y="168"/>
                    </a:lnTo>
                    <a:lnTo>
                      <a:pt x="234" y="170"/>
                    </a:lnTo>
                    <a:lnTo>
                      <a:pt x="234" y="170"/>
                    </a:lnTo>
                    <a:lnTo>
                      <a:pt x="231" y="174"/>
                    </a:lnTo>
                    <a:lnTo>
                      <a:pt x="231" y="176"/>
                    </a:lnTo>
                    <a:lnTo>
                      <a:pt x="227" y="187"/>
                    </a:lnTo>
                    <a:lnTo>
                      <a:pt x="225" y="189"/>
                    </a:lnTo>
                    <a:lnTo>
                      <a:pt x="223" y="191"/>
                    </a:lnTo>
                    <a:lnTo>
                      <a:pt x="221" y="193"/>
                    </a:lnTo>
                    <a:lnTo>
                      <a:pt x="219" y="193"/>
                    </a:lnTo>
                    <a:lnTo>
                      <a:pt x="217" y="195"/>
                    </a:lnTo>
                    <a:lnTo>
                      <a:pt x="212" y="195"/>
                    </a:lnTo>
                    <a:lnTo>
                      <a:pt x="212" y="195"/>
                    </a:lnTo>
                    <a:lnTo>
                      <a:pt x="210" y="193"/>
                    </a:lnTo>
                    <a:lnTo>
                      <a:pt x="208" y="191"/>
                    </a:lnTo>
                    <a:lnTo>
                      <a:pt x="208" y="191"/>
                    </a:lnTo>
                    <a:lnTo>
                      <a:pt x="206" y="191"/>
                    </a:lnTo>
                    <a:lnTo>
                      <a:pt x="204" y="191"/>
                    </a:lnTo>
                    <a:lnTo>
                      <a:pt x="204" y="189"/>
                    </a:lnTo>
                    <a:lnTo>
                      <a:pt x="202" y="189"/>
                    </a:lnTo>
                    <a:lnTo>
                      <a:pt x="202" y="189"/>
                    </a:lnTo>
                    <a:lnTo>
                      <a:pt x="200" y="187"/>
                    </a:lnTo>
                    <a:lnTo>
                      <a:pt x="198" y="187"/>
                    </a:lnTo>
                    <a:lnTo>
                      <a:pt x="198" y="185"/>
                    </a:lnTo>
                    <a:lnTo>
                      <a:pt x="185" y="189"/>
                    </a:lnTo>
                    <a:lnTo>
                      <a:pt x="183" y="189"/>
                    </a:lnTo>
                    <a:lnTo>
                      <a:pt x="179" y="189"/>
                    </a:lnTo>
                    <a:lnTo>
                      <a:pt x="177" y="189"/>
                    </a:lnTo>
                    <a:lnTo>
                      <a:pt x="177" y="191"/>
                    </a:lnTo>
                    <a:lnTo>
                      <a:pt x="175" y="191"/>
                    </a:lnTo>
                    <a:lnTo>
                      <a:pt x="175" y="191"/>
                    </a:lnTo>
                    <a:lnTo>
                      <a:pt x="173" y="189"/>
                    </a:lnTo>
                    <a:lnTo>
                      <a:pt x="173" y="189"/>
                    </a:lnTo>
                    <a:lnTo>
                      <a:pt x="172" y="189"/>
                    </a:lnTo>
                    <a:lnTo>
                      <a:pt x="172" y="189"/>
                    </a:lnTo>
                    <a:lnTo>
                      <a:pt x="160" y="189"/>
                    </a:lnTo>
                    <a:lnTo>
                      <a:pt x="158" y="189"/>
                    </a:lnTo>
                    <a:lnTo>
                      <a:pt x="158" y="189"/>
                    </a:lnTo>
                    <a:lnTo>
                      <a:pt x="158" y="191"/>
                    </a:lnTo>
                    <a:lnTo>
                      <a:pt x="156" y="191"/>
                    </a:lnTo>
                    <a:lnTo>
                      <a:pt x="156" y="191"/>
                    </a:lnTo>
                    <a:lnTo>
                      <a:pt x="158" y="193"/>
                    </a:lnTo>
                    <a:lnTo>
                      <a:pt x="158" y="196"/>
                    </a:lnTo>
                    <a:lnTo>
                      <a:pt x="154" y="198"/>
                    </a:lnTo>
                    <a:lnTo>
                      <a:pt x="152" y="206"/>
                    </a:lnTo>
                    <a:lnTo>
                      <a:pt x="147" y="215"/>
                    </a:lnTo>
                    <a:lnTo>
                      <a:pt x="145" y="217"/>
                    </a:lnTo>
                    <a:lnTo>
                      <a:pt x="145" y="219"/>
                    </a:lnTo>
                    <a:lnTo>
                      <a:pt x="143" y="219"/>
                    </a:lnTo>
                    <a:lnTo>
                      <a:pt x="143" y="219"/>
                    </a:lnTo>
                    <a:lnTo>
                      <a:pt x="141" y="219"/>
                    </a:lnTo>
                    <a:lnTo>
                      <a:pt x="139" y="221"/>
                    </a:lnTo>
                    <a:lnTo>
                      <a:pt x="137" y="225"/>
                    </a:lnTo>
                    <a:lnTo>
                      <a:pt x="135" y="227"/>
                    </a:lnTo>
                    <a:lnTo>
                      <a:pt x="135" y="229"/>
                    </a:lnTo>
                    <a:lnTo>
                      <a:pt x="133" y="231"/>
                    </a:lnTo>
                    <a:lnTo>
                      <a:pt x="132" y="231"/>
                    </a:lnTo>
                    <a:lnTo>
                      <a:pt x="130" y="233"/>
                    </a:lnTo>
                    <a:lnTo>
                      <a:pt x="130" y="233"/>
                    </a:lnTo>
                    <a:lnTo>
                      <a:pt x="128" y="233"/>
                    </a:lnTo>
                    <a:lnTo>
                      <a:pt x="128" y="231"/>
                    </a:lnTo>
                    <a:lnTo>
                      <a:pt x="128" y="231"/>
                    </a:lnTo>
                    <a:lnTo>
                      <a:pt x="128" y="231"/>
                    </a:lnTo>
                    <a:lnTo>
                      <a:pt x="128" y="229"/>
                    </a:lnTo>
                    <a:lnTo>
                      <a:pt x="128" y="227"/>
                    </a:lnTo>
                    <a:lnTo>
                      <a:pt x="128" y="227"/>
                    </a:lnTo>
                    <a:lnTo>
                      <a:pt x="128" y="227"/>
                    </a:lnTo>
                    <a:lnTo>
                      <a:pt x="126" y="227"/>
                    </a:lnTo>
                    <a:lnTo>
                      <a:pt x="122" y="225"/>
                    </a:lnTo>
                    <a:lnTo>
                      <a:pt x="122" y="225"/>
                    </a:lnTo>
                    <a:lnTo>
                      <a:pt x="120" y="225"/>
                    </a:lnTo>
                    <a:lnTo>
                      <a:pt x="120" y="227"/>
                    </a:lnTo>
                    <a:lnTo>
                      <a:pt x="120" y="227"/>
                    </a:lnTo>
                    <a:lnTo>
                      <a:pt x="120" y="227"/>
                    </a:lnTo>
                    <a:lnTo>
                      <a:pt x="120" y="229"/>
                    </a:lnTo>
                    <a:lnTo>
                      <a:pt x="120" y="244"/>
                    </a:lnTo>
                    <a:lnTo>
                      <a:pt x="120" y="244"/>
                    </a:lnTo>
                    <a:lnTo>
                      <a:pt x="120" y="246"/>
                    </a:lnTo>
                    <a:lnTo>
                      <a:pt x="122" y="250"/>
                    </a:lnTo>
                    <a:lnTo>
                      <a:pt x="122" y="250"/>
                    </a:lnTo>
                    <a:lnTo>
                      <a:pt x="122" y="252"/>
                    </a:lnTo>
                    <a:lnTo>
                      <a:pt x="122" y="254"/>
                    </a:lnTo>
                    <a:lnTo>
                      <a:pt x="122" y="255"/>
                    </a:lnTo>
                    <a:lnTo>
                      <a:pt x="122" y="257"/>
                    </a:lnTo>
                    <a:lnTo>
                      <a:pt x="122" y="259"/>
                    </a:lnTo>
                    <a:lnTo>
                      <a:pt x="120" y="269"/>
                    </a:lnTo>
                    <a:lnTo>
                      <a:pt x="120" y="271"/>
                    </a:lnTo>
                    <a:lnTo>
                      <a:pt x="120" y="273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4" y="276"/>
                    </a:lnTo>
                    <a:lnTo>
                      <a:pt x="124" y="276"/>
                    </a:lnTo>
                    <a:lnTo>
                      <a:pt x="124" y="276"/>
                    </a:lnTo>
                    <a:lnTo>
                      <a:pt x="124" y="276"/>
                    </a:lnTo>
                    <a:lnTo>
                      <a:pt x="124" y="278"/>
                    </a:lnTo>
                    <a:lnTo>
                      <a:pt x="126" y="280"/>
                    </a:lnTo>
                    <a:lnTo>
                      <a:pt x="126" y="282"/>
                    </a:lnTo>
                    <a:lnTo>
                      <a:pt x="126" y="282"/>
                    </a:lnTo>
                    <a:lnTo>
                      <a:pt x="128" y="282"/>
                    </a:lnTo>
                    <a:lnTo>
                      <a:pt x="128" y="282"/>
                    </a:lnTo>
                    <a:lnTo>
                      <a:pt x="128" y="282"/>
                    </a:lnTo>
                    <a:lnTo>
                      <a:pt x="130" y="282"/>
                    </a:lnTo>
                    <a:lnTo>
                      <a:pt x="130" y="284"/>
                    </a:lnTo>
                    <a:lnTo>
                      <a:pt x="130" y="286"/>
                    </a:lnTo>
                    <a:lnTo>
                      <a:pt x="128" y="297"/>
                    </a:lnTo>
                    <a:lnTo>
                      <a:pt x="128" y="299"/>
                    </a:lnTo>
                    <a:lnTo>
                      <a:pt x="128" y="301"/>
                    </a:lnTo>
                    <a:lnTo>
                      <a:pt x="130" y="301"/>
                    </a:lnTo>
                    <a:lnTo>
                      <a:pt x="130" y="303"/>
                    </a:lnTo>
                    <a:lnTo>
                      <a:pt x="130" y="305"/>
                    </a:lnTo>
                    <a:lnTo>
                      <a:pt x="130" y="311"/>
                    </a:lnTo>
                    <a:lnTo>
                      <a:pt x="132" y="316"/>
                    </a:lnTo>
                    <a:lnTo>
                      <a:pt x="132" y="320"/>
                    </a:lnTo>
                    <a:lnTo>
                      <a:pt x="132" y="322"/>
                    </a:lnTo>
                    <a:lnTo>
                      <a:pt x="128" y="332"/>
                    </a:lnTo>
                    <a:lnTo>
                      <a:pt x="128" y="333"/>
                    </a:lnTo>
                    <a:lnTo>
                      <a:pt x="130" y="333"/>
                    </a:lnTo>
                    <a:lnTo>
                      <a:pt x="135" y="337"/>
                    </a:lnTo>
                    <a:lnTo>
                      <a:pt x="135" y="337"/>
                    </a:lnTo>
                    <a:lnTo>
                      <a:pt x="137" y="339"/>
                    </a:lnTo>
                    <a:lnTo>
                      <a:pt x="137" y="339"/>
                    </a:lnTo>
                    <a:lnTo>
                      <a:pt x="139" y="341"/>
                    </a:lnTo>
                    <a:lnTo>
                      <a:pt x="141" y="341"/>
                    </a:lnTo>
                    <a:lnTo>
                      <a:pt x="145" y="339"/>
                    </a:lnTo>
                    <a:lnTo>
                      <a:pt x="147" y="339"/>
                    </a:lnTo>
                    <a:lnTo>
                      <a:pt x="147" y="341"/>
                    </a:lnTo>
                    <a:lnTo>
                      <a:pt x="149" y="341"/>
                    </a:lnTo>
                    <a:lnTo>
                      <a:pt x="149" y="341"/>
                    </a:lnTo>
                    <a:lnTo>
                      <a:pt x="151" y="343"/>
                    </a:lnTo>
                    <a:lnTo>
                      <a:pt x="151" y="343"/>
                    </a:lnTo>
                    <a:lnTo>
                      <a:pt x="152" y="345"/>
                    </a:lnTo>
                    <a:lnTo>
                      <a:pt x="152" y="345"/>
                    </a:lnTo>
                    <a:lnTo>
                      <a:pt x="152" y="345"/>
                    </a:lnTo>
                    <a:lnTo>
                      <a:pt x="154" y="345"/>
                    </a:lnTo>
                    <a:lnTo>
                      <a:pt x="154" y="345"/>
                    </a:lnTo>
                    <a:lnTo>
                      <a:pt x="156" y="343"/>
                    </a:lnTo>
                    <a:lnTo>
                      <a:pt x="156" y="343"/>
                    </a:lnTo>
                    <a:lnTo>
                      <a:pt x="156" y="343"/>
                    </a:lnTo>
                    <a:lnTo>
                      <a:pt x="158" y="343"/>
                    </a:lnTo>
                    <a:lnTo>
                      <a:pt x="158" y="343"/>
                    </a:lnTo>
                    <a:lnTo>
                      <a:pt x="160" y="343"/>
                    </a:lnTo>
                    <a:lnTo>
                      <a:pt x="162" y="343"/>
                    </a:lnTo>
                    <a:lnTo>
                      <a:pt x="164" y="343"/>
                    </a:lnTo>
                    <a:lnTo>
                      <a:pt x="164" y="343"/>
                    </a:lnTo>
                    <a:lnTo>
                      <a:pt x="164" y="343"/>
                    </a:lnTo>
                    <a:lnTo>
                      <a:pt x="164" y="347"/>
                    </a:lnTo>
                    <a:lnTo>
                      <a:pt x="164" y="347"/>
                    </a:lnTo>
                    <a:lnTo>
                      <a:pt x="164" y="349"/>
                    </a:lnTo>
                    <a:lnTo>
                      <a:pt x="162" y="356"/>
                    </a:lnTo>
                    <a:lnTo>
                      <a:pt x="162" y="356"/>
                    </a:lnTo>
                    <a:lnTo>
                      <a:pt x="162" y="358"/>
                    </a:lnTo>
                    <a:lnTo>
                      <a:pt x="162" y="358"/>
                    </a:lnTo>
                    <a:lnTo>
                      <a:pt x="164" y="360"/>
                    </a:lnTo>
                    <a:lnTo>
                      <a:pt x="166" y="362"/>
                    </a:lnTo>
                    <a:lnTo>
                      <a:pt x="166" y="362"/>
                    </a:lnTo>
                    <a:lnTo>
                      <a:pt x="166" y="364"/>
                    </a:lnTo>
                    <a:lnTo>
                      <a:pt x="166" y="364"/>
                    </a:lnTo>
                    <a:lnTo>
                      <a:pt x="164" y="366"/>
                    </a:lnTo>
                    <a:lnTo>
                      <a:pt x="162" y="368"/>
                    </a:lnTo>
                    <a:lnTo>
                      <a:pt x="160" y="368"/>
                    </a:lnTo>
                    <a:lnTo>
                      <a:pt x="158" y="368"/>
                    </a:lnTo>
                    <a:lnTo>
                      <a:pt x="156" y="370"/>
                    </a:lnTo>
                    <a:lnTo>
                      <a:pt x="152" y="373"/>
                    </a:lnTo>
                    <a:lnTo>
                      <a:pt x="151" y="373"/>
                    </a:lnTo>
                    <a:lnTo>
                      <a:pt x="149" y="373"/>
                    </a:lnTo>
                    <a:lnTo>
                      <a:pt x="149" y="373"/>
                    </a:lnTo>
                    <a:lnTo>
                      <a:pt x="149" y="373"/>
                    </a:lnTo>
                    <a:lnTo>
                      <a:pt x="149" y="372"/>
                    </a:lnTo>
                    <a:lnTo>
                      <a:pt x="149" y="372"/>
                    </a:lnTo>
                    <a:lnTo>
                      <a:pt x="149" y="370"/>
                    </a:lnTo>
                    <a:lnTo>
                      <a:pt x="149" y="368"/>
                    </a:lnTo>
                    <a:lnTo>
                      <a:pt x="149" y="366"/>
                    </a:lnTo>
                    <a:lnTo>
                      <a:pt x="149" y="366"/>
                    </a:lnTo>
                    <a:lnTo>
                      <a:pt x="149" y="364"/>
                    </a:lnTo>
                    <a:lnTo>
                      <a:pt x="149" y="364"/>
                    </a:lnTo>
                    <a:lnTo>
                      <a:pt x="147" y="364"/>
                    </a:lnTo>
                    <a:lnTo>
                      <a:pt x="143" y="364"/>
                    </a:lnTo>
                    <a:lnTo>
                      <a:pt x="141" y="362"/>
                    </a:lnTo>
                    <a:lnTo>
                      <a:pt x="137" y="360"/>
                    </a:lnTo>
                    <a:lnTo>
                      <a:pt x="135" y="360"/>
                    </a:lnTo>
                    <a:lnTo>
                      <a:pt x="124" y="358"/>
                    </a:lnTo>
                    <a:lnTo>
                      <a:pt x="124" y="358"/>
                    </a:lnTo>
                    <a:lnTo>
                      <a:pt x="122" y="358"/>
                    </a:lnTo>
                    <a:lnTo>
                      <a:pt x="120" y="360"/>
                    </a:lnTo>
                    <a:lnTo>
                      <a:pt x="120" y="360"/>
                    </a:lnTo>
                    <a:lnTo>
                      <a:pt x="120" y="360"/>
                    </a:lnTo>
                    <a:lnTo>
                      <a:pt x="118" y="360"/>
                    </a:lnTo>
                    <a:lnTo>
                      <a:pt x="118" y="362"/>
                    </a:lnTo>
                    <a:lnTo>
                      <a:pt x="116" y="366"/>
                    </a:lnTo>
                    <a:lnTo>
                      <a:pt x="116" y="366"/>
                    </a:lnTo>
                    <a:lnTo>
                      <a:pt x="114" y="368"/>
                    </a:lnTo>
                    <a:lnTo>
                      <a:pt x="114" y="366"/>
                    </a:lnTo>
                    <a:lnTo>
                      <a:pt x="112" y="366"/>
                    </a:lnTo>
                    <a:lnTo>
                      <a:pt x="105" y="349"/>
                    </a:lnTo>
                    <a:lnTo>
                      <a:pt x="105" y="347"/>
                    </a:lnTo>
                    <a:lnTo>
                      <a:pt x="103" y="347"/>
                    </a:lnTo>
                    <a:lnTo>
                      <a:pt x="103" y="347"/>
                    </a:lnTo>
                    <a:lnTo>
                      <a:pt x="99" y="347"/>
                    </a:lnTo>
                    <a:lnTo>
                      <a:pt x="97" y="347"/>
                    </a:lnTo>
                    <a:lnTo>
                      <a:pt x="97" y="347"/>
                    </a:lnTo>
                    <a:lnTo>
                      <a:pt x="97" y="345"/>
                    </a:lnTo>
                    <a:lnTo>
                      <a:pt x="97" y="345"/>
                    </a:lnTo>
                    <a:lnTo>
                      <a:pt x="95" y="345"/>
                    </a:lnTo>
                    <a:lnTo>
                      <a:pt x="95" y="343"/>
                    </a:lnTo>
                    <a:lnTo>
                      <a:pt x="95" y="343"/>
                    </a:lnTo>
                    <a:lnTo>
                      <a:pt x="95" y="343"/>
                    </a:lnTo>
                    <a:lnTo>
                      <a:pt x="93" y="341"/>
                    </a:lnTo>
                    <a:lnTo>
                      <a:pt x="93" y="341"/>
                    </a:lnTo>
                    <a:lnTo>
                      <a:pt x="88" y="337"/>
                    </a:lnTo>
                    <a:lnTo>
                      <a:pt x="88" y="335"/>
                    </a:lnTo>
                    <a:lnTo>
                      <a:pt x="88" y="335"/>
                    </a:lnTo>
                    <a:lnTo>
                      <a:pt x="88" y="335"/>
                    </a:lnTo>
                    <a:lnTo>
                      <a:pt x="86" y="335"/>
                    </a:lnTo>
                    <a:lnTo>
                      <a:pt x="86" y="335"/>
                    </a:lnTo>
                    <a:lnTo>
                      <a:pt x="86" y="335"/>
                    </a:lnTo>
                    <a:lnTo>
                      <a:pt x="84" y="337"/>
                    </a:lnTo>
                    <a:lnTo>
                      <a:pt x="84" y="337"/>
                    </a:lnTo>
                    <a:lnTo>
                      <a:pt x="82" y="341"/>
                    </a:lnTo>
                    <a:lnTo>
                      <a:pt x="82" y="341"/>
                    </a:lnTo>
                    <a:lnTo>
                      <a:pt x="82" y="341"/>
                    </a:lnTo>
                    <a:lnTo>
                      <a:pt x="80" y="341"/>
                    </a:lnTo>
                    <a:lnTo>
                      <a:pt x="80" y="341"/>
                    </a:lnTo>
                    <a:lnTo>
                      <a:pt x="78" y="341"/>
                    </a:lnTo>
                    <a:lnTo>
                      <a:pt x="78" y="341"/>
                    </a:lnTo>
                    <a:lnTo>
                      <a:pt x="78" y="339"/>
                    </a:lnTo>
                    <a:lnTo>
                      <a:pt x="78" y="339"/>
                    </a:lnTo>
                    <a:lnTo>
                      <a:pt x="78" y="337"/>
                    </a:lnTo>
                    <a:lnTo>
                      <a:pt x="72" y="330"/>
                    </a:lnTo>
                    <a:lnTo>
                      <a:pt x="70" y="330"/>
                    </a:lnTo>
                    <a:lnTo>
                      <a:pt x="70" y="330"/>
                    </a:lnTo>
                    <a:lnTo>
                      <a:pt x="69" y="330"/>
                    </a:lnTo>
                    <a:lnTo>
                      <a:pt x="69" y="330"/>
                    </a:lnTo>
                    <a:lnTo>
                      <a:pt x="63" y="335"/>
                    </a:lnTo>
                    <a:lnTo>
                      <a:pt x="61" y="337"/>
                    </a:lnTo>
                    <a:lnTo>
                      <a:pt x="59" y="337"/>
                    </a:lnTo>
                    <a:lnTo>
                      <a:pt x="59" y="339"/>
                    </a:lnTo>
                    <a:lnTo>
                      <a:pt x="53" y="349"/>
                    </a:lnTo>
                    <a:lnTo>
                      <a:pt x="53" y="349"/>
                    </a:lnTo>
                    <a:lnTo>
                      <a:pt x="53" y="351"/>
                    </a:lnTo>
                    <a:lnTo>
                      <a:pt x="53" y="352"/>
                    </a:lnTo>
                    <a:lnTo>
                      <a:pt x="53" y="352"/>
                    </a:lnTo>
                    <a:lnTo>
                      <a:pt x="55" y="354"/>
                    </a:lnTo>
                    <a:lnTo>
                      <a:pt x="55" y="356"/>
                    </a:lnTo>
                    <a:lnTo>
                      <a:pt x="57" y="358"/>
                    </a:lnTo>
                    <a:lnTo>
                      <a:pt x="69" y="364"/>
                    </a:lnTo>
                    <a:lnTo>
                      <a:pt x="69" y="364"/>
                    </a:lnTo>
                    <a:lnTo>
                      <a:pt x="69" y="366"/>
                    </a:lnTo>
                    <a:lnTo>
                      <a:pt x="70" y="370"/>
                    </a:lnTo>
                    <a:lnTo>
                      <a:pt x="72" y="370"/>
                    </a:lnTo>
                    <a:lnTo>
                      <a:pt x="72" y="372"/>
                    </a:lnTo>
                    <a:lnTo>
                      <a:pt x="74" y="372"/>
                    </a:lnTo>
                    <a:lnTo>
                      <a:pt x="78" y="372"/>
                    </a:lnTo>
                    <a:lnTo>
                      <a:pt x="78" y="372"/>
                    </a:lnTo>
                    <a:lnTo>
                      <a:pt x="80" y="373"/>
                    </a:lnTo>
                    <a:lnTo>
                      <a:pt x="82" y="373"/>
                    </a:lnTo>
                    <a:lnTo>
                      <a:pt x="82" y="375"/>
                    </a:lnTo>
                    <a:lnTo>
                      <a:pt x="80" y="381"/>
                    </a:lnTo>
                    <a:lnTo>
                      <a:pt x="80" y="383"/>
                    </a:lnTo>
                    <a:lnTo>
                      <a:pt x="80" y="387"/>
                    </a:lnTo>
                    <a:lnTo>
                      <a:pt x="82" y="391"/>
                    </a:lnTo>
                    <a:lnTo>
                      <a:pt x="82" y="392"/>
                    </a:lnTo>
                    <a:lnTo>
                      <a:pt x="82" y="392"/>
                    </a:lnTo>
                    <a:lnTo>
                      <a:pt x="80" y="396"/>
                    </a:lnTo>
                    <a:lnTo>
                      <a:pt x="80" y="408"/>
                    </a:lnTo>
                    <a:lnTo>
                      <a:pt x="80" y="410"/>
                    </a:lnTo>
                    <a:lnTo>
                      <a:pt x="82" y="410"/>
                    </a:lnTo>
                    <a:lnTo>
                      <a:pt x="86" y="410"/>
                    </a:lnTo>
                    <a:lnTo>
                      <a:pt x="86" y="411"/>
                    </a:lnTo>
                    <a:lnTo>
                      <a:pt x="86" y="411"/>
                    </a:lnTo>
                    <a:lnTo>
                      <a:pt x="88" y="411"/>
                    </a:lnTo>
                    <a:lnTo>
                      <a:pt x="90" y="417"/>
                    </a:lnTo>
                    <a:lnTo>
                      <a:pt x="90" y="417"/>
                    </a:lnTo>
                    <a:lnTo>
                      <a:pt x="90" y="419"/>
                    </a:lnTo>
                    <a:lnTo>
                      <a:pt x="91" y="419"/>
                    </a:lnTo>
                    <a:lnTo>
                      <a:pt x="95" y="419"/>
                    </a:lnTo>
                    <a:lnTo>
                      <a:pt x="95" y="419"/>
                    </a:lnTo>
                    <a:lnTo>
                      <a:pt x="97" y="421"/>
                    </a:lnTo>
                    <a:lnTo>
                      <a:pt x="97" y="423"/>
                    </a:lnTo>
                    <a:lnTo>
                      <a:pt x="97" y="423"/>
                    </a:lnTo>
                    <a:lnTo>
                      <a:pt x="97" y="425"/>
                    </a:lnTo>
                    <a:lnTo>
                      <a:pt x="97" y="425"/>
                    </a:lnTo>
                    <a:lnTo>
                      <a:pt x="95" y="427"/>
                    </a:lnTo>
                    <a:lnTo>
                      <a:pt x="93" y="429"/>
                    </a:lnTo>
                    <a:lnTo>
                      <a:pt x="93" y="429"/>
                    </a:lnTo>
                    <a:lnTo>
                      <a:pt x="93" y="430"/>
                    </a:lnTo>
                    <a:lnTo>
                      <a:pt x="93" y="430"/>
                    </a:lnTo>
                    <a:lnTo>
                      <a:pt x="97" y="432"/>
                    </a:lnTo>
                    <a:lnTo>
                      <a:pt x="97" y="432"/>
                    </a:lnTo>
                    <a:lnTo>
                      <a:pt x="97" y="434"/>
                    </a:lnTo>
                    <a:lnTo>
                      <a:pt x="97" y="436"/>
                    </a:lnTo>
                    <a:lnTo>
                      <a:pt x="95" y="440"/>
                    </a:lnTo>
                    <a:lnTo>
                      <a:pt x="95" y="442"/>
                    </a:lnTo>
                    <a:lnTo>
                      <a:pt x="95" y="444"/>
                    </a:lnTo>
                    <a:lnTo>
                      <a:pt x="95" y="446"/>
                    </a:lnTo>
                    <a:lnTo>
                      <a:pt x="95" y="448"/>
                    </a:lnTo>
                    <a:lnTo>
                      <a:pt x="95" y="450"/>
                    </a:lnTo>
                    <a:lnTo>
                      <a:pt x="97" y="451"/>
                    </a:lnTo>
                    <a:lnTo>
                      <a:pt x="97" y="453"/>
                    </a:lnTo>
                    <a:lnTo>
                      <a:pt x="97" y="455"/>
                    </a:lnTo>
                    <a:lnTo>
                      <a:pt x="97" y="459"/>
                    </a:lnTo>
                    <a:lnTo>
                      <a:pt x="97" y="459"/>
                    </a:lnTo>
                    <a:lnTo>
                      <a:pt x="97" y="461"/>
                    </a:lnTo>
                    <a:lnTo>
                      <a:pt x="101" y="463"/>
                    </a:lnTo>
                    <a:lnTo>
                      <a:pt x="101" y="465"/>
                    </a:lnTo>
                    <a:lnTo>
                      <a:pt x="101" y="465"/>
                    </a:lnTo>
                    <a:lnTo>
                      <a:pt x="101" y="469"/>
                    </a:lnTo>
                    <a:lnTo>
                      <a:pt x="103" y="470"/>
                    </a:lnTo>
                    <a:lnTo>
                      <a:pt x="105" y="472"/>
                    </a:lnTo>
                    <a:lnTo>
                      <a:pt x="105" y="474"/>
                    </a:lnTo>
                    <a:lnTo>
                      <a:pt x="105" y="476"/>
                    </a:lnTo>
                    <a:lnTo>
                      <a:pt x="105" y="476"/>
                    </a:lnTo>
                    <a:lnTo>
                      <a:pt x="105" y="486"/>
                    </a:lnTo>
                    <a:lnTo>
                      <a:pt x="105" y="486"/>
                    </a:lnTo>
                    <a:lnTo>
                      <a:pt x="105" y="488"/>
                    </a:lnTo>
                    <a:lnTo>
                      <a:pt x="103" y="488"/>
                    </a:lnTo>
                    <a:lnTo>
                      <a:pt x="101" y="489"/>
                    </a:lnTo>
                    <a:lnTo>
                      <a:pt x="99" y="489"/>
                    </a:lnTo>
                    <a:lnTo>
                      <a:pt x="99" y="489"/>
                    </a:lnTo>
                    <a:lnTo>
                      <a:pt x="99" y="491"/>
                    </a:lnTo>
                    <a:lnTo>
                      <a:pt x="99" y="491"/>
                    </a:lnTo>
                    <a:lnTo>
                      <a:pt x="97" y="491"/>
                    </a:lnTo>
                    <a:lnTo>
                      <a:pt x="97" y="493"/>
                    </a:lnTo>
                    <a:lnTo>
                      <a:pt x="97" y="493"/>
                    </a:lnTo>
                    <a:lnTo>
                      <a:pt x="97" y="497"/>
                    </a:lnTo>
                    <a:lnTo>
                      <a:pt x="95" y="503"/>
                    </a:lnTo>
                    <a:lnTo>
                      <a:pt x="95" y="505"/>
                    </a:lnTo>
                    <a:lnTo>
                      <a:pt x="95" y="505"/>
                    </a:lnTo>
                    <a:lnTo>
                      <a:pt x="95" y="507"/>
                    </a:lnTo>
                    <a:lnTo>
                      <a:pt x="93" y="510"/>
                    </a:lnTo>
                    <a:lnTo>
                      <a:pt x="93" y="508"/>
                    </a:lnTo>
                    <a:lnTo>
                      <a:pt x="91" y="508"/>
                    </a:lnTo>
                    <a:lnTo>
                      <a:pt x="90" y="507"/>
                    </a:lnTo>
                    <a:lnTo>
                      <a:pt x="90" y="507"/>
                    </a:lnTo>
                    <a:lnTo>
                      <a:pt x="90" y="507"/>
                    </a:lnTo>
                    <a:lnTo>
                      <a:pt x="88" y="507"/>
                    </a:lnTo>
                    <a:lnTo>
                      <a:pt x="88" y="507"/>
                    </a:lnTo>
                    <a:lnTo>
                      <a:pt x="86" y="512"/>
                    </a:lnTo>
                    <a:lnTo>
                      <a:pt x="86" y="512"/>
                    </a:lnTo>
                    <a:lnTo>
                      <a:pt x="84" y="514"/>
                    </a:lnTo>
                    <a:lnTo>
                      <a:pt x="82" y="514"/>
                    </a:lnTo>
                    <a:lnTo>
                      <a:pt x="78" y="514"/>
                    </a:lnTo>
                    <a:lnTo>
                      <a:pt x="76" y="516"/>
                    </a:lnTo>
                    <a:lnTo>
                      <a:pt x="74" y="516"/>
                    </a:lnTo>
                    <a:lnTo>
                      <a:pt x="74" y="516"/>
                    </a:lnTo>
                    <a:lnTo>
                      <a:pt x="72" y="518"/>
                    </a:lnTo>
                    <a:lnTo>
                      <a:pt x="72" y="518"/>
                    </a:lnTo>
                    <a:lnTo>
                      <a:pt x="70" y="522"/>
                    </a:lnTo>
                    <a:lnTo>
                      <a:pt x="69" y="522"/>
                    </a:lnTo>
                    <a:lnTo>
                      <a:pt x="69" y="524"/>
                    </a:lnTo>
                    <a:lnTo>
                      <a:pt x="67" y="524"/>
                    </a:lnTo>
                    <a:lnTo>
                      <a:pt x="67" y="524"/>
                    </a:lnTo>
                    <a:lnTo>
                      <a:pt x="65" y="524"/>
                    </a:lnTo>
                    <a:lnTo>
                      <a:pt x="65" y="524"/>
                    </a:lnTo>
                    <a:lnTo>
                      <a:pt x="65" y="526"/>
                    </a:lnTo>
                    <a:lnTo>
                      <a:pt x="65" y="526"/>
                    </a:lnTo>
                    <a:lnTo>
                      <a:pt x="65" y="528"/>
                    </a:lnTo>
                    <a:lnTo>
                      <a:pt x="67" y="528"/>
                    </a:lnTo>
                    <a:lnTo>
                      <a:pt x="69" y="529"/>
                    </a:lnTo>
                    <a:lnTo>
                      <a:pt x="69" y="529"/>
                    </a:lnTo>
                    <a:lnTo>
                      <a:pt x="70" y="531"/>
                    </a:lnTo>
                    <a:lnTo>
                      <a:pt x="70" y="533"/>
                    </a:lnTo>
                    <a:lnTo>
                      <a:pt x="69" y="535"/>
                    </a:lnTo>
                    <a:lnTo>
                      <a:pt x="69" y="535"/>
                    </a:lnTo>
                    <a:lnTo>
                      <a:pt x="67" y="535"/>
                    </a:lnTo>
                    <a:lnTo>
                      <a:pt x="65" y="537"/>
                    </a:lnTo>
                    <a:lnTo>
                      <a:pt x="63" y="539"/>
                    </a:lnTo>
                    <a:lnTo>
                      <a:pt x="61" y="541"/>
                    </a:lnTo>
                    <a:lnTo>
                      <a:pt x="57" y="545"/>
                    </a:lnTo>
                    <a:lnTo>
                      <a:pt x="51" y="548"/>
                    </a:lnTo>
                    <a:lnTo>
                      <a:pt x="51" y="550"/>
                    </a:lnTo>
                    <a:lnTo>
                      <a:pt x="48" y="554"/>
                    </a:lnTo>
                    <a:lnTo>
                      <a:pt x="44" y="562"/>
                    </a:lnTo>
                    <a:lnTo>
                      <a:pt x="44" y="562"/>
                    </a:lnTo>
                    <a:lnTo>
                      <a:pt x="42" y="562"/>
                    </a:lnTo>
                    <a:lnTo>
                      <a:pt x="42" y="564"/>
                    </a:lnTo>
                    <a:lnTo>
                      <a:pt x="38" y="564"/>
                    </a:lnTo>
                    <a:lnTo>
                      <a:pt x="36" y="564"/>
                    </a:lnTo>
                    <a:lnTo>
                      <a:pt x="36" y="564"/>
                    </a:lnTo>
                    <a:lnTo>
                      <a:pt x="34" y="566"/>
                    </a:lnTo>
                    <a:lnTo>
                      <a:pt x="34" y="567"/>
                    </a:lnTo>
                    <a:lnTo>
                      <a:pt x="32" y="569"/>
                    </a:lnTo>
                    <a:lnTo>
                      <a:pt x="32" y="569"/>
                    </a:lnTo>
                    <a:lnTo>
                      <a:pt x="25" y="571"/>
                    </a:lnTo>
                    <a:lnTo>
                      <a:pt x="23" y="573"/>
                    </a:lnTo>
                    <a:lnTo>
                      <a:pt x="23" y="573"/>
                    </a:lnTo>
                    <a:lnTo>
                      <a:pt x="21" y="573"/>
                    </a:lnTo>
                    <a:lnTo>
                      <a:pt x="21" y="573"/>
                    </a:lnTo>
                    <a:lnTo>
                      <a:pt x="19" y="573"/>
                    </a:lnTo>
                    <a:lnTo>
                      <a:pt x="19" y="573"/>
                    </a:lnTo>
                    <a:lnTo>
                      <a:pt x="17" y="577"/>
                    </a:lnTo>
                    <a:lnTo>
                      <a:pt x="17" y="579"/>
                    </a:lnTo>
                    <a:lnTo>
                      <a:pt x="15" y="581"/>
                    </a:lnTo>
                    <a:lnTo>
                      <a:pt x="15" y="581"/>
                    </a:lnTo>
                    <a:lnTo>
                      <a:pt x="15" y="583"/>
                    </a:lnTo>
                    <a:lnTo>
                      <a:pt x="15" y="583"/>
                    </a:lnTo>
                    <a:lnTo>
                      <a:pt x="15" y="585"/>
                    </a:lnTo>
                    <a:lnTo>
                      <a:pt x="17" y="586"/>
                    </a:lnTo>
                    <a:lnTo>
                      <a:pt x="17" y="586"/>
                    </a:lnTo>
                    <a:lnTo>
                      <a:pt x="17" y="588"/>
                    </a:lnTo>
                    <a:lnTo>
                      <a:pt x="15" y="590"/>
                    </a:lnTo>
                    <a:lnTo>
                      <a:pt x="15" y="592"/>
                    </a:lnTo>
                    <a:lnTo>
                      <a:pt x="15" y="596"/>
                    </a:lnTo>
                    <a:lnTo>
                      <a:pt x="13" y="598"/>
                    </a:lnTo>
                    <a:lnTo>
                      <a:pt x="13" y="598"/>
                    </a:lnTo>
                    <a:lnTo>
                      <a:pt x="13" y="598"/>
                    </a:lnTo>
                    <a:lnTo>
                      <a:pt x="13" y="600"/>
                    </a:lnTo>
                    <a:lnTo>
                      <a:pt x="11" y="602"/>
                    </a:lnTo>
                    <a:lnTo>
                      <a:pt x="11" y="602"/>
                    </a:lnTo>
                    <a:lnTo>
                      <a:pt x="11" y="604"/>
                    </a:lnTo>
                    <a:lnTo>
                      <a:pt x="11" y="604"/>
                    </a:lnTo>
                    <a:lnTo>
                      <a:pt x="11" y="609"/>
                    </a:lnTo>
                    <a:lnTo>
                      <a:pt x="11" y="611"/>
                    </a:lnTo>
                    <a:lnTo>
                      <a:pt x="11" y="613"/>
                    </a:lnTo>
                    <a:lnTo>
                      <a:pt x="9" y="615"/>
                    </a:lnTo>
                    <a:lnTo>
                      <a:pt x="9" y="615"/>
                    </a:lnTo>
                    <a:lnTo>
                      <a:pt x="9" y="617"/>
                    </a:lnTo>
                    <a:lnTo>
                      <a:pt x="8" y="619"/>
                    </a:lnTo>
                    <a:lnTo>
                      <a:pt x="8" y="619"/>
                    </a:lnTo>
                    <a:lnTo>
                      <a:pt x="8" y="621"/>
                    </a:lnTo>
                    <a:lnTo>
                      <a:pt x="8" y="623"/>
                    </a:lnTo>
                    <a:lnTo>
                      <a:pt x="8" y="623"/>
                    </a:lnTo>
                    <a:lnTo>
                      <a:pt x="8" y="625"/>
                    </a:lnTo>
                    <a:lnTo>
                      <a:pt x="6" y="625"/>
                    </a:lnTo>
                    <a:lnTo>
                      <a:pt x="6" y="625"/>
                    </a:lnTo>
                    <a:lnTo>
                      <a:pt x="6" y="625"/>
                    </a:lnTo>
                    <a:lnTo>
                      <a:pt x="4" y="625"/>
                    </a:lnTo>
                    <a:lnTo>
                      <a:pt x="4" y="623"/>
                    </a:lnTo>
                    <a:lnTo>
                      <a:pt x="4" y="623"/>
                    </a:lnTo>
                    <a:lnTo>
                      <a:pt x="2" y="623"/>
                    </a:lnTo>
                    <a:lnTo>
                      <a:pt x="2" y="623"/>
                    </a:lnTo>
                    <a:lnTo>
                      <a:pt x="2" y="623"/>
                    </a:lnTo>
                    <a:lnTo>
                      <a:pt x="0" y="625"/>
                    </a:lnTo>
                    <a:lnTo>
                      <a:pt x="0" y="625"/>
                    </a:lnTo>
                    <a:lnTo>
                      <a:pt x="0" y="626"/>
                    </a:lnTo>
                    <a:lnTo>
                      <a:pt x="0" y="630"/>
                    </a:lnTo>
                    <a:lnTo>
                      <a:pt x="0" y="632"/>
                    </a:lnTo>
                    <a:lnTo>
                      <a:pt x="0" y="634"/>
                    </a:lnTo>
                    <a:lnTo>
                      <a:pt x="8" y="636"/>
                    </a:lnTo>
                    <a:lnTo>
                      <a:pt x="9" y="636"/>
                    </a:lnTo>
                    <a:lnTo>
                      <a:pt x="9" y="636"/>
                    </a:lnTo>
                    <a:lnTo>
                      <a:pt x="11" y="636"/>
                    </a:lnTo>
                    <a:lnTo>
                      <a:pt x="11" y="636"/>
                    </a:lnTo>
                    <a:lnTo>
                      <a:pt x="13" y="634"/>
                    </a:lnTo>
                    <a:lnTo>
                      <a:pt x="13" y="632"/>
                    </a:lnTo>
                    <a:lnTo>
                      <a:pt x="13" y="630"/>
                    </a:lnTo>
                    <a:lnTo>
                      <a:pt x="15" y="630"/>
                    </a:lnTo>
                    <a:lnTo>
                      <a:pt x="17" y="632"/>
                    </a:lnTo>
                    <a:lnTo>
                      <a:pt x="21" y="634"/>
                    </a:lnTo>
                    <a:lnTo>
                      <a:pt x="23" y="634"/>
                    </a:lnTo>
                    <a:lnTo>
                      <a:pt x="27" y="632"/>
                    </a:lnTo>
                    <a:lnTo>
                      <a:pt x="29" y="630"/>
                    </a:lnTo>
                    <a:lnTo>
                      <a:pt x="32" y="628"/>
                    </a:lnTo>
                    <a:lnTo>
                      <a:pt x="34" y="628"/>
                    </a:lnTo>
                    <a:lnTo>
                      <a:pt x="38" y="626"/>
                    </a:lnTo>
                    <a:lnTo>
                      <a:pt x="40" y="626"/>
                    </a:lnTo>
                    <a:lnTo>
                      <a:pt x="42" y="625"/>
                    </a:lnTo>
                    <a:lnTo>
                      <a:pt x="42" y="623"/>
                    </a:lnTo>
                    <a:lnTo>
                      <a:pt x="44" y="621"/>
                    </a:lnTo>
                    <a:lnTo>
                      <a:pt x="46" y="621"/>
                    </a:lnTo>
                    <a:lnTo>
                      <a:pt x="55" y="617"/>
                    </a:lnTo>
                    <a:lnTo>
                      <a:pt x="67" y="607"/>
                    </a:lnTo>
                    <a:lnTo>
                      <a:pt x="70" y="607"/>
                    </a:lnTo>
                    <a:lnTo>
                      <a:pt x="76" y="607"/>
                    </a:lnTo>
                    <a:lnTo>
                      <a:pt x="82" y="602"/>
                    </a:lnTo>
                    <a:lnTo>
                      <a:pt x="88" y="602"/>
                    </a:lnTo>
                    <a:lnTo>
                      <a:pt x="93" y="604"/>
                    </a:lnTo>
                    <a:lnTo>
                      <a:pt x="95" y="604"/>
                    </a:lnTo>
                    <a:lnTo>
                      <a:pt x="97" y="606"/>
                    </a:lnTo>
                    <a:lnTo>
                      <a:pt x="99" y="607"/>
                    </a:lnTo>
                    <a:lnTo>
                      <a:pt x="99" y="607"/>
                    </a:lnTo>
                    <a:lnTo>
                      <a:pt x="101" y="607"/>
                    </a:lnTo>
                    <a:lnTo>
                      <a:pt x="103" y="607"/>
                    </a:lnTo>
                    <a:lnTo>
                      <a:pt x="103" y="607"/>
                    </a:lnTo>
                    <a:lnTo>
                      <a:pt x="105" y="607"/>
                    </a:lnTo>
                    <a:lnTo>
                      <a:pt x="105" y="609"/>
                    </a:lnTo>
                    <a:lnTo>
                      <a:pt x="107" y="609"/>
                    </a:lnTo>
                    <a:lnTo>
                      <a:pt x="109" y="607"/>
                    </a:lnTo>
                    <a:lnTo>
                      <a:pt x="109" y="607"/>
                    </a:lnTo>
                    <a:lnTo>
                      <a:pt x="109" y="606"/>
                    </a:lnTo>
                    <a:lnTo>
                      <a:pt x="111" y="604"/>
                    </a:lnTo>
                    <a:lnTo>
                      <a:pt x="111" y="604"/>
                    </a:lnTo>
                    <a:lnTo>
                      <a:pt x="112" y="602"/>
                    </a:lnTo>
                    <a:lnTo>
                      <a:pt x="116" y="602"/>
                    </a:lnTo>
                    <a:lnTo>
                      <a:pt x="118" y="602"/>
                    </a:lnTo>
                    <a:lnTo>
                      <a:pt x="118" y="602"/>
                    </a:lnTo>
                    <a:lnTo>
                      <a:pt x="118" y="600"/>
                    </a:lnTo>
                    <a:lnTo>
                      <a:pt x="118" y="598"/>
                    </a:lnTo>
                    <a:lnTo>
                      <a:pt x="118" y="594"/>
                    </a:lnTo>
                    <a:lnTo>
                      <a:pt x="118" y="594"/>
                    </a:lnTo>
                    <a:lnTo>
                      <a:pt x="118" y="592"/>
                    </a:lnTo>
                    <a:lnTo>
                      <a:pt x="120" y="592"/>
                    </a:lnTo>
                    <a:lnTo>
                      <a:pt x="122" y="590"/>
                    </a:lnTo>
                    <a:lnTo>
                      <a:pt x="122" y="590"/>
                    </a:lnTo>
                    <a:lnTo>
                      <a:pt x="122" y="588"/>
                    </a:lnTo>
                    <a:lnTo>
                      <a:pt x="120" y="588"/>
                    </a:lnTo>
                    <a:lnTo>
                      <a:pt x="116" y="585"/>
                    </a:lnTo>
                    <a:lnTo>
                      <a:pt x="116" y="583"/>
                    </a:lnTo>
                    <a:lnTo>
                      <a:pt x="116" y="583"/>
                    </a:lnTo>
                    <a:lnTo>
                      <a:pt x="116" y="581"/>
                    </a:lnTo>
                    <a:lnTo>
                      <a:pt x="116" y="579"/>
                    </a:lnTo>
                    <a:lnTo>
                      <a:pt x="120" y="573"/>
                    </a:lnTo>
                    <a:lnTo>
                      <a:pt x="122" y="571"/>
                    </a:lnTo>
                    <a:lnTo>
                      <a:pt x="122" y="569"/>
                    </a:lnTo>
                    <a:lnTo>
                      <a:pt x="122" y="567"/>
                    </a:lnTo>
                    <a:lnTo>
                      <a:pt x="120" y="566"/>
                    </a:lnTo>
                    <a:lnTo>
                      <a:pt x="120" y="566"/>
                    </a:lnTo>
                    <a:lnTo>
                      <a:pt x="120" y="564"/>
                    </a:lnTo>
                    <a:lnTo>
                      <a:pt x="122" y="560"/>
                    </a:lnTo>
                    <a:lnTo>
                      <a:pt x="124" y="558"/>
                    </a:lnTo>
                    <a:lnTo>
                      <a:pt x="124" y="556"/>
                    </a:lnTo>
                    <a:lnTo>
                      <a:pt x="122" y="554"/>
                    </a:lnTo>
                    <a:lnTo>
                      <a:pt x="124" y="552"/>
                    </a:lnTo>
                    <a:lnTo>
                      <a:pt x="124" y="552"/>
                    </a:lnTo>
                    <a:lnTo>
                      <a:pt x="128" y="547"/>
                    </a:lnTo>
                    <a:lnTo>
                      <a:pt x="130" y="545"/>
                    </a:lnTo>
                    <a:lnTo>
                      <a:pt x="130" y="541"/>
                    </a:lnTo>
                    <a:lnTo>
                      <a:pt x="132" y="539"/>
                    </a:lnTo>
                    <a:lnTo>
                      <a:pt x="133" y="539"/>
                    </a:lnTo>
                    <a:lnTo>
                      <a:pt x="135" y="539"/>
                    </a:lnTo>
                    <a:lnTo>
                      <a:pt x="137" y="541"/>
                    </a:lnTo>
                    <a:lnTo>
                      <a:pt x="137" y="541"/>
                    </a:lnTo>
                    <a:lnTo>
                      <a:pt x="139" y="541"/>
                    </a:lnTo>
                    <a:lnTo>
                      <a:pt x="139" y="541"/>
                    </a:lnTo>
                    <a:lnTo>
                      <a:pt x="141" y="543"/>
                    </a:lnTo>
                    <a:lnTo>
                      <a:pt x="141" y="543"/>
                    </a:lnTo>
                    <a:lnTo>
                      <a:pt x="139" y="545"/>
                    </a:lnTo>
                    <a:lnTo>
                      <a:pt x="139" y="545"/>
                    </a:lnTo>
                    <a:lnTo>
                      <a:pt x="141" y="545"/>
                    </a:lnTo>
                    <a:lnTo>
                      <a:pt x="141" y="547"/>
                    </a:lnTo>
                    <a:lnTo>
                      <a:pt x="141" y="547"/>
                    </a:lnTo>
                    <a:lnTo>
                      <a:pt x="141" y="548"/>
                    </a:lnTo>
                    <a:lnTo>
                      <a:pt x="141" y="550"/>
                    </a:lnTo>
                    <a:lnTo>
                      <a:pt x="141" y="552"/>
                    </a:lnTo>
                    <a:lnTo>
                      <a:pt x="141" y="554"/>
                    </a:lnTo>
                    <a:lnTo>
                      <a:pt x="143" y="556"/>
                    </a:lnTo>
                    <a:lnTo>
                      <a:pt x="149" y="562"/>
                    </a:lnTo>
                    <a:lnTo>
                      <a:pt x="151" y="562"/>
                    </a:lnTo>
                    <a:lnTo>
                      <a:pt x="151" y="564"/>
                    </a:lnTo>
                    <a:lnTo>
                      <a:pt x="151" y="564"/>
                    </a:lnTo>
                    <a:lnTo>
                      <a:pt x="151" y="566"/>
                    </a:lnTo>
                    <a:lnTo>
                      <a:pt x="151" y="566"/>
                    </a:lnTo>
                    <a:lnTo>
                      <a:pt x="151" y="567"/>
                    </a:lnTo>
                    <a:lnTo>
                      <a:pt x="149" y="571"/>
                    </a:lnTo>
                    <a:lnTo>
                      <a:pt x="149" y="573"/>
                    </a:lnTo>
                    <a:lnTo>
                      <a:pt x="149" y="573"/>
                    </a:lnTo>
                    <a:lnTo>
                      <a:pt x="149" y="575"/>
                    </a:lnTo>
                    <a:lnTo>
                      <a:pt x="151" y="575"/>
                    </a:lnTo>
                    <a:lnTo>
                      <a:pt x="151" y="577"/>
                    </a:lnTo>
                    <a:lnTo>
                      <a:pt x="152" y="577"/>
                    </a:lnTo>
                    <a:lnTo>
                      <a:pt x="154" y="577"/>
                    </a:lnTo>
                    <a:lnTo>
                      <a:pt x="154" y="577"/>
                    </a:lnTo>
                    <a:lnTo>
                      <a:pt x="156" y="577"/>
                    </a:lnTo>
                    <a:lnTo>
                      <a:pt x="156" y="577"/>
                    </a:lnTo>
                    <a:lnTo>
                      <a:pt x="158" y="577"/>
                    </a:lnTo>
                    <a:lnTo>
                      <a:pt x="158" y="575"/>
                    </a:lnTo>
                    <a:lnTo>
                      <a:pt x="160" y="571"/>
                    </a:lnTo>
                    <a:lnTo>
                      <a:pt x="160" y="571"/>
                    </a:lnTo>
                    <a:lnTo>
                      <a:pt x="160" y="569"/>
                    </a:lnTo>
                    <a:lnTo>
                      <a:pt x="162" y="569"/>
                    </a:lnTo>
                    <a:lnTo>
                      <a:pt x="164" y="567"/>
                    </a:lnTo>
                    <a:lnTo>
                      <a:pt x="168" y="566"/>
                    </a:lnTo>
                    <a:lnTo>
                      <a:pt x="172" y="564"/>
                    </a:lnTo>
                    <a:lnTo>
                      <a:pt x="173" y="562"/>
                    </a:lnTo>
                    <a:lnTo>
                      <a:pt x="175" y="562"/>
                    </a:lnTo>
                    <a:lnTo>
                      <a:pt x="175" y="560"/>
                    </a:lnTo>
                    <a:lnTo>
                      <a:pt x="175" y="558"/>
                    </a:lnTo>
                    <a:lnTo>
                      <a:pt x="175" y="554"/>
                    </a:lnTo>
                    <a:lnTo>
                      <a:pt x="173" y="552"/>
                    </a:lnTo>
                    <a:lnTo>
                      <a:pt x="175" y="552"/>
                    </a:lnTo>
                    <a:lnTo>
                      <a:pt x="175" y="552"/>
                    </a:lnTo>
                    <a:lnTo>
                      <a:pt x="179" y="550"/>
                    </a:lnTo>
                    <a:lnTo>
                      <a:pt x="181" y="552"/>
                    </a:lnTo>
                    <a:lnTo>
                      <a:pt x="181" y="552"/>
                    </a:lnTo>
                    <a:lnTo>
                      <a:pt x="183" y="554"/>
                    </a:lnTo>
                    <a:lnTo>
                      <a:pt x="185" y="554"/>
                    </a:lnTo>
                    <a:lnTo>
                      <a:pt x="187" y="554"/>
                    </a:lnTo>
                    <a:lnTo>
                      <a:pt x="187" y="554"/>
                    </a:lnTo>
                    <a:lnTo>
                      <a:pt x="189" y="556"/>
                    </a:lnTo>
                    <a:lnTo>
                      <a:pt x="187" y="558"/>
                    </a:lnTo>
                    <a:lnTo>
                      <a:pt x="187" y="560"/>
                    </a:lnTo>
                    <a:lnTo>
                      <a:pt x="189" y="560"/>
                    </a:lnTo>
                    <a:lnTo>
                      <a:pt x="189" y="562"/>
                    </a:lnTo>
                    <a:lnTo>
                      <a:pt x="191" y="562"/>
                    </a:lnTo>
                    <a:lnTo>
                      <a:pt x="194" y="562"/>
                    </a:lnTo>
                    <a:lnTo>
                      <a:pt x="196" y="562"/>
                    </a:lnTo>
                    <a:lnTo>
                      <a:pt x="200" y="558"/>
                    </a:lnTo>
                    <a:lnTo>
                      <a:pt x="202" y="558"/>
                    </a:lnTo>
                    <a:lnTo>
                      <a:pt x="202" y="558"/>
                    </a:lnTo>
                    <a:lnTo>
                      <a:pt x="204" y="558"/>
                    </a:lnTo>
                    <a:lnTo>
                      <a:pt x="206" y="558"/>
                    </a:lnTo>
                    <a:lnTo>
                      <a:pt x="208" y="556"/>
                    </a:lnTo>
                    <a:lnTo>
                      <a:pt x="208" y="552"/>
                    </a:lnTo>
                    <a:lnTo>
                      <a:pt x="208" y="552"/>
                    </a:lnTo>
                    <a:lnTo>
                      <a:pt x="208" y="550"/>
                    </a:lnTo>
                    <a:lnTo>
                      <a:pt x="206" y="550"/>
                    </a:lnTo>
                    <a:lnTo>
                      <a:pt x="206" y="548"/>
                    </a:lnTo>
                    <a:lnTo>
                      <a:pt x="206" y="547"/>
                    </a:lnTo>
                    <a:lnTo>
                      <a:pt x="206" y="547"/>
                    </a:lnTo>
                    <a:lnTo>
                      <a:pt x="212" y="539"/>
                    </a:lnTo>
                    <a:lnTo>
                      <a:pt x="212" y="537"/>
                    </a:lnTo>
                    <a:lnTo>
                      <a:pt x="212" y="537"/>
                    </a:lnTo>
                    <a:lnTo>
                      <a:pt x="212" y="537"/>
                    </a:lnTo>
                    <a:lnTo>
                      <a:pt x="212" y="537"/>
                    </a:lnTo>
                    <a:lnTo>
                      <a:pt x="208" y="537"/>
                    </a:lnTo>
                    <a:lnTo>
                      <a:pt x="208" y="537"/>
                    </a:lnTo>
                    <a:lnTo>
                      <a:pt x="208" y="535"/>
                    </a:lnTo>
                    <a:lnTo>
                      <a:pt x="206" y="533"/>
                    </a:lnTo>
                    <a:lnTo>
                      <a:pt x="204" y="531"/>
                    </a:lnTo>
                    <a:lnTo>
                      <a:pt x="204" y="529"/>
                    </a:lnTo>
                    <a:lnTo>
                      <a:pt x="204" y="529"/>
                    </a:lnTo>
                    <a:lnTo>
                      <a:pt x="206" y="528"/>
                    </a:lnTo>
                    <a:lnTo>
                      <a:pt x="206" y="526"/>
                    </a:lnTo>
                    <a:lnTo>
                      <a:pt x="206" y="526"/>
                    </a:lnTo>
                    <a:lnTo>
                      <a:pt x="206" y="524"/>
                    </a:lnTo>
                    <a:lnTo>
                      <a:pt x="206" y="524"/>
                    </a:lnTo>
                    <a:lnTo>
                      <a:pt x="208" y="520"/>
                    </a:lnTo>
                    <a:lnTo>
                      <a:pt x="210" y="518"/>
                    </a:lnTo>
                    <a:lnTo>
                      <a:pt x="212" y="516"/>
                    </a:lnTo>
                    <a:lnTo>
                      <a:pt x="214" y="512"/>
                    </a:lnTo>
                    <a:lnTo>
                      <a:pt x="215" y="510"/>
                    </a:lnTo>
                    <a:lnTo>
                      <a:pt x="217" y="508"/>
                    </a:lnTo>
                    <a:lnTo>
                      <a:pt x="219" y="507"/>
                    </a:lnTo>
                    <a:lnTo>
                      <a:pt x="221" y="507"/>
                    </a:lnTo>
                    <a:lnTo>
                      <a:pt x="223" y="507"/>
                    </a:lnTo>
                    <a:lnTo>
                      <a:pt x="223" y="508"/>
                    </a:lnTo>
                    <a:lnTo>
                      <a:pt x="225" y="508"/>
                    </a:lnTo>
                    <a:lnTo>
                      <a:pt x="227" y="510"/>
                    </a:lnTo>
                    <a:lnTo>
                      <a:pt x="227" y="510"/>
                    </a:lnTo>
                    <a:lnTo>
                      <a:pt x="234" y="507"/>
                    </a:lnTo>
                    <a:lnTo>
                      <a:pt x="236" y="505"/>
                    </a:lnTo>
                    <a:lnTo>
                      <a:pt x="240" y="503"/>
                    </a:lnTo>
                    <a:lnTo>
                      <a:pt x="244" y="499"/>
                    </a:lnTo>
                    <a:lnTo>
                      <a:pt x="246" y="499"/>
                    </a:lnTo>
                    <a:lnTo>
                      <a:pt x="248" y="497"/>
                    </a:lnTo>
                    <a:lnTo>
                      <a:pt x="250" y="497"/>
                    </a:lnTo>
                    <a:lnTo>
                      <a:pt x="252" y="495"/>
                    </a:lnTo>
                    <a:lnTo>
                      <a:pt x="252" y="493"/>
                    </a:lnTo>
                    <a:lnTo>
                      <a:pt x="252" y="493"/>
                    </a:lnTo>
                    <a:lnTo>
                      <a:pt x="252" y="493"/>
                    </a:lnTo>
                    <a:lnTo>
                      <a:pt x="250" y="493"/>
                    </a:lnTo>
                    <a:lnTo>
                      <a:pt x="250" y="491"/>
                    </a:lnTo>
                    <a:lnTo>
                      <a:pt x="250" y="491"/>
                    </a:lnTo>
                    <a:lnTo>
                      <a:pt x="250" y="489"/>
                    </a:lnTo>
                    <a:lnTo>
                      <a:pt x="248" y="489"/>
                    </a:lnTo>
                    <a:lnTo>
                      <a:pt x="248" y="489"/>
                    </a:lnTo>
                    <a:lnTo>
                      <a:pt x="248" y="489"/>
                    </a:lnTo>
                    <a:lnTo>
                      <a:pt x="246" y="489"/>
                    </a:lnTo>
                    <a:lnTo>
                      <a:pt x="246" y="489"/>
                    </a:lnTo>
                    <a:lnTo>
                      <a:pt x="246" y="489"/>
                    </a:lnTo>
                    <a:lnTo>
                      <a:pt x="242" y="486"/>
                    </a:lnTo>
                    <a:lnTo>
                      <a:pt x="242" y="484"/>
                    </a:lnTo>
                    <a:lnTo>
                      <a:pt x="242" y="482"/>
                    </a:lnTo>
                    <a:lnTo>
                      <a:pt x="242" y="482"/>
                    </a:lnTo>
                    <a:lnTo>
                      <a:pt x="240" y="480"/>
                    </a:lnTo>
                    <a:lnTo>
                      <a:pt x="240" y="480"/>
                    </a:lnTo>
                    <a:lnTo>
                      <a:pt x="240" y="480"/>
                    </a:lnTo>
                    <a:lnTo>
                      <a:pt x="240" y="478"/>
                    </a:lnTo>
                    <a:lnTo>
                      <a:pt x="240" y="478"/>
                    </a:lnTo>
                    <a:lnTo>
                      <a:pt x="242" y="476"/>
                    </a:lnTo>
                    <a:lnTo>
                      <a:pt x="242" y="476"/>
                    </a:lnTo>
                    <a:lnTo>
                      <a:pt x="244" y="476"/>
                    </a:lnTo>
                    <a:lnTo>
                      <a:pt x="244" y="476"/>
                    </a:lnTo>
                    <a:lnTo>
                      <a:pt x="246" y="476"/>
                    </a:lnTo>
                    <a:lnTo>
                      <a:pt x="246" y="476"/>
                    </a:lnTo>
                    <a:lnTo>
                      <a:pt x="248" y="476"/>
                    </a:lnTo>
                    <a:lnTo>
                      <a:pt x="252" y="478"/>
                    </a:lnTo>
                    <a:lnTo>
                      <a:pt x="252" y="478"/>
                    </a:lnTo>
                    <a:lnTo>
                      <a:pt x="255" y="480"/>
                    </a:lnTo>
                    <a:lnTo>
                      <a:pt x="257" y="482"/>
                    </a:lnTo>
                    <a:lnTo>
                      <a:pt x="259" y="480"/>
                    </a:lnTo>
                    <a:lnTo>
                      <a:pt x="259" y="480"/>
                    </a:lnTo>
                    <a:lnTo>
                      <a:pt x="259" y="478"/>
                    </a:lnTo>
                    <a:lnTo>
                      <a:pt x="259" y="476"/>
                    </a:lnTo>
                    <a:lnTo>
                      <a:pt x="257" y="476"/>
                    </a:lnTo>
                    <a:lnTo>
                      <a:pt x="257" y="476"/>
                    </a:lnTo>
                    <a:lnTo>
                      <a:pt x="259" y="476"/>
                    </a:lnTo>
                    <a:lnTo>
                      <a:pt x="259" y="476"/>
                    </a:lnTo>
                    <a:lnTo>
                      <a:pt x="259" y="474"/>
                    </a:lnTo>
                    <a:lnTo>
                      <a:pt x="261" y="474"/>
                    </a:lnTo>
                    <a:lnTo>
                      <a:pt x="261" y="472"/>
                    </a:lnTo>
                    <a:lnTo>
                      <a:pt x="259" y="469"/>
                    </a:lnTo>
                    <a:lnTo>
                      <a:pt x="259" y="467"/>
                    </a:lnTo>
                    <a:lnTo>
                      <a:pt x="259" y="467"/>
                    </a:lnTo>
                    <a:lnTo>
                      <a:pt x="261" y="467"/>
                    </a:lnTo>
                    <a:lnTo>
                      <a:pt x="263" y="469"/>
                    </a:lnTo>
                    <a:lnTo>
                      <a:pt x="263" y="469"/>
                    </a:lnTo>
                    <a:lnTo>
                      <a:pt x="263" y="470"/>
                    </a:lnTo>
                    <a:lnTo>
                      <a:pt x="265" y="474"/>
                    </a:lnTo>
                    <a:lnTo>
                      <a:pt x="265" y="474"/>
                    </a:lnTo>
                    <a:lnTo>
                      <a:pt x="265" y="474"/>
                    </a:lnTo>
                    <a:lnTo>
                      <a:pt x="267" y="474"/>
                    </a:lnTo>
                    <a:lnTo>
                      <a:pt x="267" y="474"/>
                    </a:lnTo>
                    <a:lnTo>
                      <a:pt x="269" y="472"/>
                    </a:lnTo>
                    <a:lnTo>
                      <a:pt x="269" y="469"/>
                    </a:lnTo>
                    <a:lnTo>
                      <a:pt x="271" y="469"/>
                    </a:lnTo>
                    <a:lnTo>
                      <a:pt x="271" y="467"/>
                    </a:lnTo>
                    <a:lnTo>
                      <a:pt x="275" y="467"/>
                    </a:lnTo>
                    <a:lnTo>
                      <a:pt x="275" y="465"/>
                    </a:lnTo>
                    <a:lnTo>
                      <a:pt x="276" y="465"/>
                    </a:lnTo>
                    <a:lnTo>
                      <a:pt x="276" y="463"/>
                    </a:lnTo>
                    <a:lnTo>
                      <a:pt x="276" y="461"/>
                    </a:lnTo>
                    <a:lnTo>
                      <a:pt x="276" y="459"/>
                    </a:lnTo>
                    <a:lnTo>
                      <a:pt x="278" y="459"/>
                    </a:lnTo>
                    <a:lnTo>
                      <a:pt x="278" y="459"/>
                    </a:lnTo>
                    <a:lnTo>
                      <a:pt x="280" y="461"/>
                    </a:lnTo>
                    <a:lnTo>
                      <a:pt x="282" y="465"/>
                    </a:lnTo>
                    <a:lnTo>
                      <a:pt x="282" y="467"/>
                    </a:lnTo>
                    <a:lnTo>
                      <a:pt x="288" y="472"/>
                    </a:lnTo>
                    <a:lnTo>
                      <a:pt x="290" y="474"/>
                    </a:lnTo>
                    <a:lnTo>
                      <a:pt x="290" y="476"/>
                    </a:lnTo>
                    <a:lnTo>
                      <a:pt x="294" y="484"/>
                    </a:lnTo>
                    <a:lnTo>
                      <a:pt x="294" y="486"/>
                    </a:lnTo>
                    <a:lnTo>
                      <a:pt x="296" y="486"/>
                    </a:lnTo>
                    <a:lnTo>
                      <a:pt x="296" y="486"/>
                    </a:lnTo>
                    <a:lnTo>
                      <a:pt x="296" y="484"/>
                    </a:lnTo>
                    <a:lnTo>
                      <a:pt x="296" y="484"/>
                    </a:lnTo>
                    <a:lnTo>
                      <a:pt x="296" y="482"/>
                    </a:lnTo>
                    <a:lnTo>
                      <a:pt x="296" y="480"/>
                    </a:lnTo>
                    <a:lnTo>
                      <a:pt x="296" y="480"/>
                    </a:lnTo>
                    <a:lnTo>
                      <a:pt x="296" y="478"/>
                    </a:lnTo>
                    <a:lnTo>
                      <a:pt x="296" y="478"/>
                    </a:lnTo>
                    <a:lnTo>
                      <a:pt x="296" y="476"/>
                    </a:lnTo>
                    <a:lnTo>
                      <a:pt x="296" y="476"/>
                    </a:lnTo>
                    <a:lnTo>
                      <a:pt x="296" y="476"/>
                    </a:lnTo>
                    <a:lnTo>
                      <a:pt x="297" y="476"/>
                    </a:lnTo>
                    <a:lnTo>
                      <a:pt x="297" y="474"/>
                    </a:lnTo>
                    <a:lnTo>
                      <a:pt x="299" y="474"/>
                    </a:lnTo>
                    <a:lnTo>
                      <a:pt x="299" y="474"/>
                    </a:lnTo>
                    <a:lnTo>
                      <a:pt x="303" y="476"/>
                    </a:lnTo>
                    <a:lnTo>
                      <a:pt x="305" y="482"/>
                    </a:lnTo>
                    <a:lnTo>
                      <a:pt x="305" y="486"/>
                    </a:lnTo>
                    <a:lnTo>
                      <a:pt x="305" y="488"/>
                    </a:lnTo>
                    <a:lnTo>
                      <a:pt x="307" y="489"/>
                    </a:lnTo>
                    <a:lnTo>
                      <a:pt x="309" y="493"/>
                    </a:lnTo>
                    <a:lnTo>
                      <a:pt x="309" y="495"/>
                    </a:lnTo>
                    <a:lnTo>
                      <a:pt x="309" y="495"/>
                    </a:lnTo>
                    <a:lnTo>
                      <a:pt x="311" y="495"/>
                    </a:lnTo>
                    <a:lnTo>
                      <a:pt x="311" y="497"/>
                    </a:lnTo>
                    <a:lnTo>
                      <a:pt x="311" y="497"/>
                    </a:lnTo>
                    <a:lnTo>
                      <a:pt x="313" y="499"/>
                    </a:lnTo>
                    <a:lnTo>
                      <a:pt x="313" y="499"/>
                    </a:lnTo>
                    <a:lnTo>
                      <a:pt x="313" y="501"/>
                    </a:lnTo>
                    <a:lnTo>
                      <a:pt x="313" y="501"/>
                    </a:lnTo>
                    <a:lnTo>
                      <a:pt x="315" y="501"/>
                    </a:lnTo>
                    <a:lnTo>
                      <a:pt x="315" y="501"/>
                    </a:lnTo>
                    <a:lnTo>
                      <a:pt x="320" y="501"/>
                    </a:lnTo>
                    <a:lnTo>
                      <a:pt x="328" y="501"/>
                    </a:lnTo>
                    <a:lnTo>
                      <a:pt x="334" y="501"/>
                    </a:lnTo>
                    <a:lnTo>
                      <a:pt x="336" y="501"/>
                    </a:lnTo>
                    <a:lnTo>
                      <a:pt x="337" y="501"/>
                    </a:lnTo>
                    <a:lnTo>
                      <a:pt x="339" y="501"/>
                    </a:lnTo>
                    <a:lnTo>
                      <a:pt x="341" y="503"/>
                    </a:lnTo>
                    <a:lnTo>
                      <a:pt x="343" y="503"/>
                    </a:lnTo>
                    <a:lnTo>
                      <a:pt x="345" y="503"/>
                    </a:lnTo>
                    <a:lnTo>
                      <a:pt x="347" y="505"/>
                    </a:lnTo>
                    <a:lnTo>
                      <a:pt x="347" y="505"/>
                    </a:lnTo>
                    <a:lnTo>
                      <a:pt x="351" y="505"/>
                    </a:lnTo>
                    <a:lnTo>
                      <a:pt x="358" y="501"/>
                    </a:lnTo>
                    <a:lnTo>
                      <a:pt x="368" y="501"/>
                    </a:lnTo>
                    <a:lnTo>
                      <a:pt x="370" y="501"/>
                    </a:lnTo>
                    <a:lnTo>
                      <a:pt x="372" y="499"/>
                    </a:lnTo>
                    <a:lnTo>
                      <a:pt x="374" y="495"/>
                    </a:lnTo>
                    <a:lnTo>
                      <a:pt x="376" y="493"/>
                    </a:lnTo>
                    <a:lnTo>
                      <a:pt x="376" y="489"/>
                    </a:lnTo>
                    <a:lnTo>
                      <a:pt x="376" y="489"/>
                    </a:lnTo>
                    <a:lnTo>
                      <a:pt x="378" y="489"/>
                    </a:lnTo>
                    <a:lnTo>
                      <a:pt x="379" y="489"/>
                    </a:lnTo>
                    <a:lnTo>
                      <a:pt x="379" y="489"/>
                    </a:lnTo>
                    <a:lnTo>
                      <a:pt x="381" y="489"/>
                    </a:lnTo>
                    <a:lnTo>
                      <a:pt x="385" y="484"/>
                    </a:lnTo>
                    <a:lnTo>
                      <a:pt x="385" y="482"/>
                    </a:lnTo>
                    <a:lnTo>
                      <a:pt x="387" y="482"/>
                    </a:lnTo>
                    <a:lnTo>
                      <a:pt x="385" y="480"/>
                    </a:lnTo>
                    <a:lnTo>
                      <a:pt x="385" y="480"/>
                    </a:lnTo>
                    <a:lnTo>
                      <a:pt x="385" y="480"/>
                    </a:lnTo>
                    <a:lnTo>
                      <a:pt x="385" y="478"/>
                    </a:lnTo>
                    <a:lnTo>
                      <a:pt x="385" y="478"/>
                    </a:lnTo>
                    <a:lnTo>
                      <a:pt x="387" y="476"/>
                    </a:lnTo>
                    <a:lnTo>
                      <a:pt x="387" y="476"/>
                    </a:lnTo>
                    <a:lnTo>
                      <a:pt x="387" y="474"/>
                    </a:lnTo>
                    <a:lnTo>
                      <a:pt x="387" y="474"/>
                    </a:lnTo>
                    <a:lnTo>
                      <a:pt x="385" y="472"/>
                    </a:lnTo>
                    <a:lnTo>
                      <a:pt x="387" y="472"/>
                    </a:lnTo>
                    <a:lnTo>
                      <a:pt x="387" y="472"/>
                    </a:lnTo>
                    <a:lnTo>
                      <a:pt x="389" y="472"/>
                    </a:lnTo>
                    <a:lnTo>
                      <a:pt x="391" y="472"/>
                    </a:lnTo>
                    <a:lnTo>
                      <a:pt x="393" y="472"/>
                    </a:lnTo>
                    <a:lnTo>
                      <a:pt x="393" y="472"/>
                    </a:lnTo>
                    <a:lnTo>
                      <a:pt x="397" y="469"/>
                    </a:lnTo>
                    <a:lnTo>
                      <a:pt x="398" y="467"/>
                    </a:lnTo>
                    <a:lnTo>
                      <a:pt x="408" y="463"/>
                    </a:lnTo>
                    <a:lnTo>
                      <a:pt x="410" y="463"/>
                    </a:lnTo>
                    <a:lnTo>
                      <a:pt x="410" y="463"/>
                    </a:lnTo>
                    <a:lnTo>
                      <a:pt x="410" y="465"/>
                    </a:lnTo>
                    <a:lnTo>
                      <a:pt x="412" y="465"/>
                    </a:lnTo>
                    <a:lnTo>
                      <a:pt x="414" y="463"/>
                    </a:lnTo>
                    <a:lnTo>
                      <a:pt x="414" y="461"/>
                    </a:lnTo>
                    <a:lnTo>
                      <a:pt x="414" y="459"/>
                    </a:lnTo>
                    <a:lnTo>
                      <a:pt x="414" y="459"/>
                    </a:lnTo>
                    <a:lnTo>
                      <a:pt x="414" y="457"/>
                    </a:lnTo>
                    <a:lnTo>
                      <a:pt x="414" y="457"/>
                    </a:lnTo>
                    <a:lnTo>
                      <a:pt x="414" y="455"/>
                    </a:lnTo>
                    <a:lnTo>
                      <a:pt x="414" y="455"/>
                    </a:lnTo>
                    <a:lnTo>
                      <a:pt x="414" y="455"/>
                    </a:lnTo>
                    <a:lnTo>
                      <a:pt x="416" y="455"/>
                    </a:lnTo>
                    <a:lnTo>
                      <a:pt x="421" y="455"/>
                    </a:lnTo>
                    <a:lnTo>
                      <a:pt x="421" y="455"/>
                    </a:lnTo>
                    <a:lnTo>
                      <a:pt x="423" y="455"/>
                    </a:lnTo>
                    <a:lnTo>
                      <a:pt x="423" y="457"/>
                    </a:lnTo>
                    <a:lnTo>
                      <a:pt x="425" y="457"/>
                    </a:lnTo>
                    <a:lnTo>
                      <a:pt x="425" y="461"/>
                    </a:lnTo>
                    <a:lnTo>
                      <a:pt x="427" y="461"/>
                    </a:lnTo>
                    <a:lnTo>
                      <a:pt x="437" y="448"/>
                    </a:lnTo>
                    <a:lnTo>
                      <a:pt x="452" y="432"/>
                    </a:lnTo>
                    <a:lnTo>
                      <a:pt x="461" y="427"/>
                    </a:lnTo>
                    <a:lnTo>
                      <a:pt x="475" y="413"/>
                    </a:lnTo>
                    <a:lnTo>
                      <a:pt x="482" y="408"/>
                    </a:lnTo>
                    <a:lnTo>
                      <a:pt x="488" y="406"/>
                    </a:lnTo>
                    <a:lnTo>
                      <a:pt x="496" y="400"/>
                    </a:lnTo>
                    <a:lnTo>
                      <a:pt x="501" y="398"/>
                    </a:lnTo>
                    <a:lnTo>
                      <a:pt x="511" y="392"/>
                    </a:lnTo>
                    <a:lnTo>
                      <a:pt x="521" y="387"/>
                    </a:lnTo>
                    <a:lnTo>
                      <a:pt x="524" y="385"/>
                    </a:lnTo>
                    <a:lnTo>
                      <a:pt x="494" y="400"/>
                    </a:lnTo>
                    <a:lnTo>
                      <a:pt x="490" y="400"/>
                    </a:lnTo>
                    <a:lnTo>
                      <a:pt x="492" y="400"/>
                    </a:lnTo>
                    <a:lnTo>
                      <a:pt x="490" y="398"/>
                    </a:lnTo>
                    <a:lnTo>
                      <a:pt x="488" y="396"/>
                    </a:lnTo>
                    <a:lnTo>
                      <a:pt x="490" y="396"/>
                    </a:lnTo>
                    <a:lnTo>
                      <a:pt x="490" y="396"/>
                    </a:lnTo>
                    <a:lnTo>
                      <a:pt x="492" y="396"/>
                    </a:lnTo>
                    <a:lnTo>
                      <a:pt x="492" y="394"/>
                    </a:lnTo>
                    <a:lnTo>
                      <a:pt x="492" y="394"/>
                    </a:lnTo>
                    <a:lnTo>
                      <a:pt x="494" y="394"/>
                    </a:lnTo>
                    <a:lnTo>
                      <a:pt x="494" y="396"/>
                    </a:lnTo>
                    <a:lnTo>
                      <a:pt x="496" y="396"/>
                    </a:lnTo>
                    <a:lnTo>
                      <a:pt x="498" y="396"/>
                    </a:lnTo>
                    <a:lnTo>
                      <a:pt x="500" y="396"/>
                    </a:lnTo>
                    <a:lnTo>
                      <a:pt x="500" y="394"/>
                    </a:lnTo>
                    <a:lnTo>
                      <a:pt x="501" y="394"/>
                    </a:lnTo>
                    <a:lnTo>
                      <a:pt x="501" y="392"/>
                    </a:lnTo>
                    <a:lnTo>
                      <a:pt x="501" y="392"/>
                    </a:lnTo>
                    <a:lnTo>
                      <a:pt x="501" y="391"/>
                    </a:lnTo>
                    <a:lnTo>
                      <a:pt x="503" y="391"/>
                    </a:lnTo>
                    <a:lnTo>
                      <a:pt x="503" y="391"/>
                    </a:lnTo>
                    <a:lnTo>
                      <a:pt x="503" y="389"/>
                    </a:lnTo>
                    <a:lnTo>
                      <a:pt x="503" y="387"/>
                    </a:lnTo>
                    <a:lnTo>
                      <a:pt x="503" y="387"/>
                    </a:lnTo>
                    <a:lnTo>
                      <a:pt x="501" y="385"/>
                    </a:lnTo>
                    <a:lnTo>
                      <a:pt x="501" y="387"/>
                    </a:lnTo>
                    <a:lnTo>
                      <a:pt x="500" y="387"/>
                    </a:lnTo>
                    <a:lnTo>
                      <a:pt x="498" y="387"/>
                    </a:lnTo>
                    <a:lnTo>
                      <a:pt x="498" y="387"/>
                    </a:lnTo>
                    <a:lnTo>
                      <a:pt x="492" y="391"/>
                    </a:lnTo>
                    <a:lnTo>
                      <a:pt x="486" y="389"/>
                    </a:lnTo>
                    <a:lnTo>
                      <a:pt x="484" y="389"/>
                    </a:lnTo>
                    <a:lnTo>
                      <a:pt x="484" y="389"/>
                    </a:lnTo>
                    <a:lnTo>
                      <a:pt x="482" y="392"/>
                    </a:lnTo>
                    <a:lnTo>
                      <a:pt x="482" y="392"/>
                    </a:lnTo>
                    <a:lnTo>
                      <a:pt x="482" y="392"/>
                    </a:lnTo>
                    <a:lnTo>
                      <a:pt x="482" y="394"/>
                    </a:lnTo>
                    <a:lnTo>
                      <a:pt x="482" y="394"/>
                    </a:lnTo>
                    <a:lnTo>
                      <a:pt x="484" y="394"/>
                    </a:lnTo>
                    <a:lnTo>
                      <a:pt x="484" y="396"/>
                    </a:lnTo>
                    <a:lnTo>
                      <a:pt x="482" y="396"/>
                    </a:lnTo>
                    <a:lnTo>
                      <a:pt x="480" y="398"/>
                    </a:lnTo>
                    <a:lnTo>
                      <a:pt x="480" y="398"/>
                    </a:lnTo>
                    <a:lnTo>
                      <a:pt x="477" y="398"/>
                    </a:lnTo>
                    <a:lnTo>
                      <a:pt x="477" y="400"/>
                    </a:lnTo>
                    <a:lnTo>
                      <a:pt x="479" y="400"/>
                    </a:lnTo>
                    <a:lnTo>
                      <a:pt x="482" y="402"/>
                    </a:lnTo>
                    <a:lnTo>
                      <a:pt x="480" y="404"/>
                    </a:lnTo>
                    <a:lnTo>
                      <a:pt x="480" y="404"/>
                    </a:lnTo>
                    <a:lnTo>
                      <a:pt x="479" y="404"/>
                    </a:lnTo>
                    <a:lnTo>
                      <a:pt x="479" y="402"/>
                    </a:lnTo>
                    <a:lnTo>
                      <a:pt x="477" y="404"/>
                    </a:lnTo>
                    <a:lnTo>
                      <a:pt x="479" y="406"/>
                    </a:lnTo>
                    <a:lnTo>
                      <a:pt x="479" y="408"/>
                    </a:lnTo>
                    <a:lnTo>
                      <a:pt x="477" y="410"/>
                    </a:lnTo>
                    <a:lnTo>
                      <a:pt x="475" y="410"/>
                    </a:lnTo>
                    <a:lnTo>
                      <a:pt x="475" y="410"/>
                    </a:lnTo>
                    <a:lnTo>
                      <a:pt x="473" y="410"/>
                    </a:lnTo>
                    <a:lnTo>
                      <a:pt x="471" y="410"/>
                    </a:lnTo>
                    <a:lnTo>
                      <a:pt x="471" y="411"/>
                    </a:lnTo>
                    <a:lnTo>
                      <a:pt x="471" y="411"/>
                    </a:lnTo>
                    <a:lnTo>
                      <a:pt x="469" y="411"/>
                    </a:lnTo>
                    <a:lnTo>
                      <a:pt x="469" y="413"/>
                    </a:lnTo>
                    <a:lnTo>
                      <a:pt x="469" y="411"/>
                    </a:lnTo>
                    <a:lnTo>
                      <a:pt x="469" y="410"/>
                    </a:lnTo>
                    <a:lnTo>
                      <a:pt x="469" y="408"/>
                    </a:lnTo>
                    <a:lnTo>
                      <a:pt x="469" y="408"/>
                    </a:lnTo>
                    <a:lnTo>
                      <a:pt x="467" y="410"/>
                    </a:lnTo>
                    <a:lnTo>
                      <a:pt x="467" y="410"/>
                    </a:lnTo>
                    <a:lnTo>
                      <a:pt x="465" y="408"/>
                    </a:lnTo>
                    <a:lnTo>
                      <a:pt x="465" y="406"/>
                    </a:lnTo>
                    <a:lnTo>
                      <a:pt x="467" y="404"/>
                    </a:lnTo>
                    <a:lnTo>
                      <a:pt x="469" y="404"/>
                    </a:lnTo>
                    <a:lnTo>
                      <a:pt x="471" y="402"/>
                    </a:lnTo>
                    <a:lnTo>
                      <a:pt x="471" y="402"/>
                    </a:lnTo>
                    <a:lnTo>
                      <a:pt x="471" y="400"/>
                    </a:lnTo>
                    <a:lnTo>
                      <a:pt x="471" y="400"/>
                    </a:lnTo>
                    <a:lnTo>
                      <a:pt x="471" y="396"/>
                    </a:lnTo>
                    <a:lnTo>
                      <a:pt x="471" y="394"/>
                    </a:lnTo>
                    <a:lnTo>
                      <a:pt x="473" y="392"/>
                    </a:lnTo>
                    <a:lnTo>
                      <a:pt x="475" y="392"/>
                    </a:lnTo>
                    <a:lnTo>
                      <a:pt x="477" y="387"/>
                    </a:lnTo>
                    <a:lnTo>
                      <a:pt x="479" y="385"/>
                    </a:lnTo>
                    <a:lnTo>
                      <a:pt x="479" y="383"/>
                    </a:lnTo>
                    <a:lnTo>
                      <a:pt x="480" y="379"/>
                    </a:lnTo>
                    <a:lnTo>
                      <a:pt x="484" y="375"/>
                    </a:lnTo>
                    <a:lnTo>
                      <a:pt x="486" y="373"/>
                    </a:lnTo>
                    <a:lnTo>
                      <a:pt x="488" y="372"/>
                    </a:lnTo>
                    <a:lnTo>
                      <a:pt x="490" y="372"/>
                    </a:lnTo>
                    <a:lnTo>
                      <a:pt x="492" y="372"/>
                    </a:lnTo>
                    <a:lnTo>
                      <a:pt x="494" y="372"/>
                    </a:lnTo>
                    <a:lnTo>
                      <a:pt x="500" y="366"/>
                    </a:lnTo>
                    <a:lnTo>
                      <a:pt x="505" y="360"/>
                    </a:lnTo>
                    <a:lnTo>
                      <a:pt x="507" y="356"/>
                    </a:lnTo>
                    <a:lnTo>
                      <a:pt x="511" y="356"/>
                    </a:lnTo>
                    <a:lnTo>
                      <a:pt x="513" y="356"/>
                    </a:lnTo>
                    <a:lnTo>
                      <a:pt x="517" y="358"/>
                    </a:lnTo>
                    <a:lnTo>
                      <a:pt x="522" y="358"/>
                    </a:lnTo>
                    <a:lnTo>
                      <a:pt x="524" y="360"/>
                    </a:lnTo>
                    <a:lnTo>
                      <a:pt x="524" y="372"/>
                    </a:lnTo>
                    <a:lnTo>
                      <a:pt x="524" y="373"/>
                    </a:lnTo>
                    <a:lnTo>
                      <a:pt x="524" y="375"/>
                    </a:lnTo>
                    <a:lnTo>
                      <a:pt x="524" y="375"/>
                    </a:lnTo>
                    <a:lnTo>
                      <a:pt x="524" y="377"/>
                    </a:lnTo>
                    <a:lnTo>
                      <a:pt x="524" y="377"/>
                    </a:lnTo>
                    <a:lnTo>
                      <a:pt x="522" y="377"/>
                    </a:lnTo>
                    <a:lnTo>
                      <a:pt x="517" y="381"/>
                    </a:lnTo>
                    <a:lnTo>
                      <a:pt x="519" y="381"/>
                    </a:lnTo>
                    <a:lnTo>
                      <a:pt x="519" y="379"/>
                    </a:lnTo>
                    <a:lnTo>
                      <a:pt x="519" y="379"/>
                    </a:lnTo>
                    <a:lnTo>
                      <a:pt x="519" y="377"/>
                    </a:lnTo>
                    <a:lnTo>
                      <a:pt x="513" y="379"/>
                    </a:lnTo>
                    <a:lnTo>
                      <a:pt x="509" y="381"/>
                    </a:lnTo>
                    <a:lnTo>
                      <a:pt x="507" y="383"/>
                    </a:lnTo>
                    <a:lnTo>
                      <a:pt x="507" y="383"/>
                    </a:lnTo>
                    <a:lnTo>
                      <a:pt x="507" y="383"/>
                    </a:lnTo>
                    <a:lnTo>
                      <a:pt x="507" y="383"/>
                    </a:lnTo>
                    <a:lnTo>
                      <a:pt x="507" y="383"/>
                    </a:lnTo>
                    <a:lnTo>
                      <a:pt x="507" y="385"/>
                    </a:lnTo>
                    <a:lnTo>
                      <a:pt x="507" y="385"/>
                    </a:lnTo>
                    <a:lnTo>
                      <a:pt x="509" y="385"/>
                    </a:lnTo>
                    <a:lnTo>
                      <a:pt x="509" y="385"/>
                    </a:lnTo>
                    <a:lnTo>
                      <a:pt x="509" y="387"/>
                    </a:lnTo>
                    <a:lnTo>
                      <a:pt x="509" y="387"/>
                    </a:lnTo>
                    <a:lnTo>
                      <a:pt x="511" y="389"/>
                    </a:lnTo>
                    <a:lnTo>
                      <a:pt x="513" y="387"/>
                    </a:lnTo>
                    <a:lnTo>
                      <a:pt x="522" y="385"/>
                    </a:lnTo>
                    <a:lnTo>
                      <a:pt x="530" y="379"/>
                    </a:lnTo>
                    <a:lnTo>
                      <a:pt x="532" y="379"/>
                    </a:lnTo>
                    <a:lnTo>
                      <a:pt x="532" y="379"/>
                    </a:lnTo>
                    <a:lnTo>
                      <a:pt x="532" y="381"/>
                    </a:lnTo>
                    <a:lnTo>
                      <a:pt x="532" y="381"/>
                    </a:lnTo>
                    <a:lnTo>
                      <a:pt x="540" y="377"/>
                    </a:lnTo>
                    <a:lnTo>
                      <a:pt x="543" y="375"/>
                    </a:lnTo>
                    <a:lnTo>
                      <a:pt x="545" y="375"/>
                    </a:lnTo>
                    <a:lnTo>
                      <a:pt x="545" y="375"/>
                    </a:lnTo>
                    <a:lnTo>
                      <a:pt x="551" y="375"/>
                    </a:lnTo>
                    <a:lnTo>
                      <a:pt x="551" y="375"/>
                    </a:lnTo>
                    <a:lnTo>
                      <a:pt x="555" y="373"/>
                    </a:lnTo>
                    <a:lnTo>
                      <a:pt x="559" y="370"/>
                    </a:lnTo>
                    <a:lnTo>
                      <a:pt x="564" y="370"/>
                    </a:lnTo>
                    <a:lnTo>
                      <a:pt x="580" y="364"/>
                    </a:lnTo>
                    <a:lnTo>
                      <a:pt x="582" y="364"/>
                    </a:lnTo>
                    <a:lnTo>
                      <a:pt x="583" y="364"/>
                    </a:lnTo>
                    <a:lnTo>
                      <a:pt x="583" y="362"/>
                    </a:lnTo>
                    <a:lnTo>
                      <a:pt x="585" y="362"/>
                    </a:lnTo>
                    <a:lnTo>
                      <a:pt x="587" y="364"/>
                    </a:lnTo>
                    <a:lnTo>
                      <a:pt x="587" y="364"/>
                    </a:lnTo>
                    <a:lnTo>
                      <a:pt x="589" y="364"/>
                    </a:lnTo>
                    <a:lnTo>
                      <a:pt x="593" y="362"/>
                    </a:lnTo>
                    <a:lnTo>
                      <a:pt x="612" y="354"/>
                    </a:lnTo>
                    <a:lnTo>
                      <a:pt x="625" y="349"/>
                    </a:lnTo>
                    <a:lnTo>
                      <a:pt x="624" y="347"/>
                    </a:lnTo>
                    <a:lnTo>
                      <a:pt x="622" y="347"/>
                    </a:lnTo>
                    <a:lnTo>
                      <a:pt x="620" y="345"/>
                    </a:lnTo>
                    <a:lnTo>
                      <a:pt x="618" y="345"/>
                    </a:lnTo>
                    <a:lnTo>
                      <a:pt x="618" y="345"/>
                    </a:lnTo>
                    <a:lnTo>
                      <a:pt x="616" y="343"/>
                    </a:lnTo>
                    <a:lnTo>
                      <a:pt x="616" y="343"/>
                    </a:lnTo>
                    <a:lnTo>
                      <a:pt x="616" y="341"/>
                    </a:lnTo>
                    <a:lnTo>
                      <a:pt x="616" y="341"/>
                    </a:lnTo>
                    <a:lnTo>
                      <a:pt x="616" y="341"/>
                    </a:lnTo>
                    <a:lnTo>
                      <a:pt x="614" y="339"/>
                    </a:lnTo>
                    <a:lnTo>
                      <a:pt x="614" y="339"/>
                    </a:lnTo>
                    <a:lnTo>
                      <a:pt x="612" y="339"/>
                    </a:lnTo>
                    <a:lnTo>
                      <a:pt x="612" y="339"/>
                    </a:lnTo>
                    <a:lnTo>
                      <a:pt x="606" y="339"/>
                    </a:lnTo>
                    <a:lnTo>
                      <a:pt x="604" y="337"/>
                    </a:lnTo>
                    <a:lnTo>
                      <a:pt x="603" y="335"/>
                    </a:lnTo>
                    <a:lnTo>
                      <a:pt x="599" y="333"/>
                    </a:lnTo>
                    <a:lnTo>
                      <a:pt x="599" y="332"/>
                    </a:lnTo>
                    <a:lnTo>
                      <a:pt x="597" y="332"/>
                    </a:lnTo>
                    <a:lnTo>
                      <a:pt x="597" y="328"/>
                    </a:lnTo>
                    <a:lnTo>
                      <a:pt x="597" y="324"/>
                    </a:lnTo>
                    <a:lnTo>
                      <a:pt x="599" y="324"/>
                    </a:lnTo>
                    <a:lnTo>
                      <a:pt x="599" y="326"/>
                    </a:lnTo>
                    <a:lnTo>
                      <a:pt x="599" y="328"/>
                    </a:lnTo>
                    <a:lnTo>
                      <a:pt x="601" y="330"/>
                    </a:lnTo>
                    <a:lnTo>
                      <a:pt x="603" y="333"/>
                    </a:lnTo>
                    <a:lnTo>
                      <a:pt x="603" y="333"/>
                    </a:lnTo>
                    <a:lnTo>
                      <a:pt x="604" y="333"/>
                    </a:lnTo>
                    <a:lnTo>
                      <a:pt x="608" y="335"/>
                    </a:lnTo>
                    <a:lnTo>
                      <a:pt x="612" y="333"/>
                    </a:lnTo>
                    <a:lnTo>
                      <a:pt x="622" y="343"/>
                    </a:lnTo>
                    <a:lnTo>
                      <a:pt x="627" y="345"/>
                    </a:lnTo>
                    <a:lnTo>
                      <a:pt x="631" y="343"/>
                    </a:lnTo>
                    <a:lnTo>
                      <a:pt x="631" y="343"/>
                    </a:lnTo>
                    <a:lnTo>
                      <a:pt x="629" y="343"/>
                    </a:lnTo>
                    <a:lnTo>
                      <a:pt x="627" y="341"/>
                    </a:lnTo>
                    <a:lnTo>
                      <a:pt x="627" y="341"/>
                    </a:lnTo>
                    <a:lnTo>
                      <a:pt x="631" y="339"/>
                    </a:lnTo>
                    <a:lnTo>
                      <a:pt x="637" y="332"/>
                    </a:lnTo>
                    <a:lnTo>
                      <a:pt x="637" y="330"/>
                    </a:lnTo>
                    <a:lnTo>
                      <a:pt x="639" y="326"/>
                    </a:lnTo>
                    <a:lnTo>
                      <a:pt x="641" y="320"/>
                    </a:lnTo>
                    <a:lnTo>
                      <a:pt x="641" y="318"/>
                    </a:lnTo>
                    <a:lnTo>
                      <a:pt x="643" y="316"/>
                    </a:lnTo>
                    <a:lnTo>
                      <a:pt x="644" y="316"/>
                    </a:lnTo>
                    <a:lnTo>
                      <a:pt x="652" y="314"/>
                    </a:lnTo>
                    <a:lnTo>
                      <a:pt x="658" y="313"/>
                    </a:lnTo>
                    <a:lnTo>
                      <a:pt x="669" y="305"/>
                    </a:lnTo>
                    <a:lnTo>
                      <a:pt x="673" y="301"/>
                    </a:lnTo>
                    <a:lnTo>
                      <a:pt x="669" y="305"/>
                    </a:lnTo>
                    <a:lnTo>
                      <a:pt x="665" y="305"/>
                    </a:lnTo>
                    <a:lnTo>
                      <a:pt x="665" y="305"/>
                    </a:lnTo>
                    <a:lnTo>
                      <a:pt x="665" y="303"/>
                    </a:lnTo>
                    <a:lnTo>
                      <a:pt x="669" y="301"/>
                    </a:lnTo>
                    <a:lnTo>
                      <a:pt x="671" y="299"/>
                    </a:lnTo>
                    <a:lnTo>
                      <a:pt x="673" y="299"/>
                    </a:lnTo>
                    <a:lnTo>
                      <a:pt x="675" y="297"/>
                    </a:lnTo>
                    <a:lnTo>
                      <a:pt x="679" y="293"/>
                    </a:lnTo>
                    <a:lnTo>
                      <a:pt x="681" y="288"/>
                    </a:lnTo>
                    <a:lnTo>
                      <a:pt x="679" y="286"/>
                    </a:lnTo>
                    <a:lnTo>
                      <a:pt x="677" y="288"/>
                    </a:lnTo>
                    <a:lnTo>
                      <a:pt x="677" y="290"/>
                    </a:lnTo>
                    <a:lnTo>
                      <a:pt x="677" y="292"/>
                    </a:lnTo>
                    <a:lnTo>
                      <a:pt x="675" y="290"/>
                    </a:lnTo>
                    <a:lnTo>
                      <a:pt x="673" y="292"/>
                    </a:lnTo>
                    <a:lnTo>
                      <a:pt x="671" y="293"/>
                    </a:lnTo>
                    <a:lnTo>
                      <a:pt x="669" y="293"/>
                    </a:lnTo>
                    <a:lnTo>
                      <a:pt x="669" y="286"/>
                    </a:lnTo>
                    <a:lnTo>
                      <a:pt x="671" y="282"/>
                    </a:lnTo>
                    <a:lnTo>
                      <a:pt x="673" y="278"/>
                    </a:lnTo>
                    <a:lnTo>
                      <a:pt x="675" y="274"/>
                    </a:lnTo>
                    <a:lnTo>
                      <a:pt x="694" y="261"/>
                    </a:lnTo>
                    <a:lnTo>
                      <a:pt x="702" y="257"/>
                    </a:lnTo>
                    <a:lnTo>
                      <a:pt x="704" y="255"/>
                    </a:lnTo>
                    <a:lnTo>
                      <a:pt x="707" y="252"/>
                    </a:lnTo>
                    <a:lnTo>
                      <a:pt x="709" y="250"/>
                    </a:lnTo>
                    <a:lnTo>
                      <a:pt x="707" y="252"/>
                    </a:lnTo>
                    <a:lnTo>
                      <a:pt x="706" y="252"/>
                    </a:lnTo>
                    <a:lnTo>
                      <a:pt x="704" y="254"/>
                    </a:lnTo>
                    <a:lnTo>
                      <a:pt x="702" y="252"/>
                    </a:lnTo>
                    <a:lnTo>
                      <a:pt x="702" y="252"/>
                    </a:lnTo>
                    <a:lnTo>
                      <a:pt x="702" y="252"/>
                    </a:lnTo>
                    <a:lnTo>
                      <a:pt x="700" y="252"/>
                    </a:lnTo>
                    <a:lnTo>
                      <a:pt x="700" y="252"/>
                    </a:lnTo>
                    <a:lnTo>
                      <a:pt x="700" y="250"/>
                    </a:lnTo>
                    <a:lnTo>
                      <a:pt x="698" y="250"/>
                    </a:lnTo>
                    <a:lnTo>
                      <a:pt x="696" y="250"/>
                    </a:lnTo>
                    <a:lnTo>
                      <a:pt x="698" y="248"/>
                    </a:lnTo>
                    <a:lnTo>
                      <a:pt x="700" y="248"/>
                    </a:lnTo>
                    <a:lnTo>
                      <a:pt x="700" y="248"/>
                    </a:lnTo>
                    <a:lnTo>
                      <a:pt x="702" y="250"/>
                    </a:lnTo>
                    <a:lnTo>
                      <a:pt x="704" y="248"/>
                    </a:lnTo>
                    <a:lnTo>
                      <a:pt x="704" y="248"/>
                    </a:lnTo>
                    <a:lnTo>
                      <a:pt x="704" y="246"/>
                    </a:lnTo>
                    <a:lnTo>
                      <a:pt x="704" y="244"/>
                    </a:lnTo>
                    <a:lnTo>
                      <a:pt x="702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2" y="242"/>
                    </a:lnTo>
                    <a:lnTo>
                      <a:pt x="690" y="242"/>
                    </a:lnTo>
                    <a:lnTo>
                      <a:pt x="688" y="238"/>
                    </a:lnTo>
                    <a:lnTo>
                      <a:pt x="694" y="238"/>
                    </a:lnTo>
                    <a:lnTo>
                      <a:pt x="696" y="238"/>
                    </a:lnTo>
                    <a:lnTo>
                      <a:pt x="698" y="238"/>
                    </a:lnTo>
                    <a:lnTo>
                      <a:pt x="700" y="236"/>
                    </a:lnTo>
                    <a:lnTo>
                      <a:pt x="698" y="231"/>
                    </a:lnTo>
                    <a:lnTo>
                      <a:pt x="685" y="198"/>
                    </a:lnTo>
                    <a:lnTo>
                      <a:pt x="683" y="187"/>
                    </a:lnTo>
                    <a:lnTo>
                      <a:pt x="686" y="176"/>
                    </a:lnTo>
                    <a:lnTo>
                      <a:pt x="694" y="166"/>
                    </a:lnTo>
                    <a:lnTo>
                      <a:pt x="711" y="145"/>
                    </a:lnTo>
                    <a:lnTo>
                      <a:pt x="719" y="141"/>
                    </a:lnTo>
                    <a:lnTo>
                      <a:pt x="728" y="136"/>
                    </a:lnTo>
                    <a:lnTo>
                      <a:pt x="730" y="136"/>
                    </a:lnTo>
                    <a:lnTo>
                      <a:pt x="734" y="136"/>
                    </a:lnTo>
                    <a:lnTo>
                      <a:pt x="734" y="136"/>
                    </a:lnTo>
                    <a:lnTo>
                      <a:pt x="736" y="134"/>
                    </a:lnTo>
                    <a:lnTo>
                      <a:pt x="740" y="136"/>
                    </a:lnTo>
                    <a:lnTo>
                      <a:pt x="747" y="134"/>
                    </a:lnTo>
                    <a:lnTo>
                      <a:pt x="755" y="132"/>
                    </a:lnTo>
                    <a:lnTo>
                      <a:pt x="763" y="128"/>
                    </a:lnTo>
                    <a:lnTo>
                      <a:pt x="763" y="128"/>
                    </a:lnTo>
                    <a:lnTo>
                      <a:pt x="763" y="124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4" name="Freeform 16">
                <a:extLst>
                  <a:ext uri="{FF2B5EF4-FFF2-40B4-BE49-F238E27FC236}">
                    <a16:creationId xmlns:a16="http://schemas.microsoft.com/office/drawing/2014/main" id="{8822777D-176E-4C47-B7CD-E351C02481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9169" y="3796186"/>
                <a:ext cx="381000" cy="404813"/>
              </a:xfrm>
              <a:custGeom>
                <a:avLst/>
                <a:gdLst>
                  <a:gd name="T0" fmla="*/ 238 w 240"/>
                  <a:gd name="T1" fmla="*/ 34 h 255"/>
                  <a:gd name="T2" fmla="*/ 232 w 240"/>
                  <a:gd name="T3" fmla="*/ 25 h 255"/>
                  <a:gd name="T4" fmla="*/ 236 w 240"/>
                  <a:gd name="T5" fmla="*/ 19 h 255"/>
                  <a:gd name="T6" fmla="*/ 232 w 240"/>
                  <a:gd name="T7" fmla="*/ 6 h 255"/>
                  <a:gd name="T8" fmla="*/ 227 w 240"/>
                  <a:gd name="T9" fmla="*/ 4 h 255"/>
                  <a:gd name="T10" fmla="*/ 208 w 240"/>
                  <a:gd name="T11" fmla="*/ 15 h 255"/>
                  <a:gd name="T12" fmla="*/ 198 w 240"/>
                  <a:gd name="T13" fmla="*/ 12 h 255"/>
                  <a:gd name="T14" fmla="*/ 183 w 240"/>
                  <a:gd name="T15" fmla="*/ 31 h 255"/>
                  <a:gd name="T16" fmla="*/ 152 w 240"/>
                  <a:gd name="T17" fmla="*/ 48 h 255"/>
                  <a:gd name="T18" fmla="*/ 145 w 240"/>
                  <a:gd name="T19" fmla="*/ 50 h 255"/>
                  <a:gd name="T20" fmla="*/ 135 w 240"/>
                  <a:gd name="T21" fmla="*/ 63 h 255"/>
                  <a:gd name="T22" fmla="*/ 128 w 240"/>
                  <a:gd name="T23" fmla="*/ 76 h 255"/>
                  <a:gd name="T24" fmla="*/ 120 w 240"/>
                  <a:gd name="T25" fmla="*/ 74 h 255"/>
                  <a:gd name="T26" fmla="*/ 114 w 240"/>
                  <a:gd name="T27" fmla="*/ 72 h 255"/>
                  <a:gd name="T28" fmla="*/ 105 w 240"/>
                  <a:gd name="T29" fmla="*/ 95 h 255"/>
                  <a:gd name="T30" fmla="*/ 84 w 240"/>
                  <a:gd name="T31" fmla="*/ 122 h 255"/>
                  <a:gd name="T32" fmla="*/ 80 w 240"/>
                  <a:gd name="T33" fmla="*/ 137 h 255"/>
                  <a:gd name="T34" fmla="*/ 80 w 240"/>
                  <a:gd name="T35" fmla="*/ 149 h 255"/>
                  <a:gd name="T36" fmla="*/ 76 w 240"/>
                  <a:gd name="T37" fmla="*/ 160 h 255"/>
                  <a:gd name="T38" fmla="*/ 57 w 240"/>
                  <a:gd name="T39" fmla="*/ 168 h 255"/>
                  <a:gd name="T40" fmla="*/ 57 w 240"/>
                  <a:gd name="T41" fmla="*/ 164 h 255"/>
                  <a:gd name="T42" fmla="*/ 59 w 240"/>
                  <a:gd name="T43" fmla="*/ 152 h 255"/>
                  <a:gd name="T44" fmla="*/ 51 w 240"/>
                  <a:gd name="T45" fmla="*/ 150 h 255"/>
                  <a:gd name="T46" fmla="*/ 44 w 240"/>
                  <a:gd name="T47" fmla="*/ 158 h 255"/>
                  <a:gd name="T48" fmla="*/ 46 w 240"/>
                  <a:gd name="T49" fmla="*/ 166 h 255"/>
                  <a:gd name="T50" fmla="*/ 6 w 240"/>
                  <a:gd name="T51" fmla="*/ 204 h 255"/>
                  <a:gd name="T52" fmla="*/ 4 w 240"/>
                  <a:gd name="T53" fmla="*/ 213 h 255"/>
                  <a:gd name="T54" fmla="*/ 6 w 240"/>
                  <a:gd name="T55" fmla="*/ 217 h 255"/>
                  <a:gd name="T56" fmla="*/ 13 w 240"/>
                  <a:gd name="T57" fmla="*/ 225 h 255"/>
                  <a:gd name="T58" fmla="*/ 15 w 240"/>
                  <a:gd name="T59" fmla="*/ 236 h 255"/>
                  <a:gd name="T60" fmla="*/ 17 w 240"/>
                  <a:gd name="T61" fmla="*/ 244 h 255"/>
                  <a:gd name="T62" fmla="*/ 21 w 240"/>
                  <a:gd name="T63" fmla="*/ 247 h 255"/>
                  <a:gd name="T64" fmla="*/ 30 w 240"/>
                  <a:gd name="T65" fmla="*/ 251 h 255"/>
                  <a:gd name="T66" fmla="*/ 40 w 240"/>
                  <a:gd name="T67" fmla="*/ 247 h 255"/>
                  <a:gd name="T68" fmla="*/ 59 w 240"/>
                  <a:gd name="T69" fmla="*/ 223 h 255"/>
                  <a:gd name="T70" fmla="*/ 57 w 240"/>
                  <a:gd name="T71" fmla="*/ 215 h 255"/>
                  <a:gd name="T72" fmla="*/ 53 w 240"/>
                  <a:gd name="T73" fmla="*/ 213 h 255"/>
                  <a:gd name="T74" fmla="*/ 74 w 240"/>
                  <a:gd name="T75" fmla="*/ 208 h 255"/>
                  <a:gd name="T76" fmla="*/ 91 w 240"/>
                  <a:gd name="T77" fmla="*/ 211 h 255"/>
                  <a:gd name="T78" fmla="*/ 103 w 240"/>
                  <a:gd name="T79" fmla="*/ 211 h 255"/>
                  <a:gd name="T80" fmla="*/ 107 w 240"/>
                  <a:gd name="T81" fmla="*/ 215 h 255"/>
                  <a:gd name="T82" fmla="*/ 133 w 240"/>
                  <a:gd name="T83" fmla="*/ 208 h 255"/>
                  <a:gd name="T84" fmla="*/ 154 w 240"/>
                  <a:gd name="T85" fmla="*/ 188 h 255"/>
                  <a:gd name="T86" fmla="*/ 154 w 240"/>
                  <a:gd name="T87" fmla="*/ 202 h 255"/>
                  <a:gd name="T88" fmla="*/ 158 w 240"/>
                  <a:gd name="T89" fmla="*/ 219 h 255"/>
                  <a:gd name="T90" fmla="*/ 171 w 240"/>
                  <a:gd name="T91" fmla="*/ 217 h 255"/>
                  <a:gd name="T92" fmla="*/ 187 w 240"/>
                  <a:gd name="T93" fmla="*/ 206 h 255"/>
                  <a:gd name="T94" fmla="*/ 190 w 240"/>
                  <a:gd name="T95" fmla="*/ 202 h 255"/>
                  <a:gd name="T96" fmla="*/ 208 w 240"/>
                  <a:gd name="T97" fmla="*/ 183 h 255"/>
                  <a:gd name="T98" fmla="*/ 208 w 240"/>
                  <a:gd name="T99" fmla="*/ 156 h 255"/>
                  <a:gd name="T100" fmla="*/ 227 w 240"/>
                  <a:gd name="T101" fmla="*/ 137 h 255"/>
                  <a:gd name="T102" fmla="*/ 219 w 240"/>
                  <a:gd name="T103" fmla="*/ 120 h 255"/>
                  <a:gd name="T104" fmla="*/ 217 w 240"/>
                  <a:gd name="T105" fmla="*/ 116 h 255"/>
                  <a:gd name="T106" fmla="*/ 217 w 240"/>
                  <a:gd name="T107" fmla="*/ 90 h 255"/>
                  <a:gd name="T108" fmla="*/ 215 w 240"/>
                  <a:gd name="T109" fmla="*/ 76 h 255"/>
                  <a:gd name="T110" fmla="*/ 223 w 240"/>
                  <a:gd name="T111" fmla="*/ 65 h 255"/>
                  <a:gd name="T112" fmla="*/ 231 w 240"/>
                  <a:gd name="T113" fmla="*/ 57 h 255"/>
                  <a:gd name="T114" fmla="*/ 240 w 240"/>
                  <a:gd name="T115" fmla="*/ 53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40" h="255">
                    <a:moveTo>
                      <a:pt x="240" y="50"/>
                    </a:moveTo>
                    <a:lnTo>
                      <a:pt x="236" y="44"/>
                    </a:lnTo>
                    <a:lnTo>
                      <a:pt x="236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4"/>
                    </a:lnTo>
                    <a:lnTo>
                      <a:pt x="238" y="32"/>
                    </a:lnTo>
                    <a:lnTo>
                      <a:pt x="236" y="32"/>
                    </a:lnTo>
                    <a:lnTo>
                      <a:pt x="234" y="31"/>
                    </a:lnTo>
                    <a:lnTo>
                      <a:pt x="234" y="29"/>
                    </a:lnTo>
                    <a:lnTo>
                      <a:pt x="232" y="27"/>
                    </a:lnTo>
                    <a:lnTo>
                      <a:pt x="232" y="25"/>
                    </a:lnTo>
                    <a:lnTo>
                      <a:pt x="234" y="23"/>
                    </a:lnTo>
                    <a:lnTo>
                      <a:pt x="234" y="23"/>
                    </a:lnTo>
                    <a:lnTo>
                      <a:pt x="234" y="23"/>
                    </a:lnTo>
                    <a:lnTo>
                      <a:pt x="236" y="21"/>
                    </a:lnTo>
                    <a:lnTo>
                      <a:pt x="236" y="21"/>
                    </a:lnTo>
                    <a:lnTo>
                      <a:pt x="236" y="19"/>
                    </a:lnTo>
                    <a:lnTo>
                      <a:pt x="238" y="17"/>
                    </a:lnTo>
                    <a:lnTo>
                      <a:pt x="238" y="13"/>
                    </a:lnTo>
                    <a:lnTo>
                      <a:pt x="238" y="12"/>
                    </a:lnTo>
                    <a:lnTo>
                      <a:pt x="236" y="8"/>
                    </a:lnTo>
                    <a:lnTo>
                      <a:pt x="234" y="6"/>
                    </a:lnTo>
                    <a:lnTo>
                      <a:pt x="232" y="6"/>
                    </a:lnTo>
                    <a:lnTo>
                      <a:pt x="232" y="6"/>
                    </a:lnTo>
                    <a:lnTo>
                      <a:pt x="231" y="4"/>
                    </a:lnTo>
                    <a:lnTo>
                      <a:pt x="231" y="0"/>
                    </a:lnTo>
                    <a:lnTo>
                      <a:pt x="229" y="2"/>
                    </a:lnTo>
                    <a:lnTo>
                      <a:pt x="229" y="4"/>
                    </a:lnTo>
                    <a:lnTo>
                      <a:pt x="227" y="4"/>
                    </a:lnTo>
                    <a:lnTo>
                      <a:pt x="227" y="6"/>
                    </a:lnTo>
                    <a:lnTo>
                      <a:pt x="227" y="6"/>
                    </a:lnTo>
                    <a:lnTo>
                      <a:pt x="227" y="6"/>
                    </a:lnTo>
                    <a:lnTo>
                      <a:pt x="211" y="15"/>
                    </a:lnTo>
                    <a:lnTo>
                      <a:pt x="211" y="15"/>
                    </a:lnTo>
                    <a:lnTo>
                      <a:pt x="208" y="15"/>
                    </a:lnTo>
                    <a:lnTo>
                      <a:pt x="206" y="15"/>
                    </a:lnTo>
                    <a:lnTo>
                      <a:pt x="204" y="15"/>
                    </a:lnTo>
                    <a:lnTo>
                      <a:pt x="202" y="15"/>
                    </a:lnTo>
                    <a:lnTo>
                      <a:pt x="200" y="12"/>
                    </a:lnTo>
                    <a:lnTo>
                      <a:pt x="198" y="12"/>
                    </a:lnTo>
                    <a:lnTo>
                      <a:pt x="198" y="12"/>
                    </a:lnTo>
                    <a:lnTo>
                      <a:pt x="196" y="13"/>
                    </a:lnTo>
                    <a:lnTo>
                      <a:pt x="196" y="13"/>
                    </a:lnTo>
                    <a:lnTo>
                      <a:pt x="192" y="17"/>
                    </a:lnTo>
                    <a:lnTo>
                      <a:pt x="190" y="19"/>
                    </a:lnTo>
                    <a:lnTo>
                      <a:pt x="187" y="25"/>
                    </a:lnTo>
                    <a:lnTo>
                      <a:pt x="183" y="31"/>
                    </a:lnTo>
                    <a:lnTo>
                      <a:pt x="179" y="34"/>
                    </a:lnTo>
                    <a:lnTo>
                      <a:pt x="170" y="42"/>
                    </a:lnTo>
                    <a:lnTo>
                      <a:pt x="168" y="42"/>
                    </a:lnTo>
                    <a:lnTo>
                      <a:pt x="156" y="48"/>
                    </a:lnTo>
                    <a:lnTo>
                      <a:pt x="152" y="48"/>
                    </a:lnTo>
                    <a:lnTo>
                      <a:pt x="152" y="48"/>
                    </a:lnTo>
                    <a:lnTo>
                      <a:pt x="150" y="48"/>
                    </a:lnTo>
                    <a:lnTo>
                      <a:pt x="150" y="50"/>
                    </a:lnTo>
                    <a:lnTo>
                      <a:pt x="149" y="50"/>
                    </a:lnTo>
                    <a:lnTo>
                      <a:pt x="147" y="50"/>
                    </a:lnTo>
                    <a:lnTo>
                      <a:pt x="145" y="50"/>
                    </a:lnTo>
                    <a:lnTo>
                      <a:pt x="145" y="50"/>
                    </a:lnTo>
                    <a:lnTo>
                      <a:pt x="143" y="52"/>
                    </a:lnTo>
                    <a:lnTo>
                      <a:pt x="141" y="53"/>
                    </a:lnTo>
                    <a:lnTo>
                      <a:pt x="141" y="55"/>
                    </a:lnTo>
                    <a:lnTo>
                      <a:pt x="137" y="59"/>
                    </a:lnTo>
                    <a:lnTo>
                      <a:pt x="135" y="61"/>
                    </a:lnTo>
                    <a:lnTo>
                      <a:pt x="135" y="63"/>
                    </a:lnTo>
                    <a:lnTo>
                      <a:pt x="135" y="63"/>
                    </a:lnTo>
                    <a:lnTo>
                      <a:pt x="135" y="65"/>
                    </a:lnTo>
                    <a:lnTo>
                      <a:pt x="133" y="71"/>
                    </a:lnTo>
                    <a:lnTo>
                      <a:pt x="131" y="72"/>
                    </a:lnTo>
                    <a:lnTo>
                      <a:pt x="129" y="74"/>
                    </a:lnTo>
                    <a:lnTo>
                      <a:pt x="128" y="76"/>
                    </a:lnTo>
                    <a:lnTo>
                      <a:pt x="126" y="76"/>
                    </a:lnTo>
                    <a:lnTo>
                      <a:pt x="124" y="78"/>
                    </a:lnTo>
                    <a:lnTo>
                      <a:pt x="122" y="78"/>
                    </a:lnTo>
                    <a:lnTo>
                      <a:pt x="122" y="78"/>
                    </a:lnTo>
                    <a:lnTo>
                      <a:pt x="120" y="76"/>
                    </a:lnTo>
                    <a:lnTo>
                      <a:pt x="120" y="74"/>
                    </a:lnTo>
                    <a:lnTo>
                      <a:pt x="120" y="74"/>
                    </a:lnTo>
                    <a:lnTo>
                      <a:pt x="120" y="74"/>
                    </a:lnTo>
                    <a:lnTo>
                      <a:pt x="120" y="71"/>
                    </a:lnTo>
                    <a:lnTo>
                      <a:pt x="120" y="69"/>
                    </a:lnTo>
                    <a:lnTo>
                      <a:pt x="116" y="67"/>
                    </a:lnTo>
                    <a:lnTo>
                      <a:pt x="114" y="72"/>
                    </a:lnTo>
                    <a:lnTo>
                      <a:pt x="108" y="78"/>
                    </a:lnTo>
                    <a:lnTo>
                      <a:pt x="107" y="80"/>
                    </a:lnTo>
                    <a:lnTo>
                      <a:pt x="107" y="82"/>
                    </a:lnTo>
                    <a:lnTo>
                      <a:pt x="107" y="90"/>
                    </a:lnTo>
                    <a:lnTo>
                      <a:pt x="105" y="93"/>
                    </a:lnTo>
                    <a:lnTo>
                      <a:pt x="105" y="95"/>
                    </a:lnTo>
                    <a:lnTo>
                      <a:pt x="103" y="95"/>
                    </a:lnTo>
                    <a:lnTo>
                      <a:pt x="99" y="99"/>
                    </a:lnTo>
                    <a:lnTo>
                      <a:pt x="95" y="103"/>
                    </a:lnTo>
                    <a:lnTo>
                      <a:pt x="84" y="120"/>
                    </a:lnTo>
                    <a:lnTo>
                      <a:pt x="84" y="120"/>
                    </a:lnTo>
                    <a:lnTo>
                      <a:pt x="84" y="122"/>
                    </a:lnTo>
                    <a:lnTo>
                      <a:pt x="84" y="126"/>
                    </a:lnTo>
                    <a:lnTo>
                      <a:pt x="84" y="126"/>
                    </a:lnTo>
                    <a:lnTo>
                      <a:pt x="84" y="133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80" y="137"/>
                    </a:lnTo>
                    <a:lnTo>
                      <a:pt x="80" y="139"/>
                    </a:lnTo>
                    <a:lnTo>
                      <a:pt x="80" y="141"/>
                    </a:lnTo>
                    <a:lnTo>
                      <a:pt x="80" y="145"/>
                    </a:lnTo>
                    <a:lnTo>
                      <a:pt x="80" y="147"/>
                    </a:lnTo>
                    <a:lnTo>
                      <a:pt x="80" y="147"/>
                    </a:lnTo>
                    <a:lnTo>
                      <a:pt x="80" y="149"/>
                    </a:lnTo>
                    <a:lnTo>
                      <a:pt x="80" y="150"/>
                    </a:lnTo>
                    <a:lnTo>
                      <a:pt x="82" y="152"/>
                    </a:lnTo>
                    <a:lnTo>
                      <a:pt x="82" y="154"/>
                    </a:lnTo>
                    <a:lnTo>
                      <a:pt x="80" y="154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4" y="162"/>
                    </a:lnTo>
                    <a:lnTo>
                      <a:pt x="70" y="166"/>
                    </a:lnTo>
                    <a:lnTo>
                      <a:pt x="68" y="166"/>
                    </a:lnTo>
                    <a:lnTo>
                      <a:pt x="63" y="166"/>
                    </a:lnTo>
                    <a:lnTo>
                      <a:pt x="59" y="168"/>
                    </a:lnTo>
                    <a:lnTo>
                      <a:pt x="57" y="168"/>
                    </a:lnTo>
                    <a:lnTo>
                      <a:pt x="55" y="168"/>
                    </a:lnTo>
                    <a:lnTo>
                      <a:pt x="55" y="168"/>
                    </a:lnTo>
                    <a:lnTo>
                      <a:pt x="55" y="168"/>
                    </a:lnTo>
                    <a:lnTo>
                      <a:pt x="55" y="166"/>
                    </a:lnTo>
                    <a:lnTo>
                      <a:pt x="55" y="166"/>
                    </a:lnTo>
                    <a:lnTo>
                      <a:pt x="57" y="164"/>
                    </a:lnTo>
                    <a:lnTo>
                      <a:pt x="59" y="162"/>
                    </a:lnTo>
                    <a:lnTo>
                      <a:pt x="59" y="160"/>
                    </a:lnTo>
                    <a:lnTo>
                      <a:pt x="59" y="158"/>
                    </a:lnTo>
                    <a:lnTo>
                      <a:pt x="59" y="156"/>
                    </a:lnTo>
                    <a:lnTo>
                      <a:pt x="59" y="154"/>
                    </a:lnTo>
                    <a:lnTo>
                      <a:pt x="59" y="152"/>
                    </a:lnTo>
                    <a:lnTo>
                      <a:pt x="57" y="152"/>
                    </a:lnTo>
                    <a:lnTo>
                      <a:pt x="57" y="150"/>
                    </a:lnTo>
                    <a:lnTo>
                      <a:pt x="53" y="150"/>
                    </a:lnTo>
                    <a:lnTo>
                      <a:pt x="53" y="150"/>
                    </a:lnTo>
                    <a:lnTo>
                      <a:pt x="51" y="150"/>
                    </a:lnTo>
                    <a:lnTo>
                      <a:pt x="51" y="150"/>
                    </a:lnTo>
                    <a:lnTo>
                      <a:pt x="47" y="152"/>
                    </a:lnTo>
                    <a:lnTo>
                      <a:pt x="46" y="154"/>
                    </a:lnTo>
                    <a:lnTo>
                      <a:pt x="44" y="154"/>
                    </a:lnTo>
                    <a:lnTo>
                      <a:pt x="42" y="156"/>
                    </a:lnTo>
                    <a:lnTo>
                      <a:pt x="42" y="158"/>
                    </a:lnTo>
                    <a:lnTo>
                      <a:pt x="44" y="158"/>
                    </a:lnTo>
                    <a:lnTo>
                      <a:pt x="44" y="160"/>
                    </a:lnTo>
                    <a:lnTo>
                      <a:pt x="46" y="162"/>
                    </a:lnTo>
                    <a:lnTo>
                      <a:pt x="46" y="162"/>
                    </a:lnTo>
                    <a:lnTo>
                      <a:pt x="46" y="164"/>
                    </a:lnTo>
                    <a:lnTo>
                      <a:pt x="46" y="164"/>
                    </a:lnTo>
                    <a:lnTo>
                      <a:pt x="46" y="166"/>
                    </a:lnTo>
                    <a:lnTo>
                      <a:pt x="32" y="175"/>
                    </a:lnTo>
                    <a:lnTo>
                      <a:pt x="30" y="177"/>
                    </a:lnTo>
                    <a:lnTo>
                      <a:pt x="23" y="188"/>
                    </a:lnTo>
                    <a:lnTo>
                      <a:pt x="17" y="192"/>
                    </a:lnTo>
                    <a:lnTo>
                      <a:pt x="9" y="198"/>
                    </a:lnTo>
                    <a:lnTo>
                      <a:pt x="6" y="204"/>
                    </a:lnTo>
                    <a:lnTo>
                      <a:pt x="2" y="206"/>
                    </a:lnTo>
                    <a:lnTo>
                      <a:pt x="0" y="208"/>
                    </a:lnTo>
                    <a:lnTo>
                      <a:pt x="0" y="209"/>
                    </a:lnTo>
                    <a:lnTo>
                      <a:pt x="0" y="209"/>
                    </a:lnTo>
                    <a:lnTo>
                      <a:pt x="2" y="213"/>
                    </a:lnTo>
                    <a:lnTo>
                      <a:pt x="4" y="213"/>
                    </a:lnTo>
                    <a:lnTo>
                      <a:pt x="4" y="215"/>
                    </a:lnTo>
                    <a:lnTo>
                      <a:pt x="4" y="215"/>
                    </a:lnTo>
                    <a:lnTo>
                      <a:pt x="4" y="215"/>
                    </a:lnTo>
                    <a:lnTo>
                      <a:pt x="4" y="215"/>
                    </a:lnTo>
                    <a:lnTo>
                      <a:pt x="6" y="215"/>
                    </a:lnTo>
                    <a:lnTo>
                      <a:pt x="6" y="217"/>
                    </a:lnTo>
                    <a:lnTo>
                      <a:pt x="6" y="219"/>
                    </a:lnTo>
                    <a:lnTo>
                      <a:pt x="7" y="219"/>
                    </a:lnTo>
                    <a:lnTo>
                      <a:pt x="9" y="221"/>
                    </a:lnTo>
                    <a:lnTo>
                      <a:pt x="9" y="221"/>
                    </a:lnTo>
                    <a:lnTo>
                      <a:pt x="11" y="223"/>
                    </a:lnTo>
                    <a:lnTo>
                      <a:pt x="13" y="225"/>
                    </a:lnTo>
                    <a:lnTo>
                      <a:pt x="13" y="225"/>
                    </a:lnTo>
                    <a:lnTo>
                      <a:pt x="13" y="228"/>
                    </a:lnTo>
                    <a:lnTo>
                      <a:pt x="15" y="228"/>
                    </a:lnTo>
                    <a:lnTo>
                      <a:pt x="15" y="230"/>
                    </a:lnTo>
                    <a:lnTo>
                      <a:pt x="15" y="234"/>
                    </a:lnTo>
                    <a:lnTo>
                      <a:pt x="15" y="236"/>
                    </a:lnTo>
                    <a:lnTo>
                      <a:pt x="15" y="240"/>
                    </a:lnTo>
                    <a:lnTo>
                      <a:pt x="13" y="242"/>
                    </a:lnTo>
                    <a:lnTo>
                      <a:pt x="13" y="242"/>
                    </a:lnTo>
                    <a:lnTo>
                      <a:pt x="15" y="244"/>
                    </a:lnTo>
                    <a:lnTo>
                      <a:pt x="15" y="244"/>
                    </a:lnTo>
                    <a:lnTo>
                      <a:pt x="17" y="244"/>
                    </a:lnTo>
                    <a:lnTo>
                      <a:pt x="17" y="246"/>
                    </a:lnTo>
                    <a:lnTo>
                      <a:pt x="19" y="246"/>
                    </a:lnTo>
                    <a:lnTo>
                      <a:pt x="19" y="246"/>
                    </a:lnTo>
                    <a:lnTo>
                      <a:pt x="21" y="246"/>
                    </a:lnTo>
                    <a:lnTo>
                      <a:pt x="21" y="246"/>
                    </a:lnTo>
                    <a:lnTo>
                      <a:pt x="21" y="247"/>
                    </a:lnTo>
                    <a:lnTo>
                      <a:pt x="23" y="247"/>
                    </a:lnTo>
                    <a:lnTo>
                      <a:pt x="23" y="247"/>
                    </a:lnTo>
                    <a:lnTo>
                      <a:pt x="26" y="249"/>
                    </a:lnTo>
                    <a:lnTo>
                      <a:pt x="26" y="249"/>
                    </a:lnTo>
                    <a:lnTo>
                      <a:pt x="28" y="249"/>
                    </a:lnTo>
                    <a:lnTo>
                      <a:pt x="30" y="251"/>
                    </a:lnTo>
                    <a:lnTo>
                      <a:pt x="30" y="255"/>
                    </a:lnTo>
                    <a:lnTo>
                      <a:pt x="32" y="255"/>
                    </a:lnTo>
                    <a:lnTo>
                      <a:pt x="34" y="255"/>
                    </a:lnTo>
                    <a:lnTo>
                      <a:pt x="34" y="255"/>
                    </a:lnTo>
                    <a:lnTo>
                      <a:pt x="34" y="253"/>
                    </a:lnTo>
                    <a:lnTo>
                      <a:pt x="40" y="247"/>
                    </a:lnTo>
                    <a:lnTo>
                      <a:pt x="42" y="240"/>
                    </a:lnTo>
                    <a:lnTo>
                      <a:pt x="44" y="238"/>
                    </a:lnTo>
                    <a:lnTo>
                      <a:pt x="42" y="238"/>
                    </a:lnTo>
                    <a:lnTo>
                      <a:pt x="46" y="236"/>
                    </a:lnTo>
                    <a:lnTo>
                      <a:pt x="47" y="234"/>
                    </a:lnTo>
                    <a:lnTo>
                      <a:pt x="59" y="223"/>
                    </a:lnTo>
                    <a:lnTo>
                      <a:pt x="59" y="221"/>
                    </a:lnTo>
                    <a:lnTo>
                      <a:pt x="59" y="219"/>
                    </a:lnTo>
                    <a:lnTo>
                      <a:pt x="59" y="219"/>
                    </a:lnTo>
                    <a:lnTo>
                      <a:pt x="59" y="217"/>
                    </a:lnTo>
                    <a:lnTo>
                      <a:pt x="59" y="217"/>
                    </a:lnTo>
                    <a:lnTo>
                      <a:pt x="57" y="215"/>
                    </a:lnTo>
                    <a:lnTo>
                      <a:pt x="53" y="215"/>
                    </a:lnTo>
                    <a:lnTo>
                      <a:pt x="53" y="215"/>
                    </a:lnTo>
                    <a:lnTo>
                      <a:pt x="53" y="215"/>
                    </a:lnTo>
                    <a:lnTo>
                      <a:pt x="53" y="215"/>
                    </a:lnTo>
                    <a:lnTo>
                      <a:pt x="53" y="215"/>
                    </a:lnTo>
                    <a:lnTo>
                      <a:pt x="53" y="213"/>
                    </a:lnTo>
                    <a:lnTo>
                      <a:pt x="53" y="211"/>
                    </a:lnTo>
                    <a:lnTo>
                      <a:pt x="53" y="211"/>
                    </a:lnTo>
                    <a:lnTo>
                      <a:pt x="53" y="209"/>
                    </a:lnTo>
                    <a:lnTo>
                      <a:pt x="55" y="209"/>
                    </a:lnTo>
                    <a:lnTo>
                      <a:pt x="59" y="208"/>
                    </a:lnTo>
                    <a:lnTo>
                      <a:pt x="74" y="208"/>
                    </a:lnTo>
                    <a:lnTo>
                      <a:pt x="80" y="208"/>
                    </a:lnTo>
                    <a:lnTo>
                      <a:pt x="82" y="208"/>
                    </a:lnTo>
                    <a:lnTo>
                      <a:pt x="86" y="208"/>
                    </a:lnTo>
                    <a:lnTo>
                      <a:pt x="88" y="208"/>
                    </a:lnTo>
                    <a:lnTo>
                      <a:pt x="89" y="209"/>
                    </a:lnTo>
                    <a:lnTo>
                      <a:pt x="91" y="211"/>
                    </a:lnTo>
                    <a:lnTo>
                      <a:pt x="93" y="211"/>
                    </a:lnTo>
                    <a:lnTo>
                      <a:pt x="95" y="211"/>
                    </a:lnTo>
                    <a:lnTo>
                      <a:pt x="97" y="213"/>
                    </a:lnTo>
                    <a:lnTo>
                      <a:pt x="99" y="211"/>
                    </a:lnTo>
                    <a:lnTo>
                      <a:pt x="103" y="211"/>
                    </a:lnTo>
                    <a:lnTo>
                      <a:pt x="103" y="211"/>
                    </a:lnTo>
                    <a:lnTo>
                      <a:pt x="105" y="213"/>
                    </a:lnTo>
                    <a:lnTo>
                      <a:pt x="105" y="213"/>
                    </a:lnTo>
                    <a:lnTo>
                      <a:pt x="107" y="215"/>
                    </a:lnTo>
                    <a:lnTo>
                      <a:pt x="107" y="215"/>
                    </a:lnTo>
                    <a:lnTo>
                      <a:pt x="107" y="215"/>
                    </a:lnTo>
                    <a:lnTo>
                      <a:pt x="107" y="215"/>
                    </a:lnTo>
                    <a:lnTo>
                      <a:pt x="108" y="215"/>
                    </a:lnTo>
                    <a:lnTo>
                      <a:pt x="114" y="215"/>
                    </a:lnTo>
                    <a:lnTo>
                      <a:pt x="124" y="213"/>
                    </a:lnTo>
                    <a:lnTo>
                      <a:pt x="129" y="211"/>
                    </a:lnTo>
                    <a:lnTo>
                      <a:pt x="131" y="209"/>
                    </a:lnTo>
                    <a:lnTo>
                      <a:pt x="133" y="208"/>
                    </a:lnTo>
                    <a:lnTo>
                      <a:pt x="135" y="204"/>
                    </a:lnTo>
                    <a:lnTo>
                      <a:pt x="137" y="202"/>
                    </a:lnTo>
                    <a:lnTo>
                      <a:pt x="143" y="198"/>
                    </a:lnTo>
                    <a:lnTo>
                      <a:pt x="145" y="198"/>
                    </a:lnTo>
                    <a:lnTo>
                      <a:pt x="154" y="188"/>
                    </a:lnTo>
                    <a:lnTo>
                      <a:pt x="154" y="188"/>
                    </a:lnTo>
                    <a:lnTo>
                      <a:pt x="154" y="188"/>
                    </a:lnTo>
                    <a:lnTo>
                      <a:pt x="154" y="190"/>
                    </a:lnTo>
                    <a:lnTo>
                      <a:pt x="154" y="190"/>
                    </a:lnTo>
                    <a:lnTo>
                      <a:pt x="154" y="192"/>
                    </a:lnTo>
                    <a:lnTo>
                      <a:pt x="154" y="198"/>
                    </a:lnTo>
                    <a:lnTo>
                      <a:pt x="154" y="202"/>
                    </a:lnTo>
                    <a:lnTo>
                      <a:pt x="152" y="204"/>
                    </a:lnTo>
                    <a:lnTo>
                      <a:pt x="150" y="211"/>
                    </a:lnTo>
                    <a:lnTo>
                      <a:pt x="150" y="213"/>
                    </a:lnTo>
                    <a:lnTo>
                      <a:pt x="150" y="213"/>
                    </a:lnTo>
                    <a:lnTo>
                      <a:pt x="152" y="215"/>
                    </a:lnTo>
                    <a:lnTo>
                      <a:pt x="158" y="219"/>
                    </a:lnTo>
                    <a:lnTo>
                      <a:pt x="160" y="221"/>
                    </a:lnTo>
                    <a:lnTo>
                      <a:pt x="164" y="223"/>
                    </a:lnTo>
                    <a:lnTo>
                      <a:pt x="164" y="223"/>
                    </a:lnTo>
                    <a:lnTo>
                      <a:pt x="166" y="221"/>
                    </a:lnTo>
                    <a:lnTo>
                      <a:pt x="170" y="217"/>
                    </a:lnTo>
                    <a:lnTo>
                      <a:pt x="171" y="217"/>
                    </a:lnTo>
                    <a:lnTo>
                      <a:pt x="177" y="217"/>
                    </a:lnTo>
                    <a:lnTo>
                      <a:pt x="179" y="215"/>
                    </a:lnTo>
                    <a:lnTo>
                      <a:pt x="181" y="213"/>
                    </a:lnTo>
                    <a:lnTo>
                      <a:pt x="185" y="209"/>
                    </a:lnTo>
                    <a:lnTo>
                      <a:pt x="187" y="206"/>
                    </a:lnTo>
                    <a:lnTo>
                      <a:pt x="187" y="206"/>
                    </a:lnTo>
                    <a:lnTo>
                      <a:pt x="190" y="206"/>
                    </a:lnTo>
                    <a:lnTo>
                      <a:pt x="190" y="206"/>
                    </a:lnTo>
                    <a:lnTo>
                      <a:pt x="190" y="204"/>
                    </a:lnTo>
                    <a:lnTo>
                      <a:pt x="190" y="204"/>
                    </a:lnTo>
                    <a:lnTo>
                      <a:pt x="190" y="202"/>
                    </a:lnTo>
                    <a:lnTo>
                      <a:pt x="190" y="202"/>
                    </a:lnTo>
                    <a:lnTo>
                      <a:pt x="192" y="202"/>
                    </a:lnTo>
                    <a:lnTo>
                      <a:pt x="192" y="200"/>
                    </a:lnTo>
                    <a:lnTo>
                      <a:pt x="204" y="185"/>
                    </a:lnTo>
                    <a:lnTo>
                      <a:pt x="204" y="183"/>
                    </a:lnTo>
                    <a:lnTo>
                      <a:pt x="206" y="183"/>
                    </a:lnTo>
                    <a:lnTo>
                      <a:pt x="208" y="183"/>
                    </a:lnTo>
                    <a:lnTo>
                      <a:pt x="210" y="181"/>
                    </a:lnTo>
                    <a:lnTo>
                      <a:pt x="210" y="179"/>
                    </a:lnTo>
                    <a:lnTo>
                      <a:pt x="210" y="175"/>
                    </a:lnTo>
                    <a:lnTo>
                      <a:pt x="208" y="162"/>
                    </a:lnTo>
                    <a:lnTo>
                      <a:pt x="208" y="158"/>
                    </a:lnTo>
                    <a:lnTo>
                      <a:pt x="208" y="156"/>
                    </a:lnTo>
                    <a:lnTo>
                      <a:pt x="210" y="154"/>
                    </a:lnTo>
                    <a:lnTo>
                      <a:pt x="215" y="152"/>
                    </a:lnTo>
                    <a:lnTo>
                      <a:pt x="217" y="150"/>
                    </a:lnTo>
                    <a:lnTo>
                      <a:pt x="221" y="145"/>
                    </a:lnTo>
                    <a:lnTo>
                      <a:pt x="227" y="141"/>
                    </a:lnTo>
                    <a:lnTo>
                      <a:pt x="227" y="137"/>
                    </a:lnTo>
                    <a:lnTo>
                      <a:pt x="227" y="135"/>
                    </a:lnTo>
                    <a:lnTo>
                      <a:pt x="225" y="133"/>
                    </a:lnTo>
                    <a:lnTo>
                      <a:pt x="221" y="131"/>
                    </a:lnTo>
                    <a:lnTo>
                      <a:pt x="219" y="130"/>
                    </a:lnTo>
                    <a:lnTo>
                      <a:pt x="219" y="122"/>
                    </a:lnTo>
                    <a:lnTo>
                      <a:pt x="219" y="120"/>
                    </a:lnTo>
                    <a:lnTo>
                      <a:pt x="219" y="118"/>
                    </a:lnTo>
                    <a:lnTo>
                      <a:pt x="221" y="118"/>
                    </a:lnTo>
                    <a:lnTo>
                      <a:pt x="219" y="116"/>
                    </a:lnTo>
                    <a:lnTo>
                      <a:pt x="219" y="116"/>
                    </a:lnTo>
                    <a:lnTo>
                      <a:pt x="217" y="116"/>
                    </a:lnTo>
                    <a:lnTo>
                      <a:pt x="217" y="116"/>
                    </a:lnTo>
                    <a:lnTo>
                      <a:pt x="215" y="114"/>
                    </a:lnTo>
                    <a:lnTo>
                      <a:pt x="213" y="110"/>
                    </a:lnTo>
                    <a:lnTo>
                      <a:pt x="213" y="105"/>
                    </a:lnTo>
                    <a:lnTo>
                      <a:pt x="213" y="99"/>
                    </a:lnTo>
                    <a:lnTo>
                      <a:pt x="215" y="95"/>
                    </a:lnTo>
                    <a:lnTo>
                      <a:pt x="217" y="90"/>
                    </a:lnTo>
                    <a:lnTo>
                      <a:pt x="217" y="88"/>
                    </a:lnTo>
                    <a:lnTo>
                      <a:pt x="215" y="86"/>
                    </a:lnTo>
                    <a:lnTo>
                      <a:pt x="213" y="80"/>
                    </a:lnTo>
                    <a:lnTo>
                      <a:pt x="213" y="78"/>
                    </a:lnTo>
                    <a:lnTo>
                      <a:pt x="215" y="76"/>
                    </a:lnTo>
                    <a:lnTo>
                      <a:pt x="215" y="76"/>
                    </a:lnTo>
                    <a:lnTo>
                      <a:pt x="217" y="74"/>
                    </a:lnTo>
                    <a:lnTo>
                      <a:pt x="221" y="71"/>
                    </a:lnTo>
                    <a:lnTo>
                      <a:pt x="223" y="69"/>
                    </a:lnTo>
                    <a:lnTo>
                      <a:pt x="223" y="67"/>
                    </a:lnTo>
                    <a:lnTo>
                      <a:pt x="223" y="65"/>
                    </a:lnTo>
                    <a:lnTo>
                      <a:pt x="223" y="65"/>
                    </a:lnTo>
                    <a:lnTo>
                      <a:pt x="223" y="61"/>
                    </a:lnTo>
                    <a:lnTo>
                      <a:pt x="223" y="59"/>
                    </a:lnTo>
                    <a:lnTo>
                      <a:pt x="225" y="59"/>
                    </a:lnTo>
                    <a:lnTo>
                      <a:pt x="227" y="57"/>
                    </a:lnTo>
                    <a:lnTo>
                      <a:pt x="229" y="57"/>
                    </a:lnTo>
                    <a:lnTo>
                      <a:pt x="231" y="57"/>
                    </a:lnTo>
                    <a:lnTo>
                      <a:pt x="231" y="55"/>
                    </a:lnTo>
                    <a:lnTo>
                      <a:pt x="232" y="53"/>
                    </a:lnTo>
                    <a:lnTo>
                      <a:pt x="234" y="52"/>
                    </a:lnTo>
                    <a:lnTo>
                      <a:pt x="236" y="52"/>
                    </a:lnTo>
                    <a:lnTo>
                      <a:pt x="238" y="53"/>
                    </a:lnTo>
                    <a:lnTo>
                      <a:pt x="240" y="53"/>
                    </a:lnTo>
                    <a:lnTo>
                      <a:pt x="240" y="53"/>
                    </a:lnTo>
                    <a:lnTo>
                      <a:pt x="240" y="5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5" name="Freeform 17">
                <a:extLst>
                  <a:ext uri="{FF2B5EF4-FFF2-40B4-BE49-F238E27FC236}">
                    <a16:creationId xmlns:a16="http://schemas.microsoft.com/office/drawing/2014/main" id="{A169E627-4DC2-480C-88B4-BD74F5D703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0094" y="4358161"/>
                <a:ext cx="236538" cy="546100"/>
              </a:xfrm>
              <a:custGeom>
                <a:avLst/>
                <a:gdLst>
                  <a:gd name="T0" fmla="*/ 147 w 149"/>
                  <a:gd name="T1" fmla="*/ 107 h 344"/>
                  <a:gd name="T2" fmla="*/ 140 w 149"/>
                  <a:gd name="T3" fmla="*/ 78 h 344"/>
                  <a:gd name="T4" fmla="*/ 134 w 149"/>
                  <a:gd name="T5" fmla="*/ 65 h 344"/>
                  <a:gd name="T6" fmla="*/ 126 w 149"/>
                  <a:gd name="T7" fmla="*/ 65 h 344"/>
                  <a:gd name="T8" fmla="*/ 124 w 149"/>
                  <a:gd name="T9" fmla="*/ 59 h 344"/>
                  <a:gd name="T10" fmla="*/ 121 w 149"/>
                  <a:gd name="T11" fmla="*/ 61 h 344"/>
                  <a:gd name="T12" fmla="*/ 117 w 149"/>
                  <a:gd name="T13" fmla="*/ 61 h 344"/>
                  <a:gd name="T14" fmla="*/ 111 w 149"/>
                  <a:gd name="T15" fmla="*/ 61 h 344"/>
                  <a:gd name="T16" fmla="*/ 103 w 149"/>
                  <a:gd name="T17" fmla="*/ 57 h 344"/>
                  <a:gd name="T18" fmla="*/ 94 w 149"/>
                  <a:gd name="T19" fmla="*/ 51 h 344"/>
                  <a:gd name="T20" fmla="*/ 96 w 149"/>
                  <a:gd name="T21" fmla="*/ 42 h 344"/>
                  <a:gd name="T22" fmla="*/ 98 w 149"/>
                  <a:gd name="T23" fmla="*/ 30 h 344"/>
                  <a:gd name="T24" fmla="*/ 102 w 149"/>
                  <a:gd name="T25" fmla="*/ 21 h 344"/>
                  <a:gd name="T26" fmla="*/ 92 w 149"/>
                  <a:gd name="T27" fmla="*/ 15 h 344"/>
                  <a:gd name="T28" fmla="*/ 75 w 149"/>
                  <a:gd name="T29" fmla="*/ 15 h 344"/>
                  <a:gd name="T30" fmla="*/ 63 w 149"/>
                  <a:gd name="T31" fmla="*/ 2 h 344"/>
                  <a:gd name="T32" fmla="*/ 50 w 149"/>
                  <a:gd name="T33" fmla="*/ 27 h 344"/>
                  <a:gd name="T34" fmla="*/ 48 w 149"/>
                  <a:gd name="T35" fmla="*/ 34 h 344"/>
                  <a:gd name="T36" fmla="*/ 35 w 149"/>
                  <a:gd name="T37" fmla="*/ 48 h 344"/>
                  <a:gd name="T38" fmla="*/ 27 w 149"/>
                  <a:gd name="T39" fmla="*/ 49 h 344"/>
                  <a:gd name="T40" fmla="*/ 21 w 149"/>
                  <a:gd name="T41" fmla="*/ 40 h 344"/>
                  <a:gd name="T42" fmla="*/ 23 w 149"/>
                  <a:gd name="T43" fmla="*/ 34 h 344"/>
                  <a:gd name="T44" fmla="*/ 8 w 149"/>
                  <a:gd name="T45" fmla="*/ 38 h 344"/>
                  <a:gd name="T46" fmla="*/ 12 w 149"/>
                  <a:gd name="T47" fmla="*/ 53 h 344"/>
                  <a:gd name="T48" fmla="*/ 10 w 149"/>
                  <a:gd name="T49" fmla="*/ 65 h 344"/>
                  <a:gd name="T50" fmla="*/ 10 w 149"/>
                  <a:gd name="T51" fmla="*/ 74 h 344"/>
                  <a:gd name="T52" fmla="*/ 10 w 149"/>
                  <a:gd name="T53" fmla="*/ 82 h 344"/>
                  <a:gd name="T54" fmla="*/ 10 w 149"/>
                  <a:gd name="T55" fmla="*/ 88 h 344"/>
                  <a:gd name="T56" fmla="*/ 8 w 149"/>
                  <a:gd name="T57" fmla="*/ 88 h 344"/>
                  <a:gd name="T58" fmla="*/ 4 w 149"/>
                  <a:gd name="T59" fmla="*/ 89 h 344"/>
                  <a:gd name="T60" fmla="*/ 4 w 149"/>
                  <a:gd name="T61" fmla="*/ 95 h 344"/>
                  <a:gd name="T62" fmla="*/ 2 w 149"/>
                  <a:gd name="T63" fmla="*/ 120 h 344"/>
                  <a:gd name="T64" fmla="*/ 10 w 149"/>
                  <a:gd name="T65" fmla="*/ 148 h 344"/>
                  <a:gd name="T66" fmla="*/ 14 w 149"/>
                  <a:gd name="T67" fmla="*/ 156 h 344"/>
                  <a:gd name="T68" fmla="*/ 16 w 149"/>
                  <a:gd name="T69" fmla="*/ 166 h 344"/>
                  <a:gd name="T70" fmla="*/ 14 w 149"/>
                  <a:gd name="T71" fmla="*/ 209 h 344"/>
                  <a:gd name="T72" fmla="*/ 25 w 149"/>
                  <a:gd name="T73" fmla="*/ 236 h 344"/>
                  <a:gd name="T74" fmla="*/ 33 w 149"/>
                  <a:gd name="T75" fmla="*/ 263 h 344"/>
                  <a:gd name="T76" fmla="*/ 41 w 149"/>
                  <a:gd name="T77" fmla="*/ 320 h 344"/>
                  <a:gd name="T78" fmla="*/ 42 w 149"/>
                  <a:gd name="T79" fmla="*/ 342 h 344"/>
                  <a:gd name="T80" fmla="*/ 48 w 149"/>
                  <a:gd name="T81" fmla="*/ 337 h 344"/>
                  <a:gd name="T82" fmla="*/ 52 w 149"/>
                  <a:gd name="T83" fmla="*/ 329 h 344"/>
                  <a:gd name="T84" fmla="*/ 54 w 149"/>
                  <a:gd name="T85" fmla="*/ 322 h 344"/>
                  <a:gd name="T86" fmla="*/ 77 w 149"/>
                  <a:gd name="T87" fmla="*/ 337 h 344"/>
                  <a:gd name="T88" fmla="*/ 84 w 149"/>
                  <a:gd name="T89" fmla="*/ 337 h 344"/>
                  <a:gd name="T90" fmla="*/ 92 w 149"/>
                  <a:gd name="T91" fmla="*/ 341 h 344"/>
                  <a:gd name="T92" fmla="*/ 92 w 149"/>
                  <a:gd name="T93" fmla="*/ 337 h 344"/>
                  <a:gd name="T94" fmla="*/ 94 w 149"/>
                  <a:gd name="T95" fmla="*/ 325 h 344"/>
                  <a:gd name="T96" fmla="*/ 98 w 149"/>
                  <a:gd name="T97" fmla="*/ 312 h 344"/>
                  <a:gd name="T98" fmla="*/ 111 w 149"/>
                  <a:gd name="T99" fmla="*/ 314 h 344"/>
                  <a:gd name="T100" fmla="*/ 115 w 149"/>
                  <a:gd name="T101" fmla="*/ 306 h 344"/>
                  <a:gd name="T102" fmla="*/ 115 w 149"/>
                  <a:gd name="T103" fmla="*/ 282 h 344"/>
                  <a:gd name="T104" fmla="*/ 109 w 149"/>
                  <a:gd name="T105" fmla="*/ 259 h 344"/>
                  <a:gd name="T106" fmla="*/ 109 w 149"/>
                  <a:gd name="T107" fmla="*/ 230 h 344"/>
                  <a:gd name="T108" fmla="*/ 117 w 149"/>
                  <a:gd name="T109" fmla="*/ 215 h 344"/>
                  <a:gd name="T110" fmla="*/ 117 w 149"/>
                  <a:gd name="T111" fmla="*/ 196 h 344"/>
                  <a:gd name="T112" fmla="*/ 132 w 149"/>
                  <a:gd name="T113" fmla="*/ 202 h 344"/>
                  <a:gd name="T114" fmla="*/ 142 w 149"/>
                  <a:gd name="T115" fmla="*/ 181 h 344"/>
                  <a:gd name="T116" fmla="*/ 147 w 149"/>
                  <a:gd name="T117" fmla="*/ 15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9" h="344">
                    <a:moveTo>
                      <a:pt x="145" y="147"/>
                    </a:moveTo>
                    <a:lnTo>
                      <a:pt x="145" y="143"/>
                    </a:lnTo>
                    <a:lnTo>
                      <a:pt x="149" y="116"/>
                    </a:lnTo>
                    <a:lnTo>
                      <a:pt x="149" y="110"/>
                    </a:lnTo>
                    <a:lnTo>
                      <a:pt x="149" y="110"/>
                    </a:lnTo>
                    <a:lnTo>
                      <a:pt x="147" y="107"/>
                    </a:lnTo>
                    <a:lnTo>
                      <a:pt x="147" y="105"/>
                    </a:lnTo>
                    <a:lnTo>
                      <a:pt x="142" y="103"/>
                    </a:lnTo>
                    <a:lnTo>
                      <a:pt x="140" y="88"/>
                    </a:lnTo>
                    <a:lnTo>
                      <a:pt x="140" y="82"/>
                    </a:lnTo>
                    <a:lnTo>
                      <a:pt x="140" y="80"/>
                    </a:lnTo>
                    <a:lnTo>
                      <a:pt x="140" y="78"/>
                    </a:lnTo>
                    <a:lnTo>
                      <a:pt x="140" y="78"/>
                    </a:lnTo>
                    <a:lnTo>
                      <a:pt x="138" y="76"/>
                    </a:lnTo>
                    <a:lnTo>
                      <a:pt x="136" y="72"/>
                    </a:lnTo>
                    <a:lnTo>
                      <a:pt x="134" y="70"/>
                    </a:lnTo>
                    <a:lnTo>
                      <a:pt x="134" y="69"/>
                    </a:lnTo>
                    <a:lnTo>
                      <a:pt x="134" y="65"/>
                    </a:lnTo>
                    <a:lnTo>
                      <a:pt x="134" y="63"/>
                    </a:lnTo>
                    <a:lnTo>
                      <a:pt x="134" y="63"/>
                    </a:lnTo>
                    <a:lnTo>
                      <a:pt x="132" y="63"/>
                    </a:lnTo>
                    <a:lnTo>
                      <a:pt x="128" y="65"/>
                    </a:lnTo>
                    <a:lnTo>
                      <a:pt x="126" y="65"/>
                    </a:lnTo>
                    <a:lnTo>
                      <a:pt x="126" y="65"/>
                    </a:lnTo>
                    <a:lnTo>
                      <a:pt x="126" y="63"/>
                    </a:lnTo>
                    <a:lnTo>
                      <a:pt x="126" y="63"/>
                    </a:lnTo>
                    <a:lnTo>
                      <a:pt x="126" y="61"/>
                    </a:lnTo>
                    <a:lnTo>
                      <a:pt x="126" y="61"/>
                    </a:lnTo>
                    <a:lnTo>
                      <a:pt x="126" y="59"/>
                    </a:lnTo>
                    <a:lnTo>
                      <a:pt x="124" y="59"/>
                    </a:lnTo>
                    <a:lnTo>
                      <a:pt x="124" y="57"/>
                    </a:lnTo>
                    <a:lnTo>
                      <a:pt x="124" y="57"/>
                    </a:lnTo>
                    <a:lnTo>
                      <a:pt x="123" y="59"/>
                    </a:lnTo>
                    <a:lnTo>
                      <a:pt x="123" y="59"/>
                    </a:lnTo>
                    <a:lnTo>
                      <a:pt x="123" y="61"/>
                    </a:lnTo>
                    <a:lnTo>
                      <a:pt x="121" y="61"/>
                    </a:lnTo>
                    <a:lnTo>
                      <a:pt x="119" y="61"/>
                    </a:lnTo>
                    <a:lnTo>
                      <a:pt x="119" y="61"/>
                    </a:lnTo>
                    <a:lnTo>
                      <a:pt x="117" y="61"/>
                    </a:lnTo>
                    <a:lnTo>
                      <a:pt x="117" y="61"/>
                    </a:lnTo>
                    <a:lnTo>
                      <a:pt x="117" y="61"/>
                    </a:lnTo>
                    <a:lnTo>
                      <a:pt x="117" y="61"/>
                    </a:lnTo>
                    <a:lnTo>
                      <a:pt x="117" y="59"/>
                    </a:lnTo>
                    <a:lnTo>
                      <a:pt x="115" y="59"/>
                    </a:lnTo>
                    <a:lnTo>
                      <a:pt x="115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1" y="61"/>
                    </a:lnTo>
                    <a:lnTo>
                      <a:pt x="109" y="61"/>
                    </a:lnTo>
                    <a:lnTo>
                      <a:pt x="109" y="61"/>
                    </a:lnTo>
                    <a:lnTo>
                      <a:pt x="107" y="61"/>
                    </a:lnTo>
                    <a:lnTo>
                      <a:pt x="107" y="59"/>
                    </a:lnTo>
                    <a:lnTo>
                      <a:pt x="105" y="59"/>
                    </a:lnTo>
                    <a:lnTo>
                      <a:pt x="103" y="57"/>
                    </a:lnTo>
                    <a:lnTo>
                      <a:pt x="96" y="53"/>
                    </a:lnTo>
                    <a:lnTo>
                      <a:pt x="94" y="53"/>
                    </a:lnTo>
                    <a:lnTo>
                      <a:pt x="92" y="53"/>
                    </a:lnTo>
                    <a:lnTo>
                      <a:pt x="92" y="51"/>
                    </a:lnTo>
                    <a:lnTo>
                      <a:pt x="94" y="51"/>
                    </a:lnTo>
                    <a:lnTo>
                      <a:pt x="94" y="51"/>
                    </a:lnTo>
                    <a:lnTo>
                      <a:pt x="94" y="51"/>
                    </a:lnTo>
                    <a:lnTo>
                      <a:pt x="96" y="49"/>
                    </a:lnTo>
                    <a:lnTo>
                      <a:pt x="96" y="49"/>
                    </a:lnTo>
                    <a:lnTo>
                      <a:pt x="96" y="48"/>
                    </a:lnTo>
                    <a:lnTo>
                      <a:pt x="96" y="46"/>
                    </a:lnTo>
                    <a:lnTo>
                      <a:pt x="96" y="42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38"/>
                    </a:lnTo>
                    <a:lnTo>
                      <a:pt x="98" y="34"/>
                    </a:lnTo>
                    <a:lnTo>
                      <a:pt x="98" y="34"/>
                    </a:lnTo>
                    <a:lnTo>
                      <a:pt x="98" y="30"/>
                    </a:lnTo>
                    <a:lnTo>
                      <a:pt x="98" y="29"/>
                    </a:lnTo>
                    <a:lnTo>
                      <a:pt x="98" y="27"/>
                    </a:lnTo>
                    <a:lnTo>
                      <a:pt x="100" y="27"/>
                    </a:lnTo>
                    <a:lnTo>
                      <a:pt x="102" y="25"/>
                    </a:lnTo>
                    <a:lnTo>
                      <a:pt x="102" y="23"/>
                    </a:lnTo>
                    <a:lnTo>
                      <a:pt x="102" y="21"/>
                    </a:lnTo>
                    <a:lnTo>
                      <a:pt x="98" y="19"/>
                    </a:lnTo>
                    <a:lnTo>
                      <a:pt x="98" y="17"/>
                    </a:lnTo>
                    <a:lnTo>
                      <a:pt x="98" y="13"/>
                    </a:lnTo>
                    <a:lnTo>
                      <a:pt x="98" y="11"/>
                    </a:lnTo>
                    <a:lnTo>
                      <a:pt x="94" y="15"/>
                    </a:lnTo>
                    <a:lnTo>
                      <a:pt x="92" y="15"/>
                    </a:lnTo>
                    <a:lnTo>
                      <a:pt x="88" y="13"/>
                    </a:lnTo>
                    <a:lnTo>
                      <a:pt x="86" y="13"/>
                    </a:lnTo>
                    <a:lnTo>
                      <a:pt x="79" y="17"/>
                    </a:lnTo>
                    <a:lnTo>
                      <a:pt x="77" y="17"/>
                    </a:lnTo>
                    <a:lnTo>
                      <a:pt x="75" y="17"/>
                    </a:lnTo>
                    <a:lnTo>
                      <a:pt x="75" y="15"/>
                    </a:lnTo>
                    <a:lnTo>
                      <a:pt x="69" y="4"/>
                    </a:lnTo>
                    <a:lnTo>
                      <a:pt x="67" y="2"/>
                    </a:lnTo>
                    <a:lnTo>
                      <a:pt x="65" y="2"/>
                    </a:lnTo>
                    <a:lnTo>
                      <a:pt x="65" y="0"/>
                    </a:lnTo>
                    <a:lnTo>
                      <a:pt x="63" y="2"/>
                    </a:lnTo>
                    <a:lnTo>
                      <a:pt x="63" y="2"/>
                    </a:lnTo>
                    <a:lnTo>
                      <a:pt x="60" y="13"/>
                    </a:lnTo>
                    <a:lnTo>
                      <a:pt x="60" y="15"/>
                    </a:lnTo>
                    <a:lnTo>
                      <a:pt x="60" y="17"/>
                    </a:lnTo>
                    <a:lnTo>
                      <a:pt x="58" y="17"/>
                    </a:lnTo>
                    <a:lnTo>
                      <a:pt x="56" y="21"/>
                    </a:lnTo>
                    <a:lnTo>
                      <a:pt x="50" y="27"/>
                    </a:lnTo>
                    <a:lnTo>
                      <a:pt x="48" y="29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6" y="34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1" y="40"/>
                    </a:lnTo>
                    <a:lnTo>
                      <a:pt x="37" y="44"/>
                    </a:lnTo>
                    <a:lnTo>
                      <a:pt x="35" y="48"/>
                    </a:lnTo>
                    <a:lnTo>
                      <a:pt x="33" y="48"/>
                    </a:lnTo>
                    <a:lnTo>
                      <a:pt x="31" y="49"/>
                    </a:lnTo>
                    <a:lnTo>
                      <a:pt x="31" y="49"/>
                    </a:lnTo>
                    <a:lnTo>
                      <a:pt x="29" y="49"/>
                    </a:lnTo>
                    <a:lnTo>
                      <a:pt x="29" y="49"/>
                    </a:lnTo>
                    <a:lnTo>
                      <a:pt x="27" y="49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23" y="46"/>
                    </a:lnTo>
                    <a:lnTo>
                      <a:pt x="23" y="44"/>
                    </a:lnTo>
                    <a:lnTo>
                      <a:pt x="21" y="40"/>
                    </a:lnTo>
                    <a:lnTo>
                      <a:pt x="21" y="40"/>
                    </a:lnTo>
                    <a:lnTo>
                      <a:pt x="21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4"/>
                    </a:lnTo>
                    <a:lnTo>
                      <a:pt x="23" y="34"/>
                    </a:lnTo>
                    <a:lnTo>
                      <a:pt x="21" y="34"/>
                    </a:lnTo>
                    <a:lnTo>
                      <a:pt x="16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10" y="59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0" y="65"/>
                    </a:lnTo>
                    <a:lnTo>
                      <a:pt x="10" y="65"/>
                    </a:lnTo>
                    <a:lnTo>
                      <a:pt x="12" y="67"/>
                    </a:lnTo>
                    <a:lnTo>
                      <a:pt x="12" y="67"/>
                    </a:lnTo>
                    <a:lnTo>
                      <a:pt x="12" y="69"/>
                    </a:lnTo>
                    <a:lnTo>
                      <a:pt x="12" y="70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6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10" y="84"/>
                    </a:lnTo>
                    <a:lnTo>
                      <a:pt x="10" y="84"/>
                    </a:lnTo>
                    <a:lnTo>
                      <a:pt x="10" y="86"/>
                    </a:lnTo>
                    <a:lnTo>
                      <a:pt x="10" y="88"/>
                    </a:lnTo>
                    <a:lnTo>
                      <a:pt x="10" y="88"/>
                    </a:lnTo>
                    <a:lnTo>
                      <a:pt x="10" y="88"/>
                    </a:lnTo>
                    <a:lnTo>
                      <a:pt x="10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4" y="89"/>
                    </a:lnTo>
                    <a:lnTo>
                      <a:pt x="4" y="89"/>
                    </a:lnTo>
                    <a:lnTo>
                      <a:pt x="4" y="91"/>
                    </a:lnTo>
                    <a:lnTo>
                      <a:pt x="4" y="91"/>
                    </a:lnTo>
                    <a:lnTo>
                      <a:pt x="4" y="93"/>
                    </a:lnTo>
                    <a:lnTo>
                      <a:pt x="4" y="93"/>
                    </a:lnTo>
                    <a:lnTo>
                      <a:pt x="4" y="93"/>
                    </a:lnTo>
                    <a:lnTo>
                      <a:pt x="4" y="95"/>
                    </a:lnTo>
                    <a:lnTo>
                      <a:pt x="2" y="97"/>
                    </a:lnTo>
                    <a:lnTo>
                      <a:pt x="4" y="105"/>
                    </a:lnTo>
                    <a:lnTo>
                      <a:pt x="2" y="108"/>
                    </a:lnTo>
                    <a:lnTo>
                      <a:pt x="2" y="110"/>
                    </a:lnTo>
                    <a:lnTo>
                      <a:pt x="0" y="116"/>
                    </a:lnTo>
                    <a:lnTo>
                      <a:pt x="2" y="120"/>
                    </a:lnTo>
                    <a:lnTo>
                      <a:pt x="6" y="137"/>
                    </a:lnTo>
                    <a:lnTo>
                      <a:pt x="8" y="143"/>
                    </a:lnTo>
                    <a:lnTo>
                      <a:pt x="8" y="145"/>
                    </a:lnTo>
                    <a:lnTo>
                      <a:pt x="8" y="147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2" y="150"/>
                    </a:lnTo>
                    <a:lnTo>
                      <a:pt x="10" y="152"/>
                    </a:lnTo>
                    <a:lnTo>
                      <a:pt x="12" y="152"/>
                    </a:lnTo>
                    <a:lnTo>
                      <a:pt x="12" y="154"/>
                    </a:lnTo>
                    <a:lnTo>
                      <a:pt x="14" y="154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60"/>
                    </a:lnTo>
                    <a:lnTo>
                      <a:pt x="14" y="160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6" y="166"/>
                    </a:lnTo>
                    <a:lnTo>
                      <a:pt x="14" y="167"/>
                    </a:lnTo>
                    <a:lnTo>
                      <a:pt x="12" y="173"/>
                    </a:lnTo>
                    <a:lnTo>
                      <a:pt x="12" y="175"/>
                    </a:lnTo>
                    <a:lnTo>
                      <a:pt x="12" y="181"/>
                    </a:lnTo>
                    <a:lnTo>
                      <a:pt x="14" y="200"/>
                    </a:lnTo>
                    <a:lnTo>
                      <a:pt x="14" y="209"/>
                    </a:lnTo>
                    <a:lnTo>
                      <a:pt x="16" y="213"/>
                    </a:lnTo>
                    <a:lnTo>
                      <a:pt x="18" y="217"/>
                    </a:lnTo>
                    <a:lnTo>
                      <a:pt x="21" y="219"/>
                    </a:lnTo>
                    <a:lnTo>
                      <a:pt x="23" y="221"/>
                    </a:lnTo>
                    <a:lnTo>
                      <a:pt x="25" y="232"/>
                    </a:lnTo>
                    <a:lnTo>
                      <a:pt x="25" y="236"/>
                    </a:lnTo>
                    <a:lnTo>
                      <a:pt x="27" y="238"/>
                    </a:lnTo>
                    <a:lnTo>
                      <a:pt x="31" y="242"/>
                    </a:lnTo>
                    <a:lnTo>
                      <a:pt x="31" y="244"/>
                    </a:lnTo>
                    <a:lnTo>
                      <a:pt x="33" y="245"/>
                    </a:lnTo>
                    <a:lnTo>
                      <a:pt x="33" y="255"/>
                    </a:lnTo>
                    <a:lnTo>
                      <a:pt x="33" y="263"/>
                    </a:lnTo>
                    <a:lnTo>
                      <a:pt x="33" y="266"/>
                    </a:lnTo>
                    <a:lnTo>
                      <a:pt x="35" y="270"/>
                    </a:lnTo>
                    <a:lnTo>
                      <a:pt x="35" y="272"/>
                    </a:lnTo>
                    <a:lnTo>
                      <a:pt x="42" y="316"/>
                    </a:lnTo>
                    <a:lnTo>
                      <a:pt x="42" y="320"/>
                    </a:lnTo>
                    <a:lnTo>
                      <a:pt x="41" y="320"/>
                    </a:lnTo>
                    <a:lnTo>
                      <a:pt x="39" y="320"/>
                    </a:lnTo>
                    <a:lnTo>
                      <a:pt x="37" y="322"/>
                    </a:lnTo>
                    <a:lnTo>
                      <a:pt x="41" y="331"/>
                    </a:lnTo>
                    <a:lnTo>
                      <a:pt x="42" y="341"/>
                    </a:lnTo>
                    <a:lnTo>
                      <a:pt x="42" y="341"/>
                    </a:lnTo>
                    <a:lnTo>
                      <a:pt x="42" y="342"/>
                    </a:lnTo>
                    <a:lnTo>
                      <a:pt x="42" y="342"/>
                    </a:lnTo>
                    <a:lnTo>
                      <a:pt x="44" y="341"/>
                    </a:lnTo>
                    <a:lnTo>
                      <a:pt x="44" y="341"/>
                    </a:lnTo>
                    <a:lnTo>
                      <a:pt x="46" y="341"/>
                    </a:lnTo>
                    <a:lnTo>
                      <a:pt x="46" y="339"/>
                    </a:lnTo>
                    <a:lnTo>
                      <a:pt x="48" y="337"/>
                    </a:lnTo>
                    <a:lnTo>
                      <a:pt x="50" y="337"/>
                    </a:lnTo>
                    <a:lnTo>
                      <a:pt x="52" y="337"/>
                    </a:lnTo>
                    <a:lnTo>
                      <a:pt x="52" y="335"/>
                    </a:lnTo>
                    <a:lnTo>
                      <a:pt x="52" y="333"/>
                    </a:lnTo>
                    <a:lnTo>
                      <a:pt x="52" y="331"/>
                    </a:lnTo>
                    <a:lnTo>
                      <a:pt x="52" y="329"/>
                    </a:lnTo>
                    <a:lnTo>
                      <a:pt x="54" y="325"/>
                    </a:lnTo>
                    <a:lnTo>
                      <a:pt x="54" y="327"/>
                    </a:lnTo>
                    <a:lnTo>
                      <a:pt x="54" y="327"/>
                    </a:lnTo>
                    <a:lnTo>
                      <a:pt x="54" y="325"/>
                    </a:lnTo>
                    <a:lnTo>
                      <a:pt x="54" y="325"/>
                    </a:lnTo>
                    <a:lnTo>
                      <a:pt x="54" y="322"/>
                    </a:lnTo>
                    <a:lnTo>
                      <a:pt x="54" y="320"/>
                    </a:lnTo>
                    <a:lnTo>
                      <a:pt x="56" y="318"/>
                    </a:lnTo>
                    <a:lnTo>
                      <a:pt x="60" y="320"/>
                    </a:lnTo>
                    <a:lnTo>
                      <a:pt x="67" y="325"/>
                    </a:lnTo>
                    <a:lnTo>
                      <a:pt x="75" y="333"/>
                    </a:lnTo>
                    <a:lnTo>
                      <a:pt x="77" y="337"/>
                    </a:lnTo>
                    <a:lnTo>
                      <a:pt x="79" y="341"/>
                    </a:lnTo>
                    <a:lnTo>
                      <a:pt x="79" y="344"/>
                    </a:lnTo>
                    <a:lnTo>
                      <a:pt x="81" y="344"/>
                    </a:lnTo>
                    <a:lnTo>
                      <a:pt x="82" y="344"/>
                    </a:lnTo>
                    <a:lnTo>
                      <a:pt x="82" y="341"/>
                    </a:lnTo>
                    <a:lnTo>
                      <a:pt x="84" y="337"/>
                    </a:lnTo>
                    <a:lnTo>
                      <a:pt x="86" y="337"/>
                    </a:lnTo>
                    <a:lnTo>
                      <a:pt x="88" y="337"/>
                    </a:lnTo>
                    <a:lnTo>
                      <a:pt x="90" y="341"/>
                    </a:lnTo>
                    <a:lnTo>
                      <a:pt x="90" y="341"/>
                    </a:lnTo>
                    <a:lnTo>
                      <a:pt x="90" y="341"/>
                    </a:lnTo>
                    <a:lnTo>
                      <a:pt x="92" y="341"/>
                    </a:lnTo>
                    <a:lnTo>
                      <a:pt x="92" y="341"/>
                    </a:lnTo>
                    <a:lnTo>
                      <a:pt x="92" y="341"/>
                    </a:lnTo>
                    <a:lnTo>
                      <a:pt x="92" y="341"/>
                    </a:lnTo>
                    <a:lnTo>
                      <a:pt x="92" y="339"/>
                    </a:lnTo>
                    <a:lnTo>
                      <a:pt x="92" y="339"/>
                    </a:lnTo>
                    <a:lnTo>
                      <a:pt x="92" y="337"/>
                    </a:lnTo>
                    <a:lnTo>
                      <a:pt x="92" y="337"/>
                    </a:lnTo>
                    <a:lnTo>
                      <a:pt x="92" y="335"/>
                    </a:lnTo>
                    <a:lnTo>
                      <a:pt x="92" y="333"/>
                    </a:lnTo>
                    <a:lnTo>
                      <a:pt x="92" y="331"/>
                    </a:lnTo>
                    <a:lnTo>
                      <a:pt x="94" y="325"/>
                    </a:lnTo>
                    <a:lnTo>
                      <a:pt x="94" y="325"/>
                    </a:lnTo>
                    <a:lnTo>
                      <a:pt x="96" y="325"/>
                    </a:lnTo>
                    <a:lnTo>
                      <a:pt x="98" y="323"/>
                    </a:lnTo>
                    <a:lnTo>
                      <a:pt x="98" y="323"/>
                    </a:lnTo>
                    <a:lnTo>
                      <a:pt x="98" y="314"/>
                    </a:lnTo>
                    <a:lnTo>
                      <a:pt x="98" y="312"/>
                    </a:lnTo>
                    <a:lnTo>
                      <a:pt x="98" y="312"/>
                    </a:lnTo>
                    <a:lnTo>
                      <a:pt x="100" y="312"/>
                    </a:lnTo>
                    <a:lnTo>
                      <a:pt x="102" y="312"/>
                    </a:lnTo>
                    <a:lnTo>
                      <a:pt x="105" y="312"/>
                    </a:lnTo>
                    <a:lnTo>
                      <a:pt x="107" y="312"/>
                    </a:lnTo>
                    <a:lnTo>
                      <a:pt x="109" y="314"/>
                    </a:lnTo>
                    <a:lnTo>
                      <a:pt x="111" y="314"/>
                    </a:lnTo>
                    <a:lnTo>
                      <a:pt x="113" y="314"/>
                    </a:lnTo>
                    <a:lnTo>
                      <a:pt x="111" y="310"/>
                    </a:lnTo>
                    <a:lnTo>
                      <a:pt x="111" y="308"/>
                    </a:lnTo>
                    <a:lnTo>
                      <a:pt x="111" y="308"/>
                    </a:lnTo>
                    <a:lnTo>
                      <a:pt x="111" y="308"/>
                    </a:lnTo>
                    <a:lnTo>
                      <a:pt x="115" y="306"/>
                    </a:lnTo>
                    <a:lnTo>
                      <a:pt x="115" y="306"/>
                    </a:lnTo>
                    <a:lnTo>
                      <a:pt x="117" y="306"/>
                    </a:lnTo>
                    <a:lnTo>
                      <a:pt x="117" y="304"/>
                    </a:lnTo>
                    <a:lnTo>
                      <a:pt x="117" y="303"/>
                    </a:lnTo>
                    <a:lnTo>
                      <a:pt x="117" y="287"/>
                    </a:lnTo>
                    <a:lnTo>
                      <a:pt x="115" y="282"/>
                    </a:lnTo>
                    <a:lnTo>
                      <a:pt x="111" y="276"/>
                    </a:lnTo>
                    <a:lnTo>
                      <a:pt x="109" y="274"/>
                    </a:lnTo>
                    <a:lnTo>
                      <a:pt x="107" y="270"/>
                    </a:lnTo>
                    <a:lnTo>
                      <a:pt x="107" y="266"/>
                    </a:lnTo>
                    <a:lnTo>
                      <a:pt x="109" y="261"/>
                    </a:lnTo>
                    <a:lnTo>
                      <a:pt x="109" y="259"/>
                    </a:lnTo>
                    <a:lnTo>
                      <a:pt x="109" y="255"/>
                    </a:lnTo>
                    <a:lnTo>
                      <a:pt x="105" y="251"/>
                    </a:lnTo>
                    <a:lnTo>
                      <a:pt x="105" y="247"/>
                    </a:lnTo>
                    <a:lnTo>
                      <a:pt x="103" y="245"/>
                    </a:lnTo>
                    <a:lnTo>
                      <a:pt x="105" y="234"/>
                    </a:lnTo>
                    <a:lnTo>
                      <a:pt x="109" y="230"/>
                    </a:lnTo>
                    <a:lnTo>
                      <a:pt x="109" y="230"/>
                    </a:lnTo>
                    <a:lnTo>
                      <a:pt x="111" y="228"/>
                    </a:lnTo>
                    <a:lnTo>
                      <a:pt x="115" y="223"/>
                    </a:lnTo>
                    <a:lnTo>
                      <a:pt x="117" y="219"/>
                    </a:lnTo>
                    <a:lnTo>
                      <a:pt x="117" y="217"/>
                    </a:lnTo>
                    <a:lnTo>
                      <a:pt x="117" y="215"/>
                    </a:lnTo>
                    <a:lnTo>
                      <a:pt x="115" y="209"/>
                    </a:lnTo>
                    <a:lnTo>
                      <a:pt x="113" y="207"/>
                    </a:lnTo>
                    <a:lnTo>
                      <a:pt x="113" y="204"/>
                    </a:lnTo>
                    <a:lnTo>
                      <a:pt x="113" y="200"/>
                    </a:lnTo>
                    <a:lnTo>
                      <a:pt x="115" y="196"/>
                    </a:lnTo>
                    <a:lnTo>
                      <a:pt x="117" y="196"/>
                    </a:lnTo>
                    <a:lnTo>
                      <a:pt x="121" y="196"/>
                    </a:lnTo>
                    <a:lnTo>
                      <a:pt x="123" y="198"/>
                    </a:lnTo>
                    <a:lnTo>
                      <a:pt x="124" y="202"/>
                    </a:lnTo>
                    <a:lnTo>
                      <a:pt x="126" y="204"/>
                    </a:lnTo>
                    <a:lnTo>
                      <a:pt x="130" y="204"/>
                    </a:lnTo>
                    <a:lnTo>
                      <a:pt x="132" y="202"/>
                    </a:lnTo>
                    <a:lnTo>
                      <a:pt x="136" y="200"/>
                    </a:lnTo>
                    <a:lnTo>
                      <a:pt x="138" y="196"/>
                    </a:lnTo>
                    <a:lnTo>
                      <a:pt x="142" y="186"/>
                    </a:lnTo>
                    <a:lnTo>
                      <a:pt x="142" y="185"/>
                    </a:lnTo>
                    <a:lnTo>
                      <a:pt x="142" y="183"/>
                    </a:lnTo>
                    <a:lnTo>
                      <a:pt x="142" y="181"/>
                    </a:lnTo>
                    <a:lnTo>
                      <a:pt x="144" y="171"/>
                    </a:lnTo>
                    <a:lnTo>
                      <a:pt x="144" y="166"/>
                    </a:lnTo>
                    <a:lnTo>
                      <a:pt x="144" y="164"/>
                    </a:lnTo>
                    <a:lnTo>
                      <a:pt x="144" y="162"/>
                    </a:lnTo>
                    <a:lnTo>
                      <a:pt x="145" y="158"/>
                    </a:lnTo>
                    <a:lnTo>
                      <a:pt x="147" y="156"/>
                    </a:lnTo>
                    <a:lnTo>
                      <a:pt x="147" y="156"/>
                    </a:lnTo>
                    <a:lnTo>
                      <a:pt x="147" y="154"/>
                    </a:lnTo>
                    <a:lnTo>
                      <a:pt x="145" y="147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6" name="Freeform 18">
                <a:extLst>
                  <a:ext uri="{FF2B5EF4-FFF2-40B4-BE49-F238E27FC236}">
                    <a16:creationId xmlns:a16="http://schemas.microsoft.com/office/drawing/2014/main" id="{E7849598-A87E-4B22-B063-AE87F7CBB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2732" y="4007324"/>
                <a:ext cx="600075" cy="239713"/>
              </a:xfrm>
              <a:custGeom>
                <a:avLst/>
                <a:gdLst>
                  <a:gd name="T0" fmla="*/ 376 w 378"/>
                  <a:gd name="T1" fmla="*/ 111 h 151"/>
                  <a:gd name="T2" fmla="*/ 374 w 378"/>
                  <a:gd name="T3" fmla="*/ 101 h 151"/>
                  <a:gd name="T4" fmla="*/ 361 w 378"/>
                  <a:gd name="T5" fmla="*/ 90 h 151"/>
                  <a:gd name="T6" fmla="*/ 349 w 378"/>
                  <a:gd name="T7" fmla="*/ 82 h 151"/>
                  <a:gd name="T8" fmla="*/ 359 w 378"/>
                  <a:gd name="T9" fmla="*/ 73 h 151"/>
                  <a:gd name="T10" fmla="*/ 363 w 378"/>
                  <a:gd name="T11" fmla="*/ 67 h 151"/>
                  <a:gd name="T12" fmla="*/ 353 w 378"/>
                  <a:gd name="T13" fmla="*/ 69 h 151"/>
                  <a:gd name="T14" fmla="*/ 332 w 378"/>
                  <a:gd name="T15" fmla="*/ 50 h 151"/>
                  <a:gd name="T16" fmla="*/ 319 w 378"/>
                  <a:gd name="T17" fmla="*/ 48 h 151"/>
                  <a:gd name="T18" fmla="*/ 298 w 378"/>
                  <a:gd name="T19" fmla="*/ 55 h 151"/>
                  <a:gd name="T20" fmla="*/ 298 w 378"/>
                  <a:gd name="T21" fmla="*/ 38 h 151"/>
                  <a:gd name="T22" fmla="*/ 300 w 378"/>
                  <a:gd name="T23" fmla="*/ 19 h 151"/>
                  <a:gd name="T24" fmla="*/ 309 w 378"/>
                  <a:gd name="T25" fmla="*/ 4 h 151"/>
                  <a:gd name="T26" fmla="*/ 292 w 378"/>
                  <a:gd name="T27" fmla="*/ 2 h 151"/>
                  <a:gd name="T28" fmla="*/ 266 w 378"/>
                  <a:gd name="T29" fmla="*/ 6 h 151"/>
                  <a:gd name="T30" fmla="*/ 246 w 378"/>
                  <a:gd name="T31" fmla="*/ 6 h 151"/>
                  <a:gd name="T32" fmla="*/ 239 w 378"/>
                  <a:gd name="T33" fmla="*/ 19 h 151"/>
                  <a:gd name="T34" fmla="*/ 231 w 378"/>
                  <a:gd name="T35" fmla="*/ 16 h 151"/>
                  <a:gd name="T36" fmla="*/ 227 w 378"/>
                  <a:gd name="T37" fmla="*/ 6 h 151"/>
                  <a:gd name="T38" fmla="*/ 218 w 378"/>
                  <a:gd name="T39" fmla="*/ 19 h 151"/>
                  <a:gd name="T40" fmla="*/ 214 w 378"/>
                  <a:gd name="T41" fmla="*/ 29 h 151"/>
                  <a:gd name="T42" fmla="*/ 205 w 378"/>
                  <a:gd name="T43" fmla="*/ 31 h 151"/>
                  <a:gd name="T44" fmla="*/ 182 w 378"/>
                  <a:gd name="T45" fmla="*/ 50 h 151"/>
                  <a:gd name="T46" fmla="*/ 176 w 378"/>
                  <a:gd name="T47" fmla="*/ 33 h 151"/>
                  <a:gd name="T48" fmla="*/ 159 w 378"/>
                  <a:gd name="T49" fmla="*/ 33 h 151"/>
                  <a:gd name="T50" fmla="*/ 155 w 378"/>
                  <a:gd name="T51" fmla="*/ 27 h 151"/>
                  <a:gd name="T52" fmla="*/ 149 w 378"/>
                  <a:gd name="T53" fmla="*/ 21 h 151"/>
                  <a:gd name="T54" fmla="*/ 128 w 378"/>
                  <a:gd name="T55" fmla="*/ 19 h 151"/>
                  <a:gd name="T56" fmla="*/ 123 w 378"/>
                  <a:gd name="T57" fmla="*/ 17 h 151"/>
                  <a:gd name="T58" fmla="*/ 105 w 378"/>
                  <a:gd name="T59" fmla="*/ 19 h 151"/>
                  <a:gd name="T60" fmla="*/ 100 w 378"/>
                  <a:gd name="T61" fmla="*/ 19 h 151"/>
                  <a:gd name="T62" fmla="*/ 94 w 378"/>
                  <a:gd name="T63" fmla="*/ 21 h 151"/>
                  <a:gd name="T64" fmla="*/ 86 w 378"/>
                  <a:gd name="T65" fmla="*/ 10 h 151"/>
                  <a:gd name="T66" fmla="*/ 71 w 378"/>
                  <a:gd name="T67" fmla="*/ 12 h 151"/>
                  <a:gd name="T68" fmla="*/ 42 w 378"/>
                  <a:gd name="T69" fmla="*/ 17 h 151"/>
                  <a:gd name="T70" fmla="*/ 29 w 378"/>
                  <a:gd name="T71" fmla="*/ 31 h 151"/>
                  <a:gd name="T72" fmla="*/ 21 w 378"/>
                  <a:gd name="T73" fmla="*/ 44 h 151"/>
                  <a:gd name="T74" fmla="*/ 20 w 378"/>
                  <a:gd name="T75" fmla="*/ 59 h 151"/>
                  <a:gd name="T76" fmla="*/ 27 w 378"/>
                  <a:gd name="T77" fmla="*/ 67 h 151"/>
                  <a:gd name="T78" fmla="*/ 16 w 378"/>
                  <a:gd name="T79" fmla="*/ 73 h 151"/>
                  <a:gd name="T80" fmla="*/ 12 w 378"/>
                  <a:gd name="T81" fmla="*/ 86 h 151"/>
                  <a:gd name="T82" fmla="*/ 0 w 378"/>
                  <a:gd name="T83" fmla="*/ 103 h 151"/>
                  <a:gd name="T84" fmla="*/ 61 w 378"/>
                  <a:gd name="T85" fmla="*/ 126 h 151"/>
                  <a:gd name="T86" fmla="*/ 107 w 378"/>
                  <a:gd name="T87" fmla="*/ 128 h 151"/>
                  <a:gd name="T88" fmla="*/ 121 w 378"/>
                  <a:gd name="T89" fmla="*/ 128 h 151"/>
                  <a:gd name="T90" fmla="*/ 149 w 378"/>
                  <a:gd name="T91" fmla="*/ 128 h 151"/>
                  <a:gd name="T92" fmla="*/ 206 w 378"/>
                  <a:gd name="T93" fmla="*/ 132 h 151"/>
                  <a:gd name="T94" fmla="*/ 220 w 378"/>
                  <a:gd name="T95" fmla="*/ 128 h 151"/>
                  <a:gd name="T96" fmla="*/ 235 w 378"/>
                  <a:gd name="T97" fmla="*/ 134 h 151"/>
                  <a:gd name="T98" fmla="*/ 243 w 378"/>
                  <a:gd name="T99" fmla="*/ 128 h 151"/>
                  <a:gd name="T100" fmla="*/ 277 w 378"/>
                  <a:gd name="T101" fmla="*/ 126 h 151"/>
                  <a:gd name="T102" fmla="*/ 292 w 378"/>
                  <a:gd name="T103" fmla="*/ 132 h 151"/>
                  <a:gd name="T104" fmla="*/ 302 w 378"/>
                  <a:gd name="T105" fmla="*/ 135 h 151"/>
                  <a:gd name="T106" fmla="*/ 319 w 378"/>
                  <a:gd name="T107" fmla="*/ 145 h 151"/>
                  <a:gd name="T108" fmla="*/ 342 w 378"/>
                  <a:gd name="T109" fmla="*/ 135 h 151"/>
                  <a:gd name="T110" fmla="*/ 348 w 378"/>
                  <a:gd name="T111" fmla="*/ 130 h 151"/>
                  <a:gd name="T112" fmla="*/ 378 w 378"/>
                  <a:gd name="T113" fmla="*/ 118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78" h="151">
                    <a:moveTo>
                      <a:pt x="378" y="118"/>
                    </a:moveTo>
                    <a:lnTo>
                      <a:pt x="378" y="116"/>
                    </a:lnTo>
                    <a:lnTo>
                      <a:pt x="376" y="114"/>
                    </a:lnTo>
                    <a:lnTo>
                      <a:pt x="376" y="114"/>
                    </a:lnTo>
                    <a:lnTo>
                      <a:pt x="376" y="113"/>
                    </a:lnTo>
                    <a:lnTo>
                      <a:pt x="376" y="113"/>
                    </a:lnTo>
                    <a:lnTo>
                      <a:pt x="376" y="111"/>
                    </a:lnTo>
                    <a:lnTo>
                      <a:pt x="376" y="111"/>
                    </a:lnTo>
                    <a:lnTo>
                      <a:pt x="376" y="109"/>
                    </a:lnTo>
                    <a:lnTo>
                      <a:pt x="376" y="107"/>
                    </a:lnTo>
                    <a:lnTo>
                      <a:pt x="378" y="105"/>
                    </a:lnTo>
                    <a:lnTo>
                      <a:pt x="376" y="103"/>
                    </a:lnTo>
                    <a:lnTo>
                      <a:pt x="376" y="103"/>
                    </a:lnTo>
                    <a:lnTo>
                      <a:pt x="374" y="101"/>
                    </a:lnTo>
                    <a:lnTo>
                      <a:pt x="372" y="99"/>
                    </a:lnTo>
                    <a:lnTo>
                      <a:pt x="372" y="99"/>
                    </a:lnTo>
                    <a:lnTo>
                      <a:pt x="370" y="95"/>
                    </a:lnTo>
                    <a:lnTo>
                      <a:pt x="365" y="92"/>
                    </a:lnTo>
                    <a:lnTo>
                      <a:pt x="363" y="92"/>
                    </a:lnTo>
                    <a:lnTo>
                      <a:pt x="363" y="90"/>
                    </a:lnTo>
                    <a:lnTo>
                      <a:pt x="361" y="90"/>
                    </a:lnTo>
                    <a:lnTo>
                      <a:pt x="357" y="88"/>
                    </a:lnTo>
                    <a:lnTo>
                      <a:pt x="357" y="88"/>
                    </a:lnTo>
                    <a:lnTo>
                      <a:pt x="355" y="88"/>
                    </a:lnTo>
                    <a:lnTo>
                      <a:pt x="355" y="86"/>
                    </a:lnTo>
                    <a:lnTo>
                      <a:pt x="353" y="84"/>
                    </a:lnTo>
                    <a:lnTo>
                      <a:pt x="351" y="84"/>
                    </a:lnTo>
                    <a:lnTo>
                      <a:pt x="349" y="82"/>
                    </a:lnTo>
                    <a:lnTo>
                      <a:pt x="351" y="82"/>
                    </a:lnTo>
                    <a:lnTo>
                      <a:pt x="351" y="82"/>
                    </a:lnTo>
                    <a:lnTo>
                      <a:pt x="353" y="80"/>
                    </a:lnTo>
                    <a:lnTo>
                      <a:pt x="355" y="78"/>
                    </a:lnTo>
                    <a:lnTo>
                      <a:pt x="357" y="76"/>
                    </a:lnTo>
                    <a:lnTo>
                      <a:pt x="357" y="75"/>
                    </a:lnTo>
                    <a:lnTo>
                      <a:pt x="359" y="73"/>
                    </a:lnTo>
                    <a:lnTo>
                      <a:pt x="359" y="73"/>
                    </a:lnTo>
                    <a:lnTo>
                      <a:pt x="361" y="71"/>
                    </a:lnTo>
                    <a:lnTo>
                      <a:pt x="361" y="71"/>
                    </a:lnTo>
                    <a:lnTo>
                      <a:pt x="363" y="69"/>
                    </a:lnTo>
                    <a:lnTo>
                      <a:pt x="363" y="69"/>
                    </a:lnTo>
                    <a:lnTo>
                      <a:pt x="363" y="67"/>
                    </a:lnTo>
                    <a:lnTo>
                      <a:pt x="363" y="67"/>
                    </a:lnTo>
                    <a:lnTo>
                      <a:pt x="361" y="65"/>
                    </a:lnTo>
                    <a:lnTo>
                      <a:pt x="361" y="65"/>
                    </a:lnTo>
                    <a:lnTo>
                      <a:pt x="359" y="65"/>
                    </a:lnTo>
                    <a:lnTo>
                      <a:pt x="357" y="67"/>
                    </a:lnTo>
                    <a:lnTo>
                      <a:pt x="355" y="69"/>
                    </a:lnTo>
                    <a:lnTo>
                      <a:pt x="355" y="69"/>
                    </a:lnTo>
                    <a:lnTo>
                      <a:pt x="353" y="69"/>
                    </a:lnTo>
                    <a:lnTo>
                      <a:pt x="351" y="71"/>
                    </a:lnTo>
                    <a:lnTo>
                      <a:pt x="351" y="69"/>
                    </a:lnTo>
                    <a:lnTo>
                      <a:pt x="351" y="69"/>
                    </a:lnTo>
                    <a:lnTo>
                      <a:pt x="351" y="69"/>
                    </a:lnTo>
                    <a:lnTo>
                      <a:pt x="342" y="59"/>
                    </a:lnTo>
                    <a:lnTo>
                      <a:pt x="336" y="54"/>
                    </a:lnTo>
                    <a:lnTo>
                      <a:pt x="332" y="50"/>
                    </a:lnTo>
                    <a:lnTo>
                      <a:pt x="328" y="46"/>
                    </a:lnTo>
                    <a:lnTo>
                      <a:pt x="327" y="46"/>
                    </a:lnTo>
                    <a:lnTo>
                      <a:pt x="325" y="44"/>
                    </a:lnTo>
                    <a:lnTo>
                      <a:pt x="323" y="46"/>
                    </a:lnTo>
                    <a:lnTo>
                      <a:pt x="321" y="46"/>
                    </a:lnTo>
                    <a:lnTo>
                      <a:pt x="319" y="48"/>
                    </a:lnTo>
                    <a:lnTo>
                      <a:pt x="319" y="48"/>
                    </a:lnTo>
                    <a:lnTo>
                      <a:pt x="317" y="50"/>
                    </a:lnTo>
                    <a:lnTo>
                      <a:pt x="311" y="50"/>
                    </a:lnTo>
                    <a:lnTo>
                      <a:pt x="306" y="52"/>
                    </a:lnTo>
                    <a:lnTo>
                      <a:pt x="302" y="54"/>
                    </a:lnTo>
                    <a:lnTo>
                      <a:pt x="300" y="55"/>
                    </a:lnTo>
                    <a:lnTo>
                      <a:pt x="300" y="55"/>
                    </a:lnTo>
                    <a:lnTo>
                      <a:pt x="298" y="55"/>
                    </a:lnTo>
                    <a:lnTo>
                      <a:pt x="298" y="55"/>
                    </a:lnTo>
                    <a:lnTo>
                      <a:pt x="298" y="54"/>
                    </a:lnTo>
                    <a:lnTo>
                      <a:pt x="298" y="46"/>
                    </a:lnTo>
                    <a:lnTo>
                      <a:pt x="298" y="44"/>
                    </a:lnTo>
                    <a:lnTo>
                      <a:pt x="298" y="42"/>
                    </a:lnTo>
                    <a:lnTo>
                      <a:pt x="298" y="40"/>
                    </a:lnTo>
                    <a:lnTo>
                      <a:pt x="298" y="38"/>
                    </a:lnTo>
                    <a:lnTo>
                      <a:pt x="298" y="36"/>
                    </a:lnTo>
                    <a:lnTo>
                      <a:pt x="300" y="33"/>
                    </a:lnTo>
                    <a:lnTo>
                      <a:pt x="302" y="29"/>
                    </a:lnTo>
                    <a:lnTo>
                      <a:pt x="304" y="23"/>
                    </a:lnTo>
                    <a:lnTo>
                      <a:pt x="304" y="21"/>
                    </a:lnTo>
                    <a:lnTo>
                      <a:pt x="304" y="21"/>
                    </a:lnTo>
                    <a:lnTo>
                      <a:pt x="300" y="19"/>
                    </a:lnTo>
                    <a:lnTo>
                      <a:pt x="300" y="19"/>
                    </a:lnTo>
                    <a:lnTo>
                      <a:pt x="300" y="17"/>
                    </a:lnTo>
                    <a:lnTo>
                      <a:pt x="298" y="16"/>
                    </a:lnTo>
                    <a:lnTo>
                      <a:pt x="300" y="16"/>
                    </a:lnTo>
                    <a:lnTo>
                      <a:pt x="300" y="14"/>
                    </a:lnTo>
                    <a:lnTo>
                      <a:pt x="300" y="14"/>
                    </a:lnTo>
                    <a:lnTo>
                      <a:pt x="309" y="4"/>
                    </a:lnTo>
                    <a:lnTo>
                      <a:pt x="311" y="2"/>
                    </a:lnTo>
                    <a:lnTo>
                      <a:pt x="311" y="0"/>
                    </a:lnTo>
                    <a:lnTo>
                      <a:pt x="309" y="0"/>
                    </a:lnTo>
                    <a:lnTo>
                      <a:pt x="309" y="0"/>
                    </a:lnTo>
                    <a:lnTo>
                      <a:pt x="298" y="0"/>
                    </a:lnTo>
                    <a:lnTo>
                      <a:pt x="296" y="0"/>
                    </a:lnTo>
                    <a:lnTo>
                      <a:pt x="292" y="2"/>
                    </a:lnTo>
                    <a:lnTo>
                      <a:pt x="285" y="4"/>
                    </a:lnTo>
                    <a:lnTo>
                      <a:pt x="283" y="4"/>
                    </a:lnTo>
                    <a:lnTo>
                      <a:pt x="281" y="4"/>
                    </a:lnTo>
                    <a:lnTo>
                      <a:pt x="279" y="4"/>
                    </a:lnTo>
                    <a:lnTo>
                      <a:pt x="271" y="6"/>
                    </a:lnTo>
                    <a:lnTo>
                      <a:pt x="267" y="6"/>
                    </a:lnTo>
                    <a:lnTo>
                      <a:pt x="266" y="6"/>
                    </a:lnTo>
                    <a:lnTo>
                      <a:pt x="264" y="6"/>
                    </a:lnTo>
                    <a:lnTo>
                      <a:pt x="262" y="4"/>
                    </a:lnTo>
                    <a:lnTo>
                      <a:pt x="258" y="0"/>
                    </a:lnTo>
                    <a:lnTo>
                      <a:pt x="256" y="0"/>
                    </a:lnTo>
                    <a:lnTo>
                      <a:pt x="252" y="0"/>
                    </a:lnTo>
                    <a:lnTo>
                      <a:pt x="250" y="0"/>
                    </a:lnTo>
                    <a:lnTo>
                      <a:pt x="246" y="6"/>
                    </a:lnTo>
                    <a:lnTo>
                      <a:pt x="245" y="6"/>
                    </a:lnTo>
                    <a:lnTo>
                      <a:pt x="245" y="8"/>
                    </a:lnTo>
                    <a:lnTo>
                      <a:pt x="245" y="12"/>
                    </a:lnTo>
                    <a:lnTo>
                      <a:pt x="243" y="14"/>
                    </a:lnTo>
                    <a:lnTo>
                      <a:pt x="241" y="16"/>
                    </a:lnTo>
                    <a:lnTo>
                      <a:pt x="241" y="17"/>
                    </a:lnTo>
                    <a:lnTo>
                      <a:pt x="239" y="19"/>
                    </a:lnTo>
                    <a:lnTo>
                      <a:pt x="235" y="21"/>
                    </a:lnTo>
                    <a:lnTo>
                      <a:pt x="233" y="21"/>
                    </a:lnTo>
                    <a:lnTo>
                      <a:pt x="231" y="21"/>
                    </a:lnTo>
                    <a:lnTo>
                      <a:pt x="231" y="21"/>
                    </a:lnTo>
                    <a:lnTo>
                      <a:pt x="231" y="19"/>
                    </a:lnTo>
                    <a:lnTo>
                      <a:pt x="231" y="17"/>
                    </a:lnTo>
                    <a:lnTo>
                      <a:pt x="231" y="16"/>
                    </a:lnTo>
                    <a:lnTo>
                      <a:pt x="233" y="14"/>
                    </a:lnTo>
                    <a:lnTo>
                      <a:pt x="233" y="12"/>
                    </a:lnTo>
                    <a:lnTo>
                      <a:pt x="233" y="12"/>
                    </a:lnTo>
                    <a:lnTo>
                      <a:pt x="233" y="10"/>
                    </a:lnTo>
                    <a:lnTo>
                      <a:pt x="231" y="8"/>
                    </a:lnTo>
                    <a:lnTo>
                      <a:pt x="229" y="8"/>
                    </a:lnTo>
                    <a:lnTo>
                      <a:pt x="227" y="6"/>
                    </a:lnTo>
                    <a:lnTo>
                      <a:pt x="225" y="8"/>
                    </a:lnTo>
                    <a:lnTo>
                      <a:pt x="225" y="8"/>
                    </a:lnTo>
                    <a:lnTo>
                      <a:pt x="224" y="12"/>
                    </a:lnTo>
                    <a:lnTo>
                      <a:pt x="224" y="12"/>
                    </a:lnTo>
                    <a:lnTo>
                      <a:pt x="222" y="14"/>
                    </a:lnTo>
                    <a:lnTo>
                      <a:pt x="220" y="17"/>
                    </a:lnTo>
                    <a:lnTo>
                      <a:pt x="218" y="19"/>
                    </a:lnTo>
                    <a:lnTo>
                      <a:pt x="214" y="23"/>
                    </a:lnTo>
                    <a:lnTo>
                      <a:pt x="214" y="25"/>
                    </a:lnTo>
                    <a:lnTo>
                      <a:pt x="210" y="27"/>
                    </a:lnTo>
                    <a:lnTo>
                      <a:pt x="210" y="27"/>
                    </a:lnTo>
                    <a:lnTo>
                      <a:pt x="210" y="29"/>
                    </a:lnTo>
                    <a:lnTo>
                      <a:pt x="212" y="29"/>
                    </a:lnTo>
                    <a:lnTo>
                      <a:pt x="214" y="29"/>
                    </a:lnTo>
                    <a:lnTo>
                      <a:pt x="214" y="29"/>
                    </a:lnTo>
                    <a:lnTo>
                      <a:pt x="218" y="25"/>
                    </a:lnTo>
                    <a:lnTo>
                      <a:pt x="218" y="25"/>
                    </a:lnTo>
                    <a:lnTo>
                      <a:pt x="218" y="27"/>
                    </a:lnTo>
                    <a:lnTo>
                      <a:pt x="218" y="27"/>
                    </a:lnTo>
                    <a:lnTo>
                      <a:pt x="210" y="31"/>
                    </a:lnTo>
                    <a:lnTo>
                      <a:pt x="205" y="31"/>
                    </a:lnTo>
                    <a:lnTo>
                      <a:pt x="197" y="35"/>
                    </a:lnTo>
                    <a:lnTo>
                      <a:pt x="195" y="35"/>
                    </a:lnTo>
                    <a:lnTo>
                      <a:pt x="193" y="36"/>
                    </a:lnTo>
                    <a:lnTo>
                      <a:pt x="191" y="40"/>
                    </a:lnTo>
                    <a:lnTo>
                      <a:pt x="185" y="46"/>
                    </a:lnTo>
                    <a:lnTo>
                      <a:pt x="184" y="48"/>
                    </a:lnTo>
                    <a:lnTo>
                      <a:pt x="182" y="50"/>
                    </a:lnTo>
                    <a:lnTo>
                      <a:pt x="180" y="50"/>
                    </a:lnTo>
                    <a:lnTo>
                      <a:pt x="178" y="48"/>
                    </a:lnTo>
                    <a:lnTo>
                      <a:pt x="176" y="46"/>
                    </a:lnTo>
                    <a:lnTo>
                      <a:pt x="176" y="40"/>
                    </a:lnTo>
                    <a:lnTo>
                      <a:pt x="176" y="38"/>
                    </a:lnTo>
                    <a:lnTo>
                      <a:pt x="176" y="36"/>
                    </a:lnTo>
                    <a:lnTo>
                      <a:pt x="176" y="33"/>
                    </a:lnTo>
                    <a:lnTo>
                      <a:pt x="176" y="31"/>
                    </a:lnTo>
                    <a:lnTo>
                      <a:pt x="174" y="31"/>
                    </a:lnTo>
                    <a:lnTo>
                      <a:pt x="164" y="35"/>
                    </a:lnTo>
                    <a:lnTo>
                      <a:pt x="163" y="35"/>
                    </a:lnTo>
                    <a:lnTo>
                      <a:pt x="161" y="35"/>
                    </a:lnTo>
                    <a:lnTo>
                      <a:pt x="161" y="33"/>
                    </a:lnTo>
                    <a:lnTo>
                      <a:pt x="159" y="33"/>
                    </a:lnTo>
                    <a:lnTo>
                      <a:pt x="159" y="33"/>
                    </a:lnTo>
                    <a:lnTo>
                      <a:pt x="157" y="35"/>
                    </a:lnTo>
                    <a:lnTo>
                      <a:pt x="155" y="35"/>
                    </a:lnTo>
                    <a:lnTo>
                      <a:pt x="155" y="35"/>
                    </a:lnTo>
                    <a:lnTo>
                      <a:pt x="155" y="33"/>
                    </a:lnTo>
                    <a:lnTo>
                      <a:pt x="155" y="29"/>
                    </a:lnTo>
                    <a:lnTo>
                      <a:pt x="155" y="27"/>
                    </a:lnTo>
                    <a:lnTo>
                      <a:pt x="155" y="25"/>
                    </a:lnTo>
                    <a:lnTo>
                      <a:pt x="155" y="25"/>
                    </a:lnTo>
                    <a:lnTo>
                      <a:pt x="153" y="23"/>
                    </a:lnTo>
                    <a:lnTo>
                      <a:pt x="153" y="23"/>
                    </a:lnTo>
                    <a:lnTo>
                      <a:pt x="151" y="23"/>
                    </a:lnTo>
                    <a:lnTo>
                      <a:pt x="149" y="23"/>
                    </a:lnTo>
                    <a:lnTo>
                      <a:pt x="149" y="21"/>
                    </a:lnTo>
                    <a:lnTo>
                      <a:pt x="149" y="19"/>
                    </a:lnTo>
                    <a:lnTo>
                      <a:pt x="147" y="19"/>
                    </a:lnTo>
                    <a:lnTo>
                      <a:pt x="142" y="19"/>
                    </a:lnTo>
                    <a:lnTo>
                      <a:pt x="140" y="19"/>
                    </a:lnTo>
                    <a:lnTo>
                      <a:pt x="136" y="19"/>
                    </a:lnTo>
                    <a:lnTo>
                      <a:pt x="130" y="19"/>
                    </a:lnTo>
                    <a:lnTo>
                      <a:pt x="128" y="19"/>
                    </a:lnTo>
                    <a:lnTo>
                      <a:pt x="124" y="21"/>
                    </a:lnTo>
                    <a:lnTo>
                      <a:pt x="124" y="23"/>
                    </a:lnTo>
                    <a:lnTo>
                      <a:pt x="123" y="21"/>
                    </a:lnTo>
                    <a:lnTo>
                      <a:pt x="123" y="21"/>
                    </a:lnTo>
                    <a:lnTo>
                      <a:pt x="123" y="17"/>
                    </a:lnTo>
                    <a:lnTo>
                      <a:pt x="123" y="17"/>
                    </a:lnTo>
                    <a:lnTo>
                      <a:pt x="123" y="17"/>
                    </a:lnTo>
                    <a:lnTo>
                      <a:pt x="121" y="17"/>
                    </a:lnTo>
                    <a:lnTo>
                      <a:pt x="113" y="19"/>
                    </a:lnTo>
                    <a:lnTo>
                      <a:pt x="109" y="19"/>
                    </a:lnTo>
                    <a:lnTo>
                      <a:pt x="107" y="21"/>
                    </a:lnTo>
                    <a:lnTo>
                      <a:pt x="105" y="21"/>
                    </a:lnTo>
                    <a:lnTo>
                      <a:pt x="105" y="21"/>
                    </a:lnTo>
                    <a:lnTo>
                      <a:pt x="105" y="19"/>
                    </a:lnTo>
                    <a:lnTo>
                      <a:pt x="105" y="17"/>
                    </a:lnTo>
                    <a:lnTo>
                      <a:pt x="105" y="17"/>
                    </a:lnTo>
                    <a:lnTo>
                      <a:pt x="103" y="16"/>
                    </a:lnTo>
                    <a:lnTo>
                      <a:pt x="103" y="16"/>
                    </a:lnTo>
                    <a:lnTo>
                      <a:pt x="102" y="17"/>
                    </a:lnTo>
                    <a:lnTo>
                      <a:pt x="102" y="19"/>
                    </a:lnTo>
                    <a:lnTo>
                      <a:pt x="100" y="19"/>
                    </a:lnTo>
                    <a:lnTo>
                      <a:pt x="100" y="21"/>
                    </a:lnTo>
                    <a:lnTo>
                      <a:pt x="94" y="25"/>
                    </a:lnTo>
                    <a:lnTo>
                      <a:pt x="94" y="25"/>
                    </a:lnTo>
                    <a:lnTo>
                      <a:pt x="92" y="25"/>
                    </a:lnTo>
                    <a:lnTo>
                      <a:pt x="92" y="23"/>
                    </a:lnTo>
                    <a:lnTo>
                      <a:pt x="94" y="23"/>
                    </a:lnTo>
                    <a:lnTo>
                      <a:pt x="94" y="21"/>
                    </a:lnTo>
                    <a:lnTo>
                      <a:pt x="96" y="19"/>
                    </a:lnTo>
                    <a:lnTo>
                      <a:pt x="96" y="17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0" y="12"/>
                    </a:lnTo>
                    <a:lnTo>
                      <a:pt x="88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4" y="10"/>
                    </a:lnTo>
                    <a:lnTo>
                      <a:pt x="82" y="10"/>
                    </a:lnTo>
                    <a:lnTo>
                      <a:pt x="77" y="10"/>
                    </a:lnTo>
                    <a:lnTo>
                      <a:pt x="75" y="10"/>
                    </a:lnTo>
                    <a:lnTo>
                      <a:pt x="73" y="10"/>
                    </a:lnTo>
                    <a:lnTo>
                      <a:pt x="71" y="12"/>
                    </a:lnTo>
                    <a:lnTo>
                      <a:pt x="69" y="14"/>
                    </a:lnTo>
                    <a:lnTo>
                      <a:pt x="67" y="14"/>
                    </a:lnTo>
                    <a:lnTo>
                      <a:pt x="67" y="14"/>
                    </a:lnTo>
                    <a:lnTo>
                      <a:pt x="63" y="16"/>
                    </a:lnTo>
                    <a:lnTo>
                      <a:pt x="61" y="16"/>
                    </a:lnTo>
                    <a:lnTo>
                      <a:pt x="54" y="16"/>
                    </a:lnTo>
                    <a:lnTo>
                      <a:pt x="42" y="17"/>
                    </a:lnTo>
                    <a:lnTo>
                      <a:pt x="41" y="19"/>
                    </a:lnTo>
                    <a:lnTo>
                      <a:pt x="41" y="19"/>
                    </a:lnTo>
                    <a:lnTo>
                      <a:pt x="37" y="23"/>
                    </a:lnTo>
                    <a:lnTo>
                      <a:pt x="33" y="25"/>
                    </a:lnTo>
                    <a:lnTo>
                      <a:pt x="31" y="27"/>
                    </a:lnTo>
                    <a:lnTo>
                      <a:pt x="31" y="29"/>
                    </a:lnTo>
                    <a:lnTo>
                      <a:pt x="29" y="31"/>
                    </a:lnTo>
                    <a:lnTo>
                      <a:pt x="29" y="33"/>
                    </a:lnTo>
                    <a:lnTo>
                      <a:pt x="25" y="36"/>
                    </a:lnTo>
                    <a:lnTo>
                      <a:pt x="23" y="38"/>
                    </a:lnTo>
                    <a:lnTo>
                      <a:pt x="23" y="40"/>
                    </a:lnTo>
                    <a:lnTo>
                      <a:pt x="23" y="42"/>
                    </a:lnTo>
                    <a:lnTo>
                      <a:pt x="23" y="44"/>
                    </a:lnTo>
                    <a:lnTo>
                      <a:pt x="21" y="44"/>
                    </a:lnTo>
                    <a:lnTo>
                      <a:pt x="21" y="46"/>
                    </a:lnTo>
                    <a:lnTo>
                      <a:pt x="20" y="48"/>
                    </a:lnTo>
                    <a:lnTo>
                      <a:pt x="20" y="50"/>
                    </a:lnTo>
                    <a:lnTo>
                      <a:pt x="20" y="52"/>
                    </a:lnTo>
                    <a:lnTo>
                      <a:pt x="20" y="54"/>
                    </a:lnTo>
                    <a:lnTo>
                      <a:pt x="20" y="55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1" y="61"/>
                    </a:lnTo>
                    <a:lnTo>
                      <a:pt x="21" y="63"/>
                    </a:lnTo>
                    <a:lnTo>
                      <a:pt x="25" y="65"/>
                    </a:lnTo>
                    <a:lnTo>
                      <a:pt x="25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5" y="71"/>
                    </a:lnTo>
                    <a:lnTo>
                      <a:pt x="25" y="71"/>
                    </a:lnTo>
                    <a:lnTo>
                      <a:pt x="23" y="73"/>
                    </a:lnTo>
                    <a:lnTo>
                      <a:pt x="21" y="73"/>
                    </a:lnTo>
                    <a:lnTo>
                      <a:pt x="20" y="73"/>
                    </a:lnTo>
                    <a:lnTo>
                      <a:pt x="16" y="73"/>
                    </a:lnTo>
                    <a:lnTo>
                      <a:pt x="14" y="75"/>
                    </a:lnTo>
                    <a:lnTo>
                      <a:pt x="14" y="76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2" y="84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0" y="88"/>
                    </a:lnTo>
                    <a:lnTo>
                      <a:pt x="6" y="88"/>
                    </a:lnTo>
                    <a:lnTo>
                      <a:pt x="2" y="90"/>
                    </a:lnTo>
                    <a:lnTo>
                      <a:pt x="0" y="94"/>
                    </a:lnTo>
                    <a:lnTo>
                      <a:pt x="0" y="95"/>
                    </a:lnTo>
                    <a:lnTo>
                      <a:pt x="0" y="99"/>
                    </a:lnTo>
                    <a:lnTo>
                      <a:pt x="0" y="103"/>
                    </a:lnTo>
                    <a:lnTo>
                      <a:pt x="2" y="109"/>
                    </a:lnTo>
                    <a:lnTo>
                      <a:pt x="4" y="111"/>
                    </a:lnTo>
                    <a:lnTo>
                      <a:pt x="6" y="111"/>
                    </a:lnTo>
                    <a:lnTo>
                      <a:pt x="10" y="111"/>
                    </a:lnTo>
                    <a:lnTo>
                      <a:pt x="14" y="109"/>
                    </a:lnTo>
                    <a:lnTo>
                      <a:pt x="42" y="122"/>
                    </a:lnTo>
                    <a:lnTo>
                      <a:pt x="61" y="126"/>
                    </a:lnTo>
                    <a:lnTo>
                      <a:pt x="71" y="130"/>
                    </a:lnTo>
                    <a:lnTo>
                      <a:pt x="77" y="130"/>
                    </a:lnTo>
                    <a:lnTo>
                      <a:pt x="88" y="128"/>
                    </a:lnTo>
                    <a:lnTo>
                      <a:pt x="100" y="128"/>
                    </a:lnTo>
                    <a:lnTo>
                      <a:pt x="103" y="128"/>
                    </a:lnTo>
                    <a:lnTo>
                      <a:pt x="105" y="128"/>
                    </a:lnTo>
                    <a:lnTo>
                      <a:pt x="107" y="128"/>
                    </a:lnTo>
                    <a:lnTo>
                      <a:pt x="111" y="128"/>
                    </a:lnTo>
                    <a:lnTo>
                      <a:pt x="115" y="130"/>
                    </a:lnTo>
                    <a:lnTo>
                      <a:pt x="117" y="130"/>
                    </a:lnTo>
                    <a:lnTo>
                      <a:pt x="117" y="130"/>
                    </a:lnTo>
                    <a:lnTo>
                      <a:pt x="119" y="128"/>
                    </a:lnTo>
                    <a:lnTo>
                      <a:pt x="119" y="128"/>
                    </a:lnTo>
                    <a:lnTo>
                      <a:pt x="121" y="128"/>
                    </a:lnTo>
                    <a:lnTo>
                      <a:pt x="123" y="128"/>
                    </a:lnTo>
                    <a:lnTo>
                      <a:pt x="124" y="130"/>
                    </a:lnTo>
                    <a:lnTo>
                      <a:pt x="126" y="130"/>
                    </a:lnTo>
                    <a:lnTo>
                      <a:pt x="130" y="132"/>
                    </a:lnTo>
                    <a:lnTo>
                      <a:pt x="143" y="130"/>
                    </a:lnTo>
                    <a:lnTo>
                      <a:pt x="145" y="130"/>
                    </a:lnTo>
                    <a:lnTo>
                      <a:pt x="149" y="128"/>
                    </a:lnTo>
                    <a:lnTo>
                      <a:pt x="168" y="124"/>
                    </a:lnTo>
                    <a:lnTo>
                      <a:pt x="176" y="124"/>
                    </a:lnTo>
                    <a:lnTo>
                      <a:pt x="178" y="124"/>
                    </a:lnTo>
                    <a:lnTo>
                      <a:pt x="180" y="122"/>
                    </a:lnTo>
                    <a:lnTo>
                      <a:pt x="182" y="122"/>
                    </a:lnTo>
                    <a:lnTo>
                      <a:pt x="187" y="126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2" y="132"/>
                    </a:lnTo>
                    <a:lnTo>
                      <a:pt x="214" y="132"/>
                    </a:lnTo>
                    <a:lnTo>
                      <a:pt x="216" y="132"/>
                    </a:lnTo>
                    <a:lnTo>
                      <a:pt x="218" y="130"/>
                    </a:lnTo>
                    <a:lnTo>
                      <a:pt x="220" y="130"/>
                    </a:lnTo>
                    <a:lnTo>
                      <a:pt x="220" y="128"/>
                    </a:lnTo>
                    <a:lnTo>
                      <a:pt x="222" y="128"/>
                    </a:lnTo>
                    <a:lnTo>
                      <a:pt x="224" y="130"/>
                    </a:lnTo>
                    <a:lnTo>
                      <a:pt x="224" y="132"/>
                    </a:lnTo>
                    <a:lnTo>
                      <a:pt x="225" y="134"/>
                    </a:lnTo>
                    <a:lnTo>
                      <a:pt x="229" y="134"/>
                    </a:lnTo>
                    <a:lnTo>
                      <a:pt x="231" y="134"/>
                    </a:lnTo>
                    <a:lnTo>
                      <a:pt x="235" y="134"/>
                    </a:lnTo>
                    <a:lnTo>
                      <a:pt x="235" y="132"/>
                    </a:lnTo>
                    <a:lnTo>
                      <a:pt x="237" y="130"/>
                    </a:lnTo>
                    <a:lnTo>
                      <a:pt x="239" y="130"/>
                    </a:lnTo>
                    <a:lnTo>
                      <a:pt x="239" y="130"/>
                    </a:lnTo>
                    <a:lnTo>
                      <a:pt x="241" y="130"/>
                    </a:lnTo>
                    <a:lnTo>
                      <a:pt x="241" y="130"/>
                    </a:lnTo>
                    <a:lnTo>
                      <a:pt x="243" y="128"/>
                    </a:lnTo>
                    <a:lnTo>
                      <a:pt x="243" y="128"/>
                    </a:lnTo>
                    <a:lnTo>
                      <a:pt x="245" y="128"/>
                    </a:lnTo>
                    <a:lnTo>
                      <a:pt x="250" y="128"/>
                    </a:lnTo>
                    <a:lnTo>
                      <a:pt x="264" y="126"/>
                    </a:lnTo>
                    <a:lnTo>
                      <a:pt x="271" y="128"/>
                    </a:lnTo>
                    <a:lnTo>
                      <a:pt x="273" y="126"/>
                    </a:lnTo>
                    <a:lnTo>
                      <a:pt x="277" y="126"/>
                    </a:lnTo>
                    <a:lnTo>
                      <a:pt x="281" y="126"/>
                    </a:lnTo>
                    <a:lnTo>
                      <a:pt x="285" y="126"/>
                    </a:lnTo>
                    <a:lnTo>
                      <a:pt x="288" y="128"/>
                    </a:lnTo>
                    <a:lnTo>
                      <a:pt x="290" y="128"/>
                    </a:lnTo>
                    <a:lnTo>
                      <a:pt x="290" y="130"/>
                    </a:lnTo>
                    <a:lnTo>
                      <a:pt x="292" y="132"/>
                    </a:lnTo>
                    <a:lnTo>
                      <a:pt x="292" y="132"/>
                    </a:lnTo>
                    <a:lnTo>
                      <a:pt x="294" y="132"/>
                    </a:lnTo>
                    <a:lnTo>
                      <a:pt x="296" y="132"/>
                    </a:lnTo>
                    <a:lnTo>
                      <a:pt x="296" y="134"/>
                    </a:lnTo>
                    <a:lnTo>
                      <a:pt x="298" y="132"/>
                    </a:lnTo>
                    <a:lnTo>
                      <a:pt x="298" y="132"/>
                    </a:lnTo>
                    <a:lnTo>
                      <a:pt x="300" y="134"/>
                    </a:lnTo>
                    <a:lnTo>
                      <a:pt x="302" y="135"/>
                    </a:lnTo>
                    <a:lnTo>
                      <a:pt x="304" y="137"/>
                    </a:lnTo>
                    <a:lnTo>
                      <a:pt x="304" y="137"/>
                    </a:lnTo>
                    <a:lnTo>
                      <a:pt x="306" y="139"/>
                    </a:lnTo>
                    <a:lnTo>
                      <a:pt x="309" y="139"/>
                    </a:lnTo>
                    <a:lnTo>
                      <a:pt x="315" y="141"/>
                    </a:lnTo>
                    <a:lnTo>
                      <a:pt x="317" y="141"/>
                    </a:lnTo>
                    <a:lnTo>
                      <a:pt x="319" y="145"/>
                    </a:lnTo>
                    <a:lnTo>
                      <a:pt x="321" y="145"/>
                    </a:lnTo>
                    <a:lnTo>
                      <a:pt x="325" y="147"/>
                    </a:lnTo>
                    <a:lnTo>
                      <a:pt x="325" y="151"/>
                    </a:lnTo>
                    <a:lnTo>
                      <a:pt x="328" y="147"/>
                    </a:lnTo>
                    <a:lnTo>
                      <a:pt x="334" y="141"/>
                    </a:lnTo>
                    <a:lnTo>
                      <a:pt x="338" y="137"/>
                    </a:lnTo>
                    <a:lnTo>
                      <a:pt x="342" y="135"/>
                    </a:lnTo>
                    <a:lnTo>
                      <a:pt x="342" y="134"/>
                    </a:lnTo>
                    <a:lnTo>
                      <a:pt x="344" y="134"/>
                    </a:lnTo>
                    <a:lnTo>
                      <a:pt x="346" y="134"/>
                    </a:lnTo>
                    <a:lnTo>
                      <a:pt x="348" y="134"/>
                    </a:lnTo>
                    <a:lnTo>
                      <a:pt x="348" y="132"/>
                    </a:lnTo>
                    <a:lnTo>
                      <a:pt x="348" y="132"/>
                    </a:lnTo>
                    <a:lnTo>
                      <a:pt x="348" y="130"/>
                    </a:lnTo>
                    <a:lnTo>
                      <a:pt x="348" y="130"/>
                    </a:lnTo>
                    <a:lnTo>
                      <a:pt x="351" y="130"/>
                    </a:lnTo>
                    <a:lnTo>
                      <a:pt x="353" y="130"/>
                    </a:lnTo>
                    <a:lnTo>
                      <a:pt x="357" y="130"/>
                    </a:lnTo>
                    <a:lnTo>
                      <a:pt x="359" y="130"/>
                    </a:lnTo>
                    <a:lnTo>
                      <a:pt x="363" y="124"/>
                    </a:lnTo>
                    <a:lnTo>
                      <a:pt x="378" y="118"/>
                    </a:lnTo>
                    <a:lnTo>
                      <a:pt x="378" y="118"/>
                    </a:lnTo>
                    <a:lnTo>
                      <a:pt x="378" y="118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7" name="Freeform 19">
                <a:extLst>
                  <a:ext uri="{FF2B5EF4-FFF2-40B4-BE49-F238E27FC236}">
                    <a16:creationId xmlns:a16="http://schemas.microsoft.com/office/drawing/2014/main" id="{F6D7CA8E-A518-4BFD-835C-0B01F1B304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144" y="4094636"/>
                <a:ext cx="347663" cy="404813"/>
              </a:xfrm>
              <a:custGeom>
                <a:avLst/>
                <a:gdLst>
                  <a:gd name="T0" fmla="*/ 198 w 219"/>
                  <a:gd name="T1" fmla="*/ 67 h 255"/>
                  <a:gd name="T2" fmla="*/ 206 w 219"/>
                  <a:gd name="T3" fmla="*/ 33 h 255"/>
                  <a:gd name="T4" fmla="*/ 198 w 219"/>
                  <a:gd name="T5" fmla="*/ 16 h 255"/>
                  <a:gd name="T6" fmla="*/ 200 w 219"/>
                  <a:gd name="T7" fmla="*/ 0 h 255"/>
                  <a:gd name="T8" fmla="*/ 181 w 219"/>
                  <a:gd name="T9" fmla="*/ 16 h 255"/>
                  <a:gd name="T10" fmla="*/ 154 w 219"/>
                  <a:gd name="T11" fmla="*/ 27 h 255"/>
                  <a:gd name="T12" fmla="*/ 151 w 219"/>
                  <a:gd name="T13" fmla="*/ 25 h 255"/>
                  <a:gd name="T14" fmla="*/ 139 w 219"/>
                  <a:gd name="T15" fmla="*/ 23 h 255"/>
                  <a:gd name="T16" fmla="*/ 126 w 219"/>
                  <a:gd name="T17" fmla="*/ 20 h 255"/>
                  <a:gd name="T18" fmla="*/ 99 w 219"/>
                  <a:gd name="T19" fmla="*/ 23 h 255"/>
                  <a:gd name="T20" fmla="*/ 99 w 219"/>
                  <a:gd name="T21" fmla="*/ 27 h 255"/>
                  <a:gd name="T22" fmla="*/ 105 w 219"/>
                  <a:gd name="T23" fmla="*/ 33 h 255"/>
                  <a:gd name="T24" fmla="*/ 88 w 219"/>
                  <a:gd name="T25" fmla="*/ 52 h 255"/>
                  <a:gd name="T26" fmla="*/ 76 w 219"/>
                  <a:gd name="T27" fmla="*/ 67 h 255"/>
                  <a:gd name="T28" fmla="*/ 69 w 219"/>
                  <a:gd name="T29" fmla="*/ 59 h 255"/>
                  <a:gd name="T30" fmla="*/ 63 w 219"/>
                  <a:gd name="T31" fmla="*/ 58 h 255"/>
                  <a:gd name="T32" fmla="*/ 59 w 219"/>
                  <a:gd name="T33" fmla="*/ 54 h 255"/>
                  <a:gd name="T34" fmla="*/ 46 w 219"/>
                  <a:gd name="T35" fmla="*/ 80 h 255"/>
                  <a:gd name="T36" fmla="*/ 40 w 219"/>
                  <a:gd name="T37" fmla="*/ 88 h 255"/>
                  <a:gd name="T38" fmla="*/ 36 w 219"/>
                  <a:gd name="T39" fmla="*/ 94 h 255"/>
                  <a:gd name="T40" fmla="*/ 34 w 219"/>
                  <a:gd name="T41" fmla="*/ 101 h 255"/>
                  <a:gd name="T42" fmla="*/ 34 w 219"/>
                  <a:gd name="T43" fmla="*/ 105 h 255"/>
                  <a:gd name="T44" fmla="*/ 29 w 219"/>
                  <a:gd name="T45" fmla="*/ 120 h 255"/>
                  <a:gd name="T46" fmla="*/ 23 w 219"/>
                  <a:gd name="T47" fmla="*/ 120 h 255"/>
                  <a:gd name="T48" fmla="*/ 19 w 219"/>
                  <a:gd name="T49" fmla="*/ 122 h 255"/>
                  <a:gd name="T50" fmla="*/ 15 w 219"/>
                  <a:gd name="T51" fmla="*/ 136 h 255"/>
                  <a:gd name="T52" fmla="*/ 15 w 219"/>
                  <a:gd name="T53" fmla="*/ 143 h 255"/>
                  <a:gd name="T54" fmla="*/ 11 w 219"/>
                  <a:gd name="T55" fmla="*/ 157 h 255"/>
                  <a:gd name="T56" fmla="*/ 6 w 219"/>
                  <a:gd name="T57" fmla="*/ 179 h 255"/>
                  <a:gd name="T58" fmla="*/ 8 w 219"/>
                  <a:gd name="T59" fmla="*/ 193 h 255"/>
                  <a:gd name="T60" fmla="*/ 4 w 219"/>
                  <a:gd name="T61" fmla="*/ 204 h 255"/>
                  <a:gd name="T62" fmla="*/ 4 w 219"/>
                  <a:gd name="T63" fmla="*/ 215 h 255"/>
                  <a:gd name="T64" fmla="*/ 0 w 219"/>
                  <a:gd name="T65" fmla="*/ 219 h 255"/>
                  <a:gd name="T66" fmla="*/ 15 w 219"/>
                  <a:gd name="T67" fmla="*/ 227 h 255"/>
                  <a:gd name="T68" fmla="*/ 23 w 219"/>
                  <a:gd name="T69" fmla="*/ 225 h 255"/>
                  <a:gd name="T70" fmla="*/ 25 w 219"/>
                  <a:gd name="T71" fmla="*/ 227 h 255"/>
                  <a:gd name="T72" fmla="*/ 31 w 219"/>
                  <a:gd name="T73" fmla="*/ 225 h 255"/>
                  <a:gd name="T74" fmla="*/ 34 w 219"/>
                  <a:gd name="T75" fmla="*/ 227 h 255"/>
                  <a:gd name="T76" fmla="*/ 40 w 219"/>
                  <a:gd name="T77" fmla="*/ 229 h 255"/>
                  <a:gd name="T78" fmla="*/ 48 w 219"/>
                  <a:gd name="T79" fmla="*/ 221 h 255"/>
                  <a:gd name="T80" fmla="*/ 59 w 219"/>
                  <a:gd name="T81" fmla="*/ 238 h 255"/>
                  <a:gd name="T82" fmla="*/ 72 w 219"/>
                  <a:gd name="T83" fmla="*/ 236 h 255"/>
                  <a:gd name="T84" fmla="*/ 76 w 219"/>
                  <a:gd name="T85" fmla="*/ 235 h 255"/>
                  <a:gd name="T86" fmla="*/ 101 w 219"/>
                  <a:gd name="T87" fmla="*/ 240 h 255"/>
                  <a:gd name="T88" fmla="*/ 128 w 219"/>
                  <a:gd name="T89" fmla="*/ 244 h 255"/>
                  <a:gd name="T90" fmla="*/ 145 w 219"/>
                  <a:gd name="T91" fmla="*/ 254 h 255"/>
                  <a:gd name="T92" fmla="*/ 153 w 219"/>
                  <a:gd name="T93" fmla="*/ 235 h 255"/>
                  <a:gd name="T94" fmla="*/ 156 w 219"/>
                  <a:gd name="T95" fmla="*/ 215 h 255"/>
                  <a:gd name="T96" fmla="*/ 168 w 219"/>
                  <a:gd name="T97" fmla="*/ 187 h 255"/>
                  <a:gd name="T98" fmla="*/ 172 w 219"/>
                  <a:gd name="T99" fmla="*/ 177 h 255"/>
                  <a:gd name="T100" fmla="*/ 179 w 219"/>
                  <a:gd name="T101" fmla="*/ 166 h 255"/>
                  <a:gd name="T102" fmla="*/ 193 w 219"/>
                  <a:gd name="T103" fmla="*/ 139 h 255"/>
                  <a:gd name="T104" fmla="*/ 202 w 219"/>
                  <a:gd name="T105" fmla="*/ 134 h 255"/>
                  <a:gd name="T106" fmla="*/ 212 w 219"/>
                  <a:gd name="T107" fmla="*/ 111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19" h="255">
                    <a:moveTo>
                      <a:pt x="217" y="80"/>
                    </a:moveTo>
                    <a:lnTo>
                      <a:pt x="216" y="77"/>
                    </a:lnTo>
                    <a:lnTo>
                      <a:pt x="212" y="75"/>
                    </a:lnTo>
                    <a:lnTo>
                      <a:pt x="206" y="73"/>
                    </a:lnTo>
                    <a:lnTo>
                      <a:pt x="202" y="71"/>
                    </a:lnTo>
                    <a:lnTo>
                      <a:pt x="198" y="67"/>
                    </a:lnTo>
                    <a:lnTo>
                      <a:pt x="198" y="61"/>
                    </a:lnTo>
                    <a:lnTo>
                      <a:pt x="206" y="40"/>
                    </a:lnTo>
                    <a:lnTo>
                      <a:pt x="208" y="37"/>
                    </a:lnTo>
                    <a:lnTo>
                      <a:pt x="210" y="35"/>
                    </a:lnTo>
                    <a:lnTo>
                      <a:pt x="210" y="35"/>
                    </a:lnTo>
                    <a:lnTo>
                      <a:pt x="206" y="33"/>
                    </a:lnTo>
                    <a:lnTo>
                      <a:pt x="204" y="31"/>
                    </a:lnTo>
                    <a:lnTo>
                      <a:pt x="198" y="27"/>
                    </a:lnTo>
                    <a:lnTo>
                      <a:pt x="196" y="25"/>
                    </a:lnTo>
                    <a:lnTo>
                      <a:pt x="196" y="25"/>
                    </a:lnTo>
                    <a:lnTo>
                      <a:pt x="196" y="23"/>
                    </a:lnTo>
                    <a:lnTo>
                      <a:pt x="198" y="16"/>
                    </a:lnTo>
                    <a:lnTo>
                      <a:pt x="200" y="14"/>
                    </a:lnTo>
                    <a:lnTo>
                      <a:pt x="200" y="10"/>
                    </a:lnTo>
                    <a:lnTo>
                      <a:pt x="200" y="4"/>
                    </a:lnTo>
                    <a:lnTo>
                      <a:pt x="200" y="2"/>
                    </a:lnTo>
                    <a:lnTo>
                      <a:pt x="200" y="2"/>
                    </a:lnTo>
                    <a:lnTo>
                      <a:pt x="200" y="0"/>
                    </a:lnTo>
                    <a:lnTo>
                      <a:pt x="200" y="0"/>
                    </a:lnTo>
                    <a:lnTo>
                      <a:pt x="200" y="0"/>
                    </a:lnTo>
                    <a:lnTo>
                      <a:pt x="191" y="10"/>
                    </a:lnTo>
                    <a:lnTo>
                      <a:pt x="189" y="10"/>
                    </a:lnTo>
                    <a:lnTo>
                      <a:pt x="183" y="14"/>
                    </a:lnTo>
                    <a:lnTo>
                      <a:pt x="181" y="16"/>
                    </a:lnTo>
                    <a:lnTo>
                      <a:pt x="179" y="20"/>
                    </a:lnTo>
                    <a:lnTo>
                      <a:pt x="177" y="21"/>
                    </a:lnTo>
                    <a:lnTo>
                      <a:pt x="175" y="23"/>
                    </a:lnTo>
                    <a:lnTo>
                      <a:pt x="170" y="25"/>
                    </a:lnTo>
                    <a:lnTo>
                      <a:pt x="160" y="27"/>
                    </a:lnTo>
                    <a:lnTo>
                      <a:pt x="154" y="27"/>
                    </a:lnTo>
                    <a:lnTo>
                      <a:pt x="153" y="27"/>
                    </a:lnTo>
                    <a:lnTo>
                      <a:pt x="153" y="27"/>
                    </a:lnTo>
                    <a:lnTo>
                      <a:pt x="153" y="27"/>
                    </a:lnTo>
                    <a:lnTo>
                      <a:pt x="153" y="27"/>
                    </a:lnTo>
                    <a:lnTo>
                      <a:pt x="151" y="25"/>
                    </a:lnTo>
                    <a:lnTo>
                      <a:pt x="151" y="25"/>
                    </a:lnTo>
                    <a:lnTo>
                      <a:pt x="149" y="23"/>
                    </a:lnTo>
                    <a:lnTo>
                      <a:pt x="149" y="23"/>
                    </a:lnTo>
                    <a:lnTo>
                      <a:pt x="145" y="23"/>
                    </a:lnTo>
                    <a:lnTo>
                      <a:pt x="143" y="25"/>
                    </a:lnTo>
                    <a:lnTo>
                      <a:pt x="141" y="23"/>
                    </a:lnTo>
                    <a:lnTo>
                      <a:pt x="139" y="23"/>
                    </a:lnTo>
                    <a:lnTo>
                      <a:pt x="137" y="23"/>
                    </a:lnTo>
                    <a:lnTo>
                      <a:pt x="135" y="21"/>
                    </a:lnTo>
                    <a:lnTo>
                      <a:pt x="134" y="20"/>
                    </a:lnTo>
                    <a:lnTo>
                      <a:pt x="132" y="20"/>
                    </a:lnTo>
                    <a:lnTo>
                      <a:pt x="128" y="20"/>
                    </a:lnTo>
                    <a:lnTo>
                      <a:pt x="126" y="20"/>
                    </a:lnTo>
                    <a:lnTo>
                      <a:pt x="120" y="20"/>
                    </a:lnTo>
                    <a:lnTo>
                      <a:pt x="105" y="20"/>
                    </a:lnTo>
                    <a:lnTo>
                      <a:pt x="101" y="21"/>
                    </a:lnTo>
                    <a:lnTo>
                      <a:pt x="99" y="21"/>
                    </a:lnTo>
                    <a:lnTo>
                      <a:pt x="99" y="23"/>
                    </a:lnTo>
                    <a:lnTo>
                      <a:pt x="99" y="23"/>
                    </a:lnTo>
                    <a:lnTo>
                      <a:pt x="99" y="25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103" y="27"/>
                    </a:lnTo>
                    <a:lnTo>
                      <a:pt x="105" y="29"/>
                    </a:lnTo>
                    <a:lnTo>
                      <a:pt x="105" y="29"/>
                    </a:lnTo>
                    <a:lnTo>
                      <a:pt x="105" y="31"/>
                    </a:lnTo>
                    <a:lnTo>
                      <a:pt x="105" y="31"/>
                    </a:lnTo>
                    <a:lnTo>
                      <a:pt x="105" y="33"/>
                    </a:lnTo>
                    <a:lnTo>
                      <a:pt x="105" y="35"/>
                    </a:lnTo>
                    <a:lnTo>
                      <a:pt x="93" y="46"/>
                    </a:lnTo>
                    <a:lnTo>
                      <a:pt x="92" y="48"/>
                    </a:lnTo>
                    <a:lnTo>
                      <a:pt x="88" y="50"/>
                    </a:lnTo>
                    <a:lnTo>
                      <a:pt x="90" y="50"/>
                    </a:lnTo>
                    <a:lnTo>
                      <a:pt x="88" y="52"/>
                    </a:lnTo>
                    <a:lnTo>
                      <a:pt x="86" y="59"/>
                    </a:lnTo>
                    <a:lnTo>
                      <a:pt x="80" y="65"/>
                    </a:lnTo>
                    <a:lnTo>
                      <a:pt x="80" y="67"/>
                    </a:lnTo>
                    <a:lnTo>
                      <a:pt x="80" y="67"/>
                    </a:lnTo>
                    <a:lnTo>
                      <a:pt x="78" y="67"/>
                    </a:lnTo>
                    <a:lnTo>
                      <a:pt x="76" y="67"/>
                    </a:lnTo>
                    <a:lnTo>
                      <a:pt x="76" y="63"/>
                    </a:lnTo>
                    <a:lnTo>
                      <a:pt x="74" y="61"/>
                    </a:lnTo>
                    <a:lnTo>
                      <a:pt x="72" y="61"/>
                    </a:lnTo>
                    <a:lnTo>
                      <a:pt x="72" y="61"/>
                    </a:lnTo>
                    <a:lnTo>
                      <a:pt x="69" y="59"/>
                    </a:lnTo>
                    <a:lnTo>
                      <a:pt x="69" y="59"/>
                    </a:lnTo>
                    <a:lnTo>
                      <a:pt x="67" y="59"/>
                    </a:lnTo>
                    <a:lnTo>
                      <a:pt x="67" y="58"/>
                    </a:lnTo>
                    <a:lnTo>
                      <a:pt x="67" y="58"/>
                    </a:lnTo>
                    <a:lnTo>
                      <a:pt x="65" y="58"/>
                    </a:lnTo>
                    <a:lnTo>
                      <a:pt x="65" y="58"/>
                    </a:lnTo>
                    <a:lnTo>
                      <a:pt x="63" y="58"/>
                    </a:lnTo>
                    <a:lnTo>
                      <a:pt x="63" y="56"/>
                    </a:lnTo>
                    <a:lnTo>
                      <a:pt x="61" y="56"/>
                    </a:lnTo>
                    <a:lnTo>
                      <a:pt x="61" y="56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7" y="58"/>
                    </a:lnTo>
                    <a:lnTo>
                      <a:pt x="55" y="59"/>
                    </a:lnTo>
                    <a:lnTo>
                      <a:pt x="53" y="63"/>
                    </a:lnTo>
                    <a:lnTo>
                      <a:pt x="50" y="71"/>
                    </a:lnTo>
                    <a:lnTo>
                      <a:pt x="48" y="79"/>
                    </a:lnTo>
                    <a:lnTo>
                      <a:pt x="46" y="80"/>
                    </a:lnTo>
                    <a:lnTo>
                      <a:pt x="44" y="82"/>
                    </a:lnTo>
                    <a:lnTo>
                      <a:pt x="44" y="84"/>
                    </a:lnTo>
                    <a:lnTo>
                      <a:pt x="44" y="86"/>
                    </a:lnTo>
                    <a:lnTo>
                      <a:pt x="42" y="86"/>
                    </a:lnTo>
                    <a:lnTo>
                      <a:pt x="42" y="88"/>
                    </a:lnTo>
                    <a:lnTo>
                      <a:pt x="40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4"/>
                    </a:lnTo>
                    <a:lnTo>
                      <a:pt x="38" y="98"/>
                    </a:lnTo>
                    <a:lnTo>
                      <a:pt x="38" y="99"/>
                    </a:lnTo>
                    <a:lnTo>
                      <a:pt x="38" y="99"/>
                    </a:lnTo>
                    <a:lnTo>
                      <a:pt x="36" y="101"/>
                    </a:lnTo>
                    <a:lnTo>
                      <a:pt x="36" y="101"/>
                    </a:lnTo>
                    <a:lnTo>
                      <a:pt x="34" y="101"/>
                    </a:lnTo>
                    <a:lnTo>
                      <a:pt x="34" y="101"/>
                    </a:lnTo>
                    <a:lnTo>
                      <a:pt x="34" y="103"/>
                    </a:lnTo>
                    <a:lnTo>
                      <a:pt x="34" y="103"/>
                    </a:lnTo>
                    <a:lnTo>
                      <a:pt x="34" y="103"/>
                    </a:lnTo>
                    <a:lnTo>
                      <a:pt x="34" y="105"/>
                    </a:lnTo>
                    <a:lnTo>
                      <a:pt x="34" y="105"/>
                    </a:lnTo>
                    <a:lnTo>
                      <a:pt x="34" y="107"/>
                    </a:lnTo>
                    <a:lnTo>
                      <a:pt x="32" y="113"/>
                    </a:lnTo>
                    <a:lnTo>
                      <a:pt x="29" y="117"/>
                    </a:lnTo>
                    <a:lnTo>
                      <a:pt x="29" y="118"/>
                    </a:lnTo>
                    <a:lnTo>
                      <a:pt x="29" y="120"/>
                    </a:lnTo>
                    <a:lnTo>
                      <a:pt x="29" y="120"/>
                    </a:lnTo>
                    <a:lnTo>
                      <a:pt x="27" y="122"/>
                    </a:lnTo>
                    <a:lnTo>
                      <a:pt x="27" y="122"/>
                    </a:lnTo>
                    <a:lnTo>
                      <a:pt x="25" y="122"/>
                    </a:lnTo>
                    <a:lnTo>
                      <a:pt x="25" y="122"/>
                    </a:lnTo>
                    <a:lnTo>
                      <a:pt x="23" y="120"/>
                    </a:lnTo>
                    <a:lnTo>
                      <a:pt x="23" y="120"/>
                    </a:lnTo>
                    <a:lnTo>
                      <a:pt x="23" y="120"/>
                    </a:lnTo>
                    <a:lnTo>
                      <a:pt x="23" y="120"/>
                    </a:lnTo>
                    <a:lnTo>
                      <a:pt x="21" y="120"/>
                    </a:lnTo>
                    <a:lnTo>
                      <a:pt x="21" y="120"/>
                    </a:lnTo>
                    <a:lnTo>
                      <a:pt x="19" y="120"/>
                    </a:lnTo>
                    <a:lnTo>
                      <a:pt x="19" y="122"/>
                    </a:lnTo>
                    <a:lnTo>
                      <a:pt x="19" y="124"/>
                    </a:lnTo>
                    <a:lnTo>
                      <a:pt x="17" y="126"/>
                    </a:lnTo>
                    <a:lnTo>
                      <a:pt x="17" y="132"/>
                    </a:lnTo>
                    <a:lnTo>
                      <a:pt x="15" y="134"/>
                    </a:lnTo>
                    <a:lnTo>
                      <a:pt x="15" y="136"/>
                    </a:lnTo>
                    <a:lnTo>
                      <a:pt x="15" y="136"/>
                    </a:lnTo>
                    <a:lnTo>
                      <a:pt x="15" y="136"/>
                    </a:lnTo>
                    <a:lnTo>
                      <a:pt x="15" y="137"/>
                    </a:lnTo>
                    <a:lnTo>
                      <a:pt x="15" y="139"/>
                    </a:lnTo>
                    <a:lnTo>
                      <a:pt x="15" y="139"/>
                    </a:lnTo>
                    <a:lnTo>
                      <a:pt x="17" y="141"/>
                    </a:lnTo>
                    <a:lnTo>
                      <a:pt x="15" y="143"/>
                    </a:lnTo>
                    <a:lnTo>
                      <a:pt x="13" y="147"/>
                    </a:lnTo>
                    <a:lnTo>
                      <a:pt x="15" y="151"/>
                    </a:lnTo>
                    <a:lnTo>
                      <a:pt x="15" y="155"/>
                    </a:lnTo>
                    <a:lnTo>
                      <a:pt x="15" y="155"/>
                    </a:lnTo>
                    <a:lnTo>
                      <a:pt x="13" y="155"/>
                    </a:lnTo>
                    <a:lnTo>
                      <a:pt x="11" y="157"/>
                    </a:lnTo>
                    <a:lnTo>
                      <a:pt x="10" y="162"/>
                    </a:lnTo>
                    <a:lnTo>
                      <a:pt x="10" y="172"/>
                    </a:lnTo>
                    <a:lnTo>
                      <a:pt x="8" y="176"/>
                    </a:lnTo>
                    <a:lnTo>
                      <a:pt x="6" y="177"/>
                    </a:lnTo>
                    <a:lnTo>
                      <a:pt x="6" y="177"/>
                    </a:lnTo>
                    <a:lnTo>
                      <a:pt x="6" y="179"/>
                    </a:lnTo>
                    <a:lnTo>
                      <a:pt x="6" y="183"/>
                    </a:lnTo>
                    <a:lnTo>
                      <a:pt x="6" y="185"/>
                    </a:lnTo>
                    <a:lnTo>
                      <a:pt x="10" y="187"/>
                    </a:lnTo>
                    <a:lnTo>
                      <a:pt x="10" y="189"/>
                    </a:lnTo>
                    <a:lnTo>
                      <a:pt x="10" y="191"/>
                    </a:lnTo>
                    <a:lnTo>
                      <a:pt x="8" y="193"/>
                    </a:lnTo>
                    <a:lnTo>
                      <a:pt x="6" y="193"/>
                    </a:lnTo>
                    <a:lnTo>
                      <a:pt x="6" y="195"/>
                    </a:lnTo>
                    <a:lnTo>
                      <a:pt x="6" y="196"/>
                    </a:lnTo>
                    <a:lnTo>
                      <a:pt x="6" y="200"/>
                    </a:lnTo>
                    <a:lnTo>
                      <a:pt x="6" y="200"/>
                    </a:lnTo>
                    <a:lnTo>
                      <a:pt x="4" y="204"/>
                    </a:lnTo>
                    <a:lnTo>
                      <a:pt x="4" y="206"/>
                    </a:lnTo>
                    <a:lnTo>
                      <a:pt x="4" y="206"/>
                    </a:lnTo>
                    <a:lnTo>
                      <a:pt x="4" y="208"/>
                    </a:lnTo>
                    <a:lnTo>
                      <a:pt x="4" y="212"/>
                    </a:lnTo>
                    <a:lnTo>
                      <a:pt x="4" y="214"/>
                    </a:lnTo>
                    <a:lnTo>
                      <a:pt x="4" y="215"/>
                    </a:lnTo>
                    <a:lnTo>
                      <a:pt x="4" y="215"/>
                    </a:lnTo>
                    <a:lnTo>
                      <a:pt x="2" y="217"/>
                    </a:lnTo>
                    <a:lnTo>
                      <a:pt x="2" y="217"/>
                    </a:lnTo>
                    <a:lnTo>
                      <a:pt x="2" y="217"/>
                    </a:lnTo>
                    <a:lnTo>
                      <a:pt x="0" y="217"/>
                    </a:lnTo>
                    <a:lnTo>
                      <a:pt x="0" y="219"/>
                    </a:lnTo>
                    <a:lnTo>
                      <a:pt x="2" y="219"/>
                    </a:lnTo>
                    <a:lnTo>
                      <a:pt x="4" y="219"/>
                    </a:lnTo>
                    <a:lnTo>
                      <a:pt x="11" y="223"/>
                    </a:lnTo>
                    <a:lnTo>
                      <a:pt x="13" y="225"/>
                    </a:lnTo>
                    <a:lnTo>
                      <a:pt x="15" y="225"/>
                    </a:lnTo>
                    <a:lnTo>
                      <a:pt x="15" y="227"/>
                    </a:lnTo>
                    <a:lnTo>
                      <a:pt x="17" y="227"/>
                    </a:lnTo>
                    <a:lnTo>
                      <a:pt x="17" y="227"/>
                    </a:lnTo>
                    <a:lnTo>
                      <a:pt x="19" y="227"/>
                    </a:lnTo>
                    <a:lnTo>
                      <a:pt x="21" y="225"/>
                    </a:lnTo>
                    <a:lnTo>
                      <a:pt x="21" y="225"/>
                    </a:lnTo>
                    <a:lnTo>
                      <a:pt x="23" y="225"/>
                    </a:lnTo>
                    <a:lnTo>
                      <a:pt x="23" y="225"/>
                    </a:lnTo>
                    <a:lnTo>
                      <a:pt x="25" y="225"/>
                    </a:lnTo>
                    <a:lnTo>
                      <a:pt x="25" y="227"/>
                    </a:lnTo>
                    <a:lnTo>
                      <a:pt x="25" y="227"/>
                    </a:lnTo>
                    <a:lnTo>
                      <a:pt x="25" y="227"/>
                    </a:lnTo>
                    <a:lnTo>
                      <a:pt x="25" y="227"/>
                    </a:lnTo>
                    <a:lnTo>
                      <a:pt x="27" y="227"/>
                    </a:lnTo>
                    <a:lnTo>
                      <a:pt x="27" y="227"/>
                    </a:lnTo>
                    <a:lnTo>
                      <a:pt x="29" y="227"/>
                    </a:lnTo>
                    <a:lnTo>
                      <a:pt x="31" y="227"/>
                    </a:lnTo>
                    <a:lnTo>
                      <a:pt x="31" y="225"/>
                    </a:lnTo>
                    <a:lnTo>
                      <a:pt x="31" y="225"/>
                    </a:lnTo>
                    <a:lnTo>
                      <a:pt x="32" y="223"/>
                    </a:lnTo>
                    <a:lnTo>
                      <a:pt x="32" y="223"/>
                    </a:lnTo>
                    <a:lnTo>
                      <a:pt x="32" y="225"/>
                    </a:lnTo>
                    <a:lnTo>
                      <a:pt x="34" y="225"/>
                    </a:lnTo>
                    <a:lnTo>
                      <a:pt x="34" y="227"/>
                    </a:lnTo>
                    <a:lnTo>
                      <a:pt x="34" y="227"/>
                    </a:lnTo>
                    <a:lnTo>
                      <a:pt x="34" y="229"/>
                    </a:lnTo>
                    <a:lnTo>
                      <a:pt x="34" y="229"/>
                    </a:lnTo>
                    <a:lnTo>
                      <a:pt x="34" y="231"/>
                    </a:lnTo>
                    <a:lnTo>
                      <a:pt x="34" y="231"/>
                    </a:lnTo>
                    <a:lnTo>
                      <a:pt x="36" y="231"/>
                    </a:lnTo>
                    <a:lnTo>
                      <a:pt x="40" y="229"/>
                    </a:lnTo>
                    <a:lnTo>
                      <a:pt x="42" y="229"/>
                    </a:lnTo>
                    <a:lnTo>
                      <a:pt x="42" y="229"/>
                    </a:lnTo>
                    <a:lnTo>
                      <a:pt x="42" y="227"/>
                    </a:lnTo>
                    <a:lnTo>
                      <a:pt x="42" y="225"/>
                    </a:lnTo>
                    <a:lnTo>
                      <a:pt x="44" y="223"/>
                    </a:lnTo>
                    <a:lnTo>
                      <a:pt x="48" y="221"/>
                    </a:lnTo>
                    <a:lnTo>
                      <a:pt x="50" y="223"/>
                    </a:lnTo>
                    <a:lnTo>
                      <a:pt x="53" y="229"/>
                    </a:lnTo>
                    <a:lnTo>
                      <a:pt x="55" y="229"/>
                    </a:lnTo>
                    <a:lnTo>
                      <a:pt x="59" y="235"/>
                    </a:lnTo>
                    <a:lnTo>
                      <a:pt x="59" y="236"/>
                    </a:lnTo>
                    <a:lnTo>
                      <a:pt x="59" y="238"/>
                    </a:lnTo>
                    <a:lnTo>
                      <a:pt x="61" y="238"/>
                    </a:lnTo>
                    <a:lnTo>
                      <a:pt x="63" y="238"/>
                    </a:lnTo>
                    <a:lnTo>
                      <a:pt x="65" y="238"/>
                    </a:lnTo>
                    <a:lnTo>
                      <a:pt x="69" y="236"/>
                    </a:lnTo>
                    <a:lnTo>
                      <a:pt x="72" y="236"/>
                    </a:lnTo>
                    <a:lnTo>
                      <a:pt x="72" y="236"/>
                    </a:lnTo>
                    <a:lnTo>
                      <a:pt x="72" y="236"/>
                    </a:lnTo>
                    <a:lnTo>
                      <a:pt x="74" y="238"/>
                    </a:lnTo>
                    <a:lnTo>
                      <a:pt x="74" y="238"/>
                    </a:lnTo>
                    <a:lnTo>
                      <a:pt x="76" y="236"/>
                    </a:lnTo>
                    <a:lnTo>
                      <a:pt x="76" y="236"/>
                    </a:lnTo>
                    <a:lnTo>
                      <a:pt x="76" y="235"/>
                    </a:lnTo>
                    <a:lnTo>
                      <a:pt x="76" y="235"/>
                    </a:lnTo>
                    <a:lnTo>
                      <a:pt x="80" y="233"/>
                    </a:lnTo>
                    <a:lnTo>
                      <a:pt x="86" y="231"/>
                    </a:lnTo>
                    <a:lnTo>
                      <a:pt x="93" y="233"/>
                    </a:lnTo>
                    <a:lnTo>
                      <a:pt x="97" y="235"/>
                    </a:lnTo>
                    <a:lnTo>
                      <a:pt x="101" y="240"/>
                    </a:lnTo>
                    <a:lnTo>
                      <a:pt x="105" y="242"/>
                    </a:lnTo>
                    <a:lnTo>
                      <a:pt x="114" y="240"/>
                    </a:lnTo>
                    <a:lnTo>
                      <a:pt x="118" y="242"/>
                    </a:lnTo>
                    <a:lnTo>
                      <a:pt x="122" y="242"/>
                    </a:lnTo>
                    <a:lnTo>
                      <a:pt x="126" y="244"/>
                    </a:lnTo>
                    <a:lnTo>
                      <a:pt x="128" y="244"/>
                    </a:lnTo>
                    <a:lnTo>
                      <a:pt x="135" y="248"/>
                    </a:lnTo>
                    <a:lnTo>
                      <a:pt x="137" y="250"/>
                    </a:lnTo>
                    <a:lnTo>
                      <a:pt x="139" y="254"/>
                    </a:lnTo>
                    <a:lnTo>
                      <a:pt x="141" y="255"/>
                    </a:lnTo>
                    <a:lnTo>
                      <a:pt x="143" y="255"/>
                    </a:lnTo>
                    <a:lnTo>
                      <a:pt x="145" y="254"/>
                    </a:lnTo>
                    <a:lnTo>
                      <a:pt x="145" y="254"/>
                    </a:lnTo>
                    <a:lnTo>
                      <a:pt x="145" y="250"/>
                    </a:lnTo>
                    <a:lnTo>
                      <a:pt x="145" y="248"/>
                    </a:lnTo>
                    <a:lnTo>
                      <a:pt x="145" y="244"/>
                    </a:lnTo>
                    <a:lnTo>
                      <a:pt x="147" y="242"/>
                    </a:lnTo>
                    <a:lnTo>
                      <a:pt x="153" y="235"/>
                    </a:lnTo>
                    <a:lnTo>
                      <a:pt x="153" y="233"/>
                    </a:lnTo>
                    <a:lnTo>
                      <a:pt x="154" y="227"/>
                    </a:lnTo>
                    <a:lnTo>
                      <a:pt x="154" y="225"/>
                    </a:lnTo>
                    <a:lnTo>
                      <a:pt x="156" y="223"/>
                    </a:lnTo>
                    <a:lnTo>
                      <a:pt x="156" y="221"/>
                    </a:lnTo>
                    <a:lnTo>
                      <a:pt x="156" y="215"/>
                    </a:lnTo>
                    <a:lnTo>
                      <a:pt x="158" y="212"/>
                    </a:lnTo>
                    <a:lnTo>
                      <a:pt x="164" y="196"/>
                    </a:lnTo>
                    <a:lnTo>
                      <a:pt x="164" y="195"/>
                    </a:lnTo>
                    <a:lnTo>
                      <a:pt x="166" y="189"/>
                    </a:lnTo>
                    <a:lnTo>
                      <a:pt x="166" y="187"/>
                    </a:lnTo>
                    <a:lnTo>
                      <a:pt x="168" y="187"/>
                    </a:lnTo>
                    <a:lnTo>
                      <a:pt x="170" y="185"/>
                    </a:lnTo>
                    <a:lnTo>
                      <a:pt x="170" y="183"/>
                    </a:lnTo>
                    <a:lnTo>
                      <a:pt x="170" y="183"/>
                    </a:lnTo>
                    <a:lnTo>
                      <a:pt x="170" y="179"/>
                    </a:lnTo>
                    <a:lnTo>
                      <a:pt x="170" y="179"/>
                    </a:lnTo>
                    <a:lnTo>
                      <a:pt x="172" y="177"/>
                    </a:lnTo>
                    <a:lnTo>
                      <a:pt x="174" y="176"/>
                    </a:lnTo>
                    <a:lnTo>
                      <a:pt x="174" y="176"/>
                    </a:lnTo>
                    <a:lnTo>
                      <a:pt x="175" y="170"/>
                    </a:lnTo>
                    <a:lnTo>
                      <a:pt x="175" y="168"/>
                    </a:lnTo>
                    <a:lnTo>
                      <a:pt x="177" y="166"/>
                    </a:lnTo>
                    <a:lnTo>
                      <a:pt x="179" y="166"/>
                    </a:lnTo>
                    <a:lnTo>
                      <a:pt x="181" y="158"/>
                    </a:lnTo>
                    <a:lnTo>
                      <a:pt x="181" y="157"/>
                    </a:lnTo>
                    <a:lnTo>
                      <a:pt x="183" y="155"/>
                    </a:lnTo>
                    <a:lnTo>
                      <a:pt x="189" y="151"/>
                    </a:lnTo>
                    <a:lnTo>
                      <a:pt x="191" y="147"/>
                    </a:lnTo>
                    <a:lnTo>
                      <a:pt x="193" y="139"/>
                    </a:lnTo>
                    <a:lnTo>
                      <a:pt x="195" y="136"/>
                    </a:lnTo>
                    <a:lnTo>
                      <a:pt x="196" y="136"/>
                    </a:lnTo>
                    <a:lnTo>
                      <a:pt x="196" y="136"/>
                    </a:lnTo>
                    <a:lnTo>
                      <a:pt x="198" y="136"/>
                    </a:lnTo>
                    <a:lnTo>
                      <a:pt x="200" y="136"/>
                    </a:lnTo>
                    <a:lnTo>
                      <a:pt x="202" y="134"/>
                    </a:lnTo>
                    <a:lnTo>
                      <a:pt x="202" y="130"/>
                    </a:lnTo>
                    <a:lnTo>
                      <a:pt x="204" y="128"/>
                    </a:lnTo>
                    <a:lnTo>
                      <a:pt x="204" y="126"/>
                    </a:lnTo>
                    <a:lnTo>
                      <a:pt x="204" y="122"/>
                    </a:lnTo>
                    <a:lnTo>
                      <a:pt x="210" y="115"/>
                    </a:lnTo>
                    <a:lnTo>
                      <a:pt x="212" y="111"/>
                    </a:lnTo>
                    <a:lnTo>
                      <a:pt x="214" y="99"/>
                    </a:lnTo>
                    <a:lnTo>
                      <a:pt x="216" y="96"/>
                    </a:lnTo>
                    <a:lnTo>
                      <a:pt x="217" y="92"/>
                    </a:lnTo>
                    <a:lnTo>
                      <a:pt x="219" y="86"/>
                    </a:lnTo>
                    <a:lnTo>
                      <a:pt x="217" y="8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8" name="Freeform 20">
                <a:extLst>
                  <a:ext uri="{FF2B5EF4-FFF2-40B4-BE49-F238E27FC236}">
                    <a16:creationId xmlns:a16="http://schemas.microsoft.com/office/drawing/2014/main" id="{B3F6067D-3C06-489F-A928-4A75B64306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8019" y="4893149"/>
                <a:ext cx="1644650" cy="1343025"/>
              </a:xfrm>
              <a:custGeom>
                <a:avLst/>
                <a:gdLst>
                  <a:gd name="T0" fmla="*/ 984 w 1036"/>
                  <a:gd name="T1" fmla="*/ 300 h 846"/>
                  <a:gd name="T2" fmla="*/ 988 w 1036"/>
                  <a:gd name="T3" fmla="*/ 281 h 846"/>
                  <a:gd name="T4" fmla="*/ 1000 w 1036"/>
                  <a:gd name="T5" fmla="*/ 222 h 846"/>
                  <a:gd name="T6" fmla="*/ 992 w 1036"/>
                  <a:gd name="T7" fmla="*/ 181 h 846"/>
                  <a:gd name="T8" fmla="*/ 1007 w 1036"/>
                  <a:gd name="T9" fmla="*/ 89 h 846"/>
                  <a:gd name="T10" fmla="*/ 946 w 1036"/>
                  <a:gd name="T11" fmla="*/ 51 h 846"/>
                  <a:gd name="T12" fmla="*/ 872 w 1036"/>
                  <a:gd name="T13" fmla="*/ 63 h 846"/>
                  <a:gd name="T14" fmla="*/ 788 w 1036"/>
                  <a:gd name="T15" fmla="*/ 61 h 846"/>
                  <a:gd name="T16" fmla="*/ 723 w 1036"/>
                  <a:gd name="T17" fmla="*/ 53 h 846"/>
                  <a:gd name="T18" fmla="*/ 622 w 1036"/>
                  <a:gd name="T19" fmla="*/ 85 h 846"/>
                  <a:gd name="T20" fmla="*/ 616 w 1036"/>
                  <a:gd name="T21" fmla="*/ 44 h 846"/>
                  <a:gd name="T22" fmla="*/ 527 w 1036"/>
                  <a:gd name="T23" fmla="*/ 55 h 846"/>
                  <a:gd name="T24" fmla="*/ 471 w 1036"/>
                  <a:gd name="T25" fmla="*/ 123 h 846"/>
                  <a:gd name="T26" fmla="*/ 372 w 1036"/>
                  <a:gd name="T27" fmla="*/ 85 h 846"/>
                  <a:gd name="T28" fmla="*/ 252 w 1036"/>
                  <a:gd name="T29" fmla="*/ 49 h 846"/>
                  <a:gd name="T30" fmla="*/ 166 w 1036"/>
                  <a:gd name="T31" fmla="*/ 15 h 846"/>
                  <a:gd name="T32" fmla="*/ 170 w 1036"/>
                  <a:gd name="T33" fmla="*/ 63 h 846"/>
                  <a:gd name="T34" fmla="*/ 178 w 1036"/>
                  <a:gd name="T35" fmla="*/ 74 h 846"/>
                  <a:gd name="T36" fmla="*/ 117 w 1036"/>
                  <a:gd name="T37" fmla="*/ 110 h 846"/>
                  <a:gd name="T38" fmla="*/ 149 w 1036"/>
                  <a:gd name="T39" fmla="*/ 177 h 846"/>
                  <a:gd name="T40" fmla="*/ 90 w 1036"/>
                  <a:gd name="T41" fmla="*/ 184 h 846"/>
                  <a:gd name="T42" fmla="*/ 92 w 1036"/>
                  <a:gd name="T43" fmla="*/ 241 h 846"/>
                  <a:gd name="T44" fmla="*/ 54 w 1036"/>
                  <a:gd name="T45" fmla="*/ 264 h 846"/>
                  <a:gd name="T46" fmla="*/ 2 w 1036"/>
                  <a:gd name="T47" fmla="*/ 276 h 846"/>
                  <a:gd name="T48" fmla="*/ 12 w 1036"/>
                  <a:gd name="T49" fmla="*/ 331 h 846"/>
                  <a:gd name="T50" fmla="*/ 48 w 1036"/>
                  <a:gd name="T51" fmla="*/ 371 h 846"/>
                  <a:gd name="T52" fmla="*/ 21 w 1036"/>
                  <a:gd name="T53" fmla="*/ 388 h 846"/>
                  <a:gd name="T54" fmla="*/ 37 w 1036"/>
                  <a:gd name="T55" fmla="*/ 388 h 846"/>
                  <a:gd name="T56" fmla="*/ 42 w 1036"/>
                  <a:gd name="T57" fmla="*/ 420 h 846"/>
                  <a:gd name="T58" fmla="*/ 44 w 1036"/>
                  <a:gd name="T59" fmla="*/ 472 h 846"/>
                  <a:gd name="T60" fmla="*/ 52 w 1036"/>
                  <a:gd name="T61" fmla="*/ 510 h 846"/>
                  <a:gd name="T62" fmla="*/ 50 w 1036"/>
                  <a:gd name="T63" fmla="*/ 527 h 846"/>
                  <a:gd name="T64" fmla="*/ 61 w 1036"/>
                  <a:gd name="T65" fmla="*/ 592 h 846"/>
                  <a:gd name="T66" fmla="*/ 77 w 1036"/>
                  <a:gd name="T67" fmla="*/ 666 h 846"/>
                  <a:gd name="T68" fmla="*/ 84 w 1036"/>
                  <a:gd name="T69" fmla="*/ 719 h 846"/>
                  <a:gd name="T70" fmla="*/ 96 w 1036"/>
                  <a:gd name="T71" fmla="*/ 765 h 846"/>
                  <a:gd name="T72" fmla="*/ 124 w 1036"/>
                  <a:gd name="T73" fmla="*/ 820 h 846"/>
                  <a:gd name="T74" fmla="*/ 182 w 1036"/>
                  <a:gd name="T75" fmla="*/ 841 h 846"/>
                  <a:gd name="T76" fmla="*/ 220 w 1036"/>
                  <a:gd name="T77" fmla="*/ 805 h 846"/>
                  <a:gd name="T78" fmla="*/ 210 w 1036"/>
                  <a:gd name="T79" fmla="*/ 761 h 846"/>
                  <a:gd name="T80" fmla="*/ 204 w 1036"/>
                  <a:gd name="T81" fmla="*/ 736 h 846"/>
                  <a:gd name="T82" fmla="*/ 214 w 1036"/>
                  <a:gd name="T83" fmla="*/ 727 h 846"/>
                  <a:gd name="T84" fmla="*/ 248 w 1036"/>
                  <a:gd name="T85" fmla="*/ 719 h 846"/>
                  <a:gd name="T86" fmla="*/ 277 w 1036"/>
                  <a:gd name="T87" fmla="*/ 687 h 846"/>
                  <a:gd name="T88" fmla="*/ 327 w 1036"/>
                  <a:gd name="T89" fmla="*/ 673 h 846"/>
                  <a:gd name="T90" fmla="*/ 376 w 1036"/>
                  <a:gd name="T91" fmla="*/ 656 h 846"/>
                  <a:gd name="T92" fmla="*/ 380 w 1036"/>
                  <a:gd name="T93" fmla="*/ 609 h 846"/>
                  <a:gd name="T94" fmla="*/ 441 w 1036"/>
                  <a:gd name="T95" fmla="*/ 618 h 846"/>
                  <a:gd name="T96" fmla="*/ 460 w 1036"/>
                  <a:gd name="T97" fmla="*/ 586 h 846"/>
                  <a:gd name="T98" fmla="*/ 513 w 1036"/>
                  <a:gd name="T99" fmla="*/ 561 h 846"/>
                  <a:gd name="T100" fmla="*/ 557 w 1036"/>
                  <a:gd name="T101" fmla="*/ 510 h 846"/>
                  <a:gd name="T102" fmla="*/ 605 w 1036"/>
                  <a:gd name="T103" fmla="*/ 498 h 846"/>
                  <a:gd name="T104" fmla="*/ 634 w 1036"/>
                  <a:gd name="T105" fmla="*/ 456 h 846"/>
                  <a:gd name="T106" fmla="*/ 649 w 1036"/>
                  <a:gd name="T107" fmla="*/ 409 h 846"/>
                  <a:gd name="T108" fmla="*/ 655 w 1036"/>
                  <a:gd name="T109" fmla="*/ 371 h 846"/>
                  <a:gd name="T110" fmla="*/ 693 w 1036"/>
                  <a:gd name="T111" fmla="*/ 356 h 846"/>
                  <a:gd name="T112" fmla="*/ 714 w 1036"/>
                  <a:gd name="T113" fmla="*/ 285 h 846"/>
                  <a:gd name="T114" fmla="*/ 777 w 1036"/>
                  <a:gd name="T115" fmla="*/ 306 h 846"/>
                  <a:gd name="T116" fmla="*/ 828 w 1036"/>
                  <a:gd name="T117" fmla="*/ 325 h 846"/>
                  <a:gd name="T118" fmla="*/ 899 w 1036"/>
                  <a:gd name="T119" fmla="*/ 327 h 846"/>
                  <a:gd name="T120" fmla="*/ 912 w 1036"/>
                  <a:gd name="T121" fmla="*/ 382 h 846"/>
                  <a:gd name="T122" fmla="*/ 960 w 1036"/>
                  <a:gd name="T123" fmla="*/ 401 h 846"/>
                  <a:gd name="T124" fmla="*/ 1026 w 1036"/>
                  <a:gd name="T125" fmla="*/ 357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36" h="846">
                    <a:moveTo>
                      <a:pt x="1034" y="338"/>
                    </a:moveTo>
                    <a:lnTo>
                      <a:pt x="1032" y="337"/>
                    </a:lnTo>
                    <a:lnTo>
                      <a:pt x="1030" y="333"/>
                    </a:lnTo>
                    <a:lnTo>
                      <a:pt x="1028" y="331"/>
                    </a:lnTo>
                    <a:lnTo>
                      <a:pt x="1026" y="331"/>
                    </a:lnTo>
                    <a:lnTo>
                      <a:pt x="1026" y="331"/>
                    </a:lnTo>
                    <a:lnTo>
                      <a:pt x="1024" y="331"/>
                    </a:lnTo>
                    <a:lnTo>
                      <a:pt x="1024" y="331"/>
                    </a:lnTo>
                    <a:lnTo>
                      <a:pt x="1021" y="327"/>
                    </a:lnTo>
                    <a:lnTo>
                      <a:pt x="1019" y="327"/>
                    </a:lnTo>
                    <a:lnTo>
                      <a:pt x="1013" y="325"/>
                    </a:lnTo>
                    <a:lnTo>
                      <a:pt x="1011" y="323"/>
                    </a:lnTo>
                    <a:lnTo>
                      <a:pt x="1009" y="323"/>
                    </a:lnTo>
                    <a:lnTo>
                      <a:pt x="1009" y="321"/>
                    </a:lnTo>
                    <a:lnTo>
                      <a:pt x="1007" y="314"/>
                    </a:lnTo>
                    <a:lnTo>
                      <a:pt x="1007" y="312"/>
                    </a:lnTo>
                    <a:lnTo>
                      <a:pt x="1005" y="310"/>
                    </a:lnTo>
                    <a:lnTo>
                      <a:pt x="1003" y="310"/>
                    </a:lnTo>
                    <a:lnTo>
                      <a:pt x="1003" y="310"/>
                    </a:lnTo>
                    <a:lnTo>
                      <a:pt x="998" y="308"/>
                    </a:lnTo>
                    <a:lnTo>
                      <a:pt x="996" y="308"/>
                    </a:lnTo>
                    <a:lnTo>
                      <a:pt x="994" y="306"/>
                    </a:lnTo>
                    <a:lnTo>
                      <a:pt x="994" y="304"/>
                    </a:lnTo>
                    <a:lnTo>
                      <a:pt x="992" y="302"/>
                    </a:lnTo>
                    <a:lnTo>
                      <a:pt x="992" y="299"/>
                    </a:lnTo>
                    <a:lnTo>
                      <a:pt x="990" y="297"/>
                    </a:lnTo>
                    <a:lnTo>
                      <a:pt x="990" y="295"/>
                    </a:lnTo>
                    <a:lnTo>
                      <a:pt x="988" y="295"/>
                    </a:lnTo>
                    <a:lnTo>
                      <a:pt x="988" y="295"/>
                    </a:lnTo>
                    <a:lnTo>
                      <a:pt x="986" y="295"/>
                    </a:lnTo>
                    <a:lnTo>
                      <a:pt x="986" y="295"/>
                    </a:lnTo>
                    <a:lnTo>
                      <a:pt x="984" y="297"/>
                    </a:lnTo>
                    <a:lnTo>
                      <a:pt x="984" y="297"/>
                    </a:lnTo>
                    <a:lnTo>
                      <a:pt x="984" y="299"/>
                    </a:lnTo>
                    <a:lnTo>
                      <a:pt x="984" y="299"/>
                    </a:lnTo>
                    <a:lnTo>
                      <a:pt x="984" y="299"/>
                    </a:lnTo>
                    <a:lnTo>
                      <a:pt x="984" y="300"/>
                    </a:lnTo>
                    <a:lnTo>
                      <a:pt x="984" y="300"/>
                    </a:lnTo>
                    <a:lnTo>
                      <a:pt x="984" y="300"/>
                    </a:lnTo>
                    <a:lnTo>
                      <a:pt x="983" y="300"/>
                    </a:lnTo>
                    <a:lnTo>
                      <a:pt x="983" y="300"/>
                    </a:lnTo>
                    <a:lnTo>
                      <a:pt x="981" y="302"/>
                    </a:lnTo>
                    <a:lnTo>
                      <a:pt x="981" y="300"/>
                    </a:lnTo>
                    <a:lnTo>
                      <a:pt x="977" y="300"/>
                    </a:lnTo>
                    <a:lnTo>
                      <a:pt x="975" y="300"/>
                    </a:lnTo>
                    <a:lnTo>
                      <a:pt x="975" y="299"/>
                    </a:lnTo>
                    <a:lnTo>
                      <a:pt x="975" y="299"/>
                    </a:lnTo>
                    <a:lnTo>
                      <a:pt x="975" y="297"/>
                    </a:lnTo>
                    <a:lnTo>
                      <a:pt x="975" y="297"/>
                    </a:lnTo>
                    <a:lnTo>
                      <a:pt x="977" y="295"/>
                    </a:lnTo>
                    <a:lnTo>
                      <a:pt x="979" y="295"/>
                    </a:lnTo>
                    <a:lnTo>
                      <a:pt x="981" y="293"/>
                    </a:lnTo>
                    <a:lnTo>
                      <a:pt x="983" y="293"/>
                    </a:lnTo>
                    <a:lnTo>
                      <a:pt x="983" y="293"/>
                    </a:lnTo>
                    <a:lnTo>
                      <a:pt x="983" y="291"/>
                    </a:lnTo>
                    <a:lnTo>
                      <a:pt x="983" y="291"/>
                    </a:lnTo>
                    <a:lnTo>
                      <a:pt x="984" y="289"/>
                    </a:lnTo>
                    <a:lnTo>
                      <a:pt x="984" y="289"/>
                    </a:lnTo>
                    <a:lnTo>
                      <a:pt x="983" y="287"/>
                    </a:lnTo>
                    <a:lnTo>
                      <a:pt x="983" y="287"/>
                    </a:lnTo>
                    <a:lnTo>
                      <a:pt x="979" y="287"/>
                    </a:lnTo>
                    <a:lnTo>
                      <a:pt x="977" y="285"/>
                    </a:lnTo>
                    <a:lnTo>
                      <a:pt x="977" y="285"/>
                    </a:lnTo>
                    <a:lnTo>
                      <a:pt x="977" y="285"/>
                    </a:lnTo>
                    <a:lnTo>
                      <a:pt x="977" y="285"/>
                    </a:lnTo>
                    <a:lnTo>
                      <a:pt x="977" y="283"/>
                    </a:lnTo>
                    <a:lnTo>
                      <a:pt x="977" y="281"/>
                    </a:lnTo>
                    <a:lnTo>
                      <a:pt x="979" y="279"/>
                    </a:lnTo>
                    <a:lnTo>
                      <a:pt x="979" y="278"/>
                    </a:lnTo>
                    <a:lnTo>
                      <a:pt x="981" y="278"/>
                    </a:lnTo>
                    <a:lnTo>
                      <a:pt x="981" y="278"/>
                    </a:lnTo>
                    <a:lnTo>
                      <a:pt x="984" y="281"/>
                    </a:lnTo>
                    <a:lnTo>
                      <a:pt x="986" y="281"/>
                    </a:lnTo>
                    <a:lnTo>
                      <a:pt x="988" y="281"/>
                    </a:lnTo>
                    <a:lnTo>
                      <a:pt x="988" y="281"/>
                    </a:lnTo>
                    <a:lnTo>
                      <a:pt x="990" y="281"/>
                    </a:lnTo>
                    <a:lnTo>
                      <a:pt x="990" y="279"/>
                    </a:lnTo>
                    <a:lnTo>
                      <a:pt x="990" y="278"/>
                    </a:lnTo>
                    <a:lnTo>
                      <a:pt x="990" y="270"/>
                    </a:lnTo>
                    <a:lnTo>
                      <a:pt x="992" y="266"/>
                    </a:lnTo>
                    <a:lnTo>
                      <a:pt x="992" y="266"/>
                    </a:lnTo>
                    <a:lnTo>
                      <a:pt x="992" y="266"/>
                    </a:lnTo>
                    <a:lnTo>
                      <a:pt x="992" y="264"/>
                    </a:lnTo>
                    <a:lnTo>
                      <a:pt x="992" y="260"/>
                    </a:lnTo>
                    <a:lnTo>
                      <a:pt x="990" y="253"/>
                    </a:lnTo>
                    <a:lnTo>
                      <a:pt x="988" y="251"/>
                    </a:lnTo>
                    <a:lnTo>
                      <a:pt x="986" y="251"/>
                    </a:lnTo>
                    <a:lnTo>
                      <a:pt x="986" y="251"/>
                    </a:lnTo>
                    <a:lnTo>
                      <a:pt x="977" y="251"/>
                    </a:lnTo>
                    <a:lnTo>
                      <a:pt x="975" y="251"/>
                    </a:lnTo>
                    <a:lnTo>
                      <a:pt x="975" y="249"/>
                    </a:lnTo>
                    <a:lnTo>
                      <a:pt x="975" y="249"/>
                    </a:lnTo>
                    <a:lnTo>
                      <a:pt x="975" y="243"/>
                    </a:lnTo>
                    <a:lnTo>
                      <a:pt x="977" y="241"/>
                    </a:lnTo>
                    <a:lnTo>
                      <a:pt x="975" y="241"/>
                    </a:lnTo>
                    <a:lnTo>
                      <a:pt x="977" y="240"/>
                    </a:lnTo>
                    <a:lnTo>
                      <a:pt x="977" y="238"/>
                    </a:lnTo>
                    <a:lnTo>
                      <a:pt x="979" y="236"/>
                    </a:lnTo>
                    <a:lnTo>
                      <a:pt x="979" y="236"/>
                    </a:lnTo>
                    <a:lnTo>
                      <a:pt x="986" y="236"/>
                    </a:lnTo>
                    <a:lnTo>
                      <a:pt x="988" y="236"/>
                    </a:lnTo>
                    <a:lnTo>
                      <a:pt x="990" y="234"/>
                    </a:lnTo>
                    <a:lnTo>
                      <a:pt x="992" y="234"/>
                    </a:lnTo>
                    <a:lnTo>
                      <a:pt x="994" y="230"/>
                    </a:lnTo>
                    <a:lnTo>
                      <a:pt x="996" y="228"/>
                    </a:lnTo>
                    <a:lnTo>
                      <a:pt x="998" y="228"/>
                    </a:lnTo>
                    <a:lnTo>
                      <a:pt x="1000" y="228"/>
                    </a:lnTo>
                    <a:lnTo>
                      <a:pt x="1002" y="226"/>
                    </a:lnTo>
                    <a:lnTo>
                      <a:pt x="1002" y="226"/>
                    </a:lnTo>
                    <a:lnTo>
                      <a:pt x="1002" y="224"/>
                    </a:lnTo>
                    <a:lnTo>
                      <a:pt x="1000" y="222"/>
                    </a:lnTo>
                    <a:lnTo>
                      <a:pt x="1000" y="220"/>
                    </a:lnTo>
                    <a:lnTo>
                      <a:pt x="1000" y="219"/>
                    </a:lnTo>
                    <a:lnTo>
                      <a:pt x="1000" y="217"/>
                    </a:lnTo>
                    <a:lnTo>
                      <a:pt x="1000" y="209"/>
                    </a:lnTo>
                    <a:lnTo>
                      <a:pt x="1000" y="207"/>
                    </a:lnTo>
                    <a:lnTo>
                      <a:pt x="1002" y="205"/>
                    </a:lnTo>
                    <a:lnTo>
                      <a:pt x="1002" y="203"/>
                    </a:lnTo>
                    <a:lnTo>
                      <a:pt x="1002" y="201"/>
                    </a:lnTo>
                    <a:lnTo>
                      <a:pt x="1002" y="200"/>
                    </a:lnTo>
                    <a:lnTo>
                      <a:pt x="1002" y="200"/>
                    </a:lnTo>
                    <a:lnTo>
                      <a:pt x="1002" y="200"/>
                    </a:lnTo>
                    <a:lnTo>
                      <a:pt x="1000" y="198"/>
                    </a:lnTo>
                    <a:lnTo>
                      <a:pt x="1002" y="192"/>
                    </a:lnTo>
                    <a:lnTo>
                      <a:pt x="1002" y="192"/>
                    </a:lnTo>
                    <a:lnTo>
                      <a:pt x="1002" y="190"/>
                    </a:lnTo>
                    <a:lnTo>
                      <a:pt x="1002" y="190"/>
                    </a:lnTo>
                    <a:lnTo>
                      <a:pt x="1000" y="190"/>
                    </a:lnTo>
                    <a:lnTo>
                      <a:pt x="1000" y="188"/>
                    </a:lnTo>
                    <a:lnTo>
                      <a:pt x="998" y="188"/>
                    </a:lnTo>
                    <a:lnTo>
                      <a:pt x="996" y="188"/>
                    </a:lnTo>
                    <a:lnTo>
                      <a:pt x="996" y="188"/>
                    </a:lnTo>
                    <a:lnTo>
                      <a:pt x="994" y="188"/>
                    </a:lnTo>
                    <a:lnTo>
                      <a:pt x="994" y="188"/>
                    </a:lnTo>
                    <a:lnTo>
                      <a:pt x="992" y="190"/>
                    </a:lnTo>
                    <a:lnTo>
                      <a:pt x="990" y="192"/>
                    </a:lnTo>
                    <a:lnTo>
                      <a:pt x="988" y="192"/>
                    </a:lnTo>
                    <a:lnTo>
                      <a:pt x="986" y="192"/>
                    </a:lnTo>
                    <a:lnTo>
                      <a:pt x="986" y="192"/>
                    </a:lnTo>
                    <a:lnTo>
                      <a:pt x="986" y="192"/>
                    </a:lnTo>
                    <a:lnTo>
                      <a:pt x="984" y="190"/>
                    </a:lnTo>
                    <a:lnTo>
                      <a:pt x="984" y="190"/>
                    </a:lnTo>
                    <a:lnTo>
                      <a:pt x="984" y="188"/>
                    </a:lnTo>
                    <a:lnTo>
                      <a:pt x="984" y="188"/>
                    </a:lnTo>
                    <a:lnTo>
                      <a:pt x="986" y="186"/>
                    </a:lnTo>
                    <a:lnTo>
                      <a:pt x="986" y="184"/>
                    </a:lnTo>
                    <a:lnTo>
                      <a:pt x="988" y="184"/>
                    </a:lnTo>
                    <a:lnTo>
                      <a:pt x="992" y="181"/>
                    </a:lnTo>
                    <a:lnTo>
                      <a:pt x="994" y="181"/>
                    </a:lnTo>
                    <a:lnTo>
                      <a:pt x="994" y="179"/>
                    </a:lnTo>
                    <a:lnTo>
                      <a:pt x="994" y="177"/>
                    </a:lnTo>
                    <a:lnTo>
                      <a:pt x="992" y="165"/>
                    </a:lnTo>
                    <a:lnTo>
                      <a:pt x="992" y="154"/>
                    </a:lnTo>
                    <a:lnTo>
                      <a:pt x="992" y="150"/>
                    </a:lnTo>
                    <a:lnTo>
                      <a:pt x="992" y="148"/>
                    </a:lnTo>
                    <a:lnTo>
                      <a:pt x="992" y="148"/>
                    </a:lnTo>
                    <a:lnTo>
                      <a:pt x="992" y="146"/>
                    </a:lnTo>
                    <a:lnTo>
                      <a:pt x="990" y="146"/>
                    </a:lnTo>
                    <a:lnTo>
                      <a:pt x="990" y="144"/>
                    </a:lnTo>
                    <a:lnTo>
                      <a:pt x="988" y="144"/>
                    </a:lnTo>
                    <a:lnTo>
                      <a:pt x="988" y="144"/>
                    </a:lnTo>
                    <a:lnTo>
                      <a:pt x="986" y="146"/>
                    </a:lnTo>
                    <a:lnTo>
                      <a:pt x="984" y="146"/>
                    </a:lnTo>
                    <a:lnTo>
                      <a:pt x="984" y="146"/>
                    </a:lnTo>
                    <a:lnTo>
                      <a:pt x="983" y="146"/>
                    </a:lnTo>
                    <a:lnTo>
                      <a:pt x="983" y="144"/>
                    </a:lnTo>
                    <a:lnTo>
                      <a:pt x="981" y="144"/>
                    </a:lnTo>
                    <a:lnTo>
                      <a:pt x="981" y="142"/>
                    </a:lnTo>
                    <a:lnTo>
                      <a:pt x="979" y="142"/>
                    </a:lnTo>
                    <a:lnTo>
                      <a:pt x="979" y="139"/>
                    </a:lnTo>
                    <a:lnTo>
                      <a:pt x="977" y="137"/>
                    </a:lnTo>
                    <a:lnTo>
                      <a:pt x="977" y="135"/>
                    </a:lnTo>
                    <a:lnTo>
                      <a:pt x="977" y="133"/>
                    </a:lnTo>
                    <a:lnTo>
                      <a:pt x="979" y="129"/>
                    </a:lnTo>
                    <a:lnTo>
                      <a:pt x="981" y="120"/>
                    </a:lnTo>
                    <a:lnTo>
                      <a:pt x="981" y="118"/>
                    </a:lnTo>
                    <a:lnTo>
                      <a:pt x="981" y="116"/>
                    </a:lnTo>
                    <a:lnTo>
                      <a:pt x="983" y="116"/>
                    </a:lnTo>
                    <a:lnTo>
                      <a:pt x="983" y="114"/>
                    </a:lnTo>
                    <a:lnTo>
                      <a:pt x="992" y="108"/>
                    </a:lnTo>
                    <a:lnTo>
                      <a:pt x="1002" y="104"/>
                    </a:lnTo>
                    <a:lnTo>
                      <a:pt x="1003" y="103"/>
                    </a:lnTo>
                    <a:lnTo>
                      <a:pt x="1005" y="99"/>
                    </a:lnTo>
                    <a:lnTo>
                      <a:pt x="1007" y="97"/>
                    </a:lnTo>
                    <a:lnTo>
                      <a:pt x="1007" y="89"/>
                    </a:lnTo>
                    <a:lnTo>
                      <a:pt x="1005" y="89"/>
                    </a:lnTo>
                    <a:lnTo>
                      <a:pt x="1003" y="91"/>
                    </a:lnTo>
                    <a:lnTo>
                      <a:pt x="1003" y="93"/>
                    </a:lnTo>
                    <a:lnTo>
                      <a:pt x="1002" y="93"/>
                    </a:lnTo>
                    <a:lnTo>
                      <a:pt x="1002" y="93"/>
                    </a:lnTo>
                    <a:lnTo>
                      <a:pt x="1000" y="93"/>
                    </a:lnTo>
                    <a:lnTo>
                      <a:pt x="986" y="84"/>
                    </a:lnTo>
                    <a:lnTo>
                      <a:pt x="983" y="84"/>
                    </a:lnTo>
                    <a:lnTo>
                      <a:pt x="983" y="82"/>
                    </a:lnTo>
                    <a:lnTo>
                      <a:pt x="981" y="82"/>
                    </a:lnTo>
                    <a:lnTo>
                      <a:pt x="981" y="84"/>
                    </a:lnTo>
                    <a:lnTo>
                      <a:pt x="977" y="84"/>
                    </a:lnTo>
                    <a:lnTo>
                      <a:pt x="975" y="84"/>
                    </a:lnTo>
                    <a:lnTo>
                      <a:pt x="975" y="84"/>
                    </a:lnTo>
                    <a:lnTo>
                      <a:pt x="973" y="84"/>
                    </a:lnTo>
                    <a:lnTo>
                      <a:pt x="973" y="84"/>
                    </a:lnTo>
                    <a:lnTo>
                      <a:pt x="971" y="82"/>
                    </a:lnTo>
                    <a:lnTo>
                      <a:pt x="973" y="82"/>
                    </a:lnTo>
                    <a:lnTo>
                      <a:pt x="975" y="78"/>
                    </a:lnTo>
                    <a:lnTo>
                      <a:pt x="975" y="78"/>
                    </a:lnTo>
                    <a:lnTo>
                      <a:pt x="975" y="78"/>
                    </a:lnTo>
                    <a:lnTo>
                      <a:pt x="975" y="76"/>
                    </a:lnTo>
                    <a:lnTo>
                      <a:pt x="975" y="74"/>
                    </a:lnTo>
                    <a:lnTo>
                      <a:pt x="975" y="74"/>
                    </a:lnTo>
                    <a:lnTo>
                      <a:pt x="973" y="72"/>
                    </a:lnTo>
                    <a:lnTo>
                      <a:pt x="971" y="70"/>
                    </a:lnTo>
                    <a:lnTo>
                      <a:pt x="965" y="66"/>
                    </a:lnTo>
                    <a:lnTo>
                      <a:pt x="963" y="64"/>
                    </a:lnTo>
                    <a:lnTo>
                      <a:pt x="963" y="63"/>
                    </a:lnTo>
                    <a:lnTo>
                      <a:pt x="963" y="61"/>
                    </a:lnTo>
                    <a:lnTo>
                      <a:pt x="963" y="61"/>
                    </a:lnTo>
                    <a:lnTo>
                      <a:pt x="962" y="59"/>
                    </a:lnTo>
                    <a:lnTo>
                      <a:pt x="962" y="59"/>
                    </a:lnTo>
                    <a:lnTo>
                      <a:pt x="958" y="59"/>
                    </a:lnTo>
                    <a:lnTo>
                      <a:pt x="954" y="57"/>
                    </a:lnTo>
                    <a:lnTo>
                      <a:pt x="948" y="53"/>
                    </a:lnTo>
                    <a:lnTo>
                      <a:pt x="946" y="51"/>
                    </a:lnTo>
                    <a:lnTo>
                      <a:pt x="946" y="51"/>
                    </a:lnTo>
                    <a:lnTo>
                      <a:pt x="944" y="53"/>
                    </a:lnTo>
                    <a:lnTo>
                      <a:pt x="942" y="53"/>
                    </a:lnTo>
                    <a:lnTo>
                      <a:pt x="937" y="55"/>
                    </a:lnTo>
                    <a:lnTo>
                      <a:pt x="933" y="57"/>
                    </a:lnTo>
                    <a:lnTo>
                      <a:pt x="933" y="61"/>
                    </a:lnTo>
                    <a:lnTo>
                      <a:pt x="923" y="63"/>
                    </a:lnTo>
                    <a:lnTo>
                      <a:pt x="921" y="63"/>
                    </a:lnTo>
                    <a:lnTo>
                      <a:pt x="921" y="63"/>
                    </a:lnTo>
                    <a:lnTo>
                      <a:pt x="920" y="63"/>
                    </a:lnTo>
                    <a:lnTo>
                      <a:pt x="920" y="63"/>
                    </a:lnTo>
                    <a:lnTo>
                      <a:pt x="920" y="61"/>
                    </a:lnTo>
                    <a:lnTo>
                      <a:pt x="920" y="61"/>
                    </a:lnTo>
                    <a:lnTo>
                      <a:pt x="918" y="61"/>
                    </a:lnTo>
                    <a:lnTo>
                      <a:pt x="916" y="63"/>
                    </a:lnTo>
                    <a:lnTo>
                      <a:pt x="914" y="63"/>
                    </a:lnTo>
                    <a:lnTo>
                      <a:pt x="912" y="64"/>
                    </a:lnTo>
                    <a:lnTo>
                      <a:pt x="912" y="64"/>
                    </a:lnTo>
                    <a:lnTo>
                      <a:pt x="910" y="64"/>
                    </a:lnTo>
                    <a:lnTo>
                      <a:pt x="908" y="66"/>
                    </a:lnTo>
                    <a:lnTo>
                      <a:pt x="906" y="66"/>
                    </a:lnTo>
                    <a:lnTo>
                      <a:pt x="904" y="66"/>
                    </a:lnTo>
                    <a:lnTo>
                      <a:pt x="902" y="64"/>
                    </a:lnTo>
                    <a:lnTo>
                      <a:pt x="902" y="64"/>
                    </a:lnTo>
                    <a:lnTo>
                      <a:pt x="901" y="63"/>
                    </a:lnTo>
                    <a:lnTo>
                      <a:pt x="901" y="61"/>
                    </a:lnTo>
                    <a:lnTo>
                      <a:pt x="899" y="59"/>
                    </a:lnTo>
                    <a:lnTo>
                      <a:pt x="897" y="57"/>
                    </a:lnTo>
                    <a:lnTo>
                      <a:pt x="895" y="57"/>
                    </a:lnTo>
                    <a:lnTo>
                      <a:pt x="893" y="57"/>
                    </a:lnTo>
                    <a:lnTo>
                      <a:pt x="885" y="59"/>
                    </a:lnTo>
                    <a:lnTo>
                      <a:pt x="881" y="57"/>
                    </a:lnTo>
                    <a:lnTo>
                      <a:pt x="880" y="59"/>
                    </a:lnTo>
                    <a:lnTo>
                      <a:pt x="880" y="59"/>
                    </a:lnTo>
                    <a:lnTo>
                      <a:pt x="876" y="61"/>
                    </a:lnTo>
                    <a:lnTo>
                      <a:pt x="874" y="63"/>
                    </a:lnTo>
                    <a:lnTo>
                      <a:pt x="872" y="63"/>
                    </a:lnTo>
                    <a:lnTo>
                      <a:pt x="870" y="64"/>
                    </a:lnTo>
                    <a:lnTo>
                      <a:pt x="868" y="64"/>
                    </a:lnTo>
                    <a:lnTo>
                      <a:pt x="866" y="64"/>
                    </a:lnTo>
                    <a:lnTo>
                      <a:pt x="866" y="63"/>
                    </a:lnTo>
                    <a:lnTo>
                      <a:pt x="866" y="61"/>
                    </a:lnTo>
                    <a:lnTo>
                      <a:pt x="866" y="59"/>
                    </a:lnTo>
                    <a:lnTo>
                      <a:pt x="866" y="59"/>
                    </a:lnTo>
                    <a:lnTo>
                      <a:pt x="864" y="57"/>
                    </a:lnTo>
                    <a:lnTo>
                      <a:pt x="864" y="57"/>
                    </a:lnTo>
                    <a:lnTo>
                      <a:pt x="864" y="53"/>
                    </a:lnTo>
                    <a:lnTo>
                      <a:pt x="860" y="51"/>
                    </a:lnTo>
                    <a:lnTo>
                      <a:pt x="859" y="47"/>
                    </a:lnTo>
                    <a:lnTo>
                      <a:pt x="857" y="45"/>
                    </a:lnTo>
                    <a:lnTo>
                      <a:pt x="851" y="44"/>
                    </a:lnTo>
                    <a:lnTo>
                      <a:pt x="849" y="44"/>
                    </a:lnTo>
                    <a:lnTo>
                      <a:pt x="847" y="44"/>
                    </a:lnTo>
                    <a:lnTo>
                      <a:pt x="845" y="44"/>
                    </a:lnTo>
                    <a:lnTo>
                      <a:pt x="843" y="44"/>
                    </a:lnTo>
                    <a:lnTo>
                      <a:pt x="840" y="44"/>
                    </a:lnTo>
                    <a:lnTo>
                      <a:pt x="836" y="44"/>
                    </a:lnTo>
                    <a:lnTo>
                      <a:pt x="834" y="44"/>
                    </a:lnTo>
                    <a:lnTo>
                      <a:pt x="830" y="40"/>
                    </a:lnTo>
                    <a:lnTo>
                      <a:pt x="828" y="42"/>
                    </a:lnTo>
                    <a:lnTo>
                      <a:pt x="826" y="42"/>
                    </a:lnTo>
                    <a:lnTo>
                      <a:pt x="826" y="42"/>
                    </a:lnTo>
                    <a:lnTo>
                      <a:pt x="826" y="44"/>
                    </a:lnTo>
                    <a:lnTo>
                      <a:pt x="826" y="45"/>
                    </a:lnTo>
                    <a:lnTo>
                      <a:pt x="826" y="47"/>
                    </a:lnTo>
                    <a:lnTo>
                      <a:pt x="824" y="49"/>
                    </a:lnTo>
                    <a:lnTo>
                      <a:pt x="822" y="49"/>
                    </a:lnTo>
                    <a:lnTo>
                      <a:pt x="819" y="51"/>
                    </a:lnTo>
                    <a:lnTo>
                      <a:pt x="811" y="53"/>
                    </a:lnTo>
                    <a:lnTo>
                      <a:pt x="807" y="55"/>
                    </a:lnTo>
                    <a:lnTo>
                      <a:pt x="798" y="55"/>
                    </a:lnTo>
                    <a:lnTo>
                      <a:pt x="792" y="57"/>
                    </a:lnTo>
                    <a:lnTo>
                      <a:pt x="788" y="59"/>
                    </a:lnTo>
                    <a:lnTo>
                      <a:pt x="788" y="61"/>
                    </a:lnTo>
                    <a:lnTo>
                      <a:pt x="788" y="61"/>
                    </a:lnTo>
                    <a:lnTo>
                      <a:pt x="788" y="63"/>
                    </a:lnTo>
                    <a:lnTo>
                      <a:pt x="788" y="64"/>
                    </a:lnTo>
                    <a:lnTo>
                      <a:pt x="788" y="64"/>
                    </a:lnTo>
                    <a:lnTo>
                      <a:pt x="788" y="66"/>
                    </a:lnTo>
                    <a:lnTo>
                      <a:pt x="786" y="68"/>
                    </a:lnTo>
                    <a:lnTo>
                      <a:pt x="786" y="68"/>
                    </a:lnTo>
                    <a:lnTo>
                      <a:pt x="780" y="68"/>
                    </a:lnTo>
                    <a:lnTo>
                      <a:pt x="777" y="70"/>
                    </a:lnTo>
                    <a:lnTo>
                      <a:pt x="773" y="70"/>
                    </a:lnTo>
                    <a:lnTo>
                      <a:pt x="765" y="72"/>
                    </a:lnTo>
                    <a:lnTo>
                      <a:pt x="761" y="72"/>
                    </a:lnTo>
                    <a:lnTo>
                      <a:pt x="759" y="72"/>
                    </a:lnTo>
                    <a:lnTo>
                      <a:pt x="750" y="72"/>
                    </a:lnTo>
                    <a:lnTo>
                      <a:pt x="742" y="70"/>
                    </a:lnTo>
                    <a:lnTo>
                      <a:pt x="742" y="70"/>
                    </a:lnTo>
                    <a:lnTo>
                      <a:pt x="738" y="68"/>
                    </a:lnTo>
                    <a:lnTo>
                      <a:pt x="738" y="66"/>
                    </a:lnTo>
                    <a:lnTo>
                      <a:pt x="737" y="66"/>
                    </a:lnTo>
                    <a:lnTo>
                      <a:pt x="735" y="66"/>
                    </a:lnTo>
                    <a:lnTo>
                      <a:pt x="733" y="66"/>
                    </a:lnTo>
                    <a:lnTo>
                      <a:pt x="731" y="66"/>
                    </a:lnTo>
                    <a:lnTo>
                      <a:pt x="731" y="68"/>
                    </a:lnTo>
                    <a:lnTo>
                      <a:pt x="729" y="68"/>
                    </a:lnTo>
                    <a:lnTo>
                      <a:pt x="727" y="68"/>
                    </a:lnTo>
                    <a:lnTo>
                      <a:pt x="727" y="68"/>
                    </a:lnTo>
                    <a:lnTo>
                      <a:pt x="725" y="68"/>
                    </a:lnTo>
                    <a:lnTo>
                      <a:pt x="725" y="68"/>
                    </a:lnTo>
                    <a:lnTo>
                      <a:pt x="725" y="68"/>
                    </a:lnTo>
                    <a:lnTo>
                      <a:pt x="725" y="68"/>
                    </a:lnTo>
                    <a:lnTo>
                      <a:pt x="725" y="68"/>
                    </a:lnTo>
                    <a:lnTo>
                      <a:pt x="725" y="66"/>
                    </a:lnTo>
                    <a:lnTo>
                      <a:pt x="725" y="63"/>
                    </a:lnTo>
                    <a:lnTo>
                      <a:pt x="725" y="61"/>
                    </a:lnTo>
                    <a:lnTo>
                      <a:pt x="723" y="59"/>
                    </a:lnTo>
                    <a:lnTo>
                      <a:pt x="723" y="55"/>
                    </a:lnTo>
                    <a:lnTo>
                      <a:pt x="723" y="53"/>
                    </a:lnTo>
                    <a:lnTo>
                      <a:pt x="721" y="53"/>
                    </a:lnTo>
                    <a:lnTo>
                      <a:pt x="721" y="53"/>
                    </a:lnTo>
                    <a:lnTo>
                      <a:pt x="717" y="53"/>
                    </a:lnTo>
                    <a:lnTo>
                      <a:pt x="717" y="53"/>
                    </a:lnTo>
                    <a:lnTo>
                      <a:pt x="716" y="53"/>
                    </a:lnTo>
                    <a:lnTo>
                      <a:pt x="714" y="53"/>
                    </a:lnTo>
                    <a:lnTo>
                      <a:pt x="714" y="55"/>
                    </a:lnTo>
                    <a:lnTo>
                      <a:pt x="710" y="59"/>
                    </a:lnTo>
                    <a:lnTo>
                      <a:pt x="704" y="61"/>
                    </a:lnTo>
                    <a:lnTo>
                      <a:pt x="698" y="61"/>
                    </a:lnTo>
                    <a:lnTo>
                      <a:pt x="696" y="63"/>
                    </a:lnTo>
                    <a:lnTo>
                      <a:pt x="695" y="64"/>
                    </a:lnTo>
                    <a:lnTo>
                      <a:pt x="693" y="66"/>
                    </a:lnTo>
                    <a:lnTo>
                      <a:pt x="691" y="70"/>
                    </a:lnTo>
                    <a:lnTo>
                      <a:pt x="687" y="72"/>
                    </a:lnTo>
                    <a:lnTo>
                      <a:pt x="683" y="74"/>
                    </a:lnTo>
                    <a:lnTo>
                      <a:pt x="676" y="78"/>
                    </a:lnTo>
                    <a:lnTo>
                      <a:pt x="660" y="84"/>
                    </a:lnTo>
                    <a:lnTo>
                      <a:pt x="658" y="84"/>
                    </a:lnTo>
                    <a:lnTo>
                      <a:pt x="656" y="84"/>
                    </a:lnTo>
                    <a:lnTo>
                      <a:pt x="653" y="82"/>
                    </a:lnTo>
                    <a:lnTo>
                      <a:pt x="647" y="80"/>
                    </a:lnTo>
                    <a:lnTo>
                      <a:pt x="647" y="80"/>
                    </a:lnTo>
                    <a:lnTo>
                      <a:pt x="645" y="80"/>
                    </a:lnTo>
                    <a:lnTo>
                      <a:pt x="641" y="82"/>
                    </a:lnTo>
                    <a:lnTo>
                      <a:pt x="639" y="84"/>
                    </a:lnTo>
                    <a:lnTo>
                      <a:pt x="635" y="85"/>
                    </a:lnTo>
                    <a:lnTo>
                      <a:pt x="634" y="85"/>
                    </a:lnTo>
                    <a:lnTo>
                      <a:pt x="634" y="85"/>
                    </a:lnTo>
                    <a:lnTo>
                      <a:pt x="634" y="85"/>
                    </a:lnTo>
                    <a:lnTo>
                      <a:pt x="632" y="84"/>
                    </a:lnTo>
                    <a:lnTo>
                      <a:pt x="632" y="84"/>
                    </a:lnTo>
                    <a:lnTo>
                      <a:pt x="628" y="84"/>
                    </a:lnTo>
                    <a:lnTo>
                      <a:pt x="626" y="84"/>
                    </a:lnTo>
                    <a:lnTo>
                      <a:pt x="624" y="84"/>
                    </a:lnTo>
                    <a:lnTo>
                      <a:pt x="624" y="84"/>
                    </a:lnTo>
                    <a:lnTo>
                      <a:pt x="622" y="85"/>
                    </a:lnTo>
                    <a:lnTo>
                      <a:pt x="620" y="85"/>
                    </a:lnTo>
                    <a:lnTo>
                      <a:pt x="618" y="85"/>
                    </a:lnTo>
                    <a:lnTo>
                      <a:pt x="618" y="85"/>
                    </a:lnTo>
                    <a:lnTo>
                      <a:pt x="616" y="84"/>
                    </a:lnTo>
                    <a:lnTo>
                      <a:pt x="616" y="84"/>
                    </a:lnTo>
                    <a:lnTo>
                      <a:pt x="614" y="82"/>
                    </a:lnTo>
                    <a:lnTo>
                      <a:pt x="614" y="82"/>
                    </a:lnTo>
                    <a:lnTo>
                      <a:pt x="613" y="82"/>
                    </a:lnTo>
                    <a:lnTo>
                      <a:pt x="611" y="80"/>
                    </a:lnTo>
                    <a:lnTo>
                      <a:pt x="611" y="82"/>
                    </a:lnTo>
                    <a:lnTo>
                      <a:pt x="611" y="82"/>
                    </a:lnTo>
                    <a:lnTo>
                      <a:pt x="609" y="84"/>
                    </a:lnTo>
                    <a:lnTo>
                      <a:pt x="609" y="84"/>
                    </a:lnTo>
                    <a:lnTo>
                      <a:pt x="607" y="84"/>
                    </a:lnTo>
                    <a:lnTo>
                      <a:pt x="607" y="84"/>
                    </a:lnTo>
                    <a:lnTo>
                      <a:pt x="607" y="82"/>
                    </a:lnTo>
                    <a:lnTo>
                      <a:pt x="607" y="80"/>
                    </a:lnTo>
                    <a:lnTo>
                      <a:pt x="603" y="74"/>
                    </a:lnTo>
                    <a:lnTo>
                      <a:pt x="601" y="70"/>
                    </a:lnTo>
                    <a:lnTo>
                      <a:pt x="601" y="70"/>
                    </a:lnTo>
                    <a:lnTo>
                      <a:pt x="601" y="68"/>
                    </a:lnTo>
                    <a:lnTo>
                      <a:pt x="601" y="66"/>
                    </a:lnTo>
                    <a:lnTo>
                      <a:pt x="601" y="64"/>
                    </a:lnTo>
                    <a:lnTo>
                      <a:pt x="601" y="64"/>
                    </a:lnTo>
                    <a:lnTo>
                      <a:pt x="601" y="63"/>
                    </a:lnTo>
                    <a:lnTo>
                      <a:pt x="603" y="63"/>
                    </a:lnTo>
                    <a:lnTo>
                      <a:pt x="616" y="64"/>
                    </a:lnTo>
                    <a:lnTo>
                      <a:pt x="618" y="64"/>
                    </a:lnTo>
                    <a:lnTo>
                      <a:pt x="618" y="63"/>
                    </a:lnTo>
                    <a:lnTo>
                      <a:pt x="618" y="63"/>
                    </a:lnTo>
                    <a:lnTo>
                      <a:pt x="618" y="61"/>
                    </a:lnTo>
                    <a:lnTo>
                      <a:pt x="616" y="59"/>
                    </a:lnTo>
                    <a:lnTo>
                      <a:pt x="616" y="59"/>
                    </a:lnTo>
                    <a:lnTo>
                      <a:pt x="616" y="57"/>
                    </a:lnTo>
                    <a:lnTo>
                      <a:pt x="616" y="55"/>
                    </a:lnTo>
                    <a:lnTo>
                      <a:pt x="616" y="53"/>
                    </a:lnTo>
                    <a:lnTo>
                      <a:pt x="616" y="44"/>
                    </a:lnTo>
                    <a:lnTo>
                      <a:pt x="614" y="42"/>
                    </a:lnTo>
                    <a:lnTo>
                      <a:pt x="614" y="40"/>
                    </a:lnTo>
                    <a:lnTo>
                      <a:pt x="613" y="40"/>
                    </a:lnTo>
                    <a:lnTo>
                      <a:pt x="611" y="38"/>
                    </a:lnTo>
                    <a:lnTo>
                      <a:pt x="609" y="38"/>
                    </a:lnTo>
                    <a:lnTo>
                      <a:pt x="609" y="38"/>
                    </a:lnTo>
                    <a:lnTo>
                      <a:pt x="609" y="38"/>
                    </a:lnTo>
                    <a:lnTo>
                      <a:pt x="609" y="36"/>
                    </a:lnTo>
                    <a:lnTo>
                      <a:pt x="609" y="36"/>
                    </a:lnTo>
                    <a:lnTo>
                      <a:pt x="607" y="34"/>
                    </a:lnTo>
                    <a:lnTo>
                      <a:pt x="605" y="34"/>
                    </a:lnTo>
                    <a:lnTo>
                      <a:pt x="605" y="34"/>
                    </a:lnTo>
                    <a:lnTo>
                      <a:pt x="588" y="32"/>
                    </a:lnTo>
                    <a:lnTo>
                      <a:pt x="586" y="34"/>
                    </a:lnTo>
                    <a:lnTo>
                      <a:pt x="584" y="34"/>
                    </a:lnTo>
                    <a:lnTo>
                      <a:pt x="584" y="36"/>
                    </a:lnTo>
                    <a:lnTo>
                      <a:pt x="582" y="38"/>
                    </a:lnTo>
                    <a:lnTo>
                      <a:pt x="578" y="38"/>
                    </a:lnTo>
                    <a:lnTo>
                      <a:pt x="578" y="38"/>
                    </a:lnTo>
                    <a:lnTo>
                      <a:pt x="576" y="40"/>
                    </a:lnTo>
                    <a:lnTo>
                      <a:pt x="576" y="42"/>
                    </a:lnTo>
                    <a:lnTo>
                      <a:pt x="574" y="42"/>
                    </a:lnTo>
                    <a:lnTo>
                      <a:pt x="574" y="42"/>
                    </a:lnTo>
                    <a:lnTo>
                      <a:pt x="573" y="42"/>
                    </a:lnTo>
                    <a:lnTo>
                      <a:pt x="573" y="42"/>
                    </a:lnTo>
                    <a:lnTo>
                      <a:pt x="571" y="42"/>
                    </a:lnTo>
                    <a:lnTo>
                      <a:pt x="571" y="42"/>
                    </a:lnTo>
                    <a:lnTo>
                      <a:pt x="571" y="40"/>
                    </a:lnTo>
                    <a:lnTo>
                      <a:pt x="571" y="40"/>
                    </a:lnTo>
                    <a:lnTo>
                      <a:pt x="569" y="40"/>
                    </a:lnTo>
                    <a:lnTo>
                      <a:pt x="567" y="38"/>
                    </a:lnTo>
                    <a:lnTo>
                      <a:pt x="561" y="40"/>
                    </a:lnTo>
                    <a:lnTo>
                      <a:pt x="555" y="42"/>
                    </a:lnTo>
                    <a:lnTo>
                      <a:pt x="550" y="44"/>
                    </a:lnTo>
                    <a:lnTo>
                      <a:pt x="536" y="53"/>
                    </a:lnTo>
                    <a:lnTo>
                      <a:pt x="534" y="55"/>
                    </a:lnTo>
                    <a:lnTo>
                      <a:pt x="527" y="55"/>
                    </a:lnTo>
                    <a:lnTo>
                      <a:pt x="523" y="57"/>
                    </a:lnTo>
                    <a:lnTo>
                      <a:pt x="521" y="59"/>
                    </a:lnTo>
                    <a:lnTo>
                      <a:pt x="519" y="63"/>
                    </a:lnTo>
                    <a:lnTo>
                      <a:pt x="519" y="64"/>
                    </a:lnTo>
                    <a:lnTo>
                      <a:pt x="519" y="64"/>
                    </a:lnTo>
                    <a:lnTo>
                      <a:pt x="519" y="68"/>
                    </a:lnTo>
                    <a:lnTo>
                      <a:pt x="519" y="68"/>
                    </a:lnTo>
                    <a:lnTo>
                      <a:pt x="519" y="70"/>
                    </a:lnTo>
                    <a:lnTo>
                      <a:pt x="519" y="70"/>
                    </a:lnTo>
                    <a:lnTo>
                      <a:pt x="519" y="70"/>
                    </a:lnTo>
                    <a:lnTo>
                      <a:pt x="519" y="72"/>
                    </a:lnTo>
                    <a:lnTo>
                      <a:pt x="517" y="74"/>
                    </a:lnTo>
                    <a:lnTo>
                      <a:pt x="515" y="74"/>
                    </a:lnTo>
                    <a:lnTo>
                      <a:pt x="515" y="76"/>
                    </a:lnTo>
                    <a:lnTo>
                      <a:pt x="512" y="82"/>
                    </a:lnTo>
                    <a:lnTo>
                      <a:pt x="512" y="82"/>
                    </a:lnTo>
                    <a:lnTo>
                      <a:pt x="510" y="84"/>
                    </a:lnTo>
                    <a:lnTo>
                      <a:pt x="506" y="85"/>
                    </a:lnTo>
                    <a:lnTo>
                      <a:pt x="502" y="89"/>
                    </a:lnTo>
                    <a:lnTo>
                      <a:pt x="500" y="89"/>
                    </a:lnTo>
                    <a:lnTo>
                      <a:pt x="500" y="91"/>
                    </a:lnTo>
                    <a:lnTo>
                      <a:pt x="500" y="93"/>
                    </a:lnTo>
                    <a:lnTo>
                      <a:pt x="502" y="93"/>
                    </a:lnTo>
                    <a:lnTo>
                      <a:pt x="502" y="97"/>
                    </a:lnTo>
                    <a:lnTo>
                      <a:pt x="502" y="103"/>
                    </a:lnTo>
                    <a:lnTo>
                      <a:pt x="502" y="104"/>
                    </a:lnTo>
                    <a:lnTo>
                      <a:pt x="500" y="106"/>
                    </a:lnTo>
                    <a:lnTo>
                      <a:pt x="500" y="108"/>
                    </a:lnTo>
                    <a:lnTo>
                      <a:pt x="498" y="110"/>
                    </a:lnTo>
                    <a:lnTo>
                      <a:pt x="489" y="110"/>
                    </a:lnTo>
                    <a:lnTo>
                      <a:pt x="487" y="110"/>
                    </a:lnTo>
                    <a:lnTo>
                      <a:pt x="483" y="112"/>
                    </a:lnTo>
                    <a:lnTo>
                      <a:pt x="481" y="114"/>
                    </a:lnTo>
                    <a:lnTo>
                      <a:pt x="479" y="116"/>
                    </a:lnTo>
                    <a:lnTo>
                      <a:pt x="477" y="120"/>
                    </a:lnTo>
                    <a:lnTo>
                      <a:pt x="475" y="122"/>
                    </a:lnTo>
                    <a:lnTo>
                      <a:pt x="471" y="123"/>
                    </a:lnTo>
                    <a:lnTo>
                      <a:pt x="468" y="125"/>
                    </a:lnTo>
                    <a:lnTo>
                      <a:pt x="460" y="125"/>
                    </a:lnTo>
                    <a:lnTo>
                      <a:pt x="456" y="127"/>
                    </a:lnTo>
                    <a:lnTo>
                      <a:pt x="445" y="125"/>
                    </a:lnTo>
                    <a:lnTo>
                      <a:pt x="441" y="123"/>
                    </a:lnTo>
                    <a:lnTo>
                      <a:pt x="439" y="122"/>
                    </a:lnTo>
                    <a:lnTo>
                      <a:pt x="435" y="116"/>
                    </a:lnTo>
                    <a:lnTo>
                      <a:pt x="433" y="116"/>
                    </a:lnTo>
                    <a:lnTo>
                      <a:pt x="433" y="114"/>
                    </a:lnTo>
                    <a:lnTo>
                      <a:pt x="433" y="114"/>
                    </a:lnTo>
                    <a:lnTo>
                      <a:pt x="433" y="114"/>
                    </a:lnTo>
                    <a:lnTo>
                      <a:pt x="433" y="114"/>
                    </a:lnTo>
                    <a:lnTo>
                      <a:pt x="435" y="114"/>
                    </a:lnTo>
                    <a:lnTo>
                      <a:pt x="435" y="114"/>
                    </a:lnTo>
                    <a:lnTo>
                      <a:pt x="435" y="114"/>
                    </a:lnTo>
                    <a:lnTo>
                      <a:pt x="437" y="114"/>
                    </a:lnTo>
                    <a:lnTo>
                      <a:pt x="439" y="112"/>
                    </a:lnTo>
                    <a:lnTo>
                      <a:pt x="439" y="110"/>
                    </a:lnTo>
                    <a:lnTo>
                      <a:pt x="437" y="104"/>
                    </a:lnTo>
                    <a:lnTo>
                      <a:pt x="437" y="99"/>
                    </a:lnTo>
                    <a:lnTo>
                      <a:pt x="435" y="91"/>
                    </a:lnTo>
                    <a:lnTo>
                      <a:pt x="433" y="89"/>
                    </a:lnTo>
                    <a:lnTo>
                      <a:pt x="431" y="87"/>
                    </a:lnTo>
                    <a:lnTo>
                      <a:pt x="430" y="87"/>
                    </a:lnTo>
                    <a:lnTo>
                      <a:pt x="428" y="87"/>
                    </a:lnTo>
                    <a:lnTo>
                      <a:pt x="428" y="87"/>
                    </a:lnTo>
                    <a:lnTo>
                      <a:pt x="426" y="87"/>
                    </a:lnTo>
                    <a:lnTo>
                      <a:pt x="420" y="85"/>
                    </a:lnTo>
                    <a:lnTo>
                      <a:pt x="414" y="84"/>
                    </a:lnTo>
                    <a:lnTo>
                      <a:pt x="412" y="84"/>
                    </a:lnTo>
                    <a:lnTo>
                      <a:pt x="409" y="84"/>
                    </a:lnTo>
                    <a:lnTo>
                      <a:pt x="405" y="84"/>
                    </a:lnTo>
                    <a:lnTo>
                      <a:pt x="397" y="85"/>
                    </a:lnTo>
                    <a:lnTo>
                      <a:pt x="384" y="85"/>
                    </a:lnTo>
                    <a:lnTo>
                      <a:pt x="378" y="85"/>
                    </a:lnTo>
                    <a:lnTo>
                      <a:pt x="374" y="85"/>
                    </a:lnTo>
                    <a:lnTo>
                      <a:pt x="372" y="85"/>
                    </a:lnTo>
                    <a:lnTo>
                      <a:pt x="370" y="85"/>
                    </a:lnTo>
                    <a:lnTo>
                      <a:pt x="367" y="85"/>
                    </a:lnTo>
                    <a:lnTo>
                      <a:pt x="363" y="87"/>
                    </a:lnTo>
                    <a:lnTo>
                      <a:pt x="361" y="87"/>
                    </a:lnTo>
                    <a:lnTo>
                      <a:pt x="355" y="85"/>
                    </a:lnTo>
                    <a:lnTo>
                      <a:pt x="344" y="85"/>
                    </a:lnTo>
                    <a:lnTo>
                      <a:pt x="342" y="85"/>
                    </a:lnTo>
                    <a:lnTo>
                      <a:pt x="340" y="85"/>
                    </a:lnTo>
                    <a:lnTo>
                      <a:pt x="340" y="85"/>
                    </a:lnTo>
                    <a:lnTo>
                      <a:pt x="334" y="85"/>
                    </a:lnTo>
                    <a:lnTo>
                      <a:pt x="321" y="84"/>
                    </a:lnTo>
                    <a:lnTo>
                      <a:pt x="315" y="80"/>
                    </a:lnTo>
                    <a:lnTo>
                      <a:pt x="313" y="80"/>
                    </a:lnTo>
                    <a:lnTo>
                      <a:pt x="311" y="78"/>
                    </a:lnTo>
                    <a:lnTo>
                      <a:pt x="311" y="76"/>
                    </a:lnTo>
                    <a:lnTo>
                      <a:pt x="309" y="76"/>
                    </a:lnTo>
                    <a:lnTo>
                      <a:pt x="309" y="72"/>
                    </a:lnTo>
                    <a:lnTo>
                      <a:pt x="304" y="64"/>
                    </a:lnTo>
                    <a:lnTo>
                      <a:pt x="302" y="63"/>
                    </a:lnTo>
                    <a:lnTo>
                      <a:pt x="300" y="61"/>
                    </a:lnTo>
                    <a:lnTo>
                      <a:pt x="296" y="59"/>
                    </a:lnTo>
                    <a:lnTo>
                      <a:pt x="296" y="59"/>
                    </a:lnTo>
                    <a:lnTo>
                      <a:pt x="290" y="59"/>
                    </a:lnTo>
                    <a:lnTo>
                      <a:pt x="288" y="59"/>
                    </a:lnTo>
                    <a:lnTo>
                      <a:pt x="286" y="57"/>
                    </a:lnTo>
                    <a:lnTo>
                      <a:pt x="285" y="55"/>
                    </a:lnTo>
                    <a:lnTo>
                      <a:pt x="283" y="55"/>
                    </a:lnTo>
                    <a:lnTo>
                      <a:pt x="283" y="55"/>
                    </a:lnTo>
                    <a:lnTo>
                      <a:pt x="279" y="53"/>
                    </a:lnTo>
                    <a:lnTo>
                      <a:pt x="277" y="53"/>
                    </a:lnTo>
                    <a:lnTo>
                      <a:pt x="266" y="55"/>
                    </a:lnTo>
                    <a:lnTo>
                      <a:pt x="262" y="55"/>
                    </a:lnTo>
                    <a:lnTo>
                      <a:pt x="258" y="55"/>
                    </a:lnTo>
                    <a:lnTo>
                      <a:pt x="258" y="53"/>
                    </a:lnTo>
                    <a:lnTo>
                      <a:pt x="256" y="53"/>
                    </a:lnTo>
                    <a:lnTo>
                      <a:pt x="254" y="51"/>
                    </a:lnTo>
                    <a:lnTo>
                      <a:pt x="252" y="49"/>
                    </a:lnTo>
                    <a:lnTo>
                      <a:pt x="246" y="47"/>
                    </a:lnTo>
                    <a:lnTo>
                      <a:pt x="245" y="47"/>
                    </a:lnTo>
                    <a:lnTo>
                      <a:pt x="241" y="44"/>
                    </a:lnTo>
                    <a:lnTo>
                      <a:pt x="237" y="42"/>
                    </a:lnTo>
                    <a:lnTo>
                      <a:pt x="235" y="40"/>
                    </a:lnTo>
                    <a:lnTo>
                      <a:pt x="235" y="40"/>
                    </a:lnTo>
                    <a:lnTo>
                      <a:pt x="233" y="38"/>
                    </a:lnTo>
                    <a:lnTo>
                      <a:pt x="233" y="34"/>
                    </a:lnTo>
                    <a:lnTo>
                      <a:pt x="233" y="32"/>
                    </a:lnTo>
                    <a:lnTo>
                      <a:pt x="231" y="30"/>
                    </a:lnTo>
                    <a:lnTo>
                      <a:pt x="231" y="28"/>
                    </a:lnTo>
                    <a:lnTo>
                      <a:pt x="231" y="26"/>
                    </a:lnTo>
                    <a:lnTo>
                      <a:pt x="231" y="15"/>
                    </a:lnTo>
                    <a:lnTo>
                      <a:pt x="231" y="13"/>
                    </a:lnTo>
                    <a:lnTo>
                      <a:pt x="231" y="9"/>
                    </a:lnTo>
                    <a:lnTo>
                      <a:pt x="224" y="2"/>
                    </a:lnTo>
                    <a:lnTo>
                      <a:pt x="222" y="0"/>
                    </a:lnTo>
                    <a:lnTo>
                      <a:pt x="220" y="0"/>
                    </a:lnTo>
                    <a:lnTo>
                      <a:pt x="214" y="4"/>
                    </a:lnTo>
                    <a:lnTo>
                      <a:pt x="212" y="4"/>
                    </a:lnTo>
                    <a:lnTo>
                      <a:pt x="210" y="5"/>
                    </a:lnTo>
                    <a:lnTo>
                      <a:pt x="208" y="5"/>
                    </a:lnTo>
                    <a:lnTo>
                      <a:pt x="206" y="7"/>
                    </a:lnTo>
                    <a:lnTo>
                      <a:pt x="206" y="7"/>
                    </a:lnTo>
                    <a:lnTo>
                      <a:pt x="206" y="7"/>
                    </a:lnTo>
                    <a:lnTo>
                      <a:pt x="206" y="7"/>
                    </a:lnTo>
                    <a:lnTo>
                      <a:pt x="206" y="9"/>
                    </a:lnTo>
                    <a:lnTo>
                      <a:pt x="206" y="9"/>
                    </a:lnTo>
                    <a:lnTo>
                      <a:pt x="204" y="11"/>
                    </a:lnTo>
                    <a:lnTo>
                      <a:pt x="201" y="11"/>
                    </a:lnTo>
                    <a:lnTo>
                      <a:pt x="199" y="11"/>
                    </a:lnTo>
                    <a:lnTo>
                      <a:pt x="195" y="13"/>
                    </a:lnTo>
                    <a:lnTo>
                      <a:pt x="193" y="11"/>
                    </a:lnTo>
                    <a:lnTo>
                      <a:pt x="189" y="9"/>
                    </a:lnTo>
                    <a:lnTo>
                      <a:pt x="185" y="9"/>
                    </a:lnTo>
                    <a:lnTo>
                      <a:pt x="178" y="9"/>
                    </a:lnTo>
                    <a:lnTo>
                      <a:pt x="166" y="15"/>
                    </a:lnTo>
                    <a:lnTo>
                      <a:pt x="166" y="17"/>
                    </a:lnTo>
                    <a:lnTo>
                      <a:pt x="163" y="19"/>
                    </a:lnTo>
                    <a:lnTo>
                      <a:pt x="159" y="21"/>
                    </a:lnTo>
                    <a:lnTo>
                      <a:pt x="157" y="19"/>
                    </a:lnTo>
                    <a:lnTo>
                      <a:pt x="153" y="23"/>
                    </a:lnTo>
                    <a:lnTo>
                      <a:pt x="149" y="23"/>
                    </a:lnTo>
                    <a:lnTo>
                      <a:pt x="147" y="23"/>
                    </a:lnTo>
                    <a:lnTo>
                      <a:pt x="145" y="25"/>
                    </a:lnTo>
                    <a:lnTo>
                      <a:pt x="145" y="26"/>
                    </a:lnTo>
                    <a:lnTo>
                      <a:pt x="143" y="28"/>
                    </a:lnTo>
                    <a:lnTo>
                      <a:pt x="145" y="30"/>
                    </a:lnTo>
                    <a:lnTo>
                      <a:pt x="145" y="34"/>
                    </a:lnTo>
                    <a:lnTo>
                      <a:pt x="145" y="36"/>
                    </a:lnTo>
                    <a:lnTo>
                      <a:pt x="145" y="38"/>
                    </a:lnTo>
                    <a:lnTo>
                      <a:pt x="145" y="40"/>
                    </a:lnTo>
                    <a:lnTo>
                      <a:pt x="147" y="40"/>
                    </a:lnTo>
                    <a:lnTo>
                      <a:pt x="149" y="42"/>
                    </a:lnTo>
                    <a:lnTo>
                      <a:pt x="149" y="44"/>
                    </a:lnTo>
                    <a:lnTo>
                      <a:pt x="149" y="45"/>
                    </a:lnTo>
                    <a:lnTo>
                      <a:pt x="149" y="49"/>
                    </a:lnTo>
                    <a:lnTo>
                      <a:pt x="145" y="51"/>
                    </a:lnTo>
                    <a:lnTo>
                      <a:pt x="143" y="53"/>
                    </a:lnTo>
                    <a:lnTo>
                      <a:pt x="140" y="53"/>
                    </a:lnTo>
                    <a:lnTo>
                      <a:pt x="140" y="53"/>
                    </a:lnTo>
                    <a:lnTo>
                      <a:pt x="140" y="55"/>
                    </a:lnTo>
                    <a:lnTo>
                      <a:pt x="140" y="57"/>
                    </a:lnTo>
                    <a:lnTo>
                      <a:pt x="140" y="59"/>
                    </a:lnTo>
                    <a:lnTo>
                      <a:pt x="143" y="63"/>
                    </a:lnTo>
                    <a:lnTo>
                      <a:pt x="145" y="64"/>
                    </a:lnTo>
                    <a:lnTo>
                      <a:pt x="145" y="66"/>
                    </a:lnTo>
                    <a:lnTo>
                      <a:pt x="147" y="68"/>
                    </a:lnTo>
                    <a:lnTo>
                      <a:pt x="147" y="68"/>
                    </a:lnTo>
                    <a:lnTo>
                      <a:pt x="149" y="68"/>
                    </a:lnTo>
                    <a:lnTo>
                      <a:pt x="151" y="66"/>
                    </a:lnTo>
                    <a:lnTo>
                      <a:pt x="161" y="64"/>
                    </a:lnTo>
                    <a:lnTo>
                      <a:pt x="164" y="64"/>
                    </a:lnTo>
                    <a:lnTo>
                      <a:pt x="170" y="63"/>
                    </a:lnTo>
                    <a:lnTo>
                      <a:pt x="172" y="61"/>
                    </a:lnTo>
                    <a:lnTo>
                      <a:pt x="174" y="61"/>
                    </a:lnTo>
                    <a:lnTo>
                      <a:pt x="184" y="63"/>
                    </a:lnTo>
                    <a:lnTo>
                      <a:pt x="185" y="63"/>
                    </a:lnTo>
                    <a:lnTo>
                      <a:pt x="185" y="61"/>
                    </a:lnTo>
                    <a:lnTo>
                      <a:pt x="185" y="61"/>
                    </a:lnTo>
                    <a:lnTo>
                      <a:pt x="187" y="61"/>
                    </a:lnTo>
                    <a:lnTo>
                      <a:pt x="187" y="61"/>
                    </a:lnTo>
                    <a:lnTo>
                      <a:pt x="189" y="61"/>
                    </a:lnTo>
                    <a:lnTo>
                      <a:pt x="189" y="61"/>
                    </a:lnTo>
                    <a:lnTo>
                      <a:pt x="191" y="61"/>
                    </a:lnTo>
                    <a:lnTo>
                      <a:pt x="191" y="61"/>
                    </a:lnTo>
                    <a:lnTo>
                      <a:pt x="191" y="63"/>
                    </a:lnTo>
                    <a:lnTo>
                      <a:pt x="193" y="63"/>
                    </a:lnTo>
                    <a:lnTo>
                      <a:pt x="193" y="63"/>
                    </a:lnTo>
                    <a:lnTo>
                      <a:pt x="199" y="63"/>
                    </a:lnTo>
                    <a:lnTo>
                      <a:pt x="201" y="63"/>
                    </a:lnTo>
                    <a:lnTo>
                      <a:pt x="201" y="61"/>
                    </a:lnTo>
                    <a:lnTo>
                      <a:pt x="203" y="61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6" y="59"/>
                    </a:lnTo>
                    <a:lnTo>
                      <a:pt x="206" y="61"/>
                    </a:lnTo>
                    <a:lnTo>
                      <a:pt x="206" y="61"/>
                    </a:lnTo>
                    <a:lnTo>
                      <a:pt x="206" y="63"/>
                    </a:lnTo>
                    <a:lnTo>
                      <a:pt x="208" y="63"/>
                    </a:lnTo>
                    <a:lnTo>
                      <a:pt x="208" y="64"/>
                    </a:lnTo>
                    <a:lnTo>
                      <a:pt x="208" y="66"/>
                    </a:lnTo>
                    <a:lnTo>
                      <a:pt x="206" y="66"/>
                    </a:lnTo>
                    <a:lnTo>
                      <a:pt x="206" y="68"/>
                    </a:lnTo>
                    <a:lnTo>
                      <a:pt x="204" y="68"/>
                    </a:lnTo>
                    <a:lnTo>
                      <a:pt x="203" y="70"/>
                    </a:lnTo>
                    <a:lnTo>
                      <a:pt x="201" y="72"/>
                    </a:lnTo>
                    <a:lnTo>
                      <a:pt x="184" y="76"/>
                    </a:lnTo>
                    <a:lnTo>
                      <a:pt x="182" y="76"/>
                    </a:lnTo>
                    <a:lnTo>
                      <a:pt x="182" y="76"/>
                    </a:lnTo>
                    <a:lnTo>
                      <a:pt x="178" y="74"/>
                    </a:lnTo>
                    <a:lnTo>
                      <a:pt x="176" y="74"/>
                    </a:lnTo>
                    <a:lnTo>
                      <a:pt x="176" y="74"/>
                    </a:lnTo>
                    <a:lnTo>
                      <a:pt x="174" y="76"/>
                    </a:lnTo>
                    <a:lnTo>
                      <a:pt x="170" y="80"/>
                    </a:lnTo>
                    <a:lnTo>
                      <a:pt x="168" y="82"/>
                    </a:lnTo>
                    <a:lnTo>
                      <a:pt x="166" y="82"/>
                    </a:lnTo>
                    <a:lnTo>
                      <a:pt x="164" y="84"/>
                    </a:lnTo>
                    <a:lnTo>
                      <a:pt x="163" y="87"/>
                    </a:lnTo>
                    <a:lnTo>
                      <a:pt x="161" y="95"/>
                    </a:lnTo>
                    <a:lnTo>
                      <a:pt x="161" y="97"/>
                    </a:lnTo>
                    <a:lnTo>
                      <a:pt x="159" y="99"/>
                    </a:lnTo>
                    <a:lnTo>
                      <a:pt x="151" y="101"/>
                    </a:lnTo>
                    <a:lnTo>
                      <a:pt x="149" y="101"/>
                    </a:lnTo>
                    <a:lnTo>
                      <a:pt x="149" y="101"/>
                    </a:lnTo>
                    <a:lnTo>
                      <a:pt x="147" y="99"/>
                    </a:lnTo>
                    <a:lnTo>
                      <a:pt x="145" y="99"/>
                    </a:lnTo>
                    <a:lnTo>
                      <a:pt x="145" y="99"/>
                    </a:lnTo>
                    <a:lnTo>
                      <a:pt x="143" y="101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0" y="110"/>
                    </a:lnTo>
                    <a:lnTo>
                      <a:pt x="138" y="110"/>
                    </a:lnTo>
                    <a:lnTo>
                      <a:pt x="136" y="110"/>
                    </a:lnTo>
                    <a:lnTo>
                      <a:pt x="136" y="112"/>
                    </a:lnTo>
                    <a:lnTo>
                      <a:pt x="134" y="112"/>
                    </a:lnTo>
                    <a:lnTo>
                      <a:pt x="132" y="114"/>
                    </a:lnTo>
                    <a:lnTo>
                      <a:pt x="132" y="114"/>
                    </a:lnTo>
                    <a:lnTo>
                      <a:pt x="132" y="114"/>
                    </a:lnTo>
                    <a:lnTo>
                      <a:pt x="130" y="114"/>
                    </a:lnTo>
                    <a:lnTo>
                      <a:pt x="130" y="114"/>
                    </a:lnTo>
                    <a:lnTo>
                      <a:pt x="128" y="114"/>
                    </a:lnTo>
                    <a:lnTo>
                      <a:pt x="128" y="114"/>
                    </a:lnTo>
                    <a:lnTo>
                      <a:pt x="126" y="114"/>
                    </a:lnTo>
                    <a:lnTo>
                      <a:pt x="126" y="114"/>
                    </a:lnTo>
                    <a:lnTo>
                      <a:pt x="124" y="114"/>
                    </a:lnTo>
                    <a:lnTo>
                      <a:pt x="124" y="114"/>
                    </a:lnTo>
                    <a:lnTo>
                      <a:pt x="117" y="110"/>
                    </a:lnTo>
                    <a:lnTo>
                      <a:pt x="115" y="110"/>
                    </a:lnTo>
                    <a:lnTo>
                      <a:pt x="115" y="110"/>
                    </a:lnTo>
                    <a:lnTo>
                      <a:pt x="115" y="110"/>
                    </a:lnTo>
                    <a:lnTo>
                      <a:pt x="113" y="110"/>
                    </a:lnTo>
                    <a:lnTo>
                      <a:pt x="113" y="112"/>
                    </a:lnTo>
                    <a:lnTo>
                      <a:pt x="115" y="114"/>
                    </a:lnTo>
                    <a:lnTo>
                      <a:pt x="119" y="118"/>
                    </a:lnTo>
                    <a:lnTo>
                      <a:pt x="124" y="122"/>
                    </a:lnTo>
                    <a:lnTo>
                      <a:pt x="126" y="122"/>
                    </a:lnTo>
                    <a:lnTo>
                      <a:pt x="128" y="122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2" y="120"/>
                    </a:lnTo>
                    <a:lnTo>
                      <a:pt x="132" y="122"/>
                    </a:lnTo>
                    <a:lnTo>
                      <a:pt x="134" y="122"/>
                    </a:lnTo>
                    <a:lnTo>
                      <a:pt x="136" y="123"/>
                    </a:lnTo>
                    <a:lnTo>
                      <a:pt x="136" y="125"/>
                    </a:lnTo>
                    <a:lnTo>
                      <a:pt x="138" y="127"/>
                    </a:lnTo>
                    <a:lnTo>
                      <a:pt x="142" y="129"/>
                    </a:lnTo>
                    <a:lnTo>
                      <a:pt x="143" y="129"/>
                    </a:lnTo>
                    <a:lnTo>
                      <a:pt x="145" y="131"/>
                    </a:lnTo>
                    <a:lnTo>
                      <a:pt x="147" y="133"/>
                    </a:lnTo>
                    <a:lnTo>
                      <a:pt x="149" y="137"/>
                    </a:lnTo>
                    <a:lnTo>
                      <a:pt x="151" y="139"/>
                    </a:lnTo>
                    <a:lnTo>
                      <a:pt x="153" y="139"/>
                    </a:lnTo>
                    <a:lnTo>
                      <a:pt x="153" y="141"/>
                    </a:lnTo>
                    <a:lnTo>
                      <a:pt x="155" y="142"/>
                    </a:lnTo>
                    <a:lnTo>
                      <a:pt x="155" y="146"/>
                    </a:lnTo>
                    <a:lnTo>
                      <a:pt x="157" y="148"/>
                    </a:lnTo>
                    <a:lnTo>
                      <a:pt x="159" y="152"/>
                    </a:lnTo>
                    <a:lnTo>
                      <a:pt x="159" y="163"/>
                    </a:lnTo>
                    <a:lnTo>
                      <a:pt x="159" y="165"/>
                    </a:lnTo>
                    <a:lnTo>
                      <a:pt x="159" y="167"/>
                    </a:lnTo>
                    <a:lnTo>
                      <a:pt x="159" y="169"/>
                    </a:lnTo>
                    <a:lnTo>
                      <a:pt x="157" y="169"/>
                    </a:lnTo>
                    <a:lnTo>
                      <a:pt x="157" y="171"/>
                    </a:lnTo>
                    <a:lnTo>
                      <a:pt x="149" y="177"/>
                    </a:lnTo>
                    <a:lnTo>
                      <a:pt x="145" y="181"/>
                    </a:lnTo>
                    <a:lnTo>
                      <a:pt x="145" y="181"/>
                    </a:lnTo>
                    <a:lnTo>
                      <a:pt x="147" y="182"/>
                    </a:lnTo>
                    <a:lnTo>
                      <a:pt x="145" y="184"/>
                    </a:lnTo>
                    <a:lnTo>
                      <a:pt x="145" y="186"/>
                    </a:lnTo>
                    <a:lnTo>
                      <a:pt x="145" y="188"/>
                    </a:lnTo>
                    <a:lnTo>
                      <a:pt x="143" y="190"/>
                    </a:lnTo>
                    <a:lnTo>
                      <a:pt x="142" y="190"/>
                    </a:lnTo>
                    <a:lnTo>
                      <a:pt x="140" y="192"/>
                    </a:lnTo>
                    <a:lnTo>
                      <a:pt x="138" y="192"/>
                    </a:lnTo>
                    <a:lnTo>
                      <a:pt x="134" y="194"/>
                    </a:lnTo>
                    <a:lnTo>
                      <a:pt x="132" y="196"/>
                    </a:lnTo>
                    <a:lnTo>
                      <a:pt x="126" y="196"/>
                    </a:lnTo>
                    <a:lnTo>
                      <a:pt x="124" y="196"/>
                    </a:lnTo>
                    <a:lnTo>
                      <a:pt x="124" y="196"/>
                    </a:lnTo>
                    <a:lnTo>
                      <a:pt x="122" y="194"/>
                    </a:lnTo>
                    <a:lnTo>
                      <a:pt x="121" y="190"/>
                    </a:lnTo>
                    <a:lnTo>
                      <a:pt x="119" y="188"/>
                    </a:lnTo>
                    <a:lnTo>
                      <a:pt x="117" y="186"/>
                    </a:lnTo>
                    <a:lnTo>
                      <a:pt x="113" y="184"/>
                    </a:lnTo>
                    <a:lnTo>
                      <a:pt x="107" y="182"/>
                    </a:lnTo>
                    <a:lnTo>
                      <a:pt x="107" y="181"/>
                    </a:lnTo>
                    <a:lnTo>
                      <a:pt x="105" y="181"/>
                    </a:lnTo>
                    <a:lnTo>
                      <a:pt x="105" y="181"/>
                    </a:lnTo>
                    <a:lnTo>
                      <a:pt x="103" y="181"/>
                    </a:lnTo>
                    <a:lnTo>
                      <a:pt x="103" y="177"/>
                    </a:lnTo>
                    <a:lnTo>
                      <a:pt x="102" y="175"/>
                    </a:lnTo>
                    <a:lnTo>
                      <a:pt x="102" y="175"/>
                    </a:lnTo>
                    <a:lnTo>
                      <a:pt x="102" y="175"/>
                    </a:lnTo>
                    <a:lnTo>
                      <a:pt x="100" y="175"/>
                    </a:lnTo>
                    <a:lnTo>
                      <a:pt x="100" y="175"/>
                    </a:lnTo>
                    <a:lnTo>
                      <a:pt x="98" y="175"/>
                    </a:lnTo>
                    <a:lnTo>
                      <a:pt x="98" y="179"/>
                    </a:lnTo>
                    <a:lnTo>
                      <a:pt x="96" y="181"/>
                    </a:lnTo>
                    <a:lnTo>
                      <a:pt x="92" y="182"/>
                    </a:lnTo>
                    <a:lnTo>
                      <a:pt x="90" y="182"/>
                    </a:lnTo>
                    <a:lnTo>
                      <a:pt x="90" y="184"/>
                    </a:lnTo>
                    <a:lnTo>
                      <a:pt x="90" y="184"/>
                    </a:lnTo>
                    <a:lnTo>
                      <a:pt x="92" y="184"/>
                    </a:lnTo>
                    <a:lnTo>
                      <a:pt x="92" y="184"/>
                    </a:lnTo>
                    <a:lnTo>
                      <a:pt x="94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6" y="190"/>
                    </a:lnTo>
                    <a:lnTo>
                      <a:pt x="98" y="192"/>
                    </a:lnTo>
                    <a:lnTo>
                      <a:pt x="98" y="192"/>
                    </a:lnTo>
                    <a:lnTo>
                      <a:pt x="98" y="192"/>
                    </a:lnTo>
                    <a:lnTo>
                      <a:pt x="100" y="192"/>
                    </a:lnTo>
                    <a:lnTo>
                      <a:pt x="100" y="192"/>
                    </a:lnTo>
                    <a:lnTo>
                      <a:pt x="100" y="192"/>
                    </a:lnTo>
                    <a:lnTo>
                      <a:pt x="102" y="192"/>
                    </a:lnTo>
                    <a:lnTo>
                      <a:pt x="102" y="194"/>
                    </a:lnTo>
                    <a:lnTo>
                      <a:pt x="102" y="198"/>
                    </a:lnTo>
                    <a:lnTo>
                      <a:pt x="102" y="201"/>
                    </a:lnTo>
                    <a:lnTo>
                      <a:pt x="100" y="203"/>
                    </a:lnTo>
                    <a:lnTo>
                      <a:pt x="94" y="215"/>
                    </a:lnTo>
                    <a:lnTo>
                      <a:pt x="90" y="219"/>
                    </a:lnTo>
                    <a:lnTo>
                      <a:pt x="90" y="220"/>
                    </a:lnTo>
                    <a:lnTo>
                      <a:pt x="90" y="222"/>
                    </a:lnTo>
                    <a:lnTo>
                      <a:pt x="90" y="222"/>
                    </a:lnTo>
                    <a:lnTo>
                      <a:pt x="92" y="222"/>
                    </a:lnTo>
                    <a:lnTo>
                      <a:pt x="92" y="222"/>
                    </a:lnTo>
                    <a:lnTo>
                      <a:pt x="92" y="224"/>
                    </a:lnTo>
                    <a:lnTo>
                      <a:pt x="92" y="224"/>
                    </a:lnTo>
                    <a:lnTo>
                      <a:pt x="94" y="226"/>
                    </a:lnTo>
                    <a:lnTo>
                      <a:pt x="94" y="228"/>
                    </a:lnTo>
                    <a:lnTo>
                      <a:pt x="94" y="234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2" y="240"/>
                    </a:lnTo>
                    <a:lnTo>
                      <a:pt x="92" y="241"/>
                    </a:lnTo>
                    <a:lnTo>
                      <a:pt x="92" y="241"/>
                    </a:lnTo>
                    <a:lnTo>
                      <a:pt x="92" y="245"/>
                    </a:lnTo>
                    <a:lnTo>
                      <a:pt x="92" y="245"/>
                    </a:lnTo>
                    <a:lnTo>
                      <a:pt x="92" y="247"/>
                    </a:lnTo>
                    <a:lnTo>
                      <a:pt x="90" y="247"/>
                    </a:lnTo>
                    <a:lnTo>
                      <a:pt x="88" y="247"/>
                    </a:lnTo>
                    <a:lnTo>
                      <a:pt x="86" y="245"/>
                    </a:lnTo>
                    <a:lnTo>
                      <a:pt x="79" y="245"/>
                    </a:lnTo>
                    <a:lnTo>
                      <a:pt x="77" y="245"/>
                    </a:lnTo>
                    <a:lnTo>
                      <a:pt x="77" y="245"/>
                    </a:lnTo>
                    <a:lnTo>
                      <a:pt x="75" y="247"/>
                    </a:lnTo>
                    <a:lnTo>
                      <a:pt x="75" y="247"/>
                    </a:lnTo>
                    <a:lnTo>
                      <a:pt x="75" y="249"/>
                    </a:lnTo>
                    <a:lnTo>
                      <a:pt x="75" y="249"/>
                    </a:lnTo>
                    <a:lnTo>
                      <a:pt x="75" y="251"/>
                    </a:lnTo>
                    <a:lnTo>
                      <a:pt x="75" y="251"/>
                    </a:lnTo>
                    <a:lnTo>
                      <a:pt x="75" y="253"/>
                    </a:lnTo>
                    <a:lnTo>
                      <a:pt x="73" y="253"/>
                    </a:lnTo>
                    <a:lnTo>
                      <a:pt x="71" y="255"/>
                    </a:lnTo>
                    <a:lnTo>
                      <a:pt x="69" y="255"/>
                    </a:lnTo>
                    <a:lnTo>
                      <a:pt x="69" y="255"/>
                    </a:lnTo>
                    <a:lnTo>
                      <a:pt x="65" y="255"/>
                    </a:lnTo>
                    <a:lnTo>
                      <a:pt x="65" y="260"/>
                    </a:lnTo>
                    <a:lnTo>
                      <a:pt x="65" y="262"/>
                    </a:lnTo>
                    <a:lnTo>
                      <a:pt x="65" y="264"/>
                    </a:lnTo>
                    <a:lnTo>
                      <a:pt x="63" y="266"/>
                    </a:lnTo>
                    <a:lnTo>
                      <a:pt x="63" y="266"/>
                    </a:lnTo>
                    <a:lnTo>
                      <a:pt x="63" y="266"/>
                    </a:lnTo>
                    <a:lnTo>
                      <a:pt x="61" y="266"/>
                    </a:lnTo>
                    <a:lnTo>
                      <a:pt x="60" y="264"/>
                    </a:lnTo>
                    <a:lnTo>
                      <a:pt x="60" y="264"/>
                    </a:lnTo>
                    <a:lnTo>
                      <a:pt x="58" y="262"/>
                    </a:lnTo>
                    <a:lnTo>
                      <a:pt x="58" y="262"/>
                    </a:lnTo>
                    <a:lnTo>
                      <a:pt x="56" y="262"/>
                    </a:lnTo>
                    <a:lnTo>
                      <a:pt x="56" y="262"/>
                    </a:lnTo>
                    <a:lnTo>
                      <a:pt x="54" y="264"/>
                    </a:lnTo>
                    <a:lnTo>
                      <a:pt x="54" y="264"/>
                    </a:lnTo>
                    <a:lnTo>
                      <a:pt x="52" y="264"/>
                    </a:lnTo>
                    <a:lnTo>
                      <a:pt x="52" y="264"/>
                    </a:lnTo>
                    <a:lnTo>
                      <a:pt x="52" y="264"/>
                    </a:lnTo>
                    <a:lnTo>
                      <a:pt x="50" y="262"/>
                    </a:lnTo>
                    <a:lnTo>
                      <a:pt x="50" y="262"/>
                    </a:lnTo>
                    <a:lnTo>
                      <a:pt x="48" y="262"/>
                    </a:lnTo>
                    <a:lnTo>
                      <a:pt x="46" y="264"/>
                    </a:lnTo>
                    <a:lnTo>
                      <a:pt x="46" y="264"/>
                    </a:lnTo>
                    <a:lnTo>
                      <a:pt x="44" y="264"/>
                    </a:lnTo>
                    <a:lnTo>
                      <a:pt x="44" y="264"/>
                    </a:lnTo>
                    <a:lnTo>
                      <a:pt x="42" y="264"/>
                    </a:lnTo>
                    <a:lnTo>
                      <a:pt x="42" y="262"/>
                    </a:lnTo>
                    <a:lnTo>
                      <a:pt x="40" y="259"/>
                    </a:lnTo>
                    <a:lnTo>
                      <a:pt x="39" y="253"/>
                    </a:lnTo>
                    <a:lnTo>
                      <a:pt x="31" y="257"/>
                    </a:lnTo>
                    <a:lnTo>
                      <a:pt x="29" y="257"/>
                    </a:lnTo>
                    <a:lnTo>
                      <a:pt x="27" y="257"/>
                    </a:lnTo>
                    <a:lnTo>
                      <a:pt x="23" y="257"/>
                    </a:lnTo>
                    <a:lnTo>
                      <a:pt x="21" y="257"/>
                    </a:lnTo>
                    <a:lnTo>
                      <a:pt x="21" y="257"/>
                    </a:lnTo>
                    <a:lnTo>
                      <a:pt x="21" y="259"/>
                    </a:lnTo>
                    <a:lnTo>
                      <a:pt x="20" y="259"/>
                    </a:lnTo>
                    <a:lnTo>
                      <a:pt x="18" y="257"/>
                    </a:lnTo>
                    <a:lnTo>
                      <a:pt x="16" y="257"/>
                    </a:lnTo>
                    <a:lnTo>
                      <a:pt x="16" y="257"/>
                    </a:lnTo>
                    <a:lnTo>
                      <a:pt x="14" y="259"/>
                    </a:lnTo>
                    <a:lnTo>
                      <a:pt x="14" y="259"/>
                    </a:lnTo>
                    <a:lnTo>
                      <a:pt x="10" y="260"/>
                    </a:lnTo>
                    <a:lnTo>
                      <a:pt x="8" y="260"/>
                    </a:lnTo>
                    <a:lnTo>
                      <a:pt x="8" y="260"/>
                    </a:lnTo>
                    <a:lnTo>
                      <a:pt x="8" y="260"/>
                    </a:lnTo>
                    <a:lnTo>
                      <a:pt x="8" y="268"/>
                    </a:lnTo>
                    <a:lnTo>
                      <a:pt x="8" y="270"/>
                    </a:lnTo>
                    <a:lnTo>
                      <a:pt x="6" y="274"/>
                    </a:lnTo>
                    <a:lnTo>
                      <a:pt x="4" y="276"/>
                    </a:lnTo>
                    <a:lnTo>
                      <a:pt x="4" y="276"/>
                    </a:lnTo>
                    <a:lnTo>
                      <a:pt x="2" y="276"/>
                    </a:lnTo>
                    <a:lnTo>
                      <a:pt x="2" y="278"/>
                    </a:lnTo>
                    <a:lnTo>
                      <a:pt x="2" y="281"/>
                    </a:lnTo>
                    <a:lnTo>
                      <a:pt x="2" y="285"/>
                    </a:lnTo>
                    <a:lnTo>
                      <a:pt x="2" y="289"/>
                    </a:lnTo>
                    <a:lnTo>
                      <a:pt x="0" y="291"/>
                    </a:lnTo>
                    <a:lnTo>
                      <a:pt x="0" y="291"/>
                    </a:lnTo>
                    <a:lnTo>
                      <a:pt x="4" y="295"/>
                    </a:lnTo>
                    <a:lnTo>
                      <a:pt x="4" y="297"/>
                    </a:lnTo>
                    <a:lnTo>
                      <a:pt x="4" y="302"/>
                    </a:lnTo>
                    <a:lnTo>
                      <a:pt x="4" y="304"/>
                    </a:lnTo>
                    <a:lnTo>
                      <a:pt x="6" y="304"/>
                    </a:lnTo>
                    <a:lnTo>
                      <a:pt x="10" y="299"/>
                    </a:lnTo>
                    <a:lnTo>
                      <a:pt x="12" y="300"/>
                    </a:lnTo>
                    <a:lnTo>
                      <a:pt x="12" y="300"/>
                    </a:lnTo>
                    <a:lnTo>
                      <a:pt x="12" y="302"/>
                    </a:lnTo>
                    <a:lnTo>
                      <a:pt x="10" y="302"/>
                    </a:lnTo>
                    <a:lnTo>
                      <a:pt x="10" y="302"/>
                    </a:lnTo>
                    <a:lnTo>
                      <a:pt x="10" y="304"/>
                    </a:lnTo>
                    <a:lnTo>
                      <a:pt x="8" y="304"/>
                    </a:lnTo>
                    <a:lnTo>
                      <a:pt x="10" y="306"/>
                    </a:lnTo>
                    <a:lnTo>
                      <a:pt x="10" y="308"/>
                    </a:lnTo>
                    <a:lnTo>
                      <a:pt x="10" y="310"/>
                    </a:lnTo>
                    <a:lnTo>
                      <a:pt x="8" y="310"/>
                    </a:lnTo>
                    <a:lnTo>
                      <a:pt x="8" y="310"/>
                    </a:lnTo>
                    <a:lnTo>
                      <a:pt x="6" y="308"/>
                    </a:lnTo>
                    <a:lnTo>
                      <a:pt x="6" y="308"/>
                    </a:lnTo>
                    <a:lnTo>
                      <a:pt x="6" y="306"/>
                    </a:lnTo>
                    <a:lnTo>
                      <a:pt x="8" y="318"/>
                    </a:lnTo>
                    <a:lnTo>
                      <a:pt x="10" y="323"/>
                    </a:lnTo>
                    <a:lnTo>
                      <a:pt x="8" y="325"/>
                    </a:lnTo>
                    <a:lnTo>
                      <a:pt x="10" y="333"/>
                    </a:lnTo>
                    <a:lnTo>
                      <a:pt x="12" y="335"/>
                    </a:lnTo>
                    <a:lnTo>
                      <a:pt x="14" y="335"/>
                    </a:lnTo>
                    <a:lnTo>
                      <a:pt x="14" y="335"/>
                    </a:lnTo>
                    <a:lnTo>
                      <a:pt x="14" y="333"/>
                    </a:lnTo>
                    <a:lnTo>
                      <a:pt x="14" y="333"/>
                    </a:lnTo>
                    <a:lnTo>
                      <a:pt x="12" y="331"/>
                    </a:lnTo>
                    <a:lnTo>
                      <a:pt x="12" y="329"/>
                    </a:lnTo>
                    <a:lnTo>
                      <a:pt x="12" y="329"/>
                    </a:lnTo>
                    <a:lnTo>
                      <a:pt x="12" y="327"/>
                    </a:lnTo>
                    <a:lnTo>
                      <a:pt x="12" y="325"/>
                    </a:lnTo>
                    <a:lnTo>
                      <a:pt x="12" y="325"/>
                    </a:lnTo>
                    <a:lnTo>
                      <a:pt x="14" y="327"/>
                    </a:lnTo>
                    <a:lnTo>
                      <a:pt x="16" y="327"/>
                    </a:lnTo>
                    <a:lnTo>
                      <a:pt x="16" y="329"/>
                    </a:lnTo>
                    <a:lnTo>
                      <a:pt x="16" y="331"/>
                    </a:lnTo>
                    <a:lnTo>
                      <a:pt x="18" y="333"/>
                    </a:lnTo>
                    <a:lnTo>
                      <a:pt x="18" y="333"/>
                    </a:lnTo>
                    <a:lnTo>
                      <a:pt x="20" y="333"/>
                    </a:lnTo>
                    <a:lnTo>
                      <a:pt x="21" y="333"/>
                    </a:lnTo>
                    <a:lnTo>
                      <a:pt x="23" y="333"/>
                    </a:lnTo>
                    <a:lnTo>
                      <a:pt x="27" y="331"/>
                    </a:lnTo>
                    <a:lnTo>
                      <a:pt x="29" y="333"/>
                    </a:lnTo>
                    <a:lnTo>
                      <a:pt x="16" y="338"/>
                    </a:lnTo>
                    <a:lnTo>
                      <a:pt x="14" y="338"/>
                    </a:lnTo>
                    <a:lnTo>
                      <a:pt x="12" y="340"/>
                    </a:lnTo>
                    <a:lnTo>
                      <a:pt x="14" y="344"/>
                    </a:lnTo>
                    <a:lnTo>
                      <a:pt x="14" y="352"/>
                    </a:lnTo>
                    <a:lnTo>
                      <a:pt x="16" y="352"/>
                    </a:lnTo>
                    <a:lnTo>
                      <a:pt x="18" y="357"/>
                    </a:lnTo>
                    <a:lnTo>
                      <a:pt x="20" y="359"/>
                    </a:lnTo>
                    <a:lnTo>
                      <a:pt x="21" y="359"/>
                    </a:lnTo>
                    <a:lnTo>
                      <a:pt x="23" y="357"/>
                    </a:lnTo>
                    <a:lnTo>
                      <a:pt x="27" y="357"/>
                    </a:lnTo>
                    <a:lnTo>
                      <a:pt x="29" y="361"/>
                    </a:lnTo>
                    <a:lnTo>
                      <a:pt x="31" y="363"/>
                    </a:lnTo>
                    <a:lnTo>
                      <a:pt x="35" y="363"/>
                    </a:lnTo>
                    <a:lnTo>
                      <a:pt x="40" y="363"/>
                    </a:lnTo>
                    <a:lnTo>
                      <a:pt x="42" y="363"/>
                    </a:lnTo>
                    <a:lnTo>
                      <a:pt x="44" y="365"/>
                    </a:lnTo>
                    <a:lnTo>
                      <a:pt x="46" y="367"/>
                    </a:lnTo>
                    <a:lnTo>
                      <a:pt x="46" y="367"/>
                    </a:lnTo>
                    <a:lnTo>
                      <a:pt x="48" y="369"/>
                    </a:lnTo>
                    <a:lnTo>
                      <a:pt x="48" y="371"/>
                    </a:lnTo>
                    <a:lnTo>
                      <a:pt x="48" y="373"/>
                    </a:lnTo>
                    <a:lnTo>
                      <a:pt x="50" y="375"/>
                    </a:lnTo>
                    <a:lnTo>
                      <a:pt x="48" y="377"/>
                    </a:lnTo>
                    <a:lnTo>
                      <a:pt x="46" y="373"/>
                    </a:lnTo>
                    <a:lnTo>
                      <a:pt x="42" y="367"/>
                    </a:lnTo>
                    <a:lnTo>
                      <a:pt x="40" y="363"/>
                    </a:lnTo>
                    <a:lnTo>
                      <a:pt x="39" y="363"/>
                    </a:lnTo>
                    <a:lnTo>
                      <a:pt x="39" y="365"/>
                    </a:lnTo>
                    <a:lnTo>
                      <a:pt x="37" y="365"/>
                    </a:lnTo>
                    <a:lnTo>
                      <a:pt x="33" y="365"/>
                    </a:lnTo>
                    <a:lnTo>
                      <a:pt x="31" y="363"/>
                    </a:lnTo>
                    <a:lnTo>
                      <a:pt x="27" y="361"/>
                    </a:lnTo>
                    <a:lnTo>
                      <a:pt x="25" y="361"/>
                    </a:lnTo>
                    <a:lnTo>
                      <a:pt x="18" y="361"/>
                    </a:lnTo>
                    <a:lnTo>
                      <a:pt x="16" y="363"/>
                    </a:lnTo>
                    <a:lnTo>
                      <a:pt x="16" y="367"/>
                    </a:lnTo>
                    <a:lnTo>
                      <a:pt x="16" y="377"/>
                    </a:lnTo>
                    <a:lnTo>
                      <a:pt x="18" y="375"/>
                    </a:lnTo>
                    <a:lnTo>
                      <a:pt x="20" y="371"/>
                    </a:lnTo>
                    <a:lnTo>
                      <a:pt x="21" y="369"/>
                    </a:lnTo>
                    <a:lnTo>
                      <a:pt x="23" y="369"/>
                    </a:lnTo>
                    <a:lnTo>
                      <a:pt x="21" y="371"/>
                    </a:lnTo>
                    <a:lnTo>
                      <a:pt x="20" y="375"/>
                    </a:lnTo>
                    <a:lnTo>
                      <a:pt x="18" y="380"/>
                    </a:lnTo>
                    <a:lnTo>
                      <a:pt x="18" y="382"/>
                    </a:lnTo>
                    <a:lnTo>
                      <a:pt x="18" y="382"/>
                    </a:lnTo>
                    <a:lnTo>
                      <a:pt x="18" y="382"/>
                    </a:lnTo>
                    <a:lnTo>
                      <a:pt x="20" y="382"/>
                    </a:lnTo>
                    <a:lnTo>
                      <a:pt x="20" y="380"/>
                    </a:lnTo>
                    <a:lnTo>
                      <a:pt x="21" y="380"/>
                    </a:lnTo>
                    <a:lnTo>
                      <a:pt x="21" y="380"/>
                    </a:lnTo>
                    <a:lnTo>
                      <a:pt x="21" y="380"/>
                    </a:lnTo>
                    <a:lnTo>
                      <a:pt x="21" y="382"/>
                    </a:lnTo>
                    <a:lnTo>
                      <a:pt x="21" y="382"/>
                    </a:lnTo>
                    <a:lnTo>
                      <a:pt x="21" y="384"/>
                    </a:lnTo>
                    <a:lnTo>
                      <a:pt x="21" y="384"/>
                    </a:lnTo>
                    <a:lnTo>
                      <a:pt x="21" y="388"/>
                    </a:lnTo>
                    <a:lnTo>
                      <a:pt x="21" y="388"/>
                    </a:lnTo>
                    <a:lnTo>
                      <a:pt x="21" y="390"/>
                    </a:lnTo>
                    <a:lnTo>
                      <a:pt x="21" y="394"/>
                    </a:lnTo>
                    <a:lnTo>
                      <a:pt x="21" y="396"/>
                    </a:lnTo>
                    <a:lnTo>
                      <a:pt x="23" y="396"/>
                    </a:lnTo>
                    <a:lnTo>
                      <a:pt x="21" y="397"/>
                    </a:lnTo>
                    <a:lnTo>
                      <a:pt x="21" y="399"/>
                    </a:lnTo>
                    <a:lnTo>
                      <a:pt x="21" y="397"/>
                    </a:lnTo>
                    <a:lnTo>
                      <a:pt x="20" y="397"/>
                    </a:lnTo>
                    <a:lnTo>
                      <a:pt x="20" y="401"/>
                    </a:lnTo>
                    <a:lnTo>
                      <a:pt x="20" y="403"/>
                    </a:lnTo>
                    <a:lnTo>
                      <a:pt x="20" y="405"/>
                    </a:lnTo>
                    <a:lnTo>
                      <a:pt x="16" y="409"/>
                    </a:lnTo>
                    <a:lnTo>
                      <a:pt x="16" y="411"/>
                    </a:lnTo>
                    <a:lnTo>
                      <a:pt x="16" y="411"/>
                    </a:lnTo>
                    <a:lnTo>
                      <a:pt x="18" y="411"/>
                    </a:lnTo>
                    <a:lnTo>
                      <a:pt x="18" y="409"/>
                    </a:lnTo>
                    <a:lnTo>
                      <a:pt x="20" y="409"/>
                    </a:lnTo>
                    <a:lnTo>
                      <a:pt x="20" y="409"/>
                    </a:lnTo>
                    <a:lnTo>
                      <a:pt x="20" y="411"/>
                    </a:lnTo>
                    <a:lnTo>
                      <a:pt x="20" y="413"/>
                    </a:lnTo>
                    <a:lnTo>
                      <a:pt x="20" y="413"/>
                    </a:lnTo>
                    <a:lnTo>
                      <a:pt x="20" y="415"/>
                    </a:lnTo>
                    <a:lnTo>
                      <a:pt x="21" y="416"/>
                    </a:lnTo>
                    <a:lnTo>
                      <a:pt x="21" y="416"/>
                    </a:lnTo>
                    <a:lnTo>
                      <a:pt x="23" y="415"/>
                    </a:lnTo>
                    <a:lnTo>
                      <a:pt x="23" y="409"/>
                    </a:lnTo>
                    <a:lnTo>
                      <a:pt x="25" y="405"/>
                    </a:lnTo>
                    <a:lnTo>
                      <a:pt x="29" y="401"/>
                    </a:lnTo>
                    <a:lnTo>
                      <a:pt x="31" y="399"/>
                    </a:lnTo>
                    <a:lnTo>
                      <a:pt x="31" y="403"/>
                    </a:lnTo>
                    <a:lnTo>
                      <a:pt x="31" y="405"/>
                    </a:lnTo>
                    <a:lnTo>
                      <a:pt x="37" y="399"/>
                    </a:lnTo>
                    <a:lnTo>
                      <a:pt x="37" y="396"/>
                    </a:lnTo>
                    <a:lnTo>
                      <a:pt x="35" y="394"/>
                    </a:lnTo>
                    <a:lnTo>
                      <a:pt x="37" y="392"/>
                    </a:lnTo>
                    <a:lnTo>
                      <a:pt x="37" y="388"/>
                    </a:lnTo>
                    <a:lnTo>
                      <a:pt x="39" y="386"/>
                    </a:lnTo>
                    <a:lnTo>
                      <a:pt x="40" y="382"/>
                    </a:lnTo>
                    <a:lnTo>
                      <a:pt x="40" y="382"/>
                    </a:lnTo>
                    <a:lnTo>
                      <a:pt x="40" y="392"/>
                    </a:lnTo>
                    <a:lnTo>
                      <a:pt x="40" y="392"/>
                    </a:lnTo>
                    <a:lnTo>
                      <a:pt x="42" y="394"/>
                    </a:lnTo>
                    <a:lnTo>
                      <a:pt x="44" y="394"/>
                    </a:lnTo>
                    <a:lnTo>
                      <a:pt x="42" y="397"/>
                    </a:lnTo>
                    <a:lnTo>
                      <a:pt x="42" y="397"/>
                    </a:lnTo>
                    <a:lnTo>
                      <a:pt x="42" y="401"/>
                    </a:lnTo>
                    <a:lnTo>
                      <a:pt x="42" y="403"/>
                    </a:lnTo>
                    <a:lnTo>
                      <a:pt x="46" y="401"/>
                    </a:lnTo>
                    <a:lnTo>
                      <a:pt x="50" y="401"/>
                    </a:lnTo>
                    <a:lnTo>
                      <a:pt x="52" y="401"/>
                    </a:lnTo>
                    <a:lnTo>
                      <a:pt x="50" y="403"/>
                    </a:lnTo>
                    <a:lnTo>
                      <a:pt x="50" y="403"/>
                    </a:lnTo>
                    <a:lnTo>
                      <a:pt x="44" y="405"/>
                    </a:lnTo>
                    <a:lnTo>
                      <a:pt x="40" y="407"/>
                    </a:lnTo>
                    <a:lnTo>
                      <a:pt x="39" y="407"/>
                    </a:lnTo>
                    <a:lnTo>
                      <a:pt x="39" y="407"/>
                    </a:lnTo>
                    <a:lnTo>
                      <a:pt x="42" y="407"/>
                    </a:lnTo>
                    <a:lnTo>
                      <a:pt x="42" y="411"/>
                    </a:lnTo>
                    <a:lnTo>
                      <a:pt x="40" y="411"/>
                    </a:lnTo>
                    <a:lnTo>
                      <a:pt x="39" y="409"/>
                    </a:lnTo>
                    <a:lnTo>
                      <a:pt x="37" y="411"/>
                    </a:lnTo>
                    <a:lnTo>
                      <a:pt x="37" y="413"/>
                    </a:lnTo>
                    <a:lnTo>
                      <a:pt x="35" y="415"/>
                    </a:lnTo>
                    <a:lnTo>
                      <a:pt x="33" y="413"/>
                    </a:lnTo>
                    <a:lnTo>
                      <a:pt x="31" y="416"/>
                    </a:lnTo>
                    <a:lnTo>
                      <a:pt x="35" y="420"/>
                    </a:lnTo>
                    <a:lnTo>
                      <a:pt x="39" y="422"/>
                    </a:lnTo>
                    <a:lnTo>
                      <a:pt x="40" y="420"/>
                    </a:lnTo>
                    <a:lnTo>
                      <a:pt x="40" y="420"/>
                    </a:lnTo>
                    <a:lnTo>
                      <a:pt x="40" y="420"/>
                    </a:lnTo>
                    <a:lnTo>
                      <a:pt x="40" y="420"/>
                    </a:lnTo>
                    <a:lnTo>
                      <a:pt x="42" y="420"/>
                    </a:lnTo>
                    <a:lnTo>
                      <a:pt x="42" y="420"/>
                    </a:lnTo>
                    <a:lnTo>
                      <a:pt x="42" y="420"/>
                    </a:lnTo>
                    <a:lnTo>
                      <a:pt x="42" y="422"/>
                    </a:lnTo>
                    <a:lnTo>
                      <a:pt x="40" y="422"/>
                    </a:lnTo>
                    <a:lnTo>
                      <a:pt x="42" y="426"/>
                    </a:lnTo>
                    <a:lnTo>
                      <a:pt x="42" y="426"/>
                    </a:lnTo>
                    <a:lnTo>
                      <a:pt x="46" y="428"/>
                    </a:lnTo>
                    <a:lnTo>
                      <a:pt x="44" y="430"/>
                    </a:lnTo>
                    <a:lnTo>
                      <a:pt x="44" y="432"/>
                    </a:lnTo>
                    <a:lnTo>
                      <a:pt x="42" y="435"/>
                    </a:lnTo>
                    <a:lnTo>
                      <a:pt x="44" y="439"/>
                    </a:lnTo>
                    <a:lnTo>
                      <a:pt x="42" y="437"/>
                    </a:lnTo>
                    <a:lnTo>
                      <a:pt x="40" y="437"/>
                    </a:lnTo>
                    <a:lnTo>
                      <a:pt x="40" y="435"/>
                    </a:lnTo>
                    <a:lnTo>
                      <a:pt x="40" y="432"/>
                    </a:lnTo>
                    <a:lnTo>
                      <a:pt x="37" y="428"/>
                    </a:lnTo>
                    <a:lnTo>
                      <a:pt x="35" y="426"/>
                    </a:lnTo>
                    <a:lnTo>
                      <a:pt x="33" y="430"/>
                    </a:lnTo>
                    <a:lnTo>
                      <a:pt x="33" y="430"/>
                    </a:lnTo>
                    <a:lnTo>
                      <a:pt x="31" y="428"/>
                    </a:lnTo>
                    <a:lnTo>
                      <a:pt x="29" y="428"/>
                    </a:lnTo>
                    <a:lnTo>
                      <a:pt x="27" y="430"/>
                    </a:lnTo>
                    <a:lnTo>
                      <a:pt x="27" y="432"/>
                    </a:lnTo>
                    <a:lnTo>
                      <a:pt x="25" y="434"/>
                    </a:lnTo>
                    <a:lnTo>
                      <a:pt x="25" y="439"/>
                    </a:lnTo>
                    <a:lnTo>
                      <a:pt x="27" y="445"/>
                    </a:lnTo>
                    <a:lnTo>
                      <a:pt x="27" y="449"/>
                    </a:lnTo>
                    <a:lnTo>
                      <a:pt x="29" y="451"/>
                    </a:lnTo>
                    <a:lnTo>
                      <a:pt x="33" y="458"/>
                    </a:lnTo>
                    <a:lnTo>
                      <a:pt x="33" y="462"/>
                    </a:lnTo>
                    <a:lnTo>
                      <a:pt x="35" y="462"/>
                    </a:lnTo>
                    <a:lnTo>
                      <a:pt x="39" y="460"/>
                    </a:lnTo>
                    <a:lnTo>
                      <a:pt x="39" y="462"/>
                    </a:lnTo>
                    <a:lnTo>
                      <a:pt x="40" y="464"/>
                    </a:lnTo>
                    <a:lnTo>
                      <a:pt x="42" y="466"/>
                    </a:lnTo>
                    <a:lnTo>
                      <a:pt x="42" y="468"/>
                    </a:lnTo>
                    <a:lnTo>
                      <a:pt x="42" y="470"/>
                    </a:lnTo>
                    <a:lnTo>
                      <a:pt x="44" y="472"/>
                    </a:lnTo>
                    <a:lnTo>
                      <a:pt x="46" y="474"/>
                    </a:lnTo>
                    <a:lnTo>
                      <a:pt x="46" y="475"/>
                    </a:lnTo>
                    <a:lnTo>
                      <a:pt x="42" y="474"/>
                    </a:lnTo>
                    <a:lnTo>
                      <a:pt x="40" y="466"/>
                    </a:lnTo>
                    <a:lnTo>
                      <a:pt x="39" y="464"/>
                    </a:lnTo>
                    <a:lnTo>
                      <a:pt x="35" y="464"/>
                    </a:lnTo>
                    <a:lnTo>
                      <a:pt x="33" y="466"/>
                    </a:lnTo>
                    <a:lnTo>
                      <a:pt x="31" y="468"/>
                    </a:lnTo>
                    <a:lnTo>
                      <a:pt x="31" y="472"/>
                    </a:lnTo>
                    <a:lnTo>
                      <a:pt x="31" y="477"/>
                    </a:lnTo>
                    <a:lnTo>
                      <a:pt x="31" y="479"/>
                    </a:lnTo>
                    <a:lnTo>
                      <a:pt x="31" y="479"/>
                    </a:lnTo>
                    <a:lnTo>
                      <a:pt x="33" y="481"/>
                    </a:lnTo>
                    <a:lnTo>
                      <a:pt x="33" y="483"/>
                    </a:lnTo>
                    <a:lnTo>
                      <a:pt x="33" y="485"/>
                    </a:lnTo>
                    <a:lnTo>
                      <a:pt x="33" y="485"/>
                    </a:lnTo>
                    <a:lnTo>
                      <a:pt x="33" y="487"/>
                    </a:lnTo>
                    <a:lnTo>
                      <a:pt x="33" y="487"/>
                    </a:lnTo>
                    <a:lnTo>
                      <a:pt x="33" y="487"/>
                    </a:lnTo>
                    <a:lnTo>
                      <a:pt x="35" y="489"/>
                    </a:lnTo>
                    <a:lnTo>
                      <a:pt x="35" y="489"/>
                    </a:lnTo>
                    <a:lnTo>
                      <a:pt x="35" y="489"/>
                    </a:lnTo>
                    <a:lnTo>
                      <a:pt x="37" y="489"/>
                    </a:lnTo>
                    <a:lnTo>
                      <a:pt x="39" y="491"/>
                    </a:lnTo>
                    <a:lnTo>
                      <a:pt x="39" y="493"/>
                    </a:lnTo>
                    <a:lnTo>
                      <a:pt x="40" y="493"/>
                    </a:lnTo>
                    <a:lnTo>
                      <a:pt x="40" y="494"/>
                    </a:lnTo>
                    <a:lnTo>
                      <a:pt x="42" y="496"/>
                    </a:lnTo>
                    <a:lnTo>
                      <a:pt x="44" y="498"/>
                    </a:lnTo>
                    <a:lnTo>
                      <a:pt x="46" y="498"/>
                    </a:lnTo>
                    <a:lnTo>
                      <a:pt x="50" y="498"/>
                    </a:lnTo>
                    <a:lnTo>
                      <a:pt x="52" y="498"/>
                    </a:lnTo>
                    <a:lnTo>
                      <a:pt x="54" y="498"/>
                    </a:lnTo>
                    <a:lnTo>
                      <a:pt x="52" y="500"/>
                    </a:lnTo>
                    <a:lnTo>
                      <a:pt x="54" y="506"/>
                    </a:lnTo>
                    <a:lnTo>
                      <a:pt x="54" y="508"/>
                    </a:lnTo>
                    <a:lnTo>
                      <a:pt x="52" y="510"/>
                    </a:lnTo>
                    <a:lnTo>
                      <a:pt x="50" y="510"/>
                    </a:lnTo>
                    <a:lnTo>
                      <a:pt x="50" y="508"/>
                    </a:lnTo>
                    <a:lnTo>
                      <a:pt x="52" y="508"/>
                    </a:lnTo>
                    <a:lnTo>
                      <a:pt x="50" y="506"/>
                    </a:lnTo>
                    <a:lnTo>
                      <a:pt x="48" y="504"/>
                    </a:lnTo>
                    <a:lnTo>
                      <a:pt x="46" y="502"/>
                    </a:lnTo>
                    <a:lnTo>
                      <a:pt x="44" y="502"/>
                    </a:lnTo>
                    <a:lnTo>
                      <a:pt x="42" y="502"/>
                    </a:lnTo>
                    <a:lnTo>
                      <a:pt x="42" y="504"/>
                    </a:lnTo>
                    <a:lnTo>
                      <a:pt x="40" y="502"/>
                    </a:lnTo>
                    <a:lnTo>
                      <a:pt x="40" y="502"/>
                    </a:lnTo>
                    <a:lnTo>
                      <a:pt x="39" y="500"/>
                    </a:lnTo>
                    <a:lnTo>
                      <a:pt x="39" y="498"/>
                    </a:lnTo>
                    <a:lnTo>
                      <a:pt x="39" y="498"/>
                    </a:lnTo>
                    <a:lnTo>
                      <a:pt x="37" y="498"/>
                    </a:lnTo>
                    <a:lnTo>
                      <a:pt x="37" y="498"/>
                    </a:lnTo>
                    <a:lnTo>
                      <a:pt x="37" y="500"/>
                    </a:lnTo>
                    <a:lnTo>
                      <a:pt x="37" y="500"/>
                    </a:lnTo>
                    <a:lnTo>
                      <a:pt x="37" y="502"/>
                    </a:lnTo>
                    <a:lnTo>
                      <a:pt x="37" y="502"/>
                    </a:lnTo>
                    <a:lnTo>
                      <a:pt x="35" y="506"/>
                    </a:lnTo>
                    <a:lnTo>
                      <a:pt x="39" y="506"/>
                    </a:lnTo>
                    <a:lnTo>
                      <a:pt x="40" y="510"/>
                    </a:lnTo>
                    <a:lnTo>
                      <a:pt x="42" y="519"/>
                    </a:lnTo>
                    <a:lnTo>
                      <a:pt x="42" y="521"/>
                    </a:lnTo>
                    <a:lnTo>
                      <a:pt x="42" y="521"/>
                    </a:lnTo>
                    <a:lnTo>
                      <a:pt x="42" y="523"/>
                    </a:lnTo>
                    <a:lnTo>
                      <a:pt x="42" y="523"/>
                    </a:lnTo>
                    <a:lnTo>
                      <a:pt x="42" y="525"/>
                    </a:lnTo>
                    <a:lnTo>
                      <a:pt x="42" y="525"/>
                    </a:lnTo>
                    <a:lnTo>
                      <a:pt x="42" y="527"/>
                    </a:lnTo>
                    <a:lnTo>
                      <a:pt x="44" y="529"/>
                    </a:lnTo>
                    <a:lnTo>
                      <a:pt x="46" y="531"/>
                    </a:lnTo>
                    <a:lnTo>
                      <a:pt x="46" y="529"/>
                    </a:lnTo>
                    <a:lnTo>
                      <a:pt x="48" y="527"/>
                    </a:lnTo>
                    <a:lnTo>
                      <a:pt x="48" y="527"/>
                    </a:lnTo>
                    <a:lnTo>
                      <a:pt x="50" y="527"/>
                    </a:lnTo>
                    <a:lnTo>
                      <a:pt x="50" y="529"/>
                    </a:lnTo>
                    <a:lnTo>
                      <a:pt x="48" y="529"/>
                    </a:lnTo>
                    <a:lnTo>
                      <a:pt x="46" y="531"/>
                    </a:lnTo>
                    <a:lnTo>
                      <a:pt x="46" y="533"/>
                    </a:lnTo>
                    <a:lnTo>
                      <a:pt x="44" y="533"/>
                    </a:lnTo>
                    <a:lnTo>
                      <a:pt x="46" y="534"/>
                    </a:lnTo>
                    <a:lnTo>
                      <a:pt x="46" y="536"/>
                    </a:lnTo>
                    <a:lnTo>
                      <a:pt x="48" y="536"/>
                    </a:lnTo>
                    <a:lnTo>
                      <a:pt x="46" y="538"/>
                    </a:lnTo>
                    <a:lnTo>
                      <a:pt x="46" y="542"/>
                    </a:lnTo>
                    <a:lnTo>
                      <a:pt x="52" y="552"/>
                    </a:lnTo>
                    <a:lnTo>
                      <a:pt x="54" y="553"/>
                    </a:lnTo>
                    <a:lnTo>
                      <a:pt x="54" y="557"/>
                    </a:lnTo>
                    <a:lnTo>
                      <a:pt x="56" y="559"/>
                    </a:lnTo>
                    <a:lnTo>
                      <a:pt x="58" y="561"/>
                    </a:lnTo>
                    <a:lnTo>
                      <a:pt x="58" y="563"/>
                    </a:lnTo>
                    <a:lnTo>
                      <a:pt x="58" y="567"/>
                    </a:lnTo>
                    <a:lnTo>
                      <a:pt x="60" y="569"/>
                    </a:lnTo>
                    <a:lnTo>
                      <a:pt x="60" y="571"/>
                    </a:lnTo>
                    <a:lnTo>
                      <a:pt x="60" y="571"/>
                    </a:lnTo>
                    <a:lnTo>
                      <a:pt x="60" y="572"/>
                    </a:lnTo>
                    <a:lnTo>
                      <a:pt x="58" y="574"/>
                    </a:lnTo>
                    <a:lnTo>
                      <a:pt x="58" y="576"/>
                    </a:lnTo>
                    <a:lnTo>
                      <a:pt x="58" y="578"/>
                    </a:lnTo>
                    <a:lnTo>
                      <a:pt x="60" y="580"/>
                    </a:lnTo>
                    <a:lnTo>
                      <a:pt x="60" y="580"/>
                    </a:lnTo>
                    <a:lnTo>
                      <a:pt x="60" y="582"/>
                    </a:lnTo>
                    <a:lnTo>
                      <a:pt x="60" y="584"/>
                    </a:lnTo>
                    <a:lnTo>
                      <a:pt x="61" y="586"/>
                    </a:lnTo>
                    <a:lnTo>
                      <a:pt x="61" y="588"/>
                    </a:lnTo>
                    <a:lnTo>
                      <a:pt x="63" y="588"/>
                    </a:lnTo>
                    <a:lnTo>
                      <a:pt x="67" y="588"/>
                    </a:lnTo>
                    <a:lnTo>
                      <a:pt x="69" y="590"/>
                    </a:lnTo>
                    <a:lnTo>
                      <a:pt x="65" y="592"/>
                    </a:lnTo>
                    <a:lnTo>
                      <a:pt x="63" y="592"/>
                    </a:lnTo>
                    <a:lnTo>
                      <a:pt x="61" y="592"/>
                    </a:lnTo>
                    <a:lnTo>
                      <a:pt x="61" y="592"/>
                    </a:lnTo>
                    <a:lnTo>
                      <a:pt x="60" y="593"/>
                    </a:lnTo>
                    <a:lnTo>
                      <a:pt x="61" y="595"/>
                    </a:lnTo>
                    <a:lnTo>
                      <a:pt x="65" y="601"/>
                    </a:lnTo>
                    <a:lnTo>
                      <a:pt x="67" y="603"/>
                    </a:lnTo>
                    <a:lnTo>
                      <a:pt x="67" y="607"/>
                    </a:lnTo>
                    <a:lnTo>
                      <a:pt x="67" y="609"/>
                    </a:lnTo>
                    <a:lnTo>
                      <a:pt x="67" y="611"/>
                    </a:lnTo>
                    <a:lnTo>
                      <a:pt x="65" y="612"/>
                    </a:lnTo>
                    <a:lnTo>
                      <a:pt x="65" y="614"/>
                    </a:lnTo>
                    <a:lnTo>
                      <a:pt x="65" y="614"/>
                    </a:lnTo>
                    <a:lnTo>
                      <a:pt x="69" y="618"/>
                    </a:lnTo>
                    <a:lnTo>
                      <a:pt x="71" y="620"/>
                    </a:lnTo>
                    <a:lnTo>
                      <a:pt x="75" y="626"/>
                    </a:lnTo>
                    <a:lnTo>
                      <a:pt x="75" y="630"/>
                    </a:lnTo>
                    <a:lnTo>
                      <a:pt x="73" y="630"/>
                    </a:lnTo>
                    <a:lnTo>
                      <a:pt x="71" y="630"/>
                    </a:lnTo>
                    <a:lnTo>
                      <a:pt x="69" y="628"/>
                    </a:lnTo>
                    <a:lnTo>
                      <a:pt x="67" y="626"/>
                    </a:lnTo>
                    <a:lnTo>
                      <a:pt x="69" y="628"/>
                    </a:lnTo>
                    <a:lnTo>
                      <a:pt x="71" y="630"/>
                    </a:lnTo>
                    <a:lnTo>
                      <a:pt x="71" y="631"/>
                    </a:lnTo>
                    <a:lnTo>
                      <a:pt x="71" y="633"/>
                    </a:lnTo>
                    <a:lnTo>
                      <a:pt x="75" y="637"/>
                    </a:lnTo>
                    <a:lnTo>
                      <a:pt x="75" y="641"/>
                    </a:lnTo>
                    <a:lnTo>
                      <a:pt x="77" y="645"/>
                    </a:lnTo>
                    <a:lnTo>
                      <a:pt x="77" y="647"/>
                    </a:lnTo>
                    <a:lnTo>
                      <a:pt x="77" y="649"/>
                    </a:lnTo>
                    <a:lnTo>
                      <a:pt x="77" y="650"/>
                    </a:lnTo>
                    <a:lnTo>
                      <a:pt x="79" y="652"/>
                    </a:lnTo>
                    <a:lnTo>
                      <a:pt x="79" y="656"/>
                    </a:lnTo>
                    <a:lnTo>
                      <a:pt x="79" y="660"/>
                    </a:lnTo>
                    <a:lnTo>
                      <a:pt x="79" y="662"/>
                    </a:lnTo>
                    <a:lnTo>
                      <a:pt x="77" y="660"/>
                    </a:lnTo>
                    <a:lnTo>
                      <a:pt x="77" y="660"/>
                    </a:lnTo>
                    <a:lnTo>
                      <a:pt x="77" y="662"/>
                    </a:lnTo>
                    <a:lnTo>
                      <a:pt x="77" y="664"/>
                    </a:lnTo>
                    <a:lnTo>
                      <a:pt x="77" y="666"/>
                    </a:lnTo>
                    <a:lnTo>
                      <a:pt x="77" y="668"/>
                    </a:lnTo>
                    <a:lnTo>
                      <a:pt x="81" y="668"/>
                    </a:lnTo>
                    <a:lnTo>
                      <a:pt x="79" y="671"/>
                    </a:lnTo>
                    <a:lnTo>
                      <a:pt x="79" y="673"/>
                    </a:lnTo>
                    <a:lnTo>
                      <a:pt x="79" y="675"/>
                    </a:lnTo>
                    <a:lnTo>
                      <a:pt x="79" y="681"/>
                    </a:lnTo>
                    <a:lnTo>
                      <a:pt x="81" y="681"/>
                    </a:lnTo>
                    <a:lnTo>
                      <a:pt x="79" y="683"/>
                    </a:lnTo>
                    <a:lnTo>
                      <a:pt x="79" y="687"/>
                    </a:lnTo>
                    <a:lnTo>
                      <a:pt x="81" y="690"/>
                    </a:lnTo>
                    <a:lnTo>
                      <a:pt x="82" y="692"/>
                    </a:lnTo>
                    <a:lnTo>
                      <a:pt x="82" y="690"/>
                    </a:lnTo>
                    <a:lnTo>
                      <a:pt x="82" y="692"/>
                    </a:lnTo>
                    <a:lnTo>
                      <a:pt x="82" y="696"/>
                    </a:lnTo>
                    <a:lnTo>
                      <a:pt x="81" y="700"/>
                    </a:lnTo>
                    <a:lnTo>
                      <a:pt x="82" y="704"/>
                    </a:lnTo>
                    <a:lnTo>
                      <a:pt x="84" y="706"/>
                    </a:lnTo>
                    <a:lnTo>
                      <a:pt x="84" y="706"/>
                    </a:lnTo>
                    <a:lnTo>
                      <a:pt x="84" y="708"/>
                    </a:lnTo>
                    <a:lnTo>
                      <a:pt x="84" y="709"/>
                    </a:lnTo>
                    <a:lnTo>
                      <a:pt x="84" y="711"/>
                    </a:lnTo>
                    <a:lnTo>
                      <a:pt x="84" y="711"/>
                    </a:lnTo>
                    <a:lnTo>
                      <a:pt x="84" y="713"/>
                    </a:lnTo>
                    <a:lnTo>
                      <a:pt x="84" y="715"/>
                    </a:lnTo>
                    <a:lnTo>
                      <a:pt x="86" y="715"/>
                    </a:lnTo>
                    <a:lnTo>
                      <a:pt x="88" y="713"/>
                    </a:lnTo>
                    <a:lnTo>
                      <a:pt x="90" y="715"/>
                    </a:lnTo>
                    <a:lnTo>
                      <a:pt x="92" y="717"/>
                    </a:lnTo>
                    <a:lnTo>
                      <a:pt x="90" y="719"/>
                    </a:lnTo>
                    <a:lnTo>
                      <a:pt x="90" y="719"/>
                    </a:lnTo>
                    <a:lnTo>
                      <a:pt x="90" y="719"/>
                    </a:lnTo>
                    <a:lnTo>
                      <a:pt x="90" y="715"/>
                    </a:lnTo>
                    <a:lnTo>
                      <a:pt x="86" y="717"/>
                    </a:lnTo>
                    <a:lnTo>
                      <a:pt x="84" y="717"/>
                    </a:lnTo>
                    <a:lnTo>
                      <a:pt x="84" y="719"/>
                    </a:lnTo>
                    <a:lnTo>
                      <a:pt x="84" y="719"/>
                    </a:lnTo>
                    <a:lnTo>
                      <a:pt x="84" y="719"/>
                    </a:lnTo>
                    <a:lnTo>
                      <a:pt x="84" y="719"/>
                    </a:lnTo>
                    <a:lnTo>
                      <a:pt x="84" y="721"/>
                    </a:lnTo>
                    <a:lnTo>
                      <a:pt x="86" y="723"/>
                    </a:lnTo>
                    <a:lnTo>
                      <a:pt x="88" y="725"/>
                    </a:lnTo>
                    <a:lnTo>
                      <a:pt x="92" y="725"/>
                    </a:lnTo>
                    <a:lnTo>
                      <a:pt x="90" y="725"/>
                    </a:lnTo>
                    <a:lnTo>
                      <a:pt x="88" y="727"/>
                    </a:lnTo>
                    <a:lnTo>
                      <a:pt x="88" y="727"/>
                    </a:lnTo>
                    <a:lnTo>
                      <a:pt x="90" y="728"/>
                    </a:lnTo>
                    <a:lnTo>
                      <a:pt x="90" y="728"/>
                    </a:lnTo>
                    <a:lnTo>
                      <a:pt x="90" y="728"/>
                    </a:lnTo>
                    <a:lnTo>
                      <a:pt x="92" y="728"/>
                    </a:lnTo>
                    <a:lnTo>
                      <a:pt x="90" y="728"/>
                    </a:lnTo>
                    <a:lnTo>
                      <a:pt x="88" y="728"/>
                    </a:lnTo>
                    <a:lnTo>
                      <a:pt x="84" y="727"/>
                    </a:lnTo>
                    <a:lnTo>
                      <a:pt x="84" y="725"/>
                    </a:lnTo>
                    <a:lnTo>
                      <a:pt x="84" y="725"/>
                    </a:lnTo>
                    <a:lnTo>
                      <a:pt x="82" y="723"/>
                    </a:lnTo>
                    <a:lnTo>
                      <a:pt x="82" y="725"/>
                    </a:lnTo>
                    <a:lnTo>
                      <a:pt x="82" y="727"/>
                    </a:lnTo>
                    <a:lnTo>
                      <a:pt x="82" y="728"/>
                    </a:lnTo>
                    <a:lnTo>
                      <a:pt x="84" y="728"/>
                    </a:lnTo>
                    <a:lnTo>
                      <a:pt x="84" y="730"/>
                    </a:lnTo>
                    <a:lnTo>
                      <a:pt x="86" y="736"/>
                    </a:lnTo>
                    <a:lnTo>
                      <a:pt x="88" y="740"/>
                    </a:lnTo>
                    <a:lnTo>
                      <a:pt x="88" y="742"/>
                    </a:lnTo>
                    <a:lnTo>
                      <a:pt x="90" y="744"/>
                    </a:lnTo>
                    <a:lnTo>
                      <a:pt x="92" y="744"/>
                    </a:lnTo>
                    <a:lnTo>
                      <a:pt x="92" y="746"/>
                    </a:lnTo>
                    <a:lnTo>
                      <a:pt x="90" y="746"/>
                    </a:lnTo>
                    <a:lnTo>
                      <a:pt x="90" y="748"/>
                    </a:lnTo>
                    <a:lnTo>
                      <a:pt x="90" y="749"/>
                    </a:lnTo>
                    <a:lnTo>
                      <a:pt x="92" y="749"/>
                    </a:lnTo>
                    <a:lnTo>
                      <a:pt x="92" y="749"/>
                    </a:lnTo>
                    <a:lnTo>
                      <a:pt x="92" y="753"/>
                    </a:lnTo>
                    <a:lnTo>
                      <a:pt x="92" y="753"/>
                    </a:lnTo>
                    <a:lnTo>
                      <a:pt x="96" y="765"/>
                    </a:lnTo>
                    <a:lnTo>
                      <a:pt x="96" y="767"/>
                    </a:lnTo>
                    <a:lnTo>
                      <a:pt x="96" y="768"/>
                    </a:lnTo>
                    <a:lnTo>
                      <a:pt x="98" y="768"/>
                    </a:lnTo>
                    <a:lnTo>
                      <a:pt x="98" y="768"/>
                    </a:lnTo>
                    <a:lnTo>
                      <a:pt x="98" y="768"/>
                    </a:lnTo>
                    <a:lnTo>
                      <a:pt x="100" y="768"/>
                    </a:lnTo>
                    <a:lnTo>
                      <a:pt x="100" y="770"/>
                    </a:lnTo>
                    <a:lnTo>
                      <a:pt x="100" y="776"/>
                    </a:lnTo>
                    <a:lnTo>
                      <a:pt x="102" y="782"/>
                    </a:lnTo>
                    <a:lnTo>
                      <a:pt x="102" y="778"/>
                    </a:lnTo>
                    <a:lnTo>
                      <a:pt x="102" y="776"/>
                    </a:lnTo>
                    <a:lnTo>
                      <a:pt x="103" y="772"/>
                    </a:lnTo>
                    <a:lnTo>
                      <a:pt x="105" y="772"/>
                    </a:lnTo>
                    <a:lnTo>
                      <a:pt x="105" y="774"/>
                    </a:lnTo>
                    <a:lnTo>
                      <a:pt x="103" y="774"/>
                    </a:lnTo>
                    <a:lnTo>
                      <a:pt x="103" y="776"/>
                    </a:lnTo>
                    <a:lnTo>
                      <a:pt x="102" y="778"/>
                    </a:lnTo>
                    <a:lnTo>
                      <a:pt x="102" y="786"/>
                    </a:lnTo>
                    <a:lnTo>
                      <a:pt x="102" y="786"/>
                    </a:lnTo>
                    <a:lnTo>
                      <a:pt x="102" y="787"/>
                    </a:lnTo>
                    <a:lnTo>
                      <a:pt x="102" y="787"/>
                    </a:lnTo>
                    <a:lnTo>
                      <a:pt x="102" y="789"/>
                    </a:lnTo>
                    <a:lnTo>
                      <a:pt x="102" y="789"/>
                    </a:lnTo>
                    <a:lnTo>
                      <a:pt x="103" y="789"/>
                    </a:lnTo>
                    <a:lnTo>
                      <a:pt x="103" y="791"/>
                    </a:lnTo>
                    <a:lnTo>
                      <a:pt x="103" y="791"/>
                    </a:lnTo>
                    <a:lnTo>
                      <a:pt x="105" y="793"/>
                    </a:lnTo>
                    <a:lnTo>
                      <a:pt x="107" y="793"/>
                    </a:lnTo>
                    <a:lnTo>
                      <a:pt x="109" y="793"/>
                    </a:lnTo>
                    <a:lnTo>
                      <a:pt x="109" y="795"/>
                    </a:lnTo>
                    <a:lnTo>
                      <a:pt x="105" y="795"/>
                    </a:lnTo>
                    <a:lnTo>
                      <a:pt x="105" y="797"/>
                    </a:lnTo>
                    <a:lnTo>
                      <a:pt x="109" y="801"/>
                    </a:lnTo>
                    <a:lnTo>
                      <a:pt x="111" y="803"/>
                    </a:lnTo>
                    <a:lnTo>
                      <a:pt x="119" y="810"/>
                    </a:lnTo>
                    <a:lnTo>
                      <a:pt x="121" y="812"/>
                    </a:lnTo>
                    <a:lnTo>
                      <a:pt x="124" y="820"/>
                    </a:lnTo>
                    <a:lnTo>
                      <a:pt x="126" y="824"/>
                    </a:lnTo>
                    <a:lnTo>
                      <a:pt x="124" y="829"/>
                    </a:lnTo>
                    <a:lnTo>
                      <a:pt x="126" y="831"/>
                    </a:lnTo>
                    <a:lnTo>
                      <a:pt x="126" y="831"/>
                    </a:lnTo>
                    <a:lnTo>
                      <a:pt x="128" y="833"/>
                    </a:lnTo>
                    <a:lnTo>
                      <a:pt x="130" y="833"/>
                    </a:lnTo>
                    <a:lnTo>
                      <a:pt x="132" y="833"/>
                    </a:lnTo>
                    <a:lnTo>
                      <a:pt x="136" y="831"/>
                    </a:lnTo>
                    <a:lnTo>
                      <a:pt x="142" y="831"/>
                    </a:lnTo>
                    <a:lnTo>
                      <a:pt x="143" y="831"/>
                    </a:lnTo>
                    <a:lnTo>
                      <a:pt x="143" y="831"/>
                    </a:lnTo>
                    <a:lnTo>
                      <a:pt x="145" y="829"/>
                    </a:lnTo>
                    <a:lnTo>
                      <a:pt x="147" y="827"/>
                    </a:lnTo>
                    <a:lnTo>
                      <a:pt x="147" y="826"/>
                    </a:lnTo>
                    <a:lnTo>
                      <a:pt x="147" y="826"/>
                    </a:lnTo>
                    <a:lnTo>
                      <a:pt x="149" y="826"/>
                    </a:lnTo>
                    <a:lnTo>
                      <a:pt x="149" y="826"/>
                    </a:lnTo>
                    <a:lnTo>
                      <a:pt x="149" y="827"/>
                    </a:lnTo>
                    <a:lnTo>
                      <a:pt x="149" y="829"/>
                    </a:lnTo>
                    <a:lnTo>
                      <a:pt x="151" y="829"/>
                    </a:lnTo>
                    <a:lnTo>
                      <a:pt x="151" y="829"/>
                    </a:lnTo>
                    <a:lnTo>
                      <a:pt x="153" y="829"/>
                    </a:lnTo>
                    <a:lnTo>
                      <a:pt x="155" y="831"/>
                    </a:lnTo>
                    <a:lnTo>
                      <a:pt x="157" y="831"/>
                    </a:lnTo>
                    <a:lnTo>
                      <a:pt x="157" y="831"/>
                    </a:lnTo>
                    <a:lnTo>
                      <a:pt x="159" y="833"/>
                    </a:lnTo>
                    <a:lnTo>
                      <a:pt x="159" y="835"/>
                    </a:lnTo>
                    <a:lnTo>
                      <a:pt x="161" y="841"/>
                    </a:lnTo>
                    <a:lnTo>
                      <a:pt x="161" y="843"/>
                    </a:lnTo>
                    <a:lnTo>
                      <a:pt x="163" y="845"/>
                    </a:lnTo>
                    <a:lnTo>
                      <a:pt x="166" y="846"/>
                    </a:lnTo>
                    <a:lnTo>
                      <a:pt x="168" y="846"/>
                    </a:lnTo>
                    <a:lnTo>
                      <a:pt x="168" y="846"/>
                    </a:lnTo>
                    <a:lnTo>
                      <a:pt x="170" y="846"/>
                    </a:lnTo>
                    <a:lnTo>
                      <a:pt x="178" y="845"/>
                    </a:lnTo>
                    <a:lnTo>
                      <a:pt x="184" y="845"/>
                    </a:lnTo>
                    <a:lnTo>
                      <a:pt x="182" y="841"/>
                    </a:lnTo>
                    <a:lnTo>
                      <a:pt x="182" y="841"/>
                    </a:lnTo>
                    <a:lnTo>
                      <a:pt x="182" y="841"/>
                    </a:lnTo>
                    <a:lnTo>
                      <a:pt x="182" y="839"/>
                    </a:lnTo>
                    <a:lnTo>
                      <a:pt x="184" y="839"/>
                    </a:lnTo>
                    <a:lnTo>
                      <a:pt x="184" y="839"/>
                    </a:lnTo>
                    <a:lnTo>
                      <a:pt x="185" y="837"/>
                    </a:lnTo>
                    <a:lnTo>
                      <a:pt x="185" y="833"/>
                    </a:lnTo>
                    <a:lnTo>
                      <a:pt x="187" y="831"/>
                    </a:lnTo>
                    <a:lnTo>
                      <a:pt x="193" y="827"/>
                    </a:lnTo>
                    <a:lnTo>
                      <a:pt x="195" y="827"/>
                    </a:lnTo>
                    <a:lnTo>
                      <a:pt x="195" y="827"/>
                    </a:lnTo>
                    <a:lnTo>
                      <a:pt x="197" y="827"/>
                    </a:lnTo>
                    <a:lnTo>
                      <a:pt x="197" y="827"/>
                    </a:lnTo>
                    <a:lnTo>
                      <a:pt x="197" y="827"/>
                    </a:lnTo>
                    <a:lnTo>
                      <a:pt x="197" y="829"/>
                    </a:lnTo>
                    <a:lnTo>
                      <a:pt x="197" y="831"/>
                    </a:lnTo>
                    <a:lnTo>
                      <a:pt x="197" y="831"/>
                    </a:lnTo>
                    <a:lnTo>
                      <a:pt x="197" y="831"/>
                    </a:lnTo>
                    <a:lnTo>
                      <a:pt x="197" y="831"/>
                    </a:lnTo>
                    <a:lnTo>
                      <a:pt x="197" y="833"/>
                    </a:lnTo>
                    <a:lnTo>
                      <a:pt x="199" y="833"/>
                    </a:lnTo>
                    <a:lnTo>
                      <a:pt x="203" y="833"/>
                    </a:lnTo>
                    <a:lnTo>
                      <a:pt x="204" y="831"/>
                    </a:lnTo>
                    <a:lnTo>
                      <a:pt x="206" y="831"/>
                    </a:lnTo>
                    <a:lnTo>
                      <a:pt x="208" y="831"/>
                    </a:lnTo>
                    <a:lnTo>
                      <a:pt x="210" y="829"/>
                    </a:lnTo>
                    <a:lnTo>
                      <a:pt x="212" y="827"/>
                    </a:lnTo>
                    <a:lnTo>
                      <a:pt x="214" y="824"/>
                    </a:lnTo>
                    <a:lnTo>
                      <a:pt x="216" y="820"/>
                    </a:lnTo>
                    <a:lnTo>
                      <a:pt x="216" y="818"/>
                    </a:lnTo>
                    <a:lnTo>
                      <a:pt x="216" y="818"/>
                    </a:lnTo>
                    <a:lnTo>
                      <a:pt x="216" y="816"/>
                    </a:lnTo>
                    <a:lnTo>
                      <a:pt x="214" y="814"/>
                    </a:lnTo>
                    <a:lnTo>
                      <a:pt x="214" y="814"/>
                    </a:lnTo>
                    <a:lnTo>
                      <a:pt x="214" y="814"/>
                    </a:lnTo>
                    <a:lnTo>
                      <a:pt x="218" y="808"/>
                    </a:lnTo>
                    <a:lnTo>
                      <a:pt x="220" y="805"/>
                    </a:lnTo>
                    <a:lnTo>
                      <a:pt x="222" y="801"/>
                    </a:lnTo>
                    <a:lnTo>
                      <a:pt x="224" y="801"/>
                    </a:lnTo>
                    <a:lnTo>
                      <a:pt x="224" y="797"/>
                    </a:lnTo>
                    <a:lnTo>
                      <a:pt x="224" y="795"/>
                    </a:lnTo>
                    <a:lnTo>
                      <a:pt x="224" y="793"/>
                    </a:lnTo>
                    <a:lnTo>
                      <a:pt x="224" y="791"/>
                    </a:lnTo>
                    <a:lnTo>
                      <a:pt x="224" y="791"/>
                    </a:lnTo>
                    <a:lnTo>
                      <a:pt x="224" y="791"/>
                    </a:lnTo>
                    <a:lnTo>
                      <a:pt x="222" y="791"/>
                    </a:lnTo>
                    <a:lnTo>
                      <a:pt x="220" y="789"/>
                    </a:lnTo>
                    <a:lnTo>
                      <a:pt x="220" y="789"/>
                    </a:lnTo>
                    <a:lnTo>
                      <a:pt x="218" y="789"/>
                    </a:lnTo>
                    <a:lnTo>
                      <a:pt x="218" y="787"/>
                    </a:lnTo>
                    <a:lnTo>
                      <a:pt x="218" y="787"/>
                    </a:lnTo>
                    <a:lnTo>
                      <a:pt x="220" y="786"/>
                    </a:lnTo>
                    <a:lnTo>
                      <a:pt x="222" y="786"/>
                    </a:lnTo>
                    <a:lnTo>
                      <a:pt x="222" y="784"/>
                    </a:lnTo>
                    <a:lnTo>
                      <a:pt x="227" y="784"/>
                    </a:lnTo>
                    <a:lnTo>
                      <a:pt x="227" y="784"/>
                    </a:lnTo>
                    <a:lnTo>
                      <a:pt x="229" y="782"/>
                    </a:lnTo>
                    <a:lnTo>
                      <a:pt x="229" y="780"/>
                    </a:lnTo>
                    <a:lnTo>
                      <a:pt x="229" y="776"/>
                    </a:lnTo>
                    <a:lnTo>
                      <a:pt x="229" y="770"/>
                    </a:lnTo>
                    <a:lnTo>
                      <a:pt x="229" y="768"/>
                    </a:lnTo>
                    <a:lnTo>
                      <a:pt x="229" y="767"/>
                    </a:lnTo>
                    <a:lnTo>
                      <a:pt x="229" y="767"/>
                    </a:lnTo>
                    <a:lnTo>
                      <a:pt x="229" y="765"/>
                    </a:lnTo>
                    <a:lnTo>
                      <a:pt x="227" y="765"/>
                    </a:lnTo>
                    <a:lnTo>
                      <a:pt x="227" y="765"/>
                    </a:lnTo>
                    <a:lnTo>
                      <a:pt x="216" y="759"/>
                    </a:lnTo>
                    <a:lnTo>
                      <a:pt x="216" y="759"/>
                    </a:lnTo>
                    <a:lnTo>
                      <a:pt x="214" y="759"/>
                    </a:lnTo>
                    <a:lnTo>
                      <a:pt x="214" y="759"/>
                    </a:lnTo>
                    <a:lnTo>
                      <a:pt x="212" y="759"/>
                    </a:lnTo>
                    <a:lnTo>
                      <a:pt x="212" y="761"/>
                    </a:lnTo>
                    <a:lnTo>
                      <a:pt x="212" y="761"/>
                    </a:lnTo>
                    <a:lnTo>
                      <a:pt x="210" y="761"/>
                    </a:lnTo>
                    <a:lnTo>
                      <a:pt x="210" y="761"/>
                    </a:lnTo>
                    <a:lnTo>
                      <a:pt x="210" y="759"/>
                    </a:lnTo>
                    <a:lnTo>
                      <a:pt x="210" y="759"/>
                    </a:lnTo>
                    <a:lnTo>
                      <a:pt x="210" y="755"/>
                    </a:lnTo>
                    <a:lnTo>
                      <a:pt x="210" y="755"/>
                    </a:lnTo>
                    <a:lnTo>
                      <a:pt x="210" y="755"/>
                    </a:lnTo>
                    <a:lnTo>
                      <a:pt x="208" y="753"/>
                    </a:lnTo>
                    <a:lnTo>
                      <a:pt x="208" y="751"/>
                    </a:lnTo>
                    <a:lnTo>
                      <a:pt x="208" y="751"/>
                    </a:lnTo>
                    <a:lnTo>
                      <a:pt x="208" y="749"/>
                    </a:lnTo>
                    <a:lnTo>
                      <a:pt x="208" y="748"/>
                    </a:lnTo>
                    <a:lnTo>
                      <a:pt x="208" y="748"/>
                    </a:lnTo>
                    <a:lnTo>
                      <a:pt x="210" y="748"/>
                    </a:lnTo>
                    <a:lnTo>
                      <a:pt x="212" y="746"/>
                    </a:lnTo>
                    <a:lnTo>
                      <a:pt x="214" y="746"/>
                    </a:lnTo>
                    <a:lnTo>
                      <a:pt x="214" y="746"/>
                    </a:lnTo>
                    <a:lnTo>
                      <a:pt x="214" y="746"/>
                    </a:lnTo>
                    <a:lnTo>
                      <a:pt x="214" y="744"/>
                    </a:lnTo>
                    <a:lnTo>
                      <a:pt x="214" y="744"/>
                    </a:lnTo>
                    <a:lnTo>
                      <a:pt x="214" y="744"/>
                    </a:lnTo>
                    <a:lnTo>
                      <a:pt x="212" y="744"/>
                    </a:lnTo>
                    <a:lnTo>
                      <a:pt x="212" y="742"/>
                    </a:lnTo>
                    <a:lnTo>
                      <a:pt x="210" y="742"/>
                    </a:lnTo>
                    <a:lnTo>
                      <a:pt x="210" y="742"/>
                    </a:lnTo>
                    <a:lnTo>
                      <a:pt x="210" y="740"/>
                    </a:lnTo>
                    <a:lnTo>
                      <a:pt x="210" y="740"/>
                    </a:lnTo>
                    <a:lnTo>
                      <a:pt x="210" y="738"/>
                    </a:lnTo>
                    <a:lnTo>
                      <a:pt x="210" y="738"/>
                    </a:lnTo>
                    <a:lnTo>
                      <a:pt x="210" y="738"/>
                    </a:lnTo>
                    <a:lnTo>
                      <a:pt x="208" y="736"/>
                    </a:lnTo>
                    <a:lnTo>
                      <a:pt x="208" y="736"/>
                    </a:lnTo>
                    <a:lnTo>
                      <a:pt x="206" y="738"/>
                    </a:lnTo>
                    <a:lnTo>
                      <a:pt x="206" y="738"/>
                    </a:lnTo>
                    <a:lnTo>
                      <a:pt x="206" y="736"/>
                    </a:lnTo>
                    <a:lnTo>
                      <a:pt x="204" y="736"/>
                    </a:lnTo>
                    <a:lnTo>
                      <a:pt x="204" y="736"/>
                    </a:lnTo>
                    <a:lnTo>
                      <a:pt x="204" y="736"/>
                    </a:lnTo>
                    <a:lnTo>
                      <a:pt x="204" y="734"/>
                    </a:lnTo>
                    <a:lnTo>
                      <a:pt x="204" y="734"/>
                    </a:lnTo>
                    <a:lnTo>
                      <a:pt x="204" y="732"/>
                    </a:lnTo>
                    <a:lnTo>
                      <a:pt x="204" y="732"/>
                    </a:lnTo>
                    <a:lnTo>
                      <a:pt x="203" y="732"/>
                    </a:lnTo>
                    <a:lnTo>
                      <a:pt x="203" y="732"/>
                    </a:lnTo>
                    <a:lnTo>
                      <a:pt x="203" y="732"/>
                    </a:lnTo>
                    <a:lnTo>
                      <a:pt x="201" y="732"/>
                    </a:lnTo>
                    <a:lnTo>
                      <a:pt x="201" y="734"/>
                    </a:lnTo>
                    <a:lnTo>
                      <a:pt x="201" y="734"/>
                    </a:lnTo>
                    <a:lnTo>
                      <a:pt x="199" y="734"/>
                    </a:lnTo>
                    <a:lnTo>
                      <a:pt x="199" y="734"/>
                    </a:lnTo>
                    <a:lnTo>
                      <a:pt x="199" y="734"/>
                    </a:lnTo>
                    <a:lnTo>
                      <a:pt x="199" y="734"/>
                    </a:lnTo>
                    <a:lnTo>
                      <a:pt x="199" y="732"/>
                    </a:lnTo>
                    <a:lnTo>
                      <a:pt x="199" y="732"/>
                    </a:lnTo>
                    <a:lnTo>
                      <a:pt x="201" y="728"/>
                    </a:lnTo>
                    <a:lnTo>
                      <a:pt x="201" y="727"/>
                    </a:lnTo>
                    <a:lnTo>
                      <a:pt x="201" y="727"/>
                    </a:lnTo>
                    <a:lnTo>
                      <a:pt x="203" y="727"/>
                    </a:lnTo>
                    <a:lnTo>
                      <a:pt x="203" y="727"/>
                    </a:lnTo>
                    <a:lnTo>
                      <a:pt x="204" y="727"/>
                    </a:lnTo>
                    <a:lnTo>
                      <a:pt x="204" y="728"/>
                    </a:lnTo>
                    <a:lnTo>
                      <a:pt x="206" y="728"/>
                    </a:lnTo>
                    <a:lnTo>
                      <a:pt x="206" y="728"/>
                    </a:lnTo>
                    <a:lnTo>
                      <a:pt x="208" y="727"/>
                    </a:lnTo>
                    <a:lnTo>
                      <a:pt x="208" y="727"/>
                    </a:lnTo>
                    <a:lnTo>
                      <a:pt x="208" y="725"/>
                    </a:lnTo>
                    <a:lnTo>
                      <a:pt x="208" y="723"/>
                    </a:lnTo>
                    <a:lnTo>
                      <a:pt x="210" y="723"/>
                    </a:lnTo>
                    <a:lnTo>
                      <a:pt x="210" y="723"/>
                    </a:lnTo>
                    <a:lnTo>
                      <a:pt x="210" y="725"/>
                    </a:lnTo>
                    <a:lnTo>
                      <a:pt x="212" y="725"/>
                    </a:lnTo>
                    <a:lnTo>
                      <a:pt x="212" y="725"/>
                    </a:lnTo>
                    <a:lnTo>
                      <a:pt x="212" y="727"/>
                    </a:lnTo>
                    <a:lnTo>
                      <a:pt x="214" y="727"/>
                    </a:lnTo>
                    <a:lnTo>
                      <a:pt x="214" y="727"/>
                    </a:lnTo>
                    <a:lnTo>
                      <a:pt x="216" y="725"/>
                    </a:lnTo>
                    <a:lnTo>
                      <a:pt x="218" y="723"/>
                    </a:lnTo>
                    <a:lnTo>
                      <a:pt x="218" y="723"/>
                    </a:lnTo>
                    <a:lnTo>
                      <a:pt x="218" y="721"/>
                    </a:lnTo>
                    <a:lnTo>
                      <a:pt x="220" y="721"/>
                    </a:lnTo>
                    <a:lnTo>
                      <a:pt x="222" y="721"/>
                    </a:lnTo>
                    <a:lnTo>
                      <a:pt x="222" y="719"/>
                    </a:lnTo>
                    <a:lnTo>
                      <a:pt x="222" y="719"/>
                    </a:lnTo>
                    <a:lnTo>
                      <a:pt x="222" y="717"/>
                    </a:lnTo>
                    <a:lnTo>
                      <a:pt x="224" y="713"/>
                    </a:lnTo>
                    <a:lnTo>
                      <a:pt x="224" y="713"/>
                    </a:lnTo>
                    <a:lnTo>
                      <a:pt x="225" y="713"/>
                    </a:lnTo>
                    <a:lnTo>
                      <a:pt x="225" y="713"/>
                    </a:lnTo>
                    <a:lnTo>
                      <a:pt x="227" y="713"/>
                    </a:lnTo>
                    <a:lnTo>
                      <a:pt x="229" y="713"/>
                    </a:lnTo>
                    <a:lnTo>
                      <a:pt x="229" y="715"/>
                    </a:lnTo>
                    <a:lnTo>
                      <a:pt x="235" y="715"/>
                    </a:lnTo>
                    <a:lnTo>
                      <a:pt x="235" y="715"/>
                    </a:lnTo>
                    <a:lnTo>
                      <a:pt x="235" y="715"/>
                    </a:lnTo>
                    <a:lnTo>
                      <a:pt x="237" y="717"/>
                    </a:lnTo>
                    <a:lnTo>
                      <a:pt x="237" y="719"/>
                    </a:lnTo>
                    <a:lnTo>
                      <a:pt x="237" y="719"/>
                    </a:lnTo>
                    <a:lnTo>
                      <a:pt x="237" y="721"/>
                    </a:lnTo>
                    <a:lnTo>
                      <a:pt x="239" y="721"/>
                    </a:lnTo>
                    <a:lnTo>
                      <a:pt x="239" y="723"/>
                    </a:lnTo>
                    <a:lnTo>
                      <a:pt x="239" y="723"/>
                    </a:lnTo>
                    <a:lnTo>
                      <a:pt x="239" y="723"/>
                    </a:lnTo>
                    <a:lnTo>
                      <a:pt x="239" y="725"/>
                    </a:lnTo>
                    <a:lnTo>
                      <a:pt x="239" y="725"/>
                    </a:lnTo>
                    <a:lnTo>
                      <a:pt x="239" y="725"/>
                    </a:lnTo>
                    <a:lnTo>
                      <a:pt x="239" y="725"/>
                    </a:lnTo>
                    <a:lnTo>
                      <a:pt x="241" y="725"/>
                    </a:lnTo>
                    <a:lnTo>
                      <a:pt x="241" y="725"/>
                    </a:lnTo>
                    <a:lnTo>
                      <a:pt x="243" y="725"/>
                    </a:lnTo>
                    <a:lnTo>
                      <a:pt x="243" y="723"/>
                    </a:lnTo>
                    <a:lnTo>
                      <a:pt x="246" y="719"/>
                    </a:lnTo>
                    <a:lnTo>
                      <a:pt x="248" y="719"/>
                    </a:lnTo>
                    <a:lnTo>
                      <a:pt x="248" y="719"/>
                    </a:lnTo>
                    <a:lnTo>
                      <a:pt x="250" y="719"/>
                    </a:lnTo>
                    <a:lnTo>
                      <a:pt x="252" y="719"/>
                    </a:lnTo>
                    <a:lnTo>
                      <a:pt x="254" y="717"/>
                    </a:lnTo>
                    <a:lnTo>
                      <a:pt x="254" y="717"/>
                    </a:lnTo>
                    <a:lnTo>
                      <a:pt x="254" y="715"/>
                    </a:lnTo>
                    <a:lnTo>
                      <a:pt x="250" y="711"/>
                    </a:lnTo>
                    <a:lnTo>
                      <a:pt x="252" y="709"/>
                    </a:lnTo>
                    <a:lnTo>
                      <a:pt x="254" y="709"/>
                    </a:lnTo>
                    <a:lnTo>
                      <a:pt x="254" y="709"/>
                    </a:lnTo>
                    <a:lnTo>
                      <a:pt x="254" y="708"/>
                    </a:lnTo>
                    <a:lnTo>
                      <a:pt x="256" y="704"/>
                    </a:lnTo>
                    <a:lnTo>
                      <a:pt x="256" y="704"/>
                    </a:lnTo>
                    <a:lnTo>
                      <a:pt x="258" y="704"/>
                    </a:lnTo>
                    <a:lnTo>
                      <a:pt x="258" y="704"/>
                    </a:lnTo>
                    <a:lnTo>
                      <a:pt x="260" y="704"/>
                    </a:lnTo>
                    <a:lnTo>
                      <a:pt x="260" y="704"/>
                    </a:lnTo>
                    <a:lnTo>
                      <a:pt x="262" y="702"/>
                    </a:lnTo>
                    <a:lnTo>
                      <a:pt x="262" y="700"/>
                    </a:lnTo>
                    <a:lnTo>
                      <a:pt x="264" y="700"/>
                    </a:lnTo>
                    <a:lnTo>
                      <a:pt x="264" y="700"/>
                    </a:lnTo>
                    <a:lnTo>
                      <a:pt x="266" y="700"/>
                    </a:lnTo>
                    <a:lnTo>
                      <a:pt x="267" y="698"/>
                    </a:lnTo>
                    <a:lnTo>
                      <a:pt x="269" y="698"/>
                    </a:lnTo>
                    <a:lnTo>
                      <a:pt x="269" y="696"/>
                    </a:lnTo>
                    <a:lnTo>
                      <a:pt x="271" y="696"/>
                    </a:lnTo>
                    <a:lnTo>
                      <a:pt x="273" y="696"/>
                    </a:lnTo>
                    <a:lnTo>
                      <a:pt x="275" y="698"/>
                    </a:lnTo>
                    <a:lnTo>
                      <a:pt x="277" y="698"/>
                    </a:lnTo>
                    <a:lnTo>
                      <a:pt x="277" y="698"/>
                    </a:lnTo>
                    <a:lnTo>
                      <a:pt x="279" y="698"/>
                    </a:lnTo>
                    <a:lnTo>
                      <a:pt x="279" y="696"/>
                    </a:lnTo>
                    <a:lnTo>
                      <a:pt x="279" y="696"/>
                    </a:lnTo>
                    <a:lnTo>
                      <a:pt x="279" y="696"/>
                    </a:lnTo>
                    <a:lnTo>
                      <a:pt x="277" y="690"/>
                    </a:lnTo>
                    <a:lnTo>
                      <a:pt x="277" y="689"/>
                    </a:lnTo>
                    <a:lnTo>
                      <a:pt x="277" y="687"/>
                    </a:lnTo>
                    <a:lnTo>
                      <a:pt x="275" y="685"/>
                    </a:lnTo>
                    <a:lnTo>
                      <a:pt x="275" y="685"/>
                    </a:lnTo>
                    <a:lnTo>
                      <a:pt x="275" y="685"/>
                    </a:lnTo>
                    <a:lnTo>
                      <a:pt x="277" y="685"/>
                    </a:lnTo>
                    <a:lnTo>
                      <a:pt x="277" y="685"/>
                    </a:lnTo>
                    <a:lnTo>
                      <a:pt x="283" y="683"/>
                    </a:lnTo>
                    <a:lnTo>
                      <a:pt x="285" y="681"/>
                    </a:lnTo>
                    <a:lnTo>
                      <a:pt x="286" y="681"/>
                    </a:lnTo>
                    <a:lnTo>
                      <a:pt x="286" y="679"/>
                    </a:lnTo>
                    <a:lnTo>
                      <a:pt x="286" y="679"/>
                    </a:lnTo>
                    <a:lnTo>
                      <a:pt x="288" y="677"/>
                    </a:lnTo>
                    <a:lnTo>
                      <a:pt x="288" y="677"/>
                    </a:lnTo>
                    <a:lnTo>
                      <a:pt x="290" y="673"/>
                    </a:lnTo>
                    <a:lnTo>
                      <a:pt x="290" y="671"/>
                    </a:lnTo>
                    <a:lnTo>
                      <a:pt x="292" y="671"/>
                    </a:lnTo>
                    <a:lnTo>
                      <a:pt x="296" y="673"/>
                    </a:lnTo>
                    <a:lnTo>
                      <a:pt x="302" y="673"/>
                    </a:lnTo>
                    <a:lnTo>
                      <a:pt x="302" y="673"/>
                    </a:lnTo>
                    <a:lnTo>
                      <a:pt x="302" y="673"/>
                    </a:lnTo>
                    <a:lnTo>
                      <a:pt x="302" y="673"/>
                    </a:lnTo>
                    <a:lnTo>
                      <a:pt x="304" y="675"/>
                    </a:lnTo>
                    <a:lnTo>
                      <a:pt x="304" y="677"/>
                    </a:lnTo>
                    <a:lnTo>
                      <a:pt x="306" y="677"/>
                    </a:lnTo>
                    <a:lnTo>
                      <a:pt x="307" y="679"/>
                    </a:lnTo>
                    <a:lnTo>
                      <a:pt x="307" y="679"/>
                    </a:lnTo>
                    <a:lnTo>
                      <a:pt x="307" y="679"/>
                    </a:lnTo>
                    <a:lnTo>
                      <a:pt x="309" y="681"/>
                    </a:lnTo>
                    <a:lnTo>
                      <a:pt x="309" y="681"/>
                    </a:lnTo>
                    <a:lnTo>
                      <a:pt x="311" y="683"/>
                    </a:lnTo>
                    <a:lnTo>
                      <a:pt x="313" y="683"/>
                    </a:lnTo>
                    <a:lnTo>
                      <a:pt x="315" y="683"/>
                    </a:lnTo>
                    <a:lnTo>
                      <a:pt x="317" y="683"/>
                    </a:lnTo>
                    <a:lnTo>
                      <a:pt x="321" y="683"/>
                    </a:lnTo>
                    <a:lnTo>
                      <a:pt x="327" y="679"/>
                    </a:lnTo>
                    <a:lnTo>
                      <a:pt x="327" y="677"/>
                    </a:lnTo>
                    <a:lnTo>
                      <a:pt x="327" y="675"/>
                    </a:lnTo>
                    <a:lnTo>
                      <a:pt x="327" y="673"/>
                    </a:lnTo>
                    <a:lnTo>
                      <a:pt x="327" y="671"/>
                    </a:lnTo>
                    <a:lnTo>
                      <a:pt x="328" y="671"/>
                    </a:lnTo>
                    <a:lnTo>
                      <a:pt x="334" y="671"/>
                    </a:lnTo>
                    <a:lnTo>
                      <a:pt x="336" y="671"/>
                    </a:lnTo>
                    <a:lnTo>
                      <a:pt x="338" y="670"/>
                    </a:lnTo>
                    <a:lnTo>
                      <a:pt x="340" y="670"/>
                    </a:lnTo>
                    <a:lnTo>
                      <a:pt x="342" y="668"/>
                    </a:lnTo>
                    <a:lnTo>
                      <a:pt x="349" y="668"/>
                    </a:lnTo>
                    <a:lnTo>
                      <a:pt x="349" y="670"/>
                    </a:lnTo>
                    <a:lnTo>
                      <a:pt x="351" y="670"/>
                    </a:lnTo>
                    <a:lnTo>
                      <a:pt x="351" y="670"/>
                    </a:lnTo>
                    <a:lnTo>
                      <a:pt x="353" y="671"/>
                    </a:lnTo>
                    <a:lnTo>
                      <a:pt x="353" y="671"/>
                    </a:lnTo>
                    <a:lnTo>
                      <a:pt x="355" y="671"/>
                    </a:lnTo>
                    <a:lnTo>
                      <a:pt x="359" y="670"/>
                    </a:lnTo>
                    <a:lnTo>
                      <a:pt x="361" y="670"/>
                    </a:lnTo>
                    <a:lnTo>
                      <a:pt x="361" y="668"/>
                    </a:lnTo>
                    <a:lnTo>
                      <a:pt x="363" y="668"/>
                    </a:lnTo>
                    <a:lnTo>
                      <a:pt x="363" y="664"/>
                    </a:lnTo>
                    <a:lnTo>
                      <a:pt x="365" y="664"/>
                    </a:lnTo>
                    <a:lnTo>
                      <a:pt x="365" y="664"/>
                    </a:lnTo>
                    <a:lnTo>
                      <a:pt x="367" y="666"/>
                    </a:lnTo>
                    <a:lnTo>
                      <a:pt x="368" y="668"/>
                    </a:lnTo>
                    <a:lnTo>
                      <a:pt x="370" y="670"/>
                    </a:lnTo>
                    <a:lnTo>
                      <a:pt x="372" y="670"/>
                    </a:lnTo>
                    <a:lnTo>
                      <a:pt x="374" y="670"/>
                    </a:lnTo>
                    <a:lnTo>
                      <a:pt x="374" y="668"/>
                    </a:lnTo>
                    <a:lnTo>
                      <a:pt x="376" y="668"/>
                    </a:lnTo>
                    <a:lnTo>
                      <a:pt x="376" y="666"/>
                    </a:lnTo>
                    <a:lnTo>
                      <a:pt x="376" y="666"/>
                    </a:lnTo>
                    <a:lnTo>
                      <a:pt x="376" y="664"/>
                    </a:lnTo>
                    <a:lnTo>
                      <a:pt x="376" y="662"/>
                    </a:lnTo>
                    <a:lnTo>
                      <a:pt x="374" y="660"/>
                    </a:lnTo>
                    <a:lnTo>
                      <a:pt x="374" y="660"/>
                    </a:lnTo>
                    <a:lnTo>
                      <a:pt x="374" y="658"/>
                    </a:lnTo>
                    <a:lnTo>
                      <a:pt x="374" y="658"/>
                    </a:lnTo>
                    <a:lnTo>
                      <a:pt x="376" y="656"/>
                    </a:lnTo>
                    <a:lnTo>
                      <a:pt x="376" y="656"/>
                    </a:lnTo>
                    <a:lnTo>
                      <a:pt x="376" y="654"/>
                    </a:lnTo>
                    <a:lnTo>
                      <a:pt x="376" y="652"/>
                    </a:lnTo>
                    <a:lnTo>
                      <a:pt x="374" y="650"/>
                    </a:lnTo>
                    <a:lnTo>
                      <a:pt x="374" y="649"/>
                    </a:lnTo>
                    <a:lnTo>
                      <a:pt x="372" y="649"/>
                    </a:lnTo>
                    <a:lnTo>
                      <a:pt x="372" y="647"/>
                    </a:lnTo>
                    <a:lnTo>
                      <a:pt x="370" y="645"/>
                    </a:lnTo>
                    <a:lnTo>
                      <a:pt x="370" y="643"/>
                    </a:lnTo>
                    <a:lnTo>
                      <a:pt x="372" y="641"/>
                    </a:lnTo>
                    <a:lnTo>
                      <a:pt x="372" y="639"/>
                    </a:lnTo>
                    <a:lnTo>
                      <a:pt x="372" y="639"/>
                    </a:lnTo>
                    <a:lnTo>
                      <a:pt x="374" y="637"/>
                    </a:lnTo>
                    <a:lnTo>
                      <a:pt x="374" y="635"/>
                    </a:lnTo>
                    <a:lnTo>
                      <a:pt x="374" y="635"/>
                    </a:lnTo>
                    <a:lnTo>
                      <a:pt x="372" y="631"/>
                    </a:lnTo>
                    <a:lnTo>
                      <a:pt x="372" y="631"/>
                    </a:lnTo>
                    <a:lnTo>
                      <a:pt x="370" y="630"/>
                    </a:lnTo>
                    <a:lnTo>
                      <a:pt x="368" y="630"/>
                    </a:lnTo>
                    <a:lnTo>
                      <a:pt x="368" y="628"/>
                    </a:lnTo>
                    <a:lnTo>
                      <a:pt x="368" y="628"/>
                    </a:lnTo>
                    <a:lnTo>
                      <a:pt x="368" y="624"/>
                    </a:lnTo>
                    <a:lnTo>
                      <a:pt x="367" y="622"/>
                    </a:lnTo>
                    <a:lnTo>
                      <a:pt x="365" y="618"/>
                    </a:lnTo>
                    <a:lnTo>
                      <a:pt x="365" y="614"/>
                    </a:lnTo>
                    <a:lnTo>
                      <a:pt x="367" y="614"/>
                    </a:lnTo>
                    <a:lnTo>
                      <a:pt x="367" y="612"/>
                    </a:lnTo>
                    <a:lnTo>
                      <a:pt x="368" y="612"/>
                    </a:lnTo>
                    <a:lnTo>
                      <a:pt x="368" y="611"/>
                    </a:lnTo>
                    <a:lnTo>
                      <a:pt x="370" y="607"/>
                    </a:lnTo>
                    <a:lnTo>
                      <a:pt x="372" y="605"/>
                    </a:lnTo>
                    <a:lnTo>
                      <a:pt x="372" y="605"/>
                    </a:lnTo>
                    <a:lnTo>
                      <a:pt x="374" y="603"/>
                    </a:lnTo>
                    <a:lnTo>
                      <a:pt x="374" y="603"/>
                    </a:lnTo>
                    <a:lnTo>
                      <a:pt x="376" y="603"/>
                    </a:lnTo>
                    <a:lnTo>
                      <a:pt x="378" y="605"/>
                    </a:lnTo>
                    <a:lnTo>
                      <a:pt x="380" y="609"/>
                    </a:lnTo>
                    <a:lnTo>
                      <a:pt x="380" y="611"/>
                    </a:lnTo>
                    <a:lnTo>
                      <a:pt x="384" y="612"/>
                    </a:lnTo>
                    <a:lnTo>
                      <a:pt x="388" y="611"/>
                    </a:lnTo>
                    <a:lnTo>
                      <a:pt x="388" y="612"/>
                    </a:lnTo>
                    <a:lnTo>
                      <a:pt x="389" y="612"/>
                    </a:lnTo>
                    <a:lnTo>
                      <a:pt x="391" y="614"/>
                    </a:lnTo>
                    <a:lnTo>
                      <a:pt x="391" y="616"/>
                    </a:lnTo>
                    <a:lnTo>
                      <a:pt x="391" y="616"/>
                    </a:lnTo>
                    <a:lnTo>
                      <a:pt x="393" y="616"/>
                    </a:lnTo>
                    <a:lnTo>
                      <a:pt x="395" y="616"/>
                    </a:lnTo>
                    <a:lnTo>
                      <a:pt x="397" y="612"/>
                    </a:lnTo>
                    <a:lnTo>
                      <a:pt x="399" y="612"/>
                    </a:lnTo>
                    <a:lnTo>
                      <a:pt x="401" y="614"/>
                    </a:lnTo>
                    <a:lnTo>
                      <a:pt x="405" y="612"/>
                    </a:lnTo>
                    <a:lnTo>
                      <a:pt x="405" y="612"/>
                    </a:lnTo>
                    <a:lnTo>
                      <a:pt x="407" y="614"/>
                    </a:lnTo>
                    <a:lnTo>
                      <a:pt x="407" y="616"/>
                    </a:lnTo>
                    <a:lnTo>
                      <a:pt x="407" y="618"/>
                    </a:lnTo>
                    <a:lnTo>
                      <a:pt x="409" y="620"/>
                    </a:lnTo>
                    <a:lnTo>
                      <a:pt x="410" y="620"/>
                    </a:lnTo>
                    <a:lnTo>
                      <a:pt x="410" y="622"/>
                    </a:lnTo>
                    <a:lnTo>
                      <a:pt x="412" y="624"/>
                    </a:lnTo>
                    <a:lnTo>
                      <a:pt x="412" y="624"/>
                    </a:lnTo>
                    <a:lnTo>
                      <a:pt x="414" y="622"/>
                    </a:lnTo>
                    <a:lnTo>
                      <a:pt x="416" y="622"/>
                    </a:lnTo>
                    <a:lnTo>
                      <a:pt x="420" y="620"/>
                    </a:lnTo>
                    <a:lnTo>
                      <a:pt x="422" y="620"/>
                    </a:lnTo>
                    <a:lnTo>
                      <a:pt x="424" y="620"/>
                    </a:lnTo>
                    <a:lnTo>
                      <a:pt x="424" y="620"/>
                    </a:lnTo>
                    <a:lnTo>
                      <a:pt x="426" y="620"/>
                    </a:lnTo>
                    <a:lnTo>
                      <a:pt x="428" y="620"/>
                    </a:lnTo>
                    <a:lnTo>
                      <a:pt x="433" y="616"/>
                    </a:lnTo>
                    <a:lnTo>
                      <a:pt x="435" y="616"/>
                    </a:lnTo>
                    <a:lnTo>
                      <a:pt x="437" y="616"/>
                    </a:lnTo>
                    <a:lnTo>
                      <a:pt x="439" y="618"/>
                    </a:lnTo>
                    <a:lnTo>
                      <a:pt x="441" y="618"/>
                    </a:lnTo>
                    <a:lnTo>
                      <a:pt x="441" y="618"/>
                    </a:lnTo>
                    <a:lnTo>
                      <a:pt x="445" y="616"/>
                    </a:lnTo>
                    <a:lnTo>
                      <a:pt x="447" y="616"/>
                    </a:lnTo>
                    <a:lnTo>
                      <a:pt x="447" y="616"/>
                    </a:lnTo>
                    <a:lnTo>
                      <a:pt x="449" y="616"/>
                    </a:lnTo>
                    <a:lnTo>
                      <a:pt x="449" y="616"/>
                    </a:lnTo>
                    <a:lnTo>
                      <a:pt x="452" y="618"/>
                    </a:lnTo>
                    <a:lnTo>
                      <a:pt x="452" y="618"/>
                    </a:lnTo>
                    <a:lnTo>
                      <a:pt x="454" y="620"/>
                    </a:lnTo>
                    <a:lnTo>
                      <a:pt x="458" y="620"/>
                    </a:lnTo>
                    <a:lnTo>
                      <a:pt x="458" y="620"/>
                    </a:lnTo>
                    <a:lnTo>
                      <a:pt x="462" y="620"/>
                    </a:lnTo>
                    <a:lnTo>
                      <a:pt x="464" y="620"/>
                    </a:lnTo>
                    <a:lnTo>
                      <a:pt x="466" y="620"/>
                    </a:lnTo>
                    <a:lnTo>
                      <a:pt x="468" y="618"/>
                    </a:lnTo>
                    <a:lnTo>
                      <a:pt x="468" y="616"/>
                    </a:lnTo>
                    <a:lnTo>
                      <a:pt x="468" y="614"/>
                    </a:lnTo>
                    <a:lnTo>
                      <a:pt x="468" y="614"/>
                    </a:lnTo>
                    <a:lnTo>
                      <a:pt x="464" y="612"/>
                    </a:lnTo>
                    <a:lnTo>
                      <a:pt x="464" y="611"/>
                    </a:lnTo>
                    <a:lnTo>
                      <a:pt x="464" y="609"/>
                    </a:lnTo>
                    <a:lnTo>
                      <a:pt x="462" y="607"/>
                    </a:lnTo>
                    <a:lnTo>
                      <a:pt x="462" y="605"/>
                    </a:lnTo>
                    <a:lnTo>
                      <a:pt x="460" y="605"/>
                    </a:lnTo>
                    <a:lnTo>
                      <a:pt x="460" y="603"/>
                    </a:lnTo>
                    <a:lnTo>
                      <a:pt x="462" y="601"/>
                    </a:lnTo>
                    <a:lnTo>
                      <a:pt x="464" y="599"/>
                    </a:lnTo>
                    <a:lnTo>
                      <a:pt x="464" y="599"/>
                    </a:lnTo>
                    <a:lnTo>
                      <a:pt x="464" y="597"/>
                    </a:lnTo>
                    <a:lnTo>
                      <a:pt x="462" y="597"/>
                    </a:lnTo>
                    <a:lnTo>
                      <a:pt x="462" y="595"/>
                    </a:lnTo>
                    <a:lnTo>
                      <a:pt x="464" y="593"/>
                    </a:lnTo>
                    <a:lnTo>
                      <a:pt x="464" y="593"/>
                    </a:lnTo>
                    <a:lnTo>
                      <a:pt x="464" y="592"/>
                    </a:lnTo>
                    <a:lnTo>
                      <a:pt x="462" y="592"/>
                    </a:lnTo>
                    <a:lnTo>
                      <a:pt x="460" y="588"/>
                    </a:lnTo>
                    <a:lnTo>
                      <a:pt x="460" y="588"/>
                    </a:lnTo>
                    <a:lnTo>
                      <a:pt x="460" y="586"/>
                    </a:lnTo>
                    <a:lnTo>
                      <a:pt x="462" y="586"/>
                    </a:lnTo>
                    <a:lnTo>
                      <a:pt x="470" y="582"/>
                    </a:lnTo>
                    <a:lnTo>
                      <a:pt x="471" y="580"/>
                    </a:lnTo>
                    <a:lnTo>
                      <a:pt x="473" y="578"/>
                    </a:lnTo>
                    <a:lnTo>
                      <a:pt x="473" y="578"/>
                    </a:lnTo>
                    <a:lnTo>
                      <a:pt x="473" y="578"/>
                    </a:lnTo>
                    <a:lnTo>
                      <a:pt x="475" y="576"/>
                    </a:lnTo>
                    <a:lnTo>
                      <a:pt x="477" y="576"/>
                    </a:lnTo>
                    <a:lnTo>
                      <a:pt x="479" y="574"/>
                    </a:lnTo>
                    <a:lnTo>
                      <a:pt x="479" y="574"/>
                    </a:lnTo>
                    <a:lnTo>
                      <a:pt x="479" y="572"/>
                    </a:lnTo>
                    <a:lnTo>
                      <a:pt x="479" y="572"/>
                    </a:lnTo>
                    <a:lnTo>
                      <a:pt x="479" y="571"/>
                    </a:lnTo>
                    <a:lnTo>
                      <a:pt x="479" y="571"/>
                    </a:lnTo>
                    <a:lnTo>
                      <a:pt x="481" y="571"/>
                    </a:lnTo>
                    <a:lnTo>
                      <a:pt x="483" y="569"/>
                    </a:lnTo>
                    <a:lnTo>
                      <a:pt x="483" y="569"/>
                    </a:lnTo>
                    <a:lnTo>
                      <a:pt x="483" y="569"/>
                    </a:lnTo>
                    <a:lnTo>
                      <a:pt x="485" y="565"/>
                    </a:lnTo>
                    <a:lnTo>
                      <a:pt x="485" y="565"/>
                    </a:lnTo>
                    <a:lnTo>
                      <a:pt x="487" y="565"/>
                    </a:lnTo>
                    <a:lnTo>
                      <a:pt x="489" y="565"/>
                    </a:lnTo>
                    <a:lnTo>
                      <a:pt x="491" y="565"/>
                    </a:lnTo>
                    <a:lnTo>
                      <a:pt x="492" y="565"/>
                    </a:lnTo>
                    <a:lnTo>
                      <a:pt x="494" y="565"/>
                    </a:lnTo>
                    <a:lnTo>
                      <a:pt x="494" y="565"/>
                    </a:lnTo>
                    <a:lnTo>
                      <a:pt x="496" y="567"/>
                    </a:lnTo>
                    <a:lnTo>
                      <a:pt x="498" y="569"/>
                    </a:lnTo>
                    <a:lnTo>
                      <a:pt x="500" y="571"/>
                    </a:lnTo>
                    <a:lnTo>
                      <a:pt x="500" y="571"/>
                    </a:lnTo>
                    <a:lnTo>
                      <a:pt x="504" y="572"/>
                    </a:lnTo>
                    <a:lnTo>
                      <a:pt x="506" y="574"/>
                    </a:lnTo>
                    <a:lnTo>
                      <a:pt x="508" y="567"/>
                    </a:lnTo>
                    <a:lnTo>
                      <a:pt x="508" y="565"/>
                    </a:lnTo>
                    <a:lnTo>
                      <a:pt x="510" y="563"/>
                    </a:lnTo>
                    <a:lnTo>
                      <a:pt x="510" y="561"/>
                    </a:lnTo>
                    <a:lnTo>
                      <a:pt x="513" y="561"/>
                    </a:lnTo>
                    <a:lnTo>
                      <a:pt x="513" y="559"/>
                    </a:lnTo>
                    <a:lnTo>
                      <a:pt x="515" y="559"/>
                    </a:lnTo>
                    <a:lnTo>
                      <a:pt x="515" y="557"/>
                    </a:lnTo>
                    <a:lnTo>
                      <a:pt x="515" y="557"/>
                    </a:lnTo>
                    <a:lnTo>
                      <a:pt x="515" y="555"/>
                    </a:lnTo>
                    <a:lnTo>
                      <a:pt x="513" y="552"/>
                    </a:lnTo>
                    <a:lnTo>
                      <a:pt x="513" y="548"/>
                    </a:lnTo>
                    <a:lnTo>
                      <a:pt x="515" y="548"/>
                    </a:lnTo>
                    <a:lnTo>
                      <a:pt x="517" y="548"/>
                    </a:lnTo>
                    <a:lnTo>
                      <a:pt x="517" y="548"/>
                    </a:lnTo>
                    <a:lnTo>
                      <a:pt x="525" y="550"/>
                    </a:lnTo>
                    <a:lnTo>
                      <a:pt x="527" y="550"/>
                    </a:lnTo>
                    <a:lnTo>
                      <a:pt x="527" y="550"/>
                    </a:lnTo>
                    <a:lnTo>
                      <a:pt x="529" y="548"/>
                    </a:lnTo>
                    <a:lnTo>
                      <a:pt x="531" y="544"/>
                    </a:lnTo>
                    <a:lnTo>
                      <a:pt x="532" y="540"/>
                    </a:lnTo>
                    <a:lnTo>
                      <a:pt x="532" y="538"/>
                    </a:lnTo>
                    <a:lnTo>
                      <a:pt x="531" y="534"/>
                    </a:lnTo>
                    <a:lnTo>
                      <a:pt x="531" y="533"/>
                    </a:lnTo>
                    <a:lnTo>
                      <a:pt x="532" y="531"/>
                    </a:lnTo>
                    <a:lnTo>
                      <a:pt x="532" y="525"/>
                    </a:lnTo>
                    <a:lnTo>
                      <a:pt x="534" y="523"/>
                    </a:lnTo>
                    <a:lnTo>
                      <a:pt x="534" y="521"/>
                    </a:lnTo>
                    <a:lnTo>
                      <a:pt x="532" y="515"/>
                    </a:lnTo>
                    <a:lnTo>
                      <a:pt x="534" y="513"/>
                    </a:lnTo>
                    <a:lnTo>
                      <a:pt x="536" y="513"/>
                    </a:lnTo>
                    <a:lnTo>
                      <a:pt x="540" y="512"/>
                    </a:lnTo>
                    <a:lnTo>
                      <a:pt x="542" y="512"/>
                    </a:lnTo>
                    <a:lnTo>
                      <a:pt x="546" y="512"/>
                    </a:lnTo>
                    <a:lnTo>
                      <a:pt x="548" y="512"/>
                    </a:lnTo>
                    <a:lnTo>
                      <a:pt x="548" y="512"/>
                    </a:lnTo>
                    <a:lnTo>
                      <a:pt x="550" y="510"/>
                    </a:lnTo>
                    <a:lnTo>
                      <a:pt x="552" y="510"/>
                    </a:lnTo>
                    <a:lnTo>
                      <a:pt x="553" y="510"/>
                    </a:lnTo>
                    <a:lnTo>
                      <a:pt x="555" y="510"/>
                    </a:lnTo>
                    <a:lnTo>
                      <a:pt x="557" y="510"/>
                    </a:lnTo>
                    <a:lnTo>
                      <a:pt x="557" y="510"/>
                    </a:lnTo>
                    <a:lnTo>
                      <a:pt x="557" y="508"/>
                    </a:lnTo>
                    <a:lnTo>
                      <a:pt x="557" y="506"/>
                    </a:lnTo>
                    <a:lnTo>
                      <a:pt x="559" y="504"/>
                    </a:lnTo>
                    <a:lnTo>
                      <a:pt x="559" y="504"/>
                    </a:lnTo>
                    <a:lnTo>
                      <a:pt x="561" y="502"/>
                    </a:lnTo>
                    <a:lnTo>
                      <a:pt x="569" y="496"/>
                    </a:lnTo>
                    <a:lnTo>
                      <a:pt x="573" y="494"/>
                    </a:lnTo>
                    <a:lnTo>
                      <a:pt x="573" y="494"/>
                    </a:lnTo>
                    <a:lnTo>
                      <a:pt x="574" y="494"/>
                    </a:lnTo>
                    <a:lnTo>
                      <a:pt x="574" y="493"/>
                    </a:lnTo>
                    <a:lnTo>
                      <a:pt x="574" y="491"/>
                    </a:lnTo>
                    <a:lnTo>
                      <a:pt x="574" y="489"/>
                    </a:lnTo>
                    <a:lnTo>
                      <a:pt x="574" y="485"/>
                    </a:lnTo>
                    <a:lnTo>
                      <a:pt x="574" y="483"/>
                    </a:lnTo>
                    <a:lnTo>
                      <a:pt x="576" y="481"/>
                    </a:lnTo>
                    <a:lnTo>
                      <a:pt x="580" y="475"/>
                    </a:lnTo>
                    <a:lnTo>
                      <a:pt x="582" y="474"/>
                    </a:lnTo>
                    <a:lnTo>
                      <a:pt x="582" y="474"/>
                    </a:lnTo>
                    <a:lnTo>
                      <a:pt x="584" y="474"/>
                    </a:lnTo>
                    <a:lnTo>
                      <a:pt x="586" y="475"/>
                    </a:lnTo>
                    <a:lnTo>
                      <a:pt x="588" y="475"/>
                    </a:lnTo>
                    <a:lnTo>
                      <a:pt x="588" y="477"/>
                    </a:lnTo>
                    <a:lnTo>
                      <a:pt x="590" y="479"/>
                    </a:lnTo>
                    <a:lnTo>
                      <a:pt x="590" y="479"/>
                    </a:lnTo>
                    <a:lnTo>
                      <a:pt x="590" y="487"/>
                    </a:lnTo>
                    <a:lnTo>
                      <a:pt x="590" y="487"/>
                    </a:lnTo>
                    <a:lnTo>
                      <a:pt x="590" y="489"/>
                    </a:lnTo>
                    <a:lnTo>
                      <a:pt x="592" y="489"/>
                    </a:lnTo>
                    <a:lnTo>
                      <a:pt x="594" y="491"/>
                    </a:lnTo>
                    <a:lnTo>
                      <a:pt x="597" y="493"/>
                    </a:lnTo>
                    <a:lnTo>
                      <a:pt x="599" y="493"/>
                    </a:lnTo>
                    <a:lnTo>
                      <a:pt x="599" y="493"/>
                    </a:lnTo>
                    <a:lnTo>
                      <a:pt x="599" y="496"/>
                    </a:lnTo>
                    <a:lnTo>
                      <a:pt x="601" y="496"/>
                    </a:lnTo>
                    <a:lnTo>
                      <a:pt x="601" y="498"/>
                    </a:lnTo>
                    <a:lnTo>
                      <a:pt x="603" y="498"/>
                    </a:lnTo>
                    <a:lnTo>
                      <a:pt x="605" y="498"/>
                    </a:lnTo>
                    <a:lnTo>
                      <a:pt x="607" y="496"/>
                    </a:lnTo>
                    <a:lnTo>
                      <a:pt x="609" y="494"/>
                    </a:lnTo>
                    <a:lnTo>
                      <a:pt x="609" y="494"/>
                    </a:lnTo>
                    <a:lnTo>
                      <a:pt x="611" y="494"/>
                    </a:lnTo>
                    <a:lnTo>
                      <a:pt x="616" y="494"/>
                    </a:lnTo>
                    <a:lnTo>
                      <a:pt x="616" y="491"/>
                    </a:lnTo>
                    <a:lnTo>
                      <a:pt x="616" y="491"/>
                    </a:lnTo>
                    <a:lnTo>
                      <a:pt x="616" y="489"/>
                    </a:lnTo>
                    <a:lnTo>
                      <a:pt x="614" y="489"/>
                    </a:lnTo>
                    <a:lnTo>
                      <a:pt x="609" y="485"/>
                    </a:lnTo>
                    <a:lnTo>
                      <a:pt x="609" y="483"/>
                    </a:lnTo>
                    <a:lnTo>
                      <a:pt x="611" y="483"/>
                    </a:lnTo>
                    <a:lnTo>
                      <a:pt x="611" y="481"/>
                    </a:lnTo>
                    <a:lnTo>
                      <a:pt x="613" y="481"/>
                    </a:lnTo>
                    <a:lnTo>
                      <a:pt x="614" y="479"/>
                    </a:lnTo>
                    <a:lnTo>
                      <a:pt x="614" y="479"/>
                    </a:lnTo>
                    <a:lnTo>
                      <a:pt x="614" y="477"/>
                    </a:lnTo>
                    <a:lnTo>
                      <a:pt x="614" y="474"/>
                    </a:lnTo>
                    <a:lnTo>
                      <a:pt x="616" y="474"/>
                    </a:lnTo>
                    <a:lnTo>
                      <a:pt x="616" y="472"/>
                    </a:lnTo>
                    <a:lnTo>
                      <a:pt x="616" y="472"/>
                    </a:lnTo>
                    <a:lnTo>
                      <a:pt x="616" y="470"/>
                    </a:lnTo>
                    <a:lnTo>
                      <a:pt x="616" y="470"/>
                    </a:lnTo>
                    <a:lnTo>
                      <a:pt x="616" y="468"/>
                    </a:lnTo>
                    <a:lnTo>
                      <a:pt x="618" y="466"/>
                    </a:lnTo>
                    <a:lnTo>
                      <a:pt x="618" y="466"/>
                    </a:lnTo>
                    <a:lnTo>
                      <a:pt x="620" y="464"/>
                    </a:lnTo>
                    <a:lnTo>
                      <a:pt x="620" y="462"/>
                    </a:lnTo>
                    <a:lnTo>
                      <a:pt x="622" y="462"/>
                    </a:lnTo>
                    <a:lnTo>
                      <a:pt x="622" y="460"/>
                    </a:lnTo>
                    <a:lnTo>
                      <a:pt x="624" y="460"/>
                    </a:lnTo>
                    <a:lnTo>
                      <a:pt x="630" y="460"/>
                    </a:lnTo>
                    <a:lnTo>
                      <a:pt x="630" y="460"/>
                    </a:lnTo>
                    <a:lnTo>
                      <a:pt x="632" y="460"/>
                    </a:lnTo>
                    <a:lnTo>
                      <a:pt x="634" y="460"/>
                    </a:lnTo>
                    <a:lnTo>
                      <a:pt x="634" y="458"/>
                    </a:lnTo>
                    <a:lnTo>
                      <a:pt x="634" y="456"/>
                    </a:lnTo>
                    <a:lnTo>
                      <a:pt x="635" y="453"/>
                    </a:lnTo>
                    <a:lnTo>
                      <a:pt x="635" y="451"/>
                    </a:lnTo>
                    <a:lnTo>
                      <a:pt x="635" y="449"/>
                    </a:lnTo>
                    <a:lnTo>
                      <a:pt x="635" y="449"/>
                    </a:lnTo>
                    <a:lnTo>
                      <a:pt x="635" y="447"/>
                    </a:lnTo>
                    <a:lnTo>
                      <a:pt x="635" y="445"/>
                    </a:lnTo>
                    <a:lnTo>
                      <a:pt x="635" y="445"/>
                    </a:lnTo>
                    <a:lnTo>
                      <a:pt x="637" y="443"/>
                    </a:lnTo>
                    <a:lnTo>
                      <a:pt x="639" y="443"/>
                    </a:lnTo>
                    <a:lnTo>
                      <a:pt x="639" y="441"/>
                    </a:lnTo>
                    <a:lnTo>
                      <a:pt x="643" y="443"/>
                    </a:lnTo>
                    <a:lnTo>
                      <a:pt x="643" y="443"/>
                    </a:lnTo>
                    <a:lnTo>
                      <a:pt x="645" y="443"/>
                    </a:lnTo>
                    <a:lnTo>
                      <a:pt x="645" y="441"/>
                    </a:lnTo>
                    <a:lnTo>
                      <a:pt x="649" y="432"/>
                    </a:lnTo>
                    <a:lnTo>
                      <a:pt x="651" y="430"/>
                    </a:lnTo>
                    <a:lnTo>
                      <a:pt x="651" y="428"/>
                    </a:lnTo>
                    <a:lnTo>
                      <a:pt x="653" y="428"/>
                    </a:lnTo>
                    <a:lnTo>
                      <a:pt x="655" y="426"/>
                    </a:lnTo>
                    <a:lnTo>
                      <a:pt x="656" y="426"/>
                    </a:lnTo>
                    <a:lnTo>
                      <a:pt x="658" y="426"/>
                    </a:lnTo>
                    <a:lnTo>
                      <a:pt x="660" y="426"/>
                    </a:lnTo>
                    <a:lnTo>
                      <a:pt x="660" y="424"/>
                    </a:lnTo>
                    <a:lnTo>
                      <a:pt x="660" y="424"/>
                    </a:lnTo>
                    <a:lnTo>
                      <a:pt x="660" y="422"/>
                    </a:lnTo>
                    <a:lnTo>
                      <a:pt x="660" y="422"/>
                    </a:lnTo>
                    <a:lnTo>
                      <a:pt x="658" y="420"/>
                    </a:lnTo>
                    <a:lnTo>
                      <a:pt x="653" y="416"/>
                    </a:lnTo>
                    <a:lnTo>
                      <a:pt x="653" y="415"/>
                    </a:lnTo>
                    <a:lnTo>
                      <a:pt x="653" y="415"/>
                    </a:lnTo>
                    <a:lnTo>
                      <a:pt x="651" y="413"/>
                    </a:lnTo>
                    <a:lnTo>
                      <a:pt x="653" y="411"/>
                    </a:lnTo>
                    <a:lnTo>
                      <a:pt x="651" y="411"/>
                    </a:lnTo>
                    <a:lnTo>
                      <a:pt x="651" y="409"/>
                    </a:lnTo>
                    <a:lnTo>
                      <a:pt x="651" y="409"/>
                    </a:lnTo>
                    <a:lnTo>
                      <a:pt x="649" y="409"/>
                    </a:lnTo>
                    <a:lnTo>
                      <a:pt x="649" y="409"/>
                    </a:lnTo>
                    <a:lnTo>
                      <a:pt x="647" y="409"/>
                    </a:lnTo>
                    <a:lnTo>
                      <a:pt x="647" y="409"/>
                    </a:lnTo>
                    <a:lnTo>
                      <a:pt x="647" y="407"/>
                    </a:lnTo>
                    <a:lnTo>
                      <a:pt x="647" y="407"/>
                    </a:lnTo>
                    <a:lnTo>
                      <a:pt x="647" y="405"/>
                    </a:lnTo>
                    <a:lnTo>
                      <a:pt x="647" y="405"/>
                    </a:lnTo>
                    <a:lnTo>
                      <a:pt x="647" y="405"/>
                    </a:lnTo>
                    <a:lnTo>
                      <a:pt x="645" y="405"/>
                    </a:lnTo>
                    <a:lnTo>
                      <a:pt x="643" y="405"/>
                    </a:lnTo>
                    <a:lnTo>
                      <a:pt x="643" y="405"/>
                    </a:lnTo>
                    <a:lnTo>
                      <a:pt x="643" y="405"/>
                    </a:lnTo>
                    <a:lnTo>
                      <a:pt x="643" y="403"/>
                    </a:lnTo>
                    <a:lnTo>
                      <a:pt x="641" y="403"/>
                    </a:lnTo>
                    <a:lnTo>
                      <a:pt x="641" y="401"/>
                    </a:lnTo>
                    <a:lnTo>
                      <a:pt x="641" y="401"/>
                    </a:lnTo>
                    <a:lnTo>
                      <a:pt x="641" y="399"/>
                    </a:lnTo>
                    <a:lnTo>
                      <a:pt x="641" y="397"/>
                    </a:lnTo>
                    <a:lnTo>
                      <a:pt x="641" y="396"/>
                    </a:lnTo>
                    <a:lnTo>
                      <a:pt x="641" y="396"/>
                    </a:lnTo>
                    <a:lnTo>
                      <a:pt x="643" y="394"/>
                    </a:lnTo>
                    <a:lnTo>
                      <a:pt x="643" y="394"/>
                    </a:lnTo>
                    <a:lnTo>
                      <a:pt x="645" y="392"/>
                    </a:lnTo>
                    <a:lnTo>
                      <a:pt x="647" y="390"/>
                    </a:lnTo>
                    <a:lnTo>
                      <a:pt x="649" y="388"/>
                    </a:lnTo>
                    <a:lnTo>
                      <a:pt x="649" y="388"/>
                    </a:lnTo>
                    <a:lnTo>
                      <a:pt x="651" y="388"/>
                    </a:lnTo>
                    <a:lnTo>
                      <a:pt x="651" y="386"/>
                    </a:lnTo>
                    <a:lnTo>
                      <a:pt x="651" y="386"/>
                    </a:lnTo>
                    <a:lnTo>
                      <a:pt x="651" y="386"/>
                    </a:lnTo>
                    <a:lnTo>
                      <a:pt x="651" y="384"/>
                    </a:lnTo>
                    <a:lnTo>
                      <a:pt x="651" y="384"/>
                    </a:lnTo>
                    <a:lnTo>
                      <a:pt x="651" y="382"/>
                    </a:lnTo>
                    <a:lnTo>
                      <a:pt x="651" y="380"/>
                    </a:lnTo>
                    <a:lnTo>
                      <a:pt x="653" y="377"/>
                    </a:lnTo>
                    <a:lnTo>
                      <a:pt x="653" y="373"/>
                    </a:lnTo>
                    <a:lnTo>
                      <a:pt x="655" y="371"/>
                    </a:lnTo>
                    <a:lnTo>
                      <a:pt x="655" y="371"/>
                    </a:lnTo>
                    <a:lnTo>
                      <a:pt x="658" y="367"/>
                    </a:lnTo>
                    <a:lnTo>
                      <a:pt x="658" y="365"/>
                    </a:lnTo>
                    <a:lnTo>
                      <a:pt x="658" y="365"/>
                    </a:lnTo>
                    <a:lnTo>
                      <a:pt x="655" y="365"/>
                    </a:lnTo>
                    <a:lnTo>
                      <a:pt x="655" y="365"/>
                    </a:lnTo>
                    <a:lnTo>
                      <a:pt x="655" y="363"/>
                    </a:lnTo>
                    <a:lnTo>
                      <a:pt x="655" y="363"/>
                    </a:lnTo>
                    <a:lnTo>
                      <a:pt x="656" y="361"/>
                    </a:lnTo>
                    <a:lnTo>
                      <a:pt x="658" y="359"/>
                    </a:lnTo>
                    <a:lnTo>
                      <a:pt x="660" y="359"/>
                    </a:lnTo>
                    <a:lnTo>
                      <a:pt x="660" y="359"/>
                    </a:lnTo>
                    <a:lnTo>
                      <a:pt x="662" y="359"/>
                    </a:lnTo>
                    <a:lnTo>
                      <a:pt x="662" y="359"/>
                    </a:lnTo>
                    <a:lnTo>
                      <a:pt x="664" y="359"/>
                    </a:lnTo>
                    <a:lnTo>
                      <a:pt x="666" y="359"/>
                    </a:lnTo>
                    <a:lnTo>
                      <a:pt x="668" y="359"/>
                    </a:lnTo>
                    <a:lnTo>
                      <a:pt x="670" y="359"/>
                    </a:lnTo>
                    <a:lnTo>
                      <a:pt x="670" y="359"/>
                    </a:lnTo>
                    <a:lnTo>
                      <a:pt x="672" y="359"/>
                    </a:lnTo>
                    <a:lnTo>
                      <a:pt x="674" y="365"/>
                    </a:lnTo>
                    <a:lnTo>
                      <a:pt x="676" y="367"/>
                    </a:lnTo>
                    <a:lnTo>
                      <a:pt x="676" y="367"/>
                    </a:lnTo>
                    <a:lnTo>
                      <a:pt x="677" y="367"/>
                    </a:lnTo>
                    <a:lnTo>
                      <a:pt x="679" y="369"/>
                    </a:lnTo>
                    <a:lnTo>
                      <a:pt x="681" y="367"/>
                    </a:lnTo>
                    <a:lnTo>
                      <a:pt x="683" y="367"/>
                    </a:lnTo>
                    <a:lnTo>
                      <a:pt x="685" y="367"/>
                    </a:lnTo>
                    <a:lnTo>
                      <a:pt x="685" y="367"/>
                    </a:lnTo>
                    <a:lnTo>
                      <a:pt x="687" y="367"/>
                    </a:lnTo>
                    <a:lnTo>
                      <a:pt x="689" y="369"/>
                    </a:lnTo>
                    <a:lnTo>
                      <a:pt x="691" y="369"/>
                    </a:lnTo>
                    <a:lnTo>
                      <a:pt x="693" y="369"/>
                    </a:lnTo>
                    <a:lnTo>
                      <a:pt x="695" y="367"/>
                    </a:lnTo>
                    <a:lnTo>
                      <a:pt x="695" y="367"/>
                    </a:lnTo>
                    <a:lnTo>
                      <a:pt x="695" y="363"/>
                    </a:lnTo>
                    <a:lnTo>
                      <a:pt x="695" y="361"/>
                    </a:lnTo>
                    <a:lnTo>
                      <a:pt x="693" y="356"/>
                    </a:lnTo>
                    <a:lnTo>
                      <a:pt x="693" y="356"/>
                    </a:lnTo>
                    <a:lnTo>
                      <a:pt x="695" y="354"/>
                    </a:lnTo>
                    <a:lnTo>
                      <a:pt x="695" y="352"/>
                    </a:lnTo>
                    <a:lnTo>
                      <a:pt x="695" y="352"/>
                    </a:lnTo>
                    <a:lnTo>
                      <a:pt x="696" y="350"/>
                    </a:lnTo>
                    <a:lnTo>
                      <a:pt x="698" y="346"/>
                    </a:lnTo>
                    <a:lnTo>
                      <a:pt x="698" y="344"/>
                    </a:lnTo>
                    <a:lnTo>
                      <a:pt x="700" y="344"/>
                    </a:lnTo>
                    <a:lnTo>
                      <a:pt x="700" y="342"/>
                    </a:lnTo>
                    <a:lnTo>
                      <a:pt x="702" y="342"/>
                    </a:lnTo>
                    <a:lnTo>
                      <a:pt x="708" y="340"/>
                    </a:lnTo>
                    <a:lnTo>
                      <a:pt x="708" y="340"/>
                    </a:lnTo>
                    <a:lnTo>
                      <a:pt x="710" y="340"/>
                    </a:lnTo>
                    <a:lnTo>
                      <a:pt x="710" y="338"/>
                    </a:lnTo>
                    <a:lnTo>
                      <a:pt x="710" y="338"/>
                    </a:lnTo>
                    <a:lnTo>
                      <a:pt x="710" y="337"/>
                    </a:lnTo>
                    <a:lnTo>
                      <a:pt x="710" y="331"/>
                    </a:lnTo>
                    <a:lnTo>
                      <a:pt x="710" y="327"/>
                    </a:lnTo>
                    <a:lnTo>
                      <a:pt x="710" y="325"/>
                    </a:lnTo>
                    <a:lnTo>
                      <a:pt x="714" y="321"/>
                    </a:lnTo>
                    <a:lnTo>
                      <a:pt x="714" y="318"/>
                    </a:lnTo>
                    <a:lnTo>
                      <a:pt x="714" y="316"/>
                    </a:lnTo>
                    <a:lnTo>
                      <a:pt x="716" y="314"/>
                    </a:lnTo>
                    <a:lnTo>
                      <a:pt x="719" y="312"/>
                    </a:lnTo>
                    <a:lnTo>
                      <a:pt x="721" y="312"/>
                    </a:lnTo>
                    <a:lnTo>
                      <a:pt x="721" y="310"/>
                    </a:lnTo>
                    <a:lnTo>
                      <a:pt x="721" y="310"/>
                    </a:lnTo>
                    <a:lnTo>
                      <a:pt x="723" y="308"/>
                    </a:lnTo>
                    <a:lnTo>
                      <a:pt x="723" y="306"/>
                    </a:lnTo>
                    <a:lnTo>
                      <a:pt x="721" y="306"/>
                    </a:lnTo>
                    <a:lnTo>
                      <a:pt x="721" y="304"/>
                    </a:lnTo>
                    <a:lnTo>
                      <a:pt x="719" y="304"/>
                    </a:lnTo>
                    <a:lnTo>
                      <a:pt x="717" y="304"/>
                    </a:lnTo>
                    <a:lnTo>
                      <a:pt x="717" y="302"/>
                    </a:lnTo>
                    <a:lnTo>
                      <a:pt x="714" y="291"/>
                    </a:lnTo>
                    <a:lnTo>
                      <a:pt x="712" y="289"/>
                    </a:lnTo>
                    <a:lnTo>
                      <a:pt x="714" y="285"/>
                    </a:lnTo>
                    <a:lnTo>
                      <a:pt x="717" y="287"/>
                    </a:lnTo>
                    <a:lnTo>
                      <a:pt x="719" y="289"/>
                    </a:lnTo>
                    <a:lnTo>
                      <a:pt x="719" y="289"/>
                    </a:lnTo>
                    <a:lnTo>
                      <a:pt x="721" y="289"/>
                    </a:lnTo>
                    <a:lnTo>
                      <a:pt x="723" y="293"/>
                    </a:lnTo>
                    <a:lnTo>
                      <a:pt x="723" y="293"/>
                    </a:lnTo>
                    <a:lnTo>
                      <a:pt x="723" y="293"/>
                    </a:lnTo>
                    <a:lnTo>
                      <a:pt x="723" y="295"/>
                    </a:lnTo>
                    <a:lnTo>
                      <a:pt x="731" y="297"/>
                    </a:lnTo>
                    <a:lnTo>
                      <a:pt x="733" y="297"/>
                    </a:lnTo>
                    <a:lnTo>
                      <a:pt x="733" y="297"/>
                    </a:lnTo>
                    <a:lnTo>
                      <a:pt x="735" y="297"/>
                    </a:lnTo>
                    <a:lnTo>
                      <a:pt x="735" y="295"/>
                    </a:lnTo>
                    <a:lnTo>
                      <a:pt x="735" y="295"/>
                    </a:lnTo>
                    <a:lnTo>
                      <a:pt x="735" y="295"/>
                    </a:lnTo>
                    <a:lnTo>
                      <a:pt x="735" y="295"/>
                    </a:lnTo>
                    <a:lnTo>
                      <a:pt x="737" y="295"/>
                    </a:lnTo>
                    <a:lnTo>
                      <a:pt x="737" y="295"/>
                    </a:lnTo>
                    <a:lnTo>
                      <a:pt x="738" y="293"/>
                    </a:lnTo>
                    <a:lnTo>
                      <a:pt x="738" y="293"/>
                    </a:lnTo>
                    <a:lnTo>
                      <a:pt x="740" y="293"/>
                    </a:lnTo>
                    <a:lnTo>
                      <a:pt x="740" y="295"/>
                    </a:lnTo>
                    <a:lnTo>
                      <a:pt x="742" y="295"/>
                    </a:lnTo>
                    <a:lnTo>
                      <a:pt x="744" y="295"/>
                    </a:lnTo>
                    <a:lnTo>
                      <a:pt x="744" y="295"/>
                    </a:lnTo>
                    <a:lnTo>
                      <a:pt x="748" y="295"/>
                    </a:lnTo>
                    <a:lnTo>
                      <a:pt x="750" y="295"/>
                    </a:lnTo>
                    <a:lnTo>
                      <a:pt x="758" y="299"/>
                    </a:lnTo>
                    <a:lnTo>
                      <a:pt x="761" y="300"/>
                    </a:lnTo>
                    <a:lnTo>
                      <a:pt x="761" y="300"/>
                    </a:lnTo>
                    <a:lnTo>
                      <a:pt x="765" y="300"/>
                    </a:lnTo>
                    <a:lnTo>
                      <a:pt x="769" y="300"/>
                    </a:lnTo>
                    <a:lnTo>
                      <a:pt x="773" y="302"/>
                    </a:lnTo>
                    <a:lnTo>
                      <a:pt x="775" y="302"/>
                    </a:lnTo>
                    <a:lnTo>
                      <a:pt x="775" y="304"/>
                    </a:lnTo>
                    <a:lnTo>
                      <a:pt x="777" y="304"/>
                    </a:lnTo>
                    <a:lnTo>
                      <a:pt x="777" y="306"/>
                    </a:lnTo>
                    <a:lnTo>
                      <a:pt x="778" y="306"/>
                    </a:lnTo>
                    <a:lnTo>
                      <a:pt x="778" y="306"/>
                    </a:lnTo>
                    <a:lnTo>
                      <a:pt x="778" y="306"/>
                    </a:lnTo>
                    <a:lnTo>
                      <a:pt x="780" y="318"/>
                    </a:lnTo>
                    <a:lnTo>
                      <a:pt x="782" y="318"/>
                    </a:lnTo>
                    <a:lnTo>
                      <a:pt x="782" y="318"/>
                    </a:lnTo>
                    <a:lnTo>
                      <a:pt x="782" y="319"/>
                    </a:lnTo>
                    <a:lnTo>
                      <a:pt x="786" y="319"/>
                    </a:lnTo>
                    <a:lnTo>
                      <a:pt x="788" y="319"/>
                    </a:lnTo>
                    <a:lnTo>
                      <a:pt x="788" y="321"/>
                    </a:lnTo>
                    <a:lnTo>
                      <a:pt x="788" y="321"/>
                    </a:lnTo>
                    <a:lnTo>
                      <a:pt x="788" y="323"/>
                    </a:lnTo>
                    <a:lnTo>
                      <a:pt x="790" y="323"/>
                    </a:lnTo>
                    <a:lnTo>
                      <a:pt x="790" y="325"/>
                    </a:lnTo>
                    <a:lnTo>
                      <a:pt x="792" y="325"/>
                    </a:lnTo>
                    <a:lnTo>
                      <a:pt x="794" y="325"/>
                    </a:lnTo>
                    <a:lnTo>
                      <a:pt x="794" y="325"/>
                    </a:lnTo>
                    <a:lnTo>
                      <a:pt x="794" y="327"/>
                    </a:lnTo>
                    <a:lnTo>
                      <a:pt x="796" y="327"/>
                    </a:lnTo>
                    <a:lnTo>
                      <a:pt x="796" y="327"/>
                    </a:lnTo>
                    <a:lnTo>
                      <a:pt x="798" y="327"/>
                    </a:lnTo>
                    <a:lnTo>
                      <a:pt x="799" y="327"/>
                    </a:lnTo>
                    <a:lnTo>
                      <a:pt x="801" y="325"/>
                    </a:lnTo>
                    <a:lnTo>
                      <a:pt x="803" y="325"/>
                    </a:lnTo>
                    <a:lnTo>
                      <a:pt x="805" y="321"/>
                    </a:lnTo>
                    <a:lnTo>
                      <a:pt x="805" y="321"/>
                    </a:lnTo>
                    <a:lnTo>
                      <a:pt x="805" y="321"/>
                    </a:lnTo>
                    <a:lnTo>
                      <a:pt x="811" y="319"/>
                    </a:lnTo>
                    <a:lnTo>
                      <a:pt x="819" y="318"/>
                    </a:lnTo>
                    <a:lnTo>
                      <a:pt x="820" y="318"/>
                    </a:lnTo>
                    <a:lnTo>
                      <a:pt x="822" y="318"/>
                    </a:lnTo>
                    <a:lnTo>
                      <a:pt x="824" y="318"/>
                    </a:lnTo>
                    <a:lnTo>
                      <a:pt x="824" y="319"/>
                    </a:lnTo>
                    <a:lnTo>
                      <a:pt x="826" y="319"/>
                    </a:lnTo>
                    <a:lnTo>
                      <a:pt x="828" y="323"/>
                    </a:lnTo>
                    <a:lnTo>
                      <a:pt x="828" y="323"/>
                    </a:lnTo>
                    <a:lnTo>
                      <a:pt x="828" y="325"/>
                    </a:lnTo>
                    <a:lnTo>
                      <a:pt x="830" y="325"/>
                    </a:lnTo>
                    <a:lnTo>
                      <a:pt x="841" y="327"/>
                    </a:lnTo>
                    <a:lnTo>
                      <a:pt x="843" y="327"/>
                    </a:lnTo>
                    <a:lnTo>
                      <a:pt x="843" y="327"/>
                    </a:lnTo>
                    <a:lnTo>
                      <a:pt x="845" y="331"/>
                    </a:lnTo>
                    <a:lnTo>
                      <a:pt x="845" y="331"/>
                    </a:lnTo>
                    <a:lnTo>
                      <a:pt x="847" y="331"/>
                    </a:lnTo>
                    <a:lnTo>
                      <a:pt x="847" y="331"/>
                    </a:lnTo>
                    <a:lnTo>
                      <a:pt x="849" y="333"/>
                    </a:lnTo>
                    <a:lnTo>
                      <a:pt x="860" y="333"/>
                    </a:lnTo>
                    <a:lnTo>
                      <a:pt x="860" y="333"/>
                    </a:lnTo>
                    <a:lnTo>
                      <a:pt x="860" y="333"/>
                    </a:lnTo>
                    <a:lnTo>
                      <a:pt x="864" y="333"/>
                    </a:lnTo>
                    <a:lnTo>
                      <a:pt x="866" y="333"/>
                    </a:lnTo>
                    <a:lnTo>
                      <a:pt x="866" y="333"/>
                    </a:lnTo>
                    <a:lnTo>
                      <a:pt x="866" y="335"/>
                    </a:lnTo>
                    <a:lnTo>
                      <a:pt x="868" y="335"/>
                    </a:lnTo>
                    <a:lnTo>
                      <a:pt x="868" y="335"/>
                    </a:lnTo>
                    <a:lnTo>
                      <a:pt x="868" y="335"/>
                    </a:lnTo>
                    <a:lnTo>
                      <a:pt x="870" y="337"/>
                    </a:lnTo>
                    <a:lnTo>
                      <a:pt x="870" y="337"/>
                    </a:lnTo>
                    <a:lnTo>
                      <a:pt x="872" y="335"/>
                    </a:lnTo>
                    <a:lnTo>
                      <a:pt x="872" y="335"/>
                    </a:lnTo>
                    <a:lnTo>
                      <a:pt x="874" y="333"/>
                    </a:lnTo>
                    <a:lnTo>
                      <a:pt x="874" y="333"/>
                    </a:lnTo>
                    <a:lnTo>
                      <a:pt x="874" y="331"/>
                    </a:lnTo>
                    <a:lnTo>
                      <a:pt x="874" y="329"/>
                    </a:lnTo>
                    <a:lnTo>
                      <a:pt x="874" y="329"/>
                    </a:lnTo>
                    <a:lnTo>
                      <a:pt x="876" y="329"/>
                    </a:lnTo>
                    <a:lnTo>
                      <a:pt x="878" y="327"/>
                    </a:lnTo>
                    <a:lnTo>
                      <a:pt x="885" y="325"/>
                    </a:lnTo>
                    <a:lnTo>
                      <a:pt x="887" y="323"/>
                    </a:lnTo>
                    <a:lnTo>
                      <a:pt x="887" y="323"/>
                    </a:lnTo>
                    <a:lnTo>
                      <a:pt x="889" y="323"/>
                    </a:lnTo>
                    <a:lnTo>
                      <a:pt x="897" y="325"/>
                    </a:lnTo>
                    <a:lnTo>
                      <a:pt x="899" y="325"/>
                    </a:lnTo>
                    <a:lnTo>
                      <a:pt x="899" y="327"/>
                    </a:lnTo>
                    <a:lnTo>
                      <a:pt x="902" y="329"/>
                    </a:lnTo>
                    <a:lnTo>
                      <a:pt x="902" y="331"/>
                    </a:lnTo>
                    <a:lnTo>
                      <a:pt x="904" y="335"/>
                    </a:lnTo>
                    <a:lnTo>
                      <a:pt x="904" y="335"/>
                    </a:lnTo>
                    <a:lnTo>
                      <a:pt x="906" y="335"/>
                    </a:lnTo>
                    <a:lnTo>
                      <a:pt x="906" y="337"/>
                    </a:lnTo>
                    <a:lnTo>
                      <a:pt x="906" y="337"/>
                    </a:lnTo>
                    <a:lnTo>
                      <a:pt x="910" y="337"/>
                    </a:lnTo>
                    <a:lnTo>
                      <a:pt x="912" y="338"/>
                    </a:lnTo>
                    <a:lnTo>
                      <a:pt x="912" y="338"/>
                    </a:lnTo>
                    <a:lnTo>
                      <a:pt x="914" y="338"/>
                    </a:lnTo>
                    <a:lnTo>
                      <a:pt x="914" y="338"/>
                    </a:lnTo>
                    <a:lnTo>
                      <a:pt x="914" y="338"/>
                    </a:lnTo>
                    <a:lnTo>
                      <a:pt x="916" y="342"/>
                    </a:lnTo>
                    <a:lnTo>
                      <a:pt x="916" y="342"/>
                    </a:lnTo>
                    <a:lnTo>
                      <a:pt x="918" y="342"/>
                    </a:lnTo>
                    <a:lnTo>
                      <a:pt x="918" y="344"/>
                    </a:lnTo>
                    <a:lnTo>
                      <a:pt x="918" y="346"/>
                    </a:lnTo>
                    <a:lnTo>
                      <a:pt x="918" y="348"/>
                    </a:lnTo>
                    <a:lnTo>
                      <a:pt x="918" y="350"/>
                    </a:lnTo>
                    <a:lnTo>
                      <a:pt x="918" y="356"/>
                    </a:lnTo>
                    <a:lnTo>
                      <a:pt x="918" y="356"/>
                    </a:lnTo>
                    <a:lnTo>
                      <a:pt x="918" y="359"/>
                    </a:lnTo>
                    <a:lnTo>
                      <a:pt x="918" y="361"/>
                    </a:lnTo>
                    <a:lnTo>
                      <a:pt x="918" y="363"/>
                    </a:lnTo>
                    <a:lnTo>
                      <a:pt x="916" y="365"/>
                    </a:lnTo>
                    <a:lnTo>
                      <a:pt x="916" y="365"/>
                    </a:lnTo>
                    <a:lnTo>
                      <a:pt x="914" y="367"/>
                    </a:lnTo>
                    <a:lnTo>
                      <a:pt x="914" y="367"/>
                    </a:lnTo>
                    <a:lnTo>
                      <a:pt x="914" y="369"/>
                    </a:lnTo>
                    <a:lnTo>
                      <a:pt x="914" y="369"/>
                    </a:lnTo>
                    <a:lnTo>
                      <a:pt x="914" y="371"/>
                    </a:lnTo>
                    <a:lnTo>
                      <a:pt x="914" y="373"/>
                    </a:lnTo>
                    <a:lnTo>
                      <a:pt x="914" y="375"/>
                    </a:lnTo>
                    <a:lnTo>
                      <a:pt x="914" y="378"/>
                    </a:lnTo>
                    <a:lnTo>
                      <a:pt x="916" y="380"/>
                    </a:lnTo>
                    <a:lnTo>
                      <a:pt x="912" y="382"/>
                    </a:lnTo>
                    <a:lnTo>
                      <a:pt x="910" y="384"/>
                    </a:lnTo>
                    <a:lnTo>
                      <a:pt x="906" y="388"/>
                    </a:lnTo>
                    <a:lnTo>
                      <a:pt x="906" y="392"/>
                    </a:lnTo>
                    <a:lnTo>
                      <a:pt x="906" y="397"/>
                    </a:lnTo>
                    <a:lnTo>
                      <a:pt x="908" y="397"/>
                    </a:lnTo>
                    <a:lnTo>
                      <a:pt x="914" y="396"/>
                    </a:lnTo>
                    <a:lnTo>
                      <a:pt x="916" y="397"/>
                    </a:lnTo>
                    <a:lnTo>
                      <a:pt x="918" y="407"/>
                    </a:lnTo>
                    <a:lnTo>
                      <a:pt x="918" y="411"/>
                    </a:lnTo>
                    <a:lnTo>
                      <a:pt x="918" y="418"/>
                    </a:lnTo>
                    <a:lnTo>
                      <a:pt x="918" y="420"/>
                    </a:lnTo>
                    <a:lnTo>
                      <a:pt x="916" y="422"/>
                    </a:lnTo>
                    <a:lnTo>
                      <a:pt x="912" y="426"/>
                    </a:lnTo>
                    <a:lnTo>
                      <a:pt x="912" y="426"/>
                    </a:lnTo>
                    <a:lnTo>
                      <a:pt x="918" y="430"/>
                    </a:lnTo>
                    <a:lnTo>
                      <a:pt x="923" y="432"/>
                    </a:lnTo>
                    <a:lnTo>
                      <a:pt x="927" y="435"/>
                    </a:lnTo>
                    <a:lnTo>
                      <a:pt x="931" y="437"/>
                    </a:lnTo>
                    <a:lnTo>
                      <a:pt x="931" y="439"/>
                    </a:lnTo>
                    <a:lnTo>
                      <a:pt x="933" y="443"/>
                    </a:lnTo>
                    <a:lnTo>
                      <a:pt x="935" y="443"/>
                    </a:lnTo>
                    <a:lnTo>
                      <a:pt x="944" y="443"/>
                    </a:lnTo>
                    <a:lnTo>
                      <a:pt x="954" y="443"/>
                    </a:lnTo>
                    <a:lnTo>
                      <a:pt x="954" y="443"/>
                    </a:lnTo>
                    <a:lnTo>
                      <a:pt x="956" y="441"/>
                    </a:lnTo>
                    <a:lnTo>
                      <a:pt x="956" y="439"/>
                    </a:lnTo>
                    <a:lnTo>
                      <a:pt x="956" y="437"/>
                    </a:lnTo>
                    <a:lnTo>
                      <a:pt x="956" y="435"/>
                    </a:lnTo>
                    <a:lnTo>
                      <a:pt x="956" y="434"/>
                    </a:lnTo>
                    <a:lnTo>
                      <a:pt x="958" y="432"/>
                    </a:lnTo>
                    <a:lnTo>
                      <a:pt x="965" y="428"/>
                    </a:lnTo>
                    <a:lnTo>
                      <a:pt x="967" y="426"/>
                    </a:lnTo>
                    <a:lnTo>
                      <a:pt x="965" y="422"/>
                    </a:lnTo>
                    <a:lnTo>
                      <a:pt x="958" y="413"/>
                    </a:lnTo>
                    <a:lnTo>
                      <a:pt x="956" y="411"/>
                    </a:lnTo>
                    <a:lnTo>
                      <a:pt x="956" y="405"/>
                    </a:lnTo>
                    <a:lnTo>
                      <a:pt x="960" y="401"/>
                    </a:lnTo>
                    <a:lnTo>
                      <a:pt x="965" y="392"/>
                    </a:lnTo>
                    <a:lnTo>
                      <a:pt x="969" y="388"/>
                    </a:lnTo>
                    <a:lnTo>
                      <a:pt x="969" y="384"/>
                    </a:lnTo>
                    <a:lnTo>
                      <a:pt x="969" y="382"/>
                    </a:lnTo>
                    <a:lnTo>
                      <a:pt x="973" y="373"/>
                    </a:lnTo>
                    <a:lnTo>
                      <a:pt x="973" y="371"/>
                    </a:lnTo>
                    <a:lnTo>
                      <a:pt x="975" y="369"/>
                    </a:lnTo>
                    <a:lnTo>
                      <a:pt x="977" y="367"/>
                    </a:lnTo>
                    <a:lnTo>
                      <a:pt x="979" y="367"/>
                    </a:lnTo>
                    <a:lnTo>
                      <a:pt x="981" y="365"/>
                    </a:lnTo>
                    <a:lnTo>
                      <a:pt x="983" y="361"/>
                    </a:lnTo>
                    <a:lnTo>
                      <a:pt x="983" y="359"/>
                    </a:lnTo>
                    <a:lnTo>
                      <a:pt x="984" y="359"/>
                    </a:lnTo>
                    <a:lnTo>
                      <a:pt x="986" y="357"/>
                    </a:lnTo>
                    <a:lnTo>
                      <a:pt x="988" y="357"/>
                    </a:lnTo>
                    <a:lnTo>
                      <a:pt x="988" y="356"/>
                    </a:lnTo>
                    <a:lnTo>
                      <a:pt x="990" y="354"/>
                    </a:lnTo>
                    <a:lnTo>
                      <a:pt x="992" y="352"/>
                    </a:lnTo>
                    <a:lnTo>
                      <a:pt x="994" y="352"/>
                    </a:lnTo>
                    <a:lnTo>
                      <a:pt x="996" y="352"/>
                    </a:lnTo>
                    <a:lnTo>
                      <a:pt x="998" y="357"/>
                    </a:lnTo>
                    <a:lnTo>
                      <a:pt x="1000" y="361"/>
                    </a:lnTo>
                    <a:lnTo>
                      <a:pt x="1002" y="361"/>
                    </a:lnTo>
                    <a:lnTo>
                      <a:pt x="1005" y="359"/>
                    </a:lnTo>
                    <a:lnTo>
                      <a:pt x="1007" y="361"/>
                    </a:lnTo>
                    <a:lnTo>
                      <a:pt x="1009" y="361"/>
                    </a:lnTo>
                    <a:lnTo>
                      <a:pt x="1011" y="367"/>
                    </a:lnTo>
                    <a:lnTo>
                      <a:pt x="1013" y="369"/>
                    </a:lnTo>
                    <a:lnTo>
                      <a:pt x="1013" y="369"/>
                    </a:lnTo>
                    <a:lnTo>
                      <a:pt x="1013" y="369"/>
                    </a:lnTo>
                    <a:lnTo>
                      <a:pt x="1015" y="367"/>
                    </a:lnTo>
                    <a:lnTo>
                      <a:pt x="1017" y="365"/>
                    </a:lnTo>
                    <a:lnTo>
                      <a:pt x="1019" y="363"/>
                    </a:lnTo>
                    <a:lnTo>
                      <a:pt x="1021" y="361"/>
                    </a:lnTo>
                    <a:lnTo>
                      <a:pt x="1026" y="359"/>
                    </a:lnTo>
                    <a:lnTo>
                      <a:pt x="1026" y="359"/>
                    </a:lnTo>
                    <a:lnTo>
                      <a:pt x="1026" y="357"/>
                    </a:lnTo>
                    <a:lnTo>
                      <a:pt x="1026" y="356"/>
                    </a:lnTo>
                    <a:lnTo>
                      <a:pt x="1024" y="352"/>
                    </a:lnTo>
                    <a:lnTo>
                      <a:pt x="1023" y="350"/>
                    </a:lnTo>
                    <a:lnTo>
                      <a:pt x="1024" y="350"/>
                    </a:lnTo>
                    <a:lnTo>
                      <a:pt x="1024" y="348"/>
                    </a:lnTo>
                    <a:lnTo>
                      <a:pt x="1026" y="348"/>
                    </a:lnTo>
                    <a:lnTo>
                      <a:pt x="1030" y="348"/>
                    </a:lnTo>
                    <a:lnTo>
                      <a:pt x="1032" y="348"/>
                    </a:lnTo>
                    <a:lnTo>
                      <a:pt x="1034" y="346"/>
                    </a:lnTo>
                    <a:lnTo>
                      <a:pt x="1034" y="344"/>
                    </a:lnTo>
                    <a:lnTo>
                      <a:pt x="1036" y="342"/>
                    </a:lnTo>
                    <a:lnTo>
                      <a:pt x="1036" y="340"/>
                    </a:lnTo>
                    <a:lnTo>
                      <a:pt x="1034" y="338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9" name="Freeform 21">
                <a:extLst>
                  <a:ext uri="{FF2B5EF4-FFF2-40B4-BE49-F238E27FC236}">
                    <a16:creationId xmlns:a16="http://schemas.microsoft.com/office/drawing/2014/main" id="{137BC29D-939A-4E46-9A72-6621C8F5E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4244" y="3835874"/>
                <a:ext cx="1749425" cy="1258888"/>
              </a:xfrm>
              <a:custGeom>
                <a:avLst/>
                <a:gdLst>
                  <a:gd name="T0" fmla="*/ 1039 w 1102"/>
                  <a:gd name="T1" fmla="*/ 300 h 793"/>
                  <a:gd name="T2" fmla="*/ 1013 w 1102"/>
                  <a:gd name="T3" fmla="*/ 285 h 793"/>
                  <a:gd name="T4" fmla="*/ 946 w 1102"/>
                  <a:gd name="T5" fmla="*/ 247 h 793"/>
                  <a:gd name="T6" fmla="*/ 906 w 1102"/>
                  <a:gd name="T7" fmla="*/ 236 h 793"/>
                  <a:gd name="T8" fmla="*/ 864 w 1102"/>
                  <a:gd name="T9" fmla="*/ 262 h 793"/>
                  <a:gd name="T10" fmla="*/ 849 w 1102"/>
                  <a:gd name="T11" fmla="*/ 232 h 793"/>
                  <a:gd name="T12" fmla="*/ 816 w 1102"/>
                  <a:gd name="T13" fmla="*/ 243 h 793"/>
                  <a:gd name="T14" fmla="*/ 786 w 1102"/>
                  <a:gd name="T15" fmla="*/ 257 h 793"/>
                  <a:gd name="T16" fmla="*/ 795 w 1102"/>
                  <a:gd name="T17" fmla="*/ 224 h 793"/>
                  <a:gd name="T18" fmla="*/ 728 w 1102"/>
                  <a:gd name="T19" fmla="*/ 226 h 793"/>
                  <a:gd name="T20" fmla="*/ 679 w 1102"/>
                  <a:gd name="T21" fmla="*/ 242 h 793"/>
                  <a:gd name="T22" fmla="*/ 666 w 1102"/>
                  <a:gd name="T23" fmla="*/ 222 h 793"/>
                  <a:gd name="T24" fmla="*/ 643 w 1102"/>
                  <a:gd name="T25" fmla="*/ 236 h 793"/>
                  <a:gd name="T26" fmla="*/ 612 w 1102"/>
                  <a:gd name="T27" fmla="*/ 232 h 793"/>
                  <a:gd name="T28" fmla="*/ 610 w 1102"/>
                  <a:gd name="T29" fmla="*/ 184 h 793"/>
                  <a:gd name="T30" fmla="*/ 589 w 1102"/>
                  <a:gd name="T31" fmla="*/ 211 h 793"/>
                  <a:gd name="T32" fmla="*/ 580 w 1102"/>
                  <a:gd name="T33" fmla="*/ 268 h 793"/>
                  <a:gd name="T34" fmla="*/ 614 w 1102"/>
                  <a:gd name="T35" fmla="*/ 331 h 793"/>
                  <a:gd name="T36" fmla="*/ 555 w 1102"/>
                  <a:gd name="T37" fmla="*/ 344 h 793"/>
                  <a:gd name="T38" fmla="*/ 530 w 1102"/>
                  <a:gd name="T39" fmla="*/ 308 h 793"/>
                  <a:gd name="T40" fmla="*/ 530 w 1102"/>
                  <a:gd name="T41" fmla="*/ 203 h 793"/>
                  <a:gd name="T42" fmla="*/ 610 w 1102"/>
                  <a:gd name="T43" fmla="*/ 124 h 793"/>
                  <a:gd name="T44" fmla="*/ 627 w 1102"/>
                  <a:gd name="T45" fmla="*/ 51 h 793"/>
                  <a:gd name="T46" fmla="*/ 553 w 1102"/>
                  <a:gd name="T47" fmla="*/ 7 h 793"/>
                  <a:gd name="T48" fmla="*/ 496 w 1102"/>
                  <a:gd name="T49" fmla="*/ 25 h 793"/>
                  <a:gd name="T50" fmla="*/ 410 w 1102"/>
                  <a:gd name="T51" fmla="*/ 78 h 793"/>
                  <a:gd name="T52" fmla="*/ 345 w 1102"/>
                  <a:gd name="T53" fmla="*/ 125 h 793"/>
                  <a:gd name="T54" fmla="*/ 326 w 1102"/>
                  <a:gd name="T55" fmla="*/ 203 h 793"/>
                  <a:gd name="T56" fmla="*/ 410 w 1102"/>
                  <a:gd name="T57" fmla="*/ 198 h 793"/>
                  <a:gd name="T58" fmla="*/ 418 w 1102"/>
                  <a:gd name="T59" fmla="*/ 240 h 793"/>
                  <a:gd name="T60" fmla="*/ 347 w 1102"/>
                  <a:gd name="T61" fmla="*/ 280 h 793"/>
                  <a:gd name="T62" fmla="*/ 355 w 1102"/>
                  <a:gd name="T63" fmla="*/ 318 h 793"/>
                  <a:gd name="T64" fmla="*/ 330 w 1102"/>
                  <a:gd name="T65" fmla="*/ 363 h 793"/>
                  <a:gd name="T66" fmla="*/ 271 w 1102"/>
                  <a:gd name="T67" fmla="*/ 350 h 793"/>
                  <a:gd name="T68" fmla="*/ 214 w 1102"/>
                  <a:gd name="T69" fmla="*/ 407 h 793"/>
                  <a:gd name="T70" fmla="*/ 200 w 1102"/>
                  <a:gd name="T71" fmla="*/ 398 h 793"/>
                  <a:gd name="T72" fmla="*/ 217 w 1102"/>
                  <a:gd name="T73" fmla="*/ 329 h 793"/>
                  <a:gd name="T74" fmla="*/ 143 w 1102"/>
                  <a:gd name="T75" fmla="*/ 291 h 793"/>
                  <a:gd name="T76" fmla="*/ 153 w 1102"/>
                  <a:gd name="T77" fmla="*/ 268 h 793"/>
                  <a:gd name="T78" fmla="*/ 133 w 1102"/>
                  <a:gd name="T79" fmla="*/ 272 h 793"/>
                  <a:gd name="T80" fmla="*/ 116 w 1102"/>
                  <a:gd name="T81" fmla="*/ 287 h 793"/>
                  <a:gd name="T82" fmla="*/ 86 w 1102"/>
                  <a:gd name="T83" fmla="*/ 327 h 793"/>
                  <a:gd name="T84" fmla="*/ 109 w 1102"/>
                  <a:gd name="T85" fmla="*/ 420 h 793"/>
                  <a:gd name="T86" fmla="*/ 80 w 1102"/>
                  <a:gd name="T87" fmla="*/ 502 h 793"/>
                  <a:gd name="T88" fmla="*/ 38 w 1102"/>
                  <a:gd name="T89" fmla="*/ 584 h 793"/>
                  <a:gd name="T90" fmla="*/ 10 w 1102"/>
                  <a:gd name="T91" fmla="*/ 622 h 793"/>
                  <a:gd name="T92" fmla="*/ 36 w 1102"/>
                  <a:gd name="T93" fmla="*/ 671 h 793"/>
                  <a:gd name="T94" fmla="*/ 130 w 1102"/>
                  <a:gd name="T95" fmla="*/ 730 h 793"/>
                  <a:gd name="T96" fmla="*/ 261 w 1102"/>
                  <a:gd name="T97" fmla="*/ 780 h 793"/>
                  <a:gd name="T98" fmla="*/ 343 w 1102"/>
                  <a:gd name="T99" fmla="*/ 740 h 793"/>
                  <a:gd name="T100" fmla="*/ 435 w 1102"/>
                  <a:gd name="T101" fmla="*/ 702 h 793"/>
                  <a:gd name="T102" fmla="*/ 440 w 1102"/>
                  <a:gd name="T103" fmla="*/ 748 h 793"/>
                  <a:gd name="T104" fmla="*/ 543 w 1102"/>
                  <a:gd name="T105" fmla="*/ 719 h 793"/>
                  <a:gd name="T106" fmla="*/ 614 w 1102"/>
                  <a:gd name="T107" fmla="*/ 727 h 793"/>
                  <a:gd name="T108" fmla="*/ 706 w 1102"/>
                  <a:gd name="T109" fmla="*/ 725 h 793"/>
                  <a:gd name="T110" fmla="*/ 789 w 1102"/>
                  <a:gd name="T111" fmla="*/ 727 h 793"/>
                  <a:gd name="T112" fmla="*/ 841 w 1102"/>
                  <a:gd name="T113" fmla="*/ 704 h 793"/>
                  <a:gd name="T114" fmla="*/ 900 w 1102"/>
                  <a:gd name="T115" fmla="*/ 603 h 793"/>
                  <a:gd name="T116" fmla="*/ 971 w 1102"/>
                  <a:gd name="T117" fmla="*/ 557 h 793"/>
                  <a:gd name="T118" fmla="*/ 982 w 1102"/>
                  <a:gd name="T119" fmla="*/ 464 h 793"/>
                  <a:gd name="T120" fmla="*/ 973 w 1102"/>
                  <a:gd name="T121" fmla="*/ 424 h 793"/>
                  <a:gd name="T122" fmla="*/ 1091 w 1102"/>
                  <a:gd name="T123" fmla="*/ 386 h 793"/>
                  <a:gd name="T124" fmla="*/ 1102 w 1102"/>
                  <a:gd name="T125" fmla="*/ 316 h 7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02" h="793">
                    <a:moveTo>
                      <a:pt x="1102" y="314"/>
                    </a:moveTo>
                    <a:lnTo>
                      <a:pt x="1100" y="312"/>
                    </a:lnTo>
                    <a:lnTo>
                      <a:pt x="1098" y="312"/>
                    </a:lnTo>
                    <a:lnTo>
                      <a:pt x="1098" y="310"/>
                    </a:lnTo>
                    <a:lnTo>
                      <a:pt x="1098" y="306"/>
                    </a:lnTo>
                    <a:lnTo>
                      <a:pt x="1096" y="306"/>
                    </a:lnTo>
                    <a:lnTo>
                      <a:pt x="1096" y="304"/>
                    </a:lnTo>
                    <a:lnTo>
                      <a:pt x="1095" y="304"/>
                    </a:lnTo>
                    <a:lnTo>
                      <a:pt x="1091" y="304"/>
                    </a:lnTo>
                    <a:lnTo>
                      <a:pt x="1091" y="304"/>
                    </a:lnTo>
                    <a:lnTo>
                      <a:pt x="1089" y="302"/>
                    </a:lnTo>
                    <a:lnTo>
                      <a:pt x="1089" y="302"/>
                    </a:lnTo>
                    <a:lnTo>
                      <a:pt x="1089" y="299"/>
                    </a:lnTo>
                    <a:lnTo>
                      <a:pt x="1089" y="297"/>
                    </a:lnTo>
                    <a:lnTo>
                      <a:pt x="1089" y="297"/>
                    </a:lnTo>
                    <a:lnTo>
                      <a:pt x="1087" y="297"/>
                    </a:lnTo>
                    <a:lnTo>
                      <a:pt x="1087" y="297"/>
                    </a:lnTo>
                    <a:lnTo>
                      <a:pt x="1077" y="300"/>
                    </a:lnTo>
                    <a:lnTo>
                      <a:pt x="1075" y="302"/>
                    </a:lnTo>
                    <a:lnTo>
                      <a:pt x="1074" y="302"/>
                    </a:lnTo>
                    <a:lnTo>
                      <a:pt x="1068" y="300"/>
                    </a:lnTo>
                    <a:lnTo>
                      <a:pt x="1056" y="297"/>
                    </a:lnTo>
                    <a:lnTo>
                      <a:pt x="1055" y="297"/>
                    </a:lnTo>
                    <a:lnTo>
                      <a:pt x="1053" y="297"/>
                    </a:lnTo>
                    <a:lnTo>
                      <a:pt x="1053" y="299"/>
                    </a:lnTo>
                    <a:lnTo>
                      <a:pt x="1053" y="300"/>
                    </a:lnTo>
                    <a:lnTo>
                      <a:pt x="1053" y="300"/>
                    </a:lnTo>
                    <a:lnTo>
                      <a:pt x="1053" y="302"/>
                    </a:lnTo>
                    <a:lnTo>
                      <a:pt x="1053" y="304"/>
                    </a:lnTo>
                    <a:lnTo>
                      <a:pt x="1053" y="306"/>
                    </a:lnTo>
                    <a:lnTo>
                      <a:pt x="1053" y="308"/>
                    </a:lnTo>
                    <a:lnTo>
                      <a:pt x="1051" y="308"/>
                    </a:lnTo>
                    <a:lnTo>
                      <a:pt x="1049" y="310"/>
                    </a:lnTo>
                    <a:lnTo>
                      <a:pt x="1045" y="308"/>
                    </a:lnTo>
                    <a:lnTo>
                      <a:pt x="1037" y="310"/>
                    </a:lnTo>
                    <a:lnTo>
                      <a:pt x="1037" y="308"/>
                    </a:lnTo>
                    <a:lnTo>
                      <a:pt x="1037" y="308"/>
                    </a:lnTo>
                    <a:lnTo>
                      <a:pt x="1041" y="302"/>
                    </a:lnTo>
                    <a:lnTo>
                      <a:pt x="1039" y="300"/>
                    </a:lnTo>
                    <a:lnTo>
                      <a:pt x="1039" y="300"/>
                    </a:lnTo>
                    <a:lnTo>
                      <a:pt x="1039" y="299"/>
                    </a:lnTo>
                    <a:lnTo>
                      <a:pt x="1037" y="299"/>
                    </a:lnTo>
                    <a:lnTo>
                      <a:pt x="1037" y="299"/>
                    </a:lnTo>
                    <a:lnTo>
                      <a:pt x="1035" y="299"/>
                    </a:lnTo>
                    <a:lnTo>
                      <a:pt x="1035" y="299"/>
                    </a:lnTo>
                    <a:lnTo>
                      <a:pt x="1035" y="299"/>
                    </a:lnTo>
                    <a:lnTo>
                      <a:pt x="1034" y="299"/>
                    </a:lnTo>
                    <a:lnTo>
                      <a:pt x="1034" y="299"/>
                    </a:lnTo>
                    <a:lnTo>
                      <a:pt x="1034" y="299"/>
                    </a:lnTo>
                    <a:lnTo>
                      <a:pt x="1034" y="297"/>
                    </a:lnTo>
                    <a:lnTo>
                      <a:pt x="1034" y="291"/>
                    </a:lnTo>
                    <a:lnTo>
                      <a:pt x="1034" y="289"/>
                    </a:lnTo>
                    <a:lnTo>
                      <a:pt x="1032" y="287"/>
                    </a:lnTo>
                    <a:lnTo>
                      <a:pt x="1032" y="287"/>
                    </a:lnTo>
                    <a:lnTo>
                      <a:pt x="1032" y="287"/>
                    </a:lnTo>
                    <a:lnTo>
                      <a:pt x="1032" y="289"/>
                    </a:lnTo>
                    <a:lnTo>
                      <a:pt x="1030" y="291"/>
                    </a:lnTo>
                    <a:lnTo>
                      <a:pt x="1030" y="291"/>
                    </a:lnTo>
                    <a:lnTo>
                      <a:pt x="1030" y="291"/>
                    </a:lnTo>
                    <a:lnTo>
                      <a:pt x="1028" y="293"/>
                    </a:lnTo>
                    <a:lnTo>
                      <a:pt x="1028" y="293"/>
                    </a:lnTo>
                    <a:lnTo>
                      <a:pt x="1026" y="291"/>
                    </a:lnTo>
                    <a:lnTo>
                      <a:pt x="1026" y="291"/>
                    </a:lnTo>
                    <a:lnTo>
                      <a:pt x="1026" y="289"/>
                    </a:lnTo>
                    <a:lnTo>
                      <a:pt x="1026" y="289"/>
                    </a:lnTo>
                    <a:lnTo>
                      <a:pt x="1026" y="287"/>
                    </a:lnTo>
                    <a:lnTo>
                      <a:pt x="1026" y="285"/>
                    </a:lnTo>
                    <a:lnTo>
                      <a:pt x="1026" y="283"/>
                    </a:lnTo>
                    <a:lnTo>
                      <a:pt x="1026" y="281"/>
                    </a:lnTo>
                    <a:lnTo>
                      <a:pt x="1026" y="280"/>
                    </a:lnTo>
                    <a:lnTo>
                      <a:pt x="1026" y="280"/>
                    </a:lnTo>
                    <a:lnTo>
                      <a:pt x="1024" y="280"/>
                    </a:lnTo>
                    <a:lnTo>
                      <a:pt x="1024" y="280"/>
                    </a:lnTo>
                    <a:lnTo>
                      <a:pt x="1018" y="283"/>
                    </a:lnTo>
                    <a:lnTo>
                      <a:pt x="1018" y="285"/>
                    </a:lnTo>
                    <a:lnTo>
                      <a:pt x="1016" y="285"/>
                    </a:lnTo>
                    <a:lnTo>
                      <a:pt x="1016" y="285"/>
                    </a:lnTo>
                    <a:lnTo>
                      <a:pt x="1014" y="285"/>
                    </a:lnTo>
                    <a:lnTo>
                      <a:pt x="1014" y="285"/>
                    </a:lnTo>
                    <a:lnTo>
                      <a:pt x="1013" y="285"/>
                    </a:lnTo>
                    <a:lnTo>
                      <a:pt x="1007" y="280"/>
                    </a:lnTo>
                    <a:lnTo>
                      <a:pt x="1003" y="278"/>
                    </a:lnTo>
                    <a:lnTo>
                      <a:pt x="1003" y="278"/>
                    </a:lnTo>
                    <a:lnTo>
                      <a:pt x="999" y="278"/>
                    </a:lnTo>
                    <a:lnTo>
                      <a:pt x="997" y="278"/>
                    </a:lnTo>
                    <a:lnTo>
                      <a:pt x="995" y="278"/>
                    </a:lnTo>
                    <a:lnTo>
                      <a:pt x="993" y="276"/>
                    </a:lnTo>
                    <a:lnTo>
                      <a:pt x="984" y="270"/>
                    </a:lnTo>
                    <a:lnTo>
                      <a:pt x="984" y="268"/>
                    </a:lnTo>
                    <a:lnTo>
                      <a:pt x="984" y="268"/>
                    </a:lnTo>
                    <a:lnTo>
                      <a:pt x="982" y="266"/>
                    </a:lnTo>
                    <a:lnTo>
                      <a:pt x="982" y="266"/>
                    </a:lnTo>
                    <a:lnTo>
                      <a:pt x="984" y="264"/>
                    </a:lnTo>
                    <a:lnTo>
                      <a:pt x="984" y="264"/>
                    </a:lnTo>
                    <a:lnTo>
                      <a:pt x="984" y="262"/>
                    </a:lnTo>
                    <a:lnTo>
                      <a:pt x="984" y="261"/>
                    </a:lnTo>
                    <a:lnTo>
                      <a:pt x="982" y="259"/>
                    </a:lnTo>
                    <a:lnTo>
                      <a:pt x="982" y="259"/>
                    </a:lnTo>
                    <a:lnTo>
                      <a:pt x="982" y="259"/>
                    </a:lnTo>
                    <a:lnTo>
                      <a:pt x="982" y="257"/>
                    </a:lnTo>
                    <a:lnTo>
                      <a:pt x="980" y="255"/>
                    </a:lnTo>
                    <a:lnTo>
                      <a:pt x="978" y="255"/>
                    </a:lnTo>
                    <a:lnTo>
                      <a:pt x="976" y="253"/>
                    </a:lnTo>
                    <a:lnTo>
                      <a:pt x="976" y="253"/>
                    </a:lnTo>
                    <a:lnTo>
                      <a:pt x="974" y="253"/>
                    </a:lnTo>
                    <a:lnTo>
                      <a:pt x="974" y="255"/>
                    </a:lnTo>
                    <a:lnTo>
                      <a:pt x="973" y="255"/>
                    </a:lnTo>
                    <a:lnTo>
                      <a:pt x="971" y="255"/>
                    </a:lnTo>
                    <a:lnTo>
                      <a:pt x="969" y="257"/>
                    </a:lnTo>
                    <a:lnTo>
                      <a:pt x="967" y="255"/>
                    </a:lnTo>
                    <a:lnTo>
                      <a:pt x="965" y="255"/>
                    </a:lnTo>
                    <a:lnTo>
                      <a:pt x="965" y="253"/>
                    </a:lnTo>
                    <a:lnTo>
                      <a:pt x="965" y="251"/>
                    </a:lnTo>
                    <a:lnTo>
                      <a:pt x="963" y="251"/>
                    </a:lnTo>
                    <a:lnTo>
                      <a:pt x="963" y="249"/>
                    </a:lnTo>
                    <a:lnTo>
                      <a:pt x="957" y="249"/>
                    </a:lnTo>
                    <a:lnTo>
                      <a:pt x="952" y="249"/>
                    </a:lnTo>
                    <a:lnTo>
                      <a:pt x="950" y="247"/>
                    </a:lnTo>
                    <a:lnTo>
                      <a:pt x="948" y="247"/>
                    </a:lnTo>
                    <a:lnTo>
                      <a:pt x="946" y="247"/>
                    </a:lnTo>
                    <a:lnTo>
                      <a:pt x="946" y="245"/>
                    </a:lnTo>
                    <a:lnTo>
                      <a:pt x="946" y="245"/>
                    </a:lnTo>
                    <a:lnTo>
                      <a:pt x="946" y="243"/>
                    </a:lnTo>
                    <a:lnTo>
                      <a:pt x="946" y="243"/>
                    </a:lnTo>
                    <a:lnTo>
                      <a:pt x="948" y="243"/>
                    </a:lnTo>
                    <a:lnTo>
                      <a:pt x="948" y="243"/>
                    </a:lnTo>
                    <a:lnTo>
                      <a:pt x="946" y="242"/>
                    </a:lnTo>
                    <a:lnTo>
                      <a:pt x="946" y="240"/>
                    </a:lnTo>
                    <a:lnTo>
                      <a:pt x="944" y="240"/>
                    </a:lnTo>
                    <a:lnTo>
                      <a:pt x="944" y="236"/>
                    </a:lnTo>
                    <a:lnTo>
                      <a:pt x="942" y="230"/>
                    </a:lnTo>
                    <a:lnTo>
                      <a:pt x="931" y="234"/>
                    </a:lnTo>
                    <a:lnTo>
                      <a:pt x="927" y="236"/>
                    </a:lnTo>
                    <a:lnTo>
                      <a:pt x="929" y="236"/>
                    </a:lnTo>
                    <a:lnTo>
                      <a:pt x="929" y="238"/>
                    </a:lnTo>
                    <a:lnTo>
                      <a:pt x="932" y="240"/>
                    </a:lnTo>
                    <a:lnTo>
                      <a:pt x="932" y="240"/>
                    </a:lnTo>
                    <a:lnTo>
                      <a:pt x="932" y="242"/>
                    </a:lnTo>
                    <a:lnTo>
                      <a:pt x="932" y="242"/>
                    </a:lnTo>
                    <a:lnTo>
                      <a:pt x="931" y="243"/>
                    </a:lnTo>
                    <a:lnTo>
                      <a:pt x="931" y="243"/>
                    </a:lnTo>
                    <a:lnTo>
                      <a:pt x="927" y="243"/>
                    </a:lnTo>
                    <a:lnTo>
                      <a:pt x="923" y="243"/>
                    </a:lnTo>
                    <a:lnTo>
                      <a:pt x="921" y="243"/>
                    </a:lnTo>
                    <a:lnTo>
                      <a:pt x="921" y="243"/>
                    </a:lnTo>
                    <a:lnTo>
                      <a:pt x="919" y="243"/>
                    </a:lnTo>
                    <a:lnTo>
                      <a:pt x="919" y="242"/>
                    </a:lnTo>
                    <a:lnTo>
                      <a:pt x="919" y="242"/>
                    </a:lnTo>
                    <a:lnTo>
                      <a:pt x="921" y="240"/>
                    </a:lnTo>
                    <a:lnTo>
                      <a:pt x="921" y="238"/>
                    </a:lnTo>
                    <a:lnTo>
                      <a:pt x="921" y="238"/>
                    </a:lnTo>
                    <a:lnTo>
                      <a:pt x="921" y="238"/>
                    </a:lnTo>
                    <a:lnTo>
                      <a:pt x="919" y="238"/>
                    </a:lnTo>
                    <a:lnTo>
                      <a:pt x="917" y="236"/>
                    </a:lnTo>
                    <a:lnTo>
                      <a:pt x="915" y="236"/>
                    </a:lnTo>
                    <a:lnTo>
                      <a:pt x="913" y="236"/>
                    </a:lnTo>
                    <a:lnTo>
                      <a:pt x="911" y="236"/>
                    </a:lnTo>
                    <a:lnTo>
                      <a:pt x="910" y="236"/>
                    </a:lnTo>
                    <a:lnTo>
                      <a:pt x="908" y="236"/>
                    </a:lnTo>
                    <a:lnTo>
                      <a:pt x="906" y="236"/>
                    </a:lnTo>
                    <a:lnTo>
                      <a:pt x="904" y="236"/>
                    </a:lnTo>
                    <a:lnTo>
                      <a:pt x="904" y="236"/>
                    </a:lnTo>
                    <a:lnTo>
                      <a:pt x="904" y="238"/>
                    </a:lnTo>
                    <a:lnTo>
                      <a:pt x="904" y="242"/>
                    </a:lnTo>
                    <a:lnTo>
                      <a:pt x="904" y="243"/>
                    </a:lnTo>
                    <a:lnTo>
                      <a:pt x="904" y="243"/>
                    </a:lnTo>
                    <a:lnTo>
                      <a:pt x="904" y="245"/>
                    </a:lnTo>
                    <a:lnTo>
                      <a:pt x="904" y="247"/>
                    </a:lnTo>
                    <a:lnTo>
                      <a:pt x="902" y="249"/>
                    </a:lnTo>
                    <a:lnTo>
                      <a:pt x="900" y="251"/>
                    </a:lnTo>
                    <a:lnTo>
                      <a:pt x="896" y="255"/>
                    </a:lnTo>
                    <a:lnTo>
                      <a:pt x="896" y="257"/>
                    </a:lnTo>
                    <a:lnTo>
                      <a:pt x="896" y="257"/>
                    </a:lnTo>
                    <a:lnTo>
                      <a:pt x="896" y="259"/>
                    </a:lnTo>
                    <a:lnTo>
                      <a:pt x="896" y="259"/>
                    </a:lnTo>
                    <a:lnTo>
                      <a:pt x="896" y="259"/>
                    </a:lnTo>
                    <a:lnTo>
                      <a:pt x="896" y="259"/>
                    </a:lnTo>
                    <a:lnTo>
                      <a:pt x="896" y="261"/>
                    </a:lnTo>
                    <a:lnTo>
                      <a:pt x="896" y="261"/>
                    </a:lnTo>
                    <a:lnTo>
                      <a:pt x="898" y="262"/>
                    </a:lnTo>
                    <a:lnTo>
                      <a:pt x="898" y="262"/>
                    </a:lnTo>
                    <a:lnTo>
                      <a:pt x="896" y="264"/>
                    </a:lnTo>
                    <a:lnTo>
                      <a:pt x="896" y="264"/>
                    </a:lnTo>
                    <a:lnTo>
                      <a:pt x="896" y="264"/>
                    </a:lnTo>
                    <a:lnTo>
                      <a:pt x="892" y="266"/>
                    </a:lnTo>
                    <a:lnTo>
                      <a:pt x="891" y="266"/>
                    </a:lnTo>
                    <a:lnTo>
                      <a:pt x="891" y="266"/>
                    </a:lnTo>
                    <a:lnTo>
                      <a:pt x="891" y="266"/>
                    </a:lnTo>
                    <a:lnTo>
                      <a:pt x="887" y="272"/>
                    </a:lnTo>
                    <a:lnTo>
                      <a:pt x="883" y="270"/>
                    </a:lnTo>
                    <a:lnTo>
                      <a:pt x="877" y="264"/>
                    </a:lnTo>
                    <a:lnTo>
                      <a:pt x="875" y="264"/>
                    </a:lnTo>
                    <a:lnTo>
                      <a:pt x="875" y="262"/>
                    </a:lnTo>
                    <a:lnTo>
                      <a:pt x="873" y="262"/>
                    </a:lnTo>
                    <a:lnTo>
                      <a:pt x="871" y="264"/>
                    </a:lnTo>
                    <a:lnTo>
                      <a:pt x="870" y="264"/>
                    </a:lnTo>
                    <a:lnTo>
                      <a:pt x="868" y="264"/>
                    </a:lnTo>
                    <a:lnTo>
                      <a:pt x="866" y="264"/>
                    </a:lnTo>
                    <a:lnTo>
                      <a:pt x="864" y="264"/>
                    </a:lnTo>
                    <a:lnTo>
                      <a:pt x="864" y="262"/>
                    </a:lnTo>
                    <a:lnTo>
                      <a:pt x="862" y="261"/>
                    </a:lnTo>
                    <a:lnTo>
                      <a:pt x="862" y="261"/>
                    </a:lnTo>
                    <a:lnTo>
                      <a:pt x="860" y="261"/>
                    </a:lnTo>
                    <a:lnTo>
                      <a:pt x="854" y="262"/>
                    </a:lnTo>
                    <a:lnTo>
                      <a:pt x="852" y="262"/>
                    </a:lnTo>
                    <a:lnTo>
                      <a:pt x="850" y="262"/>
                    </a:lnTo>
                    <a:lnTo>
                      <a:pt x="847" y="262"/>
                    </a:lnTo>
                    <a:lnTo>
                      <a:pt x="845" y="262"/>
                    </a:lnTo>
                    <a:lnTo>
                      <a:pt x="845" y="261"/>
                    </a:lnTo>
                    <a:lnTo>
                      <a:pt x="845" y="261"/>
                    </a:lnTo>
                    <a:lnTo>
                      <a:pt x="845" y="259"/>
                    </a:lnTo>
                    <a:lnTo>
                      <a:pt x="845" y="259"/>
                    </a:lnTo>
                    <a:lnTo>
                      <a:pt x="847" y="257"/>
                    </a:lnTo>
                    <a:lnTo>
                      <a:pt x="847" y="257"/>
                    </a:lnTo>
                    <a:lnTo>
                      <a:pt x="847" y="255"/>
                    </a:lnTo>
                    <a:lnTo>
                      <a:pt x="849" y="255"/>
                    </a:lnTo>
                    <a:lnTo>
                      <a:pt x="849" y="253"/>
                    </a:lnTo>
                    <a:lnTo>
                      <a:pt x="849" y="251"/>
                    </a:lnTo>
                    <a:lnTo>
                      <a:pt x="849" y="251"/>
                    </a:lnTo>
                    <a:lnTo>
                      <a:pt x="849" y="251"/>
                    </a:lnTo>
                    <a:lnTo>
                      <a:pt x="849" y="249"/>
                    </a:lnTo>
                    <a:lnTo>
                      <a:pt x="849" y="249"/>
                    </a:lnTo>
                    <a:lnTo>
                      <a:pt x="852" y="247"/>
                    </a:lnTo>
                    <a:lnTo>
                      <a:pt x="852" y="247"/>
                    </a:lnTo>
                    <a:lnTo>
                      <a:pt x="852" y="243"/>
                    </a:lnTo>
                    <a:lnTo>
                      <a:pt x="852" y="242"/>
                    </a:lnTo>
                    <a:lnTo>
                      <a:pt x="856" y="232"/>
                    </a:lnTo>
                    <a:lnTo>
                      <a:pt x="856" y="230"/>
                    </a:lnTo>
                    <a:lnTo>
                      <a:pt x="856" y="230"/>
                    </a:lnTo>
                    <a:lnTo>
                      <a:pt x="854" y="228"/>
                    </a:lnTo>
                    <a:lnTo>
                      <a:pt x="854" y="228"/>
                    </a:lnTo>
                    <a:lnTo>
                      <a:pt x="854" y="228"/>
                    </a:lnTo>
                    <a:lnTo>
                      <a:pt x="852" y="228"/>
                    </a:lnTo>
                    <a:lnTo>
                      <a:pt x="852" y="228"/>
                    </a:lnTo>
                    <a:lnTo>
                      <a:pt x="850" y="228"/>
                    </a:lnTo>
                    <a:lnTo>
                      <a:pt x="850" y="230"/>
                    </a:lnTo>
                    <a:lnTo>
                      <a:pt x="849" y="230"/>
                    </a:lnTo>
                    <a:lnTo>
                      <a:pt x="849" y="230"/>
                    </a:lnTo>
                    <a:lnTo>
                      <a:pt x="849" y="230"/>
                    </a:lnTo>
                    <a:lnTo>
                      <a:pt x="849" y="232"/>
                    </a:lnTo>
                    <a:lnTo>
                      <a:pt x="847" y="234"/>
                    </a:lnTo>
                    <a:lnTo>
                      <a:pt x="847" y="236"/>
                    </a:lnTo>
                    <a:lnTo>
                      <a:pt x="847" y="236"/>
                    </a:lnTo>
                    <a:lnTo>
                      <a:pt x="845" y="236"/>
                    </a:lnTo>
                    <a:lnTo>
                      <a:pt x="845" y="236"/>
                    </a:lnTo>
                    <a:lnTo>
                      <a:pt x="835" y="238"/>
                    </a:lnTo>
                    <a:lnTo>
                      <a:pt x="833" y="238"/>
                    </a:lnTo>
                    <a:lnTo>
                      <a:pt x="833" y="238"/>
                    </a:lnTo>
                    <a:lnTo>
                      <a:pt x="831" y="238"/>
                    </a:lnTo>
                    <a:lnTo>
                      <a:pt x="831" y="238"/>
                    </a:lnTo>
                    <a:lnTo>
                      <a:pt x="833" y="240"/>
                    </a:lnTo>
                    <a:lnTo>
                      <a:pt x="833" y="240"/>
                    </a:lnTo>
                    <a:lnTo>
                      <a:pt x="839" y="243"/>
                    </a:lnTo>
                    <a:lnTo>
                      <a:pt x="839" y="243"/>
                    </a:lnTo>
                    <a:lnTo>
                      <a:pt x="841" y="245"/>
                    </a:lnTo>
                    <a:lnTo>
                      <a:pt x="839" y="247"/>
                    </a:lnTo>
                    <a:lnTo>
                      <a:pt x="839" y="247"/>
                    </a:lnTo>
                    <a:lnTo>
                      <a:pt x="837" y="247"/>
                    </a:lnTo>
                    <a:lnTo>
                      <a:pt x="835" y="247"/>
                    </a:lnTo>
                    <a:lnTo>
                      <a:pt x="833" y="247"/>
                    </a:lnTo>
                    <a:lnTo>
                      <a:pt x="831" y="249"/>
                    </a:lnTo>
                    <a:lnTo>
                      <a:pt x="829" y="249"/>
                    </a:lnTo>
                    <a:lnTo>
                      <a:pt x="829" y="249"/>
                    </a:lnTo>
                    <a:lnTo>
                      <a:pt x="828" y="247"/>
                    </a:lnTo>
                    <a:lnTo>
                      <a:pt x="824" y="245"/>
                    </a:lnTo>
                    <a:lnTo>
                      <a:pt x="824" y="243"/>
                    </a:lnTo>
                    <a:lnTo>
                      <a:pt x="824" y="242"/>
                    </a:lnTo>
                    <a:lnTo>
                      <a:pt x="822" y="240"/>
                    </a:lnTo>
                    <a:lnTo>
                      <a:pt x="822" y="238"/>
                    </a:lnTo>
                    <a:lnTo>
                      <a:pt x="820" y="238"/>
                    </a:lnTo>
                    <a:lnTo>
                      <a:pt x="820" y="238"/>
                    </a:lnTo>
                    <a:lnTo>
                      <a:pt x="818" y="238"/>
                    </a:lnTo>
                    <a:lnTo>
                      <a:pt x="818" y="238"/>
                    </a:lnTo>
                    <a:lnTo>
                      <a:pt x="818" y="240"/>
                    </a:lnTo>
                    <a:lnTo>
                      <a:pt x="818" y="240"/>
                    </a:lnTo>
                    <a:lnTo>
                      <a:pt x="818" y="242"/>
                    </a:lnTo>
                    <a:lnTo>
                      <a:pt x="818" y="242"/>
                    </a:lnTo>
                    <a:lnTo>
                      <a:pt x="818" y="243"/>
                    </a:lnTo>
                    <a:lnTo>
                      <a:pt x="818" y="243"/>
                    </a:lnTo>
                    <a:lnTo>
                      <a:pt x="816" y="243"/>
                    </a:lnTo>
                    <a:lnTo>
                      <a:pt x="814" y="243"/>
                    </a:lnTo>
                    <a:lnTo>
                      <a:pt x="814" y="243"/>
                    </a:lnTo>
                    <a:lnTo>
                      <a:pt x="810" y="243"/>
                    </a:lnTo>
                    <a:lnTo>
                      <a:pt x="809" y="243"/>
                    </a:lnTo>
                    <a:lnTo>
                      <a:pt x="807" y="242"/>
                    </a:lnTo>
                    <a:lnTo>
                      <a:pt x="807" y="242"/>
                    </a:lnTo>
                    <a:lnTo>
                      <a:pt x="807" y="243"/>
                    </a:lnTo>
                    <a:lnTo>
                      <a:pt x="807" y="243"/>
                    </a:lnTo>
                    <a:lnTo>
                      <a:pt x="807" y="245"/>
                    </a:lnTo>
                    <a:lnTo>
                      <a:pt x="807" y="245"/>
                    </a:lnTo>
                    <a:lnTo>
                      <a:pt x="807" y="247"/>
                    </a:lnTo>
                    <a:lnTo>
                      <a:pt x="809" y="249"/>
                    </a:lnTo>
                    <a:lnTo>
                      <a:pt x="809" y="249"/>
                    </a:lnTo>
                    <a:lnTo>
                      <a:pt x="812" y="251"/>
                    </a:lnTo>
                    <a:lnTo>
                      <a:pt x="812" y="251"/>
                    </a:lnTo>
                    <a:lnTo>
                      <a:pt x="812" y="251"/>
                    </a:lnTo>
                    <a:lnTo>
                      <a:pt x="812" y="253"/>
                    </a:lnTo>
                    <a:lnTo>
                      <a:pt x="809" y="257"/>
                    </a:lnTo>
                    <a:lnTo>
                      <a:pt x="807" y="257"/>
                    </a:lnTo>
                    <a:lnTo>
                      <a:pt x="807" y="257"/>
                    </a:lnTo>
                    <a:lnTo>
                      <a:pt x="805" y="257"/>
                    </a:lnTo>
                    <a:lnTo>
                      <a:pt x="805" y="255"/>
                    </a:lnTo>
                    <a:lnTo>
                      <a:pt x="803" y="253"/>
                    </a:lnTo>
                    <a:lnTo>
                      <a:pt x="801" y="249"/>
                    </a:lnTo>
                    <a:lnTo>
                      <a:pt x="799" y="249"/>
                    </a:lnTo>
                    <a:lnTo>
                      <a:pt x="799" y="251"/>
                    </a:lnTo>
                    <a:lnTo>
                      <a:pt x="799" y="251"/>
                    </a:lnTo>
                    <a:lnTo>
                      <a:pt x="799" y="251"/>
                    </a:lnTo>
                    <a:lnTo>
                      <a:pt x="801" y="255"/>
                    </a:lnTo>
                    <a:lnTo>
                      <a:pt x="801" y="257"/>
                    </a:lnTo>
                    <a:lnTo>
                      <a:pt x="799" y="257"/>
                    </a:lnTo>
                    <a:lnTo>
                      <a:pt x="799" y="257"/>
                    </a:lnTo>
                    <a:lnTo>
                      <a:pt x="797" y="257"/>
                    </a:lnTo>
                    <a:lnTo>
                      <a:pt x="797" y="257"/>
                    </a:lnTo>
                    <a:lnTo>
                      <a:pt x="795" y="257"/>
                    </a:lnTo>
                    <a:lnTo>
                      <a:pt x="795" y="255"/>
                    </a:lnTo>
                    <a:lnTo>
                      <a:pt x="793" y="255"/>
                    </a:lnTo>
                    <a:lnTo>
                      <a:pt x="791" y="255"/>
                    </a:lnTo>
                    <a:lnTo>
                      <a:pt x="788" y="257"/>
                    </a:lnTo>
                    <a:lnTo>
                      <a:pt x="786" y="257"/>
                    </a:lnTo>
                    <a:lnTo>
                      <a:pt x="786" y="257"/>
                    </a:lnTo>
                    <a:lnTo>
                      <a:pt x="784" y="255"/>
                    </a:lnTo>
                    <a:lnTo>
                      <a:pt x="782" y="253"/>
                    </a:lnTo>
                    <a:lnTo>
                      <a:pt x="782" y="249"/>
                    </a:lnTo>
                    <a:lnTo>
                      <a:pt x="782" y="249"/>
                    </a:lnTo>
                    <a:lnTo>
                      <a:pt x="782" y="247"/>
                    </a:lnTo>
                    <a:lnTo>
                      <a:pt x="782" y="247"/>
                    </a:lnTo>
                    <a:lnTo>
                      <a:pt x="784" y="245"/>
                    </a:lnTo>
                    <a:lnTo>
                      <a:pt x="784" y="247"/>
                    </a:lnTo>
                    <a:lnTo>
                      <a:pt x="784" y="247"/>
                    </a:lnTo>
                    <a:lnTo>
                      <a:pt x="786" y="247"/>
                    </a:lnTo>
                    <a:lnTo>
                      <a:pt x="788" y="247"/>
                    </a:lnTo>
                    <a:lnTo>
                      <a:pt x="788" y="245"/>
                    </a:lnTo>
                    <a:lnTo>
                      <a:pt x="789" y="243"/>
                    </a:lnTo>
                    <a:lnTo>
                      <a:pt x="791" y="242"/>
                    </a:lnTo>
                    <a:lnTo>
                      <a:pt x="791" y="240"/>
                    </a:lnTo>
                    <a:lnTo>
                      <a:pt x="793" y="240"/>
                    </a:lnTo>
                    <a:lnTo>
                      <a:pt x="793" y="240"/>
                    </a:lnTo>
                    <a:lnTo>
                      <a:pt x="793" y="238"/>
                    </a:lnTo>
                    <a:lnTo>
                      <a:pt x="795" y="238"/>
                    </a:lnTo>
                    <a:lnTo>
                      <a:pt x="795" y="238"/>
                    </a:lnTo>
                    <a:lnTo>
                      <a:pt x="797" y="236"/>
                    </a:lnTo>
                    <a:lnTo>
                      <a:pt x="799" y="236"/>
                    </a:lnTo>
                    <a:lnTo>
                      <a:pt x="801" y="236"/>
                    </a:lnTo>
                    <a:lnTo>
                      <a:pt x="801" y="234"/>
                    </a:lnTo>
                    <a:lnTo>
                      <a:pt x="801" y="234"/>
                    </a:lnTo>
                    <a:lnTo>
                      <a:pt x="801" y="232"/>
                    </a:lnTo>
                    <a:lnTo>
                      <a:pt x="801" y="232"/>
                    </a:lnTo>
                    <a:lnTo>
                      <a:pt x="801" y="230"/>
                    </a:lnTo>
                    <a:lnTo>
                      <a:pt x="801" y="230"/>
                    </a:lnTo>
                    <a:lnTo>
                      <a:pt x="799" y="226"/>
                    </a:lnTo>
                    <a:lnTo>
                      <a:pt x="799" y="226"/>
                    </a:lnTo>
                    <a:lnTo>
                      <a:pt x="799" y="226"/>
                    </a:lnTo>
                    <a:lnTo>
                      <a:pt x="799" y="224"/>
                    </a:lnTo>
                    <a:lnTo>
                      <a:pt x="799" y="224"/>
                    </a:lnTo>
                    <a:lnTo>
                      <a:pt x="797" y="224"/>
                    </a:lnTo>
                    <a:lnTo>
                      <a:pt x="797" y="224"/>
                    </a:lnTo>
                    <a:lnTo>
                      <a:pt x="797" y="224"/>
                    </a:lnTo>
                    <a:lnTo>
                      <a:pt x="795" y="224"/>
                    </a:lnTo>
                    <a:lnTo>
                      <a:pt x="795" y="224"/>
                    </a:lnTo>
                    <a:lnTo>
                      <a:pt x="795" y="222"/>
                    </a:lnTo>
                    <a:lnTo>
                      <a:pt x="793" y="222"/>
                    </a:lnTo>
                    <a:lnTo>
                      <a:pt x="793" y="221"/>
                    </a:lnTo>
                    <a:lnTo>
                      <a:pt x="791" y="221"/>
                    </a:lnTo>
                    <a:lnTo>
                      <a:pt x="789" y="219"/>
                    </a:lnTo>
                    <a:lnTo>
                      <a:pt x="789" y="219"/>
                    </a:lnTo>
                    <a:lnTo>
                      <a:pt x="789" y="217"/>
                    </a:lnTo>
                    <a:lnTo>
                      <a:pt x="788" y="211"/>
                    </a:lnTo>
                    <a:lnTo>
                      <a:pt x="788" y="207"/>
                    </a:lnTo>
                    <a:lnTo>
                      <a:pt x="788" y="207"/>
                    </a:lnTo>
                    <a:lnTo>
                      <a:pt x="788" y="205"/>
                    </a:lnTo>
                    <a:lnTo>
                      <a:pt x="786" y="203"/>
                    </a:lnTo>
                    <a:lnTo>
                      <a:pt x="784" y="202"/>
                    </a:lnTo>
                    <a:lnTo>
                      <a:pt x="784" y="202"/>
                    </a:lnTo>
                    <a:lnTo>
                      <a:pt x="782" y="202"/>
                    </a:lnTo>
                    <a:lnTo>
                      <a:pt x="780" y="202"/>
                    </a:lnTo>
                    <a:lnTo>
                      <a:pt x="778" y="202"/>
                    </a:lnTo>
                    <a:lnTo>
                      <a:pt x="778" y="202"/>
                    </a:lnTo>
                    <a:lnTo>
                      <a:pt x="776" y="202"/>
                    </a:lnTo>
                    <a:lnTo>
                      <a:pt x="774" y="202"/>
                    </a:lnTo>
                    <a:lnTo>
                      <a:pt x="774" y="202"/>
                    </a:lnTo>
                    <a:lnTo>
                      <a:pt x="772" y="202"/>
                    </a:lnTo>
                    <a:lnTo>
                      <a:pt x="772" y="202"/>
                    </a:lnTo>
                    <a:lnTo>
                      <a:pt x="772" y="203"/>
                    </a:lnTo>
                    <a:lnTo>
                      <a:pt x="770" y="205"/>
                    </a:lnTo>
                    <a:lnTo>
                      <a:pt x="770" y="205"/>
                    </a:lnTo>
                    <a:lnTo>
                      <a:pt x="765" y="209"/>
                    </a:lnTo>
                    <a:lnTo>
                      <a:pt x="765" y="211"/>
                    </a:lnTo>
                    <a:lnTo>
                      <a:pt x="763" y="211"/>
                    </a:lnTo>
                    <a:lnTo>
                      <a:pt x="763" y="209"/>
                    </a:lnTo>
                    <a:lnTo>
                      <a:pt x="759" y="209"/>
                    </a:lnTo>
                    <a:lnTo>
                      <a:pt x="751" y="213"/>
                    </a:lnTo>
                    <a:lnTo>
                      <a:pt x="749" y="215"/>
                    </a:lnTo>
                    <a:lnTo>
                      <a:pt x="746" y="217"/>
                    </a:lnTo>
                    <a:lnTo>
                      <a:pt x="740" y="221"/>
                    </a:lnTo>
                    <a:lnTo>
                      <a:pt x="738" y="222"/>
                    </a:lnTo>
                    <a:lnTo>
                      <a:pt x="736" y="222"/>
                    </a:lnTo>
                    <a:lnTo>
                      <a:pt x="732" y="222"/>
                    </a:lnTo>
                    <a:lnTo>
                      <a:pt x="730" y="224"/>
                    </a:lnTo>
                    <a:lnTo>
                      <a:pt x="728" y="226"/>
                    </a:lnTo>
                    <a:lnTo>
                      <a:pt x="728" y="226"/>
                    </a:lnTo>
                    <a:lnTo>
                      <a:pt x="728" y="226"/>
                    </a:lnTo>
                    <a:lnTo>
                      <a:pt x="728" y="228"/>
                    </a:lnTo>
                    <a:lnTo>
                      <a:pt x="728" y="228"/>
                    </a:lnTo>
                    <a:lnTo>
                      <a:pt x="728" y="230"/>
                    </a:lnTo>
                    <a:lnTo>
                      <a:pt x="728" y="230"/>
                    </a:lnTo>
                    <a:lnTo>
                      <a:pt x="730" y="232"/>
                    </a:lnTo>
                    <a:lnTo>
                      <a:pt x="732" y="234"/>
                    </a:lnTo>
                    <a:lnTo>
                      <a:pt x="732" y="236"/>
                    </a:lnTo>
                    <a:lnTo>
                      <a:pt x="732" y="236"/>
                    </a:lnTo>
                    <a:lnTo>
                      <a:pt x="732" y="238"/>
                    </a:lnTo>
                    <a:lnTo>
                      <a:pt x="732" y="238"/>
                    </a:lnTo>
                    <a:lnTo>
                      <a:pt x="730" y="238"/>
                    </a:lnTo>
                    <a:lnTo>
                      <a:pt x="728" y="238"/>
                    </a:lnTo>
                    <a:lnTo>
                      <a:pt x="725" y="240"/>
                    </a:lnTo>
                    <a:lnTo>
                      <a:pt x="725" y="240"/>
                    </a:lnTo>
                    <a:lnTo>
                      <a:pt x="723" y="240"/>
                    </a:lnTo>
                    <a:lnTo>
                      <a:pt x="721" y="238"/>
                    </a:lnTo>
                    <a:lnTo>
                      <a:pt x="721" y="238"/>
                    </a:lnTo>
                    <a:lnTo>
                      <a:pt x="719" y="238"/>
                    </a:lnTo>
                    <a:lnTo>
                      <a:pt x="719" y="238"/>
                    </a:lnTo>
                    <a:lnTo>
                      <a:pt x="715" y="238"/>
                    </a:lnTo>
                    <a:lnTo>
                      <a:pt x="706" y="238"/>
                    </a:lnTo>
                    <a:lnTo>
                      <a:pt x="704" y="238"/>
                    </a:lnTo>
                    <a:lnTo>
                      <a:pt x="700" y="238"/>
                    </a:lnTo>
                    <a:lnTo>
                      <a:pt x="696" y="234"/>
                    </a:lnTo>
                    <a:lnTo>
                      <a:pt x="694" y="234"/>
                    </a:lnTo>
                    <a:lnTo>
                      <a:pt x="694" y="234"/>
                    </a:lnTo>
                    <a:lnTo>
                      <a:pt x="692" y="234"/>
                    </a:lnTo>
                    <a:lnTo>
                      <a:pt x="690" y="234"/>
                    </a:lnTo>
                    <a:lnTo>
                      <a:pt x="690" y="236"/>
                    </a:lnTo>
                    <a:lnTo>
                      <a:pt x="688" y="236"/>
                    </a:lnTo>
                    <a:lnTo>
                      <a:pt x="686" y="242"/>
                    </a:lnTo>
                    <a:lnTo>
                      <a:pt x="686" y="242"/>
                    </a:lnTo>
                    <a:lnTo>
                      <a:pt x="685" y="243"/>
                    </a:lnTo>
                    <a:lnTo>
                      <a:pt x="683" y="243"/>
                    </a:lnTo>
                    <a:lnTo>
                      <a:pt x="683" y="243"/>
                    </a:lnTo>
                    <a:lnTo>
                      <a:pt x="681" y="243"/>
                    </a:lnTo>
                    <a:lnTo>
                      <a:pt x="681" y="243"/>
                    </a:lnTo>
                    <a:lnTo>
                      <a:pt x="679" y="242"/>
                    </a:lnTo>
                    <a:lnTo>
                      <a:pt x="679" y="242"/>
                    </a:lnTo>
                    <a:lnTo>
                      <a:pt x="679" y="242"/>
                    </a:lnTo>
                    <a:lnTo>
                      <a:pt x="679" y="240"/>
                    </a:lnTo>
                    <a:lnTo>
                      <a:pt x="679" y="240"/>
                    </a:lnTo>
                    <a:lnTo>
                      <a:pt x="677" y="238"/>
                    </a:lnTo>
                    <a:lnTo>
                      <a:pt x="675" y="238"/>
                    </a:lnTo>
                    <a:lnTo>
                      <a:pt x="673" y="240"/>
                    </a:lnTo>
                    <a:lnTo>
                      <a:pt x="673" y="240"/>
                    </a:lnTo>
                    <a:lnTo>
                      <a:pt x="673" y="240"/>
                    </a:lnTo>
                    <a:lnTo>
                      <a:pt x="673" y="243"/>
                    </a:lnTo>
                    <a:lnTo>
                      <a:pt x="673" y="245"/>
                    </a:lnTo>
                    <a:lnTo>
                      <a:pt x="673" y="247"/>
                    </a:lnTo>
                    <a:lnTo>
                      <a:pt x="673" y="249"/>
                    </a:lnTo>
                    <a:lnTo>
                      <a:pt x="667" y="249"/>
                    </a:lnTo>
                    <a:lnTo>
                      <a:pt x="667" y="249"/>
                    </a:lnTo>
                    <a:lnTo>
                      <a:pt x="666" y="247"/>
                    </a:lnTo>
                    <a:lnTo>
                      <a:pt x="666" y="247"/>
                    </a:lnTo>
                    <a:lnTo>
                      <a:pt x="666" y="245"/>
                    </a:lnTo>
                    <a:lnTo>
                      <a:pt x="666" y="243"/>
                    </a:lnTo>
                    <a:lnTo>
                      <a:pt x="666" y="242"/>
                    </a:lnTo>
                    <a:lnTo>
                      <a:pt x="666" y="240"/>
                    </a:lnTo>
                    <a:lnTo>
                      <a:pt x="666" y="238"/>
                    </a:lnTo>
                    <a:lnTo>
                      <a:pt x="666" y="238"/>
                    </a:lnTo>
                    <a:lnTo>
                      <a:pt x="669" y="234"/>
                    </a:lnTo>
                    <a:lnTo>
                      <a:pt x="671" y="232"/>
                    </a:lnTo>
                    <a:lnTo>
                      <a:pt x="671" y="228"/>
                    </a:lnTo>
                    <a:lnTo>
                      <a:pt x="677" y="222"/>
                    </a:lnTo>
                    <a:lnTo>
                      <a:pt x="679" y="219"/>
                    </a:lnTo>
                    <a:lnTo>
                      <a:pt x="679" y="217"/>
                    </a:lnTo>
                    <a:lnTo>
                      <a:pt x="679" y="217"/>
                    </a:lnTo>
                    <a:lnTo>
                      <a:pt x="677" y="217"/>
                    </a:lnTo>
                    <a:lnTo>
                      <a:pt x="677" y="219"/>
                    </a:lnTo>
                    <a:lnTo>
                      <a:pt x="673" y="221"/>
                    </a:lnTo>
                    <a:lnTo>
                      <a:pt x="673" y="221"/>
                    </a:lnTo>
                    <a:lnTo>
                      <a:pt x="671" y="221"/>
                    </a:lnTo>
                    <a:lnTo>
                      <a:pt x="671" y="221"/>
                    </a:lnTo>
                    <a:lnTo>
                      <a:pt x="669" y="221"/>
                    </a:lnTo>
                    <a:lnTo>
                      <a:pt x="667" y="221"/>
                    </a:lnTo>
                    <a:lnTo>
                      <a:pt x="667" y="221"/>
                    </a:lnTo>
                    <a:lnTo>
                      <a:pt x="666" y="222"/>
                    </a:lnTo>
                    <a:lnTo>
                      <a:pt x="666" y="222"/>
                    </a:lnTo>
                    <a:lnTo>
                      <a:pt x="666" y="224"/>
                    </a:lnTo>
                    <a:lnTo>
                      <a:pt x="664" y="224"/>
                    </a:lnTo>
                    <a:lnTo>
                      <a:pt x="664" y="224"/>
                    </a:lnTo>
                    <a:lnTo>
                      <a:pt x="664" y="224"/>
                    </a:lnTo>
                    <a:lnTo>
                      <a:pt x="662" y="224"/>
                    </a:lnTo>
                    <a:lnTo>
                      <a:pt x="662" y="224"/>
                    </a:lnTo>
                    <a:lnTo>
                      <a:pt x="660" y="222"/>
                    </a:lnTo>
                    <a:lnTo>
                      <a:pt x="660" y="221"/>
                    </a:lnTo>
                    <a:lnTo>
                      <a:pt x="660" y="221"/>
                    </a:lnTo>
                    <a:lnTo>
                      <a:pt x="660" y="219"/>
                    </a:lnTo>
                    <a:lnTo>
                      <a:pt x="660" y="219"/>
                    </a:lnTo>
                    <a:lnTo>
                      <a:pt x="660" y="217"/>
                    </a:lnTo>
                    <a:lnTo>
                      <a:pt x="664" y="211"/>
                    </a:lnTo>
                    <a:lnTo>
                      <a:pt x="664" y="211"/>
                    </a:lnTo>
                    <a:lnTo>
                      <a:pt x="664" y="209"/>
                    </a:lnTo>
                    <a:lnTo>
                      <a:pt x="664" y="209"/>
                    </a:lnTo>
                    <a:lnTo>
                      <a:pt x="662" y="207"/>
                    </a:lnTo>
                    <a:lnTo>
                      <a:pt x="662" y="207"/>
                    </a:lnTo>
                    <a:lnTo>
                      <a:pt x="658" y="213"/>
                    </a:lnTo>
                    <a:lnTo>
                      <a:pt x="656" y="217"/>
                    </a:lnTo>
                    <a:lnTo>
                      <a:pt x="656" y="217"/>
                    </a:lnTo>
                    <a:lnTo>
                      <a:pt x="656" y="219"/>
                    </a:lnTo>
                    <a:lnTo>
                      <a:pt x="656" y="221"/>
                    </a:lnTo>
                    <a:lnTo>
                      <a:pt x="660" y="230"/>
                    </a:lnTo>
                    <a:lnTo>
                      <a:pt x="660" y="232"/>
                    </a:lnTo>
                    <a:lnTo>
                      <a:pt x="660" y="234"/>
                    </a:lnTo>
                    <a:lnTo>
                      <a:pt x="660" y="236"/>
                    </a:lnTo>
                    <a:lnTo>
                      <a:pt x="658" y="236"/>
                    </a:lnTo>
                    <a:lnTo>
                      <a:pt x="658" y="236"/>
                    </a:lnTo>
                    <a:lnTo>
                      <a:pt x="654" y="234"/>
                    </a:lnTo>
                    <a:lnTo>
                      <a:pt x="652" y="234"/>
                    </a:lnTo>
                    <a:lnTo>
                      <a:pt x="652" y="234"/>
                    </a:lnTo>
                    <a:lnTo>
                      <a:pt x="650" y="234"/>
                    </a:lnTo>
                    <a:lnTo>
                      <a:pt x="650" y="234"/>
                    </a:lnTo>
                    <a:lnTo>
                      <a:pt x="646" y="234"/>
                    </a:lnTo>
                    <a:lnTo>
                      <a:pt x="646" y="234"/>
                    </a:lnTo>
                    <a:lnTo>
                      <a:pt x="645" y="234"/>
                    </a:lnTo>
                    <a:lnTo>
                      <a:pt x="643" y="234"/>
                    </a:lnTo>
                    <a:lnTo>
                      <a:pt x="643" y="236"/>
                    </a:lnTo>
                    <a:lnTo>
                      <a:pt x="641" y="238"/>
                    </a:lnTo>
                    <a:lnTo>
                      <a:pt x="641" y="238"/>
                    </a:lnTo>
                    <a:lnTo>
                      <a:pt x="639" y="240"/>
                    </a:lnTo>
                    <a:lnTo>
                      <a:pt x="639" y="238"/>
                    </a:lnTo>
                    <a:lnTo>
                      <a:pt x="637" y="238"/>
                    </a:lnTo>
                    <a:lnTo>
                      <a:pt x="637" y="232"/>
                    </a:lnTo>
                    <a:lnTo>
                      <a:pt x="637" y="232"/>
                    </a:lnTo>
                    <a:lnTo>
                      <a:pt x="635" y="232"/>
                    </a:lnTo>
                    <a:lnTo>
                      <a:pt x="633" y="232"/>
                    </a:lnTo>
                    <a:lnTo>
                      <a:pt x="629" y="234"/>
                    </a:lnTo>
                    <a:lnTo>
                      <a:pt x="627" y="234"/>
                    </a:lnTo>
                    <a:lnTo>
                      <a:pt x="625" y="234"/>
                    </a:lnTo>
                    <a:lnTo>
                      <a:pt x="625" y="234"/>
                    </a:lnTo>
                    <a:lnTo>
                      <a:pt x="625" y="234"/>
                    </a:lnTo>
                    <a:lnTo>
                      <a:pt x="624" y="232"/>
                    </a:lnTo>
                    <a:lnTo>
                      <a:pt x="624" y="230"/>
                    </a:lnTo>
                    <a:lnTo>
                      <a:pt x="625" y="228"/>
                    </a:lnTo>
                    <a:lnTo>
                      <a:pt x="625" y="228"/>
                    </a:lnTo>
                    <a:lnTo>
                      <a:pt x="629" y="224"/>
                    </a:lnTo>
                    <a:lnTo>
                      <a:pt x="629" y="222"/>
                    </a:lnTo>
                    <a:lnTo>
                      <a:pt x="629" y="222"/>
                    </a:lnTo>
                    <a:lnTo>
                      <a:pt x="629" y="222"/>
                    </a:lnTo>
                    <a:lnTo>
                      <a:pt x="627" y="222"/>
                    </a:lnTo>
                    <a:lnTo>
                      <a:pt x="627" y="221"/>
                    </a:lnTo>
                    <a:lnTo>
                      <a:pt x="627" y="221"/>
                    </a:lnTo>
                    <a:lnTo>
                      <a:pt x="625" y="221"/>
                    </a:lnTo>
                    <a:lnTo>
                      <a:pt x="625" y="221"/>
                    </a:lnTo>
                    <a:lnTo>
                      <a:pt x="624" y="219"/>
                    </a:lnTo>
                    <a:lnTo>
                      <a:pt x="622" y="221"/>
                    </a:lnTo>
                    <a:lnTo>
                      <a:pt x="622" y="221"/>
                    </a:lnTo>
                    <a:lnTo>
                      <a:pt x="622" y="221"/>
                    </a:lnTo>
                    <a:lnTo>
                      <a:pt x="622" y="222"/>
                    </a:lnTo>
                    <a:lnTo>
                      <a:pt x="622" y="224"/>
                    </a:lnTo>
                    <a:lnTo>
                      <a:pt x="622" y="226"/>
                    </a:lnTo>
                    <a:lnTo>
                      <a:pt x="620" y="226"/>
                    </a:lnTo>
                    <a:lnTo>
                      <a:pt x="618" y="228"/>
                    </a:lnTo>
                    <a:lnTo>
                      <a:pt x="616" y="228"/>
                    </a:lnTo>
                    <a:lnTo>
                      <a:pt x="616" y="228"/>
                    </a:lnTo>
                    <a:lnTo>
                      <a:pt x="614" y="228"/>
                    </a:lnTo>
                    <a:lnTo>
                      <a:pt x="612" y="232"/>
                    </a:lnTo>
                    <a:lnTo>
                      <a:pt x="612" y="232"/>
                    </a:lnTo>
                    <a:lnTo>
                      <a:pt x="610" y="234"/>
                    </a:lnTo>
                    <a:lnTo>
                      <a:pt x="608" y="234"/>
                    </a:lnTo>
                    <a:lnTo>
                      <a:pt x="606" y="234"/>
                    </a:lnTo>
                    <a:lnTo>
                      <a:pt x="606" y="232"/>
                    </a:lnTo>
                    <a:lnTo>
                      <a:pt x="606" y="230"/>
                    </a:lnTo>
                    <a:lnTo>
                      <a:pt x="606" y="228"/>
                    </a:lnTo>
                    <a:lnTo>
                      <a:pt x="606" y="226"/>
                    </a:lnTo>
                    <a:lnTo>
                      <a:pt x="608" y="224"/>
                    </a:lnTo>
                    <a:lnTo>
                      <a:pt x="608" y="222"/>
                    </a:lnTo>
                    <a:lnTo>
                      <a:pt x="610" y="221"/>
                    </a:lnTo>
                    <a:lnTo>
                      <a:pt x="614" y="219"/>
                    </a:lnTo>
                    <a:lnTo>
                      <a:pt x="614" y="217"/>
                    </a:lnTo>
                    <a:lnTo>
                      <a:pt x="616" y="217"/>
                    </a:lnTo>
                    <a:lnTo>
                      <a:pt x="616" y="215"/>
                    </a:lnTo>
                    <a:lnTo>
                      <a:pt x="616" y="215"/>
                    </a:lnTo>
                    <a:lnTo>
                      <a:pt x="614" y="211"/>
                    </a:lnTo>
                    <a:lnTo>
                      <a:pt x="614" y="211"/>
                    </a:lnTo>
                    <a:lnTo>
                      <a:pt x="616" y="209"/>
                    </a:lnTo>
                    <a:lnTo>
                      <a:pt x="618" y="205"/>
                    </a:lnTo>
                    <a:lnTo>
                      <a:pt x="618" y="203"/>
                    </a:lnTo>
                    <a:lnTo>
                      <a:pt x="618" y="200"/>
                    </a:lnTo>
                    <a:lnTo>
                      <a:pt x="618" y="198"/>
                    </a:lnTo>
                    <a:lnTo>
                      <a:pt x="618" y="198"/>
                    </a:lnTo>
                    <a:lnTo>
                      <a:pt x="618" y="198"/>
                    </a:lnTo>
                    <a:lnTo>
                      <a:pt x="616" y="198"/>
                    </a:lnTo>
                    <a:lnTo>
                      <a:pt x="616" y="198"/>
                    </a:lnTo>
                    <a:lnTo>
                      <a:pt x="614" y="198"/>
                    </a:lnTo>
                    <a:lnTo>
                      <a:pt x="612" y="198"/>
                    </a:lnTo>
                    <a:lnTo>
                      <a:pt x="612" y="198"/>
                    </a:lnTo>
                    <a:lnTo>
                      <a:pt x="612" y="198"/>
                    </a:lnTo>
                    <a:lnTo>
                      <a:pt x="612" y="196"/>
                    </a:lnTo>
                    <a:lnTo>
                      <a:pt x="612" y="194"/>
                    </a:lnTo>
                    <a:lnTo>
                      <a:pt x="612" y="194"/>
                    </a:lnTo>
                    <a:lnTo>
                      <a:pt x="614" y="192"/>
                    </a:lnTo>
                    <a:lnTo>
                      <a:pt x="612" y="188"/>
                    </a:lnTo>
                    <a:lnTo>
                      <a:pt x="612" y="188"/>
                    </a:lnTo>
                    <a:lnTo>
                      <a:pt x="612" y="186"/>
                    </a:lnTo>
                    <a:lnTo>
                      <a:pt x="610" y="184"/>
                    </a:lnTo>
                    <a:lnTo>
                      <a:pt x="610" y="184"/>
                    </a:lnTo>
                    <a:lnTo>
                      <a:pt x="608" y="184"/>
                    </a:lnTo>
                    <a:lnTo>
                      <a:pt x="606" y="186"/>
                    </a:lnTo>
                    <a:lnTo>
                      <a:pt x="606" y="188"/>
                    </a:lnTo>
                    <a:lnTo>
                      <a:pt x="604" y="188"/>
                    </a:lnTo>
                    <a:lnTo>
                      <a:pt x="604" y="190"/>
                    </a:lnTo>
                    <a:lnTo>
                      <a:pt x="604" y="190"/>
                    </a:lnTo>
                    <a:lnTo>
                      <a:pt x="604" y="192"/>
                    </a:lnTo>
                    <a:lnTo>
                      <a:pt x="604" y="198"/>
                    </a:lnTo>
                    <a:lnTo>
                      <a:pt x="604" y="198"/>
                    </a:lnTo>
                    <a:lnTo>
                      <a:pt x="604" y="200"/>
                    </a:lnTo>
                    <a:lnTo>
                      <a:pt x="603" y="200"/>
                    </a:lnTo>
                    <a:lnTo>
                      <a:pt x="601" y="202"/>
                    </a:lnTo>
                    <a:lnTo>
                      <a:pt x="599" y="200"/>
                    </a:lnTo>
                    <a:lnTo>
                      <a:pt x="599" y="200"/>
                    </a:lnTo>
                    <a:lnTo>
                      <a:pt x="599" y="198"/>
                    </a:lnTo>
                    <a:lnTo>
                      <a:pt x="599" y="192"/>
                    </a:lnTo>
                    <a:lnTo>
                      <a:pt x="597" y="190"/>
                    </a:lnTo>
                    <a:lnTo>
                      <a:pt x="597" y="188"/>
                    </a:lnTo>
                    <a:lnTo>
                      <a:pt x="597" y="188"/>
                    </a:lnTo>
                    <a:lnTo>
                      <a:pt x="595" y="186"/>
                    </a:lnTo>
                    <a:lnTo>
                      <a:pt x="593" y="188"/>
                    </a:lnTo>
                    <a:lnTo>
                      <a:pt x="593" y="188"/>
                    </a:lnTo>
                    <a:lnTo>
                      <a:pt x="591" y="188"/>
                    </a:lnTo>
                    <a:lnTo>
                      <a:pt x="589" y="188"/>
                    </a:lnTo>
                    <a:lnTo>
                      <a:pt x="589" y="190"/>
                    </a:lnTo>
                    <a:lnTo>
                      <a:pt x="589" y="192"/>
                    </a:lnTo>
                    <a:lnTo>
                      <a:pt x="589" y="194"/>
                    </a:lnTo>
                    <a:lnTo>
                      <a:pt x="589" y="196"/>
                    </a:lnTo>
                    <a:lnTo>
                      <a:pt x="591" y="198"/>
                    </a:lnTo>
                    <a:lnTo>
                      <a:pt x="591" y="198"/>
                    </a:lnTo>
                    <a:lnTo>
                      <a:pt x="591" y="200"/>
                    </a:lnTo>
                    <a:lnTo>
                      <a:pt x="591" y="202"/>
                    </a:lnTo>
                    <a:lnTo>
                      <a:pt x="589" y="203"/>
                    </a:lnTo>
                    <a:lnTo>
                      <a:pt x="589" y="203"/>
                    </a:lnTo>
                    <a:lnTo>
                      <a:pt x="589" y="205"/>
                    </a:lnTo>
                    <a:lnTo>
                      <a:pt x="589" y="205"/>
                    </a:lnTo>
                    <a:lnTo>
                      <a:pt x="591" y="207"/>
                    </a:lnTo>
                    <a:lnTo>
                      <a:pt x="591" y="209"/>
                    </a:lnTo>
                    <a:lnTo>
                      <a:pt x="589" y="209"/>
                    </a:lnTo>
                    <a:lnTo>
                      <a:pt x="589" y="211"/>
                    </a:lnTo>
                    <a:lnTo>
                      <a:pt x="587" y="211"/>
                    </a:lnTo>
                    <a:lnTo>
                      <a:pt x="587" y="209"/>
                    </a:lnTo>
                    <a:lnTo>
                      <a:pt x="585" y="207"/>
                    </a:lnTo>
                    <a:lnTo>
                      <a:pt x="584" y="207"/>
                    </a:lnTo>
                    <a:lnTo>
                      <a:pt x="582" y="205"/>
                    </a:lnTo>
                    <a:lnTo>
                      <a:pt x="582" y="205"/>
                    </a:lnTo>
                    <a:lnTo>
                      <a:pt x="582" y="203"/>
                    </a:lnTo>
                    <a:lnTo>
                      <a:pt x="582" y="202"/>
                    </a:lnTo>
                    <a:lnTo>
                      <a:pt x="580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2" y="202"/>
                    </a:lnTo>
                    <a:lnTo>
                      <a:pt x="572" y="202"/>
                    </a:lnTo>
                    <a:lnTo>
                      <a:pt x="570" y="202"/>
                    </a:lnTo>
                    <a:lnTo>
                      <a:pt x="570" y="203"/>
                    </a:lnTo>
                    <a:lnTo>
                      <a:pt x="570" y="203"/>
                    </a:lnTo>
                    <a:lnTo>
                      <a:pt x="570" y="205"/>
                    </a:lnTo>
                    <a:lnTo>
                      <a:pt x="570" y="205"/>
                    </a:lnTo>
                    <a:lnTo>
                      <a:pt x="570" y="207"/>
                    </a:lnTo>
                    <a:lnTo>
                      <a:pt x="570" y="207"/>
                    </a:lnTo>
                    <a:lnTo>
                      <a:pt x="570" y="207"/>
                    </a:lnTo>
                    <a:lnTo>
                      <a:pt x="568" y="209"/>
                    </a:lnTo>
                    <a:lnTo>
                      <a:pt x="568" y="211"/>
                    </a:lnTo>
                    <a:lnTo>
                      <a:pt x="564" y="215"/>
                    </a:lnTo>
                    <a:lnTo>
                      <a:pt x="563" y="217"/>
                    </a:lnTo>
                    <a:lnTo>
                      <a:pt x="563" y="219"/>
                    </a:lnTo>
                    <a:lnTo>
                      <a:pt x="563" y="221"/>
                    </a:lnTo>
                    <a:lnTo>
                      <a:pt x="563" y="221"/>
                    </a:lnTo>
                    <a:lnTo>
                      <a:pt x="563" y="222"/>
                    </a:lnTo>
                    <a:lnTo>
                      <a:pt x="563" y="222"/>
                    </a:lnTo>
                    <a:lnTo>
                      <a:pt x="564" y="224"/>
                    </a:lnTo>
                    <a:lnTo>
                      <a:pt x="566" y="226"/>
                    </a:lnTo>
                    <a:lnTo>
                      <a:pt x="568" y="228"/>
                    </a:lnTo>
                    <a:lnTo>
                      <a:pt x="570" y="230"/>
                    </a:lnTo>
                    <a:lnTo>
                      <a:pt x="574" y="240"/>
                    </a:lnTo>
                    <a:lnTo>
                      <a:pt x="576" y="243"/>
                    </a:lnTo>
                    <a:lnTo>
                      <a:pt x="576" y="249"/>
                    </a:lnTo>
                    <a:lnTo>
                      <a:pt x="578" y="264"/>
                    </a:lnTo>
                    <a:lnTo>
                      <a:pt x="580" y="266"/>
                    </a:lnTo>
                    <a:lnTo>
                      <a:pt x="580" y="268"/>
                    </a:lnTo>
                    <a:lnTo>
                      <a:pt x="585" y="274"/>
                    </a:lnTo>
                    <a:lnTo>
                      <a:pt x="587" y="276"/>
                    </a:lnTo>
                    <a:lnTo>
                      <a:pt x="589" y="280"/>
                    </a:lnTo>
                    <a:lnTo>
                      <a:pt x="589" y="281"/>
                    </a:lnTo>
                    <a:lnTo>
                      <a:pt x="589" y="283"/>
                    </a:lnTo>
                    <a:lnTo>
                      <a:pt x="589" y="291"/>
                    </a:lnTo>
                    <a:lnTo>
                      <a:pt x="589" y="295"/>
                    </a:lnTo>
                    <a:lnTo>
                      <a:pt x="589" y="297"/>
                    </a:lnTo>
                    <a:lnTo>
                      <a:pt x="589" y="299"/>
                    </a:lnTo>
                    <a:lnTo>
                      <a:pt x="589" y="299"/>
                    </a:lnTo>
                    <a:lnTo>
                      <a:pt x="587" y="300"/>
                    </a:lnTo>
                    <a:lnTo>
                      <a:pt x="587" y="302"/>
                    </a:lnTo>
                    <a:lnTo>
                      <a:pt x="587" y="304"/>
                    </a:lnTo>
                    <a:lnTo>
                      <a:pt x="587" y="306"/>
                    </a:lnTo>
                    <a:lnTo>
                      <a:pt x="589" y="308"/>
                    </a:lnTo>
                    <a:lnTo>
                      <a:pt x="589" y="308"/>
                    </a:lnTo>
                    <a:lnTo>
                      <a:pt x="591" y="310"/>
                    </a:lnTo>
                    <a:lnTo>
                      <a:pt x="591" y="310"/>
                    </a:lnTo>
                    <a:lnTo>
                      <a:pt x="593" y="310"/>
                    </a:lnTo>
                    <a:lnTo>
                      <a:pt x="597" y="308"/>
                    </a:lnTo>
                    <a:lnTo>
                      <a:pt x="601" y="308"/>
                    </a:lnTo>
                    <a:lnTo>
                      <a:pt x="601" y="308"/>
                    </a:lnTo>
                    <a:lnTo>
                      <a:pt x="603" y="308"/>
                    </a:lnTo>
                    <a:lnTo>
                      <a:pt x="604" y="308"/>
                    </a:lnTo>
                    <a:lnTo>
                      <a:pt x="606" y="310"/>
                    </a:lnTo>
                    <a:lnTo>
                      <a:pt x="608" y="312"/>
                    </a:lnTo>
                    <a:lnTo>
                      <a:pt x="608" y="314"/>
                    </a:lnTo>
                    <a:lnTo>
                      <a:pt x="608" y="316"/>
                    </a:lnTo>
                    <a:lnTo>
                      <a:pt x="610" y="318"/>
                    </a:lnTo>
                    <a:lnTo>
                      <a:pt x="612" y="321"/>
                    </a:lnTo>
                    <a:lnTo>
                      <a:pt x="614" y="323"/>
                    </a:lnTo>
                    <a:lnTo>
                      <a:pt x="614" y="325"/>
                    </a:lnTo>
                    <a:lnTo>
                      <a:pt x="612" y="327"/>
                    </a:lnTo>
                    <a:lnTo>
                      <a:pt x="612" y="327"/>
                    </a:lnTo>
                    <a:lnTo>
                      <a:pt x="612" y="327"/>
                    </a:lnTo>
                    <a:lnTo>
                      <a:pt x="612" y="327"/>
                    </a:lnTo>
                    <a:lnTo>
                      <a:pt x="612" y="329"/>
                    </a:lnTo>
                    <a:lnTo>
                      <a:pt x="612" y="329"/>
                    </a:lnTo>
                    <a:lnTo>
                      <a:pt x="614" y="329"/>
                    </a:lnTo>
                    <a:lnTo>
                      <a:pt x="614" y="331"/>
                    </a:lnTo>
                    <a:lnTo>
                      <a:pt x="616" y="331"/>
                    </a:lnTo>
                    <a:lnTo>
                      <a:pt x="618" y="331"/>
                    </a:lnTo>
                    <a:lnTo>
                      <a:pt x="620" y="333"/>
                    </a:lnTo>
                    <a:lnTo>
                      <a:pt x="620" y="337"/>
                    </a:lnTo>
                    <a:lnTo>
                      <a:pt x="620" y="339"/>
                    </a:lnTo>
                    <a:lnTo>
                      <a:pt x="618" y="340"/>
                    </a:lnTo>
                    <a:lnTo>
                      <a:pt x="618" y="342"/>
                    </a:lnTo>
                    <a:lnTo>
                      <a:pt x="616" y="344"/>
                    </a:lnTo>
                    <a:lnTo>
                      <a:pt x="616" y="344"/>
                    </a:lnTo>
                    <a:lnTo>
                      <a:pt x="610" y="348"/>
                    </a:lnTo>
                    <a:lnTo>
                      <a:pt x="610" y="352"/>
                    </a:lnTo>
                    <a:lnTo>
                      <a:pt x="608" y="356"/>
                    </a:lnTo>
                    <a:lnTo>
                      <a:pt x="606" y="359"/>
                    </a:lnTo>
                    <a:lnTo>
                      <a:pt x="604" y="361"/>
                    </a:lnTo>
                    <a:lnTo>
                      <a:pt x="601" y="365"/>
                    </a:lnTo>
                    <a:lnTo>
                      <a:pt x="599" y="365"/>
                    </a:lnTo>
                    <a:lnTo>
                      <a:pt x="597" y="367"/>
                    </a:lnTo>
                    <a:lnTo>
                      <a:pt x="595" y="365"/>
                    </a:lnTo>
                    <a:lnTo>
                      <a:pt x="593" y="363"/>
                    </a:lnTo>
                    <a:lnTo>
                      <a:pt x="593" y="361"/>
                    </a:lnTo>
                    <a:lnTo>
                      <a:pt x="593" y="361"/>
                    </a:lnTo>
                    <a:lnTo>
                      <a:pt x="593" y="359"/>
                    </a:lnTo>
                    <a:lnTo>
                      <a:pt x="591" y="358"/>
                    </a:lnTo>
                    <a:lnTo>
                      <a:pt x="591" y="358"/>
                    </a:lnTo>
                    <a:lnTo>
                      <a:pt x="589" y="358"/>
                    </a:lnTo>
                    <a:lnTo>
                      <a:pt x="587" y="358"/>
                    </a:lnTo>
                    <a:lnTo>
                      <a:pt x="584" y="358"/>
                    </a:lnTo>
                    <a:lnTo>
                      <a:pt x="582" y="358"/>
                    </a:lnTo>
                    <a:lnTo>
                      <a:pt x="580" y="356"/>
                    </a:lnTo>
                    <a:lnTo>
                      <a:pt x="578" y="354"/>
                    </a:lnTo>
                    <a:lnTo>
                      <a:pt x="574" y="350"/>
                    </a:lnTo>
                    <a:lnTo>
                      <a:pt x="572" y="348"/>
                    </a:lnTo>
                    <a:lnTo>
                      <a:pt x="564" y="342"/>
                    </a:lnTo>
                    <a:lnTo>
                      <a:pt x="563" y="340"/>
                    </a:lnTo>
                    <a:lnTo>
                      <a:pt x="559" y="340"/>
                    </a:lnTo>
                    <a:lnTo>
                      <a:pt x="557" y="340"/>
                    </a:lnTo>
                    <a:lnTo>
                      <a:pt x="557" y="340"/>
                    </a:lnTo>
                    <a:lnTo>
                      <a:pt x="557" y="340"/>
                    </a:lnTo>
                    <a:lnTo>
                      <a:pt x="555" y="342"/>
                    </a:lnTo>
                    <a:lnTo>
                      <a:pt x="555" y="344"/>
                    </a:lnTo>
                    <a:lnTo>
                      <a:pt x="555" y="344"/>
                    </a:lnTo>
                    <a:lnTo>
                      <a:pt x="555" y="346"/>
                    </a:lnTo>
                    <a:lnTo>
                      <a:pt x="553" y="348"/>
                    </a:lnTo>
                    <a:lnTo>
                      <a:pt x="553" y="348"/>
                    </a:lnTo>
                    <a:lnTo>
                      <a:pt x="553" y="350"/>
                    </a:lnTo>
                    <a:lnTo>
                      <a:pt x="553" y="352"/>
                    </a:lnTo>
                    <a:lnTo>
                      <a:pt x="551" y="352"/>
                    </a:lnTo>
                    <a:lnTo>
                      <a:pt x="549" y="354"/>
                    </a:lnTo>
                    <a:lnTo>
                      <a:pt x="545" y="356"/>
                    </a:lnTo>
                    <a:lnTo>
                      <a:pt x="543" y="354"/>
                    </a:lnTo>
                    <a:lnTo>
                      <a:pt x="542" y="354"/>
                    </a:lnTo>
                    <a:lnTo>
                      <a:pt x="542" y="352"/>
                    </a:lnTo>
                    <a:lnTo>
                      <a:pt x="540" y="350"/>
                    </a:lnTo>
                    <a:lnTo>
                      <a:pt x="540" y="350"/>
                    </a:lnTo>
                    <a:lnTo>
                      <a:pt x="540" y="348"/>
                    </a:lnTo>
                    <a:lnTo>
                      <a:pt x="540" y="346"/>
                    </a:lnTo>
                    <a:lnTo>
                      <a:pt x="542" y="342"/>
                    </a:lnTo>
                    <a:lnTo>
                      <a:pt x="542" y="340"/>
                    </a:lnTo>
                    <a:lnTo>
                      <a:pt x="542" y="340"/>
                    </a:lnTo>
                    <a:lnTo>
                      <a:pt x="542" y="339"/>
                    </a:lnTo>
                    <a:lnTo>
                      <a:pt x="540" y="339"/>
                    </a:lnTo>
                    <a:lnTo>
                      <a:pt x="536" y="337"/>
                    </a:lnTo>
                    <a:lnTo>
                      <a:pt x="534" y="335"/>
                    </a:lnTo>
                    <a:lnTo>
                      <a:pt x="532" y="335"/>
                    </a:lnTo>
                    <a:lnTo>
                      <a:pt x="532" y="333"/>
                    </a:lnTo>
                    <a:lnTo>
                      <a:pt x="532" y="331"/>
                    </a:lnTo>
                    <a:lnTo>
                      <a:pt x="530" y="331"/>
                    </a:lnTo>
                    <a:lnTo>
                      <a:pt x="530" y="331"/>
                    </a:lnTo>
                    <a:lnTo>
                      <a:pt x="528" y="329"/>
                    </a:lnTo>
                    <a:lnTo>
                      <a:pt x="528" y="329"/>
                    </a:lnTo>
                    <a:lnTo>
                      <a:pt x="526" y="325"/>
                    </a:lnTo>
                    <a:lnTo>
                      <a:pt x="526" y="325"/>
                    </a:lnTo>
                    <a:lnTo>
                      <a:pt x="526" y="323"/>
                    </a:lnTo>
                    <a:lnTo>
                      <a:pt x="530" y="320"/>
                    </a:lnTo>
                    <a:lnTo>
                      <a:pt x="530" y="316"/>
                    </a:lnTo>
                    <a:lnTo>
                      <a:pt x="532" y="314"/>
                    </a:lnTo>
                    <a:lnTo>
                      <a:pt x="532" y="310"/>
                    </a:lnTo>
                    <a:lnTo>
                      <a:pt x="532" y="310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4"/>
                    </a:lnTo>
                    <a:lnTo>
                      <a:pt x="530" y="304"/>
                    </a:lnTo>
                    <a:lnTo>
                      <a:pt x="530" y="300"/>
                    </a:lnTo>
                    <a:lnTo>
                      <a:pt x="530" y="299"/>
                    </a:lnTo>
                    <a:lnTo>
                      <a:pt x="528" y="297"/>
                    </a:lnTo>
                    <a:lnTo>
                      <a:pt x="526" y="295"/>
                    </a:lnTo>
                    <a:lnTo>
                      <a:pt x="526" y="293"/>
                    </a:lnTo>
                    <a:lnTo>
                      <a:pt x="526" y="289"/>
                    </a:lnTo>
                    <a:lnTo>
                      <a:pt x="526" y="287"/>
                    </a:lnTo>
                    <a:lnTo>
                      <a:pt x="522" y="281"/>
                    </a:lnTo>
                    <a:lnTo>
                      <a:pt x="522" y="280"/>
                    </a:lnTo>
                    <a:lnTo>
                      <a:pt x="521" y="280"/>
                    </a:lnTo>
                    <a:lnTo>
                      <a:pt x="519" y="280"/>
                    </a:lnTo>
                    <a:lnTo>
                      <a:pt x="519" y="278"/>
                    </a:lnTo>
                    <a:lnTo>
                      <a:pt x="519" y="276"/>
                    </a:lnTo>
                    <a:lnTo>
                      <a:pt x="521" y="274"/>
                    </a:lnTo>
                    <a:lnTo>
                      <a:pt x="526" y="268"/>
                    </a:lnTo>
                    <a:lnTo>
                      <a:pt x="530" y="266"/>
                    </a:lnTo>
                    <a:lnTo>
                      <a:pt x="538" y="261"/>
                    </a:lnTo>
                    <a:lnTo>
                      <a:pt x="538" y="259"/>
                    </a:lnTo>
                    <a:lnTo>
                      <a:pt x="540" y="255"/>
                    </a:lnTo>
                    <a:lnTo>
                      <a:pt x="540" y="253"/>
                    </a:lnTo>
                    <a:lnTo>
                      <a:pt x="540" y="249"/>
                    </a:lnTo>
                    <a:lnTo>
                      <a:pt x="540" y="247"/>
                    </a:lnTo>
                    <a:lnTo>
                      <a:pt x="540" y="247"/>
                    </a:lnTo>
                    <a:lnTo>
                      <a:pt x="540" y="243"/>
                    </a:lnTo>
                    <a:lnTo>
                      <a:pt x="542" y="242"/>
                    </a:lnTo>
                    <a:lnTo>
                      <a:pt x="542" y="240"/>
                    </a:lnTo>
                    <a:lnTo>
                      <a:pt x="543" y="236"/>
                    </a:lnTo>
                    <a:lnTo>
                      <a:pt x="543" y="232"/>
                    </a:lnTo>
                    <a:lnTo>
                      <a:pt x="543" y="232"/>
                    </a:lnTo>
                    <a:lnTo>
                      <a:pt x="543" y="230"/>
                    </a:lnTo>
                    <a:lnTo>
                      <a:pt x="542" y="226"/>
                    </a:lnTo>
                    <a:lnTo>
                      <a:pt x="536" y="213"/>
                    </a:lnTo>
                    <a:lnTo>
                      <a:pt x="534" y="211"/>
                    </a:lnTo>
                    <a:lnTo>
                      <a:pt x="532" y="209"/>
                    </a:lnTo>
                    <a:lnTo>
                      <a:pt x="530" y="207"/>
                    </a:lnTo>
                    <a:lnTo>
                      <a:pt x="530" y="205"/>
                    </a:lnTo>
                    <a:lnTo>
                      <a:pt x="530" y="203"/>
                    </a:lnTo>
                    <a:lnTo>
                      <a:pt x="530" y="203"/>
                    </a:lnTo>
                    <a:lnTo>
                      <a:pt x="530" y="202"/>
                    </a:lnTo>
                    <a:lnTo>
                      <a:pt x="540" y="194"/>
                    </a:lnTo>
                    <a:lnTo>
                      <a:pt x="542" y="192"/>
                    </a:lnTo>
                    <a:lnTo>
                      <a:pt x="542" y="184"/>
                    </a:lnTo>
                    <a:lnTo>
                      <a:pt x="543" y="183"/>
                    </a:lnTo>
                    <a:lnTo>
                      <a:pt x="555" y="179"/>
                    </a:lnTo>
                    <a:lnTo>
                      <a:pt x="559" y="179"/>
                    </a:lnTo>
                    <a:lnTo>
                      <a:pt x="561" y="179"/>
                    </a:lnTo>
                    <a:lnTo>
                      <a:pt x="564" y="179"/>
                    </a:lnTo>
                    <a:lnTo>
                      <a:pt x="566" y="179"/>
                    </a:lnTo>
                    <a:lnTo>
                      <a:pt x="568" y="179"/>
                    </a:lnTo>
                    <a:lnTo>
                      <a:pt x="570" y="179"/>
                    </a:lnTo>
                    <a:lnTo>
                      <a:pt x="570" y="177"/>
                    </a:lnTo>
                    <a:lnTo>
                      <a:pt x="576" y="175"/>
                    </a:lnTo>
                    <a:lnTo>
                      <a:pt x="587" y="171"/>
                    </a:lnTo>
                    <a:lnTo>
                      <a:pt x="591" y="169"/>
                    </a:lnTo>
                    <a:lnTo>
                      <a:pt x="591" y="169"/>
                    </a:lnTo>
                    <a:lnTo>
                      <a:pt x="593" y="167"/>
                    </a:lnTo>
                    <a:lnTo>
                      <a:pt x="593" y="167"/>
                    </a:lnTo>
                    <a:lnTo>
                      <a:pt x="593" y="167"/>
                    </a:lnTo>
                    <a:lnTo>
                      <a:pt x="593" y="165"/>
                    </a:lnTo>
                    <a:lnTo>
                      <a:pt x="591" y="163"/>
                    </a:lnTo>
                    <a:lnTo>
                      <a:pt x="591" y="162"/>
                    </a:lnTo>
                    <a:lnTo>
                      <a:pt x="589" y="160"/>
                    </a:lnTo>
                    <a:lnTo>
                      <a:pt x="589" y="158"/>
                    </a:lnTo>
                    <a:lnTo>
                      <a:pt x="589" y="156"/>
                    </a:lnTo>
                    <a:lnTo>
                      <a:pt x="589" y="154"/>
                    </a:lnTo>
                    <a:lnTo>
                      <a:pt x="589" y="154"/>
                    </a:lnTo>
                    <a:lnTo>
                      <a:pt x="589" y="152"/>
                    </a:lnTo>
                    <a:lnTo>
                      <a:pt x="591" y="148"/>
                    </a:lnTo>
                    <a:lnTo>
                      <a:pt x="591" y="148"/>
                    </a:lnTo>
                    <a:lnTo>
                      <a:pt x="593" y="146"/>
                    </a:lnTo>
                    <a:lnTo>
                      <a:pt x="595" y="146"/>
                    </a:lnTo>
                    <a:lnTo>
                      <a:pt x="597" y="144"/>
                    </a:lnTo>
                    <a:lnTo>
                      <a:pt x="599" y="143"/>
                    </a:lnTo>
                    <a:lnTo>
                      <a:pt x="601" y="137"/>
                    </a:lnTo>
                    <a:lnTo>
                      <a:pt x="603" y="133"/>
                    </a:lnTo>
                    <a:lnTo>
                      <a:pt x="608" y="125"/>
                    </a:lnTo>
                    <a:lnTo>
                      <a:pt x="608" y="124"/>
                    </a:lnTo>
                    <a:lnTo>
                      <a:pt x="610" y="124"/>
                    </a:lnTo>
                    <a:lnTo>
                      <a:pt x="610" y="120"/>
                    </a:lnTo>
                    <a:lnTo>
                      <a:pt x="612" y="114"/>
                    </a:lnTo>
                    <a:lnTo>
                      <a:pt x="616" y="108"/>
                    </a:lnTo>
                    <a:lnTo>
                      <a:pt x="618" y="106"/>
                    </a:lnTo>
                    <a:lnTo>
                      <a:pt x="618" y="105"/>
                    </a:lnTo>
                    <a:lnTo>
                      <a:pt x="616" y="105"/>
                    </a:lnTo>
                    <a:lnTo>
                      <a:pt x="614" y="103"/>
                    </a:lnTo>
                    <a:lnTo>
                      <a:pt x="614" y="101"/>
                    </a:lnTo>
                    <a:lnTo>
                      <a:pt x="614" y="101"/>
                    </a:lnTo>
                    <a:lnTo>
                      <a:pt x="612" y="97"/>
                    </a:lnTo>
                    <a:lnTo>
                      <a:pt x="614" y="95"/>
                    </a:lnTo>
                    <a:lnTo>
                      <a:pt x="614" y="95"/>
                    </a:lnTo>
                    <a:lnTo>
                      <a:pt x="616" y="95"/>
                    </a:lnTo>
                    <a:lnTo>
                      <a:pt x="618" y="93"/>
                    </a:lnTo>
                    <a:lnTo>
                      <a:pt x="618" y="93"/>
                    </a:lnTo>
                    <a:lnTo>
                      <a:pt x="618" y="91"/>
                    </a:lnTo>
                    <a:lnTo>
                      <a:pt x="616" y="89"/>
                    </a:lnTo>
                    <a:lnTo>
                      <a:pt x="616" y="87"/>
                    </a:lnTo>
                    <a:lnTo>
                      <a:pt x="616" y="85"/>
                    </a:lnTo>
                    <a:lnTo>
                      <a:pt x="616" y="84"/>
                    </a:lnTo>
                    <a:lnTo>
                      <a:pt x="616" y="84"/>
                    </a:lnTo>
                    <a:lnTo>
                      <a:pt x="618" y="82"/>
                    </a:lnTo>
                    <a:lnTo>
                      <a:pt x="618" y="82"/>
                    </a:lnTo>
                    <a:lnTo>
                      <a:pt x="620" y="80"/>
                    </a:lnTo>
                    <a:lnTo>
                      <a:pt x="622" y="80"/>
                    </a:lnTo>
                    <a:lnTo>
                      <a:pt x="624" y="80"/>
                    </a:lnTo>
                    <a:lnTo>
                      <a:pt x="625" y="80"/>
                    </a:lnTo>
                    <a:lnTo>
                      <a:pt x="627" y="78"/>
                    </a:lnTo>
                    <a:lnTo>
                      <a:pt x="627" y="76"/>
                    </a:lnTo>
                    <a:lnTo>
                      <a:pt x="631" y="72"/>
                    </a:lnTo>
                    <a:lnTo>
                      <a:pt x="631" y="70"/>
                    </a:lnTo>
                    <a:lnTo>
                      <a:pt x="631" y="70"/>
                    </a:lnTo>
                    <a:lnTo>
                      <a:pt x="631" y="70"/>
                    </a:lnTo>
                    <a:lnTo>
                      <a:pt x="629" y="70"/>
                    </a:lnTo>
                    <a:lnTo>
                      <a:pt x="629" y="68"/>
                    </a:lnTo>
                    <a:lnTo>
                      <a:pt x="627" y="68"/>
                    </a:lnTo>
                    <a:lnTo>
                      <a:pt x="629" y="63"/>
                    </a:lnTo>
                    <a:lnTo>
                      <a:pt x="629" y="59"/>
                    </a:lnTo>
                    <a:lnTo>
                      <a:pt x="629" y="55"/>
                    </a:lnTo>
                    <a:lnTo>
                      <a:pt x="627" y="51"/>
                    </a:lnTo>
                    <a:lnTo>
                      <a:pt x="620" y="40"/>
                    </a:lnTo>
                    <a:lnTo>
                      <a:pt x="618" y="36"/>
                    </a:lnTo>
                    <a:lnTo>
                      <a:pt x="616" y="30"/>
                    </a:lnTo>
                    <a:lnTo>
                      <a:pt x="616" y="27"/>
                    </a:lnTo>
                    <a:lnTo>
                      <a:pt x="616" y="25"/>
                    </a:lnTo>
                    <a:lnTo>
                      <a:pt x="616" y="25"/>
                    </a:lnTo>
                    <a:lnTo>
                      <a:pt x="616" y="25"/>
                    </a:lnTo>
                    <a:lnTo>
                      <a:pt x="616" y="23"/>
                    </a:lnTo>
                    <a:lnTo>
                      <a:pt x="614" y="21"/>
                    </a:lnTo>
                    <a:lnTo>
                      <a:pt x="614" y="21"/>
                    </a:lnTo>
                    <a:lnTo>
                      <a:pt x="612" y="21"/>
                    </a:lnTo>
                    <a:lnTo>
                      <a:pt x="606" y="23"/>
                    </a:lnTo>
                    <a:lnTo>
                      <a:pt x="606" y="23"/>
                    </a:lnTo>
                    <a:lnTo>
                      <a:pt x="603" y="21"/>
                    </a:lnTo>
                    <a:lnTo>
                      <a:pt x="599" y="15"/>
                    </a:lnTo>
                    <a:lnTo>
                      <a:pt x="597" y="13"/>
                    </a:lnTo>
                    <a:lnTo>
                      <a:pt x="595" y="13"/>
                    </a:lnTo>
                    <a:lnTo>
                      <a:pt x="595" y="13"/>
                    </a:lnTo>
                    <a:lnTo>
                      <a:pt x="593" y="13"/>
                    </a:lnTo>
                    <a:lnTo>
                      <a:pt x="593" y="11"/>
                    </a:lnTo>
                    <a:lnTo>
                      <a:pt x="593" y="9"/>
                    </a:lnTo>
                    <a:lnTo>
                      <a:pt x="591" y="9"/>
                    </a:lnTo>
                    <a:lnTo>
                      <a:pt x="589" y="9"/>
                    </a:lnTo>
                    <a:lnTo>
                      <a:pt x="589" y="11"/>
                    </a:lnTo>
                    <a:lnTo>
                      <a:pt x="587" y="7"/>
                    </a:lnTo>
                    <a:lnTo>
                      <a:pt x="585" y="9"/>
                    </a:lnTo>
                    <a:lnTo>
                      <a:pt x="580" y="11"/>
                    </a:lnTo>
                    <a:lnTo>
                      <a:pt x="578" y="11"/>
                    </a:lnTo>
                    <a:lnTo>
                      <a:pt x="576" y="11"/>
                    </a:lnTo>
                    <a:lnTo>
                      <a:pt x="574" y="11"/>
                    </a:lnTo>
                    <a:lnTo>
                      <a:pt x="574" y="11"/>
                    </a:lnTo>
                    <a:lnTo>
                      <a:pt x="574" y="13"/>
                    </a:lnTo>
                    <a:lnTo>
                      <a:pt x="572" y="13"/>
                    </a:lnTo>
                    <a:lnTo>
                      <a:pt x="570" y="15"/>
                    </a:lnTo>
                    <a:lnTo>
                      <a:pt x="568" y="13"/>
                    </a:lnTo>
                    <a:lnTo>
                      <a:pt x="563" y="11"/>
                    </a:lnTo>
                    <a:lnTo>
                      <a:pt x="561" y="9"/>
                    </a:lnTo>
                    <a:lnTo>
                      <a:pt x="555" y="9"/>
                    </a:lnTo>
                    <a:lnTo>
                      <a:pt x="553" y="7"/>
                    </a:lnTo>
                    <a:lnTo>
                      <a:pt x="553" y="7"/>
                    </a:lnTo>
                    <a:lnTo>
                      <a:pt x="553" y="6"/>
                    </a:lnTo>
                    <a:lnTo>
                      <a:pt x="551" y="6"/>
                    </a:lnTo>
                    <a:lnTo>
                      <a:pt x="551" y="6"/>
                    </a:lnTo>
                    <a:lnTo>
                      <a:pt x="547" y="6"/>
                    </a:lnTo>
                    <a:lnTo>
                      <a:pt x="545" y="4"/>
                    </a:lnTo>
                    <a:lnTo>
                      <a:pt x="543" y="2"/>
                    </a:lnTo>
                    <a:lnTo>
                      <a:pt x="542" y="0"/>
                    </a:lnTo>
                    <a:lnTo>
                      <a:pt x="538" y="0"/>
                    </a:lnTo>
                    <a:lnTo>
                      <a:pt x="534" y="0"/>
                    </a:lnTo>
                    <a:lnTo>
                      <a:pt x="532" y="2"/>
                    </a:lnTo>
                    <a:lnTo>
                      <a:pt x="532" y="2"/>
                    </a:lnTo>
                    <a:lnTo>
                      <a:pt x="530" y="6"/>
                    </a:lnTo>
                    <a:lnTo>
                      <a:pt x="530" y="6"/>
                    </a:lnTo>
                    <a:lnTo>
                      <a:pt x="526" y="6"/>
                    </a:lnTo>
                    <a:lnTo>
                      <a:pt x="524" y="6"/>
                    </a:lnTo>
                    <a:lnTo>
                      <a:pt x="522" y="6"/>
                    </a:lnTo>
                    <a:lnTo>
                      <a:pt x="521" y="6"/>
                    </a:lnTo>
                    <a:lnTo>
                      <a:pt x="519" y="6"/>
                    </a:lnTo>
                    <a:lnTo>
                      <a:pt x="519" y="9"/>
                    </a:lnTo>
                    <a:lnTo>
                      <a:pt x="517" y="11"/>
                    </a:lnTo>
                    <a:lnTo>
                      <a:pt x="513" y="9"/>
                    </a:lnTo>
                    <a:lnTo>
                      <a:pt x="511" y="9"/>
                    </a:lnTo>
                    <a:lnTo>
                      <a:pt x="509" y="11"/>
                    </a:lnTo>
                    <a:lnTo>
                      <a:pt x="509" y="13"/>
                    </a:lnTo>
                    <a:lnTo>
                      <a:pt x="511" y="15"/>
                    </a:lnTo>
                    <a:lnTo>
                      <a:pt x="511" y="17"/>
                    </a:lnTo>
                    <a:lnTo>
                      <a:pt x="511" y="17"/>
                    </a:lnTo>
                    <a:lnTo>
                      <a:pt x="509" y="19"/>
                    </a:lnTo>
                    <a:lnTo>
                      <a:pt x="509" y="19"/>
                    </a:lnTo>
                    <a:lnTo>
                      <a:pt x="509" y="23"/>
                    </a:lnTo>
                    <a:lnTo>
                      <a:pt x="509" y="23"/>
                    </a:lnTo>
                    <a:lnTo>
                      <a:pt x="507" y="25"/>
                    </a:lnTo>
                    <a:lnTo>
                      <a:pt x="505" y="25"/>
                    </a:lnTo>
                    <a:lnTo>
                      <a:pt x="503" y="25"/>
                    </a:lnTo>
                    <a:lnTo>
                      <a:pt x="503" y="25"/>
                    </a:lnTo>
                    <a:lnTo>
                      <a:pt x="502" y="25"/>
                    </a:lnTo>
                    <a:lnTo>
                      <a:pt x="500" y="23"/>
                    </a:lnTo>
                    <a:lnTo>
                      <a:pt x="500" y="23"/>
                    </a:lnTo>
                    <a:lnTo>
                      <a:pt x="498" y="23"/>
                    </a:lnTo>
                    <a:lnTo>
                      <a:pt x="496" y="25"/>
                    </a:lnTo>
                    <a:lnTo>
                      <a:pt x="492" y="27"/>
                    </a:lnTo>
                    <a:lnTo>
                      <a:pt x="490" y="27"/>
                    </a:lnTo>
                    <a:lnTo>
                      <a:pt x="486" y="27"/>
                    </a:lnTo>
                    <a:lnTo>
                      <a:pt x="486" y="27"/>
                    </a:lnTo>
                    <a:lnTo>
                      <a:pt x="484" y="28"/>
                    </a:lnTo>
                    <a:lnTo>
                      <a:pt x="484" y="28"/>
                    </a:lnTo>
                    <a:lnTo>
                      <a:pt x="484" y="32"/>
                    </a:lnTo>
                    <a:lnTo>
                      <a:pt x="482" y="32"/>
                    </a:lnTo>
                    <a:lnTo>
                      <a:pt x="481" y="34"/>
                    </a:lnTo>
                    <a:lnTo>
                      <a:pt x="475" y="36"/>
                    </a:lnTo>
                    <a:lnTo>
                      <a:pt x="477" y="40"/>
                    </a:lnTo>
                    <a:lnTo>
                      <a:pt x="473" y="42"/>
                    </a:lnTo>
                    <a:lnTo>
                      <a:pt x="469" y="44"/>
                    </a:lnTo>
                    <a:lnTo>
                      <a:pt x="465" y="46"/>
                    </a:lnTo>
                    <a:lnTo>
                      <a:pt x="463" y="47"/>
                    </a:lnTo>
                    <a:lnTo>
                      <a:pt x="461" y="49"/>
                    </a:lnTo>
                    <a:lnTo>
                      <a:pt x="460" y="49"/>
                    </a:lnTo>
                    <a:lnTo>
                      <a:pt x="458" y="49"/>
                    </a:lnTo>
                    <a:lnTo>
                      <a:pt x="454" y="51"/>
                    </a:lnTo>
                    <a:lnTo>
                      <a:pt x="452" y="51"/>
                    </a:lnTo>
                    <a:lnTo>
                      <a:pt x="450" y="53"/>
                    </a:lnTo>
                    <a:lnTo>
                      <a:pt x="442" y="57"/>
                    </a:lnTo>
                    <a:lnTo>
                      <a:pt x="439" y="61"/>
                    </a:lnTo>
                    <a:lnTo>
                      <a:pt x="437" y="63"/>
                    </a:lnTo>
                    <a:lnTo>
                      <a:pt x="435" y="63"/>
                    </a:lnTo>
                    <a:lnTo>
                      <a:pt x="429" y="63"/>
                    </a:lnTo>
                    <a:lnTo>
                      <a:pt x="427" y="63"/>
                    </a:lnTo>
                    <a:lnTo>
                      <a:pt x="427" y="65"/>
                    </a:lnTo>
                    <a:lnTo>
                      <a:pt x="427" y="66"/>
                    </a:lnTo>
                    <a:lnTo>
                      <a:pt x="427" y="68"/>
                    </a:lnTo>
                    <a:lnTo>
                      <a:pt x="425" y="68"/>
                    </a:lnTo>
                    <a:lnTo>
                      <a:pt x="423" y="68"/>
                    </a:lnTo>
                    <a:lnTo>
                      <a:pt x="421" y="68"/>
                    </a:lnTo>
                    <a:lnTo>
                      <a:pt x="420" y="68"/>
                    </a:lnTo>
                    <a:lnTo>
                      <a:pt x="416" y="68"/>
                    </a:lnTo>
                    <a:lnTo>
                      <a:pt x="414" y="70"/>
                    </a:lnTo>
                    <a:lnTo>
                      <a:pt x="414" y="70"/>
                    </a:lnTo>
                    <a:lnTo>
                      <a:pt x="410" y="74"/>
                    </a:lnTo>
                    <a:lnTo>
                      <a:pt x="410" y="74"/>
                    </a:lnTo>
                    <a:lnTo>
                      <a:pt x="410" y="78"/>
                    </a:lnTo>
                    <a:lnTo>
                      <a:pt x="408" y="78"/>
                    </a:lnTo>
                    <a:lnTo>
                      <a:pt x="408" y="80"/>
                    </a:lnTo>
                    <a:lnTo>
                      <a:pt x="406" y="80"/>
                    </a:lnTo>
                    <a:lnTo>
                      <a:pt x="404" y="82"/>
                    </a:lnTo>
                    <a:lnTo>
                      <a:pt x="400" y="84"/>
                    </a:lnTo>
                    <a:lnTo>
                      <a:pt x="399" y="85"/>
                    </a:lnTo>
                    <a:lnTo>
                      <a:pt x="395" y="87"/>
                    </a:lnTo>
                    <a:lnTo>
                      <a:pt x="391" y="87"/>
                    </a:lnTo>
                    <a:lnTo>
                      <a:pt x="387" y="87"/>
                    </a:lnTo>
                    <a:lnTo>
                      <a:pt x="385" y="89"/>
                    </a:lnTo>
                    <a:lnTo>
                      <a:pt x="385" y="89"/>
                    </a:lnTo>
                    <a:lnTo>
                      <a:pt x="383" y="93"/>
                    </a:lnTo>
                    <a:lnTo>
                      <a:pt x="383" y="93"/>
                    </a:lnTo>
                    <a:lnTo>
                      <a:pt x="383" y="95"/>
                    </a:lnTo>
                    <a:lnTo>
                      <a:pt x="381" y="95"/>
                    </a:lnTo>
                    <a:lnTo>
                      <a:pt x="379" y="93"/>
                    </a:lnTo>
                    <a:lnTo>
                      <a:pt x="378" y="95"/>
                    </a:lnTo>
                    <a:lnTo>
                      <a:pt x="374" y="97"/>
                    </a:lnTo>
                    <a:lnTo>
                      <a:pt x="374" y="97"/>
                    </a:lnTo>
                    <a:lnTo>
                      <a:pt x="372" y="99"/>
                    </a:lnTo>
                    <a:lnTo>
                      <a:pt x="372" y="99"/>
                    </a:lnTo>
                    <a:lnTo>
                      <a:pt x="372" y="101"/>
                    </a:lnTo>
                    <a:lnTo>
                      <a:pt x="368" y="103"/>
                    </a:lnTo>
                    <a:lnTo>
                      <a:pt x="368" y="103"/>
                    </a:lnTo>
                    <a:lnTo>
                      <a:pt x="366" y="105"/>
                    </a:lnTo>
                    <a:lnTo>
                      <a:pt x="364" y="105"/>
                    </a:lnTo>
                    <a:lnTo>
                      <a:pt x="360" y="106"/>
                    </a:lnTo>
                    <a:lnTo>
                      <a:pt x="360" y="106"/>
                    </a:lnTo>
                    <a:lnTo>
                      <a:pt x="358" y="108"/>
                    </a:lnTo>
                    <a:lnTo>
                      <a:pt x="358" y="110"/>
                    </a:lnTo>
                    <a:lnTo>
                      <a:pt x="358" y="110"/>
                    </a:lnTo>
                    <a:lnTo>
                      <a:pt x="357" y="112"/>
                    </a:lnTo>
                    <a:lnTo>
                      <a:pt x="349" y="118"/>
                    </a:lnTo>
                    <a:lnTo>
                      <a:pt x="349" y="120"/>
                    </a:lnTo>
                    <a:lnTo>
                      <a:pt x="349" y="120"/>
                    </a:lnTo>
                    <a:lnTo>
                      <a:pt x="349" y="122"/>
                    </a:lnTo>
                    <a:lnTo>
                      <a:pt x="347" y="124"/>
                    </a:lnTo>
                    <a:lnTo>
                      <a:pt x="347" y="125"/>
                    </a:lnTo>
                    <a:lnTo>
                      <a:pt x="345" y="125"/>
                    </a:lnTo>
                    <a:lnTo>
                      <a:pt x="345" y="125"/>
                    </a:lnTo>
                    <a:lnTo>
                      <a:pt x="343" y="125"/>
                    </a:lnTo>
                    <a:lnTo>
                      <a:pt x="341" y="127"/>
                    </a:lnTo>
                    <a:lnTo>
                      <a:pt x="339" y="131"/>
                    </a:lnTo>
                    <a:lnTo>
                      <a:pt x="338" y="131"/>
                    </a:lnTo>
                    <a:lnTo>
                      <a:pt x="338" y="131"/>
                    </a:lnTo>
                    <a:lnTo>
                      <a:pt x="336" y="131"/>
                    </a:lnTo>
                    <a:lnTo>
                      <a:pt x="328" y="131"/>
                    </a:lnTo>
                    <a:lnTo>
                      <a:pt x="328" y="131"/>
                    </a:lnTo>
                    <a:lnTo>
                      <a:pt x="326" y="131"/>
                    </a:lnTo>
                    <a:lnTo>
                      <a:pt x="326" y="135"/>
                    </a:lnTo>
                    <a:lnTo>
                      <a:pt x="324" y="137"/>
                    </a:lnTo>
                    <a:lnTo>
                      <a:pt x="324" y="137"/>
                    </a:lnTo>
                    <a:lnTo>
                      <a:pt x="320" y="137"/>
                    </a:lnTo>
                    <a:lnTo>
                      <a:pt x="320" y="137"/>
                    </a:lnTo>
                    <a:lnTo>
                      <a:pt x="317" y="141"/>
                    </a:lnTo>
                    <a:lnTo>
                      <a:pt x="317" y="141"/>
                    </a:lnTo>
                    <a:lnTo>
                      <a:pt x="315" y="141"/>
                    </a:lnTo>
                    <a:lnTo>
                      <a:pt x="313" y="146"/>
                    </a:lnTo>
                    <a:lnTo>
                      <a:pt x="313" y="148"/>
                    </a:lnTo>
                    <a:lnTo>
                      <a:pt x="311" y="150"/>
                    </a:lnTo>
                    <a:lnTo>
                      <a:pt x="313" y="154"/>
                    </a:lnTo>
                    <a:lnTo>
                      <a:pt x="311" y="156"/>
                    </a:lnTo>
                    <a:lnTo>
                      <a:pt x="311" y="156"/>
                    </a:lnTo>
                    <a:lnTo>
                      <a:pt x="309" y="156"/>
                    </a:lnTo>
                    <a:lnTo>
                      <a:pt x="307" y="158"/>
                    </a:lnTo>
                    <a:lnTo>
                      <a:pt x="307" y="160"/>
                    </a:lnTo>
                    <a:lnTo>
                      <a:pt x="307" y="160"/>
                    </a:lnTo>
                    <a:lnTo>
                      <a:pt x="309" y="162"/>
                    </a:lnTo>
                    <a:lnTo>
                      <a:pt x="309" y="163"/>
                    </a:lnTo>
                    <a:lnTo>
                      <a:pt x="313" y="183"/>
                    </a:lnTo>
                    <a:lnTo>
                      <a:pt x="315" y="190"/>
                    </a:lnTo>
                    <a:lnTo>
                      <a:pt x="315" y="194"/>
                    </a:lnTo>
                    <a:lnTo>
                      <a:pt x="317" y="196"/>
                    </a:lnTo>
                    <a:lnTo>
                      <a:pt x="317" y="196"/>
                    </a:lnTo>
                    <a:lnTo>
                      <a:pt x="318" y="196"/>
                    </a:lnTo>
                    <a:lnTo>
                      <a:pt x="318" y="198"/>
                    </a:lnTo>
                    <a:lnTo>
                      <a:pt x="320" y="198"/>
                    </a:lnTo>
                    <a:lnTo>
                      <a:pt x="322" y="198"/>
                    </a:lnTo>
                    <a:lnTo>
                      <a:pt x="324" y="200"/>
                    </a:lnTo>
                    <a:lnTo>
                      <a:pt x="326" y="203"/>
                    </a:lnTo>
                    <a:lnTo>
                      <a:pt x="328" y="205"/>
                    </a:lnTo>
                    <a:lnTo>
                      <a:pt x="328" y="205"/>
                    </a:lnTo>
                    <a:lnTo>
                      <a:pt x="330" y="207"/>
                    </a:lnTo>
                    <a:lnTo>
                      <a:pt x="332" y="207"/>
                    </a:lnTo>
                    <a:lnTo>
                      <a:pt x="334" y="207"/>
                    </a:lnTo>
                    <a:lnTo>
                      <a:pt x="336" y="207"/>
                    </a:lnTo>
                    <a:lnTo>
                      <a:pt x="338" y="207"/>
                    </a:lnTo>
                    <a:lnTo>
                      <a:pt x="341" y="211"/>
                    </a:lnTo>
                    <a:lnTo>
                      <a:pt x="343" y="213"/>
                    </a:lnTo>
                    <a:lnTo>
                      <a:pt x="343" y="213"/>
                    </a:lnTo>
                    <a:lnTo>
                      <a:pt x="345" y="213"/>
                    </a:lnTo>
                    <a:lnTo>
                      <a:pt x="349" y="211"/>
                    </a:lnTo>
                    <a:lnTo>
                      <a:pt x="349" y="211"/>
                    </a:lnTo>
                    <a:lnTo>
                      <a:pt x="351" y="211"/>
                    </a:lnTo>
                    <a:lnTo>
                      <a:pt x="357" y="211"/>
                    </a:lnTo>
                    <a:lnTo>
                      <a:pt x="357" y="213"/>
                    </a:lnTo>
                    <a:lnTo>
                      <a:pt x="362" y="217"/>
                    </a:lnTo>
                    <a:lnTo>
                      <a:pt x="362" y="217"/>
                    </a:lnTo>
                    <a:lnTo>
                      <a:pt x="364" y="217"/>
                    </a:lnTo>
                    <a:lnTo>
                      <a:pt x="366" y="215"/>
                    </a:lnTo>
                    <a:lnTo>
                      <a:pt x="372" y="215"/>
                    </a:lnTo>
                    <a:lnTo>
                      <a:pt x="376" y="213"/>
                    </a:lnTo>
                    <a:lnTo>
                      <a:pt x="379" y="211"/>
                    </a:lnTo>
                    <a:lnTo>
                      <a:pt x="383" y="209"/>
                    </a:lnTo>
                    <a:lnTo>
                      <a:pt x="385" y="209"/>
                    </a:lnTo>
                    <a:lnTo>
                      <a:pt x="385" y="209"/>
                    </a:lnTo>
                    <a:lnTo>
                      <a:pt x="389" y="211"/>
                    </a:lnTo>
                    <a:lnTo>
                      <a:pt x="391" y="211"/>
                    </a:lnTo>
                    <a:lnTo>
                      <a:pt x="393" y="211"/>
                    </a:lnTo>
                    <a:lnTo>
                      <a:pt x="395" y="211"/>
                    </a:lnTo>
                    <a:lnTo>
                      <a:pt x="397" y="211"/>
                    </a:lnTo>
                    <a:lnTo>
                      <a:pt x="399" y="209"/>
                    </a:lnTo>
                    <a:lnTo>
                      <a:pt x="399" y="207"/>
                    </a:lnTo>
                    <a:lnTo>
                      <a:pt x="399" y="207"/>
                    </a:lnTo>
                    <a:lnTo>
                      <a:pt x="400" y="203"/>
                    </a:lnTo>
                    <a:lnTo>
                      <a:pt x="400" y="202"/>
                    </a:lnTo>
                    <a:lnTo>
                      <a:pt x="402" y="200"/>
                    </a:lnTo>
                    <a:lnTo>
                      <a:pt x="404" y="198"/>
                    </a:lnTo>
                    <a:lnTo>
                      <a:pt x="408" y="198"/>
                    </a:lnTo>
                    <a:lnTo>
                      <a:pt x="410" y="198"/>
                    </a:lnTo>
                    <a:lnTo>
                      <a:pt x="412" y="198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16" y="198"/>
                    </a:lnTo>
                    <a:lnTo>
                      <a:pt x="416" y="200"/>
                    </a:lnTo>
                    <a:lnTo>
                      <a:pt x="416" y="200"/>
                    </a:lnTo>
                    <a:lnTo>
                      <a:pt x="418" y="202"/>
                    </a:lnTo>
                    <a:lnTo>
                      <a:pt x="418" y="202"/>
                    </a:lnTo>
                    <a:lnTo>
                      <a:pt x="418" y="202"/>
                    </a:lnTo>
                    <a:lnTo>
                      <a:pt x="418" y="203"/>
                    </a:lnTo>
                    <a:lnTo>
                      <a:pt x="416" y="203"/>
                    </a:lnTo>
                    <a:lnTo>
                      <a:pt x="416" y="205"/>
                    </a:lnTo>
                    <a:lnTo>
                      <a:pt x="416" y="205"/>
                    </a:lnTo>
                    <a:lnTo>
                      <a:pt x="416" y="207"/>
                    </a:lnTo>
                    <a:lnTo>
                      <a:pt x="416" y="209"/>
                    </a:lnTo>
                    <a:lnTo>
                      <a:pt x="416" y="211"/>
                    </a:lnTo>
                    <a:lnTo>
                      <a:pt x="418" y="213"/>
                    </a:lnTo>
                    <a:lnTo>
                      <a:pt x="418" y="213"/>
                    </a:lnTo>
                    <a:lnTo>
                      <a:pt x="418" y="215"/>
                    </a:lnTo>
                    <a:lnTo>
                      <a:pt x="418" y="215"/>
                    </a:lnTo>
                    <a:lnTo>
                      <a:pt x="418" y="217"/>
                    </a:lnTo>
                    <a:lnTo>
                      <a:pt x="418" y="217"/>
                    </a:lnTo>
                    <a:lnTo>
                      <a:pt x="418" y="219"/>
                    </a:lnTo>
                    <a:lnTo>
                      <a:pt x="418" y="221"/>
                    </a:lnTo>
                    <a:lnTo>
                      <a:pt x="418" y="221"/>
                    </a:lnTo>
                    <a:lnTo>
                      <a:pt x="418" y="222"/>
                    </a:lnTo>
                    <a:lnTo>
                      <a:pt x="420" y="224"/>
                    </a:lnTo>
                    <a:lnTo>
                      <a:pt x="421" y="226"/>
                    </a:lnTo>
                    <a:lnTo>
                      <a:pt x="421" y="228"/>
                    </a:lnTo>
                    <a:lnTo>
                      <a:pt x="421" y="230"/>
                    </a:lnTo>
                    <a:lnTo>
                      <a:pt x="421" y="230"/>
                    </a:lnTo>
                    <a:lnTo>
                      <a:pt x="421" y="232"/>
                    </a:lnTo>
                    <a:lnTo>
                      <a:pt x="421" y="232"/>
                    </a:lnTo>
                    <a:lnTo>
                      <a:pt x="421" y="234"/>
                    </a:lnTo>
                    <a:lnTo>
                      <a:pt x="421" y="236"/>
                    </a:lnTo>
                    <a:lnTo>
                      <a:pt x="421" y="238"/>
                    </a:lnTo>
                    <a:lnTo>
                      <a:pt x="420" y="240"/>
                    </a:lnTo>
                    <a:lnTo>
                      <a:pt x="420" y="240"/>
                    </a:lnTo>
                    <a:lnTo>
                      <a:pt x="418" y="240"/>
                    </a:lnTo>
                    <a:lnTo>
                      <a:pt x="418" y="240"/>
                    </a:lnTo>
                    <a:lnTo>
                      <a:pt x="418" y="242"/>
                    </a:lnTo>
                    <a:lnTo>
                      <a:pt x="416" y="242"/>
                    </a:lnTo>
                    <a:lnTo>
                      <a:pt x="416" y="243"/>
                    </a:lnTo>
                    <a:lnTo>
                      <a:pt x="414" y="243"/>
                    </a:lnTo>
                    <a:lnTo>
                      <a:pt x="412" y="243"/>
                    </a:lnTo>
                    <a:lnTo>
                      <a:pt x="410" y="242"/>
                    </a:lnTo>
                    <a:lnTo>
                      <a:pt x="408" y="242"/>
                    </a:lnTo>
                    <a:lnTo>
                      <a:pt x="406" y="242"/>
                    </a:lnTo>
                    <a:lnTo>
                      <a:pt x="404" y="242"/>
                    </a:lnTo>
                    <a:lnTo>
                      <a:pt x="402" y="242"/>
                    </a:lnTo>
                    <a:lnTo>
                      <a:pt x="400" y="242"/>
                    </a:lnTo>
                    <a:lnTo>
                      <a:pt x="397" y="242"/>
                    </a:lnTo>
                    <a:lnTo>
                      <a:pt x="397" y="242"/>
                    </a:lnTo>
                    <a:lnTo>
                      <a:pt x="383" y="245"/>
                    </a:lnTo>
                    <a:lnTo>
                      <a:pt x="378" y="247"/>
                    </a:lnTo>
                    <a:lnTo>
                      <a:pt x="374" y="247"/>
                    </a:lnTo>
                    <a:lnTo>
                      <a:pt x="374" y="247"/>
                    </a:lnTo>
                    <a:lnTo>
                      <a:pt x="372" y="247"/>
                    </a:lnTo>
                    <a:lnTo>
                      <a:pt x="362" y="251"/>
                    </a:lnTo>
                    <a:lnTo>
                      <a:pt x="358" y="253"/>
                    </a:lnTo>
                    <a:lnTo>
                      <a:pt x="357" y="253"/>
                    </a:lnTo>
                    <a:lnTo>
                      <a:pt x="355" y="255"/>
                    </a:lnTo>
                    <a:lnTo>
                      <a:pt x="353" y="257"/>
                    </a:lnTo>
                    <a:lnTo>
                      <a:pt x="353" y="257"/>
                    </a:lnTo>
                    <a:lnTo>
                      <a:pt x="353" y="259"/>
                    </a:lnTo>
                    <a:lnTo>
                      <a:pt x="353" y="259"/>
                    </a:lnTo>
                    <a:lnTo>
                      <a:pt x="353" y="259"/>
                    </a:lnTo>
                    <a:lnTo>
                      <a:pt x="353" y="259"/>
                    </a:lnTo>
                    <a:lnTo>
                      <a:pt x="355" y="262"/>
                    </a:lnTo>
                    <a:lnTo>
                      <a:pt x="357" y="268"/>
                    </a:lnTo>
                    <a:lnTo>
                      <a:pt x="358" y="270"/>
                    </a:lnTo>
                    <a:lnTo>
                      <a:pt x="358" y="272"/>
                    </a:lnTo>
                    <a:lnTo>
                      <a:pt x="357" y="274"/>
                    </a:lnTo>
                    <a:lnTo>
                      <a:pt x="357" y="274"/>
                    </a:lnTo>
                    <a:lnTo>
                      <a:pt x="357" y="276"/>
                    </a:lnTo>
                    <a:lnTo>
                      <a:pt x="355" y="278"/>
                    </a:lnTo>
                    <a:lnTo>
                      <a:pt x="353" y="278"/>
                    </a:lnTo>
                    <a:lnTo>
                      <a:pt x="351" y="278"/>
                    </a:lnTo>
                    <a:lnTo>
                      <a:pt x="347" y="278"/>
                    </a:lnTo>
                    <a:lnTo>
                      <a:pt x="347" y="280"/>
                    </a:lnTo>
                    <a:lnTo>
                      <a:pt x="347" y="280"/>
                    </a:lnTo>
                    <a:lnTo>
                      <a:pt x="345" y="280"/>
                    </a:lnTo>
                    <a:lnTo>
                      <a:pt x="345" y="281"/>
                    </a:lnTo>
                    <a:lnTo>
                      <a:pt x="345" y="283"/>
                    </a:lnTo>
                    <a:lnTo>
                      <a:pt x="347" y="283"/>
                    </a:lnTo>
                    <a:lnTo>
                      <a:pt x="353" y="291"/>
                    </a:lnTo>
                    <a:lnTo>
                      <a:pt x="357" y="295"/>
                    </a:lnTo>
                    <a:lnTo>
                      <a:pt x="362" y="295"/>
                    </a:lnTo>
                    <a:lnTo>
                      <a:pt x="364" y="295"/>
                    </a:lnTo>
                    <a:lnTo>
                      <a:pt x="364" y="295"/>
                    </a:lnTo>
                    <a:lnTo>
                      <a:pt x="366" y="295"/>
                    </a:lnTo>
                    <a:lnTo>
                      <a:pt x="366" y="295"/>
                    </a:lnTo>
                    <a:lnTo>
                      <a:pt x="368" y="295"/>
                    </a:lnTo>
                    <a:lnTo>
                      <a:pt x="374" y="300"/>
                    </a:lnTo>
                    <a:lnTo>
                      <a:pt x="376" y="302"/>
                    </a:lnTo>
                    <a:lnTo>
                      <a:pt x="378" y="304"/>
                    </a:lnTo>
                    <a:lnTo>
                      <a:pt x="378" y="306"/>
                    </a:lnTo>
                    <a:lnTo>
                      <a:pt x="379" y="314"/>
                    </a:lnTo>
                    <a:lnTo>
                      <a:pt x="379" y="318"/>
                    </a:lnTo>
                    <a:lnTo>
                      <a:pt x="379" y="320"/>
                    </a:lnTo>
                    <a:lnTo>
                      <a:pt x="379" y="320"/>
                    </a:lnTo>
                    <a:lnTo>
                      <a:pt x="378" y="321"/>
                    </a:lnTo>
                    <a:lnTo>
                      <a:pt x="378" y="321"/>
                    </a:lnTo>
                    <a:lnTo>
                      <a:pt x="364" y="327"/>
                    </a:lnTo>
                    <a:lnTo>
                      <a:pt x="364" y="327"/>
                    </a:lnTo>
                    <a:lnTo>
                      <a:pt x="362" y="327"/>
                    </a:lnTo>
                    <a:lnTo>
                      <a:pt x="360" y="327"/>
                    </a:lnTo>
                    <a:lnTo>
                      <a:pt x="360" y="327"/>
                    </a:lnTo>
                    <a:lnTo>
                      <a:pt x="360" y="327"/>
                    </a:lnTo>
                    <a:lnTo>
                      <a:pt x="360" y="327"/>
                    </a:lnTo>
                    <a:lnTo>
                      <a:pt x="360" y="327"/>
                    </a:lnTo>
                    <a:lnTo>
                      <a:pt x="360" y="325"/>
                    </a:lnTo>
                    <a:lnTo>
                      <a:pt x="360" y="323"/>
                    </a:lnTo>
                    <a:lnTo>
                      <a:pt x="358" y="323"/>
                    </a:lnTo>
                    <a:lnTo>
                      <a:pt x="358" y="321"/>
                    </a:lnTo>
                    <a:lnTo>
                      <a:pt x="358" y="320"/>
                    </a:lnTo>
                    <a:lnTo>
                      <a:pt x="357" y="320"/>
                    </a:lnTo>
                    <a:lnTo>
                      <a:pt x="357" y="318"/>
                    </a:lnTo>
                    <a:lnTo>
                      <a:pt x="357" y="318"/>
                    </a:lnTo>
                    <a:lnTo>
                      <a:pt x="355" y="318"/>
                    </a:lnTo>
                    <a:lnTo>
                      <a:pt x="353" y="318"/>
                    </a:lnTo>
                    <a:lnTo>
                      <a:pt x="353" y="318"/>
                    </a:lnTo>
                    <a:lnTo>
                      <a:pt x="351" y="318"/>
                    </a:lnTo>
                    <a:lnTo>
                      <a:pt x="351" y="318"/>
                    </a:lnTo>
                    <a:lnTo>
                      <a:pt x="351" y="318"/>
                    </a:lnTo>
                    <a:lnTo>
                      <a:pt x="349" y="318"/>
                    </a:lnTo>
                    <a:lnTo>
                      <a:pt x="349" y="318"/>
                    </a:lnTo>
                    <a:lnTo>
                      <a:pt x="347" y="320"/>
                    </a:lnTo>
                    <a:lnTo>
                      <a:pt x="349" y="325"/>
                    </a:lnTo>
                    <a:lnTo>
                      <a:pt x="349" y="325"/>
                    </a:lnTo>
                    <a:lnTo>
                      <a:pt x="349" y="327"/>
                    </a:lnTo>
                    <a:lnTo>
                      <a:pt x="349" y="327"/>
                    </a:lnTo>
                    <a:lnTo>
                      <a:pt x="349" y="331"/>
                    </a:lnTo>
                    <a:lnTo>
                      <a:pt x="347" y="331"/>
                    </a:lnTo>
                    <a:lnTo>
                      <a:pt x="347" y="333"/>
                    </a:lnTo>
                    <a:lnTo>
                      <a:pt x="349" y="335"/>
                    </a:lnTo>
                    <a:lnTo>
                      <a:pt x="349" y="339"/>
                    </a:lnTo>
                    <a:lnTo>
                      <a:pt x="349" y="346"/>
                    </a:lnTo>
                    <a:lnTo>
                      <a:pt x="349" y="350"/>
                    </a:lnTo>
                    <a:lnTo>
                      <a:pt x="351" y="352"/>
                    </a:lnTo>
                    <a:lnTo>
                      <a:pt x="357" y="359"/>
                    </a:lnTo>
                    <a:lnTo>
                      <a:pt x="358" y="363"/>
                    </a:lnTo>
                    <a:lnTo>
                      <a:pt x="358" y="365"/>
                    </a:lnTo>
                    <a:lnTo>
                      <a:pt x="358" y="365"/>
                    </a:lnTo>
                    <a:lnTo>
                      <a:pt x="358" y="367"/>
                    </a:lnTo>
                    <a:lnTo>
                      <a:pt x="357" y="369"/>
                    </a:lnTo>
                    <a:lnTo>
                      <a:pt x="357" y="371"/>
                    </a:lnTo>
                    <a:lnTo>
                      <a:pt x="357" y="371"/>
                    </a:lnTo>
                    <a:lnTo>
                      <a:pt x="355" y="373"/>
                    </a:lnTo>
                    <a:lnTo>
                      <a:pt x="355" y="373"/>
                    </a:lnTo>
                    <a:lnTo>
                      <a:pt x="353" y="373"/>
                    </a:lnTo>
                    <a:lnTo>
                      <a:pt x="351" y="373"/>
                    </a:lnTo>
                    <a:lnTo>
                      <a:pt x="351" y="373"/>
                    </a:lnTo>
                    <a:lnTo>
                      <a:pt x="349" y="373"/>
                    </a:lnTo>
                    <a:lnTo>
                      <a:pt x="347" y="375"/>
                    </a:lnTo>
                    <a:lnTo>
                      <a:pt x="343" y="375"/>
                    </a:lnTo>
                    <a:lnTo>
                      <a:pt x="339" y="373"/>
                    </a:lnTo>
                    <a:lnTo>
                      <a:pt x="338" y="371"/>
                    </a:lnTo>
                    <a:lnTo>
                      <a:pt x="330" y="365"/>
                    </a:lnTo>
                    <a:lnTo>
                      <a:pt x="330" y="363"/>
                    </a:lnTo>
                    <a:lnTo>
                      <a:pt x="328" y="363"/>
                    </a:lnTo>
                    <a:lnTo>
                      <a:pt x="330" y="361"/>
                    </a:lnTo>
                    <a:lnTo>
                      <a:pt x="330" y="361"/>
                    </a:lnTo>
                    <a:lnTo>
                      <a:pt x="330" y="359"/>
                    </a:lnTo>
                    <a:lnTo>
                      <a:pt x="332" y="358"/>
                    </a:lnTo>
                    <a:lnTo>
                      <a:pt x="332" y="356"/>
                    </a:lnTo>
                    <a:lnTo>
                      <a:pt x="332" y="354"/>
                    </a:lnTo>
                    <a:lnTo>
                      <a:pt x="330" y="354"/>
                    </a:lnTo>
                    <a:lnTo>
                      <a:pt x="328" y="354"/>
                    </a:lnTo>
                    <a:lnTo>
                      <a:pt x="324" y="356"/>
                    </a:lnTo>
                    <a:lnTo>
                      <a:pt x="320" y="356"/>
                    </a:lnTo>
                    <a:lnTo>
                      <a:pt x="320" y="358"/>
                    </a:lnTo>
                    <a:lnTo>
                      <a:pt x="318" y="359"/>
                    </a:lnTo>
                    <a:lnTo>
                      <a:pt x="318" y="359"/>
                    </a:lnTo>
                    <a:lnTo>
                      <a:pt x="317" y="365"/>
                    </a:lnTo>
                    <a:lnTo>
                      <a:pt x="317" y="365"/>
                    </a:lnTo>
                    <a:lnTo>
                      <a:pt x="315" y="367"/>
                    </a:lnTo>
                    <a:lnTo>
                      <a:pt x="313" y="367"/>
                    </a:lnTo>
                    <a:lnTo>
                      <a:pt x="311" y="367"/>
                    </a:lnTo>
                    <a:lnTo>
                      <a:pt x="309" y="367"/>
                    </a:lnTo>
                    <a:lnTo>
                      <a:pt x="309" y="367"/>
                    </a:lnTo>
                    <a:lnTo>
                      <a:pt x="309" y="365"/>
                    </a:lnTo>
                    <a:lnTo>
                      <a:pt x="307" y="363"/>
                    </a:lnTo>
                    <a:lnTo>
                      <a:pt x="307" y="361"/>
                    </a:lnTo>
                    <a:lnTo>
                      <a:pt x="305" y="359"/>
                    </a:lnTo>
                    <a:lnTo>
                      <a:pt x="303" y="359"/>
                    </a:lnTo>
                    <a:lnTo>
                      <a:pt x="297" y="361"/>
                    </a:lnTo>
                    <a:lnTo>
                      <a:pt x="296" y="361"/>
                    </a:lnTo>
                    <a:lnTo>
                      <a:pt x="292" y="359"/>
                    </a:lnTo>
                    <a:lnTo>
                      <a:pt x="286" y="358"/>
                    </a:lnTo>
                    <a:lnTo>
                      <a:pt x="282" y="358"/>
                    </a:lnTo>
                    <a:lnTo>
                      <a:pt x="278" y="358"/>
                    </a:lnTo>
                    <a:lnTo>
                      <a:pt x="276" y="358"/>
                    </a:lnTo>
                    <a:lnTo>
                      <a:pt x="275" y="358"/>
                    </a:lnTo>
                    <a:lnTo>
                      <a:pt x="273" y="356"/>
                    </a:lnTo>
                    <a:lnTo>
                      <a:pt x="271" y="356"/>
                    </a:lnTo>
                    <a:lnTo>
                      <a:pt x="271" y="354"/>
                    </a:lnTo>
                    <a:lnTo>
                      <a:pt x="271" y="352"/>
                    </a:lnTo>
                    <a:lnTo>
                      <a:pt x="271" y="352"/>
                    </a:lnTo>
                    <a:lnTo>
                      <a:pt x="271" y="350"/>
                    </a:lnTo>
                    <a:lnTo>
                      <a:pt x="271" y="348"/>
                    </a:lnTo>
                    <a:lnTo>
                      <a:pt x="271" y="348"/>
                    </a:lnTo>
                    <a:lnTo>
                      <a:pt x="269" y="348"/>
                    </a:lnTo>
                    <a:lnTo>
                      <a:pt x="269" y="348"/>
                    </a:lnTo>
                    <a:lnTo>
                      <a:pt x="267" y="350"/>
                    </a:lnTo>
                    <a:lnTo>
                      <a:pt x="265" y="350"/>
                    </a:lnTo>
                    <a:lnTo>
                      <a:pt x="263" y="352"/>
                    </a:lnTo>
                    <a:lnTo>
                      <a:pt x="263" y="352"/>
                    </a:lnTo>
                    <a:lnTo>
                      <a:pt x="263" y="354"/>
                    </a:lnTo>
                    <a:lnTo>
                      <a:pt x="263" y="358"/>
                    </a:lnTo>
                    <a:lnTo>
                      <a:pt x="261" y="359"/>
                    </a:lnTo>
                    <a:lnTo>
                      <a:pt x="261" y="361"/>
                    </a:lnTo>
                    <a:lnTo>
                      <a:pt x="261" y="365"/>
                    </a:lnTo>
                    <a:lnTo>
                      <a:pt x="261" y="369"/>
                    </a:lnTo>
                    <a:lnTo>
                      <a:pt x="261" y="371"/>
                    </a:lnTo>
                    <a:lnTo>
                      <a:pt x="261" y="375"/>
                    </a:lnTo>
                    <a:lnTo>
                      <a:pt x="261" y="375"/>
                    </a:lnTo>
                    <a:lnTo>
                      <a:pt x="261" y="378"/>
                    </a:lnTo>
                    <a:lnTo>
                      <a:pt x="257" y="382"/>
                    </a:lnTo>
                    <a:lnTo>
                      <a:pt x="246" y="390"/>
                    </a:lnTo>
                    <a:lnTo>
                      <a:pt x="244" y="392"/>
                    </a:lnTo>
                    <a:lnTo>
                      <a:pt x="244" y="392"/>
                    </a:lnTo>
                    <a:lnTo>
                      <a:pt x="246" y="394"/>
                    </a:lnTo>
                    <a:lnTo>
                      <a:pt x="246" y="396"/>
                    </a:lnTo>
                    <a:lnTo>
                      <a:pt x="248" y="396"/>
                    </a:lnTo>
                    <a:lnTo>
                      <a:pt x="248" y="396"/>
                    </a:lnTo>
                    <a:lnTo>
                      <a:pt x="248" y="398"/>
                    </a:lnTo>
                    <a:lnTo>
                      <a:pt x="246" y="398"/>
                    </a:lnTo>
                    <a:lnTo>
                      <a:pt x="246" y="399"/>
                    </a:lnTo>
                    <a:lnTo>
                      <a:pt x="246" y="401"/>
                    </a:lnTo>
                    <a:lnTo>
                      <a:pt x="244" y="401"/>
                    </a:lnTo>
                    <a:lnTo>
                      <a:pt x="235" y="407"/>
                    </a:lnTo>
                    <a:lnTo>
                      <a:pt x="227" y="409"/>
                    </a:lnTo>
                    <a:lnTo>
                      <a:pt x="223" y="411"/>
                    </a:lnTo>
                    <a:lnTo>
                      <a:pt x="221" y="413"/>
                    </a:lnTo>
                    <a:lnTo>
                      <a:pt x="219" y="413"/>
                    </a:lnTo>
                    <a:lnTo>
                      <a:pt x="217" y="411"/>
                    </a:lnTo>
                    <a:lnTo>
                      <a:pt x="215" y="409"/>
                    </a:lnTo>
                    <a:lnTo>
                      <a:pt x="215" y="409"/>
                    </a:lnTo>
                    <a:lnTo>
                      <a:pt x="214" y="407"/>
                    </a:lnTo>
                    <a:lnTo>
                      <a:pt x="214" y="407"/>
                    </a:lnTo>
                    <a:lnTo>
                      <a:pt x="212" y="409"/>
                    </a:lnTo>
                    <a:lnTo>
                      <a:pt x="212" y="409"/>
                    </a:lnTo>
                    <a:lnTo>
                      <a:pt x="212" y="411"/>
                    </a:lnTo>
                    <a:lnTo>
                      <a:pt x="214" y="413"/>
                    </a:lnTo>
                    <a:lnTo>
                      <a:pt x="214" y="415"/>
                    </a:lnTo>
                    <a:lnTo>
                      <a:pt x="212" y="415"/>
                    </a:lnTo>
                    <a:lnTo>
                      <a:pt x="212" y="418"/>
                    </a:lnTo>
                    <a:lnTo>
                      <a:pt x="210" y="420"/>
                    </a:lnTo>
                    <a:lnTo>
                      <a:pt x="210" y="422"/>
                    </a:lnTo>
                    <a:lnTo>
                      <a:pt x="210" y="422"/>
                    </a:lnTo>
                    <a:lnTo>
                      <a:pt x="210" y="424"/>
                    </a:lnTo>
                    <a:lnTo>
                      <a:pt x="208" y="424"/>
                    </a:lnTo>
                    <a:lnTo>
                      <a:pt x="208" y="424"/>
                    </a:lnTo>
                    <a:lnTo>
                      <a:pt x="204" y="422"/>
                    </a:lnTo>
                    <a:lnTo>
                      <a:pt x="204" y="422"/>
                    </a:lnTo>
                    <a:lnTo>
                      <a:pt x="202" y="422"/>
                    </a:lnTo>
                    <a:lnTo>
                      <a:pt x="196" y="420"/>
                    </a:lnTo>
                    <a:lnTo>
                      <a:pt x="196" y="418"/>
                    </a:lnTo>
                    <a:lnTo>
                      <a:pt x="194" y="417"/>
                    </a:lnTo>
                    <a:lnTo>
                      <a:pt x="194" y="415"/>
                    </a:lnTo>
                    <a:lnTo>
                      <a:pt x="194" y="413"/>
                    </a:lnTo>
                    <a:lnTo>
                      <a:pt x="187" y="409"/>
                    </a:lnTo>
                    <a:lnTo>
                      <a:pt x="185" y="407"/>
                    </a:lnTo>
                    <a:lnTo>
                      <a:pt x="185" y="407"/>
                    </a:lnTo>
                    <a:lnTo>
                      <a:pt x="183" y="405"/>
                    </a:lnTo>
                    <a:lnTo>
                      <a:pt x="183" y="399"/>
                    </a:lnTo>
                    <a:lnTo>
                      <a:pt x="183" y="398"/>
                    </a:lnTo>
                    <a:lnTo>
                      <a:pt x="185" y="394"/>
                    </a:lnTo>
                    <a:lnTo>
                      <a:pt x="185" y="392"/>
                    </a:lnTo>
                    <a:lnTo>
                      <a:pt x="187" y="390"/>
                    </a:lnTo>
                    <a:lnTo>
                      <a:pt x="189" y="390"/>
                    </a:lnTo>
                    <a:lnTo>
                      <a:pt x="189" y="390"/>
                    </a:lnTo>
                    <a:lnTo>
                      <a:pt x="191" y="392"/>
                    </a:lnTo>
                    <a:lnTo>
                      <a:pt x="193" y="394"/>
                    </a:lnTo>
                    <a:lnTo>
                      <a:pt x="193" y="394"/>
                    </a:lnTo>
                    <a:lnTo>
                      <a:pt x="194" y="394"/>
                    </a:lnTo>
                    <a:lnTo>
                      <a:pt x="196" y="396"/>
                    </a:lnTo>
                    <a:lnTo>
                      <a:pt x="198" y="396"/>
                    </a:lnTo>
                    <a:lnTo>
                      <a:pt x="200" y="398"/>
                    </a:lnTo>
                    <a:lnTo>
                      <a:pt x="200" y="398"/>
                    </a:lnTo>
                    <a:lnTo>
                      <a:pt x="202" y="396"/>
                    </a:lnTo>
                    <a:lnTo>
                      <a:pt x="206" y="394"/>
                    </a:lnTo>
                    <a:lnTo>
                      <a:pt x="208" y="394"/>
                    </a:lnTo>
                    <a:lnTo>
                      <a:pt x="208" y="394"/>
                    </a:lnTo>
                    <a:lnTo>
                      <a:pt x="212" y="396"/>
                    </a:lnTo>
                    <a:lnTo>
                      <a:pt x="212" y="396"/>
                    </a:lnTo>
                    <a:lnTo>
                      <a:pt x="212" y="396"/>
                    </a:lnTo>
                    <a:lnTo>
                      <a:pt x="214" y="396"/>
                    </a:lnTo>
                    <a:lnTo>
                      <a:pt x="214" y="396"/>
                    </a:lnTo>
                    <a:lnTo>
                      <a:pt x="215" y="394"/>
                    </a:lnTo>
                    <a:lnTo>
                      <a:pt x="215" y="392"/>
                    </a:lnTo>
                    <a:lnTo>
                      <a:pt x="217" y="388"/>
                    </a:lnTo>
                    <a:lnTo>
                      <a:pt x="221" y="384"/>
                    </a:lnTo>
                    <a:lnTo>
                      <a:pt x="223" y="382"/>
                    </a:lnTo>
                    <a:lnTo>
                      <a:pt x="223" y="380"/>
                    </a:lnTo>
                    <a:lnTo>
                      <a:pt x="223" y="380"/>
                    </a:lnTo>
                    <a:lnTo>
                      <a:pt x="217" y="377"/>
                    </a:lnTo>
                    <a:lnTo>
                      <a:pt x="215" y="375"/>
                    </a:lnTo>
                    <a:lnTo>
                      <a:pt x="215" y="373"/>
                    </a:lnTo>
                    <a:lnTo>
                      <a:pt x="215" y="371"/>
                    </a:lnTo>
                    <a:lnTo>
                      <a:pt x="217" y="367"/>
                    </a:lnTo>
                    <a:lnTo>
                      <a:pt x="221" y="361"/>
                    </a:lnTo>
                    <a:lnTo>
                      <a:pt x="221" y="359"/>
                    </a:lnTo>
                    <a:lnTo>
                      <a:pt x="223" y="356"/>
                    </a:lnTo>
                    <a:lnTo>
                      <a:pt x="221" y="354"/>
                    </a:lnTo>
                    <a:lnTo>
                      <a:pt x="221" y="354"/>
                    </a:lnTo>
                    <a:lnTo>
                      <a:pt x="221" y="352"/>
                    </a:lnTo>
                    <a:lnTo>
                      <a:pt x="219" y="352"/>
                    </a:lnTo>
                    <a:lnTo>
                      <a:pt x="217" y="352"/>
                    </a:lnTo>
                    <a:lnTo>
                      <a:pt x="217" y="350"/>
                    </a:lnTo>
                    <a:lnTo>
                      <a:pt x="215" y="350"/>
                    </a:lnTo>
                    <a:lnTo>
                      <a:pt x="215" y="348"/>
                    </a:lnTo>
                    <a:lnTo>
                      <a:pt x="214" y="340"/>
                    </a:lnTo>
                    <a:lnTo>
                      <a:pt x="214" y="340"/>
                    </a:lnTo>
                    <a:lnTo>
                      <a:pt x="214" y="339"/>
                    </a:lnTo>
                    <a:lnTo>
                      <a:pt x="214" y="337"/>
                    </a:lnTo>
                    <a:lnTo>
                      <a:pt x="215" y="331"/>
                    </a:lnTo>
                    <a:lnTo>
                      <a:pt x="215" y="329"/>
                    </a:lnTo>
                    <a:lnTo>
                      <a:pt x="217" y="329"/>
                    </a:lnTo>
                    <a:lnTo>
                      <a:pt x="219" y="327"/>
                    </a:lnTo>
                    <a:lnTo>
                      <a:pt x="221" y="329"/>
                    </a:lnTo>
                    <a:lnTo>
                      <a:pt x="225" y="331"/>
                    </a:lnTo>
                    <a:lnTo>
                      <a:pt x="227" y="331"/>
                    </a:lnTo>
                    <a:lnTo>
                      <a:pt x="229" y="331"/>
                    </a:lnTo>
                    <a:lnTo>
                      <a:pt x="229" y="331"/>
                    </a:lnTo>
                    <a:lnTo>
                      <a:pt x="231" y="329"/>
                    </a:lnTo>
                    <a:lnTo>
                      <a:pt x="231" y="327"/>
                    </a:lnTo>
                    <a:lnTo>
                      <a:pt x="231" y="327"/>
                    </a:lnTo>
                    <a:lnTo>
                      <a:pt x="231" y="325"/>
                    </a:lnTo>
                    <a:lnTo>
                      <a:pt x="231" y="314"/>
                    </a:lnTo>
                    <a:lnTo>
                      <a:pt x="227" y="310"/>
                    </a:lnTo>
                    <a:lnTo>
                      <a:pt x="225" y="306"/>
                    </a:lnTo>
                    <a:lnTo>
                      <a:pt x="223" y="304"/>
                    </a:lnTo>
                    <a:lnTo>
                      <a:pt x="223" y="304"/>
                    </a:lnTo>
                    <a:lnTo>
                      <a:pt x="223" y="302"/>
                    </a:lnTo>
                    <a:lnTo>
                      <a:pt x="225" y="300"/>
                    </a:lnTo>
                    <a:lnTo>
                      <a:pt x="223" y="297"/>
                    </a:lnTo>
                    <a:lnTo>
                      <a:pt x="219" y="291"/>
                    </a:lnTo>
                    <a:lnTo>
                      <a:pt x="217" y="291"/>
                    </a:lnTo>
                    <a:lnTo>
                      <a:pt x="217" y="289"/>
                    </a:lnTo>
                    <a:lnTo>
                      <a:pt x="215" y="289"/>
                    </a:lnTo>
                    <a:lnTo>
                      <a:pt x="214" y="289"/>
                    </a:lnTo>
                    <a:lnTo>
                      <a:pt x="212" y="289"/>
                    </a:lnTo>
                    <a:lnTo>
                      <a:pt x="202" y="295"/>
                    </a:lnTo>
                    <a:lnTo>
                      <a:pt x="196" y="297"/>
                    </a:lnTo>
                    <a:lnTo>
                      <a:pt x="191" y="297"/>
                    </a:lnTo>
                    <a:lnTo>
                      <a:pt x="177" y="300"/>
                    </a:lnTo>
                    <a:lnTo>
                      <a:pt x="174" y="300"/>
                    </a:lnTo>
                    <a:lnTo>
                      <a:pt x="170" y="299"/>
                    </a:lnTo>
                    <a:lnTo>
                      <a:pt x="164" y="297"/>
                    </a:lnTo>
                    <a:lnTo>
                      <a:pt x="160" y="297"/>
                    </a:lnTo>
                    <a:lnTo>
                      <a:pt x="156" y="297"/>
                    </a:lnTo>
                    <a:lnTo>
                      <a:pt x="153" y="297"/>
                    </a:lnTo>
                    <a:lnTo>
                      <a:pt x="149" y="297"/>
                    </a:lnTo>
                    <a:lnTo>
                      <a:pt x="147" y="297"/>
                    </a:lnTo>
                    <a:lnTo>
                      <a:pt x="145" y="295"/>
                    </a:lnTo>
                    <a:lnTo>
                      <a:pt x="145" y="295"/>
                    </a:lnTo>
                    <a:lnTo>
                      <a:pt x="143" y="293"/>
                    </a:lnTo>
                    <a:lnTo>
                      <a:pt x="143" y="291"/>
                    </a:lnTo>
                    <a:lnTo>
                      <a:pt x="143" y="289"/>
                    </a:lnTo>
                    <a:lnTo>
                      <a:pt x="145" y="289"/>
                    </a:lnTo>
                    <a:lnTo>
                      <a:pt x="147" y="285"/>
                    </a:lnTo>
                    <a:lnTo>
                      <a:pt x="147" y="285"/>
                    </a:lnTo>
                    <a:lnTo>
                      <a:pt x="149" y="283"/>
                    </a:lnTo>
                    <a:lnTo>
                      <a:pt x="147" y="281"/>
                    </a:lnTo>
                    <a:lnTo>
                      <a:pt x="147" y="280"/>
                    </a:lnTo>
                    <a:lnTo>
                      <a:pt x="145" y="278"/>
                    </a:lnTo>
                    <a:lnTo>
                      <a:pt x="145" y="276"/>
                    </a:lnTo>
                    <a:lnTo>
                      <a:pt x="145" y="274"/>
                    </a:lnTo>
                    <a:lnTo>
                      <a:pt x="145" y="274"/>
                    </a:lnTo>
                    <a:lnTo>
                      <a:pt x="145" y="274"/>
                    </a:lnTo>
                    <a:lnTo>
                      <a:pt x="147" y="274"/>
                    </a:lnTo>
                    <a:lnTo>
                      <a:pt x="149" y="274"/>
                    </a:lnTo>
                    <a:lnTo>
                      <a:pt x="151" y="278"/>
                    </a:lnTo>
                    <a:lnTo>
                      <a:pt x="153" y="280"/>
                    </a:lnTo>
                    <a:lnTo>
                      <a:pt x="154" y="280"/>
                    </a:lnTo>
                    <a:lnTo>
                      <a:pt x="156" y="281"/>
                    </a:lnTo>
                    <a:lnTo>
                      <a:pt x="158" y="281"/>
                    </a:lnTo>
                    <a:lnTo>
                      <a:pt x="162" y="281"/>
                    </a:lnTo>
                    <a:lnTo>
                      <a:pt x="164" y="280"/>
                    </a:lnTo>
                    <a:lnTo>
                      <a:pt x="166" y="280"/>
                    </a:lnTo>
                    <a:lnTo>
                      <a:pt x="168" y="280"/>
                    </a:lnTo>
                    <a:lnTo>
                      <a:pt x="170" y="278"/>
                    </a:lnTo>
                    <a:lnTo>
                      <a:pt x="172" y="276"/>
                    </a:lnTo>
                    <a:lnTo>
                      <a:pt x="172" y="276"/>
                    </a:lnTo>
                    <a:lnTo>
                      <a:pt x="172" y="274"/>
                    </a:lnTo>
                    <a:lnTo>
                      <a:pt x="172" y="274"/>
                    </a:lnTo>
                    <a:lnTo>
                      <a:pt x="172" y="272"/>
                    </a:lnTo>
                    <a:lnTo>
                      <a:pt x="172" y="272"/>
                    </a:lnTo>
                    <a:lnTo>
                      <a:pt x="170" y="272"/>
                    </a:lnTo>
                    <a:lnTo>
                      <a:pt x="164" y="274"/>
                    </a:lnTo>
                    <a:lnTo>
                      <a:pt x="162" y="274"/>
                    </a:lnTo>
                    <a:lnTo>
                      <a:pt x="158" y="274"/>
                    </a:lnTo>
                    <a:lnTo>
                      <a:pt x="154" y="274"/>
                    </a:lnTo>
                    <a:lnTo>
                      <a:pt x="153" y="272"/>
                    </a:lnTo>
                    <a:lnTo>
                      <a:pt x="153" y="270"/>
                    </a:lnTo>
                    <a:lnTo>
                      <a:pt x="153" y="270"/>
                    </a:lnTo>
                    <a:lnTo>
                      <a:pt x="153" y="268"/>
                    </a:lnTo>
                    <a:lnTo>
                      <a:pt x="153" y="268"/>
                    </a:lnTo>
                    <a:lnTo>
                      <a:pt x="153" y="268"/>
                    </a:lnTo>
                    <a:lnTo>
                      <a:pt x="154" y="266"/>
                    </a:lnTo>
                    <a:lnTo>
                      <a:pt x="154" y="268"/>
                    </a:lnTo>
                    <a:lnTo>
                      <a:pt x="156" y="268"/>
                    </a:lnTo>
                    <a:lnTo>
                      <a:pt x="158" y="268"/>
                    </a:lnTo>
                    <a:lnTo>
                      <a:pt x="160" y="268"/>
                    </a:lnTo>
                    <a:lnTo>
                      <a:pt x="160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2" y="264"/>
                    </a:lnTo>
                    <a:lnTo>
                      <a:pt x="158" y="262"/>
                    </a:lnTo>
                    <a:lnTo>
                      <a:pt x="158" y="261"/>
                    </a:lnTo>
                    <a:lnTo>
                      <a:pt x="158" y="261"/>
                    </a:lnTo>
                    <a:lnTo>
                      <a:pt x="158" y="259"/>
                    </a:lnTo>
                    <a:lnTo>
                      <a:pt x="160" y="255"/>
                    </a:lnTo>
                    <a:lnTo>
                      <a:pt x="162" y="253"/>
                    </a:lnTo>
                    <a:lnTo>
                      <a:pt x="162" y="251"/>
                    </a:lnTo>
                    <a:lnTo>
                      <a:pt x="162" y="251"/>
                    </a:lnTo>
                    <a:lnTo>
                      <a:pt x="162" y="251"/>
                    </a:lnTo>
                    <a:lnTo>
                      <a:pt x="160" y="251"/>
                    </a:lnTo>
                    <a:lnTo>
                      <a:pt x="160" y="251"/>
                    </a:lnTo>
                    <a:lnTo>
                      <a:pt x="156" y="251"/>
                    </a:lnTo>
                    <a:lnTo>
                      <a:pt x="151" y="253"/>
                    </a:lnTo>
                    <a:lnTo>
                      <a:pt x="147" y="253"/>
                    </a:lnTo>
                    <a:lnTo>
                      <a:pt x="141" y="253"/>
                    </a:lnTo>
                    <a:lnTo>
                      <a:pt x="139" y="253"/>
                    </a:lnTo>
                    <a:lnTo>
                      <a:pt x="137" y="253"/>
                    </a:lnTo>
                    <a:lnTo>
                      <a:pt x="137" y="253"/>
                    </a:lnTo>
                    <a:lnTo>
                      <a:pt x="137" y="255"/>
                    </a:lnTo>
                    <a:lnTo>
                      <a:pt x="137" y="257"/>
                    </a:lnTo>
                    <a:lnTo>
                      <a:pt x="137" y="257"/>
                    </a:lnTo>
                    <a:lnTo>
                      <a:pt x="137" y="257"/>
                    </a:lnTo>
                    <a:lnTo>
                      <a:pt x="135" y="259"/>
                    </a:lnTo>
                    <a:lnTo>
                      <a:pt x="133" y="261"/>
                    </a:lnTo>
                    <a:lnTo>
                      <a:pt x="133" y="261"/>
                    </a:lnTo>
                    <a:lnTo>
                      <a:pt x="133" y="261"/>
                    </a:lnTo>
                    <a:lnTo>
                      <a:pt x="133" y="262"/>
                    </a:lnTo>
                    <a:lnTo>
                      <a:pt x="133" y="266"/>
                    </a:lnTo>
                    <a:lnTo>
                      <a:pt x="135" y="268"/>
                    </a:lnTo>
                    <a:lnTo>
                      <a:pt x="133" y="272"/>
                    </a:lnTo>
                    <a:lnTo>
                      <a:pt x="133" y="272"/>
                    </a:lnTo>
                    <a:lnTo>
                      <a:pt x="133" y="274"/>
                    </a:lnTo>
                    <a:lnTo>
                      <a:pt x="132" y="274"/>
                    </a:lnTo>
                    <a:lnTo>
                      <a:pt x="132" y="274"/>
                    </a:lnTo>
                    <a:lnTo>
                      <a:pt x="130" y="274"/>
                    </a:lnTo>
                    <a:lnTo>
                      <a:pt x="128" y="272"/>
                    </a:lnTo>
                    <a:lnTo>
                      <a:pt x="128" y="272"/>
                    </a:lnTo>
                    <a:lnTo>
                      <a:pt x="128" y="274"/>
                    </a:lnTo>
                    <a:lnTo>
                      <a:pt x="124" y="276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18" y="278"/>
                    </a:lnTo>
                    <a:lnTo>
                      <a:pt x="116" y="278"/>
                    </a:lnTo>
                    <a:lnTo>
                      <a:pt x="116" y="276"/>
                    </a:lnTo>
                    <a:lnTo>
                      <a:pt x="112" y="274"/>
                    </a:lnTo>
                    <a:lnTo>
                      <a:pt x="111" y="274"/>
                    </a:lnTo>
                    <a:lnTo>
                      <a:pt x="111" y="274"/>
                    </a:lnTo>
                    <a:lnTo>
                      <a:pt x="109" y="272"/>
                    </a:lnTo>
                    <a:lnTo>
                      <a:pt x="109" y="272"/>
                    </a:lnTo>
                    <a:lnTo>
                      <a:pt x="107" y="270"/>
                    </a:lnTo>
                    <a:lnTo>
                      <a:pt x="105" y="268"/>
                    </a:lnTo>
                    <a:lnTo>
                      <a:pt x="103" y="268"/>
                    </a:lnTo>
                    <a:lnTo>
                      <a:pt x="99" y="268"/>
                    </a:lnTo>
                    <a:lnTo>
                      <a:pt x="99" y="268"/>
                    </a:lnTo>
                    <a:lnTo>
                      <a:pt x="99" y="270"/>
                    </a:lnTo>
                    <a:lnTo>
                      <a:pt x="101" y="276"/>
                    </a:lnTo>
                    <a:lnTo>
                      <a:pt x="101" y="278"/>
                    </a:lnTo>
                    <a:lnTo>
                      <a:pt x="101" y="280"/>
                    </a:lnTo>
                    <a:lnTo>
                      <a:pt x="101" y="281"/>
                    </a:lnTo>
                    <a:lnTo>
                      <a:pt x="101" y="285"/>
                    </a:lnTo>
                    <a:lnTo>
                      <a:pt x="101" y="285"/>
                    </a:lnTo>
                    <a:lnTo>
                      <a:pt x="101" y="287"/>
                    </a:lnTo>
                    <a:lnTo>
                      <a:pt x="103" y="287"/>
                    </a:lnTo>
                    <a:lnTo>
                      <a:pt x="107" y="287"/>
                    </a:lnTo>
                    <a:lnTo>
                      <a:pt x="109" y="287"/>
                    </a:lnTo>
                    <a:lnTo>
                      <a:pt x="111" y="287"/>
                    </a:lnTo>
                    <a:lnTo>
                      <a:pt x="112" y="289"/>
                    </a:lnTo>
                    <a:lnTo>
                      <a:pt x="114" y="287"/>
                    </a:lnTo>
                    <a:lnTo>
                      <a:pt x="114" y="287"/>
                    </a:lnTo>
                    <a:lnTo>
                      <a:pt x="116" y="287"/>
                    </a:lnTo>
                    <a:lnTo>
                      <a:pt x="116" y="287"/>
                    </a:lnTo>
                    <a:lnTo>
                      <a:pt x="118" y="289"/>
                    </a:lnTo>
                    <a:lnTo>
                      <a:pt x="118" y="289"/>
                    </a:lnTo>
                    <a:lnTo>
                      <a:pt x="118" y="291"/>
                    </a:lnTo>
                    <a:lnTo>
                      <a:pt x="118" y="293"/>
                    </a:lnTo>
                    <a:lnTo>
                      <a:pt x="118" y="295"/>
                    </a:lnTo>
                    <a:lnTo>
                      <a:pt x="118" y="297"/>
                    </a:lnTo>
                    <a:lnTo>
                      <a:pt x="118" y="299"/>
                    </a:lnTo>
                    <a:lnTo>
                      <a:pt x="116" y="300"/>
                    </a:lnTo>
                    <a:lnTo>
                      <a:pt x="116" y="302"/>
                    </a:lnTo>
                    <a:lnTo>
                      <a:pt x="114" y="304"/>
                    </a:lnTo>
                    <a:lnTo>
                      <a:pt x="112" y="304"/>
                    </a:lnTo>
                    <a:lnTo>
                      <a:pt x="111" y="304"/>
                    </a:lnTo>
                    <a:lnTo>
                      <a:pt x="107" y="304"/>
                    </a:lnTo>
                    <a:lnTo>
                      <a:pt x="105" y="304"/>
                    </a:lnTo>
                    <a:lnTo>
                      <a:pt x="103" y="304"/>
                    </a:lnTo>
                    <a:lnTo>
                      <a:pt x="103" y="302"/>
                    </a:lnTo>
                    <a:lnTo>
                      <a:pt x="101" y="299"/>
                    </a:lnTo>
                    <a:lnTo>
                      <a:pt x="101" y="299"/>
                    </a:lnTo>
                    <a:lnTo>
                      <a:pt x="99" y="297"/>
                    </a:lnTo>
                    <a:lnTo>
                      <a:pt x="97" y="297"/>
                    </a:lnTo>
                    <a:lnTo>
                      <a:pt x="97" y="295"/>
                    </a:lnTo>
                    <a:lnTo>
                      <a:pt x="97" y="291"/>
                    </a:lnTo>
                    <a:lnTo>
                      <a:pt x="95" y="289"/>
                    </a:lnTo>
                    <a:lnTo>
                      <a:pt x="95" y="289"/>
                    </a:lnTo>
                    <a:lnTo>
                      <a:pt x="93" y="289"/>
                    </a:lnTo>
                    <a:lnTo>
                      <a:pt x="93" y="289"/>
                    </a:lnTo>
                    <a:lnTo>
                      <a:pt x="93" y="291"/>
                    </a:lnTo>
                    <a:lnTo>
                      <a:pt x="92" y="295"/>
                    </a:lnTo>
                    <a:lnTo>
                      <a:pt x="93" y="299"/>
                    </a:lnTo>
                    <a:lnTo>
                      <a:pt x="93" y="300"/>
                    </a:lnTo>
                    <a:lnTo>
                      <a:pt x="93" y="302"/>
                    </a:lnTo>
                    <a:lnTo>
                      <a:pt x="93" y="304"/>
                    </a:lnTo>
                    <a:lnTo>
                      <a:pt x="90" y="316"/>
                    </a:lnTo>
                    <a:lnTo>
                      <a:pt x="86" y="321"/>
                    </a:lnTo>
                    <a:lnTo>
                      <a:pt x="86" y="323"/>
                    </a:lnTo>
                    <a:lnTo>
                      <a:pt x="86" y="323"/>
                    </a:lnTo>
                    <a:lnTo>
                      <a:pt x="86" y="325"/>
                    </a:lnTo>
                    <a:lnTo>
                      <a:pt x="86" y="327"/>
                    </a:lnTo>
                    <a:lnTo>
                      <a:pt x="86" y="327"/>
                    </a:lnTo>
                    <a:lnTo>
                      <a:pt x="99" y="331"/>
                    </a:lnTo>
                    <a:lnTo>
                      <a:pt x="101" y="333"/>
                    </a:lnTo>
                    <a:lnTo>
                      <a:pt x="101" y="333"/>
                    </a:lnTo>
                    <a:lnTo>
                      <a:pt x="103" y="337"/>
                    </a:lnTo>
                    <a:lnTo>
                      <a:pt x="101" y="339"/>
                    </a:lnTo>
                    <a:lnTo>
                      <a:pt x="99" y="340"/>
                    </a:lnTo>
                    <a:lnTo>
                      <a:pt x="92" y="346"/>
                    </a:lnTo>
                    <a:lnTo>
                      <a:pt x="92" y="348"/>
                    </a:lnTo>
                    <a:lnTo>
                      <a:pt x="92" y="350"/>
                    </a:lnTo>
                    <a:lnTo>
                      <a:pt x="92" y="352"/>
                    </a:lnTo>
                    <a:lnTo>
                      <a:pt x="90" y="354"/>
                    </a:lnTo>
                    <a:lnTo>
                      <a:pt x="90" y="356"/>
                    </a:lnTo>
                    <a:lnTo>
                      <a:pt x="88" y="358"/>
                    </a:lnTo>
                    <a:lnTo>
                      <a:pt x="88" y="359"/>
                    </a:lnTo>
                    <a:lnTo>
                      <a:pt x="88" y="359"/>
                    </a:lnTo>
                    <a:lnTo>
                      <a:pt x="90" y="361"/>
                    </a:lnTo>
                    <a:lnTo>
                      <a:pt x="92" y="361"/>
                    </a:lnTo>
                    <a:lnTo>
                      <a:pt x="97" y="359"/>
                    </a:lnTo>
                    <a:lnTo>
                      <a:pt x="99" y="359"/>
                    </a:lnTo>
                    <a:lnTo>
                      <a:pt x="101" y="361"/>
                    </a:lnTo>
                    <a:lnTo>
                      <a:pt x="103" y="361"/>
                    </a:lnTo>
                    <a:lnTo>
                      <a:pt x="105" y="363"/>
                    </a:lnTo>
                    <a:lnTo>
                      <a:pt x="107" y="365"/>
                    </a:lnTo>
                    <a:lnTo>
                      <a:pt x="107" y="369"/>
                    </a:lnTo>
                    <a:lnTo>
                      <a:pt x="107" y="375"/>
                    </a:lnTo>
                    <a:lnTo>
                      <a:pt x="109" y="378"/>
                    </a:lnTo>
                    <a:lnTo>
                      <a:pt x="109" y="380"/>
                    </a:lnTo>
                    <a:lnTo>
                      <a:pt x="111" y="382"/>
                    </a:lnTo>
                    <a:lnTo>
                      <a:pt x="111" y="384"/>
                    </a:lnTo>
                    <a:lnTo>
                      <a:pt x="112" y="386"/>
                    </a:lnTo>
                    <a:lnTo>
                      <a:pt x="114" y="388"/>
                    </a:lnTo>
                    <a:lnTo>
                      <a:pt x="116" y="390"/>
                    </a:lnTo>
                    <a:lnTo>
                      <a:pt x="118" y="390"/>
                    </a:lnTo>
                    <a:lnTo>
                      <a:pt x="118" y="392"/>
                    </a:lnTo>
                    <a:lnTo>
                      <a:pt x="116" y="394"/>
                    </a:lnTo>
                    <a:lnTo>
                      <a:pt x="116" y="394"/>
                    </a:lnTo>
                    <a:lnTo>
                      <a:pt x="114" y="396"/>
                    </a:lnTo>
                    <a:lnTo>
                      <a:pt x="111" y="411"/>
                    </a:lnTo>
                    <a:lnTo>
                      <a:pt x="109" y="417"/>
                    </a:lnTo>
                    <a:lnTo>
                      <a:pt x="109" y="420"/>
                    </a:lnTo>
                    <a:lnTo>
                      <a:pt x="109" y="422"/>
                    </a:lnTo>
                    <a:lnTo>
                      <a:pt x="111" y="424"/>
                    </a:lnTo>
                    <a:lnTo>
                      <a:pt x="111" y="426"/>
                    </a:lnTo>
                    <a:lnTo>
                      <a:pt x="112" y="430"/>
                    </a:lnTo>
                    <a:lnTo>
                      <a:pt x="114" y="434"/>
                    </a:lnTo>
                    <a:lnTo>
                      <a:pt x="114" y="436"/>
                    </a:lnTo>
                    <a:lnTo>
                      <a:pt x="114" y="439"/>
                    </a:lnTo>
                    <a:lnTo>
                      <a:pt x="112" y="441"/>
                    </a:lnTo>
                    <a:lnTo>
                      <a:pt x="112" y="443"/>
                    </a:lnTo>
                    <a:lnTo>
                      <a:pt x="111" y="445"/>
                    </a:lnTo>
                    <a:lnTo>
                      <a:pt x="111" y="447"/>
                    </a:lnTo>
                    <a:lnTo>
                      <a:pt x="109" y="449"/>
                    </a:lnTo>
                    <a:lnTo>
                      <a:pt x="109" y="449"/>
                    </a:lnTo>
                    <a:lnTo>
                      <a:pt x="107" y="455"/>
                    </a:lnTo>
                    <a:lnTo>
                      <a:pt x="105" y="457"/>
                    </a:lnTo>
                    <a:lnTo>
                      <a:pt x="105" y="458"/>
                    </a:lnTo>
                    <a:lnTo>
                      <a:pt x="103" y="460"/>
                    </a:lnTo>
                    <a:lnTo>
                      <a:pt x="99" y="464"/>
                    </a:lnTo>
                    <a:lnTo>
                      <a:pt x="99" y="464"/>
                    </a:lnTo>
                    <a:lnTo>
                      <a:pt x="95" y="466"/>
                    </a:lnTo>
                    <a:lnTo>
                      <a:pt x="93" y="466"/>
                    </a:lnTo>
                    <a:lnTo>
                      <a:pt x="86" y="472"/>
                    </a:lnTo>
                    <a:lnTo>
                      <a:pt x="84" y="472"/>
                    </a:lnTo>
                    <a:lnTo>
                      <a:pt x="78" y="474"/>
                    </a:lnTo>
                    <a:lnTo>
                      <a:pt x="74" y="476"/>
                    </a:lnTo>
                    <a:lnTo>
                      <a:pt x="67" y="483"/>
                    </a:lnTo>
                    <a:lnTo>
                      <a:pt x="67" y="485"/>
                    </a:lnTo>
                    <a:lnTo>
                      <a:pt x="61" y="493"/>
                    </a:lnTo>
                    <a:lnTo>
                      <a:pt x="61" y="495"/>
                    </a:lnTo>
                    <a:lnTo>
                      <a:pt x="61" y="496"/>
                    </a:lnTo>
                    <a:lnTo>
                      <a:pt x="63" y="498"/>
                    </a:lnTo>
                    <a:lnTo>
                      <a:pt x="63" y="498"/>
                    </a:lnTo>
                    <a:lnTo>
                      <a:pt x="65" y="498"/>
                    </a:lnTo>
                    <a:lnTo>
                      <a:pt x="65" y="500"/>
                    </a:lnTo>
                    <a:lnTo>
                      <a:pt x="69" y="500"/>
                    </a:lnTo>
                    <a:lnTo>
                      <a:pt x="72" y="502"/>
                    </a:lnTo>
                    <a:lnTo>
                      <a:pt x="74" y="502"/>
                    </a:lnTo>
                    <a:lnTo>
                      <a:pt x="76" y="502"/>
                    </a:lnTo>
                    <a:lnTo>
                      <a:pt x="78" y="502"/>
                    </a:lnTo>
                    <a:lnTo>
                      <a:pt x="80" y="502"/>
                    </a:lnTo>
                    <a:lnTo>
                      <a:pt x="80" y="504"/>
                    </a:lnTo>
                    <a:lnTo>
                      <a:pt x="82" y="506"/>
                    </a:lnTo>
                    <a:lnTo>
                      <a:pt x="84" y="506"/>
                    </a:lnTo>
                    <a:lnTo>
                      <a:pt x="86" y="508"/>
                    </a:lnTo>
                    <a:lnTo>
                      <a:pt x="86" y="510"/>
                    </a:lnTo>
                    <a:lnTo>
                      <a:pt x="86" y="510"/>
                    </a:lnTo>
                    <a:lnTo>
                      <a:pt x="80" y="512"/>
                    </a:lnTo>
                    <a:lnTo>
                      <a:pt x="72" y="517"/>
                    </a:lnTo>
                    <a:lnTo>
                      <a:pt x="65" y="519"/>
                    </a:lnTo>
                    <a:lnTo>
                      <a:pt x="55" y="525"/>
                    </a:lnTo>
                    <a:lnTo>
                      <a:pt x="53" y="525"/>
                    </a:lnTo>
                    <a:lnTo>
                      <a:pt x="51" y="523"/>
                    </a:lnTo>
                    <a:lnTo>
                      <a:pt x="50" y="523"/>
                    </a:lnTo>
                    <a:lnTo>
                      <a:pt x="48" y="523"/>
                    </a:lnTo>
                    <a:lnTo>
                      <a:pt x="44" y="523"/>
                    </a:lnTo>
                    <a:lnTo>
                      <a:pt x="44" y="523"/>
                    </a:lnTo>
                    <a:lnTo>
                      <a:pt x="42" y="523"/>
                    </a:lnTo>
                    <a:lnTo>
                      <a:pt x="40" y="525"/>
                    </a:lnTo>
                    <a:lnTo>
                      <a:pt x="38" y="527"/>
                    </a:lnTo>
                    <a:lnTo>
                      <a:pt x="36" y="527"/>
                    </a:lnTo>
                    <a:lnTo>
                      <a:pt x="40" y="535"/>
                    </a:lnTo>
                    <a:lnTo>
                      <a:pt x="40" y="546"/>
                    </a:lnTo>
                    <a:lnTo>
                      <a:pt x="42" y="548"/>
                    </a:lnTo>
                    <a:lnTo>
                      <a:pt x="42" y="550"/>
                    </a:lnTo>
                    <a:lnTo>
                      <a:pt x="42" y="550"/>
                    </a:lnTo>
                    <a:lnTo>
                      <a:pt x="44" y="550"/>
                    </a:lnTo>
                    <a:lnTo>
                      <a:pt x="44" y="550"/>
                    </a:lnTo>
                    <a:lnTo>
                      <a:pt x="46" y="550"/>
                    </a:lnTo>
                    <a:lnTo>
                      <a:pt x="46" y="548"/>
                    </a:lnTo>
                    <a:lnTo>
                      <a:pt x="48" y="550"/>
                    </a:lnTo>
                    <a:lnTo>
                      <a:pt x="50" y="550"/>
                    </a:lnTo>
                    <a:lnTo>
                      <a:pt x="53" y="554"/>
                    </a:lnTo>
                    <a:lnTo>
                      <a:pt x="53" y="557"/>
                    </a:lnTo>
                    <a:lnTo>
                      <a:pt x="53" y="559"/>
                    </a:lnTo>
                    <a:lnTo>
                      <a:pt x="44" y="580"/>
                    </a:lnTo>
                    <a:lnTo>
                      <a:pt x="42" y="582"/>
                    </a:lnTo>
                    <a:lnTo>
                      <a:pt x="42" y="582"/>
                    </a:lnTo>
                    <a:lnTo>
                      <a:pt x="40" y="584"/>
                    </a:lnTo>
                    <a:lnTo>
                      <a:pt x="38" y="584"/>
                    </a:lnTo>
                    <a:lnTo>
                      <a:pt x="38" y="584"/>
                    </a:lnTo>
                    <a:lnTo>
                      <a:pt x="36" y="586"/>
                    </a:lnTo>
                    <a:lnTo>
                      <a:pt x="32" y="586"/>
                    </a:lnTo>
                    <a:lnTo>
                      <a:pt x="30" y="586"/>
                    </a:lnTo>
                    <a:lnTo>
                      <a:pt x="30" y="586"/>
                    </a:lnTo>
                    <a:lnTo>
                      <a:pt x="21" y="593"/>
                    </a:lnTo>
                    <a:lnTo>
                      <a:pt x="15" y="597"/>
                    </a:lnTo>
                    <a:lnTo>
                      <a:pt x="15" y="599"/>
                    </a:lnTo>
                    <a:lnTo>
                      <a:pt x="13" y="599"/>
                    </a:lnTo>
                    <a:lnTo>
                      <a:pt x="11" y="599"/>
                    </a:lnTo>
                    <a:lnTo>
                      <a:pt x="11" y="599"/>
                    </a:lnTo>
                    <a:lnTo>
                      <a:pt x="4" y="597"/>
                    </a:lnTo>
                    <a:lnTo>
                      <a:pt x="4" y="597"/>
                    </a:lnTo>
                    <a:lnTo>
                      <a:pt x="2" y="597"/>
                    </a:lnTo>
                    <a:lnTo>
                      <a:pt x="2" y="599"/>
                    </a:lnTo>
                    <a:lnTo>
                      <a:pt x="0" y="599"/>
                    </a:lnTo>
                    <a:lnTo>
                      <a:pt x="0" y="601"/>
                    </a:lnTo>
                    <a:lnTo>
                      <a:pt x="0" y="603"/>
                    </a:lnTo>
                    <a:lnTo>
                      <a:pt x="0" y="605"/>
                    </a:lnTo>
                    <a:lnTo>
                      <a:pt x="6" y="611"/>
                    </a:lnTo>
                    <a:lnTo>
                      <a:pt x="8" y="613"/>
                    </a:lnTo>
                    <a:lnTo>
                      <a:pt x="10" y="613"/>
                    </a:lnTo>
                    <a:lnTo>
                      <a:pt x="11" y="613"/>
                    </a:lnTo>
                    <a:lnTo>
                      <a:pt x="17" y="613"/>
                    </a:lnTo>
                    <a:lnTo>
                      <a:pt x="21" y="613"/>
                    </a:lnTo>
                    <a:lnTo>
                      <a:pt x="23" y="613"/>
                    </a:lnTo>
                    <a:lnTo>
                      <a:pt x="25" y="614"/>
                    </a:lnTo>
                    <a:lnTo>
                      <a:pt x="27" y="614"/>
                    </a:lnTo>
                    <a:lnTo>
                      <a:pt x="27" y="616"/>
                    </a:lnTo>
                    <a:lnTo>
                      <a:pt x="27" y="618"/>
                    </a:lnTo>
                    <a:lnTo>
                      <a:pt x="27" y="618"/>
                    </a:lnTo>
                    <a:lnTo>
                      <a:pt x="25" y="620"/>
                    </a:lnTo>
                    <a:lnTo>
                      <a:pt x="25" y="620"/>
                    </a:lnTo>
                    <a:lnTo>
                      <a:pt x="23" y="622"/>
                    </a:lnTo>
                    <a:lnTo>
                      <a:pt x="21" y="624"/>
                    </a:lnTo>
                    <a:lnTo>
                      <a:pt x="19" y="624"/>
                    </a:lnTo>
                    <a:lnTo>
                      <a:pt x="15" y="624"/>
                    </a:lnTo>
                    <a:lnTo>
                      <a:pt x="13" y="624"/>
                    </a:lnTo>
                    <a:lnTo>
                      <a:pt x="11" y="624"/>
                    </a:lnTo>
                    <a:lnTo>
                      <a:pt x="11" y="624"/>
                    </a:lnTo>
                    <a:lnTo>
                      <a:pt x="10" y="622"/>
                    </a:lnTo>
                    <a:lnTo>
                      <a:pt x="8" y="622"/>
                    </a:lnTo>
                    <a:lnTo>
                      <a:pt x="8" y="620"/>
                    </a:lnTo>
                    <a:lnTo>
                      <a:pt x="6" y="620"/>
                    </a:lnTo>
                    <a:lnTo>
                      <a:pt x="6" y="622"/>
                    </a:lnTo>
                    <a:lnTo>
                      <a:pt x="6" y="622"/>
                    </a:lnTo>
                    <a:lnTo>
                      <a:pt x="4" y="622"/>
                    </a:lnTo>
                    <a:lnTo>
                      <a:pt x="4" y="624"/>
                    </a:lnTo>
                    <a:lnTo>
                      <a:pt x="4" y="628"/>
                    </a:lnTo>
                    <a:lnTo>
                      <a:pt x="4" y="632"/>
                    </a:lnTo>
                    <a:lnTo>
                      <a:pt x="4" y="633"/>
                    </a:lnTo>
                    <a:lnTo>
                      <a:pt x="4" y="635"/>
                    </a:lnTo>
                    <a:lnTo>
                      <a:pt x="4" y="639"/>
                    </a:lnTo>
                    <a:lnTo>
                      <a:pt x="4" y="641"/>
                    </a:lnTo>
                    <a:lnTo>
                      <a:pt x="6" y="641"/>
                    </a:lnTo>
                    <a:lnTo>
                      <a:pt x="8" y="643"/>
                    </a:lnTo>
                    <a:lnTo>
                      <a:pt x="8" y="645"/>
                    </a:lnTo>
                    <a:lnTo>
                      <a:pt x="10" y="647"/>
                    </a:lnTo>
                    <a:lnTo>
                      <a:pt x="10" y="651"/>
                    </a:lnTo>
                    <a:lnTo>
                      <a:pt x="10" y="652"/>
                    </a:lnTo>
                    <a:lnTo>
                      <a:pt x="11" y="654"/>
                    </a:lnTo>
                    <a:lnTo>
                      <a:pt x="11" y="656"/>
                    </a:lnTo>
                    <a:lnTo>
                      <a:pt x="13" y="656"/>
                    </a:lnTo>
                    <a:lnTo>
                      <a:pt x="13" y="658"/>
                    </a:lnTo>
                    <a:lnTo>
                      <a:pt x="13" y="660"/>
                    </a:lnTo>
                    <a:lnTo>
                      <a:pt x="11" y="664"/>
                    </a:lnTo>
                    <a:lnTo>
                      <a:pt x="11" y="675"/>
                    </a:lnTo>
                    <a:lnTo>
                      <a:pt x="15" y="675"/>
                    </a:lnTo>
                    <a:lnTo>
                      <a:pt x="19" y="677"/>
                    </a:lnTo>
                    <a:lnTo>
                      <a:pt x="21" y="679"/>
                    </a:lnTo>
                    <a:lnTo>
                      <a:pt x="25" y="677"/>
                    </a:lnTo>
                    <a:lnTo>
                      <a:pt x="27" y="677"/>
                    </a:lnTo>
                    <a:lnTo>
                      <a:pt x="30" y="677"/>
                    </a:lnTo>
                    <a:lnTo>
                      <a:pt x="32" y="675"/>
                    </a:lnTo>
                    <a:lnTo>
                      <a:pt x="32" y="675"/>
                    </a:lnTo>
                    <a:lnTo>
                      <a:pt x="32" y="673"/>
                    </a:lnTo>
                    <a:lnTo>
                      <a:pt x="32" y="673"/>
                    </a:lnTo>
                    <a:lnTo>
                      <a:pt x="32" y="673"/>
                    </a:lnTo>
                    <a:lnTo>
                      <a:pt x="32" y="673"/>
                    </a:lnTo>
                    <a:lnTo>
                      <a:pt x="34" y="671"/>
                    </a:lnTo>
                    <a:lnTo>
                      <a:pt x="36" y="671"/>
                    </a:lnTo>
                    <a:lnTo>
                      <a:pt x="38" y="670"/>
                    </a:lnTo>
                    <a:lnTo>
                      <a:pt x="40" y="670"/>
                    </a:lnTo>
                    <a:lnTo>
                      <a:pt x="46" y="666"/>
                    </a:lnTo>
                    <a:lnTo>
                      <a:pt x="48" y="666"/>
                    </a:lnTo>
                    <a:lnTo>
                      <a:pt x="50" y="668"/>
                    </a:lnTo>
                    <a:lnTo>
                      <a:pt x="57" y="675"/>
                    </a:lnTo>
                    <a:lnTo>
                      <a:pt x="57" y="679"/>
                    </a:lnTo>
                    <a:lnTo>
                      <a:pt x="57" y="681"/>
                    </a:lnTo>
                    <a:lnTo>
                      <a:pt x="57" y="692"/>
                    </a:lnTo>
                    <a:lnTo>
                      <a:pt x="57" y="694"/>
                    </a:lnTo>
                    <a:lnTo>
                      <a:pt x="57" y="696"/>
                    </a:lnTo>
                    <a:lnTo>
                      <a:pt x="59" y="698"/>
                    </a:lnTo>
                    <a:lnTo>
                      <a:pt x="59" y="700"/>
                    </a:lnTo>
                    <a:lnTo>
                      <a:pt x="59" y="704"/>
                    </a:lnTo>
                    <a:lnTo>
                      <a:pt x="61" y="706"/>
                    </a:lnTo>
                    <a:lnTo>
                      <a:pt x="61" y="706"/>
                    </a:lnTo>
                    <a:lnTo>
                      <a:pt x="63" y="708"/>
                    </a:lnTo>
                    <a:lnTo>
                      <a:pt x="67" y="710"/>
                    </a:lnTo>
                    <a:lnTo>
                      <a:pt x="71" y="713"/>
                    </a:lnTo>
                    <a:lnTo>
                      <a:pt x="72" y="713"/>
                    </a:lnTo>
                    <a:lnTo>
                      <a:pt x="78" y="715"/>
                    </a:lnTo>
                    <a:lnTo>
                      <a:pt x="80" y="717"/>
                    </a:lnTo>
                    <a:lnTo>
                      <a:pt x="82" y="719"/>
                    </a:lnTo>
                    <a:lnTo>
                      <a:pt x="84" y="719"/>
                    </a:lnTo>
                    <a:lnTo>
                      <a:pt x="84" y="721"/>
                    </a:lnTo>
                    <a:lnTo>
                      <a:pt x="88" y="721"/>
                    </a:lnTo>
                    <a:lnTo>
                      <a:pt x="92" y="721"/>
                    </a:lnTo>
                    <a:lnTo>
                      <a:pt x="103" y="719"/>
                    </a:lnTo>
                    <a:lnTo>
                      <a:pt x="105" y="719"/>
                    </a:lnTo>
                    <a:lnTo>
                      <a:pt x="109" y="721"/>
                    </a:lnTo>
                    <a:lnTo>
                      <a:pt x="109" y="721"/>
                    </a:lnTo>
                    <a:lnTo>
                      <a:pt x="111" y="721"/>
                    </a:lnTo>
                    <a:lnTo>
                      <a:pt x="112" y="723"/>
                    </a:lnTo>
                    <a:lnTo>
                      <a:pt x="114" y="725"/>
                    </a:lnTo>
                    <a:lnTo>
                      <a:pt x="116" y="725"/>
                    </a:lnTo>
                    <a:lnTo>
                      <a:pt x="122" y="725"/>
                    </a:lnTo>
                    <a:lnTo>
                      <a:pt x="122" y="725"/>
                    </a:lnTo>
                    <a:lnTo>
                      <a:pt x="126" y="727"/>
                    </a:lnTo>
                    <a:lnTo>
                      <a:pt x="128" y="729"/>
                    </a:lnTo>
                    <a:lnTo>
                      <a:pt x="130" y="730"/>
                    </a:lnTo>
                    <a:lnTo>
                      <a:pt x="135" y="738"/>
                    </a:lnTo>
                    <a:lnTo>
                      <a:pt x="135" y="742"/>
                    </a:lnTo>
                    <a:lnTo>
                      <a:pt x="137" y="742"/>
                    </a:lnTo>
                    <a:lnTo>
                      <a:pt x="137" y="744"/>
                    </a:lnTo>
                    <a:lnTo>
                      <a:pt x="139" y="746"/>
                    </a:lnTo>
                    <a:lnTo>
                      <a:pt x="141" y="746"/>
                    </a:lnTo>
                    <a:lnTo>
                      <a:pt x="147" y="750"/>
                    </a:lnTo>
                    <a:lnTo>
                      <a:pt x="160" y="751"/>
                    </a:lnTo>
                    <a:lnTo>
                      <a:pt x="166" y="751"/>
                    </a:lnTo>
                    <a:lnTo>
                      <a:pt x="166" y="751"/>
                    </a:lnTo>
                    <a:lnTo>
                      <a:pt x="168" y="751"/>
                    </a:lnTo>
                    <a:lnTo>
                      <a:pt x="170" y="751"/>
                    </a:lnTo>
                    <a:lnTo>
                      <a:pt x="181" y="751"/>
                    </a:lnTo>
                    <a:lnTo>
                      <a:pt x="187" y="753"/>
                    </a:lnTo>
                    <a:lnTo>
                      <a:pt x="189" y="753"/>
                    </a:lnTo>
                    <a:lnTo>
                      <a:pt x="193" y="751"/>
                    </a:lnTo>
                    <a:lnTo>
                      <a:pt x="196" y="751"/>
                    </a:lnTo>
                    <a:lnTo>
                      <a:pt x="198" y="751"/>
                    </a:lnTo>
                    <a:lnTo>
                      <a:pt x="200" y="751"/>
                    </a:lnTo>
                    <a:lnTo>
                      <a:pt x="204" y="751"/>
                    </a:lnTo>
                    <a:lnTo>
                      <a:pt x="210" y="751"/>
                    </a:lnTo>
                    <a:lnTo>
                      <a:pt x="223" y="751"/>
                    </a:lnTo>
                    <a:lnTo>
                      <a:pt x="231" y="750"/>
                    </a:lnTo>
                    <a:lnTo>
                      <a:pt x="235" y="750"/>
                    </a:lnTo>
                    <a:lnTo>
                      <a:pt x="238" y="750"/>
                    </a:lnTo>
                    <a:lnTo>
                      <a:pt x="240" y="750"/>
                    </a:lnTo>
                    <a:lnTo>
                      <a:pt x="246" y="751"/>
                    </a:lnTo>
                    <a:lnTo>
                      <a:pt x="252" y="753"/>
                    </a:lnTo>
                    <a:lnTo>
                      <a:pt x="254" y="753"/>
                    </a:lnTo>
                    <a:lnTo>
                      <a:pt x="254" y="753"/>
                    </a:lnTo>
                    <a:lnTo>
                      <a:pt x="256" y="753"/>
                    </a:lnTo>
                    <a:lnTo>
                      <a:pt x="257" y="753"/>
                    </a:lnTo>
                    <a:lnTo>
                      <a:pt x="259" y="755"/>
                    </a:lnTo>
                    <a:lnTo>
                      <a:pt x="261" y="757"/>
                    </a:lnTo>
                    <a:lnTo>
                      <a:pt x="263" y="765"/>
                    </a:lnTo>
                    <a:lnTo>
                      <a:pt x="263" y="770"/>
                    </a:lnTo>
                    <a:lnTo>
                      <a:pt x="265" y="776"/>
                    </a:lnTo>
                    <a:lnTo>
                      <a:pt x="265" y="778"/>
                    </a:lnTo>
                    <a:lnTo>
                      <a:pt x="263" y="780"/>
                    </a:lnTo>
                    <a:lnTo>
                      <a:pt x="261" y="780"/>
                    </a:lnTo>
                    <a:lnTo>
                      <a:pt x="261" y="780"/>
                    </a:lnTo>
                    <a:lnTo>
                      <a:pt x="261" y="780"/>
                    </a:lnTo>
                    <a:lnTo>
                      <a:pt x="259" y="780"/>
                    </a:lnTo>
                    <a:lnTo>
                      <a:pt x="259" y="780"/>
                    </a:lnTo>
                    <a:lnTo>
                      <a:pt x="259" y="780"/>
                    </a:lnTo>
                    <a:lnTo>
                      <a:pt x="259" y="780"/>
                    </a:lnTo>
                    <a:lnTo>
                      <a:pt x="259" y="782"/>
                    </a:lnTo>
                    <a:lnTo>
                      <a:pt x="261" y="782"/>
                    </a:lnTo>
                    <a:lnTo>
                      <a:pt x="265" y="788"/>
                    </a:lnTo>
                    <a:lnTo>
                      <a:pt x="267" y="789"/>
                    </a:lnTo>
                    <a:lnTo>
                      <a:pt x="271" y="791"/>
                    </a:lnTo>
                    <a:lnTo>
                      <a:pt x="282" y="793"/>
                    </a:lnTo>
                    <a:lnTo>
                      <a:pt x="286" y="791"/>
                    </a:lnTo>
                    <a:lnTo>
                      <a:pt x="294" y="791"/>
                    </a:lnTo>
                    <a:lnTo>
                      <a:pt x="297" y="789"/>
                    </a:lnTo>
                    <a:lnTo>
                      <a:pt x="301" y="788"/>
                    </a:lnTo>
                    <a:lnTo>
                      <a:pt x="303" y="786"/>
                    </a:lnTo>
                    <a:lnTo>
                      <a:pt x="305" y="782"/>
                    </a:lnTo>
                    <a:lnTo>
                      <a:pt x="307" y="780"/>
                    </a:lnTo>
                    <a:lnTo>
                      <a:pt x="309" y="778"/>
                    </a:lnTo>
                    <a:lnTo>
                      <a:pt x="313" y="776"/>
                    </a:lnTo>
                    <a:lnTo>
                      <a:pt x="315" y="776"/>
                    </a:lnTo>
                    <a:lnTo>
                      <a:pt x="324" y="776"/>
                    </a:lnTo>
                    <a:lnTo>
                      <a:pt x="326" y="774"/>
                    </a:lnTo>
                    <a:lnTo>
                      <a:pt x="326" y="772"/>
                    </a:lnTo>
                    <a:lnTo>
                      <a:pt x="328" y="770"/>
                    </a:lnTo>
                    <a:lnTo>
                      <a:pt x="328" y="769"/>
                    </a:lnTo>
                    <a:lnTo>
                      <a:pt x="328" y="763"/>
                    </a:lnTo>
                    <a:lnTo>
                      <a:pt x="328" y="759"/>
                    </a:lnTo>
                    <a:lnTo>
                      <a:pt x="326" y="759"/>
                    </a:lnTo>
                    <a:lnTo>
                      <a:pt x="326" y="757"/>
                    </a:lnTo>
                    <a:lnTo>
                      <a:pt x="326" y="755"/>
                    </a:lnTo>
                    <a:lnTo>
                      <a:pt x="328" y="755"/>
                    </a:lnTo>
                    <a:lnTo>
                      <a:pt x="332" y="751"/>
                    </a:lnTo>
                    <a:lnTo>
                      <a:pt x="336" y="750"/>
                    </a:lnTo>
                    <a:lnTo>
                      <a:pt x="338" y="748"/>
                    </a:lnTo>
                    <a:lnTo>
                      <a:pt x="338" y="748"/>
                    </a:lnTo>
                    <a:lnTo>
                      <a:pt x="341" y="742"/>
                    </a:lnTo>
                    <a:lnTo>
                      <a:pt x="341" y="740"/>
                    </a:lnTo>
                    <a:lnTo>
                      <a:pt x="343" y="740"/>
                    </a:lnTo>
                    <a:lnTo>
                      <a:pt x="345" y="738"/>
                    </a:lnTo>
                    <a:lnTo>
                      <a:pt x="345" y="736"/>
                    </a:lnTo>
                    <a:lnTo>
                      <a:pt x="345" y="736"/>
                    </a:lnTo>
                    <a:lnTo>
                      <a:pt x="345" y="736"/>
                    </a:lnTo>
                    <a:lnTo>
                      <a:pt x="345" y="734"/>
                    </a:lnTo>
                    <a:lnTo>
                      <a:pt x="345" y="734"/>
                    </a:lnTo>
                    <a:lnTo>
                      <a:pt x="345" y="730"/>
                    </a:lnTo>
                    <a:lnTo>
                      <a:pt x="345" y="730"/>
                    </a:lnTo>
                    <a:lnTo>
                      <a:pt x="345" y="729"/>
                    </a:lnTo>
                    <a:lnTo>
                      <a:pt x="347" y="725"/>
                    </a:lnTo>
                    <a:lnTo>
                      <a:pt x="349" y="723"/>
                    </a:lnTo>
                    <a:lnTo>
                      <a:pt x="353" y="721"/>
                    </a:lnTo>
                    <a:lnTo>
                      <a:pt x="360" y="721"/>
                    </a:lnTo>
                    <a:lnTo>
                      <a:pt x="362" y="719"/>
                    </a:lnTo>
                    <a:lnTo>
                      <a:pt x="376" y="710"/>
                    </a:lnTo>
                    <a:lnTo>
                      <a:pt x="381" y="708"/>
                    </a:lnTo>
                    <a:lnTo>
                      <a:pt x="387" y="706"/>
                    </a:lnTo>
                    <a:lnTo>
                      <a:pt x="393" y="704"/>
                    </a:lnTo>
                    <a:lnTo>
                      <a:pt x="395" y="706"/>
                    </a:lnTo>
                    <a:lnTo>
                      <a:pt x="397" y="706"/>
                    </a:lnTo>
                    <a:lnTo>
                      <a:pt x="397" y="706"/>
                    </a:lnTo>
                    <a:lnTo>
                      <a:pt x="397" y="708"/>
                    </a:lnTo>
                    <a:lnTo>
                      <a:pt x="397" y="708"/>
                    </a:lnTo>
                    <a:lnTo>
                      <a:pt x="399" y="708"/>
                    </a:lnTo>
                    <a:lnTo>
                      <a:pt x="399" y="708"/>
                    </a:lnTo>
                    <a:lnTo>
                      <a:pt x="400" y="708"/>
                    </a:lnTo>
                    <a:lnTo>
                      <a:pt x="400" y="708"/>
                    </a:lnTo>
                    <a:lnTo>
                      <a:pt x="402" y="708"/>
                    </a:lnTo>
                    <a:lnTo>
                      <a:pt x="402" y="706"/>
                    </a:lnTo>
                    <a:lnTo>
                      <a:pt x="404" y="704"/>
                    </a:lnTo>
                    <a:lnTo>
                      <a:pt x="404" y="704"/>
                    </a:lnTo>
                    <a:lnTo>
                      <a:pt x="408" y="704"/>
                    </a:lnTo>
                    <a:lnTo>
                      <a:pt x="410" y="702"/>
                    </a:lnTo>
                    <a:lnTo>
                      <a:pt x="410" y="700"/>
                    </a:lnTo>
                    <a:lnTo>
                      <a:pt x="412" y="700"/>
                    </a:lnTo>
                    <a:lnTo>
                      <a:pt x="414" y="698"/>
                    </a:lnTo>
                    <a:lnTo>
                      <a:pt x="431" y="700"/>
                    </a:lnTo>
                    <a:lnTo>
                      <a:pt x="431" y="700"/>
                    </a:lnTo>
                    <a:lnTo>
                      <a:pt x="433" y="700"/>
                    </a:lnTo>
                    <a:lnTo>
                      <a:pt x="435" y="702"/>
                    </a:lnTo>
                    <a:lnTo>
                      <a:pt x="435" y="702"/>
                    </a:lnTo>
                    <a:lnTo>
                      <a:pt x="435" y="704"/>
                    </a:lnTo>
                    <a:lnTo>
                      <a:pt x="435" y="704"/>
                    </a:lnTo>
                    <a:lnTo>
                      <a:pt x="435" y="704"/>
                    </a:lnTo>
                    <a:lnTo>
                      <a:pt x="437" y="704"/>
                    </a:lnTo>
                    <a:lnTo>
                      <a:pt x="439" y="706"/>
                    </a:lnTo>
                    <a:lnTo>
                      <a:pt x="440" y="706"/>
                    </a:lnTo>
                    <a:lnTo>
                      <a:pt x="440" y="708"/>
                    </a:lnTo>
                    <a:lnTo>
                      <a:pt x="442" y="710"/>
                    </a:lnTo>
                    <a:lnTo>
                      <a:pt x="442" y="719"/>
                    </a:lnTo>
                    <a:lnTo>
                      <a:pt x="442" y="721"/>
                    </a:lnTo>
                    <a:lnTo>
                      <a:pt x="442" y="723"/>
                    </a:lnTo>
                    <a:lnTo>
                      <a:pt x="442" y="725"/>
                    </a:lnTo>
                    <a:lnTo>
                      <a:pt x="442" y="725"/>
                    </a:lnTo>
                    <a:lnTo>
                      <a:pt x="444" y="727"/>
                    </a:lnTo>
                    <a:lnTo>
                      <a:pt x="444" y="729"/>
                    </a:lnTo>
                    <a:lnTo>
                      <a:pt x="444" y="729"/>
                    </a:lnTo>
                    <a:lnTo>
                      <a:pt x="444" y="730"/>
                    </a:lnTo>
                    <a:lnTo>
                      <a:pt x="442" y="730"/>
                    </a:lnTo>
                    <a:lnTo>
                      <a:pt x="429" y="729"/>
                    </a:lnTo>
                    <a:lnTo>
                      <a:pt x="427" y="729"/>
                    </a:lnTo>
                    <a:lnTo>
                      <a:pt x="427" y="730"/>
                    </a:lnTo>
                    <a:lnTo>
                      <a:pt x="427" y="730"/>
                    </a:lnTo>
                    <a:lnTo>
                      <a:pt x="427" y="732"/>
                    </a:lnTo>
                    <a:lnTo>
                      <a:pt x="427" y="734"/>
                    </a:lnTo>
                    <a:lnTo>
                      <a:pt x="427" y="736"/>
                    </a:lnTo>
                    <a:lnTo>
                      <a:pt x="427" y="736"/>
                    </a:lnTo>
                    <a:lnTo>
                      <a:pt x="429" y="740"/>
                    </a:lnTo>
                    <a:lnTo>
                      <a:pt x="433" y="746"/>
                    </a:lnTo>
                    <a:lnTo>
                      <a:pt x="433" y="748"/>
                    </a:lnTo>
                    <a:lnTo>
                      <a:pt x="433" y="750"/>
                    </a:lnTo>
                    <a:lnTo>
                      <a:pt x="433" y="750"/>
                    </a:lnTo>
                    <a:lnTo>
                      <a:pt x="435" y="750"/>
                    </a:lnTo>
                    <a:lnTo>
                      <a:pt x="435" y="750"/>
                    </a:lnTo>
                    <a:lnTo>
                      <a:pt x="437" y="748"/>
                    </a:lnTo>
                    <a:lnTo>
                      <a:pt x="437" y="748"/>
                    </a:lnTo>
                    <a:lnTo>
                      <a:pt x="437" y="746"/>
                    </a:lnTo>
                    <a:lnTo>
                      <a:pt x="439" y="748"/>
                    </a:lnTo>
                    <a:lnTo>
                      <a:pt x="440" y="748"/>
                    </a:lnTo>
                    <a:lnTo>
                      <a:pt x="440" y="748"/>
                    </a:lnTo>
                    <a:lnTo>
                      <a:pt x="442" y="750"/>
                    </a:lnTo>
                    <a:lnTo>
                      <a:pt x="442" y="750"/>
                    </a:lnTo>
                    <a:lnTo>
                      <a:pt x="444" y="751"/>
                    </a:lnTo>
                    <a:lnTo>
                      <a:pt x="444" y="751"/>
                    </a:lnTo>
                    <a:lnTo>
                      <a:pt x="446" y="751"/>
                    </a:lnTo>
                    <a:lnTo>
                      <a:pt x="448" y="751"/>
                    </a:lnTo>
                    <a:lnTo>
                      <a:pt x="450" y="750"/>
                    </a:lnTo>
                    <a:lnTo>
                      <a:pt x="450" y="750"/>
                    </a:lnTo>
                    <a:lnTo>
                      <a:pt x="452" y="750"/>
                    </a:lnTo>
                    <a:lnTo>
                      <a:pt x="454" y="750"/>
                    </a:lnTo>
                    <a:lnTo>
                      <a:pt x="458" y="750"/>
                    </a:lnTo>
                    <a:lnTo>
                      <a:pt x="458" y="750"/>
                    </a:lnTo>
                    <a:lnTo>
                      <a:pt x="460" y="751"/>
                    </a:lnTo>
                    <a:lnTo>
                      <a:pt x="460" y="751"/>
                    </a:lnTo>
                    <a:lnTo>
                      <a:pt x="460" y="751"/>
                    </a:lnTo>
                    <a:lnTo>
                      <a:pt x="461" y="751"/>
                    </a:lnTo>
                    <a:lnTo>
                      <a:pt x="465" y="750"/>
                    </a:lnTo>
                    <a:lnTo>
                      <a:pt x="467" y="748"/>
                    </a:lnTo>
                    <a:lnTo>
                      <a:pt x="471" y="746"/>
                    </a:lnTo>
                    <a:lnTo>
                      <a:pt x="473" y="746"/>
                    </a:lnTo>
                    <a:lnTo>
                      <a:pt x="473" y="746"/>
                    </a:lnTo>
                    <a:lnTo>
                      <a:pt x="479" y="748"/>
                    </a:lnTo>
                    <a:lnTo>
                      <a:pt x="482" y="750"/>
                    </a:lnTo>
                    <a:lnTo>
                      <a:pt x="484" y="750"/>
                    </a:lnTo>
                    <a:lnTo>
                      <a:pt x="486" y="750"/>
                    </a:lnTo>
                    <a:lnTo>
                      <a:pt x="502" y="744"/>
                    </a:lnTo>
                    <a:lnTo>
                      <a:pt x="509" y="740"/>
                    </a:lnTo>
                    <a:lnTo>
                      <a:pt x="513" y="738"/>
                    </a:lnTo>
                    <a:lnTo>
                      <a:pt x="517" y="736"/>
                    </a:lnTo>
                    <a:lnTo>
                      <a:pt x="519" y="732"/>
                    </a:lnTo>
                    <a:lnTo>
                      <a:pt x="521" y="730"/>
                    </a:lnTo>
                    <a:lnTo>
                      <a:pt x="522" y="729"/>
                    </a:lnTo>
                    <a:lnTo>
                      <a:pt x="524" y="727"/>
                    </a:lnTo>
                    <a:lnTo>
                      <a:pt x="530" y="727"/>
                    </a:lnTo>
                    <a:lnTo>
                      <a:pt x="536" y="725"/>
                    </a:lnTo>
                    <a:lnTo>
                      <a:pt x="540" y="721"/>
                    </a:lnTo>
                    <a:lnTo>
                      <a:pt x="540" y="719"/>
                    </a:lnTo>
                    <a:lnTo>
                      <a:pt x="542" y="719"/>
                    </a:lnTo>
                    <a:lnTo>
                      <a:pt x="543" y="719"/>
                    </a:lnTo>
                    <a:lnTo>
                      <a:pt x="543" y="719"/>
                    </a:lnTo>
                    <a:lnTo>
                      <a:pt x="547" y="719"/>
                    </a:lnTo>
                    <a:lnTo>
                      <a:pt x="547" y="719"/>
                    </a:lnTo>
                    <a:lnTo>
                      <a:pt x="549" y="719"/>
                    </a:lnTo>
                    <a:lnTo>
                      <a:pt x="549" y="721"/>
                    </a:lnTo>
                    <a:lnTo>
                      <a:pt x="549" y="725"/>
                    </a:lnTo>
                    <a:lnTo>
                      <a:pt x="551" y="727"/>
                    </a:lnTo>
                    <a:lnTo>
                      <a:pt x="551" y="729"/>
                    </a:lnTo>
                    <a:lnTo>
                      <a:pt x="551" y="732"/>
                    </a:lnTo>
                    <a:lnTo>
                      <a:pt x="551" y="734"/>
                    </a:lnTo>
                    <a:lnTo>
                      <a:pt x="551" y="734"/>
                    </a:lnTo>
                    <a:lnTo>
                      <a:pt x="551" y="734"/>
                    </a:lnTo>
                    <a:lnTo>
                      <a:pt x="551" y="734"/>
                    </a:lnTo>
                    <a:lnTo>
                      <a:pt x="551" y="734"/>
                    </a:lnTo>
                    <a:lnTo>
                      <a:pt x="553" y="734"/>
                    </a:lnTo>
                    <a:lnTo>
                      <a:pt x="553" y="734"/>
                    </a:lnTo>
                    <a:lnTo>
                      <a:pt x="555" y="734"/>
                    </a:lnTo>
                    <a:lnTo>
                      <a:pt x="557" y="734"/>
                    </a:lnTo>
                    <a:lnTo>
                      <a:pt x="557" y="732"/>
                    </a:lnTo>
                    <a:lnTo>
                      <a:pt x="559" y="732"/>
                    </a:lnTo>
                    <a:lnTo>
                      <a:pt x="561" y="732"/>
                    </a:lnTo>
                    <a:lnTo>
                      <a:pt x="563" y="732"/>
                    </a:lnTo>
                    <a:lnTo>
                      <a:pt x="564" y="732"/>
                    </a:lnTo>
                    <a:lnTo>
                      <a:pt x="564" y="734"/>
                    </a:lnTo>
                    <a:lnTo>
                      <a:pt x="568" y="736"/>
                    </a:lnTo>
                    <a:lnTo>
                      <a:pt x="568" y="736"/>
                    </a:lnTo>
                    <a:lnTo>
                      <a:pt x="576" y="738"/>
                    </a:lnTo>
                    <a:lnTo>
                      <a:pt x="585" y="738"/>
                    </a:lnTo>
                    <a:lnTo>
                      <a:pt x="587" y="738"/>
                    </a:lnTo>
                    <a:lnTo>
                      <a:pt x="591" y="738"/>
                    </a:lnTo>
                    <a:lnTo>
                      <a:pt x="599" y="736"/>
                    </a:lnTo>
                    <a:lnTo>
                      <a:pt x="603" y="736"/>
                    </a:lnTo>
                    <a:lnTo>
                      <a:pt x="606" y="734"/>
                    </a:lnTo>
                    <a:lnTo>
                      <a:pt x="612" y="734"/>
                    </a:lnTo>
                    <a:lnTo>
                      <a:pt x="612" y="734"/>
                    </a:lnTo>
                    <a:lnTo>
                      <a:pt x="614" y="732"/>
                    </a:lnTo>
                    <a:lnTo>
                      <a:pt x="614" y="730"/>
                    </a:lnTo>
                    <a:lnTo>
                      <a:pt x="614" y="730"/>
                    </a:lnTo>
                    <a:lnTo>
                      <a:pt x="614" y="729"/>
                    </a:lnTo>
                    <a:lnTo>
                      <a:pt x="614" y="727"/>
                    </a:lnTo>
                    <a:lnTo>
                      <a:pt x="614" y="727"/>
                    </a:lnTo>
                    <a:lnTo>
                      <a:pt x="614" y="725"/>
                    </a:lnTo>
                    <a:lnTo>
                      <a:pt x="618" y="723"/>
                    </a:lnTo>
                    <a:lnTo>
                      <a:pt x="624" y="721"/>
                    </a:lnTo>
                    <a:lnTo>
                      <a:pt x="633" y="721"/>
                    </a:lnTo>
                    <a:lnTo>
                      <a:pt x="637" y="719"/>
                    </a:lnTo>
                    <a:lnTo>
                      <a:pt x="645" y="717"/>
                    </a:lnTo>
                    <a:lnTo>
                      <a:pt x="648" y="715"/>
                    </a:lnTo>
                    <a:lnTo>
                      <a:pt x="650" y="715"/>
                    </a:lnTo>
                    <a:lnTo>
                      <a:pt x="652" y="713"/>
                    </a:lnTo>
                    <a:lnTo>
                      <a:pt x="652" y="711"/>
                    </a:lnTo>
                    <a:lnTo>
                      <a:pt x="652" y="710"/>
                    </a:lnTo>
                    <a:lnTo>
                      <a:pt x="652" y="708"/>
                    </a:lnTo>
                    <a:lnTo>
                      <a:pt x="652" y="708"/>
                    </a:lnTo>
                    <a:lnTo>
                      <a:pt x="654" y="708"/>
                    </a:lnTo>
                    <a:lnTo>
                      <a:pt x="656" y="706"/>
                    </a:lnTo>
                    <a:lnTo>
                      <a:pt x="660" y="710"/>
                    </a:lnTo>
                    <a:lnTo>
                      <a:pt x="662" y="710"/>
                    </a:lnTo>
                    <a:lnTo>
                      <a:pt x="666" y="710"/>
                    </a:lnTo>
                    <a:lnTo>
                      <a:pt x="669" y="710"/>
                    </a:lnTo>
                    <a:lnTo>
                      <a:pt x="671" y="710"/>
                    </a:lnTo>
                    <a:lnTo>
                      <a:pt x="673" y="710"/>
                    </a:lnTo>
                    <a:lnTo>
                      <a:pt x="675" y="710"/>
                    </a:lnTo>
                    <a:lnTo>
                      <a:pt x="677" y="710"/>
                    </a:lnTo>
                    <a:lnTo>
                      <a:pt x="683" y="711"/>
                    </a:lnTo>
                    <a:lnTo>
                      <a:pt x="685" y="713"/>
                    </a:lnTo>
                    <a:lnTo>
                      <a:pt x="686" y="717"/>
                    </a:lnTo>
                    <a:lnTo>
                      <a:pt x="690" y="719"/>
                    </a:lnTo>
                    <a:lnTo>
                      <a:pt x="690" y="723"/>
                    </a:lnTo>
                    <a:lnTo>
                      <a:pt x="690" y="723"/>
                    </a:lnTo>
                    <a:lnTo>
                      <a:pt x="692" y="725"/>
                    </a:lnTo>
                    <a:lnTo>
                      <a:pt x="692" y="725"/>
                    </a:lnTo>
                    <a:lnTo>
                      <a:pt x="692" y="727"/>
                    </a:lnTo>
                    <a:lnTo>
                      <a:pt x="692" y="729"/>
                    </a:lnTo>
                    <a:lnTo>
                      <a:pt x="692" y="730"/>
                    </a:lnTo>
                    <a:lnTo>
                      <a:pt x="694" y="730"/>
                    </a:lnTo>
                    <a:lnTo>
                      <a:pt x="696" y="730"/>
                    </a:lnTo>
                    <a:lnTo>
                      <a:pt x="698" y="729"/>
                    </a:lnTo>
                    <a:lnTo>
                      <a:pt x="700" y="729"/>
                    </a:lnTo>
                    <a:lnTo>
                      <a:pt x="702" y="727"/>
                    </a:lnTo>
                    <a:lnTo>
                      <a:pt x="706" y="725"/>
                    </a:lnTo>
                    <a:lnTo>
                      <a:pt x="706" y="725"/>
                    </a:lnTo>
                    <a:lnTo>
                      <a:pt x="707" y="723"/>
                    </a:lnTo>
                    <a:lnTo>
                      <a:pt x="711" y="725"/>
                    </a:lnTo>
                    <a:lnTo>
                      <a:pt x="719" y="723"/>
                    </a:lnTo>
                    <a:lnTo>
                      <a:pt x="721" y="723"/>
                    </a:lnTo>
                    <a:lnTo>
                      <a:pt x="723" y="723"/>
                    </a:lnTo>
                    <a:lnTo>
                      <a:pt x="725" y="725"/>
                    </a:lnTo>
                    <a:lnTo>
                      <a:pt x="727" y="727"/>
                    </a:lnTo>
                    <a:lnTo>
                      <a:pt x="727" y="729"/>
                    </a:lnTo>
                    <a:lnTo>
                      <a:pt x="728" y="730"/>
                    </a:lnTo>
                    <a:lnTo>
                      <a:pt x="728" y="730"/>
                    </a:lnTo>
                    <a:lnTo>
                      <a:pt x="730" y="732"/>
                    </a:lnTo>
                    <a:lnTo>
                      <a:pt x="732" y="732"/>
                    </a:lnTo>
                    <a:lnTo>
                      <a:pt x="734" y="732"/>
                    </a:lnTo>
                    <a:lnTo>
                      <a:pt x="736" y="730"/>
                    </a:lnTo>
                    <a:lnTo>
                      <a:pt x="738" y="730"/>
                    </a:lnTo>
                    <a:lnTo>
                      <a:pt x="738" y="730"/>
                    </a:lnTo>
                    <a:lnTo>
                      <a:pt x="740" y="729"/>
                    </a:lnTo>
                    <a:lnTo>
                      <a:pt x="742" y="729"/>
                    </a:lnTo>
                    <a:lnTo>
                      <a:pt x="744" y="727"/>
                    </a:lnTo>
                    <a:lnTo>
                      <a:pt x="746" y="727"/>
                    </a:lnTo>
                    <a:lnTo>
                      <a:pt x="746" y="727"/>
                    </a:lnTo>
                    <a:lnTo>
                      <a:pt x="746" y="729"/>
                    </a:lnTo>
                    <a:lnTo>
                      <a:pt x="746" y="729"/>
                    </a:lnTo>
                    <a:lnTo>
                      <a:pt x="747" y="729"/>
                    </a:lnTo>
                    <a:lnTo>
                      <a:pt x="747" y="729"/>
                    </a:lnTo>
                    <a:lnTo>
                      <a:pt x="749" y="729"/>
                    </a:lnTo>
                    <a:lnTo>
                      <a:pt x="759" y="727"/>
                    </a:lnTo>
                    <a:lnTo>
                      <a:pt x="759" y="723"/>
                    </a:lnTo>
                    <a:lnTo>
                      <a:pt x="763" y="721"/>
                    </a:lnTo>
                    <a:lnTo>
                      <a:pt x="768" y="719"/>
                    </a:lnTo>
                    <a:lnTo>
                      <a:pt x="770" y="719"/>
                    </a:lnTo>
                    <a:lnTo>
                      <a:pt x="772" y="717"/>
                    </a:lnTo>
                    <a:lnTo>
                      <a:pt x="772" y="717"/>
                    </a:lnTo>
                    <a:lnTo>
                      <a:pt x="774" y="719"/>
                    </a:lnTo>
                    <a:lnTo>
                      <a:pt x="780" y="723"/>
                    </a:lnTo>
                    <a:lnTo>
                      <a:pt x="784" y="725"/>
                    </a:lnTo>
                    <a:lnTo>
                      <a:pt x="788" y="725"/>
                    </a:lnTo>
                    <a:lnTo>
                      <a:pt x="788" y="725"/>
                    </a:lnTo>
                    <a:lnTo>
                      <a:pt x="789" y="727"/>
                    </a:lnTo>
                    <a:lnTo>
                      <a:pt x="789" y="727"/>
                    </a:lnTo>
                    <a:lnTo>
                      <a:pt x="789" y="729"/>
                    </a:lnTo>
                    <a:lnTo>
                      <a:pt x="789" y="730"/>
                    </a:lnTo>
                    <a:lnTo>
                      <a:pt x="791" y="732"/>
                    </a:lnTo>
                    <a:lnTo>
                      <a:pt x="797" y="736"/>
                    </a:lnTo>
                    <a:lnTo>
                      <a:pt x="799" y="738"/>
                    </a:lnTo>
                    <a:lnTo>
                      <a:pt x="801" y="740"/>
                    </a:lnTo>
                    <a:lnTo>
                      <a:pt x="801" y="740"/>
                    </a:lnTo>
                    <a:lnTo>
                      <a:pt x="801" y="742"/>
                    </a:lnTo>
                    <a:lnTo>
                      <a:pt x="801" y="744"/>
                    </a:lnTo>
                    <a:lnTo>
                      <a:pt x="801" y="744"/>
                    </a:lnTo>
                    <a:lnTo>
                      <a:pt x="801" y="744"/>
                    </a:lnTo>
                    <a:lnTo>
                      <a:pt x="799" y="748"/>
                    </a:lnTo>
                    <a:lnTo>
                      <a:pt x="797" y="748"/>
                    </a:lnTo>
                    <a:lnTo>
                      <a:pt x="799" y="750"/>
                    </a:lnTo>
                    <a:lnTo>
                      <a:pt x="799" y="750"/>
                    </a:lnTo>
                    <a:lnTo>
                      <a:pt x="801" y="750"/>
                    </a:lnTo>
                    <a:lnTo>
                      <a:pt x="801" y="750"/>
                    </a:lnTo>
                    <a:lnTo>
                      <a:pt x="803" y="750"/>
                    </a:lnTo>
                    <a:lnTo>
                      <a:pt x="807" y="750"/>
                    </a:lnTo>
                    <a:lnTo>
                      <a:pt x="807" y="748"/>
                    </a:lnTo>
                    <a:lnTo>
                      <a:pt x="809" y="748"/>
                    </a:lnTo>
                    <a:lnTo>
                      <a:pt x="809" y="750"/>
                    </a:lnTo>
                    <a:lnTo>
                      <a:pt x="812" y="750"/>
                    </a:lnTo>
                    <a:lnTo>
                      <a:pt x="826" y="759"/>
                    </a:lnTo>
                    <a:lnTo>
                      <a:pt x="828" y="759"/>
                    </a:lnTo>
                    <a:lnTo>
                      <a:pt x="828" y="759"/>
                    </a:lnTo>
                    <a:lnTo>
                      <a:pt x="829" y="759"/>
                    </a:lnTo>
                    <a:lnTo>
                      <a:pt x="829" y="757"/>
                    </a:lnTo>
                    <a:lnTo>
                      <a:pt x="831" y="755"/>
                    </a:lnTo>
                    <a:lnTo>
                      <a:pt x="833" y="755"/>
                    </a:lnTo>
                    <a:lnTo>
                      <a:pt x="837" y="750"/>
                    </a:lnTo>
                    <a:lnTo>
                      <a:pt x="837" y="744"/>
                    </a:lnTo>
                    <a:lnTo>
                      <a:pt x="839" y="740"/>
                    </a:lnTo>
                    <a:lnTo>
                      <a:pt x="839" y="736"/>
                    </a:lnTo>
                    <a:lnTo>
                      <a:pt x="839" y="725"/>
                    </a:lnTo>
                    <a:lnTo>
                      <a:pt x="839" y="721"/>
                    </a:lnTo>
                    <a:lnTo>
                      <a:pt x="839" y="719"/>
                    </a:lnTo>
                    <a:lnTo>
                      <a:pt x="841" y="706"/>
                    </a:lnTo>
                    <a:lnTo>
                      <a:pt x="841" y="704"/>
                    </a:lnTo>
                    <a:lnTo>
                      <a:pt x="843" y="700"/>
                    </a:lnTo>
                    <a:lnTo>
                      <a:pt x="847" y="700"/>
                    </a:lnTo>
                    <a:lnTo>
                      <a:pt x="850" y="698"/>
                    </a:lnTo>
                    <a:lnTo>
                      <a:pt x="852" y="694"/>
                    </a:lnTo>
                    <a:lnTo>
                      <a:pt x="854" y="689"/>
                    </a:lnTo>
                    <a:lnTo>
                      <a:pt x="852" y="681"/>
                    </a:lnTo>
                    <a:lnTo>
                      <a:pt x="854" y="675"/>
                    </a:lnTo>
                    <a:lnTo>
                      <a:pt x="854" y="671"/>
                    </a:lnTo>
                    <a:lnTo>
                      <a:pt x="860" y="660"/>
                    </a:lnTo>
                    <a:lnTo>
                      <a:pt x="862" y="656"/>
                    </a:lnTo>
                    <a:lnTo>
                      <a:pt x="864" y="654"/>
                    </a:lnTo>
                    <a:lnTo>
                      <a:pt x="866" y="654"/>
                    </a:lnTo>
                    <a:lnTo>
                      <a:pt x="868" y="656"/>
                    </a:lnTo>
                    <a:lnTo>
                      <a:pt x="871" y="660"/>
                    </a:lnTo>
                    <a:lnTo>
                      <a:pt x="871" y="662"/>
                    </a:lnTo>
                    <a:lnTo>
                      <a:pt x="873" y="662"/>
                    </a:lnTo>
                    <a:lnTo>
                      <a:pt x="875" y="660"/>
                    </a:lnTo>
                    <a:lnTo>
                      <a:pt x="875" y="658"/>
                    </a:lnTo>
                    <a:lnTo>
                      <a:pt x="873" y="656"/>
                    </a:lnTo>
                    <a:lnTo>
                      <a:pt x="873" y="654"/>
                    </a:lnTo>
                    <a:lnTo>
                      <a:pt x="871" y="652"/>
                    </a:lnTo>
                    <a:lnTo>
                      <a:pt x="873" y="652"/>
                    </a:lnTo>
                    <a:lnTo>
                      <a:pt x="875" y="651"/>
                    </a:lnTo>
                    <a:lnTo>
                      <a:pt x="875" y="651"/>
                    </a:lnTo>
                    <a:lnTo>
                      <a:pt x="877" y="649"/>
                    </a:lnTo>
                    <a:lnTo>
                      <a:pt x="877" y="641"/>
                    </a:lnTo>
                    <a:lnTo>
                      <a:pt x="877" y="639"/>
                    </a:lnTo>
                    <a:lnTo>
                      <a:pt x="879" y="637"/>
                    </a:lnTo>
                    <a:lnTo>
                      <a:pt x="881" y="637"/>
                    </a:lnTo>
                    <a:lnTo>
                      <a:pt x="887" y="633"/>
                    </a:lnTo>
                    <a:lnTo>
                      <a:pt x="889" y="628"/>
                    </a:lnTo>
                    <a:lnTo>
                      <a:pt x="889" y="626"/>
                    </a:lnTo>
                    <a:lnTo>
                      <a:pt x="891" y="622"/>
                    </a:lnTo>
                    <a:lnTo>
                      <a:pt x="889" y="618"/>
                    </a:lnTo>
                    <a:lnTo>
                      <a:pt x="889" y="614"/>
                    </a:lnTo>
                    <a:lnTo>
                      <a:pt x="891" y="611"/>
                    </a:lnTo>
                    <a:lnTo>
                      <a:pt x="894" y="605"/>
                    </a:lnTo>
                    <a:lnTo>
                      <a:pt x="896" y="603"/>
                    </a:lnTo>
                    <a:lnTo>
                      <a:pt x="898" y="603"/>
                    </a:lnTo>
                    <a:lnTo>
                      <a:pt x="900" y="603"/>
                    </a:lnTo>
                    <a:lnTo>
                      <a:pt x="900" y="605"/>
                    </a:lnTo>
                    <a:lnTo>
                      <a:pt x="900" y="607"/>
                    </a:lnTo>
                    <a:lnTo>
                      <a:pt x="902" y="607"/>
                    </a:lnTo>
                    <a:lnTo>
                      <a:pt x="904" y="609"/>
                    </a:lnTo>
                    <a:lnTo>
                      <a:pt x="906" y="607"/>
                    </a:lnTo>
                    <a:lnTo>
                      <a:pt x="910" y="605"/>
                    </a:lnTo>
                    <a:lnTo>
                      <a:pt x="911" y="603"/>
                    </a:lnTo>
                    <a:lnTo>
                      <a:pt x="913" y="603"/>
                    </a:lnTo>
                    <a:lnTo>
                      <a:pt x="917" y="601"/>
                    </a:lnTo>
                    <a:lnTo>
                      <a:pt x="919" y="601"/>
                    </a:lnTo>
                    <a:lnTo>
                      <a:pt x="921" y="601"/>
                    </a:lnTo>
                    <a:lnTo>
                      <a:pt x="923" y="603"/>
                    </a:lnTo>
                    <a:lnTo>
                      <a:pt x="925" y="607"/>
                    </a:lnTo>
                    <a:lnTo>
                      <a:pt x="927" y="609"/>
                    </a:lnTo>
                    <a:lnTo>
                      <a:pt x="929" y="609"/>
                    </a:lnTo>
                    <a:lnTo>
                      <a:pt x="931" y="607"/>
                    </a:lnTo>
                    <a:lnTo>
                      <a:pt x="932" y="605"/>
                    </a:lnTo>
                    <a:lnTo>
                      <a:pt x="934" y="605"/>
                    </a:lnTo>
                    <a:lnTo>
                      <a:pt x="936" y="603"/>
                    </a:lnTo>
                    <a:lnTo>
                      <a:pt x="938" y="601"/>
                    </a:lnTo>
                    <a:lnTo>
                      <a:pt x="942" y="597"/>
                    </a:lnTo>
                    <a:lnTo>
                      <a:pt x="944" y="597"/>
                    </a:lnTo>
                    <a:lnTo>
                      <a:pt x="946" y="595"/>
                    </a:lnTo>
                    <a:lnTo>
                      <a:pt x="950" y="595"/>
                    </a:lnTo>
                    <a:lnTo>
                      <a:pt x="952" y="595"/>
                    </a:lnTo>
                    <a:lnTo>
                      <a:pt x="955" y="593"/>
                    </a:lnTo>
                    <a:lnTo>
                      <a:pt x="955" y="592"/>
                    </a:lnTo>
                    <a:lnTo>
                      <a:pt x="955" y="590"/>
                    </a:lnTo>
                    <a:lnTo>
                      <a:pt x="955" y="588"/>
                    </a:lnTo>
                    <a:lnTo>
                      <a:pt x="957" y="586"/>
                    </a:lnTo>
                    <a:lnTo>
                      <a:pt x="965" y="580"/>
                    </a:lnTo>
                    <a:lnTo>
                      <a:pt x="969" y="580"/>
                    </a:lnTo>
                    <a:lnTo>
                      <a:pt x="971" y="578"/>
                    </a:lnTo>
                    <a:lnTo>
                      <a:pt x="971" y="576"/>
                    </a:lnTo>
                    <a:lnTo>
                      <a:pt x="969" y="573"/>
                    </a:lnTo>
                    <a:lnTo>
                      <a:pt x="969" y="571"/>
                    </a:lnTo>
                    <a:lnTo>
                      <a:pt x="971" y="571"/>
                    </a:lnTo>
                    <a:lnTo>
                      <a:pt x="973" y="567"/>
                    </a:lnTo>
                    <a:lnTo>
                      <a:pt x="973" y="563"/>
                    </a:lnTo>
                    <a:lnTo>
                      <a:pt x="971" y="557"/>
                    </a:lnTo>
                    <a:lnTo>
                      <a:pt x="973" y="555"/>
                    </a:lnTo>
                    <a:lnTo>
                      <a:pt x="973" y="554"/>
                    </a:lnTo>
                    <a:lnTo>
                      <a:pt x="974" y="552"/>
                    </a:lnTo>
                    <a:lnTo>
                      <a:pt x="980" y="550"/>
                    </a:lnTo>
                    <a:lnTo>
                      <a:pt x="982" y="548"/>
                    </a:lnTo>
                    <a:lnTo>
                      <a:pt x="988" y="544"/>
                    </a:lnTo>
                    <a:lnTo>
                      <a:pt x="992" y="540"/>
                    </a:lnTo>
                    <a:lnTo>
                      <a:pt x="993" y="538"/>
                    </a:lnTo>
                    <a:lnTo>
                      <a:pt x="992" y="533"/>
                    </a:lnTo>
                    <a:lnTo>
                      <a:pt x="992" y="531"/>
                    </a:lnTo>
                    <a:lnTo>
                      <a:pt x="993" y="527"/>
                    </a:lnTo>
                    <a:lnTo>
                      <a:pt x="995" y="525"/>
                    </a:lnTo>
                    <a:lnTo>
                      <a:pt x="1003" y="523"/>
                    </a:lnTo>
                    <a:lnTo>
                      <a:pt x="1009" y="519"/>
                    </a:lnTo>
                    <a:lnTo>
                      <a:pt x="1011" y="519"/>
                    </a:lnTo>
                    <a:lnTo>
                      <a:pt x="1013" y="519"/>
                    </a:lnTo>
                    <a:lnTo>
                      <a:pt x="1016" y="519"/>
                    </a:lnTo>
                    <a:lnTo>
                      <a:pt x="1016" y="517"/>
                    </a:lnTo>
                    <a:lnTo>
                      <a:pt x="1018" y="512"/>
                    </a:lnTo>
                    <a:lnTo>
                      <a:pt x="1020" y="510"/>
                    </a:lnTo>
                    <a:lnTo>
                      <a:pt x="1020" y="504"/>
                    </a:lnTo>
                    <a:lnTo>
                      <a:pt x="1024" y="493"/>
                    </a:lnTo>
                    <a:lnTo>
                      <a:pt x="1022" y="491"/>
                    </a:lnTo>
                    <a:lnTo>
                      <a:pt x="1022" y="489"/>
                    </a:lnTo>
                    <a:lnTo>
                      <a:pt x="1016" y="485"/>
                    </a:lnTo>
                    <a:lnTo>
                      <a:pt x="1014" y="483"/>
                    </a:lnTo>
                    <a:lnTo>
                      <a:pt x="1014" y="483"/>
                    </a:lnTo>
                    <a:lnTo>
                      <a:pt x="1013" y="481"/>
                    </a:lnTo>
                    <a:lnTo>
                      <a:pt x="1005" y="483"/>
                    </a:lnTo>
                    <a:lnTo>
                      <a:pt x="1003" y="483"/>
                    </a:lnTo>
                    <a:lnTo>
                      <a:pt x="1003" y="481"/>
                    </a:lnTo>
                    <a:lnTo>
                      <a:pt x="1003" y="479"/>
                    </a:lnTo>
                    <a:lnTo>
                      <a:pt x="1001" y="479"/>
                    </a:lnTo>
                    <a:lnTo>
                      <a:pt x="1001" y="479"/>
                    </a:lnTo>
                    <a:lnTo>
                      <a:pt x="999" y="477"/>
                    </a:lnTo>
                    <a:lnTo>
                      <a:pt x="997" y="476"/>
                    </a:lnTo>
                    <a:lnTo>
                      <a:pt x="993" y="470"/>
                    </a:lnTo>
                    <a:lnTo>
                      <a:pt x="990" y="466"/>
                    </a:lnTo>
                    <a:lnTo>
                      <a:pt x="988" y="464"/>
                    </a:lnTo>
                    <a:lnTo>
                      <a:pt x="982" y="464"/>
                    </a:lnTo>
                    <a:lnTo>
                      <a:pt x="974" y="460"/>
                    </a:lnTo>
                    <a:lnTo>
                      <a:pt x="973" y="460"/>
                    </a:lnTo>
                    <a:lnTo>
                      <a:pt x="969" y="458"/>
                    </a:lnTo>
                    <a:lnTo>
                      <a:pt x="967" y="458"/>
                    </a:lnTo>
                    <a:lnTo>
                      <a:pt x="967" y="460"/>
                    </a:lnTo>
                    <a:lnTo>
                      <a:pt x="963" y="462"/>
                    </a:lnTo>
                    <a:lnTo>
                      <a:pt x="959" y="464"/>
                    </a:lnTo>
                    <a:lnTo>
                      <a:pt x="957" y="466"/>
                    </a:lnTo>
                    <a:lnTo>
                      <a:pt x="955" y="468"/>
                    </a:lnTo>
                    <a:lnTo>
                      <a:pt x="953" y="466"/>
                    </a:lnTo>
                    <a:lnTo>
                      <a:pt x="952" y="464"/>
                    </a:lnTo>
                    <a:lnTo>
                      <a:pt x="952" y="462"/>
                    </a:lnTo>
                    <a:lnTo>
                      <a:pt x="950" y="460"/>
                    </a:lnTo>
                    <a:lnTo>
                      <a:pt x="950" y="458"/>
                    </a:lnTo>
                    <a:lnTo>
                      <a:pt x="948" y="457"/>
                    </a:lnTo>
                    <a:lnTo>
                      <a:pt x="948" y="455"/>
                    </a:lnTo>
                    <a:lnTo>
                      <a:pt x="950" y="455"/>
                    </a:lnTo>
                    <a:lnTo>
                      <a:pt x="950" y="455"/>
                    </a:lnTo>
                    <a:lnTo>
                      <a:pt x="952" y="453"/>
                    </a:lnTo>
                    <a:lnTo>
                      <a:pt x="952" y="447"/>
                    </a:lnTo>
                    <a:lnTo>
                      <a:pt x="953" y="447"/>
                    </a:lnTo>
                    <a:lnTo>
                      <a:pt x="955" y="445"/>
                    </a:lnTo>
                    <a:lnTo>
                      <a:pt x="957" y="445"/>
                    </a:lnTo>
                    <a:lnTo>
                      <a:pt x="959" y="441"/>
                    </a:lnTo>
                    <a:lnTo>
                      <a:pt x="959" y="439"/>
                    </a:lnTo>
                    <a:lnTo>
                      <a:pt x="961" y="439"/>
                    </a:lnTo>
                    <a:lnTo>
                      <a:pt x="961" y="436"/>
                    </a:lnTo>
                    <a:lnTo>
                      <a:pt x="959" y="434"/>
                    </a:lnTo>
                    <a:lnTo>
                      <a:pt x="957" y="430"/>
                    </a:lnTo>
                    <a:lnTo>
                      <a:pt x="953" y="422"/>
                    </a:lnTo>
                    <a:lnTo>
                      <a:pt x="952" y="420"/>
                    </a:lnTo>
                    <a:lnTo>
                      <a:pt x="952" y="418"/>
                    </a:lnTo>
                    <a:lnTo>
                      <a:pt x="953" y="417"/>
                    </a:lnTo>
                    <a:lnTo>
                      <a:pt x="953" y="415"/>
                    </a:lnTo>
                    <a:lnTo>
                      <a:pt x="952" y="415"/>
                    </a:lnTo>
                    <a:lnTo>
                      <a:pt x="955" y="413"/>
                    </a:lnTo>
                    <a:lnTo>
                      <a:pt x="959" y="413"/>
                    </a:lnTo>
                    <a:lnTo>
                      <a:pt x="963" y="415"/>
                    </a:lnTo>
                    <a:lnTo>
                      <a:pt x="967" y="420"/>
                    </a:lnTo>
                    <a:lnTo>
                      <a:pt x="973" y="424"/>
                    </a:lnTo>
                    <a:lnTo>
                      <a:pt x="976" y="424"/>
                    </a:lnTo>
                    <a:lnTo>
                      <a:pt x="978" y="424"/>
                    </a:lnTo>
                    <a:lnTo>
                      <a:pt x="982" y="422"/>
                    </a:lnTo>
                    <a:lnTo>
                      <a:pt x="988" y="418"/>
                    </a:lnTo>
                    <a:lnTo>
                      <a:pt x="992" y="418"/>
                    </a:lnTo>
                    <a:lnTo>
                      <a:pt x="999" y="418"/>
                    </a:lnTo>
                    <a:lnTo>
                      <a:pt x="1003" y="420"/>
                    </a:lnTo>
                    <a:lnTo>
                      <a:pt x="1009" y="424"/>
                    </a:lnTo>
                    <a:lnTo>
                      <a:pt x="1013" y="424"/>
                    </a:lnTo>
                    <a:lnTo>
                      <a:pt x="1026" y="424"/>
                    </a:lnTo>
                    <a:lnTo>
                      <a:pt x="1030" y="426"/>
                    </a:lnTo>
                    <a:lnTo>
                      <a:pt x="1032" y="426"/>
                    </a:lnTo>
                    <a:lnTo>
                      <a:pt x="1051" y="426"/>
                    </a:lnTo>
                    <a:lnTo>
                      <a:pt x="1062" y="428"/>
                    </a:lnTo>
                    <a:lnTo>
                      <a:pt x="1066" y="426"/>
                    </a:lnTo>
                    <a:lnTo>
                      <a:pt x="1068" y="426"/>
                    </a:lnTo>
                    <a:lnTo>
                      <a:pt x="1070" y="424"/>
                    </a:lnTo>
                    <a:lnTo>
                      <a:pt x="1072" y="422"/>
                    </a:lnTo>
                    <a:lnTo>
                      <a:pt x="1075" y="420"/>
                    </a:lnTo>
                    <a:lnTo>
                      <a:pt x="1079" y="418"/>
                    </a:lnTo>
                    <a:lnTo>
                      <a:pt x="1081" y="417"/>
                    </a:lnTo>
                    <a:lnTo>
                      <a:pt x="1081" y="417"/>
                    </a:lnTo>
                    <a:lnTo>
                      <a:pt x="1081" y="415"/>
                    </a:lnTo>
                    <a:lnTo>
                      <a:pt x="1081" y="413"/>
                    </a:lnTo>
                    <a:lnTo>
                      <a:pt x="1083" y="411"/>
                    </a:lnTo>
                    <a:lnTo>
                      <a:pt x="1087" y="409"/>
                    </a:lnTo>
                    <a:lnTo>
                      <a:pt x="1091" y="409"/>
                    </a:lnTo>
                    <a:lnTo>
                      <a:pt x="1093" y="407"/>
                    </a:lnTo>
                    <a:lnTo>
                      <a:pt x="1096" y="405"/>
                    </a:lnTo>
                    <a:lnTo>
                      <a:pt x="1096" y="405"/>
                    </a:lnTo>
                    <a:lnTo>
                      <a:pt x="1098" y="403"/>
                    </a:lnTo>
                    <a:lnTo>
                      <a:pt x="1098" y="401"/>
                    </a:lnTo>
                    <a:lnTo>
                      <a:pt x="1098" y="399"/>
                    </a:lnTo>
                    <a:lnTo>
                      <a:pt x="1098" y="399"/>
                    </a:lnTo>
                    <a:lnTo>
                      <a:pt x="1100" y="396"/>
                    </a:lnTo>
                    <a:lnTo>
                      <a:pt x="1096" y="390"/>
                    </a:lnTo>
                    <a:lnTo>
                      <a:pt x="1093" y="388"/>
                    </a:lnTo>
                    <a:lnTo>
                      <a:pt x="1093" y="388"/>
                    </a:lnTo>
                    <a:lnTo>
                      <a:pt x="1091" y="388"/>
                    </a:lnTo>
                    <a:lnTo>
                      <a:pt x="1091" y="386"/>
                    </a:lnTo>
                    <a:lnTo>
                      <a:pt x="1093" y="384"/>
                    </a:lnTo>
                    <a:lnTo>
                      <a:pt x="1093" y="384"/>
                    </a:lnTo>
                    <a:lnTo>
                      <a:pt x="1093" y="382"/>
                    </a:lnTo>
                    <a:lnTo>
                      <a:pt x="1093" y="380"/>
                    </a:lnTo>
                    <a:lnTo>
                      <a:pt x="1091" y="380"/>
                    </a:lnTo>
                    <a:lnTo>
                      <a:pt x="1089" y="378"/>
                    </a:lnTo>
                    <a:lnTo>
                      <a:pt x="1087" y="377"/>
                    </a:lnTo>
                    <a:lnTo>
                      <a:pt x="1085" y="375"/>
                    </a:lnTo>
                    <a:lnTo>
                      <a:pt x="1085" y="373"/>
                    </a:lnTo>
                    <a:lnTo>
                      <a:pt x="1083" y="371"/>
                    </a:lnTo>
                    <a:lnTo>
                      <a:pt x="1085" y="371"/>
                    </a:lnTo>
                    <a:lnTo>
                      <a:pt x="1085" y="371"/>
                    </a:lnTo>
                    <a:lnTo>
                      <a:pt x="1085" y="369"/>
                    </a:lnTo>
                    <a:lnTo>
                      <a:pt x="1089" y="369"/>
                    </a:lnTo>
                    <a:lnTo>
                      <a:pt x="1091" y="369"/>
                    </a:lnTo>
                    <a:lnTo>
                      <a:pt x="1091" y="367"/>
                    </a:lnTo>
                    <a:lnTo>
                      <a:pt x="1093" y="358"/>
                    </a:lnTo>
                    <a:lnTo>
                      <a:pt x="1095" y="354"/>
                    </a:lnTo>
                    <a:lnTo>
                      <a:pt x="1095" y="352"/>
                    </a:lnTo>
                    <a:lnTo>
                      <a:pt x="1095" y="350"/>
                    </a:lnTo>
                    <a:lnTo>
                      <a:pt x="1096" y="342"/>
                    </a:lnTo>
                    <a:lnTo>
                      <a:pt x="1095" y="342"/>
                    </a:lnTo>
                    <a:lnTo>
                      <a:pt x="1095" y="340"/>
                    </a:lnTo>
                    <a:lnTo>
                      <a:pt x="1093" y="339"/>
                    </a:lnTo>
                    <a:lnTo>
                      <a:pt x="1091" y="339"/>
                    </a:lnTo>
                    <a:lnTo>
                      <a:pt x="1091" y="337"/>
                    </a:lnTo>
                    <a:lnTo>
                      <a:pt x="1091" y="337"/>
                    </a:lnTo>
                    <a:lnTo>
                      <a:pt x="1093" y="329"/>
                    </a:lnTo>
                    <a:lnTo>
                      <a:pt x="1093" y="327"/>
                    </a:lnTo>
                    <a:lnTo>
                      <a:pt x="1093" y="323"/>
                    </a:lnTo>
                    <a:lnTo>
                      <a:pt x="1091" y="321"/>
                    </a:lnTo>
                    <a:lnTo>
                      <a:pt x="1091" y="320"/>
                    </a:lnTo>
                    <a:lnTo>
                      <a:pt x="1093" y="320"/>
                    </a:lnTo>
                    <a:lnTo>
                      <a:pt x="1093" y="318"/>
                    </a:lnTo>
                    <a:lnTo>
                      <a:pt x="1095" y="318"/>
                    </a:lnTo>
                    <a:lnTo>
                      <a:pt x="1095" y="318"/>
                    </a:lnTo>
                    <a:lnTo>
                      <a:pt x="1098" y="320"/>
                    </a:lnTo>
                    <a:lnTo>
                      <a:pt x="1100" y="320"/>
                    </a:lnTo>
                    <a:lnTo>
                      <a:pt x="1100" y="318"/>
                    </a:lnTo>
                    <a:lnTo>
                      <a:pt x="1102" y="316"/>
                    </a:lnTo>
                    <a:lnTo>
                      <a:pt x="1102" y="316"/>
                    </a:lnTo>
                    <a:lnTo>
                      <a:pt x="1102" y="314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0" name="Freeform 22">
                <a:extLst>
                  <a:ext uri="{FF2B5EF4-FFF2-40B4-BE49-F238E27FC236}">
                    <a16:creationId xmlns:a16="http://schemas.microsoft.com/office/drawing/2014/main" id="{DB255FC5-DFAC-4712-97D1-8F663C166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1457" y="3380261"/>
                <a:ext cx="100013" cy="101600"/>
              </a:xfrm>
              <a:custGeom>
                <a:avLst/>
                <a:gdLst>
                  <a:gd name="T0" fmla="*/ 63 w 63"/>
                  <a:gd name="T1" fmla="*/ 34 h 64"/>
                  <a:gd name="T2" fmla="*/ 61 w 63"/>
                  <a:gd name="T3" fmla="*/ 28 h 64"/>
                  <a:gd name="T4" fmla="*/ 61 w 63"/>
                  <a:gd name="T5" fmla="*/ 26 h 64"/>
                  <a:gd name="T6" fmla="*/ 49 w 63"/>
                  <a:gd name="T7" fmla="*/ 15 h 64"/>
                  <a:gd name="T8" fmla="*/ 48 w 63"/>
                  <a:gd name="T9" fmla="*/ 9 h 64"/>
                  <a:gd name="T10" fmla="*/ 46 w 63"/>
                  <a:gd name="T11" fmla="*/ 1 h 64"/>
                  <a:gd name="T12" fmla="*/ 40 w 63"/>
                  <a:gd name="T13" fmla="*/ 3 h 64"/>
                  <a:gd name="T14" fmla="*/ 36 w 63"/>
                  <a:gd name="T15" fmla="*/ 1 h 64"/>
                  <a:gd name="T16" fmla="*/ 30 w 63"/>
                  <a:gd name="T17" fmla="*/ 0 h 64"/>
                  <a:gd name="T18" fmla="*/ 28 w 63"/>
                  <a:gd name="T19" fmla="*/ 3 h 64"/>
                  <a:gd name="T20" fmla="*/ 21 w 63"/>
                  <a:gd name="T21" fmla="*/ 5 h 64"/>
                  <a:gd name="T22" fmla="*/ 15 w 63"/>
                  <a:gd name="T23" fmla="*/ 7 h 64"/>
                  <a:gd name="T24" fmla="*/ 13 w 63"/>
                  <a:gd name="T25" fmla="*/ 11 h 64"/>
                  <a:gd name="T26" fmla="*/ 13 w 63"/>
                  <a:gd name="T27" fmla="*/ 13 h 64"/>
                  <a:gd name="T28" fmla="*/ 13 w 63"/>
                  <a:gd name="T29" fmla="*/ 22 h 64"/>
                  <a:gd name="T30" fmla="*/ 15 w 63"/>
                  <a:gd name="T31" fmla="*/ 26 h 64"/>
                  <a:gd name="T32" fmla="*/ 13 w 63"/>
                  <a:gd name="T33" fmla="*/ 28 h 64"/>
                  <a:gd name="T34" fmla="*/ 11 w 63"/>
                  <a:gd name="T35" fmla="*/ 32 h 64"/>
                  <a:gd name="T36" fmla="*/ 9 w 63"/>
                  <a:gd name="T37" fmla="*/ 36 h 64"/>
                  <a:gd name="T38" fmla="*/ 7 w 63"/>
                  <a:gd name="T39" fmla="*/ 36 h 64"/>
                  <a:gd name="T40" fmla="*/ 6 w 63"/>
                  <a:gd name="T41" fmla="*/ 38 h 64"/>
                  <a:gd name="T42" fmla="*/ 2 w 63"/>
                  <a:gd name="T43" fmla="*/ 43 h 64"/>
                  <a:gd name="T44" fmla="*/ 0 w 63"/>
                  <a:gd name="T45" fmla="*/ 45 h 64"/>
                  <a:gd name="T46" fmla="*/ 4 w 63"/>
                  <a:gd name="T47" fmla="*/ 47 h 64"/>
                  <a:gd name="T48" fmla="*/ 6 w 63"/>
                  <a:gd name="T49" fmla="*/ 49 h 64"/>
                  <a:gd name="T50" fmla="*/ 6 w 63"/>
                  <a:gd name="T51" fmla="*/ 51 h 64"/>
                  <a:gd name="T52" fmla="*/ 9 w 63"/>
                  <a:gd name="T53" fmla="*/ 51 h 64"/>
                  <a:gd name="T54" fmla="*/ 19 w 63"/>
                  <a:gd name="T55" fmla="*/ 49 h 64"/>
                  <a:gd name="T56" fmla="*/ 19 w 63"/>
                  <a:gd name="T57" fmla="*/ 47 h 64"/>
                  <a:gd name="T58" fmla="*/ 21 w 63"/>
                  <a:gd name="T59" fmla="*/ 47 h 64"/>
                  <a:gd name="T60" fmla="*/ 30 w 63"/>
                  <a:gd name="T61" fmla="*/ 51 h 64"/>
                  <a:gd name="T62" fmla="*/ 30 w 63"/>
                  <a:gd name="T63" fmla="*/ 53 h 64"/>
                  <a:gd name="T64" fmla="*/ 32 w 63"/>
                  <a:gd name="T65" fmla="*/ 57 h 64"/>
                  <a:gd name="T66" fmla="*/ 36 w 63"/>
                  <a:gd name="T67" fmla="*/ 60 h 64"/>
                  <a:gd name="T68" fmla="*/ 40 w 63"/>
                  <a:gd name="T69" fmla="*/ 62 h 64"/>
                  <a:gd name="T70" fmla="*/ 49 w 63"/>
                  <a:gd name="T71" fmla="*/ 64 h 64"/>
                  <a:gd name="T72" fmla="*/ 51 w 63"/>
                  <a:gd name="T73" fmla="*/ 62 h 64"/>
                  <a:gd name="T74" fmla="*/ 51 w 63"/>
                  <a:gd name="T75" fmla="*/ 60 h 64"/>
                  <a:gd name="T76" fmla="*/ 49 w 63"/>
                  <a:gd name="T77" fmla="*/ 59 h 64"/>
                  <a:gd name="T78" fmla="*/ 49 w 63"/>
                  <a:gd name="T79" fmla="*/ 57 h 64"/>
                  <a:gd name="T80" fmla="*/ 53 w 63"/>
                  <a:gd name="T81" fmla="*/ 55 h 64"/>
                  <a:gd name="T82" fmla="*/ 63 w 63"/>
                  <a:gd name="T83" fmla="*/ 53 h 64"/>
                  <a:gd name="T84" fmla="*/ 59 w 63"/>
                  <a:gd name="T85" fmla="*/ 45 h 64"/>
                  <a:gd name="T86" fmla="*/ 59 w 63"/>
                  <a:gd name="T87" fmla="*/ 41 h 64"/>
                  <a:gd name="T88" fmla="*/ 63 w 63"/>
                  <a:gd name="T89" fmla="*/ 40 h 64"/>
                  <a:gd name="T90" fmla="*/ 63 w 63"/>
                  <a:gd name="T91" fmla="*/ 38 h 64"/>
                  <a:gd name="T92" fmla="*/ 63 w 63"/>
                  <a:gd name="T93" fmla="*/ 36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3" h="64">
                    <a:moveTo>
                      <a:pt x="63" y="36"/>
                    </a:moveTo>
                    <a:lnTo>
                      <a:pt x="63" y="34"/>
                    </a:lnTo>
                    <a:lnTo>
                      <a:pt x="61" y="30"/>
                    </a:lnTo>
                    <a:lnTo>
                      <a:pt x="61" y="28"/>
                    </a:lnTo>
                    <a:lnTo>
                      <a:pt x="61" y="26"/>
                    </a:lnTo>
                    <a:lnTo>
                      <a:pt x="61" y="26"/>
                    </a:lnTo>
                    <a:lnTo>
                      <a:pt x="59" y="24"/>
                    </a:lnTo>
                    <a:lnTo>
                      <a:pt x="49" y="15"/>
                    </a:lnTo>
                    <a:lnTo>
                      <a:pt x="49" y="11"/>
                    </a:lnTo>
                    <a:lnTo>
                      <a:pt x="48" y="9"/>
                    </a:lnTo>
                    <a:lnTo>
                      <a:pt x="49" y="5"/>
                    </a:lnTo>
                    <a:lnTo>
                      <a:pt x="46" y="1"/>
                    </a:lnTo>
                    <a:lnTo>
                      <a:pt x="40" y="3"/>
                    </a:lnTo>
                    <a:lnTo>
                      <a:pt x="40" y="3"/>
                    </a:lnTo>
                    <a:lnTo>
                      <a:pt x="38" y="3"/>
                    </a:lnTo>
                    <a:lnTo>
                      <a:pt x="36" y="1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8" y="1"/>
                    </a:lnTo>
                    <a:lnTo>
                      <a:pt x="28" y="3"/>
                    </a:lnTo>
                    <a:lnTo>
                      <a:pt x="27" y="5"/>
                    </a:lnTo>
                    <a:lnTo>
                      <a:pt x="21" y="5"/>
                    </a:lnTo>
                    <a:lnTo>
                      <a:pt x="19" y="5"/>
                    </a:lnTo>
                    <a:lnTo>
                      <a:pt x="15" y="7"/>
                    </a:lnTo>
                    <a:lnTo>
                      <a:pt x="15" y="9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13" y="13"/>
                    </a:lnTo>
                    <a:lnTo>
                      <a:pt x="13" y="21"/>
                    </a:lnTo>
                    <a:lnTo>
                      <a:pt x="13" y="22"/>
                    </a:lnTo>
                    <a:lnTo>
                      <a:pt x="13" y="24"/>
                    </a:lnTo>
                    <a:lnTo>
                      <a:pt x="15" y="26"/>
                    </a:lnTo>
                    <a:lnTo>
                      <a:pt x="15" y="26"/>
                    </a:lnTo>
                    <a:lnTo>
                      <a:pt x="13" y="28"/>
                    </a:lnTo>
                    <a:lnTo>
                      <a:pt x="11" y="30"/>
                    </a:lnTo>
                    <a:lnTo>
                      <a:pt x="11" y="32"/>
                    </a:lnTo>
                    <a:lnTo>
                      <a:pt x="11" y="34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7" y="36"/>
                    </a:lnTo>
                    <a:lnTo>
                      <a:pt x="6" y="36"/>
                    </a:lnTo>
                    <a:lnTo>
                      <a:pt x="6" y="38"/>
                    </a:lnTo>
                    <a:lnTo>
                      <a:pt x="4" y="40"/>
                    </a:lnTo>
                    <a:lnTo>
                      <a:pt x="2" y="43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2" y="45"/>
                    </a:lnTo>
                    <a:lnTo>
                      <a:pt x="4" y="47"/>
                    </a:lnTo>
                    <a:lnTo>
                      <a:pt x="4" y="49"/>
                    </a:lnTo>
                    <a:lnTo>
                      <a:pt x="6" y="49"/>
                    </a:lnTo>
                    <a:lnTo>
                      <a:pt x="6" y="51"/>
                    </a:lnTo>
                    <a:lnTo>
                      <a:pt x="6" y="51"/>
                    </a:lnTo>
                    <a:lnTo>
                      <a:pt x="6" y="53"/>
                    </a:lnTo>
                    <a:lnTo>
                      <a:pt x="9" y="51"/>
                    </a:lnTo>
                    <a:lnTo>
                      <a:pt x="17" y="51"/>
                    </a:lnTo>
                    <a:lnTo>
                      <a:pt x="19" y="49"/>
                    </a:lnTo>
                    <a:lnTo>
                      <a:pt x="19" y="49"/>
                    </a:lnTo>
                    <a:lnTo>
                      <a:pt x="19" y="47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30" y="51"/>
                    </a:lnTo>
                    <a:lnTo>
                      <a:pt x="30" y="51"/>
                    </a:lnTo>
                    <a:lnTo>
                      <a:pt x="30" y="53"/>
                    </a:lnTo>
                    <a:lnTo>
                      <a:pt x="32" y="57"/>
                    </a:lnTo>
                    <a:lnTo>
                      <a:pt x="32" y="57"/>
                    </a:lnTo>
                    <a:lnTo>
                      <a:pt x="34" y="59"/>
                    </a:lnTo>
                    <a:lnTo>
                      <a:pt x="36" y="60"/>
                    </a:lnTo>
                    <a:lnTo>
                      <a:pt x="38" y="60"/>
                    </a:lnTo>
                    <a:lnTo>
                      <a:pt x="40" y="62"/>
                    </a:lnTo>
                    <a:lnTo>
                      <a:pt x="46" y="64"/>
                    </a:lnTo>
                    <a:lnTo>
                      <a:pt x="49" y="64"/>
                    </a:lnTo>
                    <a:lnTo>
                      <a:pt x="51" y="62"/>
                    </a:lnTo>
                    <a:lnTo>
                      <a:pt x="51" y="62"/>
                    </a:lnTo>
                    <a:lnTo>
                      <a:pt x="51" y="62"/>
                    </a:lnTo>
                    <a:lnTo>
                      <a:pt x="51" y="60"/>
                    </a:lnTo>
                    <a:lnTo>
                      <a:pt x="51" y="60"/>
                    </a:lnTo>
                    <a:lnTo>
                      <a:pt x="49" y="59"/>
                    </a:lnTo>
                    <a:lnTo>
                      <a:pt x="49" y="59"/>
                    </a:lnTo>
                    <a:lnTo>
                      <a:pt x="49" y="57"/>
                    </a:lnTo>
                    <a:lnTo>
                      <a:pt x="51" y="55"/>
                    </a:lnTo>
                    <a:lnTo>
                      <a:pt x="53" y="55"/>
                    </a:lnTo>
                    <a:lnTo>
                      <a:pt x="55" y="53"/>
                    </a:lnTo>
                    <a:lnTo>
                      <a:pt x="63" y="53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9" y="43"/>
                    </a:lnTo>
                    <a:lnTo>
                      <a:pt x="59" y="41"/>
                    </a:lnTo>
                    <a:lnTo>
                      <a:pt x="61" y="41"/>
                    </a:lnTo>
                    <a:lnTo>
                      <a:pt x="63" y="40"/>
                    </a:lnTo>
                    <a:lnTo>
                      <a:pt x="63" y="40"/>
                    </a:lnTo>
                    <a:lnTo>
                      <a:pt x="63" y="38"/>
                    </a:lnTo>
                    <a:lnTo>
                      <a:pt x="63" y="38"/>
                    </a:lnTo>
                    <a:lnTo>
                      <a:pt x="63" y="36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1" name="Freeform 23">
                <a:extLst>
                  <a:ext uri="{FF2B5EF4-FFF2-40B4-BE49-F238E27FC236}">
                    <a16:creationId xmlns:a16="http://schemas.microsoft.com/office/drawing/2014/main" id="{5EB76FDC-4673-405E-BBE2-BD4B73C8A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7757" y="6820374"/>
                <a:ext cx="508000" cy="904875"/>
              </a:xfrm>
              <a:custGeom>
                <a:avLst/>
                <a:gdLst>
                  <a:gd name="T0" fmla="*/ 299 w 320"/>
                  <a:gd name="T1" fmla="*/ 409 h 570"/>
                  <a:gd name="T2" fmla="*/ 299 w 320"/>
                  <a:gd name="T3" fmla="*/ 382 h 570"/>
                  <a:gd name="T4" fmla="*/ 303 w 320"/>
                  <a:gd name="T5" fmla="*/ 333 h 570"/>
                  <a:gd name="T6" fmla="*/ 294 w 320"/>
                  <a:gd name="T7" fmla="*/ 310 h 570"/>
                  <a:gd name="T8" fmla="*/ 259 w 320"/>
                  <a:gd name="T9" fmla="*/ 323 h 570"/>
                  <a:gd name="T10" fmla="*/ 246 w 320"/>
                  <a:gd name="T11" fmla="*/ 300 h 570"/>
                  <a:gd name="T12" fmla="*/ 252 w 320"/>
                  <a:gd name="T13" fmla="*/ 270 h 570"/>
                  <a:gd name="T14" fmla="*/ 252 w 320"/>
                  <a:gd name="T15" fmla="*/ 251 h 570"/>
                  <a:gd name="T16" fmla="*/ 229 w 320"/>
                  <a:gd name="T17" fmla="*/ 228 h 570"/>
                  <a:gd name="T18" fmla="*/ 240 w 320"/>
                  <a:gd name="T19" fmla="*/ 220 h 570"/>
                  <a:gd name="T20" fmla="*/ 231 w 320"/>
                  <a:gd name="T21" fmla="*/ 203 h 570"/>
                  <a:gd name="T22" fmla="*/ 210 w 320"/>
                  <a:gd name="T23" fmla="*/ 201 h 570"/>
                  <a:gd name="T24" fmla="*/ 212 w 320"/>
                  <a:gd name="T25" fmla="*/ 186 h 570"/>
                  <a:gd name="T26" fmla="*/ 175 w 320"/>
                  <a:gd name="T27" fmla="*/ 165 h 570"/>
                  <a:gd name="T28" fmla="*/ 173 w 320"/>
                  <a:gd name="T29" fmla="*/ 152 h 570"/>
                  <a:gd name="T30" fmla="*/ 194 w 320"/>
                  <a:gd name="T31" fmla="*/ 144 h 570"/>
                  <a:gd name="T32" fmla="*/ 191 w 320"/>
                  <a:gd name="T33" fmla="*/ 131 h 570"/>
                  <a:gd name="T34" fmla="*/ 173 w 320"/>
                  <a:gd name="T35" fmla="*/ 123 h 570"/>
                  <a:gd name="T36" fmla="*/ 160 w 320"/>
                  <a:gd name="T37" fmla="*/ 116 h 570"/>
                  <a:gd name="T38" fmla="*/ 141 w 320"/>
                  <a:gd name="T39" fmla="*/ 108 h 570"/>
                  <a:gd name="T40" fmla="*/ 114 w 320"/>
                  <a:gd name="T41" fmla="*/ 91 h 570"/>
                  <a:gd name="T42" fmla="*/ 99 w 320"/>
                  <a:gd name="T43" fmla="*/ 85 h 570"/>
                  <a:gd name="T44" fmla="*/ 71 w 320"/>
                  <a:gd name="T45" fmla="*/ 61 h 570"/>
                  <a:gd name="T46" fmla="*/ 61 w 320"/>
                  <a:gd name="T47" fmla="*/ 47 h 570"/>
                  <a:gd name="T48" fmla="*/ 63 w 320"/>
                  <a:gd name="T49" fmla="*/ 38 h 570"/>
                  <a:gd name="T50" fmla="*/ 53 w 320"/>
                  <a:gd name="T51" fmla="*/ 34 h 570"/>
                  <a:gd name="T52" fmla="*/ 42 w 320"/>
                  <a:gd name="T53" fmla="*/ 22 h 570"/>
                  <a:gd name="T54" fmla="*/ 30 w 320"/>
                  <a:gd name="T55" fmla="*/ 15 h 570"/>
                  <a:gd name="T56" fmla="*/ 21 w 320"/>
                  <a:gd name="T57" fmla="*/ 11 h 570"/>
                  <a:gd name="T58" fmla="*/ 13 w 320"/>
                  <a:gd name="T59" fmla="*/ 5 h 570"/>
                  <a:gd name="T60" fmla="*/ 0 w 320"/>
                  <a:gd name="T61" fmla="*/ 2 h 570"/>
                  <a:gd name="T62" fmla="*/ 29 w 320"/>
                  <a:gd name="T63" fmla="*/ 61 h 570"/>
                  <a:gd name="T64" fmla="*/ 42 w 320"/>
                  <a:gd name="T65" fmla="*/ 93 h 570"/>
                  <a:gd name="T66" fmla="*/ 55 w 320"/>
                  <a:gd name="T67" fmla="*/ 83 h 570"/>
                  <a:gd name="T68" fmla="*/ 63 w 320"/>
                  <a:gd name="T69" fmla="*/ 85 h 570"/>
                  <a:gd name="T70" fmla="*/ 53 w 320"/>
                  <a:gd name="T71" fmla="*/ 99 h 570"/>
                  <a:gd name="T72" fmla="*/ 69 w 320"/>
                  <a:gd name="T73" fmla="*/ 110 h 570"/>
                  <a:gd name="T74" fmla="*/ 93 w 320"/>
                  <a:gd name="T75" fmla="*/ 159 h 570"/>
                  <a:gd name="T76" fmla="*/ 111 w 320"/>
                  <a:gd name="T77" fmla="*/ 182 h 570"/>
                  <a:gd name="T78" fmla="*/ 133 w 320"/>
                  <a:gd name="T79" fmla="*/ 255 h 570"/>
                  <a:gd name="T80" fmla="*/ 153 w 320"/>
                  <a:gd name="T81" fmla="*/ 298 h 570"/>
                  <a:gd name="T82" fmla="*/ 172 w 320"/>
                  <a:gd name="T83" fmla="*/ 321 h 570"/>
                  <a:gd name="T84" fmla="*/ 168 w 320"/>
                  <a:gd name="T85" fmla="*/ 336 h 570"/>
                  <a:gd name="T86" fmla="*/ 172 w 320"/>
                  <a:gd name="T87" fmla="*/ 338 h 570"/>
                  <a:gd name="T88" fmla="*/ 193 w 320"/>
                  <a:gd name="T89" fmla="*/ 371 h 570"/>
                  <a:gd name="T90" fmla="*/ 194 w 320"/>
                  <a:gd name="T91" fmla="*/ 392 h 570"/>
                  <a:gd name="T92" fmla="*/ 202 w 320"/>
                  <a:gd name="T93" fmla="*/ 418 h 570"/>
                  <a:gd name="T94" fmla="*/ 189 w 320"/>
                  <a:gd name="T95" fmla="*/ 384 h 570"/>
                  <a:gd name="T96" fmla="*/ 187 w 320"/>
                  <a:gd name="T97" fmla="*/ 392 h 570"/>
                  <a:gd name="T98" fmla="*/ 179 w 320"/>
                  <a:gd name="T99" fmla="*/ 371 h 570"/>
                  <a:gd name="T100" fmla="*/ 175 w 320"/>
                  <a:gd name="T101" fmla="*/ 367 h 570"/>
                  <a:gd name="T102" fmla="*/ 200 w 320"/>
                  <a:gd name="T103" fmla="*/ 454 h 570"/>
                  <a:gd name="T104" fmla="*/ 202 w 320"/>
                  <a:gd name="T105" fmla="*/ 466 h 570"/>
                  <a:gd name="T106" fmla="*/ 214 w 320"/>
                  <a:gd name="T107" fmla="*/ 483 h 570"/>
                  <a:gd name="T108" fmla="*/ 227 w 320"/>
                  <a:gd name="T109" fmla="*/ 479 h 570"/>
                  <a:gd name="T110" fmla="*/ 215 w 320"/>
                  <a:gd name="T111" fmla="*/ 489 h 570"/>
                  <a:gd name="T112" fmla="*/ 227 w 320"/>
                  <a:gd name="T113" fmla="*/ 506 h 570"/>
                  <a:gd name="T114" fmla="*/ 288 w 320"/>
                  <a:gd name="T115" fmla="*/ 570 h 570"/>
                  <a:gd name="T116" fmla="*/ 296 w 320"/>
                  <a:gd name="T117" fmla="*/ 553 h 570"/>
                  <a:gd name="T118" fmla="*/ 303 w 320"/>
                  <a:gd name="T119" fmla="*/ 542 h 570"/>
                  <a:gd name="T120" fmla="*/ 292 w 320"/>
                  <a:gd name="T121" fmla="*/ 521 h 570"/>
                  <a:gd name="T122" fmla="*/ 294 w 320"/>
                  <a:gd name="T123" fmla="*/ 491 h 570"/>
                  <a:gd name="T124" fmla="*/ 320 w 320"/>
                  <a:gd name="T125" fmla="*/ 422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20" h="570">
                    <a:moveTo>
                      <a:pt x="318" y="418"/>
                    </a:moveTo>
                    <a:lnTo>
                      <a:pt x="315" y="413"/>
                    </a:lnTo>
                    <a:lnTo>
                      <a:pt x="315" y="411"/>
                    </a:lnTo>
                    <a:lnTo>
                      <a:pt x="313" y="409"/>
                    </a:lnTo>
                    <a:lnTo>
                      <a:pt x="313" y="409"/>
                    </a:lnTo>
                    <a:lnTo>
                      <a:pt x="313" y="407"/>
                    </a:lnTo>
                    <a:lnTo>
                      <a:pt x="311" y="407"/>
                    </a:lnTo>
                    <a:lnTo>
                      <a:pt x="309" y="407"/>
                    </a:lnTo>
                    <a:lnTo>
                      <a:pt x="309" y="407"/>
                    </a:lnTo>
                    <a:lnTo>
                      <a:pt x="303" y="411"/>
                    </a:lnTo>
                    <a:lnTo>
                      <a:pt x="301" y="411"/>
                    </a:lnTo>
                    <a:lnTo>
                      <a:pt x="299" y="411"/>
                    </a:lnTo>
                    <a:lnTo>
                      <a:pt x="299" y="409"/>
                    </a:lnTo>
                    <a:lnTo>
                      <a:pt x="297" y="409"/>
                    </a:lnTo>
                    <a:lnTo>
                      <a:pt x="297" y="409"/>
                    </a:lnTo>
                    <a:lnTo>
                      <a:pt x="297" y="407"/>
                    </a:lnTo>
                    <a:lnTo>
                      <a:pt x="296" y="407"/>
                    </a:lnTo>
                    <a:lnTo>
                      <a:pt x="296" y="407"/>
                    </a:lnTo>
                    <a:lnTo>
                      <a:pt x="294" y="407"/>
                    </a:lnTo>
                    <a:lnTo>
                      <a:pt x="294" y="407"/>
                    </a:lnTo>
                    <a:lnTo>
                      <a:pt x="294" y="405"/>
                    </a:lnTo>
                    <a:lnTo>
                      <a:pt x="294" y="405"/>
                    </a:lnTo>
                    <a:lnTo>
                      <a:pt x="294" y="405"/>
                    </a:lnTo>
                    <a:lnTo>
                      <a:pt x="294" y="403"/>
                    </a:lnTo>
                    <a:lnTo>
                      <a:pt x="299" y="384"/>
                    </a:lnTo>
                    <a:lnTo>
                      <a:pt x="299" y="382"/>
                    </a:lnTo>
                    <a:lnTo>
                      <a:pt x="299" y="380"/>
                    </a:lnTo>
                    <a:lnTo>
                      <a:pt x="297" y="376"/>
                    </a:lnTo>
                    <a:lnTo>
                      <a:pt x="297" y="373"/>
                    </a:lnTo>
                    <a:lnTo>
                      <a:pt x="297" y="371"/>
                    </a:lnTo>
                    <a:lnTo>
                      <a:pt x="297" y="369"/>
                    </a:lnTo>
                    <a:lnTo>
                      <a:pt x="301" y="361"/>
                    </a:lnTo>
                    <a:lnTo>
                      <a:pt x="301" y="359"/>
                    </a:lnTo>
                    <a:lnTo>
                      <a:pt x="301" y="359"/>
                    </a:lnTo>
                    <a:lnTo>
                      <a:pt x="299" y="352"/>
                    </a:lnTo>
                    <a:lnTo>
                      <a:pt x="297" y="346"/>
                    </a:lnTo>
                    <a:lnTo>
                      <a:pt x="297" y="346"/>
                    </a:lnTo>
                    <a:lnTo>
                      <a:pt x="297" y="344"/>
                    </a:lnTo>
                    <a:lnTo>
                      <a:pt x="303" y="333"/>
                    </a:lnTo>
                    <a:lnTo>
                      <a:pt x="305" y="329"/>
                    </a:lnTo>
                    <a:lnTo>
                      <a:pt x="305" y="329"/>
                    </a:lnTo>
                    <a:lnTo>
                      <a:pt x="303" y="327"/>
                    </a:lnTo>
                    <a:lnTo>
                      <a:pt x="303" y="327"/>
                    </a:lnTo>
                    <a:lnTo>
                      <a:pt x="301" y="325"/>
                    </a:lnTo>
                    <a:lnTo>
                      <a:pt x="301" y="325"/>
                    </a:lnTo>
                    <a:lnTo>
                      <a:pt x="301" y="323"/>
                    </a:lnTo>
                    <a:lnTo>
                      <a:pt x="301" y="319"/>
                    </a:lnTo>
                    <a:lnTo>
                      <a:pt x="299" y="317"/>
                    </a:lnTo>
                    <a:lnTo>
                      <a:pt x="299" y="317"/>
                    </a:lnTo>
                    <a:lnTo>
                      <a:pt x="296" y="312"/>
                    </a:lnTo>
                    <a:lnTo>
                      <a:pt x="296" y="312"/>
                    </a:lnTo>
                    <a:lnTo>
                      <a:pt x="294" y="310"/>
                    </a:lnTo>
                    <a:lnTo>
                      <a:pt x="290" y="310"/>
                    </a:lnTo>
                    <a:lnTo>
                      <a:pt x="286" y="312"/>
                    </a:lnTo>
                    <a:lnTo>
                      <a:pt x="280" y="316"/>
                    </a:lnTo>
                    <a:lnTo>
                      <a:pt x="278" y="316"/>
                    </a:lnTo>
                    <a:lnTo>
                      <a:pt x="276" y="316"/>
                    </a:lnTo>
                    <a:lnTo>
                      <a:pt x="273" y="321"/>
                    </a:lnTo>
                    <a:lnTo>
                      <a:pt x="267" y="325"/>
                    </a:lnTo>
                    <a:lnTo>
                      <a:pt x="265" y="325"/>
                    </a:lnTo>
                    <a:lnTo>
                      <a:pt x="263" y="325"/>
                    </a:lnTo>
                    <a:lnTo>
                      <a:pt x="261" y="325"/>
                    </a:lnTo>
                    <a:lnTo>
                      <a:pt x="261" y="325"/>
                    </a:lnTo>
                    <a:lnTo>
                      <a:pt x="261" y="323"/>
                    </a:lnTo>
                    <a:lnTo>
                      <a:pt x="259" y="323"/>
                    </a:lnTo>
                    <a:lnTo>
                      <a:pt x="259" y="323"/>
                    </a:lnTo>
                    <a:lnTo>
                      <a:pt x="255" y="319"/>
                    </a:lnTo>
                    <a:lnTo>
                      <a:pt x="254" y="317"/>
                    </a:lnTo>
                    <a:lnTo>
                      <a:pt x="254" y="317"/>
                    </a:lnTo>
                    <a:lnTo>
                      <a:pt x="250" y="316"/>
                    </a:lnTo>
                    <a:lnTo>
                      <a:pt x="250" y="314"/>
                    </a:lnTo>
                    <a:lnTo>
                      <a:pt x="250" y="314"/>
                    </a:lnTo>
                    <a:lnTo>
                      <a:pt x="250" y="312"/>
                    </a:lnTo>
                    <a:lnTo>
                      <a:pt x="250" y="308"/>
                    </a:lnTo>
                    <a:lnTo>
                      <a:pt x="250" y="306"/>
                    </a:lnTo>
                    <a:lnTo>
                      <a:pt x="248" y="304"/>
                    </a:lnTo>
                    <a:lnTo>
                      <a:pt x="246" y="302"/>
                    </a:lnTo>
                    <a:lnTo>
                      <a:pt x="246" y="300"/>
                    </a:lnTo>
                    <a:lnTo>
                      <a:pt x="246" y="300"/>
                    </a:lnTo>
                    <a:lnTo>
                      <a:pt x="246" y="298"/>
                    </a:lnTo>
                    <a:lnTo>
                      <a:pt x="246" y="295"/>
                    </a:lnTo>
                    <a:lnTo>
                      <a:pt x="246" y="291"/>
                    </a:lnTo>
                    <a:lnTo>
                      <a:pt x="248" y="291"/>
                    </a:lnTo>
                    <a:lnTo>
                      <a:pt x="248" y="291"/>
                    </a:lnTo>
                    <a:lnTo>
                      <a:pt x="248" y="283"/>
                    </a:lnTo>
                    <a:lnTo>
                      <a:pt x="246" y="274"/>
                    </a:lnTo>
                    <a:lnTo>
                      <a:pt x="248" y="272"/>
                    </a:lnTo>
                    <a:lnTo>
                      <a:pt x="248" y="272"/>
                    </a:lnTo>
                    <a:lnTo>
                      <a:pt x="250" y="270"/>
                    </a:lnTo>
                    <a:lnTo>
                      <a:pt x="250" y="270"/>
                    </a:lnTo>
                    <a:lnTo>
                      <a:pt x="252" y="270"/>
                    </a:lnTo>
                    <a:lnTo>
                      <a:pt x="254" y="268"/>
                    </a:lnTo>
                    <a:lnTo>
                      <a:pt x="254" y="266"/>
                    </a:lnTo>
                    <a:lnTo>
                      <a:pt x="254" y="260"/>
                    </a:lnTo>
                    <a:lnTo>
                      <a:pt x="254" y="260"/>
                    </a:lnTo>
                    <a:lnTo>
                      <a:pt x="255" y="257"/>
                    </a:lnTo>
                    <a:lnTo>
                      <a:pt x="255" y="257"/>
                    </a:lnTo>
                    <a:lnTo>
                      <a:pt x="255" y="255"/>
                    </a:lnTo>
                    <a:lnTo>
                      <a:pt x="255" y="253"/>
                    </a:lnTo>
                    <a:lnTo>
                      <a:pt x="255" y="253"/>
                    </a:lnTo>
                    <a:lnTo>
                      <a:pt x="254" y="253"/>
                    </a:lnTo>
                    <a:lnTo>
                      <a:pt x="254" y="251"/>
                    </a:lnTo>
                    <a:lnTo>
                      <a:pt x="252" y="251"/>
                    </a:lnTo>
                    <a:lnTo>
                      <a:pt x="252" y="251"/>
                    </a:lnTo>
                    <a:lnTo>
                      <a:pt x="250" y="249"/>
                    </a:lnTo>
                    <a:lnTo>
                      <a:pt x="250" y="247"/>
                    </a:lnTo>
                    <a:lnTo>
                      <a:pt x="250" y="245"/>
                    </a:lnTo>
                    <a:lnTo>
                      <a:pt x="248" y="245"/>
                    </a:lnTo>
                    <a:lnTo>
                      <a:pt x="248" y="243"/>
                    </a:lnTo>
                    <a:lnTo>
                      <a:pt x="246" y="243"/>
                    </a:lnTo>
                    <a:lnTo>
                      <a:pt x="240" y="239"/>
                    </a:lnTo>
                    <a:lnTo>
                      <a:pt x="235" y="237"/>
                    </a:lnTo>
                    <a:lnTo>
                      <a:pt x="233" y="237"/>
                    </a:lnTo>
                    <a:lnTo>
                      <a:pt x="231" y="236"/>
                    </a:lnTo>
                    <a:lnTo>
                      <a:pt x="229" y="232"/>
                    </a:lnTo>
                    <a:lnTo>
                      <a:pt x="229" y="230"/>
                    </a:lnTo>
                    <a:lnTo>
                      <a:pt x="229" y="228"/>
                    </a:lnTo>
                    <a:lnTo>
                      <a:pt x="229" y="226"/>
                    </a:lnTo>
                    <a:lnTo>
                      <a:pt x="229" y="224"/>
                    </a:lnTo>
                    <a:lnTo>
                      <a:pt x="229" y="224"/>
                    </a:lnTo>
                    <a:lnTo>
                      <a:pt x="231" y="222"/>
                    </a:lnTo>
                    <a:lnTo>
                      <a:pt x="231" y="222"/>
                    </a:lnTo>
                    <a:lnTo>
                      <a:pt x="233" y="222"/>
                    </a:lnTo>
                    <a:lnTo>
                      <a:pt x="233" y="222"/>
                    </a:lnTo>
                    <a:lnTo>
                      <a:pt x="235" y="222"/>
                    </a:lnTo>
                    <a:lnTo>
                      <a:pt x="236" y="222"/>
                    </a:lnTo>
                    <a:lnTo>
                      <a:pt x="238" y="222"/>
                    </a:lnTo>
                    <a:lnTo>
                      <a:pt x="238" y="222"/>
                    </a:lnTo>
                    <a:lnTo>
                      <a:pt x="240" y="222"/>
                    </a:lnTo>
                    <a:lnTo>
                      <a:pt x="240" y="220"/>
                    </a:lnTo>
                    <a:lnTo>
                      <a:pt x="240" y="220"/>
                    </a:lnTo>
                    <a:lnTo>
                      <a:pt x="240" y="218"/>
                    </a:lnTo>
                    <a:lnTo>
                      <a:pt x="238" y="218"/>
                    </a:lnTo>
                    <a:lnTo>
                      <a:pt x="238" y="218"/>
                    </a:lnTo>
                    <a:lnTo>
                      <a:pt x="236" y="215"/>
                    </a:lnTo>
                    <a:lnTo>
                      <a:pt x="235" y="211"/>
                    </a:lnTo>
                    <a:lnTo>
                      <a:pt x="235" y="209"/>
                    </a:lnTo>
                    <a:lnTo>
                      <a:pt x="233" y="207"/>
                    </a:lnTo>
                    <a:lnTo>
                      <a:pt x="233" y="207"/>
                    </a:lnTo>
                    <a:lnTo>
                      <a:pt x="231" y="205"/>
                    </a:lnTo>
                    <a:lnTo>
                      <a:pt x="231" y="205"/>
                    </a:lnTo>
                    <a:lnTo>
                      <a:pt x="231" y="203"/>
                    </a:lnTo>
                    <a:lnTo>
                      <a:pt x="231" y="203"/>
                    </a:lnTo>
                    <a:lnTo>
                      <a:pt x="231" y="201"/>
                    </a:lnTo>
                    <a:lnTo>
                      <a:pt x="233" y="199"/>
                    </a:lnTo>
                    <a:lnTo>
                      <a:pt x="233" y="198"/>
                    </a:lnTo>
                    <a:lnTo>
                      <a:pt x="233" y="196"/>
                    </a:lnTo>
                    <a:lnTo>
                      <a:pt x="231" y="196"/>
                    </a:lnTo>
                    <a:lnTo>
                      <a:pt x="231" y="196"/>
                    </a:lnTo>
                    <a:lnTo>
                      <a:pt x="227" y="199"/>
                    </a:lnTo>
                    <a:lnTo>
                      <a:pt x="227" y="199"/>
                    </a:lnTo>
                    <a:lnTo>
                      <a:pt x="225" y="199"/>
                    </a:lnTo>
                    <a:lnTo>
                      <a:pt x="215" y="201"/>
                    </a:lnTo>
                    <a:lnTo>
                      <a:pt x="214" y="201"/>
                    </a:lnTo>
                    <a:lnTo>
                      <a:pt x="212" y="201"/>
                    </a:lnTo>
                    <a:lnTo>
                      <a:pt x="210" y="201"/>
                    </a:lnTo>
                    <a:lnTo>
                      <a:pt x="208" y="199"/>
                    </a:lnTo>
                    <a:lnTo>
                      <a:pt x="206" y="199"/>
                    </a:lnTo>
                    <a:lnTo>
                      <a:pt x="206" y="199"/>
                    </a:lnTo>
                    <a:lnTo>
                      <a:pt x="206" y="199"/>
                    </a:lnTo>
                    <a:lnTo>
                      <a:pt x="202" y="201"/>
                    </a:lnTo>
                    <a:lnTo>
                      <a:pt x="202" y="201"/>
                    </a:lnTo>
                    <a:lnTo>
                      <a:pt x="200" y="199"/>
                    </a:lnTo>
                    <a:lnTo>
                      <a:pt x="198" y="199"/>
                    </a:lnTo>
                    <a:lnTo>
                      <a:pt x="198" y="198"/>
                    </a:lnTo>
                    <a:lnTo>
                      <a:pt x="200" y="198"/>
                    </a:lnTo>
                    <a:lnTo>
                      <a:pt x="202" y="194"/>
                    </a:lnTo>
                    <a:lnTo>
                      <a:pt x="204" y="192"/>
                    </a:lnTo>
                    <a:lnTo>
                      <a:pt x="212" y="186"/>
                    </a:lnTo>
                    <a:lnTo>
                      <a:pt x="212" y="184"/>
                    </a:lnTo>
                    <a:lnTo>
                      <a:pt x="208" y="182"/>
                    </a:lnTo>
                    <a:lnTo>
                      <a:pt x="206" y="177"/>
                    </a:lnTo>
                    <a:lnTo>
                      <a:pt x="204" y="177"/>
                    </a:lnTo>
                    <a:lnTo>
                      <a:pt x="204" y="177"/>
                    </a:lnTo>
                    <a:lnTo>
                      <a:pt x="202" y="175"/>
                    </a:lnTo>
                    <a:lnTo>
                      <a:pt x="200" y="175"/>
                    </a:lnTo>
                    <a:lnTo>
                      <a:pt x="198" y="175"/>
                    </a:lnTo>
                    <a:lnTo>
                      <a:pt x="196" y="171"/>
                    </a:lnTo>
                    <a:lnTo>
                      <a:pt x="194" y="171"/>
                    </a:lnTo>
                    <a:lnTo>
                      <a:pt x="181" y="167"/>
                    </a:lnTo>
                    <a:lnTo>
                      <a:pt x="175" y="165"/>
                    </a:lnTo>
                    <a:lnTo>
                      <a:pt x="175" y="165"/>
                    </a:lnTo>
                    <a:lnTo>
                      <a:pt x="173" y="163"/>
                    </a:lnTo>
                    <a:lnTo>
                      <a:pt x="173" y="163"/>
                    </a:lnTo>
                    <a:lnTo>
                      <a:pt x="173" y="163"/>
                    </a:lnTo>
                    <a:lnTo>
                      <a:pt x="173" y="161"/>
                    </a:lnTo>
                    <a:lnTo>
                      <a:pt x="173" y="161"/>
                    </a:lnTo>
                    <a:lnTo>
                      <a:pt x="173" y="161"/>
                    </a:lnTo>
                    <a:lnTo>
                      <a:pt x="173" y="159"/>
                    </a:lnTo>
                    <a:lnTo>
                      <a:pt x="173" y="159"/>
                    </a:lnTo>
                    <a:lnTo>
                      <a:pt x="173" y="158"/>
                    </a:lnTo>
                    <a:lnTo>
                      <a:pt x="173" y="156"/>
                    </a:lnTo>
                    <a:lnTo>
                      <a:pt x="173" y="156"/>
                    </a:lnTo>
                    <a:lnTo>
                      <a:pt x="173" y="154"/>
                    </a:lnTo>
                    <a:lnTo>
                      <a:pt x="173" y="152"/>
                    </a:lnTo>
                    <a:lnTo>
                      <a:pt x="173" y="150"/>
                    </a:lnTo>
                    <a:lnTo>
                      <a:pt x="173" y="150"/>
                    </a:lnTo>
                    <a:lnTo>
                      <a:pt x="177" y="150"/>
                    </a:lnTo>
                    <a:lnTo>
                      <a:pt x="179" y="150"/>
                    </a:lnTo>
                    <a:lnTo>
                      <a:pt x="181" y="152"/>
                    </a:lnTo>
                    <a:lnTo>
                      <a:pt x="183" y="152"/>
                    </a:lnTo>
                    <a:lnTo>
                      <a:pt x="187" y="152"/>
                    </a:lnTo>
                    <a:lnTo>
                      <a:pt x="189" y="150"/>
                    </a:lnTo>
                    <a:lnTo>
                      <a:pt x="189" y="148"/>
                    </a:lnTo>
                    <a:lnTo>
                      <a:pt x="191" y="148"/>
                    </a:lnTo>
                    <a:lnTo>
                      <a:pt x="191" y="146"/>
                    </a:lnTo>
                    <a:lnTo>
                      <a:pt x="193" y="144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6" y="144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2"/>
                    </a:lnTo>
                    <a:lnTo>
                      <a:pt x="196" y="142"/>
                    </a:lnTo>
                    <a:lnTo>
                      <a:pt x="194" y="139"/>
                    </a:lnTo>
                    <a:lnTo>
                      <a:pt x="194" y="137"/>
                    </a:lnTo>
                    <a:lnTo>
                      <a:pt x="194" y="135"/>
                    </a:lnTo>
                    <a:lnTo>
                      <a:pt x="193" y="133"/>
                    </a:lnTo>
                    <a:lnTo>
                      <a:pt x="193" y="131"/>
                    </a:lnTo>
                    <a:lnTo>
                      <a:pt x="193" y="131"/>
                    </a:lnTo>
                    <a:lnTo>
                      <a:pt x="191" y="131"/>
                    </a:lnTo>
                    <a:lnTo>
                      <a:pt x="189" y="131"/>
                    </a:lnTo>
                    <a:lnTo>
                      <a:pt x="189" y="131"/>
                    </a:lnTo>
                    <a:lnTo>
                      <a:pt x="187" y="131"/>
                    </a:lnTo>
                    <a:lnTo>
                      <a:pt x="187" y="131"/>
                    </a:lnTo>
                    <a:lnTo>
                      <a:pt x="183" y="131"/>
                    </a:lnTo>
                    <a:lnTo>
                      <a:pt x="183" y="131"/>
                    </a:lnTo>
                    <a:lnTo>
                      <a:pt x="181" y="131"/>
                    </a:lnTo>
                    <a:lnTo>
                      <a:pt x="179" y="129"/>
                    </a:lnTo>
                    <a:lnTo>
                      <a:pt x="177" y="125"/>
                    </a:lnTo>
                    <a:lnTo>
                      <a:pt x="175" y="123"/>
                    </a:lnTo>
                    <a:lnTo>
                      <a:pt x="175" y="123"/>
                    </a:lnTo>
                    <a:lnTo>
                      <a:pt x="173" y="123"/>
                    </a:lnTo>
                    <a:lnTo>
                      <a:pt x="173" y="123"/>
                    </a:lnTo>
                    <a:lnTo>
                      <a:pt x="172" y="123"/>
                    </a:lnTo>
                    <a:lnTo>
                      <a:pt x="172" y="123"/>
                    </a:lnTo>
                    <a:lnTo>
                      <a:pt x="170" y="123"/>
                    </a:lnTo>
                    <a:lnTo>
                      <a:pt x="170" y="123"/>
                    </a:lnTo>
                    <a:lnTo>
                      <a:pt x="170" y="121"/>
                    </a:lnTo>
                    <a:lnTo>
                      <a:pt x="168" y="120"/>
                    </a:lnTo>
                    <a:lnTo>
                      <a:pt x="168" y="118"/>
                    </a:lnTo>
                    <a:lnTo>
                      <a:pt x="166" y="118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2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8" y="118"/>
                    </a:lnTo>
                    <a:lnTo>
                      <a:pt x="158" y="118"/>
                    </a:lnTo>
                    <a:lnTo>
                      <a:pt x="156" y="118"/>
                    </a:lnTo>
                    <a:lnTo>
                      <a:pt x="154" y="116"/>
                    </a:lnTo>
                    <a:lnTo>
                      <a:pt x="154" y="114"/>
                    </a:lnTo>
                    <a:lnTo>
                      <a:pt x="154" y="114"/>
                    </a:lnTo>
                    <a:lnTo>
                      <a:pt x="154" y="108"/>
                    </a:lnTo>
                    <a:lnTo>
                      <a:pt x="154" y="106"/>
                    </a:lnTo>
                    <a:lnTo>
                      <a:pt x="154" y="104"/>
                    </a:lnTo>
                    <a:lnTo>
                      <a:pt x="153" y="104"/>
                    </a:lnTo>
                    <a:lnTo>
                      <a:pt x="151" y="104"/>
                    </a:lnTo>
                    <a:lnTo>
                      <a:pt x="147" y="104"/>
                    </a:lnTo>
                    <a:lnTo>
                      <a:pt x="141" y="108"/>
                    </a:lnTo>
                    <a:lnTo>
                      <a:pt x="139" y="108"/>
                    </a:lnTo>
                    <a:lnTo>
                      <a:pt x="132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4" y="104"/>
                    </a:lnTo>
                    <a:lnTo>
                      <a:pt x="122" y="104"/>
                    </a:lnTo>
                    <a:lnTo>
                      <a:pt x="120" y="102"/>
                    </a:lnTo>
                    <a:lnTo>
                      <a:pt x="118" y="101"/>
                    </a:lnTo>
                    <a:lnTo>
                      <a:pt x="116" y="99"/>
                    </a:lnTo>
                    <a:lnTo>
                      <a:pt x="116" y="99"/>
                    </a:lnTo>
                    <a:lnTo>
                      <a:pt x="114" y="95"/>
                    </a:lnTo>
                    <a:lnTo>
                      <a:pt x="114" y="91"/>
                    </a:lnTo>
                    <a:lnTo>
                      <a:pt x="114" y="91"/>
                    </a:lnTo>
                    <a:lnTo>
                      <a:pt x="112" y="89"/>
                    </a:lnTo>
                    <a:lnTo>
                      <a:pt x="112" y="89"/>
                    </a:lnTo>
                    <a:lnTo>
                      <a:pt x="111" y="89"/>
                    </a:lnTo>
                    <a:lnTo>
                      <a:pt x="111" y="89"/>
                    </a:lnTo>
                    <a:lnTo>
                      <a:pt x="109" y="89"/>
                    </a:lnTo>
                    <a:lnTo>
                      <a:pt x="109" y="89"/>
                    </a:lnTo>
                    <a:lnTo>
                      <a:pt x="107" y="89"/>
                    </a:lnTo>
                    <a:lnTo>
                      <a:pt x="107" y="89"/>
                    </a:lnTo>
                    <a:lnTo>
                      <a:pt x="105" y="89"/>
                    </a:lnTo>
                    <a:lnTo>
                      <a:pt x="103" y="87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99" y="85"/>
                    </a:lnTo>
                    <a:lnTo>
                      <a:pt x="97" y="85"/>
                    </a:lnTo>
                    <a:lnTo>
                      <a:pt x="97" y="85"/>
                    </a:lnTo>
                    <a:lnTo>
                      <a:pt x="97" y="85"/>
                    </a:lnTo>
                    <a:lnTo>
                      <a:pt x="95" y="83"/>
                    </a:lnTo>
                    <a:lnTo>
                      <a:pt x="95" y="83"/>
                    </a:lnTo>
                    <a:lnTo>
                      <a:pt x="95" y="81"/>
                    </a:lnTo>
                    <a:lnTo>
                      <a:pt x="93" y="81"/>
                    </a:lnTo>
                    <a:lnTo>
                      <a:pt x="91" y="80"/>
                    </a:lnTo>
                    <a:lnTo>
                      <a:pt x="88" y="80"/>
                    </a:lnTo>
                    <a:lnTo>
                      <a:pt x="86" y="78"/>
                    </a:lnTo>
                    <a:lnTo>
                      <a:pt x="74" y="62"/>
                    </a:lnTo>
                    <a:lnTo>
                      <a:pt x="72" y="62"/>
                    </a:lnTo>
                    <a:lnTo>
                      <a:pt x="71" y="61"/>
                    </a:lnTo>
                    <a:lnTo>
                      <a:pt x="71" y="61"/>
                    </a:lnTo>
                    <a:lnTo>
                      <a:pt x="69" y="62"/>
                    </a:lnTo>
                    <a:lnTo>
                      <a:pt x="69" y="62"/>
                    </a:lnTo>
                    <a:lnTo>
                      <a:pt x="69" y="61"/>
                    </a:lnTo>
                    <a:lnTo>
                      <a:pt x="67" y="61"/>
                    </a:lnTo>
                    <a:lnTo>
                      <a:pt x="67" y="61"/>
                    </a:lnTo>
                    <a:lnTo>
                      <a:pt x="67" y="59"/>
                    </a:lnTo>
                    <a:lnTo>
                      <a:pt x="65" y="55"/>
                    </a:lnTo>
                    <a:lnTo>
                      <a:pt x="65" y="53"/>
                    </a:lnTo>
                    <a:lnTo>
                      <a:pt x="63" y="51"/>
                    </a:lnTo>
                    <a:lnTo>
                      <a:pt x="61" y="49"/>
                    </a:lnTo>
                    <a:lnTo>
                      <a:pt x="61" y="47"/>
                    </a:lnTo>
                    <a:lnTo>
                      <a:pt x="61" y="47"/>
                    </a:lnTo>
                    <a:lnTo>
                      <a:pt x="61" y="45"/>
                    </a:lnTo>
                    <a:lnTo>
                      <a:pt x="61" y="43"/>
                    </a:lnTo>
                    <a:lnTo>
                      <a:pt x="61" y="43"/>
                    </a:lnTo>
                    <a:lnTo>
                      <a:pt x="63" y="42"/>
                    </a:lnTo>
                    <a:lnTo>
                      <a:pt x="65" y="42"/>
                    </a:lnTo>
                    <a:lnTo>
                      <a:pt x="65" y="40"/>
                    </a:lnTo>
                    <a:lnTo>
                      <a:pt x="65" y="40"/>
                    </a:lnTo>
                    <a:lnTo>
                      <a:pt x="65" y="40"/>
                    </a:lnTo>
                    <a:lnTo>
                      <a:pt x="65" y="40"/>
                    </a:lnTo>
                    <a:lnTo>
                      <a:pt x="65" y="38"/>
                    </a:lnTo>
                    <a:lnTo>
                      <a:pt x="65" y="38"/>
                    </a:lnTo>
                    <a:lnTo>
                      <a:pt x="63" y="38"/>
                    </a:lnTo>
                    <a:lnTo>
                      <a:pt x="63" y="38"/>
                    </a:lnTo>
                    <a:lnTo>
                      <a:pt x="59" y="40"/>
                    </a:lnTo>
                    <a:lnTo>
                      <a:pt x="57" y="40"/>
                    </a:lnTo>
                    <a:lnTo>
                      <a:pt x="57" y="40"/>
                    </a:lnTo>
                    <a:lnTo>
                      <a:pt x="57" y="38"/>
                    </a:lnTo>
                    <a:lnTo>
                      <a:pt x="57" y="38"/>
                    </a:lnTo>
                    <a:lnTo>
                      <a:pt x="57" y="38"/>
                    </a:lnTo>
                    <a:lnTo>
                      <a:pt x="55" y="36"/>
                    </a:lnTo>
                    <a:lnTo>
                      <a:pt x="55" y="36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1" y="32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28"/>
                    </a:lnTo>
                    <a:lnTo>
                      <a:pt x="50" y="26"/>
                    </a:lnTo>
                    <a:lnTo>
                      <a:pt x="51" y="24"/>
                    </a:lnTo>
                    <a:lnTo>
                      <a:pt x="53" y="22"/>
                    </a:lnTo>
                    <a:lnTo>
                      <a:pt x="48" y="21"/>
                    </a:lnTo>
                    <a:lnTo>
                      <a:pt x="46" y="21"/>
                    </a:lnTo>
                    <a:lnTo>
                      <a:pt x="44" y="21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22"/>
                    </a:lnTo>
                    <a:lnTo>
                      <a:pt x="40" y="21"/>
                    </a:lnTo>
                    <a:lnTo>
                      <a:pt x="38" y="19"/>
                    </a:lnTo>
                    <a:lnTo>
                      <a:pt x="36" y="19"/>
                    </a:lnTo>
                    <a:lnTo>
                      <a:pt x="36" y="17"/>
                    </a:lnTo>
                    <a:lnTo>
                      <a:pt x="34" y="19"/>
                    </a:lnTo>
                    <a:lnTo>
                      <a:pt x="34" y="19"/>
                    </a:lnTo>
                    <a:lnTo>
                      <a:pt x="32" y="19"/>
                    </a:lnTo>
                    <a:lnTo>
                      <a:pt x="32" y="19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5" y="9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1" y="11"/>
                    </a:lnTo>
                    <a:lnTo>
                      <a:pt x="21" y="11"/>
                    </a:lnTo>
                    <a:lnTo>
                      <a:pt x="21" y="11"/>
                    </a:lnTo>
                    <a:lnTo>
                      <a:pt x="19" y="11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7" y="7"/>
                    </a:lnTo>
                    <a:lnTo>
                      <a:pt x="15" y="7"/>
                    </a:lnTo>
                    <a:lnTo>
                      <a:pt x="15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13" y="30"/>
                    </a:lnTo>
                    <a:lnTo>
                      <a:pt x="15" y="34"/>
                    </a:lnTo>
                    <a:lnTo>
                      <a:pt x="17" y="36"/>
                    </a:lnTo>
                    <a:lnTo>
                      <a:pt x="17" y="38"/>
                    </a:lnTo>
                    <a:lnTo>
                      <a:pt x="17" y="40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3"/>
                    </a:lnTo>
                    <a:lnTo>
                      <a:pt x="21" y="45"/>
                    </a:lnTo>
                    <a:lnTo>
                      <a:pt x="29" y="61"/>
                    </a:lnTo>
                    <a:lnTo>
                      <a:pt x="30" y="64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6" y="66"/>
                    </a:lnTo>
                    <a:lnTo>
                      <a:pt x="36" y="68"/>
                    </a:lnTo>
                    <a:lnTo>
                      <a:pt x="34" y="72"/>
                    </a:lnTo>
                    <a:lnTo>
                      <a:pt x="36" y="78"/>
                    </a:lnTo>
                    <a:lnTo>
                      <a:pt x="42" y="89"/>
                    </a:lnTo>
                    <a:lnTo>
                      <a:pt x="42" y="93"/>
                    </a:lnTo>
                    <a:lnTo>
                      <a:pt x="42" y="97"/>
                    </a:lnTo>
                    <a:lnTo>
                      <a:pt x="44" y="99"/>
                    </a:lnTo>
                    <a:lnTo>
                      <a:pt x="44" y="97"/>
                    </a:lnTo>
                    <a:lnTo>
                      <a:pt x="46" y="97"/>
                    </a:lnTo>
                    <a:lnTo>
                      <a:pt x="46" y="97"/>
                    </a:lnTo>
                    <a:lnTo>
                      <a:pt x="46" y="97"/>
                    </a:lnTo>
                    <a:lnTo>
                      <a:pt x="46" y="95"/>
                    </a:lnTo>
                    <a:lnTo>
                      <a:pt x="46" y="85"/>
                    </a:lnTo>
                    <a:lnTo>
                      <a:pt x="50" y="85"/>
                    </a:lnTo>
                    <a:lnTo>
                      <a:pt x="51" y="85"/>
                    </a:lnTo>
                    <a:lnTo>
                      <a:pt x="53" y="85"/>
                    </a:lnTo>
                    <a:lnTo>
                      <a:pt x="53" y="85"/>
                    </a:lnTo>
                    <a:lnTo>
                      <a:pt x="55" y="83"/>
                    </a:lnTo>
                    <a:lnTo>
                      <a:pt x="57" y="83"/>
                    </a:lnTo>
                    <a:lnTo>
                      <a:pt x="57" y="81"/>
                    </a:lnTo>
                    <a:lnTo>
                      <a:pt x="59" y="81"/>
                    </a:lnTo>
                    <a:lnTo>
                      <a:pt x="61" y="81"/>
                    </a:lnTo>
                    <a:lnTo>
                      <a:pt x="63" y="81"/>
                    </a:lnTo>
                    <a:lnTo>
                      <a:pt x="65" y="81"/>
                    </a:lnTo>
                    <a:lnTo>
                      <a:pt x="67" y="80"/>
                    </a:lnTo>
                    <a:lnTo>
                      <a:pt x="69" y="81"/>
                    </a:lnTo>
                    <a:lnTo>
                      <a:pt x="69" y="83"/>
                    </a:lnTo>
                    <a:lnTo>
                      <a:pt x="67" y="81"/>
                    </a:lnTo>
                    <a:lnTo>
                      <a:pt x="65" y="83"/>
                    </a:lnTo>
                    <a:lnTo>
                      <a:pt x="63" y="85"/>
                    </a:lnTo>
                    <a:lnTo>
                      <a:pt x="63" y="85"/>
                    </a:lnTo>
                    <a:lnTo>
                      <a:pt x="61" y="87"/>
                    </a:lnTo>
                    <a:lnTo>
                      <a:pt x="59" y="85"/>
                    </a:lnTo>
                    <a:lnTo>
                      <a:pt x="59" y="85"/>
                    </a:lnTo>
                    <a:lnTo>
                      <a:pt x="57" y="87"/>
                    </a:lnTo>
                    <a:lnTo>
                      <a:pt x="57" y="89"/>
                    </a:lnTo>
                    <a:lnTo>
                      <a:pt x="57" y="91"/>
                    </a:lnTo>
                    <a:lnTo>
                      <a:pt x="57" y="93"/>
                    </a:lnTo>
                    <a:lnTo>
                      <a:pt x="57" y="93"/>
                    </a:lnTo>
                    <a:lnTo>
                      <a:pt x="59" y="97"/>
                    </a:lnTo>
                    <a:lnTo>
                      <a:pt x="59" y="97"/>
                    </a:lnTo>
                    <a:lnTo>
                      <a:pt x="57" y="99"/>
                    </a:lnTo>
                    <a:lnTo>
                      <a:pt x="53" y="97"/>
                    </a:lnTo>
                    <a:lnTo>
                      <a:pt x="53" y="99"/>
                    </a:lnTo>
                    <a:lnTo>
                      <a:pt x="55" y="101"/>
                    </a:lnTo>
                    <a:lnTo>
                      <a:pt x="57" y="102"/>
                    </a:lnTo>
                    <a:lnTo>
                      <a:pt x="57" y="104"/>
                    </a:lnTo>
                    <a:lnTo>
                      <a:pt x="61" y="106"/>
                    </a:lnTo>
                    <a:lnTo>
                      <a:pt x="63" y="106"/>
                    </a:lnTo>
                    <a:lnTo>
                      <a:pt x="63" y="104"/>
                    </a:lnTo>
                    <a:lnTo>
                      <a:pt x="67" y="102"/>
                    </a:lnTo>
                    <a:lnTo>
                      <a:pt x="69" y="102"/>
                    </a:lnTo>
                    <a:lnTo>
                      <a:pt x="67" y="104"/>
                    </a:lnTo>
                    <a:lnTo>
                      <a:pt x="67" y="106"/>
                    </a:lnTo>
                    <a:lnTo>
                      <a:pt x="67" y="108"/>
                    </a:lnTo>
                    <a:lnTo>
                      <a:pt x="69" y="108"/>
                    </a:lnTo>
                    <a:lnTo>
                      <a:pt x="69" y="110"/>
                    </a:lnTo>
                    <a:lnTo>
                      <a:pt x="59" y="106"/>
                    </a:lnTo>
                    <a:lnTo>
                      <a:pt x="57" y="108"/>
                    </a:lnTo>
                    <a:lnTo>
                      <a:pt x="59" y="112"/>
                    </a:lnTo>
                    <a:lnTo>
                      <a:pt x="63" y="116"/>
                    </a:lnTo>
                    <a:lnTo>
                      <a:pt x="63" y="116"/>
                    </a:lnTo>
                    <a:lnTo>
                      <a:pt x="63" y="118"/>
                    </a:lnTo>
                    <a:lnTo>
                      <a:pt x="65" y="116"/>
                    </a:lnTo>
                    <a:lnTo>
                      <a:pt x="67" y="116"/>
                    </a:lnTo>
                    <a:lnTo>
                      <a:pt x="82" y="133"/>
                    </a:lnTo>
                    <a:lnTo>
                      <a:pt x="86" y="139"/>
                    </a:lnTo>
                    <a:lnTo>
                      <a:pt x="91" y="156"/>
                    </a:lnTo>
                    <a:lnTo>
                      <a:pt x="91" y="156"/>
                    </a:lnTo>
                    <a:lnTo>
                      <a:pt x="93" y="159"/>
                    </a:lnTo>
                    <a:lnTo>
                      <a:pt x="95" y="161"/>
                    </a:lnTo>
                    <a:lnTo>
                      <a:pt x="95" y="165"/>
                    </a:lnTo>
                    <a:lnTo>
                      <a:pt x="95" y="167"/>
                    </a:lnTo>
                    <a:lnTo>
                      <a:pt x="97" y="167"/>
                    </a:lnTo>
                    <a:lnTo>
                      <a:pt x="99" y="167"/>
                    </a:lnTo>
                    <a:lnTo>
                      <a:pt x="101" y="167"/>
                    </a:lnTo>
                    <a:lnTo>
                      <a:pt x="103" y="169"/>
                    </a:lnTo>
                    <a:lnTo>
                      <a:pt x="105" y="173"/>
                    </a:lnTo>
                    <a:lnTo>
                      <a:pt x="107" y="179"/>
                    </a:lnTo>
                    <a:lnTo>
                      <a:pt x="109" y="180"/>
                    </a:lnTo>
                    <a:lnTo>
                      <a:pt x="111" y="179"/>
                    </a:lnTo>
                    <a:lnTo>
                      <a:pt x="112" y="180"/>
                    </a:lnTo>
                    <a:lnTo>
                      <a:pt x="111" y="182"/>
                    </a:lnTo>
                    <a:lnTo>
                      <a:pt x="111" y="182"/>
                    </a:lnTo>
                    <a:lnTo>
                      <a:pt x="111" y="184"/>
                    </a:lnTo>
                    <a:lnTo>
                      <a:pt x="111" y="184"/>
                    </a:lnTo>
                    <a:lnTo>
                      <a:pt x="111" y="186"/>
                    </a:lnTo>
                    <a:lnTo>
                      <a:pt x="112" y="188"/>
                    </a:lnTo>
                    <a:lnTo>
                      <a:pt x="122" y="215"/>
                    </a:lnTo>
                    <a:lnTo>
                      <a:pt x="130" y="236"/>
                    </a:lnTo>
                    <a:lnTo>
                      <a:pt x="132" y="245"/>
                    </a:lnTo>
                    <a:lnTo>
                      <a:pt x="133" y="251"/>
                    </a:lnTo>
                    <a:lnTo>
                      <a:pt x="137" y="253"/>
                    </a:lnTo>
                    <a:lnTo>
                      <a:pt x="135" y="253"/>
                    </a:lnTo>
                    <a:lnTo>
                      <a:pt x="133" y="255"/>
                    </a:lnTo>
                    <a:lnTo>
                      <a:pt x="133" y="255"/>
                    </a:lnTo>
                    <a:lnTo>
                      <a:pt x="133" y="257"/>
                    </a:lnTo>
                    <a:lnTo>
                      <a:pt x="135" y="258"/>
                    </a:lnTo>
                    <a:lnTo>
                      <a:pt x="135" y="258"/>
                    </a:lnTo>
                    <a:lnTo>
                      <a:pt x="135" y="258"/>
                    </a:lnTo>
                    <a:lnTo>
                      <a:pt x="135" y="262"/>
                    </a:lnTo>
                    <a:lnTo>
                      <a:pt x="143" y="277"/>
                    </a:lnTo>
                    <a:lnTo>
                      <a:pt x="145" y="281"/>
                    </a:lnTo>
                    <a:lnTo>
                      <a:pt x="147" y="283"/>
                    </a:lnTo>
                    <a:lnTo>
                      <a:pt x="149" y="287"/>
                    </a:lnTo>
                    <a:lnTo>
                      <a:pt x="151" y="289"/>
                    </a:lnTo>
                    <a:lnTo>
                      <a:pt x="153" y="295"/>
                    </a:lnTo>
                    <a:lnTo>
                      <a:pt x="153" y="296"/>
                    </a:lnTo>
                    <a:lnTo>
                      <a:pt x="153" y="298"/>
                    </a:lnTo>
                    <a:lnTo>
                      <a:pt x="156" y="304"/>
                    </a:lnTo>
                    <a:lnTo>
                      <a:pt x="158" y="310"/>
                    </a:lnTo>
                    <a:lnTo>
                      <a:pt x="162" y="321"/>
                    </a:lnTo>
                    <a:lnTo>
                      <a:pt x="164" y="325"/>
                    </a:lnTo>
                    <a:lnTo>
                      <a:pt x="164" y="327"/>
                    </a:lnTo>
                    <a:lnTo>
                      <a:pt x="166" y="329"/>
                    </a:lnTo>
                    <a:lnTo>
                      <a:pt x="168" y="331"/>
                    </a:lnTo>
                    <a:lnTo>
                      <a:pt x="170" y="329"/>
                    </a:lnTo>
                    <a:lnTo>
                      <a:pt x="170" y="327"/>
                    </a:lnTo>
                    <a:lnTo>
                      <a:pt x="170" y="325"/>
                    </a:lnTo>
                    <a:lnTo>
                      <a:pt x="168" y="319"/>
                    </a:lnTo>
                    <a:lnTo>
                      <a:pt x="170" y="321"/>
                    </a:lnTo>
                    <a:lnTo>
                      <a:pt x="172" y="321"/>
                    </a:lnTo>
                    <a:lnTo>
                      <a:pt x="172" y="325"/>
                    </a:lnTo>
                    <a:lnTo>
                      <a:pt x="172" y="325"/>
                    </a:lnTo>
                    <a:lnTo>
                      <a:pt x="173" y="323"/>
                    </a:lnTo>
                    <a:lnTo>
                      <a:pt x="173" y="323"/>
                    </a:lnTo>
                    <a:lnTo>
                      <a:pt x="173" y="325"/>
                    </a:lnTo>
                    <a:lnTo>
                      <a:pt x="173" y="325"/>
                    </a:lnTo>
                    <a:lnTo>
                      <a:pt x="173" y="327"/>
                    </a:lnTo>
                    <a:lnTo>
                      <a:pt x="173" y="327"/>
                    </a:lnTo>
                    <a:lnTo>
                      <a:pt x="172" y="329"/>
                    </a:lnTo>
                    <a:lnTo>
                      <a:pt x="166" y="333"/>
                    </a:lnTo>
                    <a:lnTo>
                      <a:pt x="166" y="335"/>
                    </a:lnTo>
                    <a:lnTo>
                      <a:pt x="168" y="336"/>
                    </a:lnTo>
                    <a:lnTo>
                      <a:pt x="168" y="336"/>
                    </a:lnTo>
                    <a:lnTo>
                      <a:pt x="166" y="338"/>
                    </a:lnTo>
                    <a:lnTo>
                      <a:pt x="166" y="340"/>
                    </a:lnTo>
                    <a:lnTo>
                      <a:pt x="172" y="352"/>
                    </a:lnTo>
                    <a:lnTo>
                      <a:pt x="172" y="354"/>
                    </a:lnTo>
                    <a:lnTo>
                      <a:pt x="173" y="355"/>
                    </a:lnTo>
                    <a:lnTo>
                      <a:pt x="173" y="354"/>
                    </a:lnTo>
                    <a:lnTo>
                      <a:pt x="173" y="350"/>
                    </a:lnTo>
                    <a:lnTo>
                      <a:pt x="173" y="346"/>
                    </a:lnTo>
                    <a:lnTo>
                      <a:pt x="172" y="344"/>
                    </a:lnTo>
                    <a:lnTo>
                      <a:pt x="172" y="342"/>
                    </a:lnTo>
                    <a:lnTo>
                      <a:pt x="170" y="338"/>
                    </a:lnTo>
                    <a:lnTo>
                      <a:pt x="172" y="336"/>
                    </a:lnTo>
                    <a:lnTo>
                      <a:pt x="172" y="338"/>
                    </a:lnTo>
                    <a:lnTo>
                      <a:pt x="172" y="340"/>
                    </a:lnTo>
                    <a:lnTo>
                      <a:pt x="173" y="340"/>
                    </a:lnTo>
                    <a:lnTo>
                      <a:pt x="175" y="340"/>
                    </a:lnTo>
                    <a:lnTo>
                      <a:pt x="175" y="348"/>
                    </a:lnTo>
                    <a:lnTo>
                      <a:pt x="177" y="350"/>
                    </a:lnTo>
                    <a:lnTo>
                      <a:pt x="177" y="352"/>
                    </a:lnTo>
                    <a:lnTo>
                      <a:pt x="179" y="357"/>
                    </a:lnTo>
                    <a:lnTo>
                      <a:pt x="181" y="359"/>
                    </a:lnTo>
                    <a:lnTo>
                      <a:pt x="183" y="357"/>
                    </a:lnTo>
                    <a:lnTo>
                      <a:pt x="185" y="359"/>
                    </a:lnTo>
                    <a:lnTo>
                      <a:pt x="189" y="365"/>
                    </a:lnTo>
                    <a:lnTo>
                      <a:pt x="189" y="367"/>
                    </a:lnTo>
                    <a:lnTo>
                      <a:pt x="193" y="371"/>
                    </a:lnTo>
                    <a:lnTo>
                      <a:pt x="193" y="374"/>
                    </a:lnTo>
                    <a:lnTo>
                      <a:pt x="194" y="376"/>
                    </a:lnTo>
                    <a:lnTo>
                      <a:pt x="193" y="378"/>
                    </a:lnTo>
                    <a:lnTo>
                      <a:pt x="193" y="378"/>
                    </a:lnTo>
                    <a:lnTo>
                      <a:pt x="191" y="382"/>
                    </a:lnTo>
                    <a:lnTo>
                      <a:pt x="193" y="382"/>
                    </a:lnTo>
                    <a:lnTo>
                      <a:pt x="193" y="384"/>
                    </a:lnTo>
                    <a:lnTo>
                      <a:pt x="193" y="386"/>
                    </a:lnTo>
                    <a:lnTo>
                      <a:pt x="193" y="388"/>
                    </a:lnTo>
                    <a:lnTo>
                      <a:pt x="193" y="390"/>
                    </a:lnTo>
                    <a:lnTo>
                      <a:pt x="193" y="392"/>
                    </a:lnTo>
                    <a:lnTo>
                      <a:pt x="194" y="392"/>
                    </a:lnTo>
                    <a:lnTo>
                      <a:pt x="194" y="392"/>
                    </a:lnTo>
                    <a:lnTo>
                      <a:pt x="196" y="394"/>
                    </a:lnTo>
                    <a:lnTo>
                      <a:pt x="196" y="399"/>
                    </a:lnTo>
                    <a:lnTo>
                      <a:pt x="196" y="403"/>
                    </a:lnTo>
                    <a:lnTo>
                      <a:pt x="196" y="405"/>
                    </a:lnTo>
                    <a:lnTo>
                      <a:pt x="194" y="409"/>
                    </a:lnTo>
                    <a:lnTo>
                      <a:pt x="196" y="409"/>
                    </a:lnTo>
                    <a:lnTo>
                      <a:pt x="198" y="411"/>
                    </a:lnTo>
                    <a:lnTo>
                      <a:pt x="200" y="409"/>
                    </a:lnTo>
                    <a:lnTo>
                      <a:pt x="202" y="411"/>
                    </a:lnTo>
                    <a:lnTo>
                      <a:pt x="204" y="413"/>
                    </a:lnTo>
                    <a:lnTo>
                      <a:pt x="208" y="413"/>
                    </a:lnTo>
                    <a:lnTo>
                      <a:pt x="204" y="416"/>
                    </a:lnTo>
                    <a:lnTo>
                      <a:pt x="202" y="418"/>
                    </a:lnTo>
                    <a:lnTo>
                      <a:pt x="198" y="416"/>
                    </a:lnTo>
                    <a:lnTo>
                      <a:pt x="196" y="416"/>
                    </a:lnTo>
                    <a:lnTo>
                      <a:pt x="191" y="416"/>
                    </a:lnTo>
                    <a:lnTo>
                      <a:pt x="189" y="414"/>
                    </a:lnTo>
                    <a:lnTo>
                      <a:pt x="189" y="413"/>
                    </a:lnTo>
                    <a:lnTo>
                      <a:pt x="191" y="401"/>
                    </a:lnTo>
                    <a:lnTo>
                      <a:pt x="191" y="399"/>
                    </a:lnTo>
                    <a:lnTo>
                      <a:pt x="193" y="399"/>
                    </a:lnTo>
                    <a:lnTo>
                      <a:pt x="193" y="397"/>
                    </a:lnTo>
                    <a:lnTo>
                      <a:pt x="193" y="395"/>
                    </a:lnTo>
                    <a:lnTo>
                      <a:pt x="191" y="394"/>
                    </a:lnTo>
                    <a:lnTo>
                      <a:pt x="191" y="390"/>
                    </a:lnTo>
                    <a:lnTo>
                      <a:pt x="189" y="384"/>
                    </a:lnTo>
                    <a:lnTo>
                      <a:pt x="189" y="382"/>
                    </a:lnTo>
                    <a:lnTo>
                      <a:pt x="189" y="378"/>
                    </a:lnTo>
                    <a:lnTo>
                      <a:pt x="189" y="376"/>
                    </a:lnTo>
                    <a:lnTo>
                      <a:pt x="189" y="376"/>
                    </a:lnTo>
                    <a:lnTo>
                      <a:pt x="187" y="373"/>
                    </a:lnTo>
                    <a:lnTo>
                      <a:pt x="185" y="371"/>
                    </a:lnTo>
                    <a:lnTo>
                      <a:pt x="185" y="371"/>
                    </a:lnTo>
                    <a:lnTo>
                      <a:pt x="185" y="373"/>
                    </a:lnTo>
                    <a:lnTo>
                      <a:pt x="187" y="376"/>
                    </a:lnTo>
                    <a:lnTo>
                      <a:pt x="187" y="380"/>
                    </a:lnTo>
                    <a:lnTo>
                      <a:pt x="187" y="388"/>
                    </a:lnTo>
                    <a:lnTo>
                      <a:pt x="187" y="392"/>
                    </a:lnTo>
                    <a:lnTo>
                      <a:pt x="187" y="392"/>
                    </a:lnTo>
                    <a:lnTo>
                      <a:pt x="183" y="371"/>
                    </a:lnTo>
                    <a:lnTo>
                      <a:pt x="183" y="369"/>
                    </a:lnTo>
                    <a:lnTo>
                      <a:pt x="181" y="371"/>
                    </a:lnTo>
                    <a:lnTo>
                      <a:pt x="183" y="373"/>
                    </a:lnTo>
                    <a:lnTo>
                      <a:pt x="181" y="373"/>
                    </a:lnTo>
                    <a:lnTo>
                      <a:pt x="181" y="374"/>
                    </a:lnTo>
                    <a:lnTo>
                      <a:pt x="179" y="374"/>
                    </a:lnTo>
                    <a:lnTo>
                      <a:pt x="179" y="373"/>
                    </a:lnTo>
                    <a:lnTo>
                      <a:pt x="179" y="371"/>
                    </a:lnTo>
                    <a:lnTo>
                      <a:pt x="179" y="369"/>
                    </a:lnTo>
                    <a:lnTo>
                      <a:pt x="179" y="367"/>
                    </a:lnTo>
                    <a:lnTo>
                      <a:pt x="179" y="369"/>
                    </a:lnTo>
                    <a:lnTo>
                      <a:pt x="179" y="371"/>
                    </a:lnTo>
                    <a:lnTo>
                      <a:pt x="177" y="369"/>
                    </a:lnTo>
                    <a:lnTo>
                      <a:pt x="177" y="369"/>
                    </a:lnTo>
                    <a:lnTo>
                      <a:pt x="175" y="367"/>
                    </a:lnTo>
                    <a:lnTo>
                      <a:pt x="175" y="365"/>
                    </a:lnTo>
                    <a:lnTo>
                      <a:pt x="177" y="365"/>
                    </a:lnTo>
                    <a:lnTo>
                      <a:pt x="179" y="367"/>
                    </a:lnTo>
                    <a:lnTo>
                      <a:pt x="181" y="365"/>
                    </a:lnTo>
                    <a:lnTo>
                      <a:pt x="179" y="363"/>
                    </a:lnTo>
                    <a:lnTo>
                      <a:pt x="177" y="359"/>
                    </a:lnTo>
                    <a:lnTo>
                      <a:pt x="175" y="359"/>
                    </a:lnTo>
                    <a:lnTo>
                      <a:pt x="173" y="359"/>
                    </a:lnTo>
                    <a:lnTo>
                      <a:pt x="173" y="361"/>
                    </a:lnTo>
                    <a:lnTo>
                      <a:pt x="175" y="367"/>
                    </a:lnTo>
                    <a:lnTo>
                      <a:pt x="175" y="369"/>
                    </a:lnTo>
                    <a:lnTo>
                      <a:pt x="179" y="378"/>
                    </a:lnTo>
                    <a:lnTo>
                      <a:pt x="181" y="397"/>
                    </a:lnTo>
                    <a:lnTo>
                      <a:pt x="181" y="401"/>
                    </a:lnTo>
                    <a:lnTo>
                      <a:pt x="183" y="418"/>
                    </a:lnTo>
                    <a:lnTo>
                      <a:pt x="189" y="439"/>
                    </a:lnTo>
                    <a:lnTo>
                      <a:pt x="200" y="462"/>
                    </a:lnTo>
                    <a:lnTo>
                      <a:pt x="200" y="462"/>
                    </a:lnTo>
                    <a:lnTo>
                      <a:pt x="200" y="460"/>
                    </a:lnTo>
                    <a:lnTo>
                      <a:pt x="196" y="451"/>
                    </a:lnTo>
                    <a:lnTo>
                      <a:pt x="196" y="449"/>
                    </a:lnTo>
                    <a:lnTo>
                      <a:pt x="198" y="451"/>
                    </a:lnTo>
                    <a:lnTo>
                      <a:pt x="200" y="454"/>
                    </a:lnTo>
                    <a:lnTo>
                      <a:pt x="202" y="462"/>
                    </a:lnTo>
                    <a:lnTo>
                      <a:pt x="202" y="462"/>
                    </a:lnTo>
                    <a:lnTo>
                      <a:pt x="202" y="460"/>
                    </a:lnTo>
                    <a:lnTo>
                      <a:pt x="204" y="460"/>
                    </a:lnTo>
                    <a:lnTo>
                      <a:pt x="204" y="458"/>
                    </a:lnTo>
                    <a:lnTo>
                      <a:pt x="204" y="464"/>
                    </a:lnTo>
                    <a:lnTo>
                      <a:pt x="204" y="466"/>
                    </a:lnTo>
                    <a:lnTo>
                      <a:pt x="202" y="466"/>
                    </a:lnTo>
                    <a:lnTo>
                      <a:pt x="202" y="466"/>
                    </a:lnTo>
                    <a:lnTo>
                      <a:pt x="202" y="464"/>
                    </a:lnTo>
                    <a:lnTo>
                      <a:pt x="202" y="464"/>
                    </a:lnTo>
                    <a:lnTo>
                      <a:pt x="202" y="464"/>
                    </a:lnTo>
                    <a:lnTo>
                      <a:pt x="202" y="466"/>
                    </a:lnTo>
                    <a:lnTo>
                      <a:pt x="206" y="473"/>
                    </a:lnTo>
                    <a:lnTo>
                      <a:pt x="206" y="477"/>
                    </a:lnTo>
                    <a:lnTo>
                      <a:pt x="208" y="481"/>
                    </a:lnTo>
                    <a:lnTo>
                      <a:pt x="208" y="483"/>
                    </a:lnTo>
                    <a:lnTo>
                      <a:pt x="210" y="483"/>
                    </a:lnTo>
                    <a:lnTo>
                      <a:pt x="210" y="485"/>
                    </a:lnTo>
                    <a:lnTo>
                      <a:pt x="210" y="487"/>
                    </a:lnTo>
                    <a:lnTo>
                      <a:pt x="212" y="489"/>
                    </a:lnTo>
                    <a:lnTo>
                      <a:pt x="212" y="487"/>
                    </a:lnTo>
                    <a:lnTo>
                      <a:pt x="212" y="485"/>
                    </a:lnTo>
                    <a:lnTo>
                      <a:pt x="214" y="483"/>
                    </a:lnTo>
                    <a:lnTo>
                      <a:pt x="215" y="481"/>
                    </a:lnTo>
                    <a:lnTo>
                      <a:pt x="214" y="483"/>
                    </a:lnTo>
                    <a:lnTo>
                      <a:pt x="214" y="485"/>
                    </a:lnTo>
                    <a:lnTo>
                      <a:pt x="214" y="485"/>
                    </a:lnTo>
                    <a:lnTo>
                      <a:pt x="214" y="487"/>
                    </a:lnTo>
                    <a:lnTo>
                      <a:pt x="215" y="485"/>
                    </a:lnTo>
                    <a:lnTo>
                      <a:pt x="215" y="481"/>
                    </a:lnTo>
                    <a:lnTo>
                      <a:pt x="217" y="481"/>
                    </a:lnTo>
                    <a:lnTo>
                      <a:pt x="219" y="483"/>
                    </a:lnTo>
                    <a:lnTo>
                      <a:pt x="221" y="483"/>
                    </a:lnTo>
                    <a:lnTo>
                      <a:pt x="223" y="481"/>
                    </a:lnTo>
                    <a:lnTo>
                      <a:pt x="223" y="481"/>
                    </a:lnTo>
                    <a:lnTo>
                      <a:pt x="225" y="479"/>
                    </a:lnTo>
                    <a:lnTo>
                      <a:pt x="227" y="479"/>
                    </a:lnTo>
                    <a:lnTo>
                      <a:pt x="227" y="479"/>
                    </a:lnTo>
                    <a:lnTo>
                      <a:pt x="227" y="481"/>
                    </a:lnTo>
                    <a:lnTo>
                      <a:pt x="227" y="481"/>
                    </a:lnTo>
                    <a:lnTo>
                      <a:pt x="225" y="481"/>
                    </a:lnTo>
                    <a:lnTo>
                      <a:pt x="223" y="483"/>
                    </a:lnTo>
                    <a:lnTo>
                      <a:pt x="225" y="483"/>
                    </a:lnTo>
                    <a:lnTo>
                      <a:pt x="225" y="483"/>
                    </a:lnTo>
                    <a:lnTo>
                      <a:pt x="227" y="485"/>
                    </a:lnTo>
                    <a:lnTo>
                      <a:pt x="227" y="485"/>
                    </a:lnTo>
                    <a:lnTo>
                      <a:pt x="219" y="485"/>
                    </a:lnTo>
                    <a:lnTo>
                      <a:pt x="217" y="485"/>
                    </a:lnTo>
                    <a:lnTo>
                      <a:pt x="217" y="487"/>
                    </a:lnTo>
                    <a:lnTo>
                      <a:pt x="215" y="489"/>
                    </a:lnTo>
                    <a:lnTo>
                      <a:pt x="215" y="489"/>
                    </a:lnTo>
                    <a:lnTo>
                      <a:pt x="217" y="491"/>
                    </a:lnTo>
                    <a:lnTo>
                      <a:pt x="219" y="491"/>
                    </a:lnTo>
                    <a:lnTo>
                      <a:pt x="219" y="491"/>
                    </a:lnTo>
                    <a:lnTo>
                      <a:pt x="221" y="491"/>
                    </a:lnTo>
                    <a:lnTo>
                      <a:pt x="221" y="491"/>
                    </a:lnTo>
                    <a:lnTo>
                      <a:pt x="217" y="492"/>
                    </a:lnTo>
                    <a:lnTo>
                      <a:pt x="215" y="492"/>
                    </a:lnTo>
                    <a:lnTo>
                      <a:pt x="214" y="491"/>
                    </a:lnTo>
                    <a:lnTo>
                      <a:pt x="214" y="491"/>
                    </a:lnTo>
                    <a:lnTo>
                      <a:pt x="212" y="492"/>
                    </a:lnTo>
                    <a:lnTo>
                      <a:pt x="214" y="494"/>
                    </a:lnTo>
                    <a:lnTo>
                      <a:pt x="225" y="504"/>
                    </a:lnTo>
                    <a:lnTo>
                      <a:pt x="227" y="506"/>
                    </a:lnTo>
                    <a:lnTo>
                      <a:pt x="231" y="513"/>
                    </a:lnTo>
                    <a:lnTo>
                      <a:pt x="236" y="517"/>
                    </a:lnTo>
                    <a:lnTo>
                      <a:pt x="236" y="521"/>
                    </a:lnTo>
                    <a:lnTo>
                      <a:pt x="246" y="530"/>
                    </a:lnTo>
                    <a:lnTo>
                      <a:pt x="248" y="536"/>
                    </a:lnTo>
                    <a:lnTo>
                      <a:pt x="254" y="542"/>
                    </a:lnTo>
                    <a:lnTo>
                      <a:pt x="265" y="557"/>
                    </a:lnTo>
                    <a:lnTo>
                      <a:pt x="269" y="561"/>
                    </a:lnTo>
                    <a:lnTo>
                      <a:pt x="284" y="570"/>
                    </a:lnTo>
                    <a:lnTo>
                      <a:pt x="284" y="570"/>
                    </a:lnTo>
                    <a:lnTo>
                      <a:pt x="284" y="570"/>
                    </a:lnTo>
                    <a:lnTo>
                      <a:pt x="286" y="570"/>
                    </a:lnTo>
                    <a:lnTo>
                      <a:pt x="288" y="570"/>
                    </a:lnTo>
                    <a:lnTo>
                      <a:pt x="288" y="570"/>
                    </a:lnTo>
                    <a:lnTo>
                      <a:pt x="290" y="569"/>
                    </a:lnTo>
                    <a:lnTo>
                      <a:pt x="290" y="569"/>
                    </a:lnTo>
                    <a:lnTo>
                      <a:pt x="290" y="569"/>
                    </a:lnTo>
                    <a:lnTo>
                      <a:pt x="290" y="567"/>
                    </a:lnTo>
                    <a:lnTo>
                      <a:pt x="290" y="565"/>
                    </a:lnTo>
                    <a:lnTo>
                      <a:pt x="290" y="565"/>
                    </a:lnTo>
                    <a:lnTo>
                      <a:pt x="290" y="563"/>
                    </a:lnTo>
                    <a:lnTo>
                      <a:pt x="292" y="561"/>
                    </a:lnTo>
                    <a:lnTo>
                      <a:pt x="296" y="557"/>
                    </a:lnTo>
                    <a:lnTo>
                      <a:pt x="296" y="555"/>
                    </a:lnTo>
                    <a:lnTo>
                      <a:pt x="296" y="555"/>
                    </a:lnTo>
                    <a:lnTo>
                      <a:pt x="296" y="553"/>
                    </a:lnTo>
                    <a:lnTo>
                      <a:pt x="296" y="550"/>
                    </a:lnTo>
                    <a:lnTo>
                      <a:pt x="296" y="548"/>
                    </a:lnTo>
                    <a:lnTo>
                      <a:pt x="296" y="548"/>
                    </a:lnTo>
                    <a:lnTo>
                      <a:pt x="296" y="548"/>
                    </a:lnTo>
                    <a:lnTo>
                      <a:pt x="296" y="546"/>
                    </a:lnTo>
                    <a:lnTo>
                      <a:pt x="296" y="548"/>
                    </a:lnTo>
                    <a:lnTo>
                      <a:pt x="296" y="548"/>
                    </a:lnTo>
                    <a:lnTo>
                      <a:pt x="297" y="548"/>
                    </a:lnTo>
                    <a:lnTo>
                      <a:pt x="297" y="548"/>
                    </a:lnTo>
                    <a:lnTo>
                      <a:pt x="299" y="548"/>
                    </a:lnTo>
                    <a:lnTo>
                      <a:pt x="299" y="548"/>
                    </a:lnTo>
                    <a:lnTo>
                      <a:pt x="303" y="544"/>
                    </a:lnTo>
                    <a:lnTo>
                      <a:pt x="303" y="542"/>
                    </a:lnTo>
                    <a:lnTo>
                      <a:pt x="305" y="540"/>
                    </a:lnTo>
                    <a:lnTo>
                      <a:pt x="305" y="540"/>
                    </a:lnTo>
                    <a:lnTo>
                      <a:pt x="303" y="538"/>
                    </a:lnTo>
                    <a:lnTo>
                      <a:pt x="303" y="536"/>
                    </a:lnTo>
                    <a:lnTo>
                      <a:pt x="301" y="534"/>
                    </a:lnTo>
                    <a:lnTo>
                      <a:pt x="296" y="530"/>
                    </a:lnTo>
                    <a:lnTo>
                      <a:pt x="294" y="529"/>
                    </a:lnTo>
                    <a:lnTo>
                      <a:pt x="294" y="529"/>
                    </a:lnTo>
                    <a:lnTo>
                      <a:pt x="294" y="527"/>
                    </a:lnTo>
                    <a:lnTo>
                      <a:pt x="292" y="525"/>
                    </a:lnTo>
                    <a:lnTo>
                      <a:pt x="292" y="523"/>
                    </a:lnTo>
                    <a:lnTo>
                      <a:pt x="292" y="523"/>
                    </a:lnTo>
                    <a:lnTo>
                      <a:pt x="292" y="521"/>
                    </a:lnTo>
                    <a:lnTo>
                      <a:pt x="292" y="519"/>
                    </a:lnTo>
                    <a:lnTo>
                      <a:pt x="292" y="519"/>
                    </a:lnTo>
                    <a:lnTo>
                      <a:pt x="294" y="517"/>
                    </a:lnTo>
                    <a:lnTo>
                      <a:pt x="299" y="508"/>
                    </a:lnTo>
                    <a:lnTo>
                      <a:pt x="301" y="502"/>
                    </a:lnTo>
                    <a:lnTo>
                      <a:pt x="301" y="500"/>
                    </a:lnTo>
                    <a:lnTo>
                      <a:pt x="301" y="500"/>
                    </a:lnTo>
                    <a:lnTo>
                      <a:pt x="301" y="498"/>
                    </a:lnTo>
                    <a:lnTo>
                      <a:pt x="299" y="498"/>
                    </a:lnTo>
                    <a:lnTo>
                      <a:pt x="299" y="496"/>
                    </a:lnTo>
                    <a:lnTo>
                      <a:pt x="297" y="496"/>
                    </a:lnTo>
                    <a:lnTo>
                      <a:pt x="296" y="494"/>
                    </a:lnTo>
                    <a:lnTo>
                      <a:pt x="294" y="491"/>
                    </a:lnTo>
                    <a:lnTo>
                      <a:pt x="290" y="483"/>
                    </a:lnTo>
                    <a:lnTo>
                      <a:pt x="290" y="481"/>
                    </a:lnTo>
                    <a:lnTo>
                      <a:pt x="290" y="481"/>
                    </a:lnTo>
                    <a:lnTo>
                      <a:pt x="292" y="479"/>
                    </a:lnTo>
                    <a:lnTo>
                      <a:pt x="296" y="477"/>
                    </a:lnTo>
                    <a:lnTo>
                      <a:pt x="297" y="473"/>
                    </a:lnTo>
                    <a:lnTo>
                      <a:pt x="301" y="466"/>
                    </a:lnTo>
                    <a:lnTo>
                      <a:pt x="309" y="443"/>
                    </a:lnTo>
                    <a:lnTo>
                      <a:pt x="313" y="437"/>
                    </a:lnTo>
                    <a:lnTo>
                      <a:pt x="315" y="428"/>
                    </a:lnTo>
                    <a:lnTo>
                      <a:pt x="317" y="426"/>
                    </a:lnTo>
                    <a:lnTo>
                      <a:pt x="317" y="426"/>
                    </a:lnTo>
                    <a:lnTo>
                      <a:pt x="320" y="422"/>
                    </a:lnTo>
                    <a:lnTo>
                      <a:pt x="320" y="418"/>
                    </a:lnTo>
                    <a:lnTo>
                      <a:pt x="318" y="418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2" name="Freeform 24">
                <a:extLst>
                  <a:ext uri="{FF2B5EF4-FFF2-40B4-BE49-F238E27FC236}">
                    <a16:creationId xmlns:a16="http://schemas.microsoft.com/office/drawing/2014/main" id="{F80CAA63-4178-4C38-8057-7A2E208B5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6944" y="5645624"/>
                <a:ext cx="889000" cy="1406525"/>
              </a:xfrm>
              <a:custGeom>
                <a:avLst/>
                <a:gdLst>
                  <a:gd name="T0" fmla="*/ 534 w 560"/>
                  <a:gd name="T1" fmla="*/ 660 h 886"/>
                  <a:gd name="T2" fmla="*/ 516 w 560"/>
                  <a:gd name="T3" fmla="*/ 633 h 886"/>
                  <a:gd name="T4" fmla="*/ 499 w 560"/>
                  <a:gd name="T5" fmla="*/ 601 h 886"/>
                  <a:gd name="T6" fmla="*/ 476 w 560"/>
                  <a:gd name="T7" fmla="*/ 591 h 886"/>
                  <a:gd name="T8" fmla="*/ 450 w 560"/>
                  <a:gd name="T9" fmla="*/ 610 h 886"/>
                  <a:gd name="T10" fmla="*/ 417 w 560"/>
                  <a:gd name="T11" fmla="*/ 610 h 886"/>
                  <a:gd name="T12" fmla="*/ 381 w 560"/>
                  <a:gd name="T13" fmla="*/ 593 h 886"/>
                  <a:gd name="T14" fmla="*/ 371 w 560"/>
                  <a:gd name="T15" fmla="*/ 614 h 886"/>
                  <a:gd name="T16" fmla="*/ 366 w 560"/>
                  <a:gd name="T17" fmla="*/ 593 h 886"/>
                  <a:gd name="T18" fmla="*/ 360 w 560"/>
                  <a:gd name="T19" fmla="*/ 561 h 886"/>
                  <a:gd name="T20" fmla="*/ 404 w 560"/>
                  <a:gd name="T21" fmla="*/ 586 h 886"/>
                  <a:gd name="T22" fmla="*/ 410 w 560"/>
                  <a:gd name="T23" fmla="*/ 570 h 886"/>
                  <a:gd name="T24" fmla="*/ 417 w 560"/>
                  <a:gd name="T25" fmla="*/ 542 h 886"/>
                  <a:gd name="T26" fmla="*/ 391 w 560"/>
                  <a:gd name="T27" fmla="*/ 540 h 886"/>
                  <a:gd name="T28" fmla="*/ 347 w 560"/>
                  <a:gd name="T29" fmla="*/ 536 h 886"/>
                  <a:gd name="T30" fmla="*/ 339 w 560"/>
                  <a:gd name="T31" fmla="*/ 515 h 886"/>
                  <a:gd name="T32" fmla="*/ 337 w 560"/>
                  <a:gd name="T33" fmla="*/ 458 h 886"/>
                  <a:gd name="T34" fmla="*/ 370 w 560"/>
                  <a:gd name="T35" fmla="*/ 452 h 886"/>
                  <a:gd name="T36" fmla="*/ 360 w 560"/>
                  <a:gd name="T37" fmla="*/ 388 h 886"/>
                  <a:gd name="T38" fmla="*/ 368 w 560"/>
                  <a:gd name="T39" fmla="*/ 352 h 886"/>
                  <a:gd name="T40" fmla="*/ 431 w 560"/>
                  <a:gd name="T41" fmla="*/ 285 h 886"/>
                  <a:gd name="T42" fmla="*/ 419 w 560"/>
                  <a:gd name="T43" fmla="*/ 237 h 886"/>
                  <a:gd name="T44" fmla="*/ 415 w 560"/>
                  <a:gd name="T45" fmla="*/ 173 h 886"/>
                  <a:gd name="T46" fmla="*/ 438 w 560"/>
                  <a:gd name="T47" fmla="*/ 116 h 886"/>
                  <a:gd name="T48" fmla="*/ 432 w 560"/>
                  <a:gd name="T49" fmla="*/ 79 h 886"/>
                  <a:gd name="T50" fmla="*/ 425 w 560"/>
                  <a:gd name="T51" fmla="*/ 22 h 886"/>
                  <a:gd name="T52" fmla="*/ 379 w 560"/>
                  <a:gd name="T53" fmla="*/ 28 h 886"/>
                  <a:gd name="T54" fmla="*/ 335 w 560"/>
                  <a:gd name="T55" fmla="*/ 74 h 886"/>
                  <a:gd name="T56" fmla="*/ 297 w 560"/>
                  <a:gd name="T57" fmla="*/ 97 h 886"/>
                  <a:gd name="T58" fmla="*/ 286 w 560"/>
                  <a:gd name="T59" fmla="*/ 140 h 886"/>
                  <a:gd name="T60" fmla="*/ 228 w 560"/>
                  <a:gd name="T61" fmla="*/ 148 h 886"/>
                  <a:gd name="T62" fmla="*/ 183 w 560"/>
                  <a:gd name="T63" fmla="*/ 140 h 886"/>
                  <a:gd name="T64" fmla="*/ 194 w 560"/>
                  <a:gd name="T65" fmla="*/ 192 h 886"/>
                  <a:gd name="T66" fmla="*/ 139 w 560"/>
                  <a:gd name="T67" fmla="*/ 209 h 886"/>
                  <a:gd name="T68" fmla="*/ 95 w 560"/>
                  <a:gd name="T69" fmla="*/ 213 h 886"/>
                  <a:gd name="T70" fmla="*/ 72 w 560"/>
                  <a:gd name="T71" fmla="*/ 243 h 886"/>
                  <a:gd name="T72" fmla="*/ 40 w 560"/>
                  <a:gd name="T73" fmla="*/ 245 h 886"/>
                  <a:gd name="T74" fmla="*/ 17 w 560"/>
                  <a:gd name="T75" fmla="*/ 260 h 886"/>
                  <a:gd name="T76" fmla="*/ 32 w 560"/>
                  <a:gd name="T77" fmla="*/ 272 h 886"/>
                  <a:gd name="T78" fmla="*/ 47 w 560"/>
                  <a:gd name="T79" fmla="*/ 308 h 886"/>
                  <a:gd name="T80" fmla="*/ 24 w 560"/>
                  <a:gd name="T81" fmla="*/ 357 h 886"/>
                  <a:gd name="T82" fmla="*/ 11 w 560"/>
                  <a:gd name="T83" fmla="*/ 369 h 886"/>
                  <a:gd name="T84" fmla="*/ 19 w 560"/>
                  <a:gd name="T85" fmla="*/ 420 h 886"/>
                  <a:gd name="T86" fmla="*/ 3 w 560"/>
                  <a:gd name="T87" fmla="*/ 466 h 886"/>
                  <a:gd name="T88" fmla="*/ 5 w 560"/>
                  <a:gd name="T89" fmla="*/ 483 h 886"/>
                  <a:gd name="T90" fmla="*/ 30 w 560"/>
                  <a:gd name="T91" fmla="*/ 511 h 886"/>
                  <a:gd name="T92" fmla="*/ 43 w 560"/>
                  <a:gd name="T93" fmla="*/ 546 h 886"/>
                  <a:gd name="T94" fmla="*/ 78 w 560"/>
                  <a:gd name="T95" fmla="*/ 626 h 886"/>
                  <a:gd name="T96" fmla="*/ 80 w 560"/>
                  <a:gd name="T97" fmla="*/ 677 h 886"/>
                  <a:gd name="T98" fmla="*/ 106 w 560"/>
                  <a:gd name="T99" fmla="*/ 740 h 886"/>
                  <a:gd name="T100" fmla="*/ 125 w 560"/>
                  <a:gd name="T101" fmla="*/ 755 h 886"/>
                  <a:gd name="T102" fmla="*/ 150 w 560"/>
                  <a:gd name="T103" fmla="*/ 776 h 886"/>
                  <a:gd name="T104" fmla="*/ 166 w 560"/>
                  <a:gd name="T105" fmla="*/ 801 h 886"/>
                  <a:gd name="T106" fmla="*/ 217 w 560"/>
                  <a:gd name="T107" fmla="*/ 844 h 886"/>
                  <a:gd name="T108" fmla="*/ 268 w 560"/>
                  <a:gd name="T109" fmla="*/ 863 h 886"/>
                  <a:gd name="T110" fmla="*/ 309 w 560"/>
                  <a:gd name="T111" fmla="*/ 884 h 886"/>
                  <a:gd name="T112" fmla="*/ 396 w 560"/>
                  <a:gd name="T113" fmla="*/ 861 h 886"/>
                  <a:gd name="T114" fmla="*/ 461 w 560"/>
                  <a:gd name="T115" fmla="*/ 827 h 886"/>
                  <a:gd name="T116" fmla="*/ 438 w 560"/>
                  <a:gd name="T117" fmla="*/ 776 h 886"/>
                  <a:gd name="T118" fmla="*/ 465 w 560"/>
                  <a:gd name="T119" fmla="*/ 728 h 886"/>
                  <a:gd name="T120" fmla="*/ 522 w 560"/>
                  <a:gd name="T121" fmla="*/ 728 h 886"/>
                  <a:gd name="T122" fmla="*/ 541 w 560"/>
                  <a:gd name="T123" fmla="*/ 721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60" h="886">
                    <a:moveTo>
                      <a:pt x="560" y="675"/>
                    </a:moveTo>
                    <a:lnTo>
                      <a:pt x="560" y="673"/>
                    </a:lnTo>
                    <a:lnTo>
                      <a:pt x="560" y="673"/>
                    </a:lnTo>
                    <a:lnTo>
                      <a:pt x="560" y="673"/>
                    </a:lnTo>
                    <a:lnTo>
                      <a:pt x="558" y="671"/>
                    </a:lnTo>
                    <a:lnTo>
                      <a:pt x="558" y="673"/>
                    </a:lnTo>
                    <a:lnTo>
                      <a:pt x="556" y="675"/>
                    </a:lnTo>
                    <a:lnTo>
                      <a:pt x="556" y="675"/>
                    </a:lnTo>
                    <a:lnTo>
                      <a:pt x="555" y="675"/>
                    </a:lnTo>
                    <a:lnTo>
                      <a:pt x="555" y="675"/>
                    </a:lnTo>
                    <a:lnTo>
                      <a:pt x="555" y="675"/>
                    </a:lnTo>
                    <a:lnTo>
                      <a:pt x="553" y="675"/>
                    </a:lnTo>
                    <a:lnTo>
                      <a:pt x="549" y="671"/>
                    </a:lnTo>
                    <a:lnTo>
                      <a:pt x="547" y="669"/>
                    </a:lnTo>
                    <a:lnTo>
                      <a:pt x="547" y="669"/>
                    </a:lnTo>
                    <a:lnTo>
                      <a:pt x="545" y="671"/>
                    </a:lnTo>
                    <a:lnTo>
                      <a:pt x="545" y="671"/>
                    </a:lnTo>
                    <a:lnTo>
                      <a:pt x="545" y="669"/>
                    </a:lnTo>
                    <a:lnTo>
                      <a:pt x="543" y="669"/>
                    </a:lnTo>
                    <a:lnTo>
                      <a:pt x="543" y="669"/>
                    </a:lnTo>
                    <a:lnTo>
                      <a:pt x="541" y="669"/>
                    </a:lnTo>
                    <a:lnTo>
                      <a:pt x="541" y="669"/>
                    </a:lnTo>
                    <a:lnTo>
                      <a:pt x="539" y="669"/>
                    </a:lnTo>
                    <a:lnTo>
                      <a:pt x="539" y="669"/>
                    </a:lnTo>
                    <a:lnTo>
                      <a:pt x="537" y="669"/>
                    </a:lnTo>
                    <a:lnTo>
                      <a:pt x="537" y="667"/>
                    </a:lnTo>
                    <a:lnTo>
                      <a:pt x="537" y="665"/>
                    </a:lnTo>
                    <a:lnTo>
                      <a:pt x="535" y="665"/>
                    </a:lnTo>
                    <a:lnTo>
                      <a:pt x="535" y="664"/>
                    </a:lnTo>
                    <a:lnTo>
                      <a:pt x="534" y="664"/>
                    </a:lnTo>
                    <a:lnTo>
                      <a:pt x="534" y="662"/>
                    </a:lnTo>
                    <a:lnTo>
                      <a:pt x="534" y="662"/>
                    </a:lnTo>
                    <a:lnTo>
                      <a:pt x="534" y="660"/>
                    </a:lnTo>
                    <a:lnTo>
                      <a:pt x="534" y="660"/>
                    </a:lnTo>
                    <a:lnTo>
                      <a:pt x="535" y="660"/>
                    </a:lnTo>
                    <a:lnTo>
                      <a:pt x="535" y="658"/>
                    </a:lnTo>
                    <a:lnTo>
                      <a:pt x="535" y="658"/>
                    </a:lnTo>
                    <a:lnTo>
                      <a:pt x="535" y="652"/>
                    </a:lnTo>
                    <a:lnTo>
                      <a:pt x="535" y="650"/>
                    </a:lnTo>
                    <a:lnTo>
                      <a:pt x="535" y="648"/>
                    </a:lnTo>
                    <a:lnTo>
                      <a:pt x="535" y="648"/>
                    </a:lnTo>
                    <a:lnTo>
                      <a:pt x="535" y="646"/>
                    </a:lnTo>
                    <a:lnTo>
                      <a:pt x="535" y="646"/>
                    </a:lnTo>
                    <a:lnTo>
                      <a:pt x="535" y="643"/>
                    </a:lnTo>
                    <a:lnTo>
                      <a:pt x="535" y="641"/>
                    </a:lnTo>
                    <a:lnTo>
                      <a:pt x="535" y="639"/>
                    </a:lnTo>
                    <a:lnTo>
                      <a:pt x="537" y="637"/>
                    </a:lnTo>
                    <a:lnTo>
                      <a:pt x="537" y="637"/>
                    </a:lnTo>
                    <a:lnTo>
                      <a:pt x="537" y="635"/>
                    </a:lnTo>
                    <a:lnTo>
                      <a:pt x="535" y="635"/>
                    </a:lnTo>
                    <a:lnTo>
                      <a:pt x="535" y="635"/>
                    </a:lnTo>
                    <a:lnTo>
                      <a:pt x="534" y="635"/>
                    </a:lnTo>
                    <a:lnTo>
                      <a:pt x="532" y="635"/>
                    </a:lnTo>
                    <a:lnTo>
                      <a:pt x="532" y="635"/>
                    </a:lnTo>
                    <a:lnTo>
                      <a:pt x="532" y="635"/>
                    </a:lnTo>
                    <a:lnTo>
                      <a:pt x="530" y="635"/>
                    </a:lnTo>
                    <a:lnTo>
                      <a:pt x="528" y="633"/>
                    </a:lnTo>
                    <a:lnTo>
                      <a:pt x="528" y="633"/>
                    </a:lnTo>
                    <a:lnTo>
                      <a:pt x="528" y="633"/>
                    </a:lnTo>
                    <a:lnTo>
                      <a:pt x="526" y="633"/>
                    </a:lnTo>
                    <a:lnTo>
                      <a:pt x="524" y="635"/>
                    </a:lnTo>
                    <a:lnTo>
                      <a:pt x="524" y="635"/>
                    </a:lnTo>
                    <a:lnTo>
                      <a:pt x="522" y="635"/>
                    </a:lnTo>
                    <a:lnTo>
                      <a:pt x="522" y="635"/>
                    </a:lnTo>
                    <a:lnTo>
                      <a:pt x="518" y="635"/>
                    </a:lnTo>
                    <a:lnTo>
                      <a:pt x="516" y="633"/>
                    </a:lnTo>
                    <a:lnTo>
                      <a:pt x="514" y="633"/>
                    </a:lnTo>
                    <a:lnTo>
                      <a:pt x="513" y="633"/>
                    </a:lnTo>
                    <a:lnTo>
                      <a:pt x="513" y="633"/>
                    </a:lnTo>
                    <a:lnTo>
                      <a:pt x="513" y="633"/>
                    </a:lnTo>
                    <a:lnTo>
                      <a:pt x="511" y="631"/>
                    </a:lnTo>
                    <a:lnTo>
                      <a:pt x="507" y="627"/>
                    </a:lnTo>
                    <a:lnTo>
                      <a:pt x="505" y="626"/>
                    </a:lnTo>
                    <a:lnTo>
                      <a:pt x="505" y="626"/>
                    </a:lnTo>
                    <a:lnTo>
                      <a:pt x="503" y="626"/>
                    </a:lnTo>
                    <a:lnTo>
                      <a:pt x="503" y="626"/>
                    </a:lnTo>
                    <a:lnTo>
                      <a:pt x="501" y="627"/>
                    </a:lnTo>
                    <a:lnTo>
                      <a:pt x="499" y="627"/>
                    </a:lnTo>
                    <a:lnTo>
                      <a:pt x="499" y="626"/>
                    </a:lnTo>
                    <a:lnTo>
                      <a:pt x="497" y="624"/>
                    </a:lnTo>
                    <a:lnTo>
                      <a:pt x="497" y="624"/>
                    </a:lnTo>
                    <a:lnTo>
                      <a:pt x="497" y="622"/>
                    </a:lnTo>
                    <a:lnTo>
                      <a:pt x="497" y="622"/>
                    </a:lnTo>
                    <a:lnTo>
                      <a:pt x="499" y="622"/>
                    </a:lnTo>
                    <a:lnTo>
                      <a:pt x="501" y="622"/>
                    </a:lnTo>
                    <a:lnTo>
                      <a:pt x="501" y="622"/>
                    </a:lnTo>
                    <a:lnTo>
                      <a:pt x="503" y="622"/>
                    </a:lnTo>
                    <a:lnTo>
                      <a:pt x="503" y="620"/>
                    </a:lnTo>
                    <a:lnTo>
                      <a:pt x="503" y="620"/>
                    </a:lnTo>
                    <a:lnTo>
                      <a:pt x="503" y="618"/>
                    </a:lnTo>
                    <a:lnTo>
                      <a:pt x="501" y="616"/>
                    </a:lnTo>
                    <a:lnTo>
                      <a:pt x="501" y="614"/>
                    </a:lnTo>
                    <a:lnTo>
                      <a:pt x="499" y="614"/>
                    </a:lnTo>
                    <a:lnTo>
                      <a:pt x="501" y="612"/>
                    </a:lnTo>
                    <a:lnTo>
                      <a:pt x="501" y="610"/>
                    </a:lnTo>
                    <a:lnTo>
                      <a:pt x="501" y="608"/>
                    </a:lnTo>
                    <a:lnTo>
                      <a:pt x="501" y="606"/>
                    </a:lnTo>
                    <a:lnTo>
                      <a:pt x="501" y="605"/>
                    </a:lnTo>
                    <a:lnTo>
                      <a:pt x="499" y="601"/>
                    </a:lnTo>
                    <a:lnTo>
                      <a:pt x="494" y="597"/>
                    </a:lnTo>
                    <a:lnTo>
                      <a:pt x="490" y="599"/>
                    </a:lnTo>
                    <a:lnTo>
                      <a:pt x="490" y="599"/>
                    </a:lnTo>
                    <a:lnTo>
                      <a:pt x="490" y="599"/>
                    </a:lnTo>
                    <a:lnTo>
                      <a:pt x="488" y="599"/>
                    </a:lnTo>
                    <a:lnTo>
                      <a:pt x="486" y="599"/>
                    </a:lnTo>
                    <a:lnTo>
                      <a:pt x="484" y="599"/>
                    </a:lnTo>
                    <a:lnTo>
                      <a:pt x="484" y="601"/>
                    </a:lnTo>
                    <a:lnTo>
                      <a:pt x="482" y="603"/>
                    </a:lnTo>
                    <a:lnTo>
                      <a:pt x="480" y="603"/>
                    </a:lnTo>
                    <a:lnTo>
                      <a:pt x="480" y="605"/>
                    </a:lnTo>
                    <a:lnTo>
                      <a:pt x="480" y="603"/>
                    </a:lnTo>
                    <a:lnTo>
                      <a:pt x="478" y="603"/>
                    </a:lnTo>
                    <a:lnTo>
                      <a:pt x="478" y="601"/>
                    </a:lnTo>
                    <a:lnTo>
                      <a:pt x="478" y="599"/>
                    </a:lnTo>
                    <a:lnTo>
                      <a:pt x="478" y="597"/>
                    </a:lnTo>
                    <a:lnTo>
                      <a:pt x="478" y="597"/>
                    </a:lnTo>
                    <a:lnTo>
                      <a:pt x="478" y="595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89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0" y="587"/>
                    </a:lnTo>
                    <a:lnTo>
                      <a:pt x="478" y="587"/>
                    </a:lnTo>
                    <a:lnTo>
                      <a:pt x="478" y="589"/>
                    </a:lnTo>
                    <a:lnTo>
                      <a:pt x="478" y="589"/>
                    </a:lnTo>
                    <a:lnTo>
                      <a:pt x="478" y="591"/>
                    </a:lnTo>
                    <a:lnTo>
                      <a:pt x="476" y="591"/>
                    </a:lnTo>
                    <a:lnTo>
                      <a:pt x="476" y="593"/>
                    </a:lnTo>
                    <a:lnTo>
                      <a:pt x="474" y="593"/>
                    </a:lnTo>
                    <a:lnTo>
                      <a:pt x="473" y="593"/>
                    </a:lnTo>
                    <a:lnTo>
                      <a:pt x="473" y="591"/>
                    </a:lnTo>
                    <a:lnTo>
                      <a:pt x="471" y="591"/>
                    </a:lnTo>
                    <a:lnTo>
                      <a:pt x="471" y="591"/>
                    </a:lnTo>
                    <a:lnTo>
                      <a:pt x="469" y="591"/>
                    </a:lnTo>
                    <a:lnTo>
                      <a:pt x="467" y="591"/>
                    </a:lnTo>
                    <a:lnTo>
                      <a:pt x="465" y="589"/>
                    </a:lnTo>
                    <a:lnTo>
                      <a:pt x="463" y="589"/>
                    </a:lnTo>
                    <a:lnTo>
                      <a:pt x="463" y="589"/>
                    </a:lnTo>
                    <a:lnTo>
                      <a:pt x="461" y="591"/>
                    </a:lnTo>
                    <a:lnTo>
                      <a:pt x="461" y="591"/>
                    </a:lnTo>
                    <a:lnTo>
                      <a:pt x="461" y="593"/>
                    </a:lnTo>
                    <a:lnTo>
                      <a:pt x="461" y="593"/>
                    </a:lnTo>
                    <a:lnTo>
                      <a:pt x="461" y="595"/>
                    </a:lnTo>
                    <a:lnTo>
                      <a:pt x="463" y="595"/>
                    </a:lnTo>
                    <a:lnTo>
                      <a:pt x="463" y="597"/>
                    </a:lnTo>
                    <a:lnTo>
                      <a:pt x="463" y="597"/>
                    </a:lnTo>
                    <a:lnTo>
                      <a:pt x="463" y="597"/>
                    </a:lnTo>
                    <a:lnTo>
                      <a:pt x="463" y="599"/>
                    </a:lnTo>
                    <a:lnTo>
                      <a:pt x="463" y="599"/>
                    </a:lnTo>
                    <a:lnTo>
                      <a:pt x="461" y="601"/>
                    </a:lnTo>
                    <a:lnTo>
                      <a:pt x="459" y="603"/>
                    </a:lnTo>
                    <a:lnTo>
                      <a:pt x="457" y="603"/>
                    </a:lnTo>
                    <a:lnTo>
                      <a:pt x="457" y="605"/>
                    </a:lnTo>
                    <a:lnTo>
                      <a:pt x="455" y="605"/>
                    </a:lnTo>
                    <a:lnTo>
                      <a:pt x="455" y="606"/>
                    </a:lnTo>
                    <a:lnTo>
                      <a:pt x="452" y="606"/>
                    </a:lnTo>
                    <a:lnTo>
                      <a:pt x="452" y="606"/>
                    </a:lnTo>
                    <a:lnTo>
                      <a:pt x="450" y="608"/>
                    </a:lnTo>
                    <a:lnTo>
                      <a:pt x="450" y="608"/>
                    </a:lnTo>
                    <a:lnTo>
                      <a:pt x="450" y="610"/>
                    </a:lnTo>
                    <a:lnTo>
                      <a:pt x="450" y="612"/>
                    </a:lnTo>
                    <a:lnTo>
                      <a:pt x="448" y="612"/>
                    </a:lnTo>
                    <a:lnTo>
                      <a:pt x="448" y="612"/>
                    </a:lnTo>
                    <a:lnTo>
                      <a:pt x="446" y="612"/>
                    </a:lnTo>
                    <a:lnTo>
                      <a:pt x="446" y="612"/>
                    </a:lnTo>
                    <a:lnTo>
                      <a:pt x="446" y="610"/>
                    </a:lnTo>
                    <a:lnTo>
                      <a:pt x="444" y="610"/>
                    </a:lnTo>
                    <a:lnTo>
                      <a:pt x="442" y="610"/>
                    </a:lnTo>
                    <a:lnTo>
                      <a:pt x="442" y="610"/>
                    </a:lnTo>
                    <a:lnTo>
                      <a:pt x="440" y="610"/>
                    </a:lnTo>
                    <a:lnTo>
                      <a:pt x="440" y="612"/>
                    </a:lnTo>
                    <a:lnTo>
                      <a:pt x="438" y="612"/>
                    </a:lnTo>
                    <a:lnTo>
                      <a:pt x="438" y="612"/>
                    </a:lnTo>
                    <a:lnTo>
                      <a:pt x="438" y="614"/>
                    </a:lnTo>
                    <a:lnTo>
                      <a:pt x="438" y="616"/>
                    </a:lnTo>
                    <a:lnTo>
                      <a:pt x="438" y="616"/>
                    </a:lnTo>
                    <a:lnTo>
                      <a:pt x="438" y="616"/>
                    </a:lnTo>
                    <a:lnTo>
                      <a:pt x="434" y="616"/>
                    </a:lnTo>
                    <a:lnTo>
                      <a:pt x="434" y="616"/>
                    </a:lnTo>
                    <a:lnTo>
                      <a:pt x="431" y="618"/>
                    </a:lnTo>
                    <a:lnTo>
                      <a:pt x="427" y="620"/>
                    </a:lnTo>
                    <a:lnTo>
                      <a:pt x="427" y="620"/>
                    </a:lnTo>
                    <a:lnTo>
                      <a:pt x="425" y="620"/>
                    </a:lnTo>
                    <a:lnTo>
                      <a:pt x="423" y="620"/>
                    </a:lnTo>
                    <a:lnTo>
                      <a:pt x="423" y="620"/>
                    </a:lnTo>
                    <a:lnTo>
                      <a:pt x="421" y="622"/>
                    </a:lnTo>
                    <a:lnTo>
                      <a:pt x="421" y="620"/>
                    </a:lnTo>
                    <a:lnTo>
                      <a:pt x="419" y="620"/>
                    </a:lnTo>
                    <a:lnTo>
                      <a:pt x="419" y="618"/>
                    </a:lnTo>
                    <a:lnTo>
                      <a:pt x="419" y="614"/>
                    </a:lnTo>
                    <a:lnTo>
                      <a:pt x="419" y="614"/>
                    </a:lnTo>
                    <a:lnTo>
                      <a:pt x="419" y="610"/>
                    </a:lnTo>
                    <a:lnTo>
                      <a:pt x="417" y="610"/>
                    </a:lnTo>
                    <a:lnTo>
                      <a:pt x="417" y="608"/>
                    </a:lnTo>
                    <a:lnTo>
                      <a:pt x="417" y="606"/>
                    </a:lnTo>
                    <a:lnTo>
                      <a:pt x="415" y="606"/>
                    </a:lnTo>
                    <a:lnTo>
                      <a:pt x="413" y="605"/>
                    </a:lnTo>
                    <a:lnTo>
                      <a:pt x="413" y="605"/>
                    </a:lnTo>
                    <a:lnTo>
                      <a:pt x="413" y="603"/>
                    </a:lnTo>
                    <a:lnTo>
                      <a:pt x="413" y="603"/>
                    </a:lnTo>
                    <a:lnTo>
                      <a:pt x="413" y="603"/>
                    </a:lnTo>
                    <a:lnTo>
                      <a:pt x="410" y="603"/>
                    </a:lnTo>
                    <a:lnTo>
                      <a:pt x="406" y="601"/>
                    </a:lnTo>
                    <a:lnTo>
                      <a:pt x="404" y="601"/>
                    </a:lnTo>
                    <a:lnTo>
                      <a:pt x="404" y="601"/>
                    </a:lnTo>
                    <a:lnTo>
                      <a:pt x="402" y="601"/>
                    </a:lnTo>
                    <a:lnTo>
                      <a:pt x="400" y="601"/>
                    </a:lnTo>
                    <a:lnTo>
                      <a:pt x="400" y="601"/>
                    </a:lnTo>
                    <a:lnTo>
                      <a:pt x="398" y="601"/>
                    </a:lnTo>
                    <a:lnTo>
                      <a:pt x="396" y="599"/>
                    </a:lnTo>
                    <a:lnTo>
                      <a:pt x="396" y="599"/>
                    </a:lnTo>
                    <a:lnTo>
                      <a:pt x="392" y="599"/>
                    </a:lnTo>
                    <a:lnTo>
                      <a:pt x="392" y="599"/>
                    </a:lnTo>
                    <a:lnTo>
                      <a:pt x="391" y="597"/>
                    </a:lnTo>
                    <a:lnTo>
                      <a:pt x="389" y="595"/>
                    </a:lnTo>
                    <a:lnTo>
                      <a:pt x="389" y="595"/>
                    </a:lnTo>
                    <a:lnTo>
                      <a:pt x="387" y="597"/>
                    </a:lnTo>
                    <a:lnTo>
                      <a:pt x="385" y="599"/>
                    </a:lnTo>
                    <a:lnTo>
                      <a:pt x="385" y="599"/>
                    </a:lnTo>
                    <a:lnTo>
                      <a:pt x="383" y="597"/>
                    </a:lnTo>
                    <a:lnTo>
                      <a:pt x="383" y="597"/>
                    </a:lnTo>
                    <a:lnTo>
                      <a:pt x="383" y="595"/>
                    </a:lnTo>
                    <a:lnTo>
                      <a:pt x="383" y="595"/>
                    </a:lnTo>
                    <a:lnTo>
                      <a:pt x="383" y="593"/>
                    </a:lnTo>
                    <a:lnTo>
                      <a:pt x="383" y="593"/>
                    </a:lnTo>
                    <a:lnTo>
                      <a:pt x="381" y="593"/>
                    </a:lnTo>
                    <a:lnTo>
                      <a:pt x="381" y="595"/>
                    </a:lnTo>
                    <a:lnTo>
                      <a:pt x="381" y="595"/>
                    </a:lnTo>
                    <a:lnTo>
                      <a:pt x="381" y="595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9"/>
                    </a:lnTo>
                    <a:lnTo>
                      <a:pt x="379" y="599"/>
                    </a:lnTo>
                    <a:lnTo>
                      <a:pt x="379" y="599"/>
                    </a:lnTo>
                    <a:lnTo>
                      <a:pt x="377" y="599"/>
                    </a:lnTo>
                    <a:lnTo>
                      <a:pt x="377" y="601"/>
                    </a:lnTo>
                    <a:lnTo>
                      <a:pt x="377" y="601"/>
                    </a:lnTo>
                    <a:lnTo>
                      <a:pt x="377" y="601"/>
                    </a:lnTo>
                    <a:lnTo>
                      <a:pt x="377" y="603"/>
                    </a:lnTo>
                    <a:lnTo>
                      <a:pt x="379" y="603"/>
                    </a:lnTo>
                    <a:lnTo>
                      <a:pt x="379" y="603"/>
                    </a:lnTo>
                    <a:lnTo>
                      <a:pt x="381" y="605"/>
                    </a:lnTo>
                    <a:lnTo>
                      <a:pt x="381" y="605"/>
                    </a:lnTo>
                    <a:lnTo>
                      <a:pt x="381" y="606"/>
                    </a:lnTo>
                    <a:lnTo>
                      <a:pt x="381" y="608"/>
                    </a:lnTo>
                    <a:lnTo>
                      <a:pt x="381" y="610"/>
                    </a:lnTo>
                    <a:lnTo>
                      <a:pt x="381" y="610"/>
                    </a:lnTo>
                    <a:lnTo>
                      <a:pt x="381" y="612"/>
                    </a:lnTo>
                    <a:lnTo>
                      <a:pt x="379" y="612"/>
                    </a:lnTo>
                    <a:lnTo>
                      <a:pt x="377" y="612"/>
                    </a:lnTo>
                    <a:lnTo>
                      <a:pt x="377" y="612"/>
                    </a:lnTo>
                    <a:lnTo>
                      <a:pt x="375" y="612"/>
                    </a:lnTo>
                    <a:lnTo>
                      <a:pt x="373" y="612"/>
                    </a:lnTo>
                    <a:lnTo>
                      <a:pt x="371" y="612"/>
                    </a:lnTo>
                    <a:lnTo>
                      <a:pt x="371" y="612"/>
                    </a:lnTo>
                    <a:lnTo>
                      <a:pt x="371" y="612"/>
                    </a:lnTo>
                    <a:lnTo>
                      <a:pt x="371" y="614"/>
                    </a:lnTo>
                    <a:lnTo>
                      <a:pt x="370" y="614"/>
                    </a:lnTo>
                    <a:lnTo>
                      <a:pt x="370" y="614"/>
                    </a:lnTo>
                    <a:lnTo>
                      <a:pt x="368" y="614"/>
                    </a:lnTo>
                    <a:lnTo>
                      <a:pt x="368" y="614"/>
                    </a:lnTo>
                    <a:lnTo>
                      <a:pt x="366" y="612"/>
                    </a:lnTo>
                    <a:lnTo>
                      <a:pt x="366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2" y="612"/>
                    </a:lnTo>
                    <a:lnTo>
                      <a:pt x="362" y="612"/>
                    </a:lnTo>
                    <a:lnTo>
                      <a:pt x="362" y="614"/>
                    </a:lnTo>
                    <a:lnTo>
                      <a:pt x="362" y="614"/>
                    </a:lnTo>
                    <a:lnTo>
                      <a:pt x="360" y="614"/>
                    </a:lnTo>
                    <a:lnTo>
                      <a:pt x="360" y="612"/>
                    </a:lnTo>
                    <a:lnTo>
                      <a:pt x="360" y="610"/>
                    </a:lnTo>
                    <a:lnTo>
                      <a:pt x="358" y="606"/>
                    </a:lnTo>
                    <a:lnTo>
                      <a:pt x="358" y="605"/>
                    </a:lnTo>
                    <a:lnTo>
                      <a:pt x="358" y="603"/>
                    </a:lnTo>
                    <a:lnTo>
                      <a:pt x="360" y="603"/>
                    </a:lnTo>
                    <a:lnTo>
                      <a:pt x="362" y="601"/>
                    </a:lnTo>
                    <a:lnTo>
                      <a:pt x="362" y="599"/>
                    </a:lnTo>
                    <a:lnTo>
                      <a:pt x="362" y="599"/>
                    </a:lnTo>
                    <a:lnTo>
                      <a:pt x="362" y="599"/>
                    </a:lnTo>
                    <a:lnTo>
                      <a:pt x="364" y="597"/>
                    </a:lnTo>
                    <a:lnTo>
                      <a:pt x="364" y="597"/>
                    </a:lnTo>
                    <a:lnTo>
                      <a:pt x="364" y="595"/>
                    </a:lnTo>
                    <a:lnTo>
                      <a:pt x="364" y="595"/>
                    </a:lnTo>
                    <a:lnTo>
                      <a:pt x="366" y="595"/>
                    </a:lnTo>
                    <a:lnTo>
                      <a:pt x="366" y="595"/>
                    </a:lnTo>
                    <a:lnTo>
                      <a:pt x="366" y="593"/>
                    </a:lnTo>
                    <a:lnTo>
                      <a:pt x="366" y="591"/>
                    </a:lnTo>
                    <a:lnTo>
                      <a:pt x="364" y="591"/>
                    </a:lnTo>
                    <a:lnTo>
                      <a:pt x="362" y="589"/>
                    </a:lnTo>
                    <a:lnTo>
                      <a:pt x="362" y="587"/>
                    </a:lnTo>
                    <a:lnTo>
                      <a:pt x="360" y="584"/>
                    </a:lnTo>
                    <a:lnTo>
                      <a:pt x="358" y="582"/>
                    </a:lnTo>
                    <a:lnTo>
                      <a:pt x="358" y="582"/>
                    </a:lnTo>
                    <a:lnTo>
                      <a:pt x="356" y="582"/>
                    </a:lnTo>
                    <a:lnTo>
                      <a:pt x="356" y="580"/>
                    </a:lnTo>
                    <a:lnTo>
                      <a:pt x="356" y="580"/>
                    </a:lnTo>
                    <a:lnTo>
                      <a:pt x="356" y="576"/>
                    </a:lnTo>
                    <a:lnTo>
                      <a:pt x="356" y="576"/>
                    </a:lnTo>
                    <a:lnTo>
                      <a:pt x="356" y="574"/>
                    </a:lnTo>
                    <a:lnTo>
                      <a:pt x="356" y="574"/>
                    </a:lnTo>
                    <a:lnTo>
                      <a:pt x="356" y="574"/>
                    </a:lnTo>
                    <a:lnTo>
                      <a:pt x="356" y="572"/>
                    </a:lnTo>
                    <a:lnTo>
                      <a:pt x="349" y="565"/>
                    </a:lnTo>
                    <a:lnTo>
                      <a:pt x="349" y="563"/>
                    </a:lnTo>
                    <a:lnTo>
                      <a:pt x="349" y="563"/>
                    </a:lnTo>
                    <a:lnTo>
                      <a:pt x="349" y="561"/>
                    </a:lnTo>
                    <a:lnTo>
                      <a:pt x="350" y="561"/>
                    </a:lnTo>
                    <a:lnTo>
                      <a:pt x="350" y="561"/>
                    </a:lnTo>
                    <a:lnTo>
                      <a:pt x="352" y="561"/>
                    </a:lnTo>
                    <a:lnTo>
                      <a:pt x="352" y="559"/>
                    </a:lnTo>
                    <a:lnTo>
                      <a:pt x="352" y="559"/>
                    </a:lnTo>
                    <a:lnTo>
                      <a:pt x="354" y="557"/>
                    </a:lnTo>
                    <a:lnTo>
                      <a:pt x="354" y="557"/>
                    </a:lnTo>
                    <a:lnTo>
                      <a:pt x="354" y="557"/>
                    </a:lnTo>
                    <a:lnTo>
                      <a:pt x="356" y="559"/>
                    </a:lnTo>
                    <a:lnTo>
                      <a:pt x="358" y="559"/>
                    </a:lnTo>
                    <a:lnTo>
                      <a:pt x="358" y="561"/>
                    </a:lnTo>
                    <a:lnTo>
                      <a:pt x="358" y="561"/>
                    </a:lnTo>
                    <a:lnTo>
                      <a:pt x="360" y="561"/>
                    </a:lnTo>
                    <a:lnTo>
                      <a:pt x="360" y="559"/>
                    </a:lnTo>
                    <a:lnTo>
                      <a:pt x="360" y="561"/>
                    </a:lnTo>
                    <a:lnTo>
                      <a:pt x="360" y="561"/>
                    </a:lnTo>
                    <a:lnTo>
                      <a:pt x="362" y="563"/>
                    </a:lnTo>
                    <a:lnTo>
                      <a:pt x="362" y="568"/>
                    </a:lnTo>
                    <a:lnTo>
                      <a:pt x="362" y="570"/>
                    </a:lnTo>
                    <a:lnTo>
                      <a:pt x="364" y="572"/>
                    </a:lnTo>
                    <a:lnTo>
                      <a:pt x="364" y="574"/>
                    </a:lnTo>
                    <a:lnTo>
                      <a:pt x="364" y="574"/>
                    </a:lnTo>
                    <a:lnTo>
                      <a:pt x="366" y="574"/>
                    </a:lnTo>
                    <a:lnTo>
                      <a:pt x="368" y="576"/>
                    </a:lnTo>
                    <a:lnTo>
                      <a:pt x="370" y="576"/>
                    </a:lnTo>
                    <a:lnTo>
                      <a:pt x="373" y="576"/>
                    </a:lnTo>
                    <a:lnTo>
                      <a:pt x="373" y="578"/>
                    </a:lnTo>
                    <a:lnTo>
                      <a:pt x="375" y="578"/>
                    </a:lnTo>
                    <a:lnTo>
                      <a:pt x="375" y="578"/>
                    </a:lnTo>
                    <a:lnTo>
                      <a:pt x="377" y="580"/>
                    </a:lnTo>
                    <a:lnTo>
                      <a:pt x="377" y="580"/>
                    </a:lnTo>
                    <a:lnTo>
                      <a:pt x="379" y="582"/>
                    </a:lnTo>
                    <a:lnTo>
                      <a:pt x="379" y="582"/>
                    </a:lnTo>
                    <a:lnTo>
                      <a:pt x="381" y="582"/>
                    </a:lnTo>
                    <a:lnTo>
                      <a:pt x="385" y="582"/>
                    </a:lnTo>
                    <a:lnTo>
                      <a:pt x="387" y="582"/>
                    </a:lnTo>
                    <a:lnTo>
                      <a:pt x="394" y="580"/>
                    </a:lnTo>
                    <a:lnTo>
                      <a:pt x="396" y="580"/>
                    </a:lnTo>
                    <a:lnTo>
                      <a:pt x="396" y="580"/>
                    </a:lnTo>
                    <a:lnTo>
                      <a:pt x="398" y="580"/>
                    </a:lnTo>
                    <a:lnTo>
                      <a:pt x="398" y="580"/>
                    </a:lnTo>
                    <a:lnTo>
                      <a:pt x="400" y="580"/>
                    </a:lnTo>
                    <a:lnTo>
                      <a:pt x="400" y="580"/>
                    </a:lnTo>
                    <a:lnTo>
                      <a:pt x="402" y="582"/>
                    </a:lnTo>
                    <a:lnTo>
                      <a:pt x="402" y="582"/>
                    </a:lnTo>
                    <a:lnTo>
                      <a:pt x="404" y="586"/>
                    </a:lnTo>
                    <a:lnTo>
                      <a:pt x="406" y="589"/>
                    </a:lnTo>
                    <a:lnTo>
                      <a:pt x="406" y="589"/>
                    </a:lnTo>
                    <a:lnTo>
                      <a:pt x="406" y="591"/>
                    </a:lnTo>
                    <a:lnTo>
                      <a:pt x="406" y="591"/>
                    </a:lnTo>
                    <a:lnTo>
                      <a:pt x="406" y="593"/>
                    </a:lnTo>
                    <a:lnTo>
                      <a:pt x="406" y="593"/>
                    </a:lnTo>
                    <a:lnTo>
                      <a:pt x="408" y="595"/>
                    </a:lnTo>
                    <a:lnTo>
                      <a:pt x="410" y="595"/>
                    </a:lnTo>
                    <a:lnTo>
                      <a:pt x="412" y="595"/>
                    </a:lnTo>
                    <a:lnTo>
                      <a:pt x="413" y="597"/>
                    </a:lnTo>
                    <a:lnTo>
                      <a:pt x="413" y="595"/>
                    </a:lnTo>
                    <a:lnTo>
                      <a:pt x="415" y="595"/>
                    </a:lnTo>
                    <a:lnTo>
                      <a:pt x="415" y="595"/>
                    </a:lnTo>
                    <a:lnTo>
                      <a:pt x="413" y="593"/>
                    </a:lnTo>
                    <a:lnTo>
                      <a:pt x="413" y="591"/>
                    </a:lnTo>
                    <a:lnTo>
                      <a:pt x="413" y="589"/>
                    </a:lnTo>
                    <a:lnTo>
                      <a:pt x="413" y="589"/>
                    </a:lnTo>
                    <a:lnTo>
                      <a:pt x="413" y="587"/>
                    </a:lnTo>
                    <a:lnTo>
                      <a:pt x="413" y="586"/>
                    </a:lnTo>
                    <a:lnTo>
                      <a:pt x="412" y="586"/>
                    </a:lnTo>
                    <a:lnTo>
                      <a:pt x="412" y="584"/>
                    </a:lnTo>
                    <a:lnTo>
                      <a:pt x="410" y="584"/>
                    </a:lnTo>
                    <a:lnTo>
                      <a:pt x="410" y="584"/>
                    </a:lnTo>
                    <a:lnTo>
                      <a:pt x="410" y="582"/>
                    </a:lnTo>
                    <a:lnTo>
                      <a:pt x="408" y="582"/>
                    </a:lnTo>
                    <a:lnTo>
                      <a:pt x="408" y="580"/>
                    </a:lnTo>
                    <a:lnTo>
                      <a:pt x="408" y="578"/>
                    </a:lnTo>
                    <a:lnTo>
                      <a:pt x="406" y="576"/>
                    </a:lnTo>
                    <a:lnTo>
                      <a:pt x="406" y="576"/>
                    </a:lnTo>
                    <a:lnTo>
                      <a:pt x="406" y="576"/>
                    </a:lnTo>
                    <a:lnTo>
                      <a:pt x="406" y="574"/>
                    </a:lnTo>
                    <a:lnTo>
                      <a:pt x="406" y="574"/>
                    </a:lnTo>
                    <a:lnTo>
                      <a:pt x="410" y="570"/>
                    </a:lnTo>
                    <a:lnTo>
                      <a:pt x="410" y="568"/>
                    </a:lnTo>
                    <a:lnTo>
                      <a:pt x="410" y="568"/>
                    </a:lnTo>
                    <a:lnTo>
                      <a:pt x="410" y="568"/>
                    </a:lnTo>
                    <a:lnTo>
                      <a:pt x="408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5"/>
                    </a:lnTo>
                    <a:lnTo>
                      <a:pt x="408" y="563"/>
                    </a:lnTo>
                    <a:lnTo>
                      <a:pt x="410" y="561"/>
                    </a:lnTo>
                    <a:lnTo>
                      <a:pt x="412" y="561"/>
                    </a:lnTo>
                    <a:lnTo>
                      <a:pt x="412" y="561"/>
                    </a:lnTo>
                    <a:lnTo>
                      <a:pt x="413" y="559"/>
                    </a:lnTo>
                    <a:lnTo>
                      <a:pt x="419" y="559"/>
                    </a:lnTo>
                    <a:lnTo>
                      <a:pt x="421" y="559"/>
                    </a:lnTo>
                    <a:lnTo>
                      <a:pt x="423" y="559"/>
                    </a:lnTo>
                    <a:lnTo>
                      <a:pt x="423" y="557"/>
                    </a:lnTo>
                    <a:lnTo>
                      <a:pt x="423" y="557"/>
                    </a:lnTo>
                    <a:lnTo>
                      <a:pt x="423" y="557"/>
                    </a:lnTo>
                    <a:lnTo>
                      <a:pt x="423" y="555"/>
                    </a:lnTo>
                    <a:lnTo>
                      <a:pt x="421" y="553"/>
                    </a:lnTo>
                    <a:lnTo>
                      <a:pt x="421" y="551"/>
                    </a:lnTo>
                    <a:lnTo>
                      <a:pt x="421" y="549"/>
                    </a:lnTo>
                    <a:lnTo>
                      <a:pt x="421" y="549"/>
                    </a:lnTo>
                    <a:lnTo>
                      <a:pt x="423" y="546"/>
                    </a:lnTo>
                    <a:lnTo>
                      <a:pt x="423" y="546"/>
                    </a:lnTo>
                    <a:lnTo>
                      <a:pt x="423" y="544"/>
                    </a:lnTo>
                    <a:lnTo>
                      <a:pt x="421" y="544"/>
                    </a:lnTo>
                    <a:lnTo>
                      <a:pt x="417" y="544"/>
                    </a:lnTo>
                    <a:lnTo>
                      <a:pt x="417" y="544"/>
                    </a:lnTo>
                    <a:lnTo>
                      <a:pt x="417" y="544"/>
                    </a:lnTo>
                    <a:lnTo>
                      <a:pt x="417" y="542"/>
                    </a:lnTo>
                    <a:lnTo>
                      <a:pt x="415" y="542"/>
                    </a:lnTo>
                    <a:lnTo>
                      <a:pt x="415" y="540"/>
                    </a:lnTo>
                    <a:lnTo>
                      <a:pt x="415" y="540"/>
                    </a:lnTo>
                    <a:lnTo>
                      <a:pt x="415" y="540"/>
                    </a:lnTo>
                    <a:lnTo>
                      <a:pt x="413" y="538"/>
                    </a:lnTo>
                    <a:lnTo>
                      <a:pt x="412" y="538"/>
                    </a:lnTo>
                    <a:lnTo>
                      <a:pt x="412" y="538"/>
                    </a:lnTo>
                    <a:lnTo>
                      <a:pt x="410" y="540"/>
                    </a:lnTo>
                    <a:lnTo>
                      <a:pt x="410" y="540"/>
                    </a:lnTo>
                    <a:lnTo>
                      <a:pt x="410" y="542"/>
                    </a:lnTo>
                    <a:lnTo>
                      <a:pt x="410" y="542"/>
                    </a:lnTo>
                    <a:lnTo>
                      <a:pt x="410" y="544"/>
                    </a:lnTo>
                    <a:lnTo>
                      <a:pt x="410" y="546"/>
                    </a:lnTo>
                    <a:lnTo>
                      <a:pt x="413" y="548"/>
                    </a:lnTo>
                    <a:lnTo>
                      <a:pt x="413" y="549"/>
                    </a:lnTo>
                    <a:lnTo>
                      <a:pt x="413" y="551"/>
                    </a:lnTo>
                    <a:lnTo>
                      <a:pt x="412" y="551"/>
                    </a:lnTo>
                    <a:lnTo>
                      <a:pt x="410" y="551"/>
                    </a:lnTo>
                    <a:lnTo>
                      <a:pt x="410" y="549"/>
                    </a:lnTo>
                    <a:lnTo>
                      <a:pt x="408" y="549"/>
                    </a:lnTo>
                    <a:lnTo>
                      <a:pt x="406" y="546"/>
                    </a:lnTo>
                    <a:lnTo>
                      <a:pt x="404" y="546"/>
                    </a:lnTo>
                    <a:lnTo>
                      <a:pt x="402" y="544"/>
                    </a:lnTo>
                    <a:lnTo>
                      <a:pt x="400" y="544"/>
                    </a:lnTo>
                    <a:lnTo>
                      <a:pt x="398" y="544"/>
                    </a:lnTo>
                    <a:lnTo>
                      <a:pt x="398" y="542"/>
                    </a:lnTo>
                    <a:lnTo>
                      <a:pt x="398" y="542"/>
                    </a:lnTo>
                    <a:lnTo>
                      <a:pt x="398" y="540"/>
                    </a:lnTo>
                    <a:lnTo>
                      <a:pt x="396" y="540"/>
                    </a:lnTo>
                    <a:lnTo>
                      <a:pt x="396" y="538"/>
                    </a:lnTo>
                    <a:lnTo>
                      <a:pt x="396" y="538"/>
                    </a:lnTo>
                    <a:lnTo>
                      <a:pt x="394" y="540"/>
                    </a:lnTo>
                    <a:lnTo>
                      <a:pt x="391" y="540"/>
                    </a:lnTo>
                    <a:lnTo>
                      <a:pt x="387" y="540"/>
                    </a:lnTo>
                    <a:lnTo>
                      <a:pt x="385" y="540"/>
                    </a:lnTo>
                    <a:lnTo>
                      <a:pt x="385" y="540"/>
                    </a:lnTo>
                    <a:lnTo>
                      <a:pt x="383" y="538"/>
                    </a:lnTo>
                    <a:lnTo>
                      <a:pt x="381" y="538"/>
                    </a:lnTo>
                    <a:lnTo>
                      <a:pt x="379" y="538"/>
                    </a:lnTo>
                    <a:lnTo>
                      <a:pt x="379" y="540"/>
                    </a:lnTo>
                    <a:lnTo>
                      <a:pt x="377" y="542"/>
                    </a:lnTo>
                    <a:lnTo>
                      <a:pt x="375" y="544"/>
                    </a:lnTo>
                    <a:lnTo>
                      <a:pt x="375" y="546"/>
                    </a:lnTo>
                    <a:lnTo>
                      <a:pt x="375" y="546"/>
                    </a:lnTo>
                    <a:lnTo>
                      <a:pt x="375" y="549"/>
                    </a:lnTo>
                    <a:lnTo>
                      <a:pt x="375" y="551"/>
                    </a:lnTo>
                    <a:lnTo>
                      <a:pt x="373" y="551"/>
                    </a:lnTo>
                    <a:lnTo>
                      <a:pt x="373" y="551"/>
                    </a:lnTo>
                    <a:lnTo>
                      <a:pt x="371" y="551"/>
                    </a:lnTo>
                    <a:lnTo>
                      <a:pt x="370" y="551"/>
                    </a:lnTo>
                    <a:lnTo>
                      <a:pt x="368" y="551"/>
                    </a:lnTo>
                    <a:lnTo>
                      <a:pt x="364" y="551"/>
                    </a:lnTo>
                    <a:lnTo>
                      <a:pt x="360" y="549"/>
                    </a:lnTo>
                    <a:lnTo>
                      <a:pt x="352" y="549"/>
                    </a:lnTo>
                    <a:lnTo>
                      <a:pt x="352" y="548"/>
                    </a:lnTo>
                    <a:lnTo>
                      <a:pt x="352" y="546"/>
                    </a:lnTo>
                    <a:lnTo>
                      <a:pt x="354" y="546"/>
                    </a:lnTo>
                    <a:lnTo>
                      <a:pt x="354" y="544"/>
                    </a:lnTo>
                    <a:lnTo>
                      <a:pt x="354" y="544"/>
                    </a:lnTo>
                    <a:lnTo>
                      <a:pt x="354" y="542"/>
                    </a:lnTo>
                    <a:lnTo>
                      <a:pt x="354" y="542"/>
                    </a:lnTo>
                    <a:lnTo>
                      <a:pt x="350" y="540"/>
                    </a:lnTo>
                    <a:lnTo>
                      <a:pt x="349" y="540"/>
                    </a:lnTo>
                    <a:lnTo>
                      <a:pt x="349" y="538"/>
                    </a:lnTo>
                    <a:lnTo>
                      <a:pt x="347" y="538"/>
                    </a:lnTo>
                    <a:lnTo>
                      <a:pt x="347" y="536"/>
                    </a:lnTo>
                    <a:lnTo>
                      <a:pt x="347" y="534"/>
                    </a:lnTo>
                    <a:lnTo>
                      <a:pt x="347" y="532"/>
                    </a:lnTo>
                    <a:lnTo>
                      <a:pt x="347" y="532"/>
                    </a:lnTo>
                    <a:lnTo>
                      <a:pt x="347" y="530"/>
                    </a:lnTo>
                    <a:lnTo>
                      <a:pt x="349" y="530"/>
                    </a:lnTo>
                    <a:lnTo>
                      <a:pt x="349" y="530"/>
                    </a:lnTo>
                    <a:lnTo>
                      <a:pt x="349" y="528"/>
                    </a:lnTo>
                    <a:lnTo>
                      <a:pt x="350" y="528"/>
                    </a:lnTo>
                    <a:lnTo>
                      <a:pt x="350" y="528"/>
                    </a:lnTo>
                    <a:lnTo>
                      <a:pt x="350" y="530"/>
                    </a:lnTo>
                    <a:lnTo>
                      <a:pt x="352" y="528"/>
                    </a:lnTo>
                    <a:lnTo>
                      <a:pt x="352" y="528"/>
                    </a:lnTo>
                    <a:lnTo>
                      <a:pt x="352" y="528"/>
                    </a:lnTo>
                    <a:lnTo>
                      <a:pt x="354" y="527"/>
                    </a:lnTo>
                    <a:lnTo>
                      <a:pt x="354" y="527"/>
                    </a:lnTo>
                    <a:lnTo>
                      <a:pt x="356" y="525"/>
                    </a:lnTo>
                    <a:lnTo>
                      <a:pt x="356" y="525"/>
                    </a:lnTo>
                    <a:lnTo>
                      <a:pt x="356" y="523"/>
                    </a:lnTo>
                    <a:lnTo>
                      <a:pt x="356" y="521"/>
                    </a:lnTo>
                    <a:lnTo>
                      <a:pt x="354" y="521"/>
                    </a:lnTo>
                    <a:lnTo>
                      <a:pt x="354" y="519"/>
                    </a:lnTo>
                    <a:lnTo>
                      <a:pt x="352" y="519"/>
                    </a:lnTo>
                    <a:lnTo>
                      <a:pt x="350" y="519"/>
                    </a:lnTo>
                    <a:lnTo>
                      <a:pt x="349" y="519"/>
                    </a:lnTo>
                    <a:lnTo>
                      <a:pt x="347" y="519"/>
                    </a:lnTo>
                    <a:lnTo>
                      <a:pt x="347" y="519"/>
                    </a:lnTo>
                    <a:lnTo>
                      <a:pt x="345" y="521"/>
                    </a:lnTo>
                    <a:lnTo>
                      <a:pt x="343" y="521"/>
                    </a:lnTo>
                    <a:lnTo>
                      <a:pt x="343" y="521"/>
                    </a:lnTo>
                    <a:lnTo>
                      <a:pt x="343" y="519"/>
                    </a:lnTo>
                    <a:lnTo>
                      <a:pt x="341" y="519"/>
                    </a:lnTo>
                    <a:lnTo>
                      <a:pt x="341" y="517"/>
                    </a:lnTo>
                    <a:lnTo>
                      <a:pt x="339" y="515"/>
                    </a:lnTo>
                    <a:lnTo>
                      <a:pt x="339" y="513"/>
                    </a:lnTo>
                    <a:lnTo>
                      <a:pt x="339" y="511"/>
                    </a:lnTo>
                    <a:lnTo>
                      <a:pt x="337" y="511"/>
                    </a:lnTo>
                    <a:lnTo>
                      <a:pt x="337" y="511"/>
                    </a:lnTo>
                    <a:lnTo>
                      <a:pt x="335" y="509"/>
                    </a:lnTo>
                    <a:lnTo>
                      <a:pt x="333" y="509"/>
                    </a:lnTo>
                    <a:lnTo>
                      <a:pt x="333" y="509"/>
                    </a:lnTo>
                    <a:lnTo>
                      <a:pt x="331" y="504"/>
                    </a:lnTo>
                    <a:lnTo>
                      <a:pt x="331" y="500"/>
                    </a:lnTo>
                    <a:lnTo>
                      <a:pt x="331" y="498"/>
                    </a:lnTo>
                    <a:lnTo>
                      <a:pt x="331" y="496"/>
                    </a:lnTo>
                    <a:lnTo>
                      <a:pt x="333" y="492"/>
                    </a:lnTo>
                    <a:lnTo>
                      <a:pt x="335" y="490"/>
                    </a:lnTo>
                    <a:lnTo>
                      <a:pt x="335" y="489"/>
                    </a:lnTo>
                    <a:lnTo>
                      <a:pt x="335" y="487"/>
                    </a:lnTo>
                    <a:lnTo>
                      <a:pt x="335" y="483"/>
                    </a:lnTo>
                    <a:lnTo>
                      <a:pt x="335" y="483"/>
                    </a:lnTo>
                    <a:lnTo>
                      <a:pt x="335" y="481"/>
                    </a:lnTo>
                    <a:lnTo>
                      <a:pt x="337" y="481"/>
                    </a:lnTo>
                    <a:lnTo>
                      <a:pt x="339" y="481"/>
                    </a:lnTo>
                    <a:lnTo>
                      <a:pt x="339" y="481"/>
                    </a:lnTo>
                    <a:lnTo>
                      <a:pt x="339" y="479"/>
                    </a:lnTo>
                    <a:lnTo>
                      <a:pt x="341" y="471"/>
                    </a:lnTo>
                    <a:lnTo>
                      <a:pt x="341" y="468"/>
                    </a:lnTo>
                    <a:lnTo>
                      <a:pt x="341" y="466"/>
                    </a:lnTo>
                    <a:lnTo>
                      <a:pt x="343" y="464"/>
                    </a:lnTo>
                    <a:lnTo>
                      <a:pt x="343" y="462"/>
                    </a:lnTo>
                    <a:lnTo>
                      <a:pt x="341" y="460"/>
                    </a:lnTo>
                    <a:lnTo>
                      <a:pt x="341" y="460"/>
                    </a:lnTo>
                    <a:lnTo>
                      <a:pt x="339" y="458"/>
                    </a:lnTo>
                    <a:lnTo>
                      <a:pt x="339" y="458"/>
                    </a:lnTo>
                    <a:lnTo>
                      <a:pt x="337" y="458"/>
                    </a:lnTo>
                    <a:lnTo>
                      <a:pt x="337" y="458"/>
                    </a:lnTo>
                    <a:lnTo>
                      <a:pt x="335" y="456"/>
                    </a:lnTo>
                    <a:lnTo>
                      <a:pt x="333" y="456"/>
                    </a:lnTo>
                    <a:lnTo>
                      <a:pt x="330" y="456"/>
                    </a:lnTo>
                    <a:lnTo>
                      <a:pt x="330" y="454"/>
                    </a:lnTo>
                    <a:lnTo>
                      <a:pt x="330" y="454"/>
                    </a:lnTo>
                    <a:lnTo>
                      <a:pt x="330" y="454"/>
                    </a:lnTo>
                    <a:lnTo>
                      <a:pt x="330" y="452"/>
                    </a:lnTo>
                    <a:lnTo>
                      <a:pt x="331" y="452"/>
                    </a:lnTo>
                    <a:lnTo>
                      <a:pt x="331" y="450"/>
                    </a:lnTo>
                    <a:lnTo>
                      <a:pt x="331" y="450"/>
                    </a:lnTo>
                    <a:lnTo>
                      <a:pt x="331" y="449"/>
                    </a:lnTo>
                    <a:lnTo>
                      <a:pt x="331" y="447"/>
                    </a:lnTo>
                    <a:lnTo>
                      <a:pt x="333" y="445"/>
                    </a:lnTo>
                    <a:lnTo>
                      <a:pt x="335" y="441"/>
                    </a:lnTo>
                    <a:lnTo>
                      <a:pt x="337" y="441"/>
                    </a:lnTo>
                    <a:lnTo>
                      <a:pt x="347" y="447"/>
                    </a:lnTo>
                    <a:lnTo>
                      <a:pt x="349" y="449"/>
                    </a:lnTo>
                    <a:lnTo>
                      <a:pt x="352" y="449"/>
                    </a:lnTo>
                    <a:lnTo>
                      <a:pt x="354" y="449"/>
                    </a:lnTo>
                    <a:lnTo>
                      <a:pt x="356" y="450"/>
                    </a:lnTo>
                    <a:lnTo>
                      <a:pt x="358" y="450"/>
                    </a:lnTo>
                    <a:lnTo>
                      <a:pt x="358" y="450"/>
                    </a:lnTo>
                    <a:lnTo>
                      <a:pt x="360" y="449"/>
                    </a:lnTo>
                    <a:lnTo>
                      <a:pt x="362" y="449"/>
                    </a:lnTo>
                    <a:lnTo>
                      <a:pt x="364" y="449"/>
                    </a:lnTo>
                    <a:lnTo>
                      <a:pt x="364" y="449"/>
                    </a:lnTo>
                    <a:lnTo>
                      <a:pt x="366" y="449"/>
                    </a:lnTo>
                    <a:lnTo>
                      <a:pt x="366" y="449"/>
                    </a:lnTo>
                    <a:lnTo>
                      <a:pt x="366" y="450"/>
                    </a:lnTo>
                    <a:lnTo>
                      <a:pt x="368" y="450"/>
                    </a:lnTo>
                    <a:lnTo>
                      <a:pt x="368" y="452"/>
                    </a:lnTo>
                    <a:lnTo>
                      <a:pt x="368" y="452"/>
                    </a:lnTo>
                    <a:lnTo>
                      <a:pt x="370" y="452"/>
                    </a:lnTo>
                    <a:lnTo>
                      <a:pt x="371" y="450"/>
                    </a:lnTo>
                    <a:lnTo>
                      <a:pt x="371" y="450"/>
                    </a:lnTo>
                    <a:lnTo>
                      <a:pt x="375" y="449"/>
                    </a:lnTo>
                    <a:lnTo>
                      <a:pt x="375" y="447"/>
                    </a:lnTo>
                    <a:lnTo>
                      <a:pt x="375" y="445"/>
                    </a:lnTo>
                    <a:lnTo>
                      <a:pt x="377" y="441"/>
                    </a:lnTo>
                    <a:lnTo>
                      <a:pt x="377" y="441"/>
                    </a:lnTo>
                    <a:lnTo>
                      <a:pt x="379" y="439"/>
                    </a:lnTo>
                    <a:lnTo>
                      <a:pt x="379" y="437"/>
                    </a:lnTo>
                    <a:lnTo>
                      <a:pt x="379" y="437"/>
                    </a:lnTo>
                    <a:lnTo>
                      <a:pt x="381" y="435"/>
                    </a:lnTo>
                    <a:lnTo>
                      <a:pt x="381" y="435"/>
                    </a:lnTo>
                    <a:lnTo>
                      <a:pt x="381" y="433"/>
                    </a:lnTo>
                    <a:lnTo>
                      <a:pt x="381" y="430"/>
                    </a:lnTo>
                    <a:lnTo>
                      <a:pt x="381" y="428"/>
                    </a:lnTo>
                    <a:lnTo>
                      <a:pt x="379" y="422"/>
                    </a:lnTo>
                    <a:lnTo>
                      <a:pt x="377" y="412"/>
                    </a:lnTo>
                    <a:lnTo>
                      <a:pt x="375" y="411"/>
                    </a:lnTo>
                    <a:lnTo>
                      <a:pt x="375" y="411"/>
                    </a:lnTo>
                    <a:lnTo>
                      <a:pt x="373" y="409"/>
                    </a:lnTo>
                    <a:lnTo>
                      <a:pt x="370" y="409"/>
                    </a:lnTo>
                    <a:lnTo>
                      <a:pt x="368" y="409"/>
                    </a:lnTo>
                    <a:lnTo>
                      <a:pt x="368" y="407"/>
                    </a:lnTo>
                    <a:lnTo>
                      <a:pt x="368" y="405"/>
                    </a:lnTo>
                    <a:lnTo>
                      <a:pt x="366" y="399"/>
                    </a:lnTo>
                    <a:lnTo>
                      <a:pt x="366" y="397"/>
                    </a:lnTo>
                    <a:lnTo>
                      <a:pt x="364" y="395"/>
                    </a:lnTo>
                    <a:lnTo>
                      <a:pt x="364" y="395"/>
                    </a:lnTo>
                    <a:lnTo>
                      <a:pt x="364" y="393"/>
                    </a:lnTo>
                    <a:lnTo>
                      <a:pt x="362" y="393"/>
                    </a:lnTo>
                    <a:lnTo>
                      <a:pt x="362" y="390"/>
                    </a:lnTo>
                    <a:lnTo>
                      <a:pt x="360" y="388"/>
                    </a:lnTo>
                    <a:lnTo>
                      <a:pt x="360" y="388"/>
                    </a:lnTo>
                    <a:lnTo>
                      <a:pt x="360" y="388"/>
                    </a:lnTo>
                    <a:lnTo>
                      <a:pt x="360" y="386"/>
                    </a:lnTo>
                    <a:lnTo>
                      <a:pt x="360" y="386"/>
                    </a:lnTo>
                    <a:lnTo>
                      <a:pt x="362" y="386"/>
                    </a:lnTo>
                    <a:lnTo>
                      <a:pt x="364" y="388"/>
                    </a:lnTo>
                    <a:lnTo>
                      <a:pt x="364" y="388"/>
                    </a:lnTo>
                    <a:lnTo>
                      <a:pt x="366" y="388"/>
                    </a:lnTo>
                    <a:lnTo>
                      <a:pt x="366" y="386"/>
                    </a:lnTo>
                    <a:lnTo>
                      <a:pt x="366" y="384"/>
                    </a:lnTo>
                    <a:lnTo>
                      <a:pt x="366" y="378"/>
                    </a:lnTo>
                    <a:lnTo>
                      <a:pt x="364" y="372"/>
                    </a:lnTo>
                    <a:lnTo>
                      <a:pt x="364" y="372"/>
                    </a:lnTo>
                    <a:lnTo>
                      <a:pt x="364" y="372"/>
                    </a:lnTo>
                    <a:lnTo>
                      <a:pt x="364" y="371"/>
                    </a:lnTo>
                    <a:lnTo>
                      <a:pt x="366" y="369"/>
                    </a:lnTo>
                    <a:lnTo>
                      <a:pt x="368" y="369"/>
                    </a:lnTo>
                    <a:lnTo>
                      <a:pt x="368" y="367"/>
                    </a:lnTo>
                    <a:lnTo>
                      <a:pt x="370" y="367"/>
                    </a:lnTo>
                    <a:lnTo>
                      <a:pt x="370" y="367"/>
                    </a:lnTo>
                    <a:lnTo>
                      <a:pt x="371" y="367"/>
                    </a:lnTo>
                    <a:lnTo>
                      <a:pt x="373" y="367"/>
                    </a:lnTo>
                    <a:lnTo>
                      <a:pt x="373" y="369"/>
                    </a:lnTo>
                    <a:lnTo>
                      <a:pt x="375" y="367"/>
                    </a:lnTo>
                    <a:lnTo>
                      <a:pt x="375" y="367"/>
                    </a:lnTo>
                    <a:lnTo>
                      <a:pt x="373" y="363"/>
                    </a:lnTo>
                    <a:lnTo>
                      <a:pt x="371" y="361"/>
                    </a:lnTo>
                    <a:lnTo>
                      <a:pt x="371" y="357"/>
                    </a:lnTo>
                    <a:lnTo>
                      <a:pt x="370" y="357"/>
                    </a:lnTo>
                    <a:lnTo>
                      <a:pt x="370" y="355"/>
                    </a:lnTo>
                    <a:lnTo>
                      <a:pt x="370" y="355"/>
                    </a:lnTo>
                    <a:lnTo>
                      <a:pt x="368" y="355"/>
                    </a:lnTo>
                    <a:lnTo>
                      <a:pt x="368" y="353"/>
                    </a:lnTo>
                    <a:lnTo>
                      <a:pt x="368" y="352"/>
                    </a:lnTo>
                    <a:lnTo>
                      <a:pt x="368" y="346"/>
                    </a:lnTo>
                    <a:lnTo>
                      <a:pt x="368" y="342"/>
                    </a:lnTo>
                    <a:lnTo>
                      <a:pt x="370" y="342"/>
                    </a:lnTo>
                    <a:lnTo>
                      <a:pt x="368" y="340"/>
                    </a:lnTo>
                    <a:lnTo>
                      <a:pt x="373" y="333"/>
                    </a:lnTo>
                    <a:lnTo>
                      <a:pt x="383" y="329"/>
                    </a:lnTo>
                    <a:lnTo>
                      <a:pt x="385" y="327"/>
                    </a:lnTo>
                    <a:lnTo>
                      <a:pt x="392" y="327"/>
                    </a:lnTo>
                    <a:lnTo>
                      <a:pt x="394" y="327"/>
                    </a:lnTo>
                    <a:lnTo>
                      <a:pt x="396" y="327"/>
                    </a:lnTo>
                    <a:lnTo>
                      <a:pt x="398" y="329"/>
                    </a:lnTo>
                    <a:lnTo>
                      <a:pt x="402" y="329"/>
                    </a:lnTo>
                    <a:lnTo>
                      <a:pt x="417" y="329"/>
                    </a:lnTo>
                    <a:lnTo>
                      <a:pt x="419" y="329"/>
                    </a:lnTo>
                    <a:lnTo>
                      <a:pt x="421" y="329"/>
                    </a:lnTo>
                    <a:lnTo>
                      <a:pt x="421" y="327"/>
                    </a:lnTo>
                    <a:lnTo>
                      <a:pt x="423" y="325"/>
                    </a:lnTo>
                    <a:lnTo>
                      <a:pt x="425" y="323"/>
                    </a:lnTo>
                    <a:lnTo>
                      <a:pt x="425" y="323"/>
                    </a:lnTo>
                    <a:lnTo>
                      <a:pt x="425" y="317"/>
                    </a:lnTo>
                    <a:lnTo>
                      <a:pt x="425" y="313"/>
                    </a:lnTo>
                    <a:lnTo>
                      <a:pt x="425" y="312"/>
                    </a:lnTo>
                    <a:lnTo>
                      <a:pt x="425" y="308"/>
                    </a:lnTo>
                    <a:lnTo>
                      <a:pt x="425" y="302"/>
                    </a:lnTo>
                    <a:lnTo>
                      <a:pt x="425" y="298"/>
                    </a:lnTo>
                    <a:lnTo>
                      <a:pt x="425" y="296"/>
                    </a:lnTo>
                    <a:lnTo>
                      <a:pt x="425" y="294"/>
                    </a:lnTo>
                    <a:lnTo>
                      <a:pt x="425" y="294"/>
                    </a:lnTo>
                    <a:lnTo>
                      <a:pt x="425" y="291"/>
                    </a:lnTo>
                    <a:lnTo>
                      <a:pt x="427" y="289"/>
                    </a:lnTo>
                    <a:lnTo>
                      <a:pt x="427" y="287"/>
                    </a:lnTo>
                    <a:lnTo>
                      <a:pt x="427" y="287"/>
                    </a:lnTo>
                    <a:lnTo>
                      <a:pt x="431" y="285"/>
                    </a:lnTo>
                    <a:lnTo>
                      <a:pt x="432" y="283"/>
                    </a:lnTo>
                    <a:lnTo>
                      <a:pt x="432" y="283"/>
                    </a:lnTo>
                    <a:lnTo>
                      <a:pt x="434" y="281"/>
                    </a:lnTo>
                    <a:lnTo>
                      <a:pt x="434" y="279"/>
                    </a:lnTo>
                    <a:lnTo>
                      <a:pt x="432" y="277"/>
                    </a:lnTo>
                    <a:lnTo>
                      <a:pt x="432" y="277"/>
                    </a:lnTo>
                    <a:lnTo>
                      <a:pt x="431" y="275"/>
                    </a:lnTo>
                    <a:lnTo>
                      <a:pt x="427" y="274"/>
                    </a:lnTo>
                    <a:lnTo>
                      <a:pt x="423" y="274"/>
                    </a:lnTo>
                    <a:lnTo>
                      <a:pt x="415" y="274"/>
                    </a:lnTo>
                    <a:lnTo>
                      <a:pt x="413" y="274"/>
                    </a:lnTo>
                    <a:lnTo>
                      <a:pt x="402" y="270"/>
                    </a:lnTo>
                    <a:lnTo>
                      <a:pt x="400" y="268"/>
                    </a:lnTo>
                    <a:lnTo>
                      <a:pt x="396" y="264"/>
                    </a:lnTo>
                    <a:lnTo>
                      <a:pt x="396" y="264"/>
                    </a:lnTo>
                    <a:lnTo>
                      <a:pt x="398" y="262"/>
                    </a:lnTo>
                    <a:lnTo>
                      <a:pt x="404" y="260"/>
                    </a:lnTo>
                    <a:lnTo>
                      <a:pt x="408" y="256"/>
                    </a:lnTo>
                    <a:lnTo>
                      <a:pt x="412" y="254"/>
                    </a:lnTo>
                    <a:lnTo>
                      <a:pt x="412" y="253"/>
                    </a:lnTo>
                    <a:lnTo>
                      <a:pt x="412" y="253"/>
                    </a:lnTo>
                    <a:lnTo>
                      <a:pt x="413" y="251"/>
                    </a:lnTo>
                    <a:lnTo>
                      <a:pt x="413" y="249"/>
                    </a:lnTo>
                    <a:lnTo>
                      <a:pt x="413" y="249"/>
                    </a:lnTo>
                    <a:lnTo>
                      <a:pt x="417" y="247"/>
                    </a:lnTo>
                    <a:lnTo>
                      <a:pt x="417" y="247"/>
                    </a:lnTo>
                    <a:lnTo>
                      <a:pt x="419" y="245"/>
                    </a:lnTo>
                    <a:lnTo>
                      <a:pt x="419" y="243"/>
                    </a:lnTo>
                    <a:lnTo>
                      <a:pt x="419" y="241"/>
                    </a:lnTo>
                    <a:lnTo>
                      <a:pt x="419" y="241"/>
                    </a:lnTo>
                    <a:lnTo>
                      <a:pt x="421" y="239"/>
                    </a:lnTo>
                    <a:lnTo>
                      <a:pt x="421" y="239"/>
                    </a:lnTo>
                    <a:lnTo>
                      <a:pt x="419" y="237"/>
                    </a:lnTo>
                    <a:lnTo>
                      <a:pt x="419" y="237"/>
                    </a:lnTo>
                    <a:lnTo>
                      <a:pt x="417" y="237"/>
                    </a:lnTo>
                    <a:lnTo>
                      <a:pt x="415" y="239"/>
                    </a:lnTo>
                    <a:lnTo>
                      <a:pt x="415" y="239"/>
                    </a:lnTo>
                    <a:lnTo>
                      <a:pt x="415" y="237"/>
                    </a:lnTo>
                    <a:lnTo>
                      <a:pt x="417" y="235"/>
                    </a:lnTo>
                    <a:lnTo>
                      <a:pt x="417" y="235"/>
                    </a:lnTo>
                    <a:lnTo>
                      <a:pt x="419" y="234"/>
                    </a:lnTo>
                    <a:lnTo>
                      <a:pt x="421" y="234"/>
                    </a:lnTo>
                    <a:lnTo>
                      <a:pt x="419" y="232"/>
                    </a:lnTo>
                    <a:lnTo>
                      <a:pt x="419" y="232"/>
                    </a:lnTo>
                    <a:lnTo>
                      <a:pt x="417" y="230"/>
                    </a:lnTo>
                    <a:lnTo>
                      <a:pt x="415" y="230"/>
                    </a:lnTo>
                    <a:lnTo>
                      <a:pt x="415" y="228"/>
                    </a:lnTo>
                    <a:lnTo>
                      <a:pt x="415" y="226"/>
                    </a:lnTo>
                    <a:lnTo>
                      <a:pt x="417" y="220"/>
                    </a:lnTo>
                    <a:lnTo>
                      <a:pt x="417" y="220"/>
                    </a:lnTo>
                    <a:lnTo>
                      <a:pt x="417" y="218"/>
                    </a:lnTo>
                    <a:lnTo>
                      <a:pt x="419" y="218"/>
                    </a:lnTo>
                    <a:lnTo>
                      <a:pt x="419" y="216"/>
                    </a:lnTo>
                    <a:lnTo>
                      <a:pt x="419" y="201"/>
                    </a:lnTo>
                    <a:lnTo>
                      <a:pt x="419" y="197"/>
                    </a:lnTo>
                    <a:lnTo>
                      <a:pt x="419" y="196"/>
                    </a:lnTo>
                    <a:lnTo>
                      <a:pt x="421" y="194"/>
                    </a:lnTo>
                    <a:lnTo>
                      <a:pt x="423" y="192"/>
                    </a:lnTo>
                    <a:lnTo>
                      <a:pt x="423" y="190"/>
                    </a:lnTo>
                    <a:lnTo>
                      <a:pt x="423" y="186"/>
                    </a:lnTo>
                    <a:lnTo>
                      <a:pt x="419" y="182"/>
                    </a:lnTo>
                    <a:lnTo>
                      <a:pt x="419" y="180"/>
                    </a:lnTo>
                    <a:lnTo>
                      <a:pt x="417" y="175"/>
                    </a:lnTo>
                    <a:lnTo>
                      <a:pt x="417" y="175"/>
                    </a:lnTo>
                    <a:lnTo>
                      <a:pt x="417" y="173"/>
                    </a:lnTo>
                    <a:lnTo>
                      <a:pt x="415" y="173"/>
                    </a:lnTo>
                    <a:lnTo>
                      <a:pt x="413" y="171"/>
                    </a:lnTo>
                    <a:lnTo>
                      <a:pt x="412" y="171"/>
                    </a:lnTo>
                    <a:lnTo>
                      <a:pt x="412" y="171"/>
                    </a:lnTo>
                    <a:lnTo>
                      <a:pt x="410" y="169"/>
                    </a:lnTo>
                    <a:lnTo>
                      <a:pt x="410" y="167"/>
                    </a:lnTo>
                    <a:lnTo>
                      <a:pt x="412" y="163"/>
                    </a:lnTo>
                    <a:lnTo>
                      <a:pt x="427" y="144"/>
                    </a:lnTo>
                    <a:lnTo>
                      <a:pt x="429" y="140"/>
                    </a:lnTo>
                    <a:lnTo>
                      <a:pt x="429" y="137"/>
                    </a:lnTo>
                    <a:lnTo>
                      <a:pt x="431" y="137"/>
                    </a:lnTo>
                    <a:lnTo>
                      <a:pt x="432" y="135"/>
                    </a:lnTo>
                    <a:lnTo>
                      <a:pt x="432" y="135"/>
                    </a:lnTo>
                    <a:lnTo>
                      <a:pt x="434" y="135"/>
                    </a:lnTo>
                    <a:lnTo>
                      <a:pt x="436" y="135"/>
                    </a:lnTo>
                    <a:lnTo>
                      <a:pt x="436" y="133"/>
                    </a:lnTo>
                    <a:lnTo>
                      <a:pt x="436" y="131"/>
                    </a:lnTo>
                    <a:lnTo>
                      <a:pt x="438" y="129"/>
                    </a:lnTo>
                    <a:lnTo>
                      <a:pt x="440" y="129"/>
                    </a:lnTo>
                    <a:lnTo>
                      <a:pt x="446" y="127"/>
                    </a:lnTo>
                    <a:lnTo>
                      <a:pt x="446" y="127"/>
                    </a:lnTo>
                    <a:lnTo>
                      <a:pt x="446" y="127"/>
                    </a:lnTo>
                    <a:lnTo>
                      <a:pt x="450" y="119"/>
                    </a:lnTo>
                    <a:lnTo>
                      <a:pt x="450" y="118"/>
                    </a:lnTo>
                    <a:lnTo>
                      <a:pt x="450" y="118"/>
                    </a:lnTo>
                    <a:lnTo>
                      <a:pt x="450" y="118"/>
                    </a:lnTo>
                    <a:lnTo>
                      <a:pt x="446" y="118"/>
                    </a:lnTo>
                    <a:lnTo>
                      <a:pt x="446" y="118"/>
                    </a:lnTo>
                    <a:lnTo>
                      <a:pt x="442" y="119"/>
                    </a:lnTo>
                    <a:lnTo>
                      <a:pt x="440" y="121"/>
                    </a:lnTo>
                    <a:lnTo>
                      <a:pt x="440" y="121"/>
                    </a:lnTo>
                    <a:lnTo>
                      <a:pt x="438" y="119"/>
                    </a:lnTo>
                    <a:lnTo>
                      <a:pt x="438" y="119"/>
                    </a:lnTo>
                    <a:lnTo>
                      <a:pt x="438" y="116"/>
                    </a:lnTo>
                    <a:lnTo>
                      <a:pt x="432" y="118"/>
                    </a:lnTo>
                    <a:lnTo>
                      <a:pt x="432" y="118"/>
                    </a:lnTo>
                    <a:lnTo>
                      <a:pt x="429" y="118"/>
                    </a:lnTo>
                    <a:lnTo>
                      <a:pt x="427" y="118"/>
                    </a:lnTo>
                    <a:lnTo>
                      <a:pt x="427" y="118"/>
                    </a:lnTo>
                    <a:lnTo>
                      <a:pt x="425" y="116"/>
                    </a:lnTo>
                    <a:lnTo>
                      <a:pt x="423" y="116"/>
                    </a:lnTo>
                    <a:lnTo>
                      <a:pt x="421" y="114"/>
                    </a:lnTo>
                    <a:lnTo>
                      <a:pt x="417" y="112"/>
                    </a:lnTo>
                    <a:lnTo>
                      <a:pt x="415" y="110"/>
                    </a:lnTo>
                    <a:lnTo>
                      <a:pt x="417" y="106"/>
                    </a:lnTo>
                    <a:lnTo>
                      <a:pt x="421" y="102"/>
                    </a:lnTo>
                    <a:lnTo>
                      <a:pt x="423" y="98"/>
                    </a:lnTo>
                    <a:lnTo>
                      <a:pt x="423" y="98"/>
                    </a:lnTo>
                    <a:lnTo>
                      <a:pt x="425" y="97"/>
                    </a:lnTo>
                    <a:lnTo>
                      <a:pt x="429" y="95"/>
                    </a:lnTo>
                    <a:lnTo>
                      <a:pt x="431" y="95"/>
                    </a:lnTo>
                    <a:lnTo>
                      <a:pt x="431" y="93"/>
                    </a:lnTo>
                    <a:lnTo>
                      <a:pt x="431" y="93"/>
                    </a:lnTo>
                    <a:lnTo>
                      <a:pt x="431" y="91"/>
                    </a:lnTo>
                    <a:lnTo>
                      <a:pt x="431" y="89"/>
                    </a:lnTo>
                    <a:lnTo>
                      <a:pt x="429" y="89"/>
                    </a:lnTo>
                    <a:lnTo>
                      <a:pt x="429" y="87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9" y="83"/>
                    </a:lnTo>
                    <a:lnTo>
                      <a:pt x="429" y="81"/>
                    </a:lnTo>
                    <a:lnTo>
                      <a:pt x="431" y="81"/>
                    </a:lnTo>
                    <a:lnTo>
                      <a:pt x="431" y="79"/>
                    </a:lnTo>
                    <a:lnTo>
                      <a:pt x="432" y="79"/>
                    </a:lnTo>
                    <a:lnTo>
                      <a:pt x="432" y="79"/>
                    </a:lnTo>
                    <a:lnTo>
                      <a:pt x="434" y="78"/>
                    </a:lnTo>
                    <a:lnTo>
                      <a:pt x="442" y="70"/>
                    </a:lnTo>
                    <a:lnTo>
                      <a:pt x="442" y="70"/>
                    </a:lnTo>
                    <a:lnTo>
                      <a:pt x="442" y="68"/>
                    </a:lnTo>
                    <a:lnTo>
                      <a:pt x="442" y="66"/>
                    </a:lnTo>
                    <a:lnTo>
                      <a:pt x="442" y="62"/>
                    </a:lnTo>
                    <a:lnTo>
                      <a:pt x="440" y="59"/>
                    </a:lnTo>
                    <a:lnTo>
                      <a:pt x="440" y="57"/>
                    </a:lnTo>
                    <a:lnTo>
                      <a:pt x="438" y="55"/>
                    </a:lnTo>
                    <a:lnTo>
                      <a:pt x="434" y="51"/>
                    </a:lnTo>
                    <a:lnTo>
                      <a:pt x="434" y="51"/>
                    </a:lnTo>
                    <a:lnTo>
                      <a:pt x="434" y="49"/>
                    </a:lnTo>
                    <a:lnTo>
                      <a:pt x="434" y="49"/>
                    </a:lnTo>
                    <a:lnTo>
                      <a:pt x="434" y="47"/>
                    </a:lnTo>
                    <a:lnTo>
                      <a:pt x="436" y="47"/>
                    </a:lnTo>
                    <a:lnTo>
                      <a:pt x="438" y="47"/>
                    </a:lnTo>
                    <a:lnTo>
                      <a:pt x="438" y="47"/>
                    </a:lnTo>
                    <a:lnTo>
                      <a:pt x="438" y="47"/>
                    </a:lnTo>
                    <a:lnTo>
                      <a:pt x="440" y="45"/>
                    </a:lnTo>
                    <a:lnTo>
                      <a:pt x="440" y="45"/>
                    </a:lnTo>
                    <a:lnTo>
                      <a:pt x="438" y="38"/>
                    </a:lnTo>
                    <a:lnTo>
                      <a:pt x="436" y="32"/>
                    </a:lnTo>
                    <a:lnTo>
                      <a:pt x="436" y="30"/>
                    </a:lnTo>
                    <a:lnTo>
                      <a:pt x="436" y="28"/>
                    </a:lnTo>
                    <a:lnTo>
                      <a:pt x="436" y="26"/>
                    </a:lnTo>
                    <a:lnTo>
                      <a:pt x="438" y="24"/>
                    </a:lnTo>
                    <a:lnTo>
                      <a:pt x="438" y="24"/>
                    </a:lnTo>
                    <a:lnTo>
                      <a:pt x="438" y="22"/>
                    </a:lnTo>
                    <a:lnTo>
                      <a:pt x="434" y="20"/>
                    </a:lnTo>
                    <a:lnTo>
                      <a:pt x="429" y="20"/>
                    </a:lnTo>
                    <a:lnTo>
                      <a:pt x="427" y="20"/>
                    </a:lnTo>
                    <a:lnTo>
                      <a:pt x="427" y="20"/>
                    </a:lnTo>
                    <a:lnTo>
                      <a:pt x="425" y="22"/>
                    </a:lnTo>
                    <a:lnTo>
                      <a:pt x="423" y="24"/>
                    </a:lnTo>
                    <a:lnTo>
                      <a:pt x="421" y="24"/>
                    </a:lnTo>
                    <a:lnTo>
                      <a:pt x="419" y="24"/>
                    </a:lnTo>
                    <a:lnTo>
                      <a:pt x="419" y="22"/>
                    </a:lnTo>
                    <a:lnTo>
                      <a:pt x="417" y="22"/>
                    </a:lnTo>
                    <a:lnTo>
                      <a:pt x="417" y="19"/>
                    </a:lnTo>
                    <a:lnTo>
                      <a:pt x="417" y="19"/>
                    </a:lnTo>
                    <a:lnTo>
                      <a:pt x="415" y="19"/>
                    </a:lnTo>
                    <a:lnTo>
                      <a:pt x="412" y="17"/>
                    </a:lnTo>
                    <a:lnTo>
                      <a:pt x="410" y="15"/>
                    </a:lnTo>
                    <a:lnTo>
                      <a:pt x="408" y="15"/>
                    </a:lnTo>
                    <a:lnTo>
                      <a:pt x="408" y="13"/>
                    </a:lnTo>
                    <a:lnTo>
                      <a:pt x="408" y="13"/>
                    </a:lnTo>
                    <a:lnTo>
                      <a:pt x="408" y="5"/>
                    </a:lnTo>
                    <a:lnTo>
                      <a:pt x="408" y="5"/>
                    </a:lnTo>
                    <a:lnTo>
                      <a:pt x="406" y="3"/>
                    </a:lnTo>
                    <a:lnTo>
                      <a:pt x="406" y="1"/>
                    </a:lnTo>
                    <a:lnTo>
                      <a:pt x="404" y="1"/>
                    </a:lnTo>
                    <a:lnTo>
                      <a:pt x="402" y="0"/>
                    </a:lnTo>
                    <a:lnTo>
                      <a:pt x="400" y="0"/>
                    </a:lnTo>
                    <a:lnTo>
                      <a:pt x="400" y="0"/>
                    </a:lnTo>
                    <a:lnTo>
                      <a:pt x="398" y="1"/>
                    </a:lnTo>
                    <a:lnTo>
                      <a:pt x="394" y="7"/>
                    </a:lnTo>
                    <a:lnTo>
                      <a:pt x="392" y="9"/>
                    </a:lnTo>
                    <a:lnTo>
                      <a:pt x="392" y="11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92" y="19"/>
                    </a:lnTo>
                    <a:lnTo>
                      <a:pt x="392" y="20"/>
                    </a:lnTo>
                    <a:lnTo>
                      <a:pt x="391" y="20"/>
                    </a:lnTo>
                    <a:lnTo>
                      <a:pt x="391" y="20"/>
                    </a:lnTo>
                    <a:lnTo>
                      <a:pt x="387" y="22"/>
                    </a:lnTo>
                    <a:lnTo>
                      <a:pt x="379" y="28"/>
                    </a:lnTo>
                    <a:lnTo>
                      <a:pt x="377" y="30"/>
                    </a:lnTo>
                    <a:lnTo>
                      <a:pt x="377" y="30"/>
                    </a:lnTo>
                    <a:lnTo>
                      <a:pt x="375" y="32"/>
                    </a:lnTo>
                    <a:lnTo>
                      <a:pt x="375" y="34"/>
                    </a:lnTo>
                    <a:lnTo>
                      <a:pt x="375" y="36"/>
                    </a:lnTo>
                    <a:lnTo>
                      <a:pt x="375" y="36"/>
                    </a:lnTo>
                    <a:lnTo>
                      <a:pt x="373" y="36"/>
                    </a:lnTo>
                    <a:lnTo>
                      <a:pt x="371" y="36"/>
                    </a:lnTo>
                    <a:lnTo>
                      <a:pt x="370" y="36"/>
                    </a:lnTo>
                    <a:lnTo>
                      <a:pt x="368" y="36"/>
                    </a:lnTo>
                    <a:lnTo>
                      <a:pt x="366" y="38"/>
                    </a:lnTo>
                    <a:lnTo>
                      <a:pt x="366" y="38"/>
                    </a:lnTo>
                    <a:lnTo>
                      <a:pt x="364" y="38"/>
                    </a:lnTo>
                    <a:lnTo>
                      <a:pt x="360" y="38"/>
                    </a:lnTo>
                    <a:lnTo>
                      <a:pt x="358" y="38"/>
                    </a:lnTo>
                    <a:lnTo>
                      <a:pt x="354" y="39"/>
                    </a:lnTo>
                    <a:lnTo>
                      <a:pt x="352" y="39"/>
                    </a:lnTo>
                    <a:lnTo>
                      <a:pt x="350" y="41"/>
                    </a:lnTo>
                    <a:lnTo>
                      <a:pt x="352" y="47"/>
                    </a:lnTo>
                    <a:lnTo>
                      <a:pt x="352" y="49"/>
                    </a:lnTo>
                    <a:lnTo>
                      <a:pt x="350" y="51"/>
                    </a:lnTo>
                    <a:lnTo>
                      <a:pt x="350" y="57"/>
                    </a:lnTo>
                    <a:lnTo>
                      <a:pt x="349" y="59"/>
                    </a:lnTo>
                    <a:lnTo>
                      <a:pt x="349" y="60"/>
                    </a:lnTo>
                    <a:lnTo>
                      <a:pt x="350" y="64"/>
                    </a:lnTo>
                    <a:lnTo>
                      <a:pt x="350" y="66"/>
                    </a:lnTo>
                    <a:lnTo>
                      <a:pt x="349" y="70"/>
                    </a:lnTo>
                    <a:lnTo>
                      <a:pt x="347" y="74"/>
                    </a:lnTo>
                    <a:lnTo>
                      <a:pt x="345" y="76"/>
                    </a:lnTo>
                    <a:lnTo>
                      <a:pt x="345" y="76"/>
                    </a:lnTo>
                    <a:lnTo>
                      <a:pt x="343" y="76"/>
                    </a:lnTo>
                    <a:lnTo>
                      <a:pt x="335" y="74"/>
                    </a:lnTo>
                    <a:lnTo>
                      <a:pt x="335" y="74"/>
                    </a:lnTo>
                    <a:lnTo>
                      <a:pt x="333" y="74"/>
                    </a:lnTo>
                    <a:lnTo>
                      <a:pt x="331" y="74"/>
                    </a:lnTo>
                    <a:lnTo>
                      <a:pt x="331" y="78"/>
                    </a:lnTo>
                    <a:lnTo>
                      <a:pt x="333" y="81"/>
                    </a:lnTo>
                    <a:lnTo>
                      <a:pt x="333" y="83"/>
                    </a:lnTo>
                    <a:lnTo>
                      <a:pt x="333" y="83"/>
                    </a:lnTo>
                    <a:lnTo>
                      <a:pt x="333" y="85"/>
                    </a:lnTo>
                    <a:lnTo>
                      <a:pt x="331" y="85"/>
                    </a:lnTo>
                    <a:lnTo>
                      <a:pt x="331" y="87"/>
                    </a:lnTo>
                    <a:lnTo>
                      <a:pt x="328" y="87"/>
                    </a:lnTo>
                    <a:lnTo>
                      <a:pt x="328" y="89"/>
                    </a:lnTo>
                    <a:lnTo>
                      <a:pt x="326" y="91"/>
                    </a:lnTo>
                    <a:lnTo>
                      <a:pt x="326" y="93"/>
                    </a:lnTo>
                    <a:lnTo>
                      <a:pt x="324" y="100"/>
                    </a:lnTo>
                    <a:lnTo>
                      <a:pt x="322" y="98"/>
                    </a:lnTo>
                    <a:lnTo>
                      <a:pt x="318" y="97"/>
                    </a:lnTo>
                    <a:lnTo>
                      <a:pt x="318" y="97"/>
                    </a:lnTo>
                    <a:lnTo>
                      <a:pt x="316" y="95"/>
                    </a:lnTo>
                    <a:lnTo>
                      <a:pt x="314" y="93"/>
                    </a:lnTo>
                    <a:lnTo>
                      <a:pt x="312" y="91"/>
                    </a:lnTo>
                    <a:lnTo>
                      <a:pt x="312" y="91"/>
                    </a:lnTo>
                    <a:lnTo>
                      <a:pt x="310" y="91"/>
                    </a:lnTo>
                    <a:lnTo>
                      <a:pt x="309" y="91"/>
                    </a:lnTo>
                    <a:lnTo>
                      <a:pt x="307" y="91"/>
                    </a:lnTo>
                    <a:lnTo>
                      <a:pt x="305" y="91"/>
                    </a:lnTo>
                    <a:lnTo>
                      <a:pt x="303" y="91"/>
                    </a:lnTo>
                    <a:lnTo>
                      <a:pt x="303" y="91"/>
                    </a:lnTo>
                    <a:lnTo>
                      <a:pt x="301" y="95"/>
                    </a:lnTo>
                    <a:lnTo>
                      <a:pt x="301" y="95"/>
                    </a:lnTo>
                    <a:lnTo>
                      <a:pt x="301" y="95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7" y="97"/>
                    </a:lnTo>
                    <a:lnTo>
                      <a:pt x="297" y="98"/>
                    </a:lnTo>
                    <a:lnTo>
                      <a:pt x="297" y="98"/>
                    </a:lnTo>
                    <a:lnTo>
                      <a:pt x="297" y="100"/>
                    </a:lnTo>
                    <a:lnTo>
                      <a:pt x="297" y="100"/>
                    </a:lnTo>
                    <a:lnTo>
                      <a:pt x="295" y="102"/>
                    </a:lnTo>
                    <a:lnTo>
                      <a:pt x="293" y="102"/>
                    </a:lnTo>
                    <a:lnTo>
                      <a:pt x="291" y="104"/>
                    </a:lnTo>
                    <a:lnTo>
                      <a:pt x="291" y="104"/>
                    </a:lnTo>
                    <a:lnTo>
                      <a:pt x="291" y="104"/>
                    </a:lnTo>
                    <a:lnTo>
                      <a:pt x="289" y="106"/>
                    </a:lnTo>
                    <a:lnTo>
                      <a:pt x="288" y="108"/>
                    </a:lnTo>
                    <a:lnTo>
                      <a:pt x="280" y="112"/>
                    </a:lnTo>
                    <a:lnTo>
                      <a:pt x="278" y="112"/>
                    </a:lnTo>
                    <a:lnTo>
                      <a:pt x="278" y="114"/>
                    </a:lnTo>
                    <a:lnTo>
                      <a:pt x="278" y="114"/>
                    </a:lnTo>
                    <a:lnTo>
                      <a:pt x="280" y="118"/>
                    </a:lnTo>
                    <a:lnTo>
                      <a:pt x="282" y="118"/>
                    </a:lnTo>
                    <a:lnTo>
                      <a:pt x="282" y="119"/>
                    </a:lnTo>
                    <a:lnTo>
                      <a:pt x="282" y="119"/>
                    </a:lnTo>
                    <a:lnTo>
                      <a:pt x="280" y="121"/>
                    </a:lnTo>
                    <a:lnTo>
                      <a:pt x="280" y="123"/>
                    </a:lnTo>
                    <a:lnTo>
                      <a:pt x="282" y="123"/>
                    </a:lnTo>
                    <a:lnTo>
                      <a:pt x="282" y="125"/>
                    </a:lnTo>
                    <a:lnTo>
                      <a:pt x="282" y="125"/>
                    </a:lnTo>
                    <a:lnTo>
                      <a:pt x="280" y="127"/>
                    </a:lnTo>
                    <a:lnTo>
                      <a:pt x="278" y="129"/>
                    </a:lnTo>
                    <a:lnTo>
                      <a:pt x="278" y="131"/>
                    </a:lnTo>
                    <a:lnTo>
                      <a:pt x="280" y="131"/>
                    </a:lnTo>
                    <a:lnTo>
                      <a:pt x="280" y="133"/>
                    </a:lnTo>
                    <a:lnTo>
                      <a:pt x="282" y="135"/>
                    </a:lnTo>
                    <a:lnTo>
                      <a:pt x="282" y="137"/>
                    </a:lnTo>
                    <a:lnTo>
                      <a:pt x="282" y="138"/>
                    </a:lnTo>
                    <a:lnTo>
                      <a:pt x="286" y="140"/>
                    </a:lnTo>
                    <a:lnTo>
                      <a:pt x="286" y="140"/>
                    </a:lnTo>
                    <a:lnTo>
                      <a:pt x="286" y="142"/>
                    </a:lnTo>
                    <a:lnTo>
                      <a:pt x="286" y="144"/>
                    </a:lnTo>
                    <a:lnTo>
                      <a:pt x="284" y="146"/>
                    </a:lnTo>
                    <a:lnTo>
                      <a:pt x="282" y="146"/>
                    </a:lnTo>
                    <a:lnTo>
                      <a:pt x="280" y="146"/>
                    </a:lnTo>
                    <a:lnTo>
                      <a:pt x="276" y="146"/>
                    </a:lnTo>
                    <a:lnTo>
                      <a:pt x="276" y="146"/>
                    </a:lnTo>
                    <a:lnTo>
                      <a:pt x="272" y="146"/>
                    </a:lnTo>
                    <a:lnTo>
                      <a:pt x="270" y="144"/>
                    </a:lnTo>
                    <a:lnTo>
                      <a:pt x="270" y="144"/>
                    </a:lnTo>
                    <a:lnTo>
                      <a:pt x="267" y="142"/>
                    </a:lnTo>
                    <a:lnTo>
                      <a:pt x="267" y="142"/>
                    </a:lnTo>
                    <a:lnTo>
                      <a:pt x="265" y="142"/>
                    </a:lnTo>
                    <a:lnTo>
                      <a:pt x="265" y="142"/>
                    </a:lnTo>
                    <a:lnTo>
                      <a:pt x="263" y="142"/>
                    </a:lnTo>
                    <a:lnTo>
                      <a:pt x="259" y="144"/>
                    </a:lnTo>
                    <a:lnTo>
                      <a:pt x="259" y="144"/>
                    </a:lnTo>
                    <a:lnTo>
                      <a:pt x="257" y="144"/>
                    </a:lnTo>
                    <a:lnTo>
                      <a:pt x="255" y="142"/>
                    </a:lnTo>
                    <a:lnTo>
                      <a:pt x="253" y="142"/>
                    </a:lnTo>
                    <a:lnTo>
                      <a:pt x="251" y="142"/>
                    </a:lnTo>
                    <a:lnTo>
                      <a:pt x="246" y="146"/>
                    </a:lnTo>
                    <a:lnTo>
                      <a:pt x="244" y="146"/>
                    </a:lnTo>
                    <a:lnTo>
                      <a:pt x="242" y="146"/>
                    </a:lnTo>
                    <a:lnTo>
                      <a:pt x="242" y="146"/>
                    </a:lnTo>
                    <a:lnTo>
                      <a:pt x="240" y="146"/>
                    </a:lnTo>
                    <a:lnTo>
                      <a:pt x="238" y="146"/>
                    </a:lnTo>
                    <a:lnTo>
                      <a:pt x="234" y="148"/>
                    </a:lnTo>
                    <a:lnTo>
                      <a:pt x="232" y="148"/>
                    </a:lnTo>
                    <a:lnTo>
                      <a:pt x="230" y="150"/>
                    </a:lnTo>
                    <a:lnTo>
                      <a:pt x="230" y="150"/>
                    </a:lnTo>
                    <a:lnTo>
                      <a:pt x="228" y="148"/>
                    </a:lnTo>
                    <a:lnTo>
                      <a:pt x="228" y="146"/>
                    </a:lnTo>
                    <a:lnTo>
                      <a:pt x="227" y="146"/>
                    </a:lnTo>
                    <a:lnTo>
                      <a:pt x="225" y="144"/>
                    </a:lnTo>
                    <a:lnTo>
                      <a:pt x="225" y="142"/>
                    </a:lnTo>
                    <a:lnTo>
                      <a:pt x="225" y="140"/>
                    </a:lnTo>
                    <a:lnTo>
                      <a:pt x="223" y="138"/>
                    </a:lnTo>
                    <a:lnTo>
                      <a:pt x="223" y="138"/>
                    </a:lnTo>
                    <a:lnTo>
                      <a:pt x="219" y="140"/>
                    </a:lnTo>
                    <a:lnTo>
                      <a:pt x="217" y="138"/>
                    </a:lnTo>
                    <a:lnTo>
                      <a:pt x="215" y="138"/>
                    </a:lnTo>
                    <a:lnTo>
                      <a:pt x="213" y="142"/>
                    </a:lnTo>
                    <a:lnTo>
                      <a:pt x="211" y="142"/>
                    </a:lnTo>
                    <a:lnTo>
                      <a:pt x="209" y="142"/>
                    </a:lnTo>
                    <a:lnTo>
                      <a:pt x="209" y="142"/>
                    </a:lnTo>
                    <a:lnTo>
                      <a:pt x="209" y="140"/>
                    </a:lnTo>
                    <a:lnTo>
                      <a:pt x="207" y="138"/>
                    </a:lnTo>
                    <a:lnTo>
                      <a:pt x="206" y="138"/>
                    </a:lnTo>
                    <a:lnTo>
                      <a:pt x="206" y="137"/>
                    </a:lnTo>
                    <a:lnTo>
                      <a:pt x="202" y="138"/>
                    </a:lnTo>
                    <a:lnTo>
                      <a:pt x="198" y="137"/>
                    </a:lnTo>
                    <a:lnTo>
                      <a:pt x="198" y="135"/>
                    </a:lnTo>
                    <a:lnTo>
                      <a:pt x="196" y="131"/>
                    </a:lnTo>
                    <a:lnTo>
                      <a:pt x="194" y="129"/>
                    </a:lnTo>
                    <a:lnTo>
                      <a:pt x="192" y="129"/>
                    </a:lnTo>
                    <a:lnTo>
                      <a:pt x="192" y="129"/>
                    </a:lnTo>
                    <a:lnTo>
                      <a:pt x="190" y="131"/>
                    </a:lnTo>
                    <a:lnTo>
                      <a:pt x="190" y="131"/>
                    </a:lnTo>
                    <a:lnTo>
                      <a:pt x="188" y="133"/>
                    </a:lnTo>
                    <a:lnTo>
                      <a:pt x="186" y="137"/>
                    </a:lnTo>
                    <a:lnTo>
                      <a:pt x="186" y="138"/>
                    </a:lnTo>
                    <a:lnTo>
                      <a:pt x="185" y="138"/>
                    </a:lnTo>
                    <a:lnTo>
                      <a:pt x="185" y="140"/>
                    </a:lnTo>
                    <a:lnTo>
                      <a:pt x="183" y="140"/>
                    </a:lnTo>
                    <a:lnTo>
                      <a:pt x="183" y="144"/>
                    </a:lnTo>
                    <a:lnTo>
                      <a:pt x="185" y="148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6" y="154"/>
                    </a:lnTo>
                    <a:lnTo>
                      <a:pt x="186" y="156"/>
                    </a:lnTo>
                    <a:lnTo>
                      <a:pt x="188" y="156"/>
                    </a:lnTo>
                    <a:lnTo>
                      <a:pt x="190" y="157"/>
                    </a:lnTo>
                    <a:lnTo>
                      <a:pt x="190" y="157"/>
                    </a:lnTo>
                    <a:lnTo>
                      <a:pt x="192" y="161"/>
                    </a:lnTo>
                    <a:lnTo>
                      <a:pt x="192" y="161"/>
                    </a:lnTo>
                    <a:lnTo>
                      <a:pt x="192" y="163"/>
                    </a:lnTo>
                    <a:lnTo>
                      <a:pt x="190" y="165"/>
                    </a:lnTo>
                    <a:lnTo>
                      <a:pt x="190" y="165"/>
                    </a:lnTo>
                    <a:lnTo>
                      <a:pt x="190" y="167"/>
                    </a:lnTo>
                    <a:lnTo>
                      <a:pt x="188" y="169"/>
                    </a:lnTo>
                    <a:lnTo>
                      <a:pt x="188" y="171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92" y="175"/>
                    </a:lnTo>
                    <a:lnTo>
                      <a:pt x="192" y="176"/>
                    </a:lnTo>
                    <a:lnTo>
                      <a:pt x="194" y="178"/>
                    </a:lnTo>
                    <a:lnTo>
                      <a:pt x="194" y="180"/>
                    </a:lnTo>
                    <a:lnTo>
                      <a:pt x="194" y="182"/>
                    </a:lnTo>
                    <a:lnTo>
                      <a:pt x="194" y="182"/>
                    </a:lnTo>
                    <a:lnTo>
                      <a:pt x="192" y="184"/>
                    </a:lnTo>
                    <a:lnTo>
                      <a:pt x="192" y="184"/>
                    </a:lnTo>
                    <a:lnTo>
                      <a:pt x="192" y="186"/>
                    </a:lnTo>
                    <a:lnTo>
                      <a:pt x="192" y="186"/>
                    </a:lnTo>
                    <a:lnTo>
                      <a:pt x="194" y="188"/>
                    </a:lnTo>
                    <a:lnTo>
                      <a:pt x="194" y="190"/>
                    </a:lnTo>
                    <a:lnTo>
                      <a:pt x="194" y="192"/>
                    </a:lnTo>
                    <a:lnTo>
                      <a:pt x="194" y="192"/>
                    </a:lnTo>
                    <a:lnTo>
                      <a:pt x="194" y="194"/>
                    </a:lnTo>
                    <a:lnTo>
                      <a:pt x="192" y="194"/>
                    </a:lnTo>
                    <a:lnTo>
                      <a:pt x="192" y="196"/>
                    </a:lnTo>
                    <a:lnTo>
                      <a:pt x="190" y="196"/>
                    </a:lnTo>
                    <a:lnTo>
                      <a:pt x="188" y="196"/>
                    </a:lnTo>
                    <a:lnTo>
                      <a:pt x="186" y="194"/>
                    </a:lnTo>
                    <a:lnTo>
                      <a:pt x="185" y="192"/>
                    </a:lnTo>
                    <a:lnTo>
                      <a:pt x="183" y="190"/>
                    </a:lnTo>
                    <a:lnTo>
                      <a:pt x="183" y="190"/>
                    </a:lnTo>
                    <a:lnTo>
                      <a:pt x="181" y="190"/>
                    </a:lnTo>
                    <a:lnTo>
                      <a:pt x="181" y="194"/>
                    </a:lnTo>
                    <a:lnTo>
                      <a:pt x="179" y="194"/>
                    </a:lnTo>
                    <a:lnTo>
                      <a:pt x="179" y="196"/>
                    </a:lnTo>
                    <a:lnTo>
                      <a:pt x="177" y="196"/>
                    </a:lnTo>
                    <a:lnTo>
                      <a:pt x="173" y="197"/>
                    </a:lnTo>
                    <a:lnTo>
                      <a:pt x="171" y="197"/>
                    </a:lnTo>
                    <a:lnTo>
                      <a:pt x="171" y="197"/>
                    </a:lnTo>
                    <a:lnTo>
                      <a:pt x="169" y="196"/>
                    </a:lnTo>
                    <a:lnTo>
                      <a:pt x="169" y="196"/>
                    </a:lnTo>
                    <a:lnTo>
                      <a:pt x="167" y="196"/>
                    </a:lnTo>
                    <a:lnTo>
                      <a:pt x="167" y="194"/>
                    </a:lnTo>
                    <a:lnTo>
                      <a:pt x="160" y="194"/>
                    </a:lnTo>
                    <a:lnTo>
                      <a:pt x="158" y="196"/>
                    </a:lnTo>
                    <a:lnTo>
                      <a:pt x="156" y="196"/>
                    </a:lnTo>
                    <a:lnTo>
                      <a:pt x="154" y="197"/>
                    </a:lnTo>
                    <a:lnTo>
                      <a:pt x="152" y="197"/>
                    </a:lnTo>
                    <a:lnTo>
                      <a:pt x="146" y="197"/>
                    </a:lnTo>
                    <a:lnTo>
                      <a:pt x="145" y="197"/>
                    </a:lnTo>
                    <a:lnTo>
                      <a:pt x="145" y="199"/>
                    </a:lnTo>
                    <a:lnTo>
                      <a:pt x="145" y="201"/>
                    </a:lnTo>
                    <a:lnTo>
                      <a:pt x="145" y="203"/>
                    </a:lnTo>
                    <a:lnTo>
                      <a:pt x="145" y="205"/>
                    </a:lnTo>
                    <a:lnTo>
                      <a:pt x="139" y="209"/>
                    </a:lnTo>
                    <a:lnTo>
                      <a:pt x="135" y="209"/>
                    </a:lnTo>
                    <a:lnTo>
                      <a:pt x="133" y="209"/>
                    </a:lnTo>
                    <a:lnTo>
                      <a:pt x="131" y="209"/>
                    </a:lnTo>
                    <a:lnTo>
                      <a:pt x="129" y="209"/>
                    </a:lnTo>
                    <a:lnTo>
                      <a:pt x="127" y="207"/>
                    </a:lnTo>
                    <a:lnTo>
                      <a:pt x="127" y="207"/>
                    </a:lnTo>
                    <a:lnTo>
                      <a:pt x="125" y="205"/>
                    </a:lnTo>
                    <a:lnTo>
                      <a:pt x="125" y="205"/>
                    </a:lnTo>
                    <a:lnTo>
                      <a:pt x="125" y="205"/>
                    </a:lnTo>
                    <a:lnTo>
                      <a:pt x="124" y="203"/>
                    </a:lnTo>
                    <a:lnTo>
                      <a:pt x="122" y="203"/>
                    </a:lnTo>
                    <a:lnTo>
                      <a:pt x="122" y="201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14" y="199"/>
                    </a:lnTo>
                    <a:lnTo>
                      <a:pt x="110" y="197"/>
                    </a:lnTo>
                    <a:lnTo>
                      <a:pt x="108" y="197"/>
                    </a:lnTo>
                    <a:lnTo>
                      <a:pt x="108" y="199"/>
                    </a:lnTo>
                    <a:lnTo>
                      <a:pt x="106" y="203"/>
                    </a:lnTo>
                    <a:lnTo>
                      <a:pt x="106" y="203"/>
                    </a:lnTo>
                    <a:lnTo>
                      <a:pt x="104" y="205"/>
                    </a:lnTo>
                    <a:lnTo>
                      <a:pt x="104" y="205"/>
                    </a:lnTo>
                    <a:lnTo>
                      <a:pt x="104" y="207"/>
                    </a:lnTo>
                    <a:lnTo>
                      <a:pt x="103" y="207"/>
                    </a:lnTo>
                    <a:lnTo>
                      <a:pt x="101" y="209"/>
                    </a:lnTo>
                    <a:lnTo>
                      <a:pt x="95" y="211"/>
                    </a:lnTo>
                    <a:lnTo>
                      <a:pt x="95" y="211"/>
                    </a:lnTo>
                    <a:lnTo>
                      <a:pt x="93" y="211"/>
                    </a:lnTo>
                    <a:lnTo>
                      <a:pt x="93" y="211"/>
                    </a:lnTo>
                    <a:lnTo>
                      <a:pt x="93" y="211"/>
                    </a:lnTo>
                    <a:lnTo>
                      <a:pt x="95" y="213"/>
                    </a:lnTo>
                    <a:lnTo>
                      <a:pt x="95" y="215"/>
                    </a:lnTo>
                    <a:lnTo>
                      <a:pt x="95" y="216"/>
                    </a:lnTo>
                    <a:lnTo>
                      <a:pt x="97" y="222"/>
                    </a:lnTo>
                    <a:lnTo>
                      <a:pt x="97" y="222"/>
                    </a:lnTo>
                    <a:lnTo>
                      <a:pt x="97" y="222"/>
                    </a:lnTo>
                    <a:lnTo>
                      <a:pt x="97" y="224"/>
                    </a:lnTo>
                    <a:lnTo>
                      <a:pt x="95" y="224"/>
                    </a:lnTo>
                    <a:lnTo>
                      <a:pt x="95" y="224"/>
                    </a:lnTo>
                    <a:lnTo>
                      <a:pt x="93" y="224"/>
                    </a:lnTo>
                    <a:lnTo>
                      <a:pt x="91" y="222"/>
                    </a:lnTo>
                    <a:lnTo>
                      <a:pt x="89" y="222"/>
                    </a:lnTo>
                    <a:lnTo>
                      <a:pt x="87" y="222"/>
                    </a:lnTo>
                    <a:lnTo>
                      <a:pt x="87" y="224"/>
                    </a:lnTo>
                    <a:lnTo>
                      <a:pt x="85" y="224"/>
                    </a:lnTo>
                    <a:lnTo>
                      <a:pt x="84" y="226"/>
                    </a:lnTo>
                    <a:lnTo>
                      <a:pt x="82" y="226"/>
                    </a:lnTo>
                    <a:lnTo>
                      <a:pt x="82" y="226"/>
                    </a:lnTo>
                    <a:lnTo>
                      <a:pt x="80" y="226"/>
                    </a:lnTo>
                    <a:lnTo>
                      <a:pt x="80" y="228"/>
                    </a:lnTo>
                    <a:lnTo>
                      <a:pt x="78" y="230"/>
                    </a:lnTo>
                    <a:lnTo>
                      <a:pt x="78" y="230"/>
                    </a:lnTo>
                    <a:lnTo>
                      <a:pt x="76" y="230"/>
                    </a:lnTo>
                    <a:lnTo>
                      <a:pt x="76" y="230"/>
                    </a:lnTo>
                    <a:lnTo>
                      <a:pt x="74" y="230"/>
                    </a:lnTo>
                    <a:lnTo>
                      <a:pt x="74" y="230"/>
                    </a:lnTo>
                    <a:lnTo>
                      <a:pt x="72" y="234"/>
                    </a:lnTo>
                    <a:lnTo>
                      <a:pt x="72" y="235"/>
                    </a:lnTo>
                    <a:lnTo>
                      <a:pt x="72" y="235"/>
                    </a:lnTo>
                    <a:lnTo>
                      <a:pt x="70" y="235"/>
                    </a:lnTo>
                    <a:lnTo>
                      <a:pt x="68" y="237"/>
                    </a:lnTo>
                    <a:lnTo>
                      <a:pt x="72" y="241"/>
                    </a:lnTo>
                    <a:lnTo>
                      <a:pt x="72" y="243"/>
                    </a:lnTo>
                    <a:lnTo>
                      <a:pt x="72" y="243"/>
                    </a:lnTo>
                    <a:lnTo>
                      <a:pt x="70" y="245"/>
                    </a:lnTo>
                    <a:lnTo>
                      <a:pt x="68" y="245"/>
                    </a:lnTo>
                    <a:lnTo>
                      <a:pt x="66" y="245"/>
                    </a:lnTo>
                    <a:lnTo>
                      <a:pt x="66" y="245"/>
                    </a:lnTo>
                    <a:lnTo>
                      <a:pt x="64" y="245"/>
                    </a:lnTo>
                    <a:lnTo>
                      <a:pt x="61" y="249"/>
                    </a:lnTo>
                    <a:lnTo>
                      <a:pt x="61" y="251"/>
                    </a:lnTo>
                    <a:lnTo>
                      <a:pt x="59" y="251"/>
                    </a:lnTo>
                    <a:lnTo>
                      <a:pt x="59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49"/>
                    </a:lnTo>
                    <a:lnTo>
                      <a:pt x="57" y="249"/>
                    </a:lnTo>
                    <a:lnTo>
                      <a:pt x="57" y="249"/>
                    </a:lnTo>
                    <a:lnTo>
                      <a:pt x="57" y="247"/>
                    </a:lnTo>
                    <a:lnTo>
                      <a:pt x="55" y="247"/>
                    </a:lnTo>
                    <a:lnTo>
                      <a:pt x="55" y="245"/>
                    </a:lnTo>
                    <a:lnTo>
                      <a:pt x="55" y="245"/>
                    </a:lnTo>
                    <a:lnTo>
                      <a:pt x="55" y="243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47" y="241"/>
                    </a:lnTo>
                    <a:lnTo>
                      <a:pt x="47" y="239"/>
                    </a:lnTo>
                    <a:lnTo>
                      <a:pt x="45" y="239"/>
                    </a:lnTo>
                    <a:lnTo>
                      <a:pt x="43" y="239"/>
                    </a:lnTo>
                    <a:lnTo>
                      <a:pt x="43" y="239"/>
                    </a:lnTo>
                    <a:lnTo>
                      <a:pt x="42" y="239"/>
                    </a:lnTo>
                    <a:lnTo>
                      <a:pt x="42" y="239"/>
                    </a:lnTo>
                    <a:lnTo>
                      <a:pt x="40" y="243"/>
                    </a:lnTo>
                    <a:lnTo>
                      <a:pt x="40" y="245"/>
                    </a:lnTo>
                    <a:lnTo>
                      <a:pt x="40" y="245"/>
                    </a:lnTo>
                    <a:lnTo>
                      <a:pt x="40" y="247"/>
                    </a:lnTo>
                    <a:lnTo>
                      <a:pt x="38" y="247"/>
                    </a:lnTo>
                    <a:lnTo>
                      <a:pt x="36" y="247"/>
                    </a:lnTo>
                    <a:lnTo>
                      <a:pt x="36" y="249"/>
                    </a:lnTo>
                    <a:lnTo>
                      <a:pt x="36" y="249"/>
                    </a:lnTo>
                    <a:lnTo>
                      <a:pt x="34" y="251"/>
                    </a:lnTo>
                    <a:lnTo>
                      <a:pt x="32" y="253"/>
                    </a:lnTo>
                    <a:lnTo>
                      <a:pt x="32" y="253"/>
                    </a:lnTo>
                    <a:lnTo>
                      <a:pt x="30" y="253"/>
                    </a:lnTo>
                    <a:lnTo>
                      <a:pt x="30" y="251"/>
                    </a:lnTo>
                    <a:lnTo>
                      <a:pt x="30" y="251"/>
                    </a:lnTo>
                    <a:lnTo>
                      <a:pt x="28" y="251"/>
                    </a:lnTo>
                    <a:lnTo>
                      <a:pt x="28" y="249"/>
                    </a:lnTo>
                    <a:lnTo>
                      <a:pt x="28" y="249"/>
                    </a:lnTo>
                    <a:lnTo>
                      <a:pt x="26" y="249"/>
                    </a:lnTo>
                    <a:lnTo>
                      <a:pt x="26" y="251"/>
                    </a:lnTo>
                    <a:lnTo>
                      <a:pt x="26" y="253"/>
                    </a:lnTo>
                    <a:lnTo>
                      <a:pt x="26" y="253"/>
                    </a:lnTo>
                    <a:lnTo>
                      <a:pt x="24" y="254"/>
                    </a:lnTo>
                    <a:lnTo>
                      <a:pt x="24" y="254"/>
                    </a:lnTo>
                    <a:lnTo>
                      <a:pt x="22" y="254"/>
                    </a:lnTo>
                    <a:lnTo>
                      <a:pt x="22" y="253"/>
                    </a:lnTo>
                    <a:lnTo>
                      <a:pt x="21" y="253"/>
                    </a:lnTo>
                    <a:lnTo>
                      <a:pt x="21" y="253"/>
                    </a:lnTo>
                    <a:lnTo>
                      <a:pt x="19" y="253"/>
                    </a:lnTo>
                    <a:lnTo>
                      <a:pt x="19" y="253"/>
                    </a:lnTo>
                    <a:lnTo>
                      <a:pt x="19" y="254"/>
                    </a:lnTo>
                    <a:lnTo>
                      <a:pt x="17" y="258"/>
                    </a:lnTo>
                    <a:lnTo>
                      <a:pt x="17" y="258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9" y="260"/>
                    </a:lnTo>
                    <a:lnTo>
                      <a:pt x="19" y="260"/>
                    </a:lnTo>
                    <a:lnTo>
                      <a:pt x="19" y="258"/>
                    </a:lnTo>
                    <a:lnTo>
                      <a:pt x="21" y="258"/>
                    </a:lnTo>
                    <a:lnTo>
                      <a:pt x="21" y="258"/>
                    </a:lnTo>
                    <a:lnTo>
                      <a:pt x="21" y="258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2" y="260"/>
                    </a:lnTo>
                    <a:lnTo>
                      <a:pt x="22" y="260"/>
                    </a:lnTo>
                    <a:lnTo>
                      <a:pt x="22" y="262"/>
                    </a:lnTo>
                    <a:lnTo>
                      <a:pt x="22" y="262"/>
                    </a:lnTo>
                    <a:lnTo>
                      <a:pt x="22" y="262"/>
                    </a:lnTo>
                    <a:lnTo>
                      <a:pt x="24" y="262"/>
                    </a:lnTo>
                    <a:lnTo>
                      <a:pt x="24" y="264"/>
                    </a:lnTo>
                    <a:lnTo>
                      <a:pt x="24" y="264"/>
                    </a:lnTo>
                    <a:lnTo>
                      <a:pt x="26" y="262"/>
                    </a:lnTo>
                    <a:lnTo>
                      <a:pt x="26" y="262"/>
                    </a:lnTo>
                    <a:lnTo>
                      <a:pt x="28" y="264"/>
                    </a:lnTo>
                    <a:lnTo>
                      <a:pt x="28" y="264"/>
                    </a:lnTo>
                    <a:lnTo>
                      <a:pt x="28" y="264"/>
                    </a:lnTo>
                    <a:lnTo>
                      <a:pt x="28" y="266"/>
                    </a:lnTo>
                    <a:lnTo>
                      <a:pt x="28" y="266"/>
                    </a:lnTo>
                    <a:lnTo>
                      <a:pt x="28" y="268"/>
                    </a:lnTo>
                    <a:lnTo>
                      <a:pt x="28" y="268"/>
                    </a:lnTo>
                    <a:lnTo>
                      <a:pt x="30" y="268"/>
                    </a:lnTo>
                    <a:lnTo>
                      <a:pt x="30" y="270"/>
                    </a:lnTo>
                    <a:lnTo>
                      <a:pt x="32" y="270"/>
                    </a:lnTo>
                    <a:lnTo>
                      <a:pt x="32" y="270"/>
                    </a:lnTo>
                    <a:lnTo>
                      <a:pt x="32" y="270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0" y="272"/>
                    </a:lnTo>
                    <a:lnTo>
                      <a:pt x="28" y="274"/>
                    </a:lnTo>
                    <a:lnTo>
                      <a:pt x="26" y="274"/>
                    </a:lnTo>
                    <a:lnTo>
                      <a:pt x="26" y="274"/>
                    </a:lnTo>
                    <a:lnTo>
                      <a:pt x="26" y="275"/>
                    </a:lnTo>
                    <a:lnTo>
                      <a:pt x="26" y="277"/>
                    </a:lnTo>
                    <a:lnTo>
                      <a:pt x="26" y="277"/>
                    </a:lnTo>
                    <a:lnTo>
                      <a:pt x="26" y="279"/>
                    </a:lnTo>
                    <a:lnTo>
                      <a:pt x="28" y="281"/>
                    </a:lnTo>
                    <a:lnTo>
                      <a:pt x="28" y="281"/>
                    </a:lnTo>
                    <a:lnTo>
                      <a:pt x="28" y="281"/>
                    </a:lnTo>
                    <a:lnTo>
                      <a:pt x="28" y="285"/>
                    </a:lnTo>
                    <a:lnTo>
                      <a:pt x="28" y="285"/>
                    </a:lnTo>
                    <a:lnTo>
                      <a:pt x="28" y="287"/>
                    </a:lnTo>
                    <a:lnTo>
                      <a:pt x="28" y="287"/>
                    </a:lnTo>
                    <a:lnTo>
                      <a:pt x="30" y="287"/>
                    </a:lnTo>
                    <a:lnTo>
                      <a:pt x="30" y="287"/>
                    </a:lnTo>
                    <a:lnTo>
                      <a:pt x="30" y="285"/>
                    </a:lnTo>
                    <a:lnTo>
                      <a:pt x="32" y="285"/>
                    </a:lnTo>
                    <a:lnTo>
                      <a:pt x="32" y="285"/>
                    </a:lnTo>
                    <a:lnTo>
                      <a:pt x="34" y="285"/>
                    </a:lnTo>
                    <a:lnTo>
                      <a:pt x="34" y="285"/>
                    </a:lnTo>
                    <a:lnTo>
                      <a:pt x="45" y="291"/>
                    </a:lnTo>
                    <a:lnTo>
                      <a:pt x="45" y="291"/>
                    </a:lnTo>
                    <a:lnTo>
                      <a:pt x="47" y="291"/>
                    </a:lnTo>
                    <a:lnTo>
                      <a:pt x="47" y="293"/>
                    </a:lnTo>
                    <a:lnTo>
                      <a:pt x="47" y="293"/>
                    </a:lnTo>
                    <a:lnTo>
                      <a:pt x="47" y="294"/>
                    </a:lnTo>
                    <a:lnTo>
                      <a:pt x="47" y="296"/>
                    </a:lnTo>
                    <a:lnTo>
                      <a:pt x="47" y="302"/>
                    </a:lnTo>
                    <a:lnTo>
                      <a:pt x="47" y="306"/>
                    </a:lnTo>
                    <a:lnTo>
                      <a:pt x="47" y="308"/>
                    </a:lnTo>
                    <a:lnTo>
                      <a:pt x="45" y="310"/>
                    </a:lnTo>
                    <a:lnTo>
                      <a:pt x="45" y="310"/>
                    </a:lnTo>
                    <a:lnTo>
                      <a:pt x="40" y="310"/>
                    </a:lnTo>
                    <a:lnTo>
                      <a:pt x="40" y="312"/>
                    </a:lnTo>
                    <a:lnTo>
                      <a:pt x="38" y="312"/>
                    </a:lnTo>
                    <a:lnTo>
                      <a:pt x="36" y="313"/>
                    </a:lnTo>
                    <a:lnTo>
                      <a:pt x="36" y="313"/>
                    </a:lnTo>
                    <a:lnTo>
                      <a:pt x="36" y="315"/>
                    </a:lnTo>
                    <a:lnTo>
                      <a:pt x="38" y="315"/>
                    </a:lnTo>
                    <a:lnTo>
                      <a:pt x="38" y="315"/>
                    </a:lnTo>
                    <a:lnTo>
                      <a:pt x="40" y="317"/>
                    </a:lnTo>
                    <a:lnTo>
                      <a:pt x="42" y="317"/>
                    </a:lnTo>
                    <a:lnTo>
                      <a:pt x="42" y="317"/>
                    </a:lnTo>
                    <a:lnTo>
                      <a:pt x="42" y="317"/>
                    </a:lnTo>
                    <a:lnTo>
                      <a:pt x="42" y="319"/>
                    </a:lnTo>
                    <a:lnTo>
                      <a:pt x="42" y="321"/>
                    </a:lnTo>
                    <a:lnTo>
                      <a:pt x="42" y="323"/>
                    </a:lnTo>
                    <a:lnTo>
                      <a:pt x="42" y="327"/>
                    </a:lnTo>
                    <a:lnTo>
                      <a:pt x="40" y="327"/>
                    </a:lnTo>
                    <a:lnTo>
                      <a:pt x="38" y="331"/>
                    </a:lnTo>
                    <a:lnTo>
                      <a:pt x="36" y="334"/>
                    </a:lnTo>
                    <a:lnTo>
                      <a:pt x="32" y="340"/>
                    </a:lnTo>
                    <a:lnTo>
                      <a:pt x="32" y="340"/>
                    </a:lnTo>
                    <a:lnTo>
                      <a:pt x="32" y="340"/>
                    </a:lnTo>
                    <a:lnTo>
                      <a:pt x="34" y="342"/>
                    </a:lnTo>
                    <a:lnTo>
                      <a:pt x="34" y="344"/>
                    </a:lnTo>
                    <a:lnTo>
                      <a:pt x="34" y="344"/>
                    </a:lnTo>
                    <a:lnTo>
                      <a:pt x="34" y="346"/>
                    </a:lnTo>
                    <a:lnTo>
                      <a:pt x="32" y="350"/>
                    </a:lnTo>
                    <a:lnTo>
                      <a:pt x="30" y="353"/>
                    </a:lnTo>
                    <a:lnTo>
                      <a:pt x="28" y="355"/>
                    </a:lnTo>
                    <a:lnTo>
                      <a:pt x="26" y="357"/>
                    </a:lnTo>
                    <a:lnTo>
                      <a:pt x="24" y="357"/>
                    </a:lnTo>
                    <a:lnTo>
                      <a:pt x="22" y="357"/>
                    </a:lnTo>
                    <a:lnTo>
                      <a:pt x="21" y="359"/>
                    </a:lnTo>
                    <a:lnTo>
                      <a:pt x="17" y="359"/>
                    </a:lnTo>
                    <a:lnTo>
                      <a:pt x="15" y="359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5"/>
                    </a:lnTo>
                    <a:lnTo>
                      <a:pt x="15" y="353"/>
                    </a:lnTo>
                    <a:lnTo>
                      <a:pt x="15" y="353"/>
                    </a:lnTo>
                    <a:lnTo>
                      <a:pt x="15" y="353"/>
                    </a:lnTo>
                    <a:lnTo>
                      <a:pt x="13" y="353"/>
                    </a:lnTo>
                    <a:lnTo>
                      <a:pt x="13" y="353"/>
                    </a:lnTo>
                    <a:lnTo>
                      <a:pt x="11" y="353"/>
                    </a:lnTo>
                    <a:lnTo>
                      <a:pt x="5" y="357"/>
                    </a:lnTo>
                    <a:lnTo>
                      <a:pt x="3" y="359"/>
                    </a:lnTo>
                    <a:lnTo>
                      <a:pt x="3" y="363"/>
                    </a:lnTo>
                    <a:lnTo>
                      <a:pt x="2" y="365"/>
                    </a:lnTo>
                    <a:lnTo>
                      <a:pt x="2" y="365"/>
                    </a:lnTo>
                    <a:lnTo>
                      <a:pt x="0" y="365"/>
                    </a:lnTo>
                    <a:lnTo>
                      <a:pt x="0" y="367"/>
                    </a:lnTo>
                    <a:lnTo>
                      <a:pt x="0" y="367"/>
                    </a:lnTo>
                    <a:lnTo>
                      <a:pt x="0" y="367"/>
                    </a:lnTo>
                    <a:lnTo>
                      <a:pt x="2" y="371"/>
                    </a:lnTo>
                    <a:lnTo>
                      <a:pt x="2" y="371"/>
                    </a:lnTo>
                    <a:lnTo>
                      <a:pt x="3" y="371"/>
                    </a:lnTo>
                    <a:lnTo>
                      <a:pt x="5" y="371"/>
                    </a:lnTo>
                    <a:lnTo>
                      <a:pt x="7" y="371"/>
                    </a:lnTo>
                    <a:lnTo>
                      <a:pt x="7" y="369"/>
                    </a:lnTo>
                    <a:lnTo>
                      <a:pt x="9" y="369"/>
                    </a:lnTo>
                    <a:lnTo>
                      <a:pt x="9" y="369"/>
                    </a:lnTo>
                    <a:lnTo>
                      <a:pt x="11" y="369"/>
                    </a:lnTo>
                    <a:lnTo>
                      <a:pt x="13" y="369"/>
                    </a:lnTo>
                    <a:lnTo>
                      <a:pt x="17" y="371"/>
                    </a:lnTo>
                    <a:lnTo>
                      <a:pt x="17" y="372"/>
                    </a:lnTo>
                    <a:lnTo>
                      <a:pt x="19" y="372"/>
                    </a:lnTo>
                    <a:lnTo>
                      <a:pt x="19" y="376"/>
                    </a:lnTo>
                    <a:lnTo>
                      <a:pt x="21" y="384"/>
                    </a:lnTo>
                    <a:lnTo>
                      <a:pt x="21" y="386"/>
                    </a:lnTo>
                    <a:lnTo>
                      <a:pt x="21" y="388"/>
                    </a:lnTo>
                    <a:lnTo>
                      <a:pt x="19" y="390"/>
                    </a:lnTo>
                    <a:lnTo>
                      <a:pt x="17" y="391"/>
                    </a:lnTo>
                    <a:lnTo>
                      <a:pt x="19" y="393"/>
                    </a:lnTo>
                    <a:lnTo>
                      <a:pt x="19" y="395"/>
                    </a:lnTo>
                    <a:lnTo>
                      <a:pt x="21" y="395"/>
                    </a:lnTo>
                    <a:lnTo>
                      <a:pt x="21" y="397"/>
                    </a:lnTo>
                    <a:lnTo>
                      <a:pt x="21" y="399"/>
                    </a:lnTo>
                    <a:lnTo>
                      <a:pt x="21" y="399"/>
                    </a:lnTo>
                    <a:lnTo>
                      <a:pt x="21" y="401"/>
                    </a:lnTo>
                    <a:lnTo>
                      <a:pt x="21" y="401"/>
                    </a:lnTo>
                    <a:lnTo>
                      <a:pt x="21" y="403"/>
                    </a:lnTo>
                    <a:lnTo>
                      <a:pt x="21" y="403"/>
                    </a:lnTo>
                    <a:lnTo>
                      <a:pt x="24" y="407"/>
                    </a:lnTo>
                    <a:lnTo>
                      <a:pt x="24" y="409"/>
                    </a:lnTo>
                    <a:lnTo>
                      <a:pt x="26" y="409"/>
                    </a:lnTo>
                    <a:lnTo>
                      <a:pt x="26" y="411"/>
                    </a:lnTo>
                    <a:lnTo>
                      <a:pt x="26" y="414"/>
                    </a:lnTo>
                    <a:lnTo>
                      <a:pt x="26" y="416"/>
                    </a:lnTo>
                    <a:lnTo>
                      <a:pt x="26" y="418"/>
                    </a:lnTo>
                    <a:lnTo>
                      <a:pt x="24" y="418"/>
                    </a:lnTo>
                    <a:lnTo>
                      <a:pt x="22" y="418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2"/>
                    </a:lnTo>
                    <a:lnTo>
                      <a:pt x="19" y="422"/>
                    </a:lnTo>
                    <a:lnTo>
                      <a:pt x="19" y="424"/>
                    </a:lnTo>
                    <a:lnTo>
                      <a:pt x="22" y="426"/>
                    </a:lnTo>
                    <a:lnTo>
                      <a:pt x="24" y="426"/>
                    </a:lnTo>
                    <a:lnTo>
                      <a:pt x="24" y="428"/>
                    </a:lnTo>
                    <a:lnTo>
                      <a:pt x="24" y="428"/>
                    </a:lnTo>
                    <a:lnTo>
                      <a:pt x="24" y="428"/>
                    </a:lnTo>
                    <a:lnTo>
                      <a:pt x="24" y="430"/>
                    </a:lnTo>
                    <a:lnTo>
                      <a:pt x="24" y="431"/>
                    </a:lnTo>
                    <a:lnTo>
                      <a:pt x="21" y="437"/>
                    </a:lnTo>
                    <a:lnTo>
                      <a:pt x="21" y="437"/>
                    </a:lnTo>
                    <a:lnTo>
                      <a:pt x="21" y="441"/>
                    </a:lnTo>
                    <a:lnTo>
                      <a:pt x="21" y="441"/>
                    </a:lnTo>
                    <a:lnTo>
                      <a:pt x="21" y="443"/>
                    </a:lnTo>
                    <a:lnTo>
                      <a:pt x="21" y="447"/>
                    </a:lnTo>
                    <a:lnTo>
                      <a:pt x="21" y="447"/>
                    </a:lnTo>
                    <a:lnTo>
                      <a:pt x="21" y="449"/>
                    </a:lnTo>
                    <a:lnTo>
                      <a:pt x="21" y="450"/>
                    </a:lnTo>
                    <a:lnTo>
                      <a:pt x="21" y="450"/>
                    </a:lnTo>
                    <a:lnTo>
                      <a:pt x="21" y="452"/>
                    </a:lnTo>
                    <a:lnTo>
                      <a:pt x="19" y="456"/>
                    </a:lnTo>
                    <a:lnTo>
                      <a:pt x="19" y="458"/>
                    </a:lnTo>
                    <a:lnTo>
                      <a:pt x="19" y="458"/>
                    </a:lnTo>
                    <a:lnTo>
                      <a:pt x="19" y="458"/>
                    </a:lnTo>
                    <a:lnTo>
                      <a:pt x="17" y="460"/>
                    </a:lnTo>
                    <a:lnTo>
                      <a:pt x="15" y="462"/>
                    </a:lnTo>
                    <a:lnTo>
                      <a:pt x="13" y="462"/>
                    </a:lnTo>
                    <a:lnTo>
                      <a:pt x="11" y="462"/>
                    </a:lnTo>
                    <a:lnTo>
                      <a:pt x="7" y="462"/>
                    </a:lnTo>
                    <a:lnTo>
                      <a:pt x="7" y="462"/>
                    </a:lnTo>
                    <a:lnTo>
                      <a:pt x="7" y="462"/>
                    </a:lnTo>
                    <a:lnTo>
                      <a:pt x="3" y="466"/>
                    </a:lnTo>
                    <a:lnTo>
                      <a:pt x="0" y="468"/>
                    </a:lnTo>
                    <a:lnTo>
                      <a:pt x="2" y="471"/>
                    </a:lnTo>
                    <a:lnTo>
                      <a:pt x="2" y="473"/>
                    </a:lnTo>
                    <a:lnTo>
                      <a:pt x="3" y="473"/>
                    </a:lnTo>
                    <a:lnTo>
                      <a:pt x="5" y="471"/>
                    </a:lnTo>
                    <a:lnTo>
                      <a:pt x="7" y="471"/>
                    </a:lnTo>
                    <a:lnTo>
                      <a:pt x="7" y="469"/>
                    </a:lnTo>
                    <a:lnTo>
                      <a:pt x="9" y="469"/>
                    </a:lnTo>
                    <a:lnTo>
                      <a:pt x="13" y="468"/>
                    </a:lnTo>
                    <a:lnTo>
                      <a:pt x="15" y="466"/>
                    </a:lnTo>
                    <a:lnTo>
                      <a:pt x="15" y="468"/>
                    </a:lnTo>
                    <a:lnTo>
                      <a:pt x="15" y="468"/>
                    </a:lnTo>
                    <a:lnTo>
                      <a:pt x="17" y="468"/>
                    </a:lnTo>
                    <a:lnTo>
                      <a:pt x="17" y="469"/>
                    </a:lnTo>
                    <a:lnTo>
                      <a:pt x="17" y="469"/>
                    </a:lnTo>
                    <a:lnTo>
                      <a:pt x="17" y="471"/>
                    </a:lnTo>
                    <a:lnTo>
                      <a:pt x="15" y="469"/>
                    </a:lnTo>
                    <a:lnTo>
                      <a:pt x="15" y="469"/>
                    </a:lnTo>
                    <a:lnTo>
                      <a:pt x="11" y="469"/>
                    </a:lnTo>
                    <a:lnTo>
                      <a:pt x="11" y="471"/>
                    </a:lnTo>
                    <a:lnTo>
                      <a:pt x="9" y="473"/>
                    </a:lnTo>
                    <a:lnTo>
                      <a:pt x="7" y="475"/>
                    </a:lnTo>
                    <a:lnTo>
                      <a:pt x="7" y="473"/>
                    </a:lnTo>
                    <a:lnTo>
                      <a:pt x="5" y="473"/>
                    </a:lnTo>
                    <a:lnTo>
                      <a:pt x="3" y="473"/>
                    </a:lnTo>
                    <a:lnTo>
                      <a:pt x="3" y="475"/>
                    </a:lnTo>
                    <a:lnTo>
                      <a:pt x="2" y="475"/>
                    </a:lnTo>
                    <a:lnTo>
                      <a:pt x="2" y="477"/>
                    </a:lnTo>
                    <a:lnTo>
                      <a:pt x="2" y="479"/>
                    </a:lnTo>
                    <a:lnTo>
                      <a:pt x="0" y="477"/>
                    </a:lnTo>
                    <a:lnTo>
                      <a:pt x="0" y="479"/>
                    </a:lnTo>
                    <a:lnTo>
                      <a:pt x="2" y="481"/>
                    </a:lnTo>
                    <a:lnTo>
                      <a:pt x="5" y="483"/>
                    </a:lnTo>
                    <a:lnTo>
                      <a:pt x="7" y="483"/>
                    </a:lnTo>
                    <a:lnTo>
                      <a:pt x="7" y="485"/>
                    </a:lnTo>
                    <a:lnTo>
                      <a:pt x="7" y="485"/>
                    </a:lnTo>
                    <a:lnTo>
                      <a:pt x="9" y="485"/>
                    </a:lnTo>
                    <a:lnTo>
                      <a:pt x="9" y="485"/>
                    </a:lnTo>
                    <a:lnTo>
                      <a:pt x="11" y="487"/>
                    </a:lnTo>
                    <a:lnTo>
                      <a:pt x="13" y="490"/>
                    </a:lnTo>
                    <a:lnTo>
                      <a:pt x="15" y="487"/>
                    </a:lnTo>
                    <a:lnTo>
                      <a:pt x="15" y="487"/>
                    </a:lnTo>
                    <a:lnTo>
                      <a:pt x="17" y="487"/>
                    </a:lnTo>
                    <a:lnTo>
                      <a:pt x="21" y="489"/>
                    </a:lnTo>
                    <a:lnTo>
                      <a:pt x="21" y="490"/>
                    </a:lnTo>
                    <a:lnTo>
                      <a:pt x="22" y="496"/>
                    </a:lnTo>
                    <a:lnTo>
                      <a:pt x="22" y="500"/>
                    </a:lnTo>
                    <a:lnTo>
                      <a:pt x="21" y="500"/>
                    </a:lnTo>
                    <a:lnTo>
                      <a:pt x="22" y="502"/>
                    </a:lnTo>
                    <a:lnTo>
                      <a:pt x="22" y="504"/>
                    </a:lnTo>
                    <a:lnTo>
                      <a:pt x="24" y="504"/>
                    </a:lnTo>
                    <a:lnTo>
                      <a:pt x="26" y="504"/>
                    </a:lnTo>
                    <a:lnTo>
                      <a:pt x="26" y="502"/>
                    </a:lnTo>
                    <a:lnTo>
                      <a:pt x="28" y="502"/>
                    </a:lnTo>
                    <a:lnTo>
                      <a:pt x="30" y="504"/>
                    </a:lnTo>
                    <a:lnTo>
                      <a:pt x="30" y="504"/>
                    </a:lnTo>
                    <a:lnTo>
                      <a:pt x="26" y="504"/>
                    </a:lnTo>
                    <a:lnTo>
                      <a:pt x="24" y="506"/>
                    </a:lnTo>
                    <a:lnTo>
                      <a:pt x="24" y="509"/>
                    </a:lnTo>
                    <a:lnTo>
                      <a:pt x="26" y="513"/>
                    </a:lnTo>
                    <a:lnTo>
                      <a:pt x="26" y="513"/>
                    </a:lnTo>
                    <a:lnTo>
                      <a:pt x="26" y="515"/>
                    </a:lnTo>
                    <a:lnTo>
                      <a:pt x="28" y="515"/>
                    </a:lnTo>
                    <a:lnTo>
                      <a:pt x="30" y="515"/>
                    </a:lnTo>
                    <a:lnTo>
                      <a:pt x="30" y="513"/>
                    </a:lnTo>
                    <a:lnTo>
                      <a:pt x="30" y="511"/>
                    </a:lnTo>
                    <a:lnTo>
                      <a:pt x="30" y="509"/>
                    </a:lnTo>
                    <a:lnTo>
                      <a:pt x="32" y="508"/>
                    </a:lnTo>
                    <a:lnTo>
                      <a:pt x="32" y="509"/>
                    </a:lnTo>
                    <a:lnTo>
                      <a:pt x="32" y="509"/>
                    </a:lnTo>
                    <a:lnTo>
                      <a:pt x="32" y="511"/>
                    </a:lnTo>
                    <a:lnTo>
                      <a:pt x="34" y="511"/>
                    </a:lnTo>
                    <a:lnTo>
                      <a:pt x="34" y="511"/>
                    </a:lnTo>
                    <a:lnTo>
                      <a:pt x="36" y="511"/>
                    </a:lnTo>
                    <a:lnTo>
                      <a:pt x="36" y="511"/>
                    </a:lnTo>
                    <a:lnTo>
                      <a:pt x="36" y="513"/>
                    </a:lnTo>
                    <a:lnTo>
                      <a:pt x="34" y="513"/>
                    </a:lnTo>
                    <a:lnTo>
                      <a:pt x="36" y="515"/>
                    </a:lnTo>
                    <a:lnTo>
                      <a:pt x="42" y="521"/>
                    </a:lnTo>
                    <a:lnTo>
                      <a:pt x="38" y="521"/>
                    </a:lnTo>
                    <a:lnTo>
                      <a:pt x="38" y="521"/>
                    </a:lnTo>
                    <a:lnTo>
                      <a:pt x="40" y="523"/>
                    </a:lnTo>
                    <a:lnTo>
                      <a:pt x="36" y="523"/>
                    </a:lnTo>
                    <a:lnTo>
                      <a:pt x="36" y="519"/>
                    </a:lnTo>
                    <a:lnTo>
                      <a:pt x="34" y="515"/>
                    </a:lnTo>
                    <a:lnTo>
                      <a:pt x="32" y="513"/>
                    </a:lnTo>
                    <a:lnTo>
                      <a:pt x="32" y="517"/>
                    </a:lnTo>
                    <a:lnTo>
                      <a:pt x="36" y="521"/>
                    </a:lnTo>
                    <a:lnTo>
                      <a:pt x="36" y="527"/>
                    </a:lnTo>
                    <a:lnTo>
                      <a:pt x="36" y="527"/>
                    </a:lnTo>
                    <a:lnTo>
                      <a:pt x="38" y="528"/>
                    </a:lnTo>
                    <a:lnTo>
                      <a:pt x="38" y="528"/>
                    </a:lnTo>
                    <a:lnTo>
                      <a:pt x="38" y="532"/>
                    </a:lnTo>
                    <a:lnTo>
                      <a:pt x="38" y="534"/>
                    </a:lnTo>
                    <a:lnTo>
                      <a:pt x="38" y="534"/>
                    </a:lnTo>
                    <a:lnTo>
                      <a:pt x="40" y="538"/>
                    </a:lnTo>
                    <a:lnTo>
                      <a:pt x="40" y="544"/>
                    </a:lnTo>
                    <a:lnTo>
                      <a:pt x="42" y="546"/>
                    </a:lnTo>
                    <a:lnTo>
                      <a:pt x="43" y="546"/>
                    </a:lnTo>
                    <a:lnTo>
                      <a:pt x="51" y="549"/>
                    </a:lnTo>
                    <a:lnTo>
                      <a:pt x="51" y="549"/>
                    </a:lnTo>
                    <a:lnTo>
                      <a:pt x="49" y="549"/>
                    </a:lnTo>
                    <a:lnTo>
                      <a:pt x="47" y="549"/>
                    </a:lnTo>
                    <a:lnTo>
                      <a:pt x="43" y="549"/>
                    </a:lnTo>
                    <a:lnTo>
                      <a:pt x="42" y="548"/>
                    </a:lnTo>
                    <a:lnTo>
                      <a:pt x="42" y="551"/>
                    </a:lnTo>
                    <a:lnTo>
                      <a:pt x="43" y="553"/>
                    </a:lnTo>
                    <a:lnTo>
                      <a:pt x="47" y="559"/>
                    </a:lnTo>
                    <a:lnTo>
                      <a:pt x="47" y="561"/>
                    </a:lnTo>
                    <a:lnTo>
                      <a:pt x="47" y="568"/>
                    </a:lnTo>
                    <a:lnTo>
                      <a:pt x="47" y="570"/>
                    </a:lnTo>
                    <a:lnTo>
                      <a:pt x="49" y="572"/>
                    </a:lnTo>
                    <a:lnTo>
                      <a:pt x="49" y="572"/>
                    </a:lnTo>
                    <a:lnTo>
                      <a:pt x="51" y="574"/>
                    </a:lnTo>
                    <a:lnTo>
                      <a:pt x="49" y="576"/>
                    </a:lnTo>
                    <a:lnTo>
                      <a:pt x="49" y="578"/>
                    </a:lnTo>
                    <a:lnTo>
                      <a:pt x="51" y="580"/>
                    </a:lnTo>
                    <a:lnTo>
                      <a:pt x="55" y="586"/>
                    </a:lnTo>
                    <a:lnTo>
                      <a:pt x="57" y="589"/>
                    </a:lnTo>
                    <a:lnTo>
                      <a:pt x="61" y="595"/>
                    </a:lnTo>
                    <a:lnTo>
                      <a:pt x="63" y="599"/>
                    </a:lnTo>
                    <a:lnTo>
                      <a:pt x="64" y="603"/>
                    </a:lnTo>
                    <a:lnTo>
                      <a:pt x="66" y="610"/>
                    </a:lnTo>
                    <a:lnTo>
                      <a:pt x="68" y="622"/>
                    </a:lnTo>
                    <a:lnTo>
                      <a:pt x="70" y="626"/>
                    </a:lnTo>
                    <a:lnTo>
                      <a:pt x="72" y="620"/>
                    </a:lnTo>
                    <a:lnTo>
                      <a:pt x="74" y="620"/>
                    </a:lnTo>
                    <a:lnTo>
                      <a:pt x="76" y="622"/>
                    </a:lnTo>
                    <a:lnTo>
                      <a:pt x="74" y="622"/>
                    </a:lnTo>
                    <a:lnTo>
                      <a:pt x="74" y="622"/>
                    </a:lnTo>
                    <a:lnTo>
                      <a:pt x="76" y="624"/>
                    </a:lnTo>
                    <a:lnTo>
                      <a:pt x="78" y="626"/>
                    </a:lnTo>
                    <a:lnTo>
                      <a:pt x="78" y="627"/>
                    </a:lnTo>
                    <a:lnTo>
                      <a:pt x="80" y="627"/>
                    </a:lnTo>
                    <a:lnTo>
                      <a:pt x="80" y="627"/>
                    </a:lnTo>
                    <a:lnTo>
                      <a:pt x="78" y="627"/>
                    </a:lnTo>
                    <a:lnTo>
                      <a:pt x="76" y="627"/>
                    </a:lnTo>
                    <a:lnTo>
                      <a:pt x="74" y="627"/>
                    </a:lnTo>
                    <a:lnTo>
                      <a:pt x="74" y="627"/>
                    </a:lnTo>
                    <a:lnTo>
                      <a:pt x="74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31"/>
                    </a:lnTo>
                    <a:lnTo>
                      <a:pt x="72" y="631"/>
                    </a:lnTo>
                    <a:lnTo>
                      <a:pt x="72" y="631"/>
                    </a:lnTo>
                    <a:lnTo>
                      <a:pt x="72" y="633"/>
                    </a:lnTo>
                    <a:lnTo>
                      <a:pt x="72" y="641"/>
                    </a:lnTo>
                    <a:lnTo>
                      <a:pt x="72" y="643"/>
                    </a:lnTo>
                    <a:lnTo>
                      <a:pt x="76" y="652"/>
                    </a:lnTo>
                    <a:lnTo>
                      <a:pt x="76" y="654"/>
                    </a:lnTo>
                    <a:lnTo>
                      <a:pt x="76" y="656"/>
                    </a:lnTo>
                    <a:lnTo>
                      <a:pt x="76" y="658"/>
                    </a:lnTo>
                    <a:lnTo>
                      <a:pt x="76" y="658"/>
                    </a:lnTo>
                    <a:lnTo>
                      <a:pt x="74" y="654"/>
                    </a:lnTo>
                    <a:lnTo>
                      <a:pt x="74" y="650"/>
                    </a:lnTo>
                    <a:lnTo>
                      <a:pt x="74" y="654"/>
                    </a:lnTo>
                    <a:lnTo>
                      <a:pt x="74" y="658"/>
                    </a:lnTo>
                    <a:lnTo>
                      <a:pt x="76" y="660"/>
                    </a:lnTo>
                    <a:lnTo>
                      <a:pt x="74" y="662"/>
                    </a:lnTo>
                    <a:lnTo>
                      <a:pt x="76" y="664"/>
                    </a:lnTo>
                    <a:lnTo>
                      <a:pt x="76" y="665"/>
                    </a:lnTo>
                    <a:lnTo>
                      <a:pt x="78" y="667"/>
                    </a:lnTo>
                    <a:lnTo>
                      <a:pt x="80" y="677"/>
                    </a:lnTo>
                    <a:lnTo>
                      <a:pt x="80" y="683"/>
                    </a:lnTo>
                    <a:lnTo>
                      <a:pt x="82" y="688"/>
                    </a:lnTo>
                    <a:lnTo>
                      <a:pt x="82" y="690"/>
                    </a:lnTo>
                    <a:lnTo>
                      <a:pt x="84" y="690"/>
                    </a:lnTo>
                    <a:lnTo>
                      <a:pt x="84" y="692"/>
                    </a:lnTo>
                    <a:lnTo>
                      <a:pt x="84" y="696"/>
                    </a:lnTo>
                    <a:lnTo>
                      <a:pt x="84" y="698"/>
                    </a:lnTo>
                    <a:lnTo>
                      <a:pt x="85" y="698"/>
                    </a:lnTo>
                    <a:lnTo>
                      <a:pt x="85" y="700"/>
                    </a:lnTo>
                    <a:lnTo>
                      <a:pt x="85" y="704"/>
                    </a:lnTo>
                    <a:lnTo>
                      <a:pt x="91" y="728"/>
                    </a:lnTo>
                    <a:lnTo>
                      <a:pt x="95" y="728"/>
                    </a:lnTo>
                    <a:lnTo>
                      <a:pt x="101" y="726"/>
                    </a:lnTo>
                    <a:lnTo>
                      <a:pt x="106" y="726"/>
                    </a:lnTo>
                    <a:lnTo>
                      <a:pt x="104" y="728"/>
                    </a:lnTo>
                    <a:lnTo>
                      <a:pt x="103" y="728"/>
                    </a:lnTo>
                    <a:lnTo>
                      <a:pt x="101" y="730"/>
                    </a:lnTo>
                    <a:lnTo>
                      <a:pt x="99" y="730"/>
                    </a:lnTo>
                    <a:lnTo>
                      <a:pt x="99" y="730"/>
                    </a:lnTo>
                    <a:lnTo>
                      <a:pt x="97" y="732"/>
                    </a:lnTo>
                    <a:lnTo>
                      <a:pt x="95" y="734"/>
                    </a:lnTo>
                    <a:lnTo>
                      <a:pt x="95" y="734"/>
                    </a:lnTo>
                    <a:lnTo>
                      <a:pt x="91" y="732"/>
                    </a:lnTo>
                    <a:lnTo>
                      <a:pt x="91" y="734"/>
                    </a:lnTo>
                    <a:lnTo>
                      <a:pt x="93" y="734"/>
                    </a:lnTo>
                    <a:lnTo>
                      <a:pt x="93" y="736"/>
                    </a:lnTo>
                    <a:lnTo>
                      <a:pt x="95" y="736"/>
                    </a:lnTo>
                    <a:lnTo>
                      <a:pt x="95" y="738"/>
                    </a:lnTo>
                    <a:lnTo>
                      <a:pt x="95" y="742"/>
                    </a:lnTo>
                    <a:lnTo>
                      <a:pt x="101" y="740"/>
                    </a:lnTo>
                    <a:lnTo>
                      <a:pt x="103" y="740"/>
                    </a:lnTo>
                    <a:lnTo>
                      <a:pt x="104" y="740"/>
                    </a:lnTo>
                    <a:lnTo>
                      <a:pt x="106" y="740"/>
                    </a:lnTo>
                    <a:lnTo>
                      <a:pt x="106" y="740"/>
                    </a:lnTo>
                    <a:lnTo>
                      <a:pt x="106" y="740"/>
                    </a:lnTo>
                    <a:lnTo>
                      <a:pt x="106" y="742"/>
                    </a:lnTo>
                    <a:lnTo>
                      <a:pt x="106" y="742"/>
                    </a:lnTo>
                    <a:lnTo>
                      <a:pt x="108" y="743"/>
                    </a:lnTo>
                    <a:lnTo>
                      <a:pt x="108" y="743"/>
                    </a:lnTo>
                    <a:lnTo>
                      <a:pt x="108" y="745"/>
                    </a:lnTo>
                    <a:lnTo>
                      <a:pt x="108" y="745"/>
                    </a:lnTo>
                    <a:lnTo>
                      <a:pt x="110" y="745"/>
                    </a:lnTo>
                    <a:lnTo>
                      <a:pt x="110" y="747"/>
                    </a:lnTo>
                    <a:lnTo>
                      <a:pt x="112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9"/>
                    </a:lnTo>
                    <a:lnTo>
                      <a:pt x="114" y="749"/>
                    </a:lnTo>
                    <a:lnTo>
                      <a:pt x="114" y="749"/>
                    </a:lnTo>
                    <a:lnTo>
                      <a:pt x="114" y="751"/>
                    </a:lnTo>
                    <a:lnTo>
                      <a:pt x="116" y="751"/>
                    </a:lnTo>
                    <a:lnTo>
                      <a:pt x="116" y="751"/>
                    </a:lnTo>
                    <a:lnTo>
                      <a:pt x="116" y="751"/>
                    </a:lnTo>
                    <a:lnTo>
                      <a:pt x="118" y="751"/>
                    </a:lnTo>
                    <a:lnTo>
                      <a:pt x="118" y="749"/>
                    </a:lnTo>
                    <a:lnTo>
                      <a:pt x="120" y="749"/>
                    </a:lnTo>
                    <a:lnTo>
                      <a:pt x="122" y="749"/>
                    </a:lnTo>
                    <a:lnTo>
                      <a:pt x="122" y="749"/>
                    </a:lnTo>
                    <a:lnTo>
                      <a:pt x="125" y="751"/>
                    </a:lnTo>
                    <a:lnTo>
                      <a:pt x="125" y="751"/>
                    </a:lnTo>
                    <a:lnTo>
                      <a:pt x="125" y="751"/>
                    </a:lnTo>
                    <a:lnTo>
                      <a:pt x="125" y="753"/>
                    </a:lnTo>
                    <a:lnTo>
                      <a:pt x="125" y="753"/>
                    </a:lnTo>
                    <a:lnTo>
                      <a:pt x="125" y="755"/>
                    </a:lnTo>
                    <a:lnTo>
                      <a:pt x="125" y="755"/>
                    </a:lnTo>
                    <a:lnTo>
                      <a:pt x="125" y="757"/>
                    </a:lnTo>
                    <a:lnTo>
                      <a:pt x="125" y="757"/>
                    </a:lnTo>
                    <a:lnTo>
                      <a:pt x="127" y="759"/>
                    </a:lnTo>
                    <a:lnTo>
                      <a:pt x="127" y="759"/>
                    </a:lnTo>
                    <a:lnTo>
                      <a:pt x="129" y="759"/>
                    </a:lnTo>
                    <a:lnTo>
                      <a:pt x="129" y="759"/>
                    </a:lnTo>
                    <a:lnTo>
                      <a:pt x="131" y="757"/>
                    </a:lnTo>
                    <a:lnTo>
                      <a:pt x="131" y="759"/>
                    </a:lnTo>
                    <a:lnTo>
                      <a:pt x="133" y="759"/>
                    </a:lnTo>
                    <a:lnTo>
                      <a:pt x="135" y="761"/>
                    </a:lnTo>
                    <a:lnTo>
                      <a:pt x="135" y="762"/>
                    </a:lnTo>
                    <a:lnTo>
                      <a:pt x="137" y="762"/>
                    </a:lnTo>
                    <a:lnTo>
                      <a:pt x="137" y="762"/>
                    </a:lnTo>
                    <a:lnTo>
                      <a:pt x="139" y="762"/>
                    </a:lnTo>
                    <a:lnTo>
                      <a:pt x="139" y="762"/>
                    </a:lnTo>
                    <a:lnTo>
                      <a:pt x="139" y="761"/>
                    </a:lnTo>
                    <a:lnTo>
                      <a:pt x="141" y="761"/>
                    </a:lnTo>
                    <a:lnTo>
                      <a:pt x="143" y="761"/>
                    </a:lnTo>
                    <a:lnTo>
                      <a:pt x="148" y="762"/>
                    </a:lnTo>
                    <a:lnTo>
                      <a:pt x="146" y="764"/>
                    </a:lnTo>
                    <a:lnTo>
                      <a:pt x="145" y="766"/>
                    </a:lnTo>
                    <a:lnTo>
                      <a:pt x="145" y="768"/>
                    </a:lnTo>
                    <a:lnTo>
                      <a:pt x="145" y="770"/>
                    </a:lnTo>
                    <a:lnTo>
                      <a:pt x="145" y="770"/>
                    </a:lnTo>
                    <a:lnTo>
                      <a:pt x="146" y="772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50" y="776"/>
                    </a:lnTo>
                    <a:lnTo>
                      <a:pt x="150" y="776"/>
                    </a:lnTo>
                    <a:lnTo>
                      <a:pt x="152" y="778"/>
                    </a:lnTo>
                    <a:lnTo>
                      <a:pt x="152" y="778"/>
                    </a:lnTo>
                    <a:lnTo>
                      <a:pt x="152" y="778"/>
                    </a:lnTo>
                    <a:lnTo>
                      <a:pt x="152" y="780"/>
                    </a:lnTo>
                    <a:lnTo>
                      <a:pt x="152" y="780"/>
                    </a:lnTo>
                    <a:lnTo>
                      <a:pt x="154" y="780"/>
                    </a:lnTo>
                    <a:lnTo>
                      <a:pt x="158" y="778"/>
                    </a:lnTo>
                    <a:lnTo>
                      <a:pt x="158" y="778"/>
                    </a:lnTo>
                    <a:lnTo>
                      <a:pt x="160" y="778"/>
                    </a:lnTo>
                    <a:lnTo>
                      <a:pt x="160" y="778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2"/>
                    </a:lnTo>
                    <a:lnTo>
                      <a:pt x="158" y="782"/>
                    </a:lnTo>
                    <a:lnTo>
                      <a:pt x="156" y="783"/>
                    </a:lnTo>
                    <a:lnTo>
                      <a:pt x="156" y="783"/>
                    </a:lnTo>
                    <a:lnTo>
                      <a:pt x="156" y="785"/>
                    </a:lnTo>
                    <a:lnTo>
                      <a:pt x="156" y="787"/>
                    </a:lnTo>
                    <a:lnTo>
                      <a:pt x="156" y="787"/>
                    </a:lnTo>
                    <a:lnTo>
                      <a:pt x="156" y="789"/>
                    </a:lnTo>
                    <a:lnTo>
                      <a:pt x="158" y="791"/>
                    </a:lnTo>
                    <a:lnTo>
                      <a:pt x="160" y="793"/>
                    </a:lnTo>
                    <a:lnTo>
                      <a:pt x="160" y="795"/>
                    </a:lnTo>
                    <a:lnTo>
                      <a:pt x="162" y="799"/>
                    </a:lnTo>
                    <a:lnTo>
                      <a:pt x="162" y="801"/>
                    </a:lnTo>
                    <a:lnTo>
                      <a:pt x="162" y="801"/>
                    </a:lnTo>
                    <a:lnTo>
                      <a:pt x="164" y="801"/>
                    </a:lnTo>
                    <a:lnTo>
                      <a:pt x="164" y="802"/>
                    </a:lnTo>
                    <a:lnTo>
                      <a:pt x="164" y="802"/>
                    </a:lnTo>
                    <a:lnTo>
                      <a:pt x="166" y="801"/>
                    </a:lnTo>
                    <a:lnTo>
                      <a:pt x="166" y="801"/>
                    </a:lnTo>
                    <a:lnTo>
                      <a:pt x="167" y="802"/>
                    </a:lnTo>
                    <a:lnTo>
                      <a:pt x="169" y="802"/>
                    </a:lnTo>
                    <a:lnTo>
                      <a:pt x="181" y="818"/>
                    </a:lnTo>
                    <a:lnTo>
                      <a:pt x="183" y="820"/>
                    </a:lnTo>
                    <a:lnTo>
                      <a:pt x="186" y="820"/>
                    </a:lnTo>
                    <a:lnTo>
                      <a:pt x="188" y="821"/>
                    </a:lnTo>
                    <a:lnTo>
                      <a:pt x="190" y="821"/>
                    </a:lnTo>
                    <a:lnTo>
                      <a:pt x="190" y="823"/>
                    </a:lnTo>
                    <a:lnTo>
                      <a:pt x="190" y="823"/>
                    </a:lnTo>
                    <a:lnTo>
                      <a:pt x="192" y="825"/>
                    </a:lnTo>
                    <a:lnTo>
                      <a:pt x="192" y="825"/>
                    </a:lnTo>
                    <a:lnTo>
                      <a:pt x="192" y="825"/>
                    </a:lnTo>
                    <a:lnTo>
                      <a:pt x="194" y="825"/>
                    </a:lnTo>
                    <a:lnTo>
                      <a:pt x="196" y="825"/>
                    </a:lnTo>
                    <a:lnTo>
                      <a:pt x="196" y="825"/>
                    </a:lnTo>
                    <a:lnTo>
                      <a:pt x="198" y="827"/>
                    </a:lnTo>
                    <a:lnTo>
                      <a:pt x="200" y="829"/>
                    </a:lnTo>
                    <a:lnTo>
                      <a:pt x="202" y="829"/>
                    </a:lnTo>
                    <a:lnTo>
                      <a:pt x="202" y="829"/>
                    </a:lnTo>
                    <a:lnTo>
                      <a:pt x="204" y="829"/>
                    </a:lnTo>
                    <a:lnTo>
                      <a:pt x="204" y="829"/>
                    </a:lnTo>
                    <a:lnTo>
                      <a:pt x="206" y="829"/>
                    </a:lnTo>
                    <a:lnTo>
                      <a:pt x="206" y="829"/>
                    </a:lnTo>
                    <a:lnTo>
                      <a:pt x="207" y="829"/>
                    </a:lnTo>
                    <a:lnTo>
                      <a:pt x="207" y="829"/>
                    </a:lnTo>
                    <a:lnTo>
                      <a:pt x="209" y="831"/>
                    </a:lnTo>
                    <a:lnTo>
                      <a:pt x="209" y="831"/>
                    </a:lnTo>
                    <a:lnTo>
                      <a:pt x="209" y="835"/>
                    </a:lnTo>
                    <a:lnTo>
                      <a:pt x="211" y="839"/>
                    </a:lnTo>
                    <a:lnTo>
                      <a:pt x="211" y="839"/>
                    </a:lnTo>
                    <a:lnTo>
                      <a:pt x="213" y="841"/>
                    </a:lnTo>
                    <a:lnTo>
                      <a:pt x="215" y="842"/>
                    </a:lnTo>
                    <a:lnTo>
                      <a:pt x="217" y="844"/>
                    </a:lnTo>
                    <a:lnTo>
                      <a:pt x="219" y="844"/>
                    </a:lnTo>
                    <a:lnTo>
                      <a:pt x="221" y="846"/>
                    </a:lnTo>
                    <a:lnTo>
                      <a:pt x="225" y="846"/>
                    </a:lnTo>
                    <a:lnTo>
                      <a:pt x="227" y="846"/>
                    </a:lnTo>
                    <a:lnTo>
                      <a:pt x="234" y="848"/>
                    </a:lnTo>
                    <a:lnTo>
                      <a:pt x="236" y="848"/>
                    </a:lnTo>
                    <a:lnTo>
                      <a:pt x="242" y="844"/>
                    </a:lnTo>
                    <a:lnTo>
                      <a:pt x="246" y="844"/>
                    </a:lnTo>
                    <a:lnTo>
                      <a:pt x="248" y="844"/>
                    </a:lnTo>
                    <a:lnTo>
                      <a:pt x="249" y="844"/>
                    </a:lnTo>
                    <a:lnTo>
                      <a:pt x="249" y="846"/>
                    </a:lnTo>
                    <a:lnTo>
                      <a:pt x="249" y="848"/>
                    </a:lnTo>
                    <a:lnTo>
                      <a:pt x="249" y="854"/>
                    </a:lnTo>
                    <a:lnTo>
                      <a:pt x="249" y="854"/>
                    </a:lnTo>
                    <a:lnTo>
                      <a:pt x="249" y="856"/>
                    </a:lnTo>
                    <a:lnTo>
                      <a:pt x="251" y="858"/>
                    </a:lnTo>
                    <a:lnTo>
                      <a:pt x="253" y="858"/>
                    </a:lnTo>
                    <a:lnTo>
                      <a:pt x="253" y="858"/>
                    </a:lnTo>
                    <a:lnTo>
                      <a:pt x="255" y="856"/>
                    </a:lnTo>
                    <a:lnTo>
                      <a:pt x="255" y="856"/>
                    </a:lnTo>
                    <a:lnTo>
                      <a:pt x="257" y="856"/>
                    </a:lnTo>
                    <a:lnTo>
                      <a:pt x="259" y="856"/>
                    </a:lnTo>
                    <a:lnTo>
                      <a:pt x="259" y="856"/>
                    </a:lnTo>
                    <a:lnTo>
                      <a:pt x="261" y="858"/>
                    </a:lnTo>
                    <a:lnTo>
                      <a:pt x="263" y="858"/>
                    </a:lnTo>
                    <a:lnTo>
                      <a:pt x="263" y="860"/>
                    </a:lnTo>
                    <a:lnTo>
                      <a:pt x="265" y="861"/>
                    </a:lnTo>
                    <a:lnTo>
                      <a:pt x="265" y="863"/>
                    </a:lnTo>
                    <a:lnTo>
                      <a:pt x="265" y="863"/>
                    </a:lnTo>
                    <a:lnTo>
                      <a:pt x="267" y="863"/>
                    </a:lnTo>
                    <a:lnTo>
                      <a:pt x="267" y="863"/>
                    </a:lnTo>
                    <a:lnTo>
                      <a:pt x="268" y="863"/>
                    </a:lnTo>
                    <a:lnTo>
                      <a:pt x="268" y="863"/>
                    </a:lnTo>
                    <a:lnTo>
                      <a:pt x="270" y="863"/>
                    </a:lnTo>
                    <a:lnTo>
                      <a:pt x="270" y="863"/>
                    </a:lnTo>
                    <a:lnTo>
                      <a:pt x="272" y="865"/>
                    </a:lnTo>
                    <a:lnTo>
                      <a:pt x="274" y="869"/>
                    </a:lnTo>
                    <a:lnTo>
                      <a:pt x="276" y="871"/>
                    </a:lnTo>
                    <a:lnTo>
                      <a:pt x="278" y="871"/>
                    </a:lnTo>
                    <a:lnTo>
                      <a:pt x="278" y="871"/>
                    </a:lnTo>
                    <a:lnTo>
                      <a:pt x="282" y="871"/>
                    </a:lnTo>
                    <a:lnTo>
                      <a:pt x="282" y="871"/>
                    </a:lnTo>
                    <a:lnTo>
                      <a:pt x="284" y="871"/>
                    </a:lnTo>
                    <a:lnTo>
                      <a:pt x="284" y="871"/>
                    </a:lnTo>
                    <a:lnTo>
                      <a:pt x="286" y="871"/>
                    </a:lnTo>
                    <a:lnTo>
                      <a:pt x="288" y="871"/>
                    </a:lnTo>
                    <a:lnTo>
                      <a:pt x="288" y="871"/>
                    </a:lnTo>
                    <a:lnTo>
                      <a:pt x="288" y="873"/>
                    </a:lnTo>
                    <a:lnTo>
                      <a:pt x="289" y="875"/>
                    </a:lnTo>
                    <a:lnTo>
                      <a:pt x="289" y="877"/>
                    </a:lnTo>
                    <a:lnTo>
                      <a:pt x="289" y="879"/>
                    </a:lnTo>
                    <a:lnTo>
                      <a:pt x="291" y="882"/>
                    </a:lnTo>
                    <a:lnTo>
                      <a:pt x="291" y="880"/>
                    </a:lnTo>
                    <a:lnTo>
                      <a:pt x="291" y="879"/>
                    </a:lnTo>
                    <a:lnTo>
                      <a:pt x="293" y="879"/>
                    </a:lnTo>
                    <a:lnTo>
                      <a:pt x="293" y="877"/>
                    </a:lnTo>
                    <a:lnTo>
                      <a:pt x="295" y="877"/>
                    </a:lnTo>
                    <a:lnTo>
                      <a:pt x="297" y="875"/>
                    </a:lnTo>
                    <a:lnTo>
                      <a:pt x="299" y="875"/>
                    </a:lnTo>
                    <a:lnTo>
                      <a:pt x="303" y="875"/>
                    </a:lnTo>
                    <a:lnTo>
                      <a:pt x="305" y="877"/>
                    </a:lnTo>
                    <a:lnTo>
                      <a:pt x="307" y="879"/>
                    </a:lnTo>
                    <a:lnTo>
                      <a:pt x="309" y="879"/>
                    </a:lnTo>
                    <a:lnTo>
                      <a:pt x="307" y="882"/>
                    </a:lnTo>
                    <a:lnTo>
                      <a:pt x="307" y="882"/>
                    </a:lnTo>
                    <a:lnTo>
                      <a:pt x="309" y="884"/>
                    </a:lnTo>
                    <a:lnTo>
                      <a:pt x="309" y="884"/>
                    </a:lnTo>
                    <a:lnTo>
                      <a:pt x="310" y="886"/>
                    </a:lnTo>
                    <a:lnTo>
                      <a:pt x="312" y="886"/>
                    </a:lnTo>
                    <a:lnTo>
                      <a:pt x="314" y="886"/>
                    </a:lnTo>
                    <a:lnTo>
                      <a:pt x="333" y="884"/>
                    </a:lnTo>
                    <a:lnTo>
                      <a:pt x="335" y="884"/>
                    </a:lnTo>
                    <a:lnTo>
                      <a:pt x="341" y="886"/>
                    </a:lnTo>
                    <a:lnTo>
                      <a:pt x="343" y="886"/>
                    </a:lnTo>
                    <a:lnTo>
                      <a:pt x="343" y="884"/>
                    </a:lnTo>
                    <a:lnTo>
                      <a:pt x="345" y="877"/>
                    </a:lnTo>
                    <a:lnTo>
                      <a:pt x="349" y="871"/>
                    </a:lnTo>
                    <a:lnTo>
                      <a:pt x="352" y="865"/>
                    </a:lnTo>
                    <a:lnTo>
                      <a:pt x="354" y="863"/>
                    </a:lnTo>
                    <a:lnTo>
                      <a:pt x="356" y="863"/>
                    </a:lnTo>
                    <a:lnTo>
                      <a:pt x="358" y="863"/>
                    </a:lnTo>
                    <a:lnTo>
                      <a:pt x="360" y="863"/>
                    </a:lnTo>
                    <a:lnTo>
                      <a:pt x="362" y="861"/>
                    </a:lnTo>
                    <a:lnTo>
                      <a:pt x="364" y="861"/>
                    </a:lnTo>
                    <a:lnTo>
                      <a:pt x="366" y="861"/>
                    </a:lnTo>
                    <a:lnTo>
                      <a:pt x="368" y="863"/>
                    </a:lnTo>
                    <a:lnTo>
                      <a:pt x="375" y="871"/>
                    </a:lnTo>
                    <a:lnTo>
                      <a:pt x="377" y="871"/>
                    </a:lnTo>
                    <a:lnTo>
                      <a:pt x="377" y="871"/>
                    </a:lnTo>
                    <a:lnTo>
                      <a:pt x="379" y="869"/>
                    </a:lnTo>
                    <a:lnTo>
                      <a:pt x="379" y="867"/>
                    </a:lnTo>
                    <a:lnTo>
                      <a:pt x="379" y="865"/>
                    </a:lnTo>
                    <a:lnTo>
                      <a:pt x="381" y="865"/>
                    </a:lnTo>
                    <a:lnTo>
                      <a:pt x="383" y="865"/>
                    </a:lnTo>
                    <a:lnTo>
                      <a:pt x="387" y="863"/>
                    </a:lnTo>
                    <a:lnTo>
                      <a:pt x="392" y="863"/>
                    </a:lnTo>
                    <a:lnTo>
                      <a:pt x="394" y="863"/>
                    </a:lnTo>
                    <a:lnTo>
                      <a:pt x="396" y="863"/>
                    </a:lnTo>
                    <a:lnTo>
                      <a:pt x="396" y="861"/>
                    </a:lnTo>
                    <a:lnTo>
                      <a:pt x="398" y="863"/>
                    </a:lnTo>
                    <a:lnTo>
                      <a:pt x="400" y="863"/>
                    </a:lnTo>
                    <a:lnTo>
                      <a:pt x="402" y="863"/>
                    </a:lnTo>
                    <a:lnTo>
                      <a:pt x="402" y="863"/>
                    </a:lnTo>
                    <a:lnTo>
                      <a:pt x="406" y="865"/>
                    </a:lnTo>
                    <a:lnTo>
                      <a:pt x="408" y="867"/>
                    </a:lnTo>
                    <a:lnTo>
                      <a:pt x="410" y="867"/>
                    </a:lnTo>
                    <a:lnTo>
                      <a:pt x="412" y="865"/>
                    </a:lnTo>
                    <a:lnTo>
                      <a:pt x="415" y="865"/>
                    </a:lnTo>
                    <a:lnTo>
                      <a:pt x="417" y="865"/>
                    </a:lnTo>
                    <a:lnTo>
                      <a:pt x="419" y="863"/>
                    </a:lnTo>
                    <a:lnTo>
                      <a:pt x="419" y="861"/>
                    </a:lnTo>
                    <a:lnTo>
                      <a:pt x="423" y="854"/>
                    </a:lnTo>
                    <a:lnTo>
                      <a:pt x="423" y="852"/>
                    </a:lnTo>
                    <a:lnTo>
                      <a:pt x="425" y="850"/>
                    </a:lnTo>
                    <a:lnTo>
                      <a:pt x="425" y="848"/>
                    </a:lnTo>
                    <a:lnTo>
                      <a:pt x="429" y="848"/>
                    </a:lnTo>
                    <a:lnTo>
                      <a:pt x="429" y="846"/>
                    </a:lnTo>
                    <a:lnTo>
                      <a:pt x="442" y="846"/>
                    </a:lnTo>
                    <a:lnTo>
                      <a:pt x="446" y="844"/>
                    </a:lnTo>
                    <a:lnTo>
                      <a:pt x="446" y="844"/>
                    </a:lnTo>
                    <a:lnTo>
                      <a:pt x="448" y="844"/>
                    </a:lnTo>
                    <a:lnTo>
                      <a:pt x="448" y="842"/>
                    </a:lnTo>
                    <a:lnTo>
                      <a:pt x="450" y="839"/>
                    </a:lnTo>
                    <a:lnTo>
                      <a:pt x="453" y="835"/>
                    </a:lnTo>
                    <a:lnTo>
                      <a:pt x="455" y="831"/>
                    </a:lnTo>
                    <a:lnTo>
                      <a:pt x="457" y="831"/>
                    </a:lnTo>
                    <a:lnTo>
                      <a:pt x="457" y="829"/>
                    </a:lnTo>
                    <a:lnTo>
                      <a:pt x="459" y="829"/>
                    </a:lnTo>
                    <a:lnTo>
                      <a:pt x="459" y="827"/>
                    </a:lnTo>
                    <a:lnTo>
                      <a:pt x="459" y="827"/>
                    </a:lnTo>
                    <a:lnTo>
                      <a:pt x="459" y="827"/>
                    </a:lnTo>
                    <a:lnTo>
                      <a:pt x="461" y="827"/>
                    </a:lnTo>
                    <a:lnTo>
                      <a:pt x="461" y="825"/>
                    </a:lnTo>
                    <a:lnTo>
                      <a:pt x="461" y="825"/>
                    </a:lnTo>
                    <a:lnTo>
                      <a:pt x="461" y="823"/>
                    </a:lnTo>
                    <a:lnTo>
                      <a:pt x="461" y="823"/>
                    </a:lnTo>
                    <a:lnTo>
                      <a:pt x="461" y="821"/>
                    </a:lnTo>
                    <a:lnTo>
                      <a:pt x="457" y="816"/>
                    </a:lnTo>
                    <a:lnTo>
                      <a:pt x="455" y="816"/>
                    </a:lnTo>
                    <a:lnTo>
                      <a:pt x="455" y="816"/>
                    </a:lnTo>
                    <a:lnTo>
                      <a:pt x="452" y="814"/>
                    </a:lnTo>
                    <a:lnTo>
                      <a:pt x="448" y="812"/>
                    </a:lnTo>
                    <a:lnTo>
                      <a:pt x="427" y="812"/>
                    </a:lnTo>
                    <a:lnTo>
                      <a:pt x="425" y="812"/>
                    </a:lnTo>
                    <a:lnTo>
                      <a:pt x="425" y="812"/>
                    </a:lnTo>
                    <a:lnTo>
                      <a:pt x="425" y="810"/>
                    </a:lnTo>
                    <a:lnTo>
                      <a:pt x="425" y="808"/>
                    </a:lnTo>
                    <a:lnTo>
                      <a:pt x="423" y="806"/>
                    </a:lnTo>
                    <a:lnTo>
                      <a:pt x="423" y="806"/>
                    </a:lnTo>
                    <a:lnTo>
                      <a:pt x="423" y="804"/>
                    </a:lnTo>
                    <a:lnTo>
                      <a:pt x="423" y="804"/>
                    </a:lnTo>
                    <a:lnTo>
                      <a:pt x="425" y="802"/>
                    </a:lnTo>
                    <a:lnTo>
                      <a:pt x="425" y="802"/>
                    </a:lnTo>
                    <a:lnTo>
                      <a:pt x="431" y="799"/>
                    </a:lnTo>
                    <a:lnTo>
                      <a:pt x="434" y="795"/>
                    </a:lnTo>
                    <a:lnTo>
                      <a:pt x="436" y="793"/>
                    </a:lnTo>
                    <a:lnTo>
                      <a:pt x="438" y="791"/>
                    </a:lnTo>
                    <a:lnTo>
                      <a:pt x="440" y="789"/>
                    </a:lnTo>
                    <a:lnTo>
                      <a:pt x="440" y="787"/>
                    </a:lnTo>
                    <a:lnTo>
                      <a:pt x="442" y="780"/>
                    </a:lnTo>
                    <a:lnTo>
                      <a:pt x="442" y="778"/>
                    </a:lnTo>
                    <a:lnTo>
                      <a:pt x="442" y="776"/>
                    </a:lnTo>
                    <a:lnTo>
                      <a:pt x="440" y="776"/>
                    </a:lnTo>
                    <a:lnTo>
                      <a:pt x="440" y="776"/>
                    </a:lnTo>
                    <a:lnTo>
                      <a:pt x="438" y="776"/>
                    </a:lnTo>
                    <a:lnTo>
                      <a:pt x="438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2"/>
                    </a:lnTo>
                    <a:lnTo>
                      <a:pt x="436" y="772"/>
                    </a:lnTo>
                    <a:lnTo>
                      <a:pt x="436" y="770"/>
                    </a:lnTo>
                    <a:lnTo>
                      <a:pt x="436" y="768"/>
                    </a:lnTo>
                    <a:lnTo>
                      <a:pt x="436" y="766"/>
                    </a:lnTo>
                    <a:lnTo>
                      <a:pt x="436" y="764"/>
                    </a:lnTo>
                    <a:lnTo>
                      <a:pt x="438" y="759"/>
                    </a:lnTo>
                    <a:lnTo>
                      <a:pt x="440" y="753"/>
                    </a:lnTo>
                    <a:lnTo>
                      <a:pt x="444" y="751"/>
                    </a:lnTo>
                    <a:lnTo>
                      <a:pt x="444" y="751"/>
                    </a:lnTo>
                    <a:lnTo>
                      <a:pt x="446" y="751"/>
                    </a:lnTo>
                    <a:lnTo>
                      <a:pt x="448" y="753"/>
                    </a:lnTo>
                    <a:lnTo>
                      <a:pt x="450" y="753"/>
                    </a:lnTo>
                    <a:lnTo>
                      <a:pt x="452" y="753"/>
                    </a:lnTo>
                    <a:lnTo>
                      <a:pt x="452" y="751"/>
                    </a:lnTo>
                    <a:lnTo>
                      <a:pt x="457" y="749"/>
                    </a:lnTo>
                    <a:lnTo>
                      <a:pt x="459" y="747"/>
                    </a:lnTo>
                    <a:lnTo>
                      <a:pt x="459" y="747"/>
                    </a:lnTo>
                    <a:lnTo>
                      <a:pt x="461" y="747"/>
                    </a:lnTo>
                    <a:lnTo>
                      <a:pt x="461" y="745"/>
                    </a:lnTo>
                    <a:lnTo>
                      <a:pt x="459" y="745"/>
                    </a:lnTo>
                    <a:lnTo>
                      <a:pt x="459" y="743"/>
                    </a:lnTo>
                    <a:lnTo>
                      <a:pt x="459" y="743"/>
                    </a:lnTo>
                    <a:lnTo>
                      <a:pt x="459" y="742"/>
                    </a:lnTo>
                    <a:lnTo>
                      <a:pt x="459" y="742"/>
                    </a:lnTo>
                    <a:lnTo>
                      <a:pt x="461" y="738"/>
                    </a:lnTo>
                    <a:lnTo>
                      <a:pt x="463" y="736"/>
                    </a:lnTo>
                    <a:lnTo>
                      <a:pt x="465" y="728"/>
                    </a:lnTo>
                    <a:lnTo>
                      <a:pt x="471" y="726"/>
                    </a:lnTo>
                    <a:lnTo>
                      <a:pt x="476" y="726"/>
                    </a:lnTo>
                    <a:lnTo>
                      <a:pt x="478" y="726"/>
                    </a:lnTo>
                    <a:lnTo>
                      <a:pt x="478" y="728"/>
                    </a:lnTo>
                    <a:lnTo>
                      <a:pt x="480" y="728"/>
                    </a:lnTo>
                    <a:lnTo>
                      <a:pt x="482" y="730"/>
                    </a:lnTo>
                    <a:lnTo>
                      <a:pt x="482" y="730"/>
                    </a:lnTo>
                    <a:lnTo>
                      <a:pt x="484" y="732"/>
                    </a:lnTo>
                    <a:lnTo>
                      <a:pt x="486" y="734"/>
                    </a:lnTo>
                    <a:lnTo>
                      <a:pt x="486" y="736"/>
                    </a:lnTo>
                    <a:lnTo>
                      <a:pt x="488" y="736"/>
                    </a:lnTo>
                    <a:lnTo>
                      <a:pt x="490" y="736"/>
                    </a:lnTo>
                    <a:lnTo>
                      <a:pt x="490" y="736"/>
                    </a:lnTo>
                    <a:lnTo>
                      <a:pt x="492" y="734"/>
                    </a:lnTo>
                    <a:lnTo>
                      <a:pt x="492" y="734"/>
                    </a:lnTo>
                    <a:lnTo>
                      <a:pt x="492" y="732"/>
                    </a:lnTo>
                    <a:lnTo>
                      <a:pt x="494" y="730"/>
                    </a:lnTo>
                    <a:lnTo>
                      <a:pt x="495" y="730"/>
                    </a:lnTo>
                    <a:lnTo>
                      <a:pt x="497" y="730"/>
                    </a:lnTo>
                    <a:lnTo>
                      <a:pt x="501" y="734"/>
                    </a:lnTo>
                    <a:lnTo>
                      <a:pt x="507" y="738"/>
                    </a:lnTo>
                    <a:lnTo>
                      <a:pt x="511" y="740"/>
                    </a:lnTo>
                    <a:lnTo>
                      <a:pt x="518" y="742"/>
                    </a:lnTo>
                    <a:lnTo>
                      <a:pt x="520" y="740"/>
                    </a:lnTo>
                    <a:lnTo>
                      <a:pt x="520" y="740"/>
                    </a:lnTo>
                    <a:lnTo>
                      <a:pt x="520" y="738"/>
                    </a:lnTo>
                    <a:lnTo>
                      <a:pt x="520" y="736"/>
                    </a:lnTo>
                    <a:lnTo>
                      <a:pt x="520" y="732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2" y="728"/>
                    </a:lnTo>
                    <a:lnTo>
                      <a:pt x="522" y="728"/>
                    </a:lnTo>
                    <a:lnTo>
                      <a:pt x="524" y="730"/>
                    </a:lnTo>
                    <a:lnTo>
                      <a:pt x="524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8" y="728"/>
                    </a:lnTo>
                    <a:lnTo>
                      <a:pt x="528" y="728"/>
                    </a:lnTo>
                    <a:lnTo>
                      <a:pt x="530" y="728"/>
                    </a:lnTo>
                    <a:lnTo>
                      <a:pt x="530" y="728"/>
                    </a:lnTo>
                    <a:lnTo>
                      <a:pt x="530" y="728"/>
                    </a:lnTo>
                    <a:lnTo>
                      <a:pt x="532" y="728"/>
                    </a:lnTo>
                    <a:lnTo>
                      <a:pt x="532" y="728"/>
                    </a:lnTo>
                    <a:lnTo>
                      <a:pt x="532" y="726"/>
                    </a:lnTo>
                    <a:lnTo>
                      <a:pt x="532" y="724"/>
                    </a:lnTo>
                    <a:lnTo>
                      <a:pt x="534" y="723"/>
                    </a:lnTo>
                    <a:lnTo>
                      <a:pt x="534" y="723"/>
                    </a:lnTo>
                    <a:lnTo>
                      <a:pt x="534" y="721"/>
                    </a:lnTo>
                    <a:lnTo>
                      <a:pt x="535" y="721"/>
                    </a:lnTo>
                    <a:lnTo>
                      <a:pt x="535" y="721"/>
                    </a:lnTo>
                    <a:lnTo>
                      <a:pt x="535" y="723"/>
                    </a:lnTo>
                    <a:lnTo>
                      <a:pt x="537" y="723"/>
                    </a:lnTo>
                    <a:lnTo>
                      <a:pt x="545" y="728"/>
                    </a:lnTo>
                    <a:lnTo>
                      <a:pt x="547" y="728"/>
                    </a:lnTo>
                    <a:lnTo>
                      <a:pt x="547" y="728"/>
                    </a:lnTo>
                    <a:lnTo>
                      <a:pt x="549" y="728"/>
                    </a:lnTo>
                    <a:lnTo>
                      <a:pt x="549" y="726"/>
                    </a:lnTo>
                    <a:lnTo>
                      <a:pt x="549" y="724"/>
                    </a:lnTo>
                    <a:lnTo>
                      <a:pt x="547" y="723"/>
                    </a:lnTo>
                    <a:lnTo>
                      <a:pt x="545" y="721"/>
                    </a:lnTo>
                    <a:lnTo>
                      <a:pt x="543" y="721"/>
                    </a:lnTo>
                    <a:lnTo>
                      <a:pt x="541" y="721"/>
                    </a:lnTo>
                    <a:lnTo>
                      <a:pt x="541" y="719"/>
                    </a:lnTo>
                    <a:lnTo>
                      <a:pt x="541" y="719"/>
                    </a:lnTo>
                    <a:lnTo>
                      <a:pt x="541" y="717"/>
                    </a:lnTo>
                    <a:lnTo>
                      <a:pt x="545" y="713"/>
                    </a:lnTo>
                    <a:lnTo>
                      <a:pt x="547" y="711"/>
                    </a:lnTo>
                    <a:lnTo>
                      <a:pt x="547" y="711"/>
                    </a:lnTo>
                    <a:lnTo>
                      <a:pt x="547" y="709"/>
                    </a:lnTo>
                    <a:lnTo>
                      <a:pt x="547" y="707"/>
                    </a:lnTo>
                    <a:lnTo>
                      <a:pt x="549" y="705"/>
                    </a:lnTo>
                    <a:lnTo>
                      <a:pt x="549" y="705"/>
                    </a:lnTo>
                    <a:lnTo>
                      <a:pt x="549" y="704"/>
                    </a:lnTo>
                    <a:lnTo>
                      <a:pt x="553" y="704"/>
                    </a:lnTo>
                    <a:lnTo>
                      <a:pt x="553" y="702"/>
                    </a:lnTo>
                    <a:lnTo>
                      <a:pt x="555" y="702"/>
                    </a:lnTo>
                    <a:lnTo>
                      <a:pt x="555" y="700"/>
                    </a:lnTo>
                    <a:lnTo>
                      <a:pt x="555" y="698"/>
                    </a:lnTo>
                    <a:lnTo>
                      <a:pt x="555" y="694"/>
                    </a:lnTo>
                    <a:lnTo>
                      <a:pt x="555" y="692"/>
                    </a:lnTo>
                    <a:lnTo>
                      <a:pt x="556" y="692"/>
                    </a:lnTo>
                    <a:lnTo>
                      <a:pt x="558" y="690"/>
                    </a:lnTo>
                    <a:lnTo>
                      <a:pt x="558" y="688"/>
                    </a:lnTo>
                    <a:lnTo>
                      <a:pt x="560" y="686"/>
                    </a:lnTo>
                    <a:lnTo>
                      <a:pt x="560" y="684"/>
                    </a:lnTo>
                    <a:lnTo>
                      <a:pt x="560" y="683"/>
                    </a:lnTo>
                    <a:lnTo>
                      <a:pt x="560" y="683"/>
                    </a:lnTo>
                    <a:lnTo>
                      <a:pt x="560" y="683"/>
                    </a:lnTo>
                    <a:lnTo>
                      <a:pt x="560" y="681"/>
                    </a:lnTo>
                    <a:lnTo>
                      <a:pt x="560" y="681"/>
                    </a:lnTo>
                    <a:lnTo>
                      <a:pt x="560" y="677"/>
                    </a:lnTo>
                    <a:lnTo>
                      <a:pt x="560" y="677"/>
                    </a:lnTo>
                    <a:lnTo>
                      <a:pt x="560" y="675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3" name="Freeform 25">
                <a:extLst>
                  <a:ext uri="{FF2B5EF4-FFF2-40B4-BE49-F238E27FC236}">
                    <a16:creationId xmlns:a16="http://schemas.microsoft.com/office/drawing/2014/main" id="{165F568F-25E3-4D8E-9A31-13262E7E6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6857" y="4174011"/>
                <a:ext cx="908050" cy="725488"/>
              </a:xfrm>
              <a:custGeom>
                <a:avLst/>
                <a:gdLst>
                  <a:gd name="T0" fmla="*/ 568 w 572"/>
                  <a:gd name="T1" fmla="*/ 80 h 457"/>
                  <a:gd name="T2" fmla="*/ 568 w 572"/>
                  <a:gd name="T3" fmla="*/ 65 h 457"/>
                  <a:gd name="T4" fmla="*/ 557 w 572"/>
                  <a:gd name="T5" fmla="*/ 25 h 457"/>
                  <a:gd name="T6" fmla="*/ 532 w 572"/>
                  <a:gd name="T7" fmla="*/ 4 h 457"/>
                  <a:gd name="T8" fmla="*/ 507 w 572"/>
                  <a:gd name="T9" fmla="*/ 19 h 457"/>
                  <a:gd name="T10" fmla="*/ 482 w 572"/>
                  <a:gd name="T11" fmla="*/ 38 h 457"/>
                  <a:gd name="T12" fmla="*/ 469 w 572"/>
                  <a:gd name="T13" fmla="*/ 91 h 457"/>
                  <a:gd name="T14" fmla="*/ 433 w 572"/>
                  <a:gd name="T15" fmla="*/ 105 h 457"/>
                  <a:gd name="T16" fmla="*/ 395 w 572"/>
                  <a:gd name="T17" fmla="*/ 127 h 457"/>
                  <a:gd name="T18" fmla="*/ 372 w 572"/>
                  <a:gd name="T19" fmla="*/ 114 h 457"/>
                  <a:gd name="T20" fmla="*/ 341 w 572"/>
                  <a:gd name="T21" fmla="*/ 86 h 457"/>
                  <a:gd name="T22" fmla="*/ 298 w 572"/>
                  <a:gd name="T23" fmla="*/ 82 h 457"/>
                  <a:gd name="T24" fmla="*/ 284 w 572"/>
                  <a:gd name="T25" fmla="*/ 107 h 457"/>
                  <a:gd name="T26" fmla="*/ 244 w 572"/>
                  <a:gd name="T27" fmla="*/ 116 h 457"/>
                  <a:gd name="T28" fmla="*/ 219 w 572"/>
                  <a:gd name="T29" fmla="*/ 129 h 457"/>
                  <a:gd name="T30" fmla="*/ 183 w 572"/>
                  <a:gd name="T31" fmla="*/ 114 h 457"/>
                  <a:gd name="T32" fmla="*/ 156 w 572"/>
                  <a:gd name="T33" fmla="*/ 131 h 457"/>
                  <a:gd name="T34" fmla="*/ 130 w 572"/>
                  <a:gd name="T35" fmla="*/ 129 h 457"/>
                  <a:gd name="T36" fmla="*/ 114 w 572"/>
                  <a:gd name="T37" fmla="*/ 110 h 457"/>
                  <a:gd name="T38" fmla="*/ 103 w 572"/>
                  <a:gd name="T39" fmla="*/ 114 h 457"/>
                  <a:gd name="T40" fmla="*/ 82 w 572"/>
                  <a:gd name="T41" fmla="*/ 101 h 457"/>
                  <a:gd name="T42" fmla="*/ 46 w 572"/>
                  <a:gd name="T43" fmla="*/ 114 h 457"/>
                  <a:gd name="T44" fmla="*/ 13 w 572"/>
                  <a:gd name="T45" fmla="*/ 129 h 457"/>
                  <a:gd name="T46" fmla="*/ 8 w 572"/>
                  <a:gd name="T47" fmla="*/ 165 h 457"/>
                  <a:gd name="T48" fmla="*/ 50 w 572"/>
                  <a:gd name="T49" fmla="*/ 215 h 457"/>
                  <a:gd name="T50" fmla="*/ 61 w 572"/>
                  <a:gd name="T51" fmla="*/ 240 h 457"/>
                  <a:gd name="T52" fmla="*/ 76 w 572"/>
                  <a:gd name="T53" fmla="*/ 234 h 457"/>
                  <a:gd name="T54" fmla="*/ 78 w 572"/>
                  <a:gd name="T55" fmla="*/ 255 h 457"/>
                  <a:gd name="T56" fmla="*/ 86 w 572"/>
                  <a:gd name="T57" fmla="*/ 268 h 457"/>
                  <a:gd name="T58" fmla="*/ 99 w 572"/>
                  <a:gd name="T59" fmla="*/ 322 h 457"/>
                  <a:gd name="T60" fmla="*/ 114 w 572"/>
                  <a:gd name="T61" fmla="*/ 320 h 457"/>
                  <a:gd name="T62" fmla="*/ 124 w 572"/>
                  <a:gd name="T63" fmla="*/ 341 h 457"/>
                  <a:gd name="T64" fmla="*/ 95 w 572"/>
                  <a:gd name="T65" fmla="*/ 369 h 457"/>
                  <a:gd name="T66" fmla="*/ 99 w 572"/>
                  <a:gd name="T67" fmla="*/ 398 h 457"/>
                  <a:gd name="T68" fmla="*/ 147 w 572"/>
                  <a:gd name="T69" fmla="*/ 403 h 457"/>
                  <a:gd name="T70" fmla="*/ 198 w 572"/>
                  <a:gd name="T71" fmla="*/ 398 h 457"/>
                  <a:gd name="T72" fmla="*/ 210 w 572"/>
                  <a:gd name="T73" fmla="*/ 434 h 457"/>
                  <a:gd name="T74" fmla="*/ 236 w 572"/>
                  <a:gd name="T75" fmla="*/ 451 h 457"/>
                  <a:gd name="T76" fmla="*/ 298 w 572"/>
                  <a:gd name="T77" fmla="*/ 443 h 457"/>
                  <a:gd name="T78" fmla="*/ 307 w 572"/>
                  <a:gd name="T79" fmla="*/ 453 h 457"/>
                  <a:gd name="T80" fmla="*/ 330 w 572"/>
                  <a:gd name="T81" fmla="*/ 422 h 457"/>
                  <a:gd name="T82" fmla="*/ 330 w 572"/>
                  <a:gd name="T83" fmla="*/ 386 h 457"/>
                  <a:gd name="T84" fmla="*/ 376 w 572"/>
                  <a:gd name="T85" fmla="*/ 407 h 457"/>
                  <a:gd name="T86" fmla="*/ 425 w 572"/>
                  <a:gd name="T87" fmla="*/ 422 h 457"/>
                  <a:gd name="T88" fmla="*/ 435 w 572"/>
                  <a:gd name="T89" fmla="*/ 405 h 457"/>
                  <a:gd name="T90" fmla="*/ 429 w 572"/>
                  <a:gd name="T91" fmla="*/ 386 h 457"/>
                  <a:gd name="T92" fmla="*/ 397 w 572"/>
                  <a:gd name="T93" fmla="*/ 354 h 457"/>
                  <a:gd name="T94" fmla="*/ 389 w 572"/>
                  <a:gd name="T95" fmla="*/ 325 h 457"/>
                  <a:gd name="T96" fmla="*/ 374 w 572"/>
                  <a:gd name="T97" fmla="*/ 318 h 457"/>
                  <a:gd name="T98" fmla="*/ 318 w 572"/>
                  <a:gd name="T99" fmla="*/ 295 h 457"/>
                  <a:gd name="T100" fmla="*/ 315 w 572"/>
                  <a:gd name="T101" fmla="*/ 261 h 457"/>
                  <a:gd name="T102" fmla="*/ 334 w 572"/>
                  <a:gd name="T103" fmla="*/ 242 h 457"/>
                  <a:gd name="T104" fmla="*/ 355 w 572"/>
                  <a:gd name="T105" fmla="*/ 253 h 457"/>
                  <a:gd name="T106" fmla="*/ 378 w 572"/>
                  <a:gd name="T107" fmla="*/ 245 h 457"/>
                  <a:gd name="T108" fmla="*/ 437 w 572"/>
                  <a:gd name="T109" fmla="*/ 207 h 457"/>
                  <a:gd name="T110" fmla="*/ 462 w 572"/>
                  <a:gd name="T111" fmla="*/ 202 h 457"/>
                  <a:gd name="T112" fmla="*/ 482 w 572"/>
                  <a:gd name="T113" fmla="*/ 200 h 457"/>
                  <a:gd name="T114" fmla="*/ 494 w 572"/>
                  <a:gd name="T115" fmla="*/ 188 h 457"/>
                  <a:gd name="T116" fmla="*/ 502 w 572"/>
                  <a:gd name="T117" fmla="*/ 183 h 457"/>
                  <a:gd name="T118" fmla="*/ 524 w 572"/>
                  <a:gd name="T119" fmla="*/ 164 h 457"/>
                  <a:gd name="T120" fmla="*/ 540 w 572"/>
                  <a:gd name="T121" fmla="*/ 152 h 457"/>
                  <a:gd name="T122" fmla="*/ 557 w 572"/>
                  <a:gd name="T123" fmla="*/ 120 h 457"/>
                  <a:gd name="T124" fmla="*/ 555 w 572"/>
                  <a:gd name="T125" fmla="*/ 101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2" h="457">
                    <a:moveTo>
                      <a:pt x="572" y="97"/>
                    </a:moveTo>
                    <a:lnTo>
                      <a:pt x="570" y="97"/>
                    </a:lnTo>
                    <a:lnTo>
                      <a:pt x="570" y="97"/>
                    </a:lnTo>
                    <a:lnTo>
                      <a:pt x="568" y="95"/>
                    </a:lnTo>
                    <a:lnTo>
                      <a:pt x="570" y="95"/>
                    </a:lnTo>
                    <a:lnTo>
                      <a:pt x="570" y="93"/>
                    </a:lnTo>
                    <a:lnTo>
                      <a:pt x="572" y="93"/>
                    </a:lnTo>
                    <a:lnTo>
                      <a:pt x="572" y="93"/>
                    </a:lnTo>
                    <a:lnTo>
                      <a:pt x="572" y="91"/>
                    </a:lnTo>
                    <a:lnTo>
                      <a:pt x="572" y="89"/>
                    </a:lnTo>
                    <a:lnTo>
                      <a:pt x="570" y="89"/>
                    </a:lnTo>
                    <a:lnTo>
                      <a:pt x="570" y="87"/>
                    </a:lnTo>
                    <a:lnTo>
                      <a:pt x="570" y="87"/>
                    </a:lnTo>
                    <a:lnTo>
                      <a:pt x="570" y="86"/>
                    </a:lnTo>
                    <a:lnTo>
                      <a:pt x="570" y="84"/>
                    </a:lnTo>
                    <a:lnTo>
                      <a:pt x="568" y="82"/>
                    </a:lnTo>
                    <a:lnTo>
                      <a:pt x="568" y="80"/>
                    </a:lnTo>
                    <a:lnTo>
                      <a:pt x="568" y="80"/>
                    </a:lnTo>
                    <a:lnTo>
                      <a:pt x="566" y="80"/>
                    </a:lnTo>
                    <a:lnTo>
                      <a:pt x="564" y="78"/>
                    </a:lnTo>
                    <a:lnTo>
                      <a:pt x="563" y="78"/>
                    </a:lnTo>
                    <a:lnTo>
                      <a:pt x="563" y="78"/>
                    </a:lnTo>
                    <a:lnTo>
                      <a:pt x="563" y="76"/>
                    </a:lnTo>
                    <a:lnTo>
                      <a:pt x="561" y="76"/>
                    </a:lnTo>
                    <a:lnTo>
                      <a:pt x="563" y="74"/>
                    </a:lnTo>
                    <a:lnTo>
                      <a:pt x="563" y="74"/>
                    </a:lnTo>
                    <a:lnTo>
                      <a:pt x="564" y="74"/>
                    </a:lnTo>
                    <a:lnTo>
                      <a:pt x="564" y="74"/>
                    </a:lnTo>
                    <a:lnTo>
                      <a:pt x="566" y="74"/>
                    </a:lnTo>
                    <a:lnTo>
                      <a:pt x="566" y="74"/>
                    </a:lnTo>
                    <a:lnTo>
                      <a:pt x="566" y="74"/>
                    </a:lnTo>
                    <a:lnTo>
                      <a:pt x="568" y="72"/>
                    </a:lnTo>
                    <a:lnTo>
                      <a:pt x="568" y="67"/>
                    </a:lnTo>
                    <a:lnTo>
                      <a:pt x="568" y="65"/>
                    </a:lnTo>
                    <a:lnTo>
                      <a:pt x="570" y="63"/>
                    </a:lnTo>
                    <a:lnTo>
                      <a:pt x="570" y="61"/>
                    </a:lnTo>
                    <a:lnTo>
                      <a:pt x="570" y="57"/>
                    </a:lnTo>
                    <a:lnTo>
                      <a:pt x="570" y="53"/>
                    </a:lnTo>
                    <a:lnTo>
                      <a:pt x="568" y="44"/>
                    </a:lnTo>
                    <a:lnTo>
                      <a:pt x="566" y="42"/>
                    </a:lnTo>
                    <a:lnTo>
                      <a:pt x="566" y="40"/>
                    </a:lnTo>
                    <a:lnTo>
                      <a:pt x="564" y="40"/>
                    </a:lnTo>
                    <a:lnTo>
                      <a:pt x="561" y="34"/>
                    </a:lnTo>
                    <a:lnTo>
                      <a:pt x="559" y="34"/>
                    </a:lnTo>
                    <a:lnTo>
                      <a:pt x="559" y="34"/>
                    </a:lnTo>
                    <a:lnTo>
                      <a:pt x="557" y="32"/>
                    </a:lnTo>
                    <a:lnTo>
                      <a:pt x="557" y="32"/>
                    </a:lnTo>
                    <a:lnTo>
                      <a:pt x="557" y="30"/>
                    </a:lnTo>
                    <a:lnTo>
                      <a:pt x="557" y="29"/>
                    </a:lnTo>
                    <a:lnTo>
                      <a:pt x="557" y="29"/>
                    </a:lnTo>
                    <a:lnTo>
                      <a:pt x="557" y="25"/>
                    </a:lnTo>
                    <a:lnTo>
                      <a:pt x="557" y="23"/>
                    </a:lnTo>
                    <a:lnTo>
                      <a:pt x="557" y="21"/>
                    </a:lnTo>
                    <a:lnTo>
                      <a:pt x="557" y="21"/>
                    </a:lnTo>
                    <a:lnTo>
                      <a:pt x="557" y="19"/>
                    </a:lnTo>
                    <a:lnTo>
                      <a:pt x="559" y="17"/>
                    </a:lnTo>
                    <a:lnTo>
                      <a:pt x="559" y="15"/>
                    </a:lnTo>
                    <a:lnTo>
                      <a:pt x="557" y="13"/>
                    </a:lnTo>
                    <a:lnTo>
                      <a:pt x="557" y="13"/>
                    </a:lnTo>
                    <a:lnTo>
                      <a:pt x="555" y="11"/>
                    </a:lnTo>
                    <a:lnTo>
                      <a:pt x="553" y="11"/>
                    </a:lnTo>
                    <a:lnTo>
                      <a:pt x="551" y="11"/>
                    </a:lnTo>
                    <a:lnTo>
                      <a:pt x="545" y="11"/>
                    </a:lnTo>
                    <a:lnTo>
                      <a:pt x="542" y="9"/>
                    </a:lnTo>
                    <a:lnTo>
                      <a:pt x="534" y="9"/>
                    </a:lnTo>
                    <a:lnTo>
                      <a:pt x="534" y="8"/>
                    </a:lnTo>
                    <a:lnTo>
                      <a:pt x="532" y="6"/>
                    </a:lnTo>
                    <a:lnTo>
                      <a:pt x="532" y="4"/>
                    </a:lnTo>
                    <a:lnTo>
                      <a:pt x="530" y="2"/>
                    </a:lnTo>
                    <a:lnTo>
                      <a:pt x="528" y="2"/>
                    </a:lnTo>
                    <a:lnTo>
                      <a:pt x="528" y="2"/>
                    </a:lnTo>
                    <a:lnTo>
                      <a:pt x="526" y="2"/>
                    </a:lnTo>
                    <a:lnTo>
                      <a:pt x="526" y="0"/>
                    </a:lnTo>
                    <a:lnTo>
                      <a:pt x="524" y="2"/>
                    </a:lnTo>
                    <a:lnTo>
                      <a:pt x="519" y="6"/>
                    </a:lnTo>
                    <a:lnTo>
                      <a:pt x="517" y="9"/>
                    </a:lnTo>
                    <a:lnTo>
                      <a:pt x="517" y="11"/>
                    </a:lnTo>
                    <a:lnTo>
                      <a:pt x="517" y="11"/>
                    </a:lnTo>
                    <a:lnTo>
                      <a:pt x="515" y="13"/>
                    </a:lnTo>
                    <a:lnTo>
                      <a:pt x="515" y="13"/>
                    </a:lnTo>
                    <a:lnTo>
                      <a:pt x="513" y="17"/>
                    </a:lnTo>
                    <a:lnTo>
                      <a:pt x="513" y="19"/>
                    </a:lnTo>
                    <a:lnTo>
                      <a:pt x="511" y="21"/>
                    </a:lnTo>
                    <a:lnTo>
                      <a:pt x="509" y="21"/>
                    </a:lnTo>
                    <a:lnTo>
                      <a:pt x="507" y="19"/>
                    </a:lnTo>
                    <a:lnTo>
                      <a:pt x="505" y="19"/>
                    </a:lnTo>
                    <a:lnTo>
                      <a:pt x="503" y="19"/>
                    </a:lnTo>
                    <a:lnTo>
                      <a:pt x="503" y="19"/>
                    </a:lnTo>
                    <a:lnTo>
                      <a:pt x="503" y="19"/>
                    </a:lnTo>
                    <a:lnTo>
                      <a:pt x="502" y="19"/>
                    </a:lnTo>
                    <a:lnTo>
                      <a:pt x="500" y="19"/>
                    </a:lnTo>
                    <a:lnTo>
                      <a:pt x="498" y="21"/>
                    </a:lnTo>
                    <a:lnTo>
                      <a:pt x="496" y="21"/>
                    </a:lnTo>
                    <a:lnTo>
                      <a:pt x="496" y="25"/>
                    </a:lnTo>
                    <a:lnTo>
                      <a:pt x="496" y="27"/>
                    </a:lnTo>
                    <a:lnTo>
                      <a:pt x="494" y="36"/>
                    </a:lnTo>
                    <a:lnTo>
                      <a:pt x="492" y="36"/>
                    </a:lnTo>
                    <a:lnTo>
                      <a:pt x="492" y="36"/>
                    </a:lnTo>
                    <a:lnTo>
                      <a:pt x="488" y="36"/>
                    </a:lnTo>
                    <a:lnTo>
                      <a:pt x="486" y="36"/>
                    </a:lnTo>
                    <a:lnTo>
                      <a:pt x="482" y="36"/>
                    </a:lnTo>
                    <a:lnTo>
                      <a:pt x="482" y="38"/>
                    </a:lnTo>
                    <a:lnTo>
                      <a:pt x="479" y="42"/>
                    </a:lnTo>
                    <a:lnTo>
                      <a:pt x="477" y="46"/>
                    </a:lnTo>
                    <a:lnTo>
                      <a:pt x="475" y="48"/>
                    </a:lnTo>
                    <a:lnTo>
                      <a:pt x="475" y="49"/>
                    </a:lnTo>
                    <a:lnTo>
                      <a:pt x="475" y="65"/>
                    </a:lnTo>
                    <a:lnTo>
                      <a:pt x="475" y="67"/>
                    </a:lnTo>
                    <a:lnTo>
                      <a:pt x="473" y="68"/>
                    </a:lnTo>
                    <a:lnTo>
                      <a:pt x="473" y="70"/>
                    </a:lnTo>
                    <a:lnTo>
                      <a:pt x="471" y="74"/>
                    </a:lnTo>
                    <a:lnTo>
                      <a:pt x="469" y="74"/>
                    </a:lnTo>
                    <a:lnTo>
                      <a:pt x="469" y="76"/>
                    </a:lnTo>
                    <a:lnTo>
                      <a:pt x="469" y="76"/>
                    </a:lnTo>
                    <a:lnTo>
                      <a:pt x="469" y="78"/>
                    </a:lnTo>
                    <a:lnTo>
                      <a:pt x="469" y="78"/>
                    </a:lnTo>
                    <a:lnTo>
                      <a:pt x="469" y="80"/>
                    </a:lnTo>
                    <a:lnTo>
                      <a:pt x="467" y="87"/>
                    </a:lnTo>
                    <a:lnTo>
                      <a:pt x="469" y="91"/>
                    </a:lnTo>
                    <a:lnTo>
                      <a:pt x="467" y="97"/>
                    </a:lnTo>
                    <a:lnTo>
                      <a:pt x="467" y="99"/>
                    </a:lnTo>
                    <a:lnTo>
                      <a:pt x="465" y="101"/>
                    </a:lnTo>
                    <a:lnTo>
                      <a:pt x="465" y="103"/>
                    </a:lnTo>
                    <a:lnTo>
                      <a:pt x="463" y="103"/>
                    </a:lnTo>
                    <a:lnTo>
                      <a:pt x="462" y="103"/>
                    </a:lnTo>
                    <a:lnTo>
                      <a:pt x="456" y="101"/>
                    </a:lnTo>
                    <a:lnTo>
                      <a:pt x="450" y="99"/>
                    </a:lnTo>
                    <a:lnTo>
                      <a:pt x="450" y="99"/>
                    </a:lnTo>
                    <a:lnTo>
                      <a:pt x="450" y="101"/>
                    </a:lnTo>
                    <a:lnTo>
                      <a:pt x="448" y="105"/>
                    </a:lnTo>
                    <a:lnTo>
                      <a:pt x="446" y="107"/>
                    </a:lnTo>
                    <a:lnTo>
                      <a:pt x="446" y="107"/>
                    </a:lnTo>
                    <a:lnTo>
                      <a:pt x="446" y="110"/>
                    </a:lnTo>
                    <a:lnTo>
                      <a:pt x="446" y="110"/>
                    </a:lnTo>
                    <a:lnTo>
                      <a:pt x="437" y="107"/>
                    </a:lnTo>
                    <a:lnTo>
                      <a:pt x="433" y="105"/>
                    </a:lnTo>
                    <a:lnTo>
                      <a:pt x="431" y="103"/>
                    </a:lnTo>
                    <a:lnTo>
                      <a:pt x="429" y="103"/>
                    </a:lnTo>
                    <a:lnTo>
                      <a:pt x="427" y="103"/>
                    </a:lnTo>
                    <a:lnTo>
                      <a:pt x="427" y="103"/>
                    </a:lnTo>
                    <a:lnTo>
                      <a:pt x="425" y="107"/>
                    </a:lnTo>
                    <a:lnTo>
                      <a:pt x="423" y="108"/>
                    </a:lnTo>
                    <a:lnTo>
                      <a:pt x="421" y="108"/>
                    </a:lnTo>
                    <a:lnTo>
                      <a:pt x="418" y="108"/>
                    </a:lnTo>
                    <a:lnTo>
                      <a:pt x="416" y="108"/>
                    </a:lnTo>
                    <a:lnTo>
                      <a:pt x="414" y="107"/>
                    </a:lnTo>
                    <a:lnTo>
                      <a:pt x="410" y="107"/>
                    </a:lnTo>
                    <a:lnTo>
                      <a:pt x="408" y="107"/>
                    </a:lnTo>
                    <a:lnTo>
                      <a:pt x="402" y="112"/>
                    </a:lnTo>
                    <a:lnTo>
                      <a:pt x="397" y="116"/>
                    </a:lnTo>
                    <a:lnTo>
                      <a:pt x="397" y="118"/>
                    </a:lnTo>
                    <a:lnTo>
                      <a:pt x="395" y="122"/>
                    </a:lnTo>
                    <a:lnTo>
                      <a:pt x="395" y="127"/>
                    </a:lnTo>
                    <a:lnTo>
                      <a:pt x="395" y="127"/>
                    </a:lnTo>
                    <a:lnTo>
                      <a:pt x="393" y="127"/>
                    </a:lnTo>
                    <a:lnTo>
                      <a:pt x="393" y="129"/>
                    </a:lnTo>
                    <a:lnTo>
                      <a:pt x="393" y="131"/>
                    </a:lnTo>
                    <a:lnTo>
                      <a:pt x="393" y="131"/>
                    </a:lnTo>
                    <a:lnTo>
                      <a:pt x="393" y="133"/>
                    </a:lnTo>
                    <a:lnTo>
                      <a:pt x="391" y="135"/>
                    </a:lnTo>
                    <a:lnTo>
                      <a:pt x="391" y="137"/>
                    </a:lnTo>
                    <a:lnTo>
                      <a:pt x="389" y="137"/>
                    </a:lnTo>
                    <a:lnTo>
                      <a:pt x="387" y="135"/>
                    </a:lnTo>
                    <a:lnTo>
                      <a:pt x="380" y="129"/>
                    </a:lnTo>
                    <a:lnTo>
                      <a:pt x="368" y="124"/>
                    </a:lnTo>
                    <a:lnTo>
                      <a:pt x="368" y="122"/>
                    </a:lnTo>
                    <a:lnTo>
                      <a:pt x="368" y="122"/>
                    </a:lnTo>
                    <a:lnTo>
                      <a:pt x="372" y="118"/>
                    </a:lnTo>
                    <a:lnTo>
                      <a:pt x="372" y="116"/>
                    </a:lnTo>
                    <a:lnTo>
                      <a:pt x="372" y="114"/>
                    </a:lnTo>
                    <a:lnTo>
                      <a:pt x="372" y="110"/>
                    </a:lnTo>
                    <a:lnTo>
                      <a:pt x="372" y="108"/>
                    </a:lnTo>
                    <a:lnTo>
                      <a:pt x="370" y="107"/>
                    </a:lnTo>
                    <a:lnTo>
                      <a:pt x="368" y="107"/>
                    </a:lnTo>
                    <a:lnTo>
                      <a:pt x="362" y="105"/>
                    </a:lnTo>
                    <a:lnTo>
                      <a:pt x="360" y="105"/>
                    </a:lnTo>
                    <a:lnTo>
                      <a:pt x="359" y="107"/>
                    </a:lnTo>
                    <a:lnTo>
                      <a:pt x="357" y="107"/>
                    </a:lnTo>
                    <a:lnTo>
                      <a:pt x="353" y="107"/>
                    </a:lnTo>
                    <a:lnTo>
                      <a:pt x="351" y="105"/>
                    </a:lnTo>
                    <a:lnTo>
                      <a:pt x="351" y="103"/>
                    </a:lnTo>
                    <a:lnTo>
                      <a:pt x="349" y="101"/>
                    </a:lnTo>
                    <a:lnTo>
                      <a:pt x="347" y="91"/>
                    </a:lnTo>
                    <a:lnTo>
                      <a:pt x="347" y="87"/>
                    </a:lnTo>
                    <a:lnTo>
                      <a:pt x="345" y="87"/>
                    </a:lnTo>
                    <a:lnTo>
                      <a:pt x="343" y="86"/>
                    </a:lnTo>
                    <a:lnTo>
                      <a:pt x="341" y="86"/>
                    </a:lnTo>
                    <a:lnTo>
                      <a:pt x="339" y="86"/>
                    </a:lnTo>
                    <a:lnTo>
                      <a:pt x="338" y="86"/>
                    </a:lnTo>
                    <a:lnTo>
                      <a:pt x="339" y="84"/>
                    </a:lnTo>
                    <a:lnTo>
                      <a:pt x="339" y="82"/>
                    </a:lnTo>
                    <a:lnTo>
                      <a:pt x="339" y="82"/>
                    </a:lnTo>
                    <a:lnTo>
                      <a:pt x="339" y="80"/>
                    </a:lnTo>
                    <a:lnTo>
                      <a:pt x="338" y="82"/>
                    </a:lnTo>
                    <a:lnTo>
                      <a:pt x="334" y="84"/>
                    </a:lnTo>
                    <a:lnTo>
                      <a:pt x="330" y="87"/>
                    </a:lnTo>
                    <a:lnTo>
                      <a:pt x="322" y="87"/>
                    </a:lnTo>
                    <a:lnTo>
                      <a:pt x="317" y="80"/>
                    </a:lnTo>
                    <a:lnTo>
                      <a:pt x="315" y="78"/>
                    </a:lnTo>
                    <a:lnTo>
                      <a:pt x="313" y="78"/>
                    </a:lnTo>
                    <a:lnTo>
                      <a:pt x="303" y="78"/>
                    </a:lnTo>
                    <a:lnTo>
                      <a:pt x="301" y="78"/>
                    </a:lnTo>
                    <a:lnTo>
                      <a:pt x="299" y="80"/>
                    </a:lnTo>
                    <a:lnTo>
                      <a:pt x="298" y="82"/>
                    </a:lnTo>
                    <a:lnTo>
                      <a:pt x="298" y="84"/>
                    </a:lnTo>
                    <a:lnTo>
                      <a:pt x="296" y="86"/>
                    </a:lnTo>
                    <a:lnTo>
                      <a:pt x="296" y="89"/>
                    </a:lnTo>
                    <a:lnTo>
                      <a:pt x="296" y="91"/>
                    </a:lnTo>
                    <a:lnTo>
                      <a:pt x="294" y="93"/>
                    </a:lnTo>
                    <a:lnTo>
                      <a:pt x="292" y="93"/>
                    </a:lnTo>
                    <a:lnTo>
                      <a:pt x="290" y="93"/>
                    </a:lnTo>
                    <a:lnTo>
                      <a:pt x="290" y="95"/>
                    </a:lnTo>
                    <a:lnTo>
                      <a:pt x="290" y="95"/>
                    </a:lnTo>
                    <a:lnTo>
                      <a:pt x="292" y="97"/>
                    </a:lnTo>
                    <a:lnTo>
                      <a:pt x="292" y="99"/>
                    </a:lnTo>
                    <a:lnTo>
                      <a:pt x="292" y="101"/>
                    </a:lnTo>
                    <a:lnTo>
                      <a:pt x="292" y="105"/>
                    </a:lnTo>
                    <a:lnTo>
                      <a:pt x="292" y="107"/>
                    </a:lnTo>
                    <a:lnTo>
                      <a:pt x="290" y="108"/>
                    </a:lnTo>
                    <a:lnTo>
                      <a:pt x="286" y="108"/>
                    </a:lnTo>
                    <a:lnTo>
                      <a:pt x="284" y="107"/>
                    </a:lnTo>
                    <a:lnTo>
                      <a:pt x="282" y="107"/>
                    </a:lnTo>
                    <a:lnTo>
                      <a:pt x="282" y="107"/>
                    </a:lnTo>
                    <a:lnTo>
                      <a:pt x="280" y="108"/>
                    </a:lnTo>
                    <a:lnTo>
                      <a:pt x="280" y="108"/>
                    </a:lnTo>
                    <a:lnTo>
                      <a:pt x="278" y="110"/>
                    </a:lnTo>
                    <a:lnTo>
                      <a:pt x="278" y="110"/>
                    </a:lnTo>
                    <a:lnTo>
                      <a:pt x="275" y="114"/>
                    </a:lnTo>
                    <a:lnTo>
                      <a:pt x="275" y="114"/>
                    </a:lnTo>
                    <a:lnTo>
                      <a:pt x="273" y="114"/>
                    </a:lnTo>
                    <a:lnTo>
                      <a:pt x="271" y="114"/>
                    </a:lnTo>
                    <a:lnTo>
                      <a:pt x="269" y="114"/>
                    </a:lnTo>
                    <a:lnTo>
                      <a:pt x="267" y="114"/>
                    </a:lnTo>
                    <a:lnTo>
                      <a:pt x="263" y="114"/>
                    </a:lnTo>
                    <a:lnTo>
                      <a:pt x="257" y="114"/>
                    </a:lnTo>
                    <a:lnTo>
                      <a:pt x="25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18"/>
                    </a:lnTo>
                    <a:lnTo>
                      <a:pt x="244" y="118"/>
                    </a:lnTo>
                    <a:lnTo>
                      <a:pt x="242" y="120"/>
                    </a:lnTo>
                    <a:lnTo>
                      <a:pt x="242" y="120"/>
                    </a:lnTo>
                    <a:lnTo>
                      <a:pt x="231" y="124"/>
                    </a:lnTo>
                    <a:lnTo>
                      <a:pt x="229" y="126"/>
                    </a:lnTo>
                    <a:lnTo>
                      <a:pt x="229" y="127"/>
                    </a:lnTo>
                    <a:lnTo>
                      <a:pt x="229" y="127"/>
                    </a:lnTo>
                    <a:lnTo>
                      <a:pt x="229" y="129"/>
                    </a:lnTo>
                    <a:lnTo>
                      <a:pt x="227" y="129"/>
                    </a:lnTo>
                    <a:lnTo>
                      <a:pt x="225" y="131"/>
                    </a:lnTo>
                    <a:lnTo>
                      <a:pt x="221" y="135"/>
                    </a:lnTo>
                    <a:lnTo>
                      <a:pt x="219" y="137"/>
                    </a:lnTo>
                    <a:lnTo>
                      <a:pt x="219" y="135"/>
                    </a:lnTo>
                    <a:lnTo>
                      <a:pt x="219" y="133"/>
                    </a:lnTo>
                    <a:lnTo>
                      <a:pt x="219" y="131"/>
                    </a:lnTo>
                    <a:lnTo>
                      <a:pt x="219" y="129"/>
                    </a:lnTo>
                    <a:lnTo>
                      <a:pt x="219" y="129"/>
                    </a:lnTo>
                    <a:lnTo>
                      <a:pt x="212" y="131"/>
                    </a:lnTo>
                    <a:lnTo>
                      <a:pt x="208" y="133"/>
                    </a:lnTo>
                    <a:lnTo>
                      <a:pt x="206" y="135"/>
                    </a:lnTo>
                    <a:lnTo>
                      <a:pt x="204" y="135"/>
                    </a:lnTo>
                    <a:lnTo>
                      <a:pt x="198" y="135"/>
                    </a:lnTo>
                    <a:lnTo>
                      <a:pt x="196" y="133"/>
                    </a:lnTo>
                    <a:lnTo>
                      <a:pt x="195" y="131"/>
                    </a:lnTo>
                    <a:lnTo>
                      <a:pt x="195" y="126"/>
                    </a:lnTo>
                    <a:lnTo>
                      <a:pt x="193" y="124"/>
                    </a:lnTo>
                    <a:lnTo>
                      <a:pt x="193" y="124"/>
                    </a:lnTo>
                    <a:lnTo>
                      <a:pt x="191" y="124"/>
                    </a:lnTo>
                    <a:lnTo>
                      <a:pt x="189" y="124"/>
                    </a:lnTo>
                    <a:lnTo>
                      <a:pt x="189" y="124"/>
                    </a:lnTo>
                    <a:lnTo>
                      <a:pt x="187" y="116"/>
                    </a:lnTo>
                    <a:lnTo>
                      <a:pt x="185" y="116"/>
                    </a:lnTo>
                    <a:lnTo>
                      <a:pt x="183" y="114"/>
                    </a:lnTo>
                    <a:lnTo>
                      <a:pt x="183" y="116"/>
                    </a:lnTo>
                    <a:lnTo>
                      <a:pt x="181" y="116"/>
                    </a:lnTo>
                    <a:lnTo>
                      <a:pt x="179" y="118"/>
                    </a:lnTo>
                    <a:lnTo>
                      <a:pt x="177" y="120"/>
                    </a:lnTo>
                    <a:lnTo>
                      <a:pt x="172" y="122"/>
                    </a:lnTo>
                    <a:lnTo>
                      <a:pt x="170" y="124"/>
                    </a:lnTo>
                    <a:lnTo>
                      <a:pt x="168" y="127"/>
                    </a:lnTo>
                    <a:lnTo>
                      <a:pt x="166" y="131"/>
                    </a:lnTo>
                    <a:lnTo>
                      <a:pt x="166" y="131"/>
                    </a:lnTo>
                    <a:lnTo>
                      <a:pt x="164" y="131"/>
                    </a:lnTo>
                    <a:lnTo>
                      <a:pt x="162" y="131"/>
                    </a:lnTo>
                    <a:lnTo>
                      <a:pt x="160" y="131"/>
                    </a:lnTo>
                    <a:lnTo>
                      <a:pt x="158" y="129"/>
                    </a:lnTo>
                    <a:lnTo>
                      <a:pt x="158" y="129"/>
                    </a:lnTo>
                    <a:lnTo>
                      <a:pt x="156" y="129"/>
                    </a:lnTo>
                    <a:lnTo>
                      <a:pt x="156" y="129"/>
                    </a:lnTo>
                    <a:lnTo>
                      <a:pt x="156" y="131"/>
                    </a:lnTo>
                    <a:lnTo>
                      <a:pt x="154" y="131"/>
                    </a:lnTo>
                    <a:lnTo>
                      <a:pt x="153" y="135"/>
                    </a:lnTo>
                    <a:lnTo>
                      <a:pt x="153" y="137"/>
                    </a:lnTo>
                    <a:lnTo>
                      <a:pt x="151" y="137"/>
                    </a:lnTo>
                    <a:lnTo>
                      <a:pt x="151" y="139"/>
                    </a:lnTo>
                    <a:lnTo>
                      <a:pt x="149" y="141"/>
                    </a:lnTo>
                    <a:lnTo>
                      <a:pt x="147" y="141"/>
                    </a:lnTo>
                    <a:lnTo>
                      <a:pt x="145" y="143"/>
                    </a:lnTo>
                    <a:lnTo>
                      <a:pt x="145" y="141"/>
                    </a:lnTo>
                    <a:lnTo>
                      <a:pt x="143" y="141"/>
                    </a:lnTo>
                    <a:lnTo>
                      <a:pt x="141" y="139"/>
                    </a:lnTo>
                    <a:lnTo>
                      <a:pt x="139" y="139"/>
                    </a:lnTo>
                    <a:lnTo>
                      <a:pt x="139" y="137"/>
                    </a:lnTo>
                    <a:lnTo>
                      <a:pt x="137" y="135"/>
                    </a:lnTo>
                    <a:lnTo>
                      <a:pt x="135" y="133"/>
                    </a:lnTo>
                    <a:lnTo>
                      <a:pt x="132" y="131"/>
                    </a:lnTo>
                    <a:lnTo>
                      <a:pt x="130" y="129"/>
                    </a:lnTo>
                    <a:lnTo>
                      <a:pt x="128" y="127"/>
                    </a:lnTo>
                    <a:lnTo>
                      <a:pt x="126" y="126"/>
                    </a:lnTo>
                    <a:lnTo>
                      <a:pt x="122" y="122"/>
                    </a:lnTo>
                    <a:lnTo>
                      <a:pt x="122" y="122"/>
                    </a:lnTo>
                    <a:lnTo>
                      <a:pt x="124" y="120"/>
                    </a:lnTo>
                    <a:lnTo>
                      <a:pt x="124" y="118"/>
                    </a:lnTo>
                    <a:lnTo>
                      <a:pt x="124" y="114"/>
                    </a:lnTo>
                    <a:lnTo>
                      <a:pt x="122" y="112"/>
                    </a:lnTo>
                    <a:lnTo>
                      <a:pt x="122" y="110"/>
                    </a:lnTo>
                    <a:lnTo>
                      <a:pt x="120" y="110"/>
                    </a:lnTo>
                    <a:lnTo>
                      <a:pt x="120" y="110"/>
                    </a:lnTo>
                    <a:lnTo>
                      <a:pt x="118" y="112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4" y="110"/>
                    </a:lnTo>
                    <a:lnTo>
                      <a:pt x="114" y="110"/>
                    </a:lnTo>
                    <a:lnTo>
                      <a:pt x="114" y="110"/>
                    </a:lnTo>
                    <a:lnTo>
                      <a:pt x="113" y="112"/>
                    </a:lnTo>
                    <a:lnTo>
                      <a:pt x="113" y="112"/>
                    </a:lnTo>
                    <a:lnTo>
                      <a:pt x="111" y="112"/>
                    </a:lnTo>
                    <a:lnTo>
                      <a:pt x="109" y="112"/>
                    </a:lnTo>
                    <a:lnTo>
                      <a:pt x="109" y="112"/>
                    </a:lnTo>
                    <a:lnTo>
                      <a:pt x="109" y="112"/>
                    </a:lnTo>
                    <a:lnTo>
                      <a:pt x="109" y="116"/>
                    </a:lnTo>
                    <a:lnTo>
                      <a:pt x="109" y="118"/>
                    </a:lnTo>
                    <a:lnTo>
                      <a:pt x="107" y="118"/>
                    </a:lnTo>
                    <a:lnTo>
                      <a:pt x="107" y="118"/>
                    </a:lnTo>
                    <a:lnTo>
                      <a:pt x="105" y="118"/>
                    </a:lnTo>
                    <a:lnTo>
                      <a:pt x="105" y="116"/>
                    </a:lnTo>
                    <a:lnTo>
                      <a:pt x="105" y="114"/>
                    </a:lnTo>
                    <a:lnTo>
                      <a:pt x="105" y="114"/>
                    </a:lnTo>
                    <a:lnTo>
                      <a:pt x="105" y="112"/>
                    </a:lnTo>
                    <a:lnTo>
                      <a:pt x="103" y="112"/>
                    </a:lnTo>
                    <a:lnTo>
                      <a:pt x="103" y="114"/>
                    </a:lnTo>
                    <a:lnTo>
                      <a:pt x="103" y="114"/>
                    </a:lnTo>
                    <a:lnTo>
                      <a:pt x="103" y="116"/>
                    </a:lnTo>
                    <a:lnTo>
                      <a:pt x="103" y="116"/>
                    </a:lnTo>
                    <a:lnTo>
                      <a:pt x="101" y="118"/>
                    </a:lnTo>
                    <a:lnTo>
                      <a:pt x="101" y="118"/>
                    </a:lnTo>
                    <a:lnTo>
                      <a:pt x="99" y="118"/>
                    </a:lnTo>
                    <a:lnTo>
                      <a:pt x="99" y="118"/>
                    </a:lnTo>
                    <a:lnTo>
                      <a:pt x="97" y="116"/>
                    </a:lnTo>
                    <a:lnTo>
                      <a:pt x="95" y="114"/>
                    </a:lnTo>
                    <a:lnTo>
                      <a:pt x="93" y="107"/>
                    </a:lnTo>
                    <a:lnTo>
                      <a:pt x="90" y="97"/>
                    </a:lnTo>
                    <a:lnTo>
                      <a:pt x="88" y="95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86" y="97"/>
                    </a:lnTo>
                    <a:lnTo>
                      <a:pt x="84" y="101"/>
                    </a:lnTo>
                    <a:lnTo>
                      <a:pt x="82" y="101"/>
                    </a:lnTo>
                    <a:lnTo>
                      <a:pt x="82" y="103"/>
                    </a:lnTo>
                    <a:lnTo>
                      <a:pt x="82" y="103"/>
                    </a:lnTo>
                    <a:lnTo>
                      <a:pt x="80" y="103"/>
                    </a:lnTo>
                    <a:lnTo>
                      <a:pt x="78" y="105"/>
                    </a:lnTo>
                    <a:lnTo>
                      <a:pt x="78" y="107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9" y="108"/>
                    </a:lnTo>
                    <a:lnTo>
                      <a:pt x="67" y="110"/>
                    </a:lnTo>
                    <a:lnTo>
                      <a:pt x="65" y="110"/>
                    </a:lnTo>
                    <a:lnTo>
                      <a:pt x="63" y="110"/>
                    </a:lnTo>
                    <a:lnTo>
                      <a:pt x="61" y="108"/>
                    </a:lnTo>
                    <a:lnTo>
                      <a:pt x="59" y="108"/>
                    </a:lnTo>
                    <a:lnTo>
                      <a:pt x="57" y="110"/>
                    </a:lnTo>
                    <a:lnTo>
                      <a:pt x="53" y="112"/>
                    </a:lnTo>
                    <a:lnTo>
                      <a:pt x="52" y="114"/>
                    </a:lnTo>
                    <a:lnTo>
                      <a:pt x="46" y="114"/>
                    </a:lnTo>
                    <a:lnTo>
                      <a:pt x="38" y="112"/>
                    </a:lnTo>
                    <a:lnTo>
                      <a:pt x="25" y="110"/>
                    </a:lnTo>
                    <a:lnTo>
                      <a:pt x="23" y="110"/>
                    </a:lnTo>
                    <a:lnTo>
                      <a:pt x="13" y="112"/>
                    </a:lnTo>
                    <a:lnTo>
                      <a:pt x="11" y="112"/>
                    </a:lnTo>
                    <a:lnTo>
                      <a:pt x="10" y="114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6"/>
                    </a:lnTo>
                    <a:lnTo>
                      <a:pt x="8" y="118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10" y="124"/>
                    </a:lnTo>
                    <a:lnTo>
                      <a:pt x="10" y="126"/>
                    </a:lnTo>
                    <a:lnTo>
                      <a:pt x="11" y="126"/>
                    </a:lnTo>
                    <a:lnTo>
                      <a:pt x="13" y="129"/>
                    </a:lnTo>
                    <a:lnTo>
                      <a:pt x="13" y="131"/>
                    </a:lnTo>
                    <a:lnTo>
                      <a:pt x="15" y="133"/>
                    </a:lnTo>
                    <a:lnTo>
                      <a:pt x="15" y="133"/>
                    </a:lnTo>
                    <a:lnTo>
                      <a:pt x="15" y="135"/>
                    </a:lnTo>
                    <a:lnTo>
                      <a:pt x="13" y="135"/>
                    </a:lnTo>
                    <a:lnTo>
                      <a:pt x="11" y="141"/>
                    </a:lnTo>
                    <a:lnTo>
                      <a:pt x="10" y="141"/>
                    </a:lnTo>
                    <a:lnTo>
                      <a:pt x="10" y="143"/>
                    </a:lnTo>
                    <a:lnTo>
                      <a:pt x="10" y="143"/>
                    </a:lnTo>
                    <a:lnTo>
                      <a:pt x="10" y="145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6" y="152"/>
                    </a:lnTo>
                    <a:lnTo>
                      <a:pt x="4" y="154"/>
                    </a:lnTo>
                    <a:lnTo>
                      <a:pt x="4" y="156"/>
                    </a:lnTo>
                    <a:lnTo>
                      <a:pt x="0" y="164"/>
                    </a:lnTo>
                    <a:lnTo>
                      <a:pt x="8" y="165"/>
                    </a:lnTo>
                    <a:lnTo>
                      <a:pt x="13" y="167"/>
                    </a:lnTo>
                    <a:lnTo>
                      <a:pt x="15" y="167"/>
                    </a:lnTo>
                    <a:lnTo>
                      <a:pt x="15" y="167"/>
                    </a:lnTo>
                    <a:lnTo>
                      <a:pt x="17" y="169"/>
                    </a:lnTo>
                    <a:lnTo>
                      <a:pt x="23" y="171"/>
                    </a:lnTo>
                    <a:lnTo>
                      <a:pt x="23" y="173"/>
                    </a:lnTo>
                    <a:lnTo>
                      <a:pt x="23" y="175"/>
                    </a:lnTo>
                    <a:lnTo>
                      <a:pt x="23" y="175"/>
                    </a:lnTo>
                    <a:lnTo>
                      <a:pt x="23" y="181"/>
                    </a:lnTo>
                    <a:lnTo>
                      <a:pt x="23" y="183"/>
                    </a:lnTo>
                    <a:lnTo>
                      <a:pt x="25" y="185"/>
                    </a:lnTo>
                    <a:lnTo>
                      <a:pt x="25" y="186"/>
                    </a:lnTo>
                    <a:lnTo>
                      <a:pt x="27" y="188"/>
                    </a:lnTo>
                    <a:lnTo>
                      <a:pt x="29" y="192"/>
                    </a:lnTo>
                    <a:lnTo>
                      <a:pt x="46" y="207"/>
                    </a:lnTo>
                    <a:lnTo>
                      <a:pt x="48" y="211"/>
                    </a:lnTo>
                    <a:lnTo>
                      <a:pt x="50" y="215"/>
                    </a:lnTo>
                    <a:lnTo>
                      <a:pt x="50" y="217"/>
                    </a:lnTo>
                    <a:lnTo>
                      <a:pt x="50" y="219"/>
                    </a:lnTo>
                    <a:lnTo>
                      <a:pt x="50" y="221"/>
                    </a:lnTo>
                    <a:lnTo>
                      <a:pt x="48" y="224"/>
                    </a:lnTo>
                    <a:lnTo>
                      <a:pt x="48" y="224"/>
                    </a:lnTo>
                    <a:lnTo>
                      <a:pt x="48" y="226"/>
                    </a:lnTo>
                    <a:lnTo>
                      <a:pt x="48" y="228"/>
                    </a:lnTo>
                    <a:lnTo>
                      <a:pt x="50" y="230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3" y="238"/>
                    </a:lnTo>
                    <a:lnTo>
                      <a:pt x="55" y="240"/>
                    </a:lnTo>
                    <a:lnTo>
                      <a:pt x="55" y="240"/>
                    </a:lnTo>
                    <a:lnTo>
                      <a:pt x="57" y="240"/>
                    </a:lnTo>
                    <a:lnTo>
                      <a:pt x="57" y="240"/>
                    </a:lnTo>
                    <a:lnTo>
                      <a:pt x="61" y="240"/>
                    </a:lnTo>
                    <a:lnTo>
                      <a:pt x="61" y="240"/>
                    </a:lnTo>
                    <a:lnTo>
                      <a:pt x="63" y="240"/>
                    </a:lnTo>
                    <a:lnTo>
                      <a:pt x="65" y="240"/>
                    </a:lnTo>
                    <a:lnTo>
                      <a:pt x="72" y="244"/>
                    </a:lnTo>
                    <a:lnTo>
                      <a:pt x="72" y="244"/>
                    </a:lnTo>
                    <a:lnTo>
                      <a:pt x="72" y="244"/>
                    </a:lnTo>
                    <a:lnTo>
                      <a:pt x="72" y="242"/>
                    </a:lnTo>
                    <a:lnTo>
                      <a:pt x="74" y="242"/>
                    </a:lnTo>
                    <a:lnTo>
                      <a:pt x="74" y="242"/>
                    </a:lnTo>
                    <a:lnTo>
                      <a:pt x="72" y="238"/>
                    </a:lnTo>
                    <a:lnTo>
                      <a:pt x="72" y="236"/>
                    </a:lnTo>
                    <a:lnTo>
                      <a:pt x="72" y="236"/>
                    </a:lnTo>
                    <a:lnTo>
                      <a:pt x="74" y="236"/>
                    </a:lnTo>
                    <a:lnTo>
                      <a:pt x="74" y="234"/>
                    </a:lnTo>
                    <a:lnTo>
                      <a:pt x="74" y="234"/>
                    </a:lnTo>
                    <a:lnTo>
                      <a:pt x="74" y="234"/>
                    </a:lnTo>
                    <a:lnTo>
                      <a:pt x="76" y="234"/>
                    </a:lnTo>
                    <a:lnTo>
                      <a:pt x="76" y="234"/>
                    </a:lnTo>
                    <a:lnTo>
                      <a:pt x="78" y="232"/>
                    </a:lnTo>
                    <a:lnTo>
                      <a:pt x="80" y="232"/>
                    </a:lnTo>
                    <a:lnTo>
                      <a:pt x="80" y="232"/>
                    </a:lnTo>
                    <a:lnTo>
                      <a:pt x="82" y="232"/>
                    </a:lnTo>
                    <a:lnTo>
                      <a:pt x="82" y="234"/>
                    </a:lnTo>
                    <a:lnTo>
                      <a:pt x="82" y="236"/>
                    </a:lnTo>
                    <a:lnTo>
                      <a:pt x="82" y="236"/>
                    </a:lnTo>
                    <a:lnTo>
                      <a:pt x="84" y="238"/>
                    </a:lnTo>
                    <a:lnTo>
                      <a:pt x="86" y="242"/>
                    </a:lnTo>
                    <a:lnTo>
                      <a:pt x="86" y="244"/>
                    </a:lnTo>
                    <a:lnTo>
                      <a:pt x="86" y="244"/>
                    </a:lnTo>
                    <a:lnTo>
                      <a:pt x="84" y="245"/>
                    </a:lnTo>
                    <a:lnTo>
                      <a:pt x="84" y="247"/>
                    </a:lnTo>
                    <a:lnTo>
                      <a:pt x="82" y="249"/>
                    </a:lnTo>
                    <a:lnTo>
                      <a:pt x="78" y="253"/>
                    </a:lnTo>
                    <a:lnTo>
                      <a:pt x="78" y="253"/>
                    </a:lnTo>
                    <a:lnTo>
                      <a:pt x="78" y="255"/>
                    </a:lnTo>
                    <a:lnTo>
                      <a:pt x="78" y="257"/>
                    </a:lnTo>
                    <a:lnTo>
                      <a:pt x="78" y="257"/>
                    </a:lnTo>
                    <a:lnTo>
                      <a:pt x="78" y="259"/>
                    </a:lnTo>
                    <a:lnTo>
                      <a:pt x="78" y="259"/>
                    </a:lnTo>
                    <a:lnTo>
                      <a:pt x="78" y="261"/>
                    </a:lnTo>
                    <a:lnTo>
                      <a:pt x="76" y="264"/>
                    </a:lnTo>
                    <a:lnTo>
                      <a:pt x="76" y="266"/>
                    </a:lnTo>
                    <a:lnTo>
                      <a:pt x="76" y="268"/>
                    </a:lnTo>
                    <a:lnTo>
                      <a:pt x="76" y="270"/>
                    </a:lnTo>
                    <a:lnTo>
                      <a:pt x="78" y="270"/>
                    </a:lnTo>
                    <a:lnTo>
                      <a:pt x="78" y="270"/>
                    </a:lnTo>
                    <a:lnTo>
                      <a:pt x="78" y="270"/>
                    </a:lnTo>
                    <a:lnTo>
                      <a:pt x="80" y="270"/>
                    </a:lnTo>
                    <a:lnTo>
                      <a:pt x="82" y="266"/>
                    </a:lnTo>
                    <a:lnTo>
                      <a:pt x="84" y="266"/>
                    </a:lnTo>
                    <a:lnTo>
                      <a:pt x="84" y="266"/>
                    </a:lnTo>
                    <a:lnTo>
                      <a:pt x="86" y="268"/>
                    </a:lnTo>
                    <a:lnTo>
                      <a:pt x="86" y="268"/>
                    </a:lnTo>
                    <a:lnTo>
                      <a:pt x="88" y="270"/>
                    </a:lnTo>
                    <a:lnTo>
                      <a:pt x="88" y="278"/>
                    </a:lnTo>
                    <a:lnTo>
                      <a:pt x="88" y="289"/>
                    </a:lnTo>
                    <a:lnTo>
                      <a:pt x="86" y="295"/>
                    </a:lnTo>
                    <a:lnTo>
                      <a:pt x="88" y="301"/>
                    </a:lnTo>
                    <a:lnTo>
                      <a:pt x="90" y="302"/>
                    </a:lnTo>
                    <a:lnTo>
                      <a:pt x="93" y="306"/>
                    </a:lnTo>
                    <a:lnTo>
                      <a:pt x="95" y="308"/>
                    </a:lnTo>
                    <a:lnTo>
                      <a:pt x="95" y="310"/>
                    </a:lnTo>
                    <a:lnTo>
                      <a:pt x="95" y="312"/>
                    </a:lnTo>
                    <a:lnTo>
                      <a:pt x="95" y="316"/>
                    </a:lnTo>
                    <a:lnTo>
                      <a:pt x="97" y="318"/>
                    </a:lnTo>
                    <a:lnTo>
                      <a:pt x="97" y="320"/>
                    </a:lnTo>
                    <a:lnTo>
                      <a:pt x="97" y="320"/>
                    </a:lnTo>
                    <a:lnTo>
                      <a:pt x="99" y="320"/>
                    </a:lnTo>
                    <a:lnTo>
                      <a:pt x="99" y="322"/>
                    </a:lnTo>
                    <a:lnTo>
                      <a:pt x="99" y="322"/>
                    </a:lnTo>
                    <a:lnTo>
                      <a:pt x="101" y="322"/>
                    </a:lnTo>
                    <a:lnTo>
                      <a:pt x="101" y="320"/>
                    </a:lnTo>
                    <a:lnTo>
                      <a:pt x="103" y="320"/>
                    </a:lnTo>
                    <a:lnTo>
                      <a:pt x="103" y="320"/>
                    </a:lnTo>
                    <a:lnTo>
                      <a:pt x="103" y="320"/>
                    </a:lnTo>
                    <a:lnTo>
                      <a:pt x="101" y="318"/>
                    </a:lnTo>
                    <a:lnTo>
                      <a:pt x="101" y="318"/>
                    </a:lnTo>
                    <a:lnTo>
                      <a:pt x="103" y="316"/>
                    </a:lnTo>
                    <a:lnTo>
                      <a:pt x="103" y="316"/>
                    </a:lnTo>
                    <a:lnTo>
                      <a:pt x="107" y="320"/>
                    </a:lnTo>
                    <a:lnTo>
                      <a:pt x="109" y="320"/>
                    </a:lnTo>
                    <a:lnTo>
                      <a:pt x="111" y="320"/>
                    </a:lnTo>
                    <a:lnTo>
                      <a:pt x="113" y="320"/>
                    </a:lnTo>
                    <a:lnTo>
                      <a:pt x="113" y="320"/>
                    </a:lnTo>
                    <a:lnTo>
                      <a:pt x="114" y="320"/>
                    </a:lnTo>
                    <a:lnTo>
                      <a:pt x="114" y="320"/>
                    </a:lnTo>
                    <a:lnTo>
                      <a:pt x="114" y="320"/>
                    </a:lnTo>
                    <a:lnTo>
                      <a:pt x="116" y="320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20" y="320"/>
                    </a:lnTo>
                    <a:lnTo>
                      <a:pt x="124" y="322"/>
                    </a:lnTo>
                    <a:lnTo>
                      <a:pt x="124" y="323"/>
                    </a:lnTo>
                    <a:lnTo>
                      <a:pt x="126" y="323"/>
                    </a:lnTo>
                    <a:lnTo>
                      <a:pt x="126" y="327"/>
                    </a:lnTo>
                    <a:lnTo>
                      <a:pt x="126" y="327"/>
                    </a:lnTo>
                    <a:lnTo>
                      <a:pt x="128" y="331"/>
                    </a:lnTo>
                    <a:lnTo>
                      <a:pt x="128" y="333"/>
                    </a:lnTo>
                    <a:lnTo>
                      <a:pt x="128" y="333"/>
                    </a:lnTo>
                    <a:lnTo>
                      <a:pt x="128" y="335"/>
                    </a:lnTo>
                    <a:lnTo>
                      <a:pt x="128" y="337"/>
                    </a:lnTo>
                    <a:lnTo>
                      <a:pt x="126" y="339"/>
                    </a:lnTo>
                    <a:lnTo>
                      <a:pt x="124" y="341"/>
                    </a:lnTo>
                    <a:lnTo>
                      <a:pt x="120" y="344"/>
                    </a:lnTo>
                    <a:lnTo>
                      <a:pt x="118" y="344"/>
                    </a:lnTo>
                    <a:lnTo>
                      <a:pt x="116" y="346"/>
                    </a:lnTo>
                    <a:lnTo>
                      <a:pt x="116" y="346"/>
                    </a:lnTo>
                    <a:lnTo>
                      <a:pt x="114" y="348"/>
                    </a:lnTo>
                    <a:lnTo>
                      <a:pt x="113" y="348"/>
                    </a:lnTo>
                    <a:lnTo>
                      <a:pt x="113" y="350"/>
                    </a:lnTo>
                    <a:lnTo>
                      <a:pt x="111" y="350"/>
                    </a:lnTo>
                    <a:lnTo>
                      <a:pt x="111" y="352"/>
                    </a:lnTo>
                    <a:lnTo>
                      <a:pt x="109" y="358"/>
                    </a:lnTo>
                    <a:lnTo>
                      <a:pt x="109" y="360"/>
                    </a:lnTo>
                    <a:lnTo>
                      <a:pt x="107" y="360"/>
                    </a:lnTo>
                    <a:lnTo>
                      <a:pt x="101" y="365"/>
                    </a:lnTo>
                    <a:lnTo>
                      <a:pt x="99" y="367"/>
                    </a:lnTo>
                    <a:lnTo>
                      <a:pt x="97" y="367"/>
                    </a:lnTo>
                    <a:lnTo>
                      <a:pt x="97" y="369"/>
                    </a:lnTo>
                    <a:lnTo>
                      <a:pt x="95" y="369"/>
                    </a:lnTo>
                    <a:lnTo>
                      <a:pt x="92" y="369"/>
                    </a:lnTo>
                    <a:lnTo>
                      <a:pt x="90" y="369"/>
                    </a:lnTo>
                    <a:lnTo>
                      <a:pt x="90" y="371"/>
                    </a:lnTo>
                    <a:lnTo>
                      <a:pt x="86" y="373"/>
                    </a:lnTo>
                    <a:lnTo>
                      <a:pt x="86" y="373"/>
                    </a:lnTo>
                    <a:lnTo>
                      <a:pt x="86" y="375"/>
                    </a:lnTo>
                    <a:lnTo>
                      <a:pt x="82" y="375"/>
                    </a:lnTo>
                    <a:lnTo>
                      <a:pt x="82" y="375"/>
                    </a:lnTo>
                    <a:lnTo>
                      <a:pt x="82" y="377"/>
                    </a:lnTo>
                    <a:lnTo>
                      <a:pt x="82" y="377"/>
                    </a:lnTo>
                    <a:lnTo>
                      <a:pt x="82" y="377"/>
                    </a:lnTo>
                    <a:lnTo>
                      <a:pt x="80" y="380"/>
                    </a:lnTo>
                    <a:lnTo>
                      <a:pt x="80" y="382"/>
                    </a:lnTo>
                    <a:lnTo>
                      <a:pt x="84" y="382"/>
                    </a:lnTo>
                    <a:lnTo>
                      <a:pt x="88" y="384"/>
                    </a:lnTo>
                    <a:lnTo>
                      <a:pt x="92" y="388"/>
                    </a:lnTo>
                    <a:lnTo>
                      <a:pt x="99" y="398"/>
                    </a:lnTo>
                    <a:lnTo>
                      <a:pt x="99" y="400"/>
                    </a:lnTo>
                    <a:lnTo>
                      <a:pt x="101" y="401"/>
                    </a:lnTo>
                    <a:lnTo>
                      <a:pt x="101" y="403"/>
                    </a:lnTo>
                    <a:lnTo>
                      <a:pt x="105" y="405"/>
                    </a:lnTo>
                    <a:lnTo>
                      <a:pt x="107" y="407"/>
                    </a:lnTo>
                    <a:lnTo>
                      <a:pt x="109" y="407"/>
                    </a:lnTo>
                    <a:lnTo>
                      <a:pt x="111" y="407"/>
                    </a:lnTo>
                    <a:lnTo>
                      <a:pt x="113" y="407"/>
                    </a:lnTo>
                    <a:lnTo>
                      <a:pt x="120" y="411"/>
                    </a:lnTo>
                    <a:lnTo>
                      <a:pt x="122" y="411"/>
                    </a:lnTo>
                    <a:lnTo>
                      <a:pt x="135" y="411"/>
                    </a:lnTo>
                    <a:lnTo>
                      <a:pt x="135" y="411"/>
                    </a:lnTo>
                    <a:lnTo>
                      <a:pt x="145" y="405"/>
                    </a:lnTo>
                    <a:lnTo>
                      <a:pt x="145" y="405"/>
                    </a:lnTo>
                    <a:lnTo>
                      <a:pt x="145" y="405"/>
                    </a:lnTo>
                    <a:lnTo>
                      <a:pt x="147" y="403"/>
                    </a:lnTo>
                    <a:lnTo>
                      <a:pt x="147" y="403"/>
                    </a:lnTo>
                    <a:lnTo>
                      <a:pt x="147" y="401"/>
                    </a:lnTo>
                    <a:lnTo>
                      <a:pt x="147" y="401"/>
                    </a:lnTo>
                    <a:lnTo>
                      <a:pt x="147" y="400"/>
                    </a:lnTo>
                    <a:lnTo>
                      <a:pt x="147" y="400"/>
                    </a:lnTo>
                    <a:lnTo>
                      <a:pt x="149" y="398"/>
                    </a:lnTo>
                    <a:lnTo>
                      <a:pt x="151" y="398"/>
                    </a:lnTo>
                    <a:lnTo>
                      <a:pt x="175" y="398"/>
                    </a:lnTo>
                    <a:lnTo>
                      <a:pt x="177" y="398"/>
                    </a:lnTo>
                    <a:lnTo>
                      <a:pt x="179" y="396"/>
                    </a:lnTo>
                    <a:lnTo>
                      <a:pt x="179" y="396"/>
                    </a:lnTo>
                    <a:lnTo>
                      <a:pt x="179" y="396"/>
                    </a:lnTo>
                    <a:lnTo>
                      <a:pt x="181" y="394"/>
                    </a:lnTo>
                    <a:lnTo>
                      <a:pt x="183" y="394"/>
                    </a:lnTo>
                    <a:lnTo>
                      <a:pt x="187" y="394"/>
                    </a:lnTo>
                    <a:lnTo>
                      <a:pt x="195" y="396"/>
                    </a:lnTo>
                    <a:lnTo>
                      <a:pt x="196" y="398"/>
                    </a:lnTo>
                    <a:lnTo>
                      <a:pt x="198" y="398"/>
                    </a:lnTo>
                    <a:lnTo>
                      <a:pt x="198" y="398"/>
                    </a:lnTo>
                    <a:lnTo>
                      <a:pt x="200" y="396"/>
                    </a:lnTo>
                    <a:lnTo>
                      <a:pt x="202" y="396"/>
                    </a:lnTo>
                    <a:lnTo>
                      <a:pt x="202" y="394"/>
                    </a:lnTo>
                    <a:lnTo>
                      <a:pt x="206" y="394"/>
                    </a:lnTo>
                    <a:lnTo>
                      <a:pt x="208" y="394"/>
                    </a:lnTo>
                    <a:lnTo>
                      <a:pt x="214" y="390"/>
                    </a:lnTo>
                    <a:lnTo>
                      <a:pt x="217" y="386"/>
                    </a:lnTo>
                    <a:lnTo>
                      <a:pt x="219" y="394"/>
                    </a:lnTo>
                    <a:lnTo>
                      <a:pt x="221" y="401"/>
                    </a:lnTo>
                    <a:lnTo>
                      <a:pt x="221" y="407"/>
                    </a:lnTo>
                    <a:lnTo>
                      <a:pt x="221" y="411"/>
                    </a:lnTo>
                    <a:lnTo>
                      <a:pt x="221" y="415"/>
                    </a:lnTo>
                    <a:lnTo>
                      <a:pt x="221" y="417"/>
                    </a:lnTo>
                    <a:lnTo>
                      <a:pt x="219" y="417"/>
                    </a:lnTo>
                    <a:lnTo>
                      <a:pt x="214" y="426"/>
                    </a:lnTo>
                    <a:lnTo>
                      <a:pt x="210" y="434"/>
                    </a:lnTo>
                    <a:lnTo>
                      <a:pt x="208" y="438"/>
                    </a:lnTo>
                    <a:lnTo>
                      <a:pt x="208" y="438"/>
                    </a:lnTo>
                    <a:lnTo>
                      <a:pt x="208" y="439"/>
                    </a:lnTo>
                    <a:lnTo>
                      <a:pt x="208" y="441"/>
                    </a:lnTo>
                    <a:lnTo>
                      <a:pt x="208" y="441"/>
                    </a:lnTo>
                    <a:lnTo>
                      <a:pt x="210" y="441"/>
                    </a:lnTo>
                    <a:lnTo>
                      <a:pt x="214" y="439"/>
                    </a:lnTo>
                    <a:lnTo>
                      <a:pt x="216" y="439"/>
                    </a:lnTo>
                    <a:lnTo>
                      <a:pt x="217" y="439"/>
                    </a:lnTo>
                    <a:lnTo>
                      <a:pt x="219" y="439"/>
                    </a:lnTo>
                    <a:lnTo>
                      <a:pt x="221" y="439"/>
                    </a:lnTo>
                    <a:lnTo>
                      <a:pt x="223" y="441"/>
                    </a:lnTo>
                    <a:lnTo>
                      <a:pt x="233" y="447"/>
                    </a:lnTo>
                    <a:lnTo>
                      <a:pt x="235" y="451"/>
                    </a:lnTo>
                    <a:lnTo>
                      <a:pt x="236" y="451"/>
                    </a:lnTo>
                    <a:lnTo>
                      <a:pt x="236" y="451"/>
                    </a:lnTo>
                    <a:lnTo>
                      <a:pt x="236" y="451"/>
                    </a:lnTo>
                    <a:lnTo>
                      <a:pt x="238" y="451"/>
                    </a:lnTo>
                    <a:lnTo>
                      <a:pt x="244" y="443"/>
                    </a:lnTo>
                    <a:lnTo>
                      <a:pt x="250" y="438"/>
                    </a:lnTo>
                    <a:lnTo>
                      <a:pt x="252" y="438"/>
                    </a:lnTo>
                    <a:lnTo>
                      <a:pt x="256" y="436"/>
                    </a:lnTo>
                    <a:lnTo>
                      <a:pt x="259" y="434"/>
                    </a:lnTo>
                    <a:lnTo>
                      <a:pt x="259" y="434"/>
                    </a:lnTo>
                    <a:lnTo>
                      <a:pt x="261" y="434"/>
                    </a:lnTo>
                    <a:lnTo>
                      <a:pt x="263" y="434"/>
                    </a:lnTo>
                    <a:lnTo>
                      <a:pt x="265" y="434"/>
                    </a:lnTo>
                    <a:lnTo>
                      <a:pt x="267" y="434"/>
                    </a:lnTo>
                    <a:lnTo>
                      <a:pt x="278" y="441"/>
                    </a:lnTo>
                    <a:lnTo>
                      <a:pt x="286" y="443"/>
                    </a:lnTo>
                    <a:lnTo>
                      <a:pt x="292" y="443"/>
                    </a:lnTo>
                    <a:lnTo>
                      <a:pt x="294" y="445"/>
                    </a:lnTo>
                    <a:lnTo>
                      <a:pt x="296" y="445"/>
                    </a:lnTo>
                    <a:lnTo>
                      <a:pt x="298" y="443"/>
                    </a:lnTo>
                    <a:lnTo>
                      <a:pt x="299" y="443"/>
                    </a:lnTo>
                    <a:lnTo>
                      <a:pt x="301" y="441"/>
                    </a:lnTo>
                    <a:lnTo>
                      <a:pt x="303" y="441"/>
                    </a:lnTo>
                    <a:lnTo>
                      <a:pt x="303" y="441"/>
                    </a:lnTo>
                    <a:lnTo>
                      <a:pt x="305" y="439"/>
                    </a:lnTo>
                    <a:lnTo>
                      <a:pt x="307" y="438"/>
                    </a:lnTo>
                    <a:lnTo>
                      <a:pt x="309" y="438"/>
                    </a:lnTo>
                    <a:lnTo>
                      <a:pt x="309" y="438"/>
                    </a:lnTo>
                    <a:lnTo>
                      <a:pt x="309" y="439"/>
                    </a:lnTo>
                    <a:lnTo>
                      <a:pt x="309" y="441"/>
                    </a:lnTo>
                    <a:lnTo>
                      <a:pt x="309" y="441"/>
                    </a:lnTo>
                    <a:lnTo>
                      <a:pt x="307" y="445"/>
                    </a:lnTo>
                    <a:lnTo>
                      <a:pt x="307" y="445"/>
                    </a:lnTo>
                    <a:lnTo>
                      <a:pt x="307" y="447"/>
                    </a:lnTo>
                    <a:lnTo>
                      <a:pt x="307" y="447"/>
                    </a:lnTo>
                    <a:lnTo>
                      <a:pt x="307" y="449"/>
                    </a:lnTo>
                    <a:lnTo>
                      <a:pt x="307" y="453"/>
                    </a:lnTo>
                    <a:lnTo>
                      <a:pt x="307" y="453"/>
                    </a:lnTo>
                    <a:lnTo>
                      <a:pt x="313" y="457"/>
                    </a:lnTo>
                    <a:lnTo>
                      <a:pt x="318" y="457"/>
                    </a:lnTo>
                    <a:lnTo>
                      <a:pt x="322" y="455"/>
                    </a:lnTo>
                    <a:lnTo>
                      <a:pt x="324" y="453"/>
                    </a:lnTo>
                    <a:lnTo>
                      <a:pt x="330" y="443"/>
                    </a:lnTo>
                    <a:lnTo>
                      <a:pt x="330" y="441"/>
                    </a:lnTo>
                    <a:lnTo>
                      <a:pt x="332" y="441"/>
                    </a:lnTo>
                    <a:lnTo>
                      <a:pt x="332" y="439"/>
                    </a:lnTo>
                    <a:lnTo>
                      <a:pt x="332" y="439"/>
                    </a:lnTo>
                    <a:lnTo>
                      <a:pt x="332" y="438"/>
                    </a:lnTo>
                    <a:lnTo>
                      <a:pt x="332" y="436"/>
                    </a:lnTo>
                    <a:lnTo>
                      <a:pt x="332" y="432"/>
                    </a:lnTo>
                    <a:lnTo>
                      <a:pt x="334" y="430"/>
                    </a:lnTo>
                    <a:lnTo>
                      <a:pt x="332" y="428"/>
                    </a:lnTo>
                    <a:lnTo>
                      <a:pt x="330" y="424"/>
                    </a:lnTo>
                    <a:lnTo>
                      <a:pt x="330" y="422"/>
                    </a:lnTo>
                    <a:lnTo>
                      <a:pt x="330" y="420"/>
                    </a:lnTo>
                    <a:lnTo>
                      <a:pt x="330" y="419"/>
                    </a:lnTo>
                    <a:lnTo>
                      <a:pt x="334" y="415"/>
                    </a:lnTo>
                    <a:lnTo>
                      <a:pt x="334" y="413"/>
                    </a:lnTo>
                    <a:lnTo>
                      <a:pt x="334" y="409"/>
                    </a:lnTo>
                    <a:lnTo>
                      <a:pt x="332" y="401"/>
                    </a:lnTo>
                    <a:lnTo>
                      <a:pt x="332" y="400"/>
                    </a:lnTo>
                    <a:lnTo>
                      <a:pt x="332" y="398"/>
                    </a:lnTo>
                    <a:lnTo>
                      <a:pt x="328" y="394"/>
                    </a:lnTo>
                    <a:lnTo>
                      <a:pt x="326" y="392"/>
                    </a:lnTo>
                    <a:lnTo>
                      <a:pt x="326" y="390"/>
                    </a:lnTo>
                    <a:lnTo>
                      <a:pt x="326" y="388"/>
                    </a:lnTo>
                    <a:lnTo>
                      <a:pt x="326" y="388"/>
                    </a:lnTo>
                    <a:lnTo>
                      <a:pt x="326" y="388"/>
                    </a:lnTo>
                    <a:lnTo>
                      <a:pt x="326" y="388"/>
                    </a:lnTo>
                    <a:lnTo>
                      <a:pt x="328" y="386"/>
                    </a:lnTo>
                    <a:lnTo>
                      <a:pt x="330" y="386"/>
                    </a:lnTo>
                    <a:lnTo>
                      <a:pt x="332" y="386"/>
                    </a:lnTo>
                    <a:lnTo>
                      <a:pt x="334" y="386"/>
                    </a:lnTo>
                    <a:lnTo>
                      <a:pt x="334" y="384"/>
                    </a:lnTo>
                    <a:lnTo>
                      <a:pt x="334" y="384"/>
                    </a:lnTo>
                    <a:lnTo>
                      <a:pt x="336" y="384"/>
                    </a:lnTo>
                    <a:lnTo>
                      <a:pt x="338" y="380"/>
                    </a:lnTo>
                    <a:lnTo>
                      <a:pt x="338" y="380"/>
                    </a:lnTo>
                    <a:lnTo>
                      <a:pt x="339" y="380"/>
                    </a:lnTo>
                    <a:lnTo>
                      <a:pt x="341" y="380"/>
                    </a:lnTo>
                    <a:lnTo>
                      <a:pt x="341" y="380"/>
                    </a:lnTo>
                    <a:lnTo>
                      <a:pt x="343" y="380"/>
                    </a:lnTo>
                    <a:lnTo>
                      <a:pt x="347" y="388"/>
                    </a:lnTo>
                    <a:lnTo>
                      <a:pt x="368" y="398"/>
                    </a:lnTo>
                    <a:lnTo>
                      <a:pt x="370" y="400"/>
                    </a:lnTo>
                    <a:lnTo>
                      <a:pt x="372" y="401"/>
                    </a:lnTo>
                    <a:lnTo>
                      <a:pt x="376" y="405"/>
                    </a:lnTo>
                    <a:lnTo>
                      <a:pt x="376" y="407"/>
                    </a:lnTo>
                    <a:lnTo>
                      <a:pt x="378" y="409"/>
                    </a:lnTo>
                    <a:lnTo>
                      <a:pt x="380" y="411"/>
                    </a:lnTo>
                    <a:lnTo>
                      <a:pt x="383" y="411"/>
                    </a:lnTo>
                    <a:lnTo>
                      <a:pt x="385" y="411"/>
                    </a:lnTo>
                    <a:lnTo>
                      <a:pt x="387" y="411"/>
                    </a:lnTo>
                    <a:lnTo>
                      <a:pt x="389" y="411"/>
                    </a:lnTo>
                    <a:lnTo>
                      <a:pt x="393" y="409"/>
                    </a:lnTo>
                    <a:lnTo>
                      <a:pt x="395" y="409"/>
                    </a:lnTo>
                    <a:lnTo>
                      <a:pt x="397" y="409"/>
                    </a:lnTo>
                    <a:lnTo>
                      <a:pt x="399" y="411"/>
                    </a:lnTo>
                    <a:lnTo>
                      <a:pt x="410" y="419"/>
                    </a:lnTo>
                    <a:lnTo>
                      <a:pt x="416" y="424"/>
                    </a:lnTo>
                    <a:lnTo>
                      <a:pt x="420" y="426"/>
                    </a:lnTo>
                    <a:lnTo>
                      <a:pt x="421" y="424"/>
                    </a:lnTo>
                    <a:lnTo>
                      <a:pt x="423" y="424"/>
                    </a:lnTo>
                    <a:lnTo>
                      <a:pt x="425" y="422"/>
                    </a:lnTo>
                    <a:lnTo>
                      <a:pt x="425" y="422"/>
                    </a:lnTo>
                    <a:lnTo>
                      <a:pt x="427" y="422"/>
                    </a:lnTo>
                    <a:lnTo>
                      <a:pt x="429" y="422"/>
                    </a:lnTo>
                    <a:lnTo>
                      <a:pt x="429" y="422"/>
                    </a:lnTo>
                    <a:lnTo>
                      <a:pt x="431" y="422"/>
                    </a:lnTo>
                    <a:lnTo>
                      <a:pt x="431" y="420"/>
                    </a:lnTo>
                    <a:lnTo>
                      <a:pt x="431" y="419"/>
                    </a:lnTo>
                    <a:lnTo>
                      <a:pt x="431" y="417"/>
                    </a:lnTo>
                    <a:lnTo>
                      <a:pt x="433" y="417"/>
                    </a:lnTo>
                    <a:lnTo>
                      <a:pt x="435" y="417"/>
                    </a:lnTo>
                    <a:lnTo>
                      <a:pt x="439" y="417"/>
                    </a:lnTo>
                    <a:lnTo>
                      <a:pt x="441" y="415"/>
                    </a:lnTo>
                    <a:lnTo>
                      <a:pt x="441" y="415"/>
                    </a:lnTo>
                    <a:lnTo>
                      <a:pt x="441" y="413"/>
                    </a:lnTo>
                    <a:lnTo>
                      <a:pt x="439" y="411"/>
                    </a:lnTo>
                    <a:lnTo>
                      <a:pt x="437" y="409"/>
                    </a:lnTo>
                    <a:lnTo>
                      <a:pt x="435" y="407"/>
                    </a:lnTo>
                    <a:lnTo>
                      <a:pt x="435" y="405"/>
                    </a:lnTo>
                    <a:lnTo>
                      <a:pt x="435" y="401"/>
                    </a:lnTo>
                    <a:lnTo>
                      <a:pt x="433" y="400"/>
                    </a:lnTo>
                    <a:lnTo>
                      <a:pt x="431" y="398"/>
                    </a:lnTo>
                    <a:lnTo>
                      <a:pt x="429" y="396"/>
                    </a:lnTo>
                    <a:lnTo>
                      <a:pt x="425" y="394"/>
                    </a:lnTo>
                    <a:lnTo>
                      <a:pt x="425" y="392"/>
                    </a:lnTo>
                    <a:lnTo>
                      <a:pt x="425" y="392"/>
                    </a:lnTo>
                    <a:lnTo>
                      <a:pt x="423" y="390"/>
                    </a:lnTo>
                    <a:lnTo>
                      <a:pt x="423" y="388"/>
                    </a:lnTo>
                    <a:lnTo>
                      <a:pt x="423" y="388"/>
                    </a:lnTo>
                    <a:lnTo>
                      <a:pt x="423" y="388"/>
                    </a:lnTo>
                    <a:lnTo>
                      <a:pt x="423" y="388"/>
                    </a:lnTo>
                    <a:lnTo>
                      <a:pt x="423" y="388"/>
                    </a:lnTo>
                    <a:lnTo>
                      <a:pt x="423" y="386"/>
                    </a:lnTo>
                    <a:lnTo>
                      <a:pt x="425" y="386"/>
                    </a:lnTo>
                    <a:lnTo>
                      <a:pt x="427" y="388"/>
                    </a:lnTo>
                    <a:lnTo>
                      <a:pt x="429" y="386"/>
                    </a:lnTo>
                    <a:lnTo>
                      <a:pt x="429" y="386"/>
                    </a:lnTo>
                    <a:lnTo>
                      <a:pt x="429" y="386"/>
                    </a:lnTo>
                    <a:lnTo>
                      <a:pt x="429" y="384"/>
                    </a:lnTo>
                    <a:lnTo>
                      <a:pt x="429" y="384"/>
                    </a:lnTo>
                    <a:lnTo>
                      <a:pt x="429" y="380"/>
                    </a:lnTo>
                    <a:lnTo>
                      <a:pt x="427" y="380"/>
                    </a:lnTo>
                    <a:lnTo>
                      <a:pt x="425" y="379"/>
                    </a:lnTo>
                    <a:lnTo>
                      <a:pt x="423" y="377"/>
                    </a:lnTo>
                    <a:lnTo>
                      <a:pt x="420" y="375"/>
                    </a:lnTo>
                    <a:lnTo>
                      <a:pt x="414" y="375"/>
                    </a:lnTo>
                    <a:lnTo>
                      <a:pt x="412" y="375"/>
                    </a:lnTo>
                    <a:lnTo>
                      <a:pt x="412" y="373"/>
                    </a:lnTo>
                    <a:lnTo>
                      <a:pt x="410" y="371"/>
                    </a:lnTo>
                    <a:lnTo>
                      <a:pt x="408" y="369"/>
                    </a:lnTo>
                    <a:lnTo>
                      <a:pt x="408" y="363"/>
                    </a:lnTo>
                    <a:lnTo>
                      <a:pt x="400" y="356"/>
                    </a:lnTo>
                    <a:lnTo>
                      <a:pt x="397" y="354"/>
                    </a:lnTo>
                    <a:lnTo>
                      <a:pt x="397" y="354"/>
                    </a:lnTo>
                    <a:lnTo>
                      <a:pt x="395" y="354"/>
                    </a:lnTo>
                    <a:lnTo>
                      <a:pt x="393" y="354"/>
                    </a:lnTo>
                    <a:lnTo>
                      <a:pt x="391" y="354"/>
                    </a:lnTo>
                    <a:lnTo>
                      <a:pt x="385" y="348"/>
                    </a:lnTo>
                    <a:lnTo>
                      <a:pt x="383" y="346"/>
                    </a:lnTo>
                    <a:lnTo>
                      <a:pt x="383" y="344"/>
                    </a:lnTo>
                    <a:lnTo>
                      <a:pt x="385" y="341"/>
                    </a:lnTo>
                    <a:lnTo>
                      <a:pt x="385" y="339"/>
                    </a:lnTo>
                    <a:lnTo>
                      <a:pt x="385" y="337"/>
                    </a:lnTo>
                    <a:lnTo>
                      <a:pt x="385" y="335"/>
                    </a:lnTo>
                    <a:lnTo>
                      <a:pt x="387" y="333"/>
                    </a:lnTo>
                    <a:lnTo>
                      <a:pt x="387" y="331"/>
                    </a:lnTo>
                    <a:lnTo>
                      <a:pt x="385" y="329"/>
                    </a:lnTo>
                    <a:lnTo>
                      <a:pt x="385" y="329"/>
                    </a:lnTo>
                    <a:lnTo>
                      <a:pt x="387" y="327"/>
                    </a:lnTo>
                    <a:lnTo>
                      <a:pt x="389" y="325"/>
                    </a:lnTo>
                    <a:lnTo>
                      <a:pt x="391" y="323"/>
                    </a:lnTo>
                    <a:lnTo>
                      <a:pt x="393" y="323"/>
                    </a:lnTo>
                    <a:lnTo>
                      <a:pt x="395" y="323"/>
                    </a:lnTo>
                    <a:lnTo>
                      <a:pt x="397" y="323"/>
                    </a:lnTo>
                    <a:lnTo>
                      <a:pt x="397" y="323"/>
                    </a:lnTo>
                    <a:lnTo>
                      <a:pt x="399" y="322"/>
                    </a:lnTo>
                    <a:lnTo>
                      <a:pt x="399" y="322"/>
                    </a:lnTo>
                    <a:lnTo>
                      <a:pt x="397" y="322"/>
                    </a:lnTo>
                    <a:lnTo>
                      <a:pt x="397" y="320"/>
                    </a:lnTo>
                    <a:lnTo>
                      <a:pt x="395" y="320"/>
                    </a:lnTo>
                    <a:lnTo>
                      <a:pt x="393" y="320"/>
                    </a:lnTo>
                    <a:lnTo>
                      <a:pt x="393" y="320"/>
                    </a:lnTo>
                    <a:lnTo>
                      <a:pt x="393" y="320"/>
                    </a:lnTo>
                    <a:lnTo>
                      <a:pt x="393" y="320"/>
                    </a:lnTo>
                    <a:lnTo>
                      <a:pt x="393" y="320"/>
                    </a:lnTo>
                    <a:lnTo>
                      <a:pt x="391" y="320"/>
                    </a:lnTo>
                    <a:lnTo>
                      <a:pt x="374" y="318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0" y="318"/>
                    </a:lnTo>
                    <a:lnTo>
                      <a:pt x="359" y="318"/>
                    </a:lnTo>
                    <a:lnTo>
                      <a:pt x="357" y="320"/>
                    </a:lnTo>
                    <a:lnTo>
                      <a:pt x="355" y="318"/>
                    </a:lnTo>
                    <a:lnTo>
                      <a:pt x="353" y="316"/>
                    </a:lnTo>
                    <a:lnTo>
                      <a:pt x="338" y="299"/>
                    </a:lnTo>
                    <a:lnTo>
                      <a:pt x="334" y="297"/>
                    </a:lnTo>
                    <a:lnTo>
                      <a:pt x="332" y="297"/>
                    </a:lnTo>
                    <a:lnTo>
                      <a:pt x="330" y="295"/>
                    </a:lnTo>
                    <a:lnTo>
                      <a:pt x="328" y="295"/>
                    </a:lnTo>
                    <a:lnTo>
                      <a:pt x="322" y="297"/>
                    </a:lnTo>
                    <a:lnTo>
                      <a:pt x="320" y="297"/>
                    </a:lnTo>
                    <a:lnTo>
                      <a:pt x="320" y="297"/>
                    </a:lnTo>
                    <a:lnTo>
                      <a:pt x="318" y="295"/>
                    </a:lnTo>
                    <a:lnTo>
                      <a:pt x="318" y="295"/>
                    </a:lnTo>
                    <a:lnTo>
                      <a:pt x="318" y="291"/>
                    </a:lnTo>
                    <a:lnTo>
                      <a:pt x="315" y="287"/>
                    </a:lnTo>
                    <a:lnTo>
                      <a:pt x="313" y="283"/>
                    </a:lnTo>
                    <a:lnTo>
                      <a:pt x="313" y="282"/>
                    </a:lnTo>
                    <a:lnTo>
                      <a:pt x="315" y="278"/>
                    </a:lnTo>
                    <a:lnTo>
                      <a:pt x="317" y="274"/>
                    </a:lnTo>
                    <a:lnTo>
                      <a:pt x="318" y="272"/>
                    </a:lnTo>
                    <a:lnTo>
                      <a:pt x="318" y="272"/>
                    </a:lnTo>
                    <a:lnTo>
                      <a:pt x="320" y="270"/>
                    </a:lnTo>
                    <a:lnTo>
                      <a:pt x="320" y="266"/>
                    </a:lnTo>
                    <a:lnTo>
                      <a:pt x="320" y="264"/>
                    </a:lnTo>
                    <a:lnTo>
                      <a:pt x="320" y="264"/>
                    </a:lnTo>
                    <a:lnTo>
                      <a:pt x="320" y="263"/>
                    </a:lnTo>
                    <a:lnTo>
                      <a:pt x="320" y="263"/>
                    </a:lnTo>
                    <a:lnTo>
                      <a:pt x="318" y="261"/>
                    </a:lnTo>
                    <a:lnTo>
                      <a:pt x="315" y="263"/>
                    </a:lnTo>
                    <a:lnTo>
                      <a:pt x="315" y="261"/>
                    </a:lnTo>
                    <a:lnTo>
                      <a:pt x="315" y="261"/>
                    </a:lnTo>
                    <a:lnTo>
                      <a:pt x="313" y="259"/>
                    </a:lnTo>
                    <a:lnTo>
                      <a:pt x="313" y="259"/>
                    </a:lnTo>
                    <a:lnTo>
                      <a:pt x="313" y="255"/>
                    </a:lnTo>
                    <a:lnTo>
                      <a:pt x="313" y="255"/>
                    </a:lnTo>
                    <a:lnTo>
                      <a:pt x="313" y="253"/>
                    </a:lnTo>
                    <a:lnTo>
                      <a:pt x="315" y="253"/>
                    </a:lnTo>
                    <a:lnTo>
                      <a:pt x="322" y="251"/>
                    </a:lnTo>
                    <a:lnTo>
                      <a:pt x="324" y="251"/>
                    </a:lnTo>
                    <a:lnTo>
                      <a:pt x="328" y="251"/>
                    </a:lnTo>
                    <a:lnTo>
                      <a:pt x="334" y="249"/>
                    </a:lnTo>
                    <a:lnTo>
                      <a:pt x="336" y="249"/>
                    </a:lnTo>
                    <a:lnTo>
                      <a:pt x="336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4" y="242"/>
                    </a:lnTo>
                    <a:lnTo>
                      <a:pt x="334" y="242"/>
                    </a:lnTo>
                    <a:lnTo>
                      <a:pt x="334" y="240"/>
                    </a:lnTo>
                    <a:lnTo>
                      <a:pt x="336" y="240"/>
                    </a:lnTo>
                    <a:lnTo>
                      <a:pt x="336" y="238"/>
                    </a:lnTo>
                    <a:lnTo>
                      <a:pt x="338" y="238"/>
                    </a:lnTo>
                    <a:lnTo>
                      <a:pt x="339" y="238"/>
                    </a:lnTo>
                    <a:lnTo>
                      <a:pt x="341" y="238"/>
                    </a:lnTo>
                    <a:lnTo>
                      <a:pt x="347" y="242"/>
                    </a:lnTo>
                    <a:lnTo>
                      <a:pt x="351" y="242"/>
                    </a:lnTo>
                    <a:lnTo>
                      <a:pt x="351" y="244"/>
                    </a:lnTo>
                    <a:lnTo>
                      <a:pt x="349" y="249"/>
                    </a:lnTo>
                    <a:lnTo>
                      <a:pt x="349" y="251"/>
                    </a:lnTo>
                    <a:lnTo>
                      <a:pt x="349" y="251"/>
                    </a:lnTo>
                    <a:lnTo>
                      <a:pt x="349" y="251"/>
                    </a:lnTo>
                    <a:lnTo>
                      <a:pt x="351" y="253"/>
                    </a:lnTo>
                    <a:lnTo>
                      <a:pt x="351" y="253"/>
                    </a:lnTo>
                    <a:lnTo>
                      <a:pt x="353" y="253"/>
                    </a:lnTo>
                    <a:lnTo>
                      <a:pt x="355" y="253"/>
                    </a:lnTo>
                    <a:lnTo>
                      <a:pt x="357" y="255"/>
                    </a:lnTo>
                    <a:lnTo>
                      <a:pt x="360" y="257"/>
                    </a:lnTo>
                    <a:lnTo>
                      <a:pt x="360" y="259"/>
                    </a:lnTo>
                    <a:lnTo>
                      <a:pt x="362" y="259"/>
                    </a:lnTo>
                    <a:lnTo>
                      <a:pt x="364" y="259"/>
                    </a:lnTo>
                    <a:lnTo>
                      <a:pt x="368" y="259"/>
                    </a:lnTo>
                    <a:lnTo>
                      <a:pt x="372" y="255"/>
                    </a:lnTo>
                    <a:lnTo>
                      <a:pt x="374" y="253"/>
                    </a:lnTo>
                    <a:lnTo>
                      <a:pt x="376" y="253"/>
                    </a:lnTo>
                    <a:lnTo>
                      <a:pt x="376" y="251"/>
                    </a:lnTo>
                    <a:lnTo>
                      <a:pt x="376" y="251"/>
                    </a:lnTo>
                    <a:lnTo>
                      <a:pt x="376" y="251"/>
                    </a:lnTo>
                    <a:lnTo>
                      <a:pt x="376" y="251"/>
                    </a:lnTo>
                    <a:lnTo>
                      <a:pt x="376" y="251"/>
                    </a:lnTo>
                    <a:lnTo>
                      <a:pt x="378" y="249"/>
                    </a:lnTo>
                    <a:lnTo>
                      <a:pt x="378" y="247"/>
                    </a:lnTo>
                    <a:lnTo>
                      <a:pt x="378" y="245"/>
                    </a:lnTo>
                    <a:lnTo>
                      <a:pt x="378" y="244"/>
                    </a:lnTo>
                    <a:lnTo>
                      <a:pt x="378" y="242"/>
                    </a:lnTo>
                    <a:lnTo>
                      <a:pt x="380" y="240"/>
                    </a:lnTo>
                    <a:lnTo>
                      <a:pt x="381" y="238"/>
                    </a:lnTo>
                    <a:lnTo>
                      <a:pt x="385" y="236"/>
                    </a:lnTo>
                    <a:lnTo>
                      <a:pt x="391" y="232"/>
                    </a:lnTo>
                    <a:lnTo>
                      <a:pt x="402" y="230"/>
                    </a:lnTo>
                    <a:lnTo>
                      <a:pt x="408" y="226"/>
                    </a:lnTo>
                    <a:lnTo>
                      <a:pt x="416" y="224"/>
                    </a:lnTo>
                    <a:lnTo>
                      <a:pt x="431" y="223"/>
                    </a:lnTo>
                    <a:lnTo>
                      <a:pt x="435" y="221"/>
                    </a:lnTo>
                    <a:lnTo>
                      <a:pt x="437" y="217"/>
                    </a:lnTo>
                    <a:lnTo>
                      <a:pt x="437" y="213"/>
                    </a:lnTo>
                    <a:lnTo>
                      <a:pt x="437" y="211"/>
                    </a:lnTo>
                    <a:lnTo>
                      <a:pt x="437" y="209"/>
                    </a:lnTo>
                    <a:lnTo>
                      <a:pt x="437" y="209"/>
                    </a:lnTo>
                    <a:lnTo>
                      <a:pt x="437" y="207"/>
                    </a:lnTo>
                    <a:lnTo>
                      <a:pt x="437" y="205"/>
                    </a:lnTo>
                    <a:lnTo>
                      <a:pt x="437" y="204"/>
                    </a:lnTo>
                    <a:lnTo>
                      <a:pt x="439" y="204"/>
                    </a:lnTo>
                    <a:lnTo>
                      <a:pt x="441" y="202"/>
                    </a:lnTo>
                    <a:lnTo>
                      <a:pt x="442" y="200"/>
                    </a:lnTo>
                    <a:lnTo>
                      <a:pt x="442" y="200"/>
                    </a:lnTo>
                    <a:lnTo>
                      <a:pt x="442" y="198"/>
                    </a:lnTo>
                    <a:lnTo>
                      <a:pt x="442" y="198"/>
                    </a:lnTo>
                    <a:lnTo>
                      <a:pt x="442" y="196"/>
                    </a:lnTo>
                    <a:lnTo>
                      <a:pt x="444" y="196"/>
                    </a:lnTo>
                    <a:lnTo>
                      <a:pt x="444" y="196"/>
                    </a:lnTo>
                    <a:lnTo>
                      <a:pt x="446" y="196"/>
                    </a:lnTo>
                    <a:lnTo>
                      <a:pt x="448" y="196"/>
                    </a:lnTo>
                    <a:lnTo>
                      <a:pt x="454" y="200"/>
                    </a:lnTo>
                    <a:lnTo>
                      <a:pt x="458" y="202"/>
                    </a:lnTo>
                    <a:lnTo>
                      <a:pt x="460" y="202"/>
                    </a:lnTo>
                    <a:lnTo>
                      <a:pt x="462" y="202"/>
                    </a:lnTo>
                    <a:lnTo>
                      <a:pt x="462" y="202"/>
                    </a:lnTo>
                    <a:lnTo>
                      <a:pt x="465" y="205"/>
                    </a:lnTo>
                    <a:lnTo>
                      <a:pt x="467" y="207"/>
                    </a:lnTo>
                    <a:lnTo>
                      <a:pt x="469" y="209"/>
                    </a:lnTo>
                    <a:lnTo>
                      <a:pt x="477" y="209"/>
                    </a:lnTo>
                    <a:lnTo>
                      <a:pt x="481" y="209"/>
                    </a:lnTo>
                    <a:lnTo>
                      <a:pt x="481" y="207"/>
                    </a:lnTo>
                    <a:lnTo>
                      <a:pt x="481" y="207"/>
                    </a:lnTo>
                    <a:lnTo>
                      <a:pt x="481" y="205"/>
                    </a:lnTo>
                    <a:lnTo>
                      <a:pt x="479" y="204"/>
                    </a:lnTo>
                    <a:lnTo>
                      <a:pt x="477" y="202"/>
                    </a:lnTo>
                    <a:lnTo>
                      <a:pt x="477" y="202"/>
                    </a:lnTo>
                    <a:lnTo>
                      <a:pt x="477" y="200"/>
                    </a:lnTo>
                    <a:lnTo>
                      <a:pt x="479" y="200"/>
                    </a:lnTo>
                    <a:lnTo>
                      <a:pt x="479" y="200"/>
                    </a:lnTo>
                    <a:lnTo>
                      <a:pt x="481" y="200"/>
                    </a:lnTo>
                    <a:lnTo>
                      <a:pt x="482" y="200"/>
                    </a:lnTo>
                    <a:lnTo>
                      <a:pt x="484" y="202"/>
                    </a:lnTo>
                    <a:lnTo>
                      <a:pt x="486" y="202"/>
                    </a:lnTo>
                    <a:lnTo>
                      <a:pt x="486" y="202"/>
                    </a:lnTo>
                    <a:lnTo>
                      <a:pt x="488" y="204"/>
                    </a:lnTo>
                    <a:lnTo>
                      <a:pt x="488" y="204"/>
                    </a:lnTo>
                    <a:lnTo>
                      <a:pt x="490" y="204"/>
                    </a:lnTo>
                    <a:lnTo>
                      <a:pt x="490" y="202"/>
                    </a:lnTo>
                    <a:lnTo>
                      <a:pt x="490" y="200"/>
                    </a:lnTo>
                    <a:lnTo>
                      <a:pt x="490" y="198"/>
                    </a:lnTo>
                    <a:lnTo>
                      <a:pt x="492" y="196"/>
                    </a:lnTo>
                    <a:lnTo>
                      <a:pt x="492" y="196"/>
                    </a:lnTo>
                    <a:lnTo>
                      <a:pt x="494" y="196"/>
                    </a:lnTo>
                    <a:lnTo>
                      <a:pt x="494" y="194"/>
                    </a:lnTo>
                    <a:lnTo>
                      <a:pt x="496" y="192"/>
                    </a:lnTo>
                    <a:lnTo>
                      <a:pt x="496" y="192"/>
                    </a:lnTo>
                    <a:lnTo>
                      <a:pt x="496" y="190"/>
                    </a:lnTo>
                    <a:lnTo>
                      <a:pt x="494" y="188"/>
                    </a:lnTo>
                    <a:lnTo>
                      <a:pt x="492" y="186"/>
                    </a:lnTo>
                    <a:lnTo>
                      <a:pt x="492" y="185"/>
                    </a:lnTo>
                    <a:lnTo>
                      <a:pt x="492" y="185"/>
                    </a:lnTo>
                    <a:lnTo>
                      <a:pt x="492" y="183"/>
                    </a:lnTo>
                    <a:lnTo>
                      <a:pt x="490" y="183"/>
                    </a:lnTo>
                    <a:lnTo>
                      <a:pt x="488" y="181"/>
                    </a:lnTo>
                    <a:lnTo>
                      <a:pt x="488" y="179"/>
                    </a:lnTo>
                    <a:lnTo>
                      <a:pt x="488" y="179"/>
                    </a:lnTo>
                    <a:lnTo>
                      <a:pt x="490" y="177"/>
                    </a:lnTo>
                    <a:lnTo>
                      <a:pt x="492" y="177"/>
                    </a:lnTo>
                    <a:lnTo>
                      <a:pt x="498" y="175"/>
                    </a:lnTo>
                    <a:lnTo>
                      <a:pt x="498" y="175"/>
                    </a:lnTo>
                    <a:lnTo>
                      <a:pt x="500" y="177"/>
                    </a:lnTo>
                    <a:lnTo>
                      <a:pt x="500" y="177"/>
                    </a:lnTo>
                    <a:lnTo>
                      <a:pt x="500" y="179"/>
                    </a:lnTo>
                    <a:lnTo>
                      <a:pt x="502" y="181"/>
                    </a:lnTo>
                    <a:lnTo>
                      <a:pt x="502" y="183"/>
                    </a:lnTo>
                    <a:lnTo>
                      <a:pt x="502" y="183"/>
                    </a:lnTo>
                    <a:lnTo>
                      <a:pt x="502" y="183"/>
                    </a:lnTo>
                    <a:lnTo>
                      <a:pt x="509" y="181"/>
                    </a:lnTo>
                    <a:lnTo>
                      <a:pt x="513" y="181"/>
                    </a:lnTo>
                    <a:lnTo>
                      <a:pt x="515" y="181"/>
                    </a:lnTo>
                    <a:lnTo>
                      <a:pt x="517" y="181"/>
                    </a:lnTo>
                    <a:lnTo>
                      <a:pt x="519" y="179"/>
                    </a:lnTo>
                    <a:lnTo>
                      <a:pt x="521" y="177"/>
                    </a:lnTo>
                    <a:lnTo>
                      <a:pt x="521" y="177"/>
                    </a:lnTo>
                    <a:lnTo>
                      <a:pt x="521" y="175"/>
                    </a:lnTo>
                    <a:lnTo>
                      <a:pt x="521" y="171"/>
                    </a:lnTo>
                    <a:lnTo>
                      <a:pt x="521" y="169"/>
                    </a:lnTo>
                    <a:lnTo>
                      <a:pt x="521" y="165"/>
                    </a:lnTo>
                    <a:lnTo>
                      <a:pt x="521" y="165"/>
                    </a:lnTo>
                    <a:lnTo>
                      <a:pt x="523" y="164"/>
                    </a:lnTo>
                    <a:lnTo>
                      <a:pt x="523" y="164"/>
                    </a:lnTo>
                    <a:lnTo>
                      <a:pt x="524" y="164"/>
                    </a:lnTo>
                    <a:lnTo>
                      <a:pt x="526" y="165"/>
                    </a:lnTo>
                    <a:lnTo>
                      <a:pt x="528" y="167"/>
                    </a:lnTo>
                    <a:lnTo>
                      <a:pt x="530" y="167"/>
                    </a:lnTo>
                    <a:lnTo>
                      <a:pt x="532" y="167"/>
                    </a:lnTo>
                    <a:lnTo>
                      <a:pt x="532" y="164"/>
                    </a:lnTo>
                    <a:lnTo>
                      <a:pt x="534" y="164"/>
                    </a:lnTo>
                    <a:lnTo>
                      <a:pt x="534" y="160"/>
                    </a:lnTo>
                    <a:lnTo>
                      <a:pt x="534" y="158"/>
                    </a:lnTo>
                    <a:lnTo>
                      <a:pt x="536" y="158"/>
                    </a:lnTo>
                    <a:lnTo>
                      <a:pt x="540" y="158"/>
                    </a:lnTo>
                    <a:lnTo>
                      <a:pt x="542" y="158"/>
                    </a:lnTo>
                    <a:lnTo>
                      <a:pt x="544" y="158"/>
                    </a:lnTo>
                    <a:lnTo>
                      <a:pt x="544" y="156"/>
                    </a:lnTo>
                    <a:lnTo>
                      <a:pt x="542" y="154"/>
                    </a:lnTo>
                    <a:lnTo>
                      <a:pt x="542" y="152"/>
                    </a:lnTo>
                    <a:lnTo>
                      <a:pt x="540" y="152"/>
                    </a:lnTo>
                    <a:lnTo>
                      <a:pt x="540" y="152"/>
                    </a:lnTo>
                    <a:lnTo>
                      <a:pt x="538" y="152"/>
                    </a:lnTo>
                    <a:lnTo>
                      <a:pt x="538" y="152"/>
                    </a:lnTo>
                    <a:lnTo>
                      <a:pt x="538" y="152"/>
                    </a:lnTo>
                    <a:lnTo>
                      <a:pt x="538" y="150"/>
                    </a:lnTo>
                    <a:lnTo>
                      <a:pt x="538" y="148"/>
                    </a:lnTo>
                    <a:lnTo>
                      <a:pt x="538" y="148"/>
                    </a:lnTo>
                    <a:lnTo>
                      <a:pt x="540" y="146"/>
                    </a:lnTo>
                    <a:lnTo>
                      <a:pt x="542" y="145"/>
                    </a:lnTo>
                    <a:lnTo>
                      <a:pt x="544" y="145"/>
                    </a:lnTo>
                    <a:lnTo>
                      <a:pt x="547" y="143"/>
                    </a:lnTo>
                    <a:lnTo>
                      <a:pt x="549" y="139"/>
                    </a:lnTo>
                    <a:lnTo>
                      <a:pt x="551" y="137"/>
                    </a:lnTo>
                    <a:lnTo>
                      <a:pt x="557" y="126"/>
                    </a:lnTo>
                    <a:lnTo>
                      <a:pt x="557" y="124"/>
                    </a:lnTo>
                    <a:lnTo>
                      <a:pt x="557" y="122"/>
                    </a:lnTo>
                    <a:lnTo>
                      <a:pt x="557" y="120"/>
                    </a:lnTo>
                    <a:lnTo>
                      <a:pt x="557" y="120"/>
                    </a:lnTo>
                    <a:lnTo>
                      <a:pt x="557" y="118"/>
                    </a:lnTo>
                    <a:lnTo>
                      <a:pt x="559" y="118"/>
                    </a:lnTo>
                    <a:lnTo>
                      <a:pt x="559" y="116"/>
                    </a:lnTo>
                    <a:lnTo>
                      <a:pt x="561" y="116"/>
                    </a:lnTo>
                    <a:lnTo>
                      <a:pt x="561" y="114"/>
                    </a:lnTo>
                    <a:lnTo>
                      <a:pt x="561" y="114"/>
                    </a:lnTo>
                    <a:lnTo>
                      <a:pt x="561" y="112"/>
                    </a:lnTo>
                    <a:lnTo>
                      <a:pt x="559" y="110"/>
                    </a:lnTo>
                    <a:lnTo>
                      <a:pt x="559" y="110"/>
                    </a:lnTo>
                    <a:lnTo>
                      <a:pt x="559" y="107"/>
                    </a:lnTo>
                    <a:lnTo>
                      <a:pt x="559" y="105"/>
                    </a:lnTo>
                    <a:lnTo>
                      <a:pt x="559" y="105"/>
                    </a:lnTo>
                    <a:lnTo>
                      <a:pt x="557" y="105"/>
                    </a:lnTo>
                    <a:lnTo>
                      <a:pt x="555" y="103"/>
                    </a:lnTo>
                    <a:lnTo>
                      <a:pt x="555" y="103"/>
                    </a:lnTo>
                    <a:lnTo>
                      <a:pt x="553" y="101"/>
                    </a:lnTo>
                    <a:lnTo>
                      <a:pt x="555" y="101"/>
                    </a:lnTo>
                    <a:lnTo>
                      <a:pt x="557" y="101"/>
                    </a:lnTo>
                    <a:lnTo>
                      <a:pt x="559" y="101"/>
                    </a:lnTo>
                    <a:lnTo>
                      <a:pt x="559" y="101"/>
                    </a:lnTo>
                    <a:lnTo>
                      <a:pt x="561" y="103"/>
                    </a:lnTo>
                    <a:lnTo>
                      <a:pt x="563" y="103"/>
                    </a:lnTo>
                    <a:lnTo>
                      <a:pt x="563" y="103"/>
                    </a:lnTo>
                    <a:lnTo>
                      <a:pt x="564" y="103"/>
                    </a:lnTo>
                    <a:lnTo>
                      <a:pt x="566" y="103"/>
                    </a:lnTo>
                    <a:lnTo>
                      <a:pt x="568" y="103"/>
                    </a:lnTo>
                    <a:lnTo>
                      <a:pt x="570" y="103"/>
                    </a:lnTo>
                    <a:lnTo>
                      <a:pt x="572" y="101"/>
                    </a:lnTo>
                    <a:lnTo>
                      <a:pt x="572" y="101"/>
                    </a:lnTo>
                    <a:lnTo>
                      <a:pt x="572" y="97"/>
                    </a:lnTo>
                    <a:lnTo>
                      <a:pt x="572" y="97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4" name="Freeform 26">
                <a:extLst>
                  <a:ext uri="{FF2B5EF4-FFF2-40B4-BE49-F238E27FC236}">
                    <a16:creationId xmlns:a16="http://schemas.microsoft.com/office/drawing/2014/main" id="{8FB88FEA-F51E-40A2-8347-676560E23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444" y="1827686"/>
                <a:ext cx="1139825" cy="763588"/>
              </a:xfrm>
              <a:custGeom>
                <a:avLst/>
                <a:gdLst>
                  <a:gd name="T0" fmla="*/ 698 w 718"/>
                  <a:gd name="T1" fmla="*/ 378 h 481"/>
                  <a:gd name="T2" fmla="*/ 684 w 718"/>
                  <a:gd name="T3" fmla="*/ 348 h 481"/>
                  <a:gd name="T4" fmla="*/ 659 w 718"/>
                  <a:gd name="T5" fmla="*/ 333 h 481"/>
                  <a:gd name="T6" fmla="*/ 629 w 718"/>
                  <a:gd name="T7" fmla="*/ 256 h 481"/>
                  <a:gd name="T8" fmla="*/ 654 w 718"/>
                  <a:gd name="T9" fmla="*/ 184 h 481"/>
                  <a:gd name="T10" fmla="*/ 614 w 718"/>
                  <a:gd name="T11" fmla="*/ 148 h 481"/>
                  <a:gd name="T12" fmla="*/ 549 w 718"/>
                  <a:gd name="T13" fmla="*/ 83 h 481"/>
                  <a:gd name="T14" fmla="*/ 528 w 718"/>
                  <a:gd name="T15" fmla="*/ 0 h 481"/>
                  <a:gd name="T16" fmla="*/ 410 w 718"/>
                  <a:gd name="T17" fmla="*/ 59 h 481"/>
                  <a:gd name="T18" fmla="*/ 394 w 718"/>
                  <a:gd name="T19" fmla="*/ 87 h 481"/>
                  <a:gd name="T20" fmla="*/ 371 w 718"/>
                  <a:gd name="T21" fmla="*/ 102 h 481"/>
                  <a:gd name="T22" fmla="*/ 312 w 718"/>
                  <a:gd name="T23" fmla="*/ 123 h 481"/>
                  <a:gd name="T24" fmla="*/ 270 w 718"/>
                  <a:gd name="T25" fmla="*/ 135 h 481"/>
                  <a:gd name="T26" fmla="*/ 198 w 718"/>
                  <a:gd name="T27" fmla="*/ 142 h 481"/>
                  <a:gd name="T28" fmla="*/ 167 w 718"/>
                  <a:gd name="T29" fmla="*/ 131 h 481"/>
                  <a:gd name="T30" fmla="*/ 22 w 718"/>
                  <a:gd name="T31" fmla="*/ 125 h 481"/>
                  <a:gd name="T32" fmla="*/ 9 w 718"/>
                  <a:gd name="T33" fmla="*/ 152 h 481"/>
                  <a:gd name="T34" fmla="*/ 3 w 718"/>
                  <a:gd name="T35" fmla="*/ 178 h 481"/>
                  <a:gd name="T36" fmla="*/ 28 w 718"/>
                  <a:gd name="T37" fmla="*/ 198 h 481"/>
                  <a:gd name="T38" fmla="*/ 24 w 718"/>
                  <a:gd name="T39" fmla="*/ 226 h 481"/>
                  <a:gd name="T40" fmla="*/ 61 w 718"/>
                  <a:gd name="T41" fmla="*/ 237 h 481"/>
                  <a:gd name="T42" fmla="*/ 24 w 718"/>
                  <a:gd name="T43" fmla="*/ 268 h 481"/>
                  <a:gd name="T44" fmla="*/ 47 w 718"/>
                  <a:gd name="T45" fmla="*/ 304 h 481"/>
                  <a:gd name="T46" fmla="*/ 26 w 718"/>
                  <a:gd name="T47" fmla="*/ 340 h 481"/>
                  <a:gd name="T48" fmla="*/ 66 w 718"/>
                  <a:gd name="T49" fmla="*/ 378 h 481"/>
                  <a:gd name="T50" fmla="*/ 68 w 718"/>
                  <a:gd name="T51" fmla="*/ 409 h 481"/>
                  <a:gd name="T52" fmla="*/ 91 w 718"/>
                  <a:gd name="T53" fmla="*/ 414 h 481"/>
                  <a:gd name="T54" fmla="*/ 112 w 718"/>
                  <a:gd name="T55" fmla="*/ 401 h 481"/>
                  <a:gd name="T56" fmla="*/ 110 w 718"/>
                  <a:gd name="T57" fmla="*/ 433 h 481"/>
                  <a:gd name="T58" fmla="*/ 133 w 718"/>
                  <a:gd name="T59" fmla="*/ 456 h 481"/>
                  <a:gd name="T60" fmla="*/ 183 w 718"/>
                  <a:gd name="T61" fmla="*/ 470 h 481"/>
                  <a:gd name="T62" fmla="*/ 209 w 718"/>
                  <a:gd name="T63" fmla="*/ 475 h 481"/>
                  <a:gd name="T64" fmla="*/ 230 w 718"/>
                  <a:gd name="T65" fmla="*/ 468 h 481"/>
                  <a:gd name="T66" fmla="*/ 253 w 718"/>
                  <a:gd name="T67" fmla="*/ 454 h 481"/>
                  <a:gd name="T68" fmla="*/ 268 w 718"/>
                  <a:gd name="T69" fmla="*/ 435 h 481"/>
                  <a:gd name="T70" fmla="*/ 268 w 718"/>
                  <a:gd name="T71" fmla="*/ 414 h 481"/>
                  <a:gd name="T72" fmla="*/ 257 w 718"/>
                  <a:gd name="T73" fmla="*/ 397 h 481"/>
                  <a:gd name="T74" fmla="*/ 263 w 718"/>
                  <a:gd name="T75" fmla="*/ 386 h 481"/>
                  <a:gd name="T76" fmla="*/ 286 w 718"/>
                  <a:gd name="T77" fmla="*/ 382 h 481"/>
                  <a:gd name="T78" fmla="*/ 312 w 718"/>
                  <a:gd name="T79" fmla="*/ 361 h 481"/>
                  <a:gd name="T80" fmla="*/ 349 w 718"/>
                  <a:gd name="T81" fmla="*/ 342 h 481"/>
                  <a:gd name="T82" fmla="*/ 394 w 718"/>
                  <a:gd name="T83" fmla="*/ 371 h 481"/>
                  <a:gd name="T84" fmla="*/ 452 w 718"/>
                  <a:gd name="T85" fmla="*/ 395 h 481"/>
                  <a:gd name="T86" fmla="*/ 476 w 718"/>
                  <a:gd name="T87" fmla="*/ 388 h 481"/>
                  <a:gd name="T88" fmla="*/ 490 w 718"/>
                  <a:gd name="T89" fmla="*/ 376 h 481"/>
                  <a:gd name="T90" fmla="*/ 513 w 718"/>
                  <a:gd name="T91" fmla="*/ 395 h 481"/>
                  <a:gd name="T92" fmla="*/ 528 w 718"/>
                  <a:gd name="T93" fmla="*/ 430 h 481"/>
                  <a:gd name="T94" fmla="*/ 541 w 718"/>
                  <a:gd name="T95" fmla="*/ 430 h 481"/>
                  <a:gd name="T96" fmla="*/ 558 w 718"/>
                  <a:gd name="T97" fmla="*/ 424 h 481"/>
                  <a:gd name="T98" fmla="*/ 570 w 718"/>
                  <a:gd name="T99" fmla="*/ 412 h 481"/>
                  <a:gd name="T100" fmla="*/ 577 w 718"/>
                  <a:gd name="T101" fmla="*/ 420 h 481"/>
                  <a:gd name="T102" fmla="*/ 568 w 718"/>
                  <a:gd name="T103" fmla="*/ 437 h 481"/>
                  <a:gd name="T104" fmla="*/ 566 w 718"/>
                  <a:gd name="T105" fmla="*/ 456 h 481"/>
                  <a:gd name="T106" fmla="*/ 608 w 718"/>
                  <a:gd name="T107" fmla="*/ 441 h 481"/>
                  <a:gd name="T108" fmla="*/ 621 w 718"/>
                  <a:gd name="T109" fmla="*/ 443 h 481"/>
                  <a:gd name="T110" fmla="*/ 654 w 718"/>
                  <a:gd name="T111" fmla="*/ 471 h 481"/>
                  <a:gd name="T112" fmla="*/ 673 w 718"/>
                  <a:gd name="T113" fmla="*/ 454 h 481"/>
                  <a:gd name="T114" fmla="*/ 709 w 718"/>
                  <a:gd name="T115" fmla="*/ 437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18" h="481">
                    <a:moveTo>
                      <a:pt x="718" y="414"/>
                    </a:moveTo>
                    <a:lnTo>
                      <a:pt x="715" y="412"/>
                    </a:lnTo>
                    <a:lnTo>
                      <a:pt x="711" y="407"/>
                    </a:lnTo>
                    <a:lnTo>
                      <a:pt x="711" y="403"/>
                    </a:lnTo>
                    <a:lnTo>
                      <a:pt x="709" y="399"/>
                    </a:lnTo>
                    <a:lnTo>
                      <a:pt x="707" y="393"/>
                    </a:lnTo>
                    <a:lnTo>
                      <a:pt x="699" y="388"/>
                    </a:lnTo>
                    <a:lnTo>
                      <a:pt x="698" y="384"/>
                    </a:lnTo>
                    <a:lnTo>
                      <a:pt x="698" y="378"/>
                    </a:lnTo>
                    <a:lnTo>
                      <a:pt x="698" y="374"/>
                    </a:lnTo>
                    <a:lnTo>
                      <a:pt x="698" y="367"/>
                    </a:lnTo>
                    <a:lnTo>
                      <a:pt x="699" y="365"/>
                    </a:lnTo>
                    <a:lnTo>
                      <a:pt x="701" y="361"/>
                    </a:lnTo>
                    <a:lnTo>
                      <a:pt x="703" y="357"/>
                    </a:lnTo>
                    <a:lnTo>
                      <a:pt x="703" y="354"/>
                    </a:lnTo>
                    <a:lnTo>
                      <a:pt x="699" y="350"/>
                    </a:lnTo>
                    <a:lnTo>
                      <a:pt x="688" y="350"/>
                    </a:lnTo>
                    <a:lnTo>
                      <a:pt x="684" y="348"/>
                    </a:lnTo>
                    <a:lnTo>
                      <a:pt x="675" y="344"/>
                    </a:lnTo>
                    <a:lnTo>
                      <a:pt x="671" y="344"/>
                    </a:lnTo>
                    <a:lnTo>
                      <a:pt x="667" y="346"/>
                    </a:lnTo>
                    <a:lnTo>
                      <a:pt x="665" y="344"/>
                    </a:lnTo>
                    <a:lnTo>
                      <a:pt x="665" y="340"/>
                    </a:lnTo>
                    <a:lnTo>
                      <a:pt x="665" y="338"/>
                    </a:lnTo>
                    <a:lnTo>
                      <a:pt x="663" y="336"/>
                    </a:lnTo>
                    <a:lnTo>
                      <a:pt x="661" y="334"/>
                    </a:lnTo>
                    <a:lnTo>
                      <a:pt x="659" y="333"/>
                    </a:lnTo>
                    <a:lnTo>
                      <a:pt x="654" y="333"/>
                    </a:lnTo>
                    <a:lnTo>
                      <a:pt x="652" y="331"/>
                    </a:lnTo>
                    <a:lnTo>
                      <a:pt x="644" y="319"/>
                    </a:lnTo>
                    <a:lnTo>
                      <a:pt x="644" y="319"/>
                    </a:lnTo>
                    <a:lnTo>
                      <a:pt x="633" y="308"/>
                    </a:lnTo>
                    <a:lnTo>
                      <a:pt x="631" y="304"/>
                    </a:lnTo>
                    <a:lnTo>
                      <a:pt x="627" y="295"/>
                    </a:lnTo>
                    <a:lnTo>
                      <a:pt x="629" y="266"/>
                    </a:lnTo>
                    <a:lnTo>
                      <a:pt x="629" y="256"/>
                    </a:lnTo>
                    <a:lnTo>
                      <a:pt x="627" y="247"/>
                    </a:lnTo>
                    <a:lnTo>
                      <a:pt x="619" y="228"/>
                    </a:lnTo>
                    <a:lnTo>
                      <a:pt x="621" y="215"/>
                    </a:lnTo>
                    <a:lnTo>
                      <a:pt x="631" y="209"/>
                    </a:lnTo>
                    <a:lnTo>
                      <a:pt x="642" y="203"/>
                    </a:lnTo>
                    <a:lnTo>
                      <a:pt x="652" y="194"/>
                    </a:lnTo>
                    <a:lnTo>
                      <a:pt x="654" y="192"/>
                    </a:lnTo>
                    <a:lnTo>
                      <a:pt x="654" y="188"/>
                    </a:lnTo>
                    <a:lnTo>
                      <a:pt x="654" y="184"/>
                    </a:lnTo>
                    <a:lnTo>
                      <a:pt x="652" y="180"/>
                    </a:lnTo>
                    <a:lnTo>
                      <a:pt x="650" y="177"/>
                    </a:lnTo>
                    <a:lnTo>
                      <a:pt x="650" y="175"/>
                    </a:lnTo>
                    <a:lnTo>
                      <a:pt x="646" y="171"/>
                    </a:lnTo>
                    <a:lnTo>
                      <a:pt x="640" y="169"/>
                    </a:lnTo>
                    <a:lnTo>
                      <a:pt x="635" y="167"/>
                    </a:lnTo>
                    <a:lnTo>
                      <a:pt x="631" y="165"/>
                    </a:lnTo>
                    <a:lnTo>
                      <a:pt x="623" y="156"/>
                    </a:lnTo>
                    <a:lnTo>
                      <a:pt x="614" y="148"/>
                    </a:lnTo>
                    <a:lnTo>
                      <a:pt x="606" y="144"/>
                    </a:lnTo>
                    <a:lnTo>
                      <a:pt x="577" y="140"/>
                    </a:lnTo>
                    <a:lnTo>
                      <a:pt x="572" y="137"/>
                    </a:lnTo>
                    <a:lnTo>
                      <a:pt x="568" y="133"/>
                    </a:lnTo>
                    <a:lnTo>
                      <a:pt x="564" y="127"/>
                    </a:lnTo>
                    <a:lnTo>
                      <a:pt x="556" y="99"/>
                    </a:lnTo>
                    <a:lnTo>
                      <a:pt x="554" y="97"/>
                    </a:lnTo>
                    <a:lnTo>
                      <a:pt x="551" y="89"/>
                    </a:lnTo>
                    <a:lnTo>
                      <a:pt x="549" y="83"/>
                    </a:lnTo>
                    <a:lnTo>
                      <a:pt x="547" y="72"/>
                    </a:lnTo>
                    <a:lnTo>
                      <a:pt x="547" y="66"/>
                    </a:lnTo>
                    <a:lnTo>
                      <a:pt x="534" y="45"/>
                    </a:lnTo>
                    <a:lnTo>
                      <a:pt x="530" y="34"/>
                    </a:lnTo>
                    <a:lnTo>
                      <a:pt x="532" y="22"/>
                    </a:lnTo>
                    <a:lnTo>
                      <a:pt x="535" y="15"/>
                    </a:lnTo>
                    <a:lnTo>
                      <a:pt x="537" y="5"/>
                    </a:lnTo>
                    <a:lnTo>
                      <a:pt x="535" y="0"/>
                    </a:lnTo>
                    <a:lnTo>
                      <a:pt x="528" y="0"/>
                    </a:lnTo>
                    <a:lnTo>
                      <a:pt x="524" y="2"/>
                    </a:lnTo>
                    <a:lnTo>
                      <a:pt x="518" y="7"/>
                    </a:lnTo>
                    <a:lnTo>
                      <a:pt x="514" y="9"/>
                    </a:lnTo>
                    <a:lnTo>
                      <a:pt x="513" y="9"/>
                    </a:lnTo>
                    <a:lnTo>
                      <a:pt x="509" y="5"/>
                    </a:lnTo>
                    <a:lnTo>
                      <a:pt x="507" y="3"/>
                    </a:lnTo>
                    <a:lnTo>
                      <a:pt x="505" y="0"/>
                    </a:lnTo>
                    <a:lnTo>
                      <a:pt x="457" y="28"/>
                    </a:lnTo>
                    <a:lnTo>
                      <a:pt x="410" y="59"/>
                    </a:lnTo>
                    <a:lnTo>
                      <a:pt x="410" y="59"/>
                    </a:lnTo>
                    <a:lnTo>
                      <a:pt x="408" y="62"/>
                    </a:lnTo>
                    <a:lnTo>
                      <a:pt x="408" y="66"/>
                    </a:lnTo>
                    <a:lnTo>
                      <a:pt x="410" y="70"/>
                    </a:lnTo>
                    <a:lnTo>
                      <a:pt x="408" y="74"/>
                    </a:lnTo>
                    <a:lnTo>
                      <a:pt x="406" y="78"/>
                    </a:lnTo>
                    <a:lnTo>
                      <a:pt x="398" y="83"/>
                    </a:lnTo>
                    <a:lnTo>
                      <a:pt x="396" y="85"/>
                    </a:lnTo>
                    <a:lnTo>
                      <a:pt x="394" y="87"/>
                    </a:lnTo>
                    <a:lnTo>
                      <a:pt x="392" y="87"/>
                    </a:lnTo>
                    <a:lnTo>
                      <a:pt x="389" y="85"/>
                    </a:lnTo>
                    <a:lnTo>
                      <a:pt x="387" y="83"/>
                    </a:lnTo>
                    <a:lnTo>
                      <a:pt x="381" y="85"/>
                    </a:lnTo>
                    <a:lnTo>
                      <a:pt x="377" y="85"/>
                    </a:lnTo>
                    <a:lnTo>
                      <a:pt x="373" y="89"/>
                    </a:lnTo>
                    <a:lnTo>
                      <a:pt x="373" y="91"/>
                    </a:lnTo>
                    <a:lnTo>
                      <a:pt x="373" y="100"/>
                    </a:lnTo>
                    <a:lnTo>
                      <a:pt x="371" y="102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49" y="118"/>
                    </a:lnTo>
                    <a:lnTo>
                      <a:pt x="347" y="118"/>
                    </a:lnTo>
                    <a:lnTo>
                      <a:pt x="345" y="116"/>
                    </a:lnTo>
                    <a:lnTo>
                      <a:pt x="339" y="112"/>
                    </a:lnTo>
                    <a:lnTo>
                      <a:pt x="333" y="112"/>
                    </a:lnTo>
                    <a:lnTo>
                      <a:pt x="329" y="114"/>
                    </a:lnTo>
                    <a:lnTo>
                      <a:pt x="312" y="123"/>
                    </a:lnTo>
                    <a:lnTo>
                      <a:pt x="299" y="127"/>
                    </a:lnTo>
                    <a:lnTo>
                      <a:pt x="293" y="127"/>
                    </a:lnTo>
                    <a:lnTo>
                      <a:pt x="286" y="123"/>
                    </a:lnTo>
                    <a:lnTo>
                      <a:pt x="282" y="125"/>
                    </a:lnTo>
                    <a:lnTo>
                      <a:pt x="280" y="127"/>
                    </a:lnTo>
                    <a:lnTo>
                      <a:pt x="278" y="131"/>
                    </a:lnTo>
                    <a:lnTo>
                      <a:pt x="276" y="133"/>
                    </a:lnTo>
                    <a:lnTo>
                      <a:pt x="274" y="133"/>
                    </a:lnTo>
                    <a:lnTo>
                      <a:pt x="270" y="135"/>
                    </a:lnTo>
                    <a:lnTo>
                      <a:pt x="263" y="140"/>
                    </a:lnTo>
                    <a:lnTo>
                      <a:pt x="255" y="148"/>
                    </a:lnTo>
                    <a:lnTo>
                      <a:pt x="253" y="150"/>
                    </a:lnTo>
                    <a:lnTo>
                      <a:pt x="251" y="150"/>
                    </a:lnTo>
                    <a:lnTo>
                      <a:pt x="246" y="150"/>
                    </a:lnTo>
                    <a:lnTo>
                      <a:pt x="244" y="150"/>
                    </a:lnTo>
                    <a:lnTo>
                      <a:pt x="236" y="152"/>
                    </a:lnTo>
                    <a:lnTo>
                      <a:pt x="230" y="152"/>
                    </a:lnTo>
                    <a:lnTo>
                      <a:pt x="198" y="142"/>
                    </a:lnTo>
                    <a:lnTo>
                      <a:pt x="192" y="140"/>
                    </a:lnTo>
                    <a:lnTo>
                      <a:pt x="186" y="137"/>
                    </a:lnTo>
                    <a:lnTo>
                      <a:pt x="185" y="135"/>
                    </a:lnTo>
                    <a:lnTo>
                      <a:pt x="183" y="131"/>
                    </a:lnTo>
                    <a:lnTo>
                      <a:pt x="181" y="131"/>
                    </a:lnTo>
                    <a:lnTo>
                      <a:pt x="181" y="131"/>
                    </a:lnTo>
                    <a:lnTo>
                      <a:pt x="181" y="129"/>
                    </a:lnTo>
                    <a:lnTo>
                      <a:pt x="175" y="129"/>
                    </a:lnTo>
                    <a:lnTo>
                      <a:pt x="167" y="131"/>
                    </a:lnTo>
                    <a:lnTo>
                      <a:pt x="156" y="131"/>
                    </a:lnTo>
                    <a:lnTo>
                      <a:pt x="112" y="123"/>
                    </a:lnTo>
                    <a:lnTo>
                      <a:pt x="80" y="112"/>
                    </a:lnTo>
                    <a:lnTo>
                      <a:pt x="72" y="110"/>
                    </a:lnTo>
                    <a:lnTo>
                      <a:pt x="64" y="110"/>
                    </a:lnTo>
                    <a:lnTo>
                      <a:pt x="55" y="114"/>
                    </a:lnTo>
                    <a:lnTo>
                      <a:pt x="47" y="121"/>
                    </a:lnTo>
                    <a:lnTo>
                      <a:pt x="43" y="123"/>
                    </a:lnTo>
                    <a:lnTo>
                      <a:pt x="22" y="125"/>
                    </a:lnTo>
                    <a:lnTo>
                      <a:pt x="22" y="127"/>
                    </a:lnTo>
                    <a:lnTo>
                      <a:pt x="19" y="129"/>
                    </a:lnTo>
                    <a:lnTo>
                      <a:pt x="17" y="133"/>
                    </a:lnTo>
                    <a:lnTo>
                      <a:pt x="19" y="137"/>
                    </a:lnTo>
                    <a:lnTo>
                      <a:pt x="19" y="142"/>
                    </a:lnTo>
                    <a:lnTo>
                      <a:pt x="17" y="144"/>
                    </a:lnTo>
                    <a:lnTo>
                      <a:pt x="11" y="148"/>
                    </a:lnTo>
                    <a:lnTo>
                      <a:pt x="9" y="152"/>
                    </a:lnTo>
                    <a:lnTo>
                      <a:pt x="9" y="152"/>
                    </a:lnTo>
                    <a:lnTo>
                      <a:pt x="9" y="158"/>
                    </a:lnTo>
                    <a:lnTo>
                      <a:pt x="7" y="159"/>
                    </a:lnTo>
                    <a:lnTo>
                      <a:pt x="7" y="161"/>
                    </a:lnTo>
                    <a:lnTo>
                      <a:pt x="3" y="163"/>
                    </a:lnTo>
                    <a:lnTo>
                      <a:pt x="1" y="163"/>
                    </a:lnTo>
                    <a:lnTo>
                      <a:pt x="0" y="167"/>
                    </a:lnTo>
                    <a:lnTo>
                      <a:pt x="0" y="171"/>
                    </a:lnTo>
                    <a:lnTo>
                      <a:pt x="1" y="175"/>
                    </a:lnTo>
                    <a:lnTo>
                      <a:pt x="3" y="178"/>
                    </a:lnTo>
                    <a:lnTo>
                      <a:pt x="7" y="180"/>
                    </a:lnTo>
                    <a:lnTo>
                      <a:pt x="9" y="180"/>
                    </a:lnTo>
                    <a:lnTo>
                      <a:pt x="13" y="180"/>
                    </a:lnTo>
                    <a:lnTo>
                      <a:pt x="17" y="180"/>
                    </a:lnTo>
                    <a:lnTo>
                      <a:pt x="21" y="180"/>
                    </a:lnTo>
                    <a:lnTo>
                      <a:pt x="22" y="184"/>
                    </a:lnTo>
                    <a:lnTo>
                      <a:pt x="24" y="192"/>
                    </a:lnTo>
                    <a:lnTo>
                      <a:pt x="26" y="194"/>
                    </a:lnTo>
                    <a:lnTo>
                      <a:pt x="28" y="198"/>
                    </a:lnTo>
                    <a:lnTo>
                      <a:pt x="28" y="201"/>
                    </a:lnTo>
                    <a:lnTo>
                      <a:pt x="24" y="203"/>
                    </a:lnTo>
                    <a:lnTo>
                      <a:pt x="17" y="207"/>
                    </a:lnTo>
                    <a:lnTo>
                      <a:pt x="15" y="209"/>
                    </a:lnTo>
                    <a:lnTo>
                      <a:pt x="13" y="215"/>
                    </a:lnTo>
                    <a:lnTo>
                      <a:pt x="15" y="218"/>
                    </a:lnTo>
                    <a:lnTo>
                      <a:pt x="17" y="222"/>
                    </a:lnTo>
                    <a:lnTo>
                      <a:pt x="21" y="226"/>
                    </a:lnTo>
                    <a:lnTo>
                      <a:pt x="24" y="226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3" y="226"/>
                    </a:lnTo>
                    <a:lnTo>
                      <a:pt x="47" y="226"/>
                    </a:lnTo>
                    <a:lnTo>
                      <a:pt x="53" y="226"/>
                    </a:lnTo>
                    <a:lnTo>
                      <a:pt x="57" y="226"/>
                    </a:lnTo>
                    <a:lnTo>
                      <a:pt x="61" y="228"/>
                    </a:lnTo>
                    <a:lnTo>
                      <a:pt x="62" y="234"/>
                    </a:lnTo>
                    <a:lnTo>
                      <a:pt x="61" y="237"/>
                    </a:lnTo>
                    <a:lnTo>
                      <a:pt x="59" y="241"/>
                    </a:lnTo>
                    <a:lnTo>
                      <a:pt x="55" y="245"/>
                    </a:lnTo>
                    <a:lnTo>
                      <a:pt x="51" y="249"/>
                    </a:lnTo>
                    <a:lnTo>
                      <a:pt x="45" y="251"/>
                    </a:lnTo>
                    <a:lnTo>
                      <a:pt x="32" y="253"/>
                    </a:lnTo>
                    <a:lnTo>
                      <a:pt x="30" y="256"/>
                    </a:lnTo>
                    <a:lnTo>
                      <a:pt x="24" y="264"/>
                    </a:lnTo>
                    <a:lnTo>
                      <a:pt x="24" y="266"/>
                    </a:lnTo>
                    <a:lnTo>
                      <a:pt x="24" y="268"/>
                    </a:lnTo>
                    <a:lnTo>
                      <a:pt x="22" y="270"/>
                    </a:lnTo>
                    <a:lnTo>
                      <a:pt x="22" y="274"/>
                    </a:lnTo>
                    <a:lnTo>
                      <a:pt x="22" y="276"/>
                    </a:lnTo>
                    <a:lnTo>
                      <a:pt x="24" y="277"/>
                    </a:lnTo>
                    <a:lnTo>
                      <a:pt x="24" y="279"/>
                    </a:lnTo>
                    <a:lnTo>
                      <a:pt x="30" y="285"/>
                    </a:lnTo>
                    <a:lnTo>
                      <a:pt x="40" y="289"/>
                    </a:lnTo>
                    <a:lnTo>
                      <a:pt x="45" y="295"/>
                    </a:lnTo>
                    <a:lnTo>
                      <a:pt x="47" y="304"/>
                    </a:lnTo>
                    <a:lnTo>
                      <a:pt x="45" y="315"/>
                    </a:lnTo>
                    <a:lnTo>
                      <a:pt x="42" y="325"/>
                    </a:lnTo>
                    <a:lnTo>
                      <a:pt x="40" y="329"/>
                    </a:lnTo>
                    <a:lnTo>
                      <a:pt x="38" y="331"/>
                    </a:lnTo>
                    <a:lnTo>
                      <a:pt x="38" y="333"/>
                    </a:lnTo>
                    <a:lnTo>
                      <a:pt x="36" y="334"/>
                    </a:lnTo>
                    <a:lnTo>
                      <a:pt x="30" y="336"/>
                    </a:lnTo>
                    <a:lnTo>
                      <a:pt x="28" y="336"/>
                    </a:lnTo>
                    <a:lnTo>
                      <a:pt x="26" y="340"/>
                    </a:lnTo>
                    <a:lnTo>
                      <a:pt x="26" y="346"/>
                    </a:lnTo>
                    <a:lnTo>
                      <a:pt x="28" y="352"/>
                    </a:lnTo>
                    <a:lnTo>
                      <a:pt x="32" y="354"/>
                    </a:lnTo>
                    <a:lnTo>
                      <a:pt x="36" y="357"/>
                    </a:lnTo>
                    <a:lnTo>
                      <a:pt x="40" y="361"/>
                    </a:lnTo>
                    <a:lnTo>
                      <a:pt x="47" y="371"/>
                    </a:lnTo>
                    <a:lnTo>
                      <a:pt x="51" y="374"/>
                    </a:lnTo>
                    <a:lnTo>
                      <a:pt x="64" y="376"/>
                    </a:lnTo>
                    <a:lnTo>
                      <a:pt x="66" y="378"/>
                    </a:lnTo>
                    <a:lnTo>
                      <a:pt x="68" y="382"/>
                    </a:lnTo>
                    <a:lnTo>
                      <a:pt x="68" y="390"/>
                    </a:lnTo>
                    <a:lnTo>
                      <a:pt x="70" y="397"/>
                    </a:lnTo>
                    <a:lnTo>
                      <a:pt x="70" y="399"/>
                    </a:lnTo>
                    <a:lnTo>
                      <a:pt x="68" y="403"/>
                    </a:lnTo>
                    <a:lnTo>
                      <a:pt x="68" y="403"/>
                    </a:lnTo>
                    <a:lnTo>
                      <a:pt x="68" y="403"/>
                    </a:lnTo>
                    <a:lnTo>
                      <a:pt x="66" y="405"/>
                    </a:lnTo>
                    <a:lnTo>
                      <a:pt x="68" y="409"/>
                    </a:lnTo>
                    <a:lnTo>
                      <a:pt x="70" y="411"/>
                    </a:lnTo>
                    <a:lnTo>
                      <a:pt x="72" y="412"/>
                    </a:lnTo>
                    <a:lnTo>
                      <a:pt x="74" y="412"/>
                    </a:lnTo>
                    <a:lnTo>
                      <a:pt x="76" y="412"/>
                    </a:lnTo>
                    <a:lnTo>
                      <a:pt x="80" y="409"/>
                    </a:lnTo>
                    <a:lnTo>
                      <a:pt x="83" y="409"/>
                    </a:lnTo>
                    <a:lnTo>
                      <a:pt x="85" y="411"/>
                    </a:lnTo>
                    <a:lnTo>
                      <a:pt x="89" y="414"/>
                    </a:lnTo>
                    <a:lnTo>
                      <a:pt x="91" y="414"/>
                    </a:lnTo>
                    <a:lnTo>
                      <a:pt x="93" y="414"/>
                    </a:lnTo>
                    <a:lnTo>
                      <a:pt x="101" y="414"/>
                    </a:lnTo>
                    <a:lnTo>
                      <a:pt x="103" y="412"/>
                    </a:lnTo>
                    <a:lnTo>
                      <a:pt x="104" y="411"/>
                    </a:lnTo>
                    <a:lnTo>
                      <a:pt x="106" y="409"/>
                    </a:lnTo>
                    <a:lnTo>
                      <a:pt x="106" y="407"/>
                    </a:lnTo>
                    <a:lnTo>
                      <a:pt x="108" y="403"/>
                    </a:lnTo>
                    <a:lnTo>
                      <a:pt x="110" y="401"/>
                    </a:lnTo>
                    <a:lnTo>
                      <a:pt x="112" y="401"/>
                    </a:lnTo>
                    <a:lnTo>
                      <a:pt x="114" y="403"/>
                    </a:lnTo>
                    <a:lnTo>
                      <a:pt x="114" y="405"/>
                    </a:lnTo>
                    <a:lnTo>
                      <a:pt x="114" y="409"/>
                    </a:lnTo>
                    <a:lnTo>
                      <a:pt x="110" y="414"/>
                    </a:lnTo>
                    <a:lnTo>
                      <a:pt x="110" y="418"/>
                    </a:lnTo>
                    <a:lnTo>
                      <a:pt x="110" y="422"/>
                    </a:lnTo>
                    <a:lnTo>
                      <a:pt x="110" y="428"/>
                    </a:lnTo>
                    <a:lnTo>
                      <a:pt x="110" y="432"/>
                    </a:lnTo>
                    <a:lnTo>
                      <a:pt x="110" y="433"/>
                    </a:lnTo>
                    <a:lnTo>
                      <a:pt x="108" y="435"/>
                    </a:lnTo>
                    <a:lnTo>
                      <a:pt x="106" y="439"/>
                    </a:lnTo>
                    <a:lnTo>
                      <a:pt x="108" y="441"/>
                    </a:lnTo>
                    <a:lnTo>
                      <a:pt x="110" y="452"/>
                    </a:lnTo>
                    <a:lnTo>
                      <a:pt x="114" y="456"/>
                    </a:lnTo>
                    <a:lnTo>
                      <a:pt x="120" y="458"/>
                    </a:lnTo>
                    <a:lnTo>
                      <a:pt x="124" y="456"/>
                    </a:lnTo>
                    <a:lnTo>
                      <a:pt x="127" y="456"/>
                    </a:lnTo>
                    <a:lnTo>
                      <a:pt x="133" y="456"/>
                    </a:lnTo>
                    <a:lnTo>
                      <a:pt x="143" y="460"/>
                    </a:lnTo>
                    <a:lnTo>
                      <a:pt x="146" y="460"/>
                    </a:lnTo>
                    <a:lnTo>
                      <a:pt x="152" y="456"/>
                    </a:lnTo>
                    <a:lnTo>
                      <a:pt x="156" y="456"/>
                    </a:lnTo>
                    <a:lnTo>
                      <a:pt x="160" y="458"/>
                    </a:lnTo>
                    <a:lnTo>
                      <a:pt x="165" y="462"/>
                    </a:lnTo>
                    <a:lnTo>
                      <a:pt x="169" y="464"/>
                    </a:lnTo>
                    <a:lnTo>
                      <a:pt x="179" y="468"/>
                    </a:lnTo>
                    <a:lnTo>
                      <a:pt x="183" y="470"/>
                    </a:lnTo>
                    <a:lnTo>
                      <a:pt x="190" y="477"/>
                    </a:lnTo>
                    <a:lnTo>
                      <a:pt x="194" y="475"/>
                    </a:lnTo>
                    <a:lnTo>
                      <a:pt x="202" y="475"/>
                    </a:lnTo>
                    <a:lnTo>
                      <a:pt x="206" y="475"/>
                    </a:lnTo>
                    <a:lnTo>
                      <a:pt x="206" y="473"/>
                    </a:lnTo>
                    <a:lnTo>
                      <a:pt x="207" y="471"/>
                    </a:lnTo>
                    <a:lnTo>
                      <a:pt x="209" y="473"/>
                    </a:lnTo>
                    <a:lnTo>
                      <a:pt x="209" y="473"/>
                    </a:lnTo>
                    <a:lnTo>
                      <a:pt x="209" y="475"/>
                    </a:lnTo>
                    <a:lnTo>
                      <a:pt x="209" y="477"/>
                    </a:lnTo>
                    <a:lnTo>
                      <a:pt x="209" y="477"/>
                    </a:lnTo>
                    <a:lnTo>
                      <a:pt x="211" y="479"/>
                    </a:lnTo>
                    <a:lnTo>
                      <a:pt x="213" y="479"/>
                    </a:lnTo>
                    <a:lnTo>
                      <a:pt x="213" y="481"/>
                    </a:lnTo>
                    <a:lnTo>
                      <a:pt x="217" y="481"/>
                    </a:lnTo>
                    <a:lnTo>
                      <a:pt x="221" y="475"/>
                    </a:lnTo>
                    <a:lnTo>
                      <a:pt x="225" y="470"/>
                    </a:lnTo>
                    <a:lnTo>
                      <a:pt x="230" y="468"/>
                    </a:lnTo>
                    <a:lnTo>
                      <a:pt x="240" y="466"/>
                    </a:lnTo>
                    <a:lnTo>
                      <a:pt x="242" y="466"/>
                    </a:lnTo>
                    <a:lnTo>
                      <a:pt x="242" y="464"/>
                    </a:lnTo>
                    <a:lnTo>
                      <a:pt x="244" y="462"/>
                    </a:lnTo>
                    <a:lnTo>
                      <a:pt x="246" y="462"/>
                    </a:lnTo>
                    <a:lnTo>
                      <a:pt x="246" y="460"/>
                    </a:lnTo>
                    <a:lnTo>
                      <a:pt x="246" y="458"/>
                    </a:lnTo>
                    <a:lnTo>
                      <a:pt x="247" y="456"/>
                    </a:lnTo>
                    <a:lnTo>
                      <a:pt x="253" y="454"/>
                    </a:lnTo>
                    <a:lnTo>
                      <a:pt x="255" y="452"/>
                    </a:lnTo>
                    <a:lnTo>
                      <a:pt x="257" y="452"/>
                    </a:lnTo>
                    <a:lnTo>
                      <a:pt x="259" y="451"/>
                    </a:lnTo>
                    <a:lnTo>
                      <a:pt x="259" y="449"/>
                    </a:lnTo>
                    <a:lnTo>
                      <a:pt x="261" y="449"/>
                    </a:lnTo>
                    <a:lnTo>
                      <a:pt x="263" y="445"/>
                    </a:lnTo>
                    <a:lnTo>
                      <a:pt x="263" y="443"/>
                    </a:lnTo>
                    <a:lnTo>
                      <a:pt x="267" y="437"/>
                    </a:lnTo>
                    <a:lnTo>
                      <a:pt x="268" y="435"/>
                    </a:lnTo>
                    <a:lnTo>
                      <a:pt x="268" y="435"/>
                    </a:lnTo>
                    <a:lnTo>
                      <a:pt x="268" y="433"/>
                    </a:lnTo>
                    <a:lnTo>
                      <a:pt x="270" y="432"/>
                    </a:lnTo>
                    <a:lnTo>
                      <a:pt x="270" y="432"/>
                    </a:lnTo>
                    <a:lnTo>
                      <a:pt x="270" y="430"/>
                    </a:lnTo>
                    <a:lnTo>
                      <a:pt x="267" y="424"/>
                    </a:lnTo>
                    <a:lnTo>
                      <a:pt x="267" y="422"/>
                    </a:lnTo>
                    <a:lnTo>
                      <a:pt x="267" y="416"/>
                    </a:lnTo>
                    <a:lnTo>
                      <a:pt x="268" y="414"/>
                    </a:lnTo>
                    <a:lnTo>
                      <a:pt x="268" y="412"/>
                    </a:lnTo>
                    <a:lnTo>
                      <a:pt x="267" y="411"/>
                    </a:lnTo>
                    <a:lnTo>
                      <a:pt x="267" y="411"/>
                    </a:lnTo>
                    <a:lnTo>
                      <a:pt x="265" y="407"/>
                    </a:lnTo>
                    <a:lnTo>
                      <a:pt x="265" y="405"/>
                    </a:lnTo>
                    <a:lnTo>
                      <a:pt x="263" y="405"/>
                    </a:lnTo>
                    <a:lnTo>
                      <a:pt x="263" y="403"/>
                    </a:lnTo>
                    <a:lnTo>
                      <a:pt x="261" y="401"/>
                    </a:lnTo>
                    <a:lnTo>
                      <a:pt x="257" y="397"/>
                    </a:lnTo>
                    <a:lnTo>
                      <a:pt x="255" y="395"/>
                    </a:lnTo>
                    <a:lnTo>
                      <a:pt x="255" y="392"/>
                    </a:lnTo>
                    <a:lnTo>
                      <a:pt x="255" y="390"/>
                    </a:lnTo>
                    <a:lnTo>
                      <a:pt x="255" y="388"/>
                    </a:lnTo>
                    <a:lnTo>
                      <a:pt x="255" y="388"/>
                    </a:lnTo>
                    <a:lnTo>
                      <a:pt x="257" y="386"/>
                    </a:lnTo>
                    <a:lnTo>
                      <a:pt x="259" y="386"/>
                    </a:lnTo>
                    <a:lnTo>
                      <a:pt x="261" y="386"/>
                    </a:lnTo>
                    <a:lnTo>
                      <a:pt x="263" y="386"/>
                    </a:lnTo>
                    <a:lnTo>
                      <a:pt x="265" y="388"/>
                    </a:lnTo>
                    <a:lnTo>
                      <a:pt x="267" y="388"/>
                    </a:lnTo>
                    <a:lnTo>
                      <a:pt x="268" y="388"/>
                    </a:lnTo>
                    <a:lnTo>
                      <a:pt x="268" y="390"/>
                    </a:lnTo>
                    <a:lnTo>
                      <a:pt x="270" y="392"/>
                    </a:lnTo>
                    <a:lnTo>
                      <a:pt x="272" y="392"/>
                    </a:lnTo>
                    <a:lnTo>
                      <a:pt x="272" y="392"/>
                    </a:lnTo>
                    <a:lnTo>
                      <a:pt x="276" y="390"/>
                    </a:lnTo>
                    <a:lnTo>
                      <a:pt x="286" y="382"/>
                    </a:lnTo>
                    <a:lnTo>
                      <a:pt x="288" y="378"/>
                    </a:lnTo>
                    <a:lnTo>
                      <a:pt x="289" y="376"/>
                    </a:lnTo>
                    <a:lnTo>
                      <a:pt x="291" y="374"/>
                    </a:lnTo>
                    <a:lnTo>
                      <a:pt x="299" y="373"/>
                    </a:lnTo>
                    <a:lnTo>
                      <a:pt x="303" y="371"/>
                    </a:lnTo>
                    <a:lnTo>
                      <a:pt x="307" y="369"/>
                    </a:lnTo>
                    <a:lnTo>
                      <a:pt x="308" y="367"/>
                    </a:lnTo>
                    <a:lnTo>
                      <a:pt x="312" y="365"/>
                    </a:lnTo>
                    <a:lnTo>
                      <a:pt x="312" y="361"/>
                    </a:lnTo>
                    <a:lnTo>
                      <a:pt x="314" y="359"/>
                    </a:lnTo>
                    <a:lnTo>
                      <a:pt x="314" y="359"/>
                    </a:lnTo>
                    <a:lnTo>
                      <a:pt x="314" y="357"/>
                    </a:lnTo>
                    <a:lnTo>
                      <a:pt x="316" y="355"/>
                    </a:lnTo>
                    <a:lnTo>
                      <a:pt x="324" y="350"/>
                    </a:lnTo>
                    <a:lnTo>
                      <a:pt x="329" y="348"/>
                    </a:lnTo>
                    <a:lnTo>
                      <a:pt x="343" y="344"/>
                    </a:lnTo>
                    <a:lnTo>
                      <a:pt x="347" y="342"/>
                    </a:lnTo>
                    <a:lnTo>
                      <a:pt x="349" y="342"/>
                    </a:lnTo>
                    <a:lnTo>
                      <a:pt x="356" y="348"/>
                    </a:lnTo>
                    <a:lnTo>
                      <a:pt x="358" y="350"/>
                    </a:lnTo>
                    <a:lnTo>
                      <a:pt x="371" y="348"/>
                    </a:lnTo>
                    <a:lnTo>
                      <a:pt x="373" y="348"/>
                    </a:lnTo>
                    <a:lnTo>
                      <a:pt x="375" y="350"/>
                    </a:lnTo>
                    <a:lnTo>
                      <a:pt x="383" y="359"/>
                    </a:lnTo>
                    <a:lnTo>
                      <a:pt x="385" y="359"/>
                    </a:lnTo>
                    <a:lnTo>
                      <a:pt x="392" y="367"/>
                    </a:lnTo>
                    <a:lnTo>
                      <a:pt x="394" y="371"/>
                    </a:lnTo>
                    <a:lnTo>
                      <a:pt x="396" y="373"/>
                    </a:lnTo>
                    <a:lnTo>
                      <a:pt x="398" y="374"/>
                    </a:lnTo>
                    <a:lnTo>
                      <a:pt x="404" y="376"/>
                    </a:lnTo>
                    <a:lnTo>
                      <a:pt x="415" y="384"/>
                    </a:lnTo>
                    <a:lnTo>
                      <a:pt x="421" y="388"/>
                    </a:lnTo>
                    <a:lnTo>
                      <a:pt x="432" y="392"/>
                    </a:lnTo>
                    <a:lnTo>
                      <a:pt x="448" y="397"/>
                    </a:lnTo>
                    <a:lnTo>
                      <a:pt x="452" y="397"/>
                    </a:lnTo>
                    <a:lnTo>
                      <a:pt x="452" y="395"/>
                    </a:lnTo>
                    <a:lnTo>
                      <a:pt x="453" y="395"/>
                    </a:lnTo>
                    <a:lnTo>
                      <a:pt x="453" y="393"/>
                    </a:lnTo>
                    <a:lnTo>
                      <a:pt x="453" y="393"/>
                    </a:lnTo>
                    <a:lnTo>
                      <a:pt x="459" y="393"/>
                    </a:lnTo>
                    <a:lnTo>
                      <a:pt x="465" y="392"/>
                    </a:lnTo>
                    <a:lnTo>
                      <a:pt x="467" y="392"/>
                    </a:lnTo>
                    <a:lnTo>
                      <a:pt x="472" y="390"/>
                    </a:lnTo>
                    <a:lnTo>
                      <a:pt x="474" y="388"/>
                    </a:lnTo>
                    <a:lnTo>
                      <a:pt x="476" y="388"/>
                    </a:lnTo>
                    <a:lnTo>
                      <a:pt x="476" y="386"/>
                    </a:lnTo>
                    <a:lnTo>
                      <a:pt x="480" y="382"/>
                    </a:lnTo>
                    <a:lnTo>
                      <a:pt x="482" y="382"/>
                    </a:lnTo>
                    <a:lnTo>
                      <a:pt x="482" y="382"/>
                    </a:lnTo>
                    <a:lnTo>
                      <a:pt x="486" y="380"/>
                    </a:lnTo>
                    <a:lnTo>
                      <a:pt x="486" y="380"/>
                    </a:lnTo>
                    <a:lnTo>
                      <a:pt x="488" y="380"/>
                    </a:lnTo>
                    <a:lnTo>
                      <a:pt x="490" y="378"/>
                    </a:lnTo>
                    <a:lnTo>
                      <a:pt x="490" y="376"/>
                    </a:lnTo>
                    <a:lnTo>
                      <a:pt x="492" y="376"/>
                    </a:lnTo>
                    <a:lnTo>
                      <a:pt x="493" y="374"/>
                    </a:lnTo>
                    <a:lnTo>
                      <a:pt x="493" y="374"/>
                    </a:lnTo>
                    <a:lnTo>
                      <a:pt x="495" y="374"/>
                    </a:lnTo>
                    <a:lnTo>
                      <a:pt x="495" y="376"/>
                    </a:lnTo>
                    <a:lnTo>
                      <a:pt x="497" y="380"/>
                    </a:lnTo>
                    <a:lnTo>
                      <a:pt x="501" y="382"/>
                    </a:lnTo>
                    <a:lnTo>
                      <a:pt x="507" y="392"/>
                    </a:lnTo>
                    <a:lnTo>
                      <a:pt x="513" y="395"/>
                    </a:lnTo>
                    <a:lnTo>
                      <a:pt x="516" y="407"/>
                    </a:lnTo>
                    <a:lnTo>
                      <a:pt x="518" y="409"/>
                    </a:lnTo>
                    <a:lnTo>
                      <a:pt x="520" y="411"/>
                    </a:lnTo>
                    <a:lnTo>
                      <a:pt x="520" y="412"/>
                    </a:lnTo>
                    <a:lnTo>
                      <a:pt x="522" y="420"/>
                    </a:lnTo>
                    <a:lnTo>
                      <a:pt x="522" y="422"/>
                    </a:lnTo>
                    <a:lnTo>
                      <a:pt x="524" y="424"/>
                    </a:lnTo>
                    <a:lnTo>
                      <a:pt x="526" y="428"/>
                    </a:lnTo>
                    <a:lnTo>
                      <a:pt x="528" y="430"/>
                    </a:lnTo>
                    <a:lnTo>
                      <a:pt x="528" y="432"/>
                    </a:lnTo>
                    <a:lnTo>
                      <a:pt x="530" y="433"/>
                    </a:lnTo>
                    <a:lnTo>
                      <a:pt x="532" y="435"/>
                    </a:lnTo>
                    <a:lnTo>
                      <a:pt x="535" y="435"/>
                    </a:lnTo>
                    <a:lnTo>
                      <a:pt x="537" y="433"/>
                    </a:lnTo>
                    <a:lnTo>
                      <a:pt x="539" y="432"/>
                    </a:lnTo>
                    <a:lnTo>
                      <a:pt x="539" y="432"/>
                    </a:lnTo>
                    <a:lnTo>
                      <a:pt x="541" y="430"/>
                    </a:lnTo>
                    <a:lnTo>
                      <a:pt x="541" y="430"/>
                    </a:lnTo>
                    <a:lnTo>
                      <a:pt x="543" y="430"/>
                    </a:lnTo>
                    <a:lnTo>
                      <a:pt x="543" y="428"/>
                    </a:lnTo>
                    <a:lnTo>
                      <a:pt x="545" y="426"/>
                    </a:lnTo>
                    <a:lnTo>
                      <a:pt x="547" y="426"/>
                    </a:lnTo>
                    <a:lnTo>
                      <a:pt x="549" y="426"/>
                    </a:lnTo>
                    <a:lnTo>
                      <a:pt x="553" y="424"/>
                    </a:lnTo>
                    <a:lnTo>
                      <a:pt x="554" y="424"/>
                    </a:lnTo>
                    <a:lnTo>
                      <a:pt x="556" y="424"/>
                    </a:lnTo>
                    <a:lnTo>
                      <a:pt x="558" y="424"/>
                    </a:lnTo>
                    <a:lnTo>
                      <a:pt x="560" y="424"/>
                    </a:lnTo>
                    <a:lnTo>
                      <a:pt x="562" y="422"/>
                    </a:lnTo>
                    <a:lnTo>
                      <a:pt x="564" y="420"/>
                    </a:lnTo>
                    <a:lnTo>
                      <a:pt x="564" y="418"/>
                    </a:lnTo>
                    <a:lnTo>
                      <a:pt x="568" y="418"/>
                    </a:lnTo>
                    <a:lnTo>
                      <a:pt x="570" y="416"/>
                    </a:lnTo>
                    <a:lnTo>
                      <a:pt x="570" y="416"/>
                    </a:lnTo>
                    <a:lnTo>
                      <a:pt x="570" y="412"/>
                    </a:lnTo>
                    <a:lnTo>
                      <a:pt x="570" y="412"/>
                    </a:lnTo>
                    <a:lnTo>
                      <a:pt x="570" y="412"/>
                    </a:lnTo>
                    <a:lnTo>
                      <a:pt x="572" y="412"/>
                    </a:lnTo>
                    <a:lnTo>
                      <a:pt x="574" y="412"/>
                    </a:lnTo>
                    <a:lnTo>
                      <a:pt x="575" y="412"/>
                    </a:lnTo>
                    <a:lnTo>
                      <a:pt x="575" y="412"/>
                    </a:lnTo>
                    <a:lnTo>
                      <a:pt x="575" y="412"/>
                    </a:lnTo>
                    <a:lnTo>
                      <a:pt x="577" y="414"/>
                    </a:lnTo>
                    <a:lnTo>
                      <a:pt x="577" y="418"/>
                    </a:lnTo>
                    <a:lnTo>
                      <a:pt x="577" y="420"/>
                    </a:lnTo>
                    <a:lnTo>
                      <a:pt x="577" y="422"/>
                    </a:lnTo>
                    <a:lnTo>
                      <a:pt x="577" y="426"/>
                    </a:lnTo>
                    <a:lnTo>
                      <a:pt x="577" y="428"/>
                    </a:lnTo>
                    <a:lnTo>
                      <a:pt x="577" y="430"/>
                    </a:lnTo>
                    <a:lnTo>
                      <a:pt x="575" y="432"/>
                    </a:lnTo>
                    <a:lnTo>
                      <a:pt x="575" y="432"/>
                    </a:lnTo>
                    <a:lnTo>
                      <a:pt x="572" y="433"/>
                    </a:lnTo>
                    <a:lnTo>
                      <a:pt x="570" y="435"/>
                    </a:lnTo>
                    <a:lnTo>
                      <a:pt x="568" y="437"/>
                    </a:lnTo>
                    <a:lnTo>
                      <a:pt x="568" y="439"/>
                    </a:lnTo>
                    <a:lnTo>
                      <a:pt x="566" y="441"/>
                    </a:lnTo>
                    <a:lnTo>
                      <a:pt x="566" y="445"/>
                    </a:lnTo>
                    <a:lnTo>
                      <a:pt x="566" y="447"/>
                    </a:lnTo>
                    <a:lnTo>
                      <a:pt x="564" y="449"/>
                    </a:lnTo>
                    <a:lnTo>
                      <a:pt x="564" y="451"/>
                    </a:lnTo>
                    <a:lnTo>
                      <a:pt x="564" y="452"/>
                    </a:lnTo>
                    <a:lnTo>
                      <a:pt x="566" y="454"/>
                    </a:lnTo>
                    <a:lnTo>
                      <a:pt x="566" y="456"/>
                    </a:lnTo>
                    <a:lnTo>
                      <a:pt x="568" y="456"/>
                    </a:lnTo>
                    <a:lnTo>
                      <a:pt x="570" y="456"/>
                    </a:lnTo>
                    <a:lnTo>
                      <a:pt x="575" y="449"/>
                    </a:lnTo>
                    <a:lnTo>
                      <a:pt x="577" y="447"/>
                    </a:lnTo>
                    <a:lnTo>
                      <a:pt x="577" y="445"/>
                    </a:lnTo>
                    <a:lnTo>
                      <a:pt x="581" y="443"/>
                    </a:lnTo>
                    <a:lnTo>
                      <a:pt x="585" y="441"/>
                    </a:lnTo>
                    <a:lnTo>
                      <a:pt x="604" y="441"/>
                    </a:lnTo>
                    <a:lnTo>
                      <a:pt x="608" y="441"/>
                    </a:lnTo>
                    <a:lnTo>
                      <a:pt x="612" y="439"/>
                    </a:lnTo>
                    <a:lnTo>
                      <a:pt x="614" y="437"/>
                    </a:lnTo>
                    <a:lnTo>
                      <a:pt x="617" y="432"/>
                    </a:lnTo>
                    <a:lnTo>
                      <a:pt x="619" y="432"/>
                    </a:lnTo>
                    <a:lnTo>
                      <a:pt x="623" y="432"/>
                    </a:lnTo>
                    <a:lnTo>
                      <a:pt x="623" y="435"/>
                    </a:lnTo>
                    <a:lnTo>
                      <a:pt x="623" y="437"/>
                    </a:lnTo>
                    <a:lnTo>
                      <a:pt x="623" y="439"/>
                    </a:lnTo>
                    <a:lnTo>
                      <a:pt x="621" y="443"/>
                    </a:lnTo>
                    <a:lnTo>
                      <a:pt x="623" y="445"/>
                    </a:lnTo>
                    <a:lnTo>
                      <a:pt x="625" y="452"/>
                    </a:lnTo>
                    <a:lnTo>
                      <a:pt x="627" y="458"/>
                    </a:lnTo>
                    <a:lnTo>
                      <a:pt x="636" y="466"/>
                    </a:lnTo>
                    <a:lnTo>
                      <a:pt x="640" y="470"/>
                    </a:lnTo>
                    <a:lnTo>
                      <a:pt x="644" y="473"/>
                    </a:lnTo>
                    <a:lnTo>
                      <a:pt x="648" y="475"/>
                    </a:lnTo>
                    <a:lnTo>
                      <a:pt x="652" y="471"/>
                    </a:lnTo>
                    <a:lnTo>
                      <a:pt x="654" y="471"/>
                    </a:lnTo>
                    <a:lnTo>
                      <a:pt x="657" y="470"/>
                    </a:lnTo>
                    <a:lnTo>
                      <a:pt x="659" y="470"/>
                    </a:lnTo>
                    <a:lnTo>
                      <a:pt x="659" y="470"/>
                    </a:lnTo>
                    <a:lnTo>
                      <a:pt x="663" y="471"/>
                    </a:lnTo>
                    <a:lnTo>
                      <a:pt x="665" y="471"/>
                    </a:lnTo>
                    <a:lnTo>
                      <a:pt x="667" y="468"/>
                    </a:lnTo>
                    <a:lnTo>
                      <a:pt x="669" y="458"/>
                    </a:lnTo>
                    <a:lnTo>
                      <a:pt x="669" y="456"/>
                    </a:lnTo>
                    <a:lnTo>
                      <a:pt x="673" y="454"/>
                    </a:lnTo>
                    <a:lnTo>
                      <a:pt x="675" y="452"/>
                    </a:lnTo>
                    <a:lnTo>
                      <a:pt x="678" y="451"/>
                    </a:lnTo>
                    <a:lnTo>
                      <a:pt x="682" y="451"/>
                    </a:lnTo>
                    <a:lnTo>
                      <a:pt x="684" y="451"/>
                    </a:lnTo>
                    <a:lnTo>
                      <a:pt x="688" y="452"/>
                    </a:lnTo>
                    <a:lnTo>
                      <a:pt x="690" y="452"/>
                    </a:lnTo>
                    <a:lnTo>
                      <a:pt x="692" y="452"/>
                    </a:lnTo>
                    <a:lnTo>
                      <a:pt x="698" y="447"/>
                    </a:lnTo>
                    <a:lnTo>
                      <a:pt x="709" y="437"/>
                    </a:lnTo>
                    <a:lnTo>
                      <a:pt x="715" y="430"/>
                    </a:lnTo>
                    <a:lnTo>
                      <a:pt x="717" y="426"/>
                    </a:lnTo>
                    <a:lnTo>
                      <a:pt x="718" y="420"/>
                    </a:lnTo>
                    <a:lnTo>
                      <a:pt x="718" y="414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5" name="Freeform 27">
                <a:extLst>
                  <a:ext uri="{FF2B5EF4-FFF2-40B4-BE49-F238E27FC236}">
                    <a16:creationId xmlns:a16="http://schemas.microsoft.com/office/drawing/2014/main" id="{1EDF2093-90F8-4CCC-8474-8E12D917EB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2219" y="2370611"/>
                <a:ext cx="682625" cy="668338"/>
              </a:xfrm>
              <a:custGeom>
                <a:avLst/>
                <a:gdLst>
                  <a:gd name="T0" fmla="*/ 410 w 430"/>
                  <a:gd name="T1" fmla="*/ 287 h 421"/>
                  <a:gd name="T2" fmla="*/ 399 w 430"/>
                  <a:gd name="T3" fmla="*/ 270 h 421"/>
                  <a:gd name="T4" fmla="*/ 399 w 430"/>
                  <a:gd name="T5" fmla="*/ 232 h 421"/>
                  <a:gd name="T6" fmla="*/ 391 w 430"/>
                  <a:gd name="T7" fmla="*/ 223 h 421"/>
                  <a:gd name="T8" fmla="*/ 397 w 430"/>
                  <a:gd name="T9" fmla="*/ 188 h 421"/>
                  <a:gd name="T10" fmla="*/ 363 w 430"/>
                  <a:gd name="T11" fmla="*/ 150 h 421"/>
                  <a:gd name="T12" fmla="*/ 359 w 430"/>
                  <a:gd name="T13" fmla="*/ 126 h 421"/>
                  <a:gd name="T14" fmla="*/ 342 w 430"/>
                  <a:gd name="T15" fmla="*/ 114 h 421"/>
                  <a:gd name="T16" fmla="*/ 342 w 430"/>
                  <a:gd name="T17" fmla="*/ 97 h 421"/>
                  <a:gd name="T18" fmla="*/ 351 w 430"/>
                  <a:gd name="T19" fmla="*/ 80 h 421"/>
                  <a:gd name="T20" fmla="*/ 344 w 430"/>
                  <a:gd name="T21" fmla="*/ 70 h 421"/>
                  <a:gd name="T22" fmla="*/ 334 w 430"/>
                  <a:gd name="T23" fmla="*/ 82 h 421"/>
                  <a:gd name="T24" fmla="*/ 317 w 430"/>
                  <a:gd name="T25" fmla="*/ 88 h 421"/>
                  <a:gd name="T26" fmla="*/ 302 w 430"/>
                  <a:gd name="T27" fmla="*/ 90 h 421"/>
                  <a:gd name="T28" fmla="*/ 290 w 430"/>
                  <a:gd name="T29" fmla="*/ 65 h 421"/>
                  <a:gd name="T30" fmla="*/ 266 w 430"/>
                  <a:gd name="T31" fmla="*/ 34 h 421"/>
                  <a:gd name="T32" fmla="*/ 250 w 430"/>
                  <a:gd name="T33" fmla="*/ 44 h 421"/>
                  <a:gd name="T34" fmla="*/ 227 w 430"/>
                  <a:gd name="T35" fmla="*/ 53 h 421"/>
                  <a:gd name="T36" fmla="*/ 170 w 430"/>
                  <a:gd name="T37" fmla="*/ 31 h 421"/>
                  <a:gd name="T38" fmla="*/ 130 w 430"/>
                  <a:gd name="T39" fmla="*/ 6 h 421"/>
                  <a:gd name="T40" fmla="*/ 88 w 430"/>
                  <a:gd name="T41" fmla="*/ 17 h 421"/>
                  <a:gd name="T42" fmla="*/ 62 w 430"/>
                  <a:gd name="T43" fmla="*/ 36 h 421"/>
                  <a:gd name="T44" fmla="*/ 39 w 430"/>
                  <a:gd name="T45" fmla="*/ 46 h 421"/>
                  <a:gd name="T46" fmla="*/ 29 w 430"/>
                  <a:gd name="T47" fmla="*/ 53 h 421"/>
                  <a:gd name="T48" fmla="*/ 42 w 430"/>
                  <a:gd name="T49" fmla="*/ 70 h 421"/>
                  <a:gd name="T50" fmla="*/ 42 w 430"/>
                  <a:gd name="T51" fmla="*/ 93 h 421"/>
                  <a:gd name="T52" fmla="*/ 37 w 430"/>
                  <a:gd name="T53" fmla="*/ 110 h 421"/>
                  <a:gd name="T54" fmla="*/ 18 w 430"/>
                  <a:gd name="T55" fmla="*/ 143 h 421"/>
                  <a:gd name="T56" fmla="*/ 6 w 430"/>
                  <a:gd name="T57" fmla="*/ 156 h 421"/>
                  <a:gd name="T58" fmla="*/ 8 w 430"/>
                  <a:gd name="T59" fmla="*/ 160 h 421"/>
                  <a:gd name="T60" fmla="*/ 16 w 430"/>
                  <a:gd name="T61" fmla="*/ 175 h 421"/>
                  <a:gd name="T62" fmla="*/ 48 w 430"/>
                  <a:gd name="T63" fmla="*/ 207 h 421"/>
                  <a:gd name="T64" fmla="*/ 42 w 430"/>
                  <a:gd name="T65" fmla="*/ 211 h 421"/>
                  <a:gd name="T66" fmla="*/ 81 w 430"/>
                  <a:gd name="T67" fmla="*/ 284 h 421"/>
                  <a:gd name="T68" fmla="*/ 90 w 430"/>
                  <a:gd name="T69" fmla="*/ 280 h 421"/>
                  <a:gd name="T70" fmla="*/ 98 w 430"/>
                  <a:gd name="T71" fmla="*/ 268 h 421"/>
                  <a:gd name="T72" fmla="*/ 111 w 430"/>
                  <a:gd name="T73" fmla="*/ 285 h 421"/>
                  <a:gd name="T74" fmla="*/ 117 w 430"/>
                  <a:gd name="T75" fmla="*/ 287 h 421"/>
                  <a:gd name="T76" fmla="*/ 123 w 430"/>
                  <a:gd name="T77" fmla="*/ 293 h 421"/>
                  <a:gd name="T78" fmla="*/ 126 w 430"/>
                  <a:gd name="T79" fmla="*/ 297 h 421"/>
                  <a:gd name="T80" fmla="*/ 128 w 430"/>
                  <a:gd name="T81" fmla="*/ 305 h 421"/>
                  <a:gd name="T82" fmla="*/ 128 w 430"/>
                  <a:gd name="T83" fmla="*/ 324 h 421"/>
                  <a:gd name="T84" fmla="*/ 151 w 430"/>
                  <a:gd name="T85" fmla="*/ 343 h 421"/>
                  <a:gd name="T86" fmla="*/ 161 w 430"/>
                  <a:gd name="T87" fmla="*/ 346 h 421"/>
                  <a:gd name="T88" fmla="*/ 172 w 430"/>
                  <a:gd name="T89" fmla="*/ 356 h 421"/>
                  <a:gd name="T90" fmla="*/ 184 w 430"/>
                  <a:gd name="T91" fmla="*/ 365 h 421"/>
                  <a:gd name="T92" fmla="*/ 197 w 430"/>
                  <a:gd name="T93" fmla="*/ 390 h 421"/>
                  <a:gd name="T94" fmla="*/ 205 w 430"/>
                  <a:gd name="T95" fmla="*/ 407 h 421"/>
                  <a:gd name="T96" fmla="*/ 226 w 430"/>
                  <a:gd name="T97" fmla="*/ 413 h 421"/>
                  <a:gd name="T98" fmla="*/ 233 w 430"/>
                  <a:gd name="T99" fmla="*/ 415 h 421"/>
                  <a:gd name="T100" fmla="*/ 250 w 430"/>
                  <a:gd name="T101" fmla="*/ 419 h 421"/>
                  <a:gd name="T102" fmla="*/ 275 w 430"/>
                  <a:gd name="T103" fmla="*/ 403 h 421"/>
                  <a:gd name="T104" fmla="*/ 277 w 430"/>
                  <a:gd name="T105" fmla="*/ 396 h 421"/>
                  <a:gd name="T106" fmla="*/ 273 w 430"/>
                  <a:gd name="T107" fmla="*/ 379 h 421"/>
                  <a:gd name="T108" fmla="*/ 271 w 430"/>
                  <a:gd name="T109" fmla="*/ 350 h 421"/>
                  <a:gd name="T110" fmla="*/ 277 w 430"/>
                  <a:gd name="T111" fmla="*/ 339 h 421"/>
                  <a:gd name="T112" fmla="*/ 277 w 430"/>
                  <a:gd name="T113" fmla="*/ 333 h 421"/>
                  <a:gd name="T114" fmla="*/ 294 w 430"/>
                  <a:gd name="T115" fmla="*/ 306 h 421"/>
                  <a:gd name="T116" fmla="*/ 327 w 430"/>
                  <a:gd name="T117" fmla="*/ 295 h 421"/>
                  <a:gd name="T118" fmla="*/ 353 w 430"/>
                  <a:gd name="T119" fmla="*/ 291 h 421"/>
                  <a:gd name="T120" fmla="*/ 369 w 430"/>
                  <a:gd name="T121" fmla="*/ 299 h 421"/>
                  <a:gd name="T122" fmla="*/ 395 w 430"/>
                  <a:gd name="T123" fmla="*/ 299 h 421"/>
                  <a:gd name="T124" fmla="*/ 420 w 430"/>
                  <a:gd name="T125" fmla="*/ 314 h 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0" h="421">
                    <a:moveTo>
                      <a:pt x="428" y="306"/>
                    </a:moveTo>
                    <a:lnTo>
                      <a:pt x="424" y="301"/>
                    </a:lnTo>
                    <a:lnTo>
                      <a:pt x="422" y="295"/>
                    </a:lnTo>
                    <a:lnTo>
                      <a:pt x="418" y="291"/>
                    </a:lnTo>
                    <a:lnTo>
                      <a:pt x="416" y="289"/>
                    </a:lnTo>
                    <a:lnTo>
                      <a:pt x="414" y="287"/>
                    </a:lnTo>
                    <a:lnTo>
                      <a:pt x="414" y="287"/>
                    </a:lnTo>
                    <a:lnTo>
                      <a:pt x="412" y="287"/>
                    </a:lnTo>
                    <a:lnTo>
                      <a:pt x="410" y="287"/>
                    </a:lnTo>
                    <a:lnTo>
                      <a:pt x="407" y="287"/>
                    </a:lnTo>
                    <a:lnTo>
                      <a:pt x="403" y="287"/>
                    </a:lnTo>
                    <a:lnTo>
                      <a:pt x="403" y="287"/>
                    </a:lnTo>
                    <a:lnTo>
                      <a:pt x="399" y="285"/>
                    </a:lnTo>
                    <a:lnTo>
                      <a:pt x="397" y="285"/>
                    </a:lnTo>
                    <a:lnTo>
                      <a:pt x="397" y="284"/>
                    </a:lnTo>
                    <a:lnTo>
                      <a:pt x="397" y="282"/>
                    </a:lnTo>
                    <a:lnTo>
                      <a:pt x="397" y="276"/>
                    </a:lnTo>
                    <a:lnTo>
                      <a:pt x="399" y="270"/>
                    </a:lnTo>
                    <a:lnTo>
                      <a:pt x="399" y="265"/>
                    </a:lnTo>
                    <a:lnTo>
                      <a:pt x="395" y="263"/>
                    </a:lnTo>
                    <a:lnTo>
                      <a:pt x="391" y="259"/>
                    </a:lnTo>
                    <a:lnTo>
                      <a:pt x="391" y="255"/>
                    </a:lnTo>
                    <a:lnTo>
                      <a:pt x="403" y="246"/>
                    </a:lnTo>
                    <a:lnTo>
                      <a:pt x="407" y="244"/>
                    </a:lnTo>
                    <a:lnTo>
                      <a:pt x="407" y="242"/>
                    </a:lnTo>
                    <a:lnTo>
                      <a:pt x="403" y="238"/>
                    </a:lnTo>
                    <a:lnTo>
                      <a:pt x="399" y="232"/>
                    </a:lnTo>
                    <a:lnTo>
                      <a:pt x="397" y="232"/>
                    </a:lnTo>
                    <a:lnTo>
                      <a:pt x="395" y="232"/>
                    </a:lnTo>
                    <a:lnTo>
                      <a:pt x="395" y="232"/>
                    </a:lnTo>
                    <a:lnTo>
                      <a:pt x="393" y="230"/>
                    </a:lnTo>
                    <a:lnTo>
                      <a:pt x="393" y="228"/>
                    </a:lnTo>
                    <a:lnTo>
                      <a:pt x="391" y="227"/>
                    </a:lnTo>
                    <a:lnTo>
                      <a:pt x="391" y="225"/>
                    </a:lnTo>
                    <a:lnTo>
                      <a:pt x="391" y="225"/>
                    </a:lnTo>
                    <a:lnTo>
                      <a:pt x="391" y="223"/>
                    </a:lnTo>
                    <a:lnTo>
                      <a:pt x="391" y="221"/>
                    </a:lnTo>
                    <a:lnTo>
                      <a:pt x="388" y="217"/>
                    </a:lnTo>
                    <a:lnTo>
                      <a:pt x="388" y="215"/>
                    </a:lnTo>
                    <a:lnTo>
                      <a:pt x="391" y="209"/>
                    </a:lnTo>
                    <a:lnTo>
                      <a:pt x="393" y="207"/>
                    </a:lnTo>
                    <a:lnTo>
                      <a:pt x="393" y="202"/>
                    </a:lnTo>
                    <a:lnTo>
                      <a:pt x="393" y="198"/>
                    </a:lnTo>
                    <a:lnTo>
                      <a:pt x="397" y="192"/>
                    </a:lnTo>
                    <a:lnTo>
                      <a:pt x="397" y="188"/>
                    </a:lnTo>
                    <a:lnTo>
                      <a:pt x="395" y="187"/>
                    </a:lnTo>
                    <a:lnTo>
                      <a:pt x="395" y="185"/>
                    </a:lnTo>
                    <a:lnTo>
                      <a:pt x="390" y="181"/>
                    </a:lnTo>
                    <a:lnTo>
                      <a:pt x="386" y="179"/>
                    </a:lnTo>
                    <a:lnTo>
                      <a:pt x="372" y="162"/>
                    </a:lnTo>
                    <a:lnTo>
                      <a:pt x="370" y="156"/>
                    </a:lnTo>
                    <a:lnTo>
                      <a:pt x="369" y="152"/>
                    </a:lnTo>
                    <a:lnTo>
                      <a:pt x="363" y="150"/>
                    </a:lnTo>
                    <a:lnTo>
                      <a:pt x="363" y="150"/>
                    </a:lnTo>
                    <a:lnTo>
                      <a:pt x="363" y="150"/>
                    </a:lnTo>
                    <a:lnTo>
                      <a:pt x="361" y="150"/>
                    </a:lnTo>
                    <a:lnTo>
                      <a:pt x="361" y="149"/>
                    </a:lnTo>
                    <a:lnTo>
                      <a:pt x="361" y="145"/>
                    </a:lnTo>
                    <a:lnTo>
                      <a:pt x="361" y="143"/>
                    </a:lnTo>
                    <a:lnTo>
                      <a:pt x="359" y="128"/>
                    </a:lnTo>
                    <a:lnTo>
                      <a:pt x="359" y="128"/>
                    </a:lnTo>
                    <a:lnTo>
                      <a:pt x="359" y="128"/>
                    </a:lnTo>
                    <a:lnTo>
                      <a:pt x="359" y="126"/>
                    </a:lnTo>
                    <a:lnTo>
                      <a:pt x="359" y="124"/>
                    </a:lnTo>
                    <a:lnTo>
                      <a:pt x="361" y="124"/>
                    </a:lnTo>
                    <a:lnTo>
                      <a:pt x="361" y="122"/>
                    </a:lnTo>
                    <a:lnTo>
                      <a:pt x="361" y="120"/>
                    </a:lnTo>
                    <a:lnTo>
                      <a:pt x="355" y="112"/>
                    </a:lnTo>
                    <a:lnTo>
                      <a:pt x="351" y="105"/>
                    </a:lnTo>
                    <a:lnTo>
                      <a:pt x="349" y="107"/>
                    </a:lnTo>
                    <a:lnTo>
                      <a:pt x="344" y="114"/>
                    </a:lnTo>
                    <a:lnTo>
                      <a:pt x="342" y="114"/>
                    </a:lnTo>
                    <a:lnTo>
                      <a:pt x="340" y="114"/>
                    </a:lnTo>
                    <a:lnTo>
                      <a:pt x="340" y="112"/>
                    </a:lnTo>
                    <a:lnTo>
                      <a:pt x="338" y="110"/>
                    </a:lnTo>
                    <a:lnTo>
                      <a:pt x="338" y="109"/>
                    </a:lnTo>
                    <a:lnTo>
                      <a:pt x="338" y="107"/>
                    </a:lnTo>
                    <a:lnTo>
                      <a:pt x="340" y="105"/>
                    </a:lnTo>
                    <a:lnTo>
                      <a:pt x="340" y="103"/>
                    </a:lnTo>
                    <a:lnTo>
                      <a:pt x="340" y="99"/>
                    </a:lnTo>
                    <a:lnTo>
                      <a:pt x="342" y="97"/>
                    </a:lnTo>
                    <a:lnTo>
                      <a:pt x="342" y="95"/>
                    </a:lnTo>
                    <a:lnTo>
                      <a:pt x="344" y="93"/>
                    </a:lnTo>
                    <a:lnTo>
                      <a:pt x="346" y="91"/>
                    </a:lnTo>
                    <a:lnTo>
                      <a:pt x="349" y="90"/>
                    </a:lnTo>
                    <a:lnTo>
                      <a:pt x="349" y="90"/>
                    </a:lnTo>
                    <a:lnTo>
                      <a:pt x="351" y="88"/>
                    </a:lnTo>
                    <a:lnTo>
                      <a:pt x="351" y="86"/>
                    </a:lnTo>
                    <a:lnTo>
                      <a:pt x="351" y="84"/>
                    </a:lnTo>
                    <a:lnTo>
                      <a:pt x="351" y="80"/>
                    </a:lnTo>
                    <a:lnTo>
                      <a:pt x="351" y="78"/>
                    </a:lnTo>
                    <a:lnTo>
                      <a:pt x="351" y="76"/>
                    </a:lnTo>
                    <a:lnTo>
                      <a:pt x="351" y="72"/>
                    </a:lnTo>
                    <a:lnTo>
                      <a:pt x="349" y="70"/>
                    </a:lnTo>
                    <a:lnTo>
                      <a:pt x="349" y="70"/>
                    </a:lnTo>
                    <a:lnTo>
                      <a:pt x="349" y="70"/>
                    </a:lnTo>
                    <a:lnTo>
                      <a:pt x="348" y="70"/>
                    </a:lnTo>
                    <a:lnTo>
                      <a:pt x="346" y="70"/>
                    </a:lnTo>
                    <a:lnTo>
                      <a:pt x="344" y="70"/>
                    </a:lnTo>
                    <a:lnTo>
                      <a:pt x="344" y="70"/>
                    </a:lnTo>
                    <a:lnTo>
                      <a:pt x="344" y="70"/>
                    </a:lnTo>
                    <a:lnTo>
                      <a:pt x="344" y="74"/>
                    </a:lnTo>
                    <a:lnTo>
                      <a:pt x="344" y="74"/>
                    </a:ln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8"/>
                    </a:lnTo>
                    <a:lnTo>
                      <a:pt x="336" y="80"/>
                    </a:lnTo>
                    <a:lnTo>
                      <a:pt x="334" y="82"/>
                    </a:lnTo>
                    <a:lnTo>
                      <a:pt x="332" y="82"/>
                    </a:lnTo>
                    <a:lnTo>
                      <a:pt x="330" y="82"/>
                    </a:lnTo>
                    <a:lnTo>
                      <a:pt x="328" y="82"/>
                    </a:lnTo>
                    <a:lnTo>
                      <a:pt x="327" y="82"/>
                    </a:lnTo>
                    <a:lnTo>
                      <a:pt x="323" y="84"/>
                    </a:lnTo>
                    <a:lnTo>
                      <a:pt x="321" y="84"/>
                    </a:lnTo>
                    <a:lnTo>
                      <a:pt x="319" y="84"/>
                    </a:lnTo>
                    <a:lnTo>
                      <a:pt x="317" y="86"/>
                    </a:lnTo>
                    <a:lnTo>
                      <a:pt x="317" y="88"/>
                    </a:lnTo>
                    <a:lnTo>
                      <a:pt x="315" y="88"/>
                    </a:lnTo>
                    <a:lnTo>
                      <a:pt x="315" y="88"/>
                    </a:lnTo>
                    <a:lnTo>
                      <a:pt x="313" y="90"/>
                    </a:lnTo>
                    <a:lnTo>
                      <a:pt x="313" y="90"/>
                    </a:lnTo>
                    <a:lnTo>
                      <a:pt x="311" y="91"/>
                    </a:lnTo>
                    <a:lnTo>
                      <a:pt x="309" y="93"/>
                    </a:lnTo>
                    <a:lnTo>
                      <a:pt x="306" y="93"/>
                    </a:lnTo>
                    <a:lnTo>
                      <a:pt x="304" y="91"/>
                    </a:lnTo>
                    <a:lnTo>
                      <a:pt x="302" y="90"/>
                    </a:lnTo>
                    <a:lnTo>
                      <a:pt x="302" y="88"/>
                    </a:lnTo>
                    <a:lnTo>
                      <a:pt x="300" y="86"/>
                    </a:lnTo>
                    <a:lnTo>
                      <a:pt x="298" y="82"/>
                    </a:lnTo>
                    <a:lnTo>
                      <a:pt x="296" y="80"/>
                    </a:lnTo>
                    <a:lnTo>
                      <a:pt x="296" y="78"/>
                    </a:lnTo>
                    <a:lnTo>
                      <a:pt x="294" y="70"/>
                    </a:lnTo>
                    <a:lnTo>
                      <a:pt x="294" y="69"/>
                    </a:lnTo>
                    <a:lnTo>
                      <a:pt x="292" y="67"/>
                    </a:lnTo>
                    <a:lnTo>
                      <a:pt x="290" y="65"/>
                    </a:lnTo>
                    <a:lnTo>
                      <a:pt x="287" y="53"/>
                    </a:lnTo>
                    <a:lnTo>
                      <a:pt x="281" y="50"/>
                    </a:lnTo>
                    <a:lnTo>
                      <a:pt x="275" y="40"/>
                    </a:lnTo>
                    <a:lnTo>
                      <a:pt x="271" y="38"/>
                    </a:lnTo>
                    <a:lnTo>
                      <a:pt x="269" y="34"/>
                    </a:lnTo>
                    <a:lnTo>
                      <a:pt x="269" y="32"/>
                    </a:lnTo>
                    <a:lnTo>
                      <a:pt x="267" y="32"/>
                    </a:lnTo>
                    <a:lnTo>
                      <a:pt x="267" y="32"/>
                    </a:lnTo>
                    <a:lnTo>
                      <a:pt x="266" y="34"/>
                    </a:lnTo>
                    <a:lnTo>
                      <a:pt x="264" y="34"/>
                    </a:lnTo>
                    <a:lnTo>
                      <a:pt x="264" y="36"/>
                    </a:lnTo>
                    <a:lnTo>
                      <a:pt x="262" y="38"/>
                    </a:lnTo>
                    <a:lnTo>
                      <a:pt x="260" y="38"/>
                    </a:lnTo>
                    <a:lnTo>
                      <a:pt x="260" y="38"/>
                    </a:lnTo>
                    <a:lnTo>
                      <a:pt x="256" y="40"/>
                    </a:lnTo>
                    <a:lnTo>
                      <a:pt x="256" y="40"/>
                    </a:lnTo>
                    <a:lnTo>
                      <a:pt x="254" y="40"/>
                    </a:lnTo>
                    <a:lnTo>
                      <a:pt x="250" y="44"/>
                    </a:lnTo>
                    <a:lnTo>
                      <a:pt x="250" y="46"/>
                    </a:lnTo>
                    <a:lnTo>
                      <a:pt x="248" y="46"/>
                    </a:lnTo>
                    <a:lnTo>
                      <a:pt x="246" y="48"/>
                    </a:lnTo>
                    <a:lnTo>
                      <a:pt x="241" y="50"/>
                    </a:lnTo>
                    <a:lnTo>
                      <a:pt x="239" y="50"/>
                    </a:lnTo>
                    <a:lnTo>
                      <a:pt x="233" y="51"/>
                    </a:lnTo>
                    <a:lnTo>
                      <a:pt x="227" y="51"/>
                    </a:lnTo>
                    <a:lnTo>
                      <a:pt x="227" y="51"/>
                    </a:lnTo>
                    <a:lnTo>
                      <a:pt x="227" y="53"/>
                    </a:lnTo>
                    <a:lnTo>
                      <a:pt x="226" y="53"/>
                    </a:lnTo>
                    <a:lnTo>
                      <a:pt x="226" y="55"/>
                    </a:lnTo>
                    <a:lnTo>
                      <a:pt x="222" y="55"/>
                    </a:lnTo>
                    <a:lnTo>
                      <a:pt x="206" y="50"/>
                    </a:lnTo>
                    <a:lnTo>
                      <a:pt x="195" y="46"/>
                    </a:lnTo>
                    <a:lnTo>
                      <a:pt x="189" y="42"/>
                    </a:lnTo>
                    <a:lnTo>
                      <a:pt x="178" y="34"/>
                    </a:lnTo>
                    <a:lnTo>
                      <a:pt x="172" y="32"/>
                    </a:lnTo>
                    <a:lnTo>
                      <a:pt x="170" y="31"/>
                    </a:lnTo>
                    <a:lnTo>
                      <a:pt x="168" y="29"/>
                    </a:lnTo>
                    <a:lnTo>
                      <a:pt x="166" y="25"/>
                    </a:lnTo>
                    <a:lnTo>
                      <a:pt x="159" y="17"/>
                    </a:lnTo>
                    <a:lnTo>
                      <a:pt x="157" y="17"/>
                    </a:lnTo>
                    <a:lnTo>
                      <a:pt x="149" y="8"/>
                    </a:lnTo>
                    <a:lnTo>
                      <a:pt x="147" y="6"/>
                    </a:lnTo>
                    <a:lnTo>
                      <a:pt x="145" y="6"/>
                    </a:lnTo>
                    <a:lnTo>
                      <a:pt x="132" y="8"/>
                    </a:lnTo>
                    <a:lnTo>
                      <a:pt x="130" y="6"/>
                    </a:lnTo>
                    <a:lnTo>
                      <a:pt x="123" y="0"/>
                    </a:lnTo>
                    <a:lnTo>
                      <a:pt x="121" y="0"/>
                    </a:lnTo>
                    <a:lnTo>
                      <a:pt x="117" y="2"/>
                    </a:lnTo>
                    <a:lnTo>
                      <a:pt x="103" y="6"/>
                    </a:lnTo>
                    <a:lnTo>
                      <a:pt x="98" y="8"/>
                    </a:lnTo>
                    <a:lnTo>
                      <a:pt x="90" y="13"/>
                    </a:lnTo>
                    <a:lnTo>
                      <a:pt x="88" y="15"/>
                    </a:lnTo>
                    <a:lnTo>
                      <a:pt x="88" y="17"/>
                    </a:lnTo>
                    <a:lnTo>
                      <a:pt x="88" y="17"/>
                    </a:lnTo>
                    <a:lnTo>
                      <a:pt x="86" y="19"/>
                    </a:lnTo>
                    <a:lnTo>
                      <a:pt x="86" y="23"/>
                    </a:lnTo>
                    <a:lnTo>
                      <a:pt x="82" y="25"/>
                    </a:lnTo>
                    <a:lnTo>
                      <a:pt x="81" y="27"/>
                    </a:lnTo>
                    <a:lnTo>
                      <a:pt x="77" y="29"/>
                    </a:lnTo>
                    <a:lnTo>
                      <a:pt x="73" y="31"/>
                    </a:lnTo>
                    <a:lnTo>
                      <a:pt x="65" y="32"/>
                    </a:lnTo>
                    <a:lnTo>
                      <a:pt x="63" y="34"/>
                    </a:lnTo>
                    <a:lnTo>
                      <a:pt x="62" y="36"/>
                    </a:lnTo>
                    <a:lnTo>
                      <a:pt x="60" y="40"/>
                    </a:lnTo>
                    <a:lnTo>
                      <a:pt x="50" y="48"/>
                    </a:lnTo>
                    <a:lnTo>
                      <a:pt x="46" y="50"/>
                    </a:lnTo>
                    <a:lnTo>
                      <a:pt x="46" y="50"/>
                    </a:lnTo>
                    <a:lnTo>
                      <a:pt x="44" y="50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41" y="46"/>
                    </a:lnTo>
                    <a:lnTo>
                      <a:pt x="39" y="46"/>
                    </a:lnTo>
                    <a:lnTo>
                      <a:pt x="37" y="44"/>
                    </a:lnTo>
                    <a:lnTo>
                      <a:pt x="35" y="44"/>
                    </a:lnTo>
                    <a:lnTo>
                      <a:pt x="33" y="44"/>
                    </a:lnTo>
                    <a:lnTo>
                      <a:pt x="31" y="44"/>
                    </a:lnTo>
                    <a:lnTo>
                      <a:pt x="29" y="46"/>
                    </a:lnTo>
                    <a:lnTo>
                      <a:pt x="29" y="46"/>
                    </a:lnTo>
                    <a:lnTo>
                      <a:pt x="29" y="48"/>
                    </a:lnTo>
                    <a:lnTo>
                      <a:pt x="29" y="50"/>
                    </a:lnTo>
                    <a:lnTo>
                      <a:pt x="29" y="53"/>
                    </a:lnTo>
                    <a:lnTo>
                      <a:pt x="31" y="55"/>
                    </a:lnTo>
                    <a:lnTo>
                      <a:pt x="35" y="59"/>
                    </a:lnTo>
                    <a:lnTo>
                      <a:pt x="37" y="61"/>
                    </a:lnTo>
                    <a:lnTo>
                      <a:pt x="37" y="63"/>
                    </a:lnTo>
                    <a:lnTo>
                      <a:pt x="39" y="63"/>
                    </a:lnTo>
                    <a:lnTo>
                      <a:pt x="39" y="65"/>
                    </a:lnTo>
                    <a:lnTo>
                      <a:pt x="41" y="69"/>
                    </a:lnTo>
                    <a:lnTo>
                      <a:pt x="41" y="69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1" y="74"/>
                    </a:lnTo>
                    <a:lnTo>
                      <a:pt x="41" y="80"/>
                    </a:lnTo>
                    <a:lnTo>
                      <a:pt x="41" y="82"/>
                    </a:lnTo>
                    <a:lnTo>
                      <a:pt x="44" y="88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2" y="91"/>
                    </a:lnTo>
                    <a:lnTo>
                      <a:pt x="42" y="93"/>
                    </a:lnTo>
                    <a:lnTo>
                      <a:pt x="42" y="93"/>
                    </a:lnTo>
                    <a:lnTo>
                      <a:pt x="41" y="95"/>
                    </a:lnTo>
                    <a:lnTo>
                      <a:pt x="37" y="101"/>
                    </a:lnTo>
                    <a:lnTo>
                      <a:pt x="37" y="103"/>
                    </a:lnTo>
                    <a:lnTo>
                      <a:pt x="35" y="107"/>
                    </a:lnTo>
                    <a:lnTo>
                      <a:pt x="33" y="107"/>
                    </a:lnTo>
                    <a:lnTo>
                      <a:pt x="35" y="107"/>
                    </a:lnTo>
                    <a:lnTo>
                      <a:pt x="37" y="109"/>
                    </a:lnTo>
                    <a:lnTo>
                      <a:pt x="37" y="110"/>
                    </a:lnTo>
                    <a:lnTo>
                      <a:pt x="42" y="120"/>
                    </a:lnTo>
                    <a:lnTo>
                      <a:pt x="42" y="120"/>
                    </a:lnTo>
                    <a:lnTo>
                      <a:pt x="42" y="122"/>
                    </a:lnTo>
                    <a:lnTo>
                      <a:pt x="41" y="122"/>
                    </a:lnTo>
                    <a:lnTo>
                      <a:pt x="35" y="126"/>
                    </a:lnTo>
                    <a:lnTo>
                      <a:pt x="25" y="133"/>
                    </a:lnTo>
                    <a:lnTo>
                      <a:pt x="21" y="139"/>
                    </a:lnTo>
                    <a:lnTo>
                      <a:pt x="20" y="141"/>
                    </a:lnTo>
                    <a:lnTo>
                      <a:pt x="18" y="143"/>
                    </a:lnTo>
                    <a:lnTo>
                      <a:pt x="14" y="143"/>
                    </a:lnTo>
                    <a:lnTo>
                      <a:pt x="6" y="145"/>
                    </a:lnTo>
                    <a:lnTo>
                      <a:pt x="4" y="147"/>
                    </a:lnTo>
                    <a:lnTo>
                      <a:pt x="4" y="147"/>
                    </a:lnTo>
                    <a:lnTo>
                      <a:pt x="4" y="149"/>
                    </a:lnTo>
                    <a:lnTo>
                      <a:pt x="4" y="150"/>
                    </a:lnTo>
                    <a:lnTo>
                      <a:pt x="4" y="152"/>
                    </a:lnTo>
                    <a:lnTo>
                      <a:pt x="4" y="154"/>
                    </a:lnTo>
                    <a:lnTo>
                      <a:pt x="6" y="156"/>
                    </a:lnTo>
                    <a:lnTo>
                      <a:pt x="6" y="156"/>
                    </a:lnTo>
                    <a:lnTo>
                      <a:pt x="8" y="154"/>
                    </a:lnTo>
                    <a:lnTo>
                      <a:pt x="8" y="154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4"/>
                    </a:lnTo>
                    <a:lnTo>
                      <a:pt x="10" y="156"/>
                    </a:lnTo>
                    <a:lnTo>
                      <a:pt x="10" y="158"/>
                    </a:lnTo>
                    <a:lnTo>
                      <a:pt x="8" y="160"/>
                    </a:lnTo>
                    <a:lnTo>
                      <a:pt x="8" y="162"/>
                    </a:lnTo>
                    <a:lnTo>
                      <a:pt x="0" y="169"/>
                    </a:lnTo>
                    <a:lnTo>
                      <a:pt x="0" y="171"/>
                    </a:lnTo>
                    <a:lnTo>
                      <a:pt x="0" y="173"/>
                    </a:lnTo>
                    <a:lnTo>
                      <a:pt x="2" y="173"/>
                    </a:lnTo>
                    <a:lnTo>
                      <a:pt x="2" y="173"/>
                    </a:lnTo>
                    <a:lnTo>
                      <a:pt x="10" y="175"/>
                    </a:lnTo>
                    <a:lnTo>
                      <a:pt x="14" y="175"/>
                    </a:lnTo>
                    <a:lnTo>
                      <a:pt x="16" y="175"/>
                    </a:lnTo>
                    <a:lnTo>
                      <a:pt x="16" y="177"/>
                    </a:lnTo>
                    <a:lnTo>
                      <a:pt x="21" y="179"/>
                    </a:lnTo>
                    <a:lnTo>
                      <a:pt x="27" y="183"/>
                    </a:lnTo>
                    <a:lnTo>
                      <a:pt x="35" y="187"/>
                    </a:lnTo>
                    <a:lnTo>
                      <a:pt x="39" y="188"/>
                    </a:lnTo>
                    <a:lnTo>
                      <a:pt x="39" y="190"/>
                    </a:lnTo>
                    <a:lnTo>
                      <a:pt x="44" y="198"/>
                    </a:lnTo>
                    <a:lnTo>
                      <a:pt x="48" y="206"/>
                    </a:lnTo>
                    <a:lnTo>
                      <a:pt x="48" y="207"/>
                    </a:lnTo>
                    <a:lnTo>
                      <a:pt x="48" y="207"/>
                    </a:lnTo>
                    <a:lnTo>
                      <a:pt x="48" y="209"/>
                    </a:lnTo>
                    <a:lnTo>
                      <a:pt x="48" y="209"/>
                    </a:lnTo>
                    <a:lnTo>
                      <a:pt x="46" y="207"/>
                    </a:lnTo>
                    <a:lnTo>
                      <a:pt x="44" y="207"/>
                    </a:lnTo>
                    <a:lnTo>
                      <a:pt x="44" y="209"/>
                    </a:lnTo>
                    <a:lnTo>
                      <a:pt x="42" y="209"/>
                    </a:lnTo>
                    <a:lnTo>
                      <a:pt x="42" y="211"/>
                    </a:lnTo>
                    <a:lnTo>
                      <a:pt x="42" y="211"/>
                    </a:lnTo>
                    <a:lnTo>
                      <a:pt x="46" y="217"/>
                    </a:lnTo>
                    <a:lnTo>
                      <a:pt x="62" y="247"/>
                    </a:lnTo>
                    <a:lnTo>
                      <a:pt x="69" y="268"/>
                    </a:lnTo>
                    <a:lnTo>
                      <a:pt x="71" y="276"/>
                    </a:lnTo>
                    <a:lnTo>
                      <a:pt x="71" y="278"/>
                    </a:lnTo>
                    <a:lnTo>
                      <a:pt x="73" y="282"/>
                    </a:lnTo>
                    <a:lnTo>
                      <a:pt x="75" y="284"/>
                    </a:lnTo>
                    <a:lnTo>
                      <a:pt x="79" y="285"/>
                    </a:lnTo>
                    <a:lnTo>
                      <a:pt x="81" y="284"/>
                    </a:lnTo>
                    <a:lnTo>
                      <a:pt x="82" y="284"/>
                    </a:lnTo>
                    <a:lnTo>
                      <a:pt x="82" y="284"/>
                    </a:lnTo>
                    <a:lnTo>
                      <a:pt x="86" y="285"/>
                    </a:lnTo>
                    <a:lnTo>
                      <a:pt x="86" y="285"/>
                    </a:lnTo>
                    <a:lnTo>
                      <a:pt x="88" y="285"/>
                    </a:lnTo>
                    <a:lnTo>
                      <a:pt x="88" y="284"/>
                    </a:lnTo>
                    <a:lnTo>
                      <a:pt x="88" y="284"/>
                    </a:lnTo>
                    <a:lnTo>
                      <a:pt x="90" y="282"/>
                    </a:lnTo>
                    <a:lnTo>
                      <a:pt x="90" y="280"/>
                    </a:lnTo>
                    <a:lnTo>
                      <a:pt x="90" y="280"/>
                    </a:lnTo>
                    <a:lnTo>
                      <a:pt x="92" y="280"/>
                    </a:lnTo>
                    <a:lnTo>
                      <a:pt x="92" y="278"/>
                    </a:lnTo>
                    <a:lnTo>
                      <a:pt x="94" y="278"/>
                    </a:lnTo>
                    <a:lnTo>
                      <a:pt x="92" y="272"/>
                    </a:lnTo>
                    <a:lnTo>
                      <a:pt x="94" y="270"/>
                    </a:lnTo>
                    <a:lnTo>
                      <a:pt x="96" y="268"/>
                    </a:lnTo>
                    <a:lnTo>
                      <a:pt x="96" y="268"/>
                    </a:lnTo>
                    <a:lnTo>
                      <a:pt x="98" y="268"/>
                    </a:lnTo>
                    <a:lnTo>
                      <a:pt x="98" y="268"/>
                    </a:lnTo>
                    <a:lnTo>
                      <a:pt x="98" y="268"/>
                    </a:lnTo>
                    <a:lnTo>
                      <a:pt x="100" y="268"/>
                    </a:lnTo>
                    <a:lnTo>
                      <a:pt x="105" y="278"/>
                    </a:lnTo>
                    <a:lnTo>
                      <a:pt x="107" y="284"/>
                    </a:lnTo>
                    <a:lnTo>
                      <a:pt x="107" y="287"/>
                    </a:lnTo>
                    <a:lnTo>
                      <a:pt x="109" y="287"/>
                    </a:lnTo>
                    <a:lnTo>
                      <a:pt x="109" y="287"/>
                    </a:lnTo>
                    <a:lnTo>
                      <a:pt x="111" y="285"/>
                    </a:lnTo>
                    <a:lnTo>
                      <a:pt x="111" y="285"/>
                    </a:lnTo>
                    <a:lnTo>
                      <a:pt x="111" y="285"/>
                    </a:lnTo>
                    <a:lnTo>
                      <a:pt x="113" y="285"/>
                    </a:lnTo>
                    <a:lnTo>
                      <a:pt x="113" y="287"/>
                    </a:lnTo>
                    <a:lnTo>
                      <a:pt x="115" y="289"/>
                    </a:lnTo>
                    <a:lnTo>
                      <a:pt x="115" y="289"/>
                    </a:lnTo>
                    <a:lnTo>
                      <a:pt x="115" y="289"/>
                    </a:lnTo>
                    <a:lnTo>
                      <a:pt x="115" y="287"/>
                    </a:lnTo>
                    <a:lnTo>
                      <a:pt x="117" y="287"/>
                    </a:lnTo>
                    <a:lnTo>
                      <a:pt x="117" y="287"/>
                    </a:lnTo>
                    <a:lnTo>
                      <a:pt x="119" y="287"/>
                    </a:lnTo>
                    <a:lnTo>
                      <a:pt x="119" y="289"/>
                    </a:lnTo>
                    <a:lnTo>
                      <a:pt x="119" y="289"/>
                    </a:lnTo>
                    <a:lnTo>
                      <a:pt x="121" y="291"/>
                    </a:lnTo>
                    <a:lnTo>
                      <a:pt x="121" y="293"/>
                    </a:lnTo>
                    <a:lnTo>
                      <a:pt x="121" y="293"/>
                    </a:lnTo>
                    <a:lnTo>
                      <a:pt x="121" y="293"/>
                    </a:lnTo>
                    <a:lnTo>
                      <a:pt x="123" y="293"/>
                    </a:lnTo>
                    <a:lnTo>
                      <a:pt x="123" y="291"/>
                    </a:lnTo>
                    <a:lnTo>
                      <a:pt x="123" y="289"/>
                    </a:lnTo>
                    <a:lnTo>
                      <a:pt x="124" y="289"/>
                    </a:lnTo>
                    <a:lnTo>
                      <a:pt x="124" y="289"/>
                    </a:lnTo>
                    <a:lnTo>
                      <a:pt x="124" y="289"/>
                    </a:lnTo>
                    <a:lnTo>
                      <a:pt x="124" y="291"/>
                    </a:lnTo>
                    <a:lnTo>
                      <a:pt x="126" y="293"/>
                    </a:lnTo>
                    <a:lnTo>
                      <a:pt x="126" y="293"/>
                    </a:lnTo>
                    <a:lnTo>
                      <a:pt x="126" y="297"/>
                    </a:lnTo>
                    <a:lnTo>
                      <a:pt x="126" y="297"/>
                    </a:lnTo>
                    <a:lnTo>
                      <a:pt x="126" y="297"/>
                    </a:lnTo>
                    <a:lnTo>
                      <a:pt x="130" y="297"/>
                    </a:lnTo>
                    <a:lnTo>
                      <a:pt x="130" y="297"/>
                    </a:lnTo>
                    <a:lnTo>
                      <a:pt x="132" y="299"/>
                    </a:lnTo>
                    <a:lnTo>
                      <a:pt x="130" y="301"/>
                    </a:lnTo>
                    <a:lnTo>
                      <a:pt x="128" y="303"/>
                    </a:lnTo>
                    <a:lnTo>
                      <a:pt x="128" y="303"/>
                    </a:lnTo>
                    <a:lnTo>
                      <a:pt x="128" y="305"/>
                    </a:lnTo>
                    <a:lnTo>
                      <a:pt x="128" y="310"/>
                    </a:lnTo>
                    <a:lnTo>
                      <a:pt x="128" y="312"/>
                    </a:lnTo>
                    <a:lnTo>
                      <a:pt x="130" y="314"/>
                    </a:lnTo>
                    <a:lnTo>
                      <a:pt x="130" y="314"/>
                    </a:lnTo>
                    <a:lnTo>
                      <a:pt x="130" y="318"/>
                    </a:lnTo>
                    <a:lnTo>
                      <a:pt x="128" y="318"/>
                    </a:lnTo>
                    <a:lnTo>
                      <a:pt x="128" y="320"/>
                    </a:lnTo>
                    <a:lnTo>
                      <a:pt x="128" y="322"/>
                    </a:lnTo>
                    <a:lnTo>
                      <a:pt x="128" y="324"/>
                    </a:lnTo>
                    <a:lnTo>
                      <a:pt x="130" y="324"/>
                    </a:lnTo>
                    <a:lnTo>
                      <a:pt x="130" y="325"/>
                    </a:lnTo>
                    <a:lnTo>
                      <a:pt x="132" y="327"/>
                    </a:lnTo>
                    <a:lnTo>
                      <a:pt x="134" y="331"/>
                    </a:lnTo>
                    <a:lnTo>
                      <a:pt x="142" y="337"/>
                    </a:lnTo>
                    <a:lnTo>
                      <a:pt x="144" y="339"/>
                    </a:lnTo>
                    <a:lnTo>
                      <a:pt x="149" y="344"/>
                    </a:lnTo>
                    <a:lnTo>
                      <a:pt x="149" y="343"/>
                    </a:lnTo>
                    <a:lnTo>
                      <a:pt x="151" y="343"/>
                    </a:lnTo>
                    <a:lnTo>
                      <a:pt x="153" y="341"/>
                    </a:lnTo>
                    <a:lnTo>
                      <a:pt x="153" y="341"/>
                    </a:lnTo>
                    <a:lnTo>
                      <a:pt x="155" y="341"/>
                    </a:lnTo>
                    <a:lnTo>
                      <a:pt x="155" y="341"/>
                    </a:lnTo>
                    <a:lnTo>
                      <a:pt x="155" y="341"/>
                    </a:lnTo>
                    <a:lnTo>
                      <a:pt x="157" y="343"/>
                    </a:lnTo>
                    <a:lnTo>
                      <a:pt x="159" y="344"/>
                    </a:lnTo>
                    <a:lnTo>
                      <a:pt x="159" y="344"/>
                    </a:lnTo>
                    <a:lnTo>
                      <a:pt x="161" y="346"/>
                    </a:lnTo>
                    <a:lnTo>
                      <a:pt x="163" y="344"/>
                    </a:lnTo>
                    <a:lnTo>
                      <a:pt x="164" y="344"/>
                    </a:lnTo>
                    <a:lnTo>
                      <a:pt x="166" y="344"/>
                    </a:lnTo>
                    <a:lnTo>
                      <a:pt x="168" y="348"/>
                    </a:lnTo>
                    <a:lnTo>
                      <a:pt x="170" y="350"/>
                    </a:lnTo>
                    <a:lnTo>
                      <a:pt x="170" y="350"/>
                    </a:lnTo>
                    <a:lnTo>
                      <a:pt x="172" y="354"/>
                    </a:lnTo>
                    <a:lnTo>
                      <a:pt x="172" y="356"/>
                    </a:lnTo>
                    <a:lnTo>
                      <a:pt x="172" y="356"/>
                    </a:lnTo>
                    <a:lnTo>
                      <a:pt x="174" y="358"/>
                    </a:lnTo>
                    <a:lnTo>
                      <a:pt x="176" y="358"/>
                    </a:lnTo>
                    <a:lnTo>
                      <a:pt x="176" y="358"/>
                    </a:lnTo>
                    <a:lnTo>
                      <a:pt x="178" y="360"/>
                    </a:lnTo>
                    <a:lnTo>
                      <a:pt x="178" y="362"/>
                    </a:lnTo>
                    <a:lnTo>
                      <a:pt x="178" y="362"/>
                    </a:lnTo>
                    <a:lnTo>
                      <a:pt x="178" y="364"/>
                    </a:lnTo>
                    <a:lnTo>
                      <a:pt x="180" y="364"/>
                    </a:lnTo>
                    <a:lnTo>
                      <a:pt x="184" y="365"/>
                    </a:lnTo>
                    <a:lnTo>
                      <a:pt x="189" y="369"/>
                    </a:lnTo>
                    <a:lnTo>
                      <a:pt x="193" y="371"/>
                    </a:lnTo>
                    <a:lnTo>
                      <a:pt x="195" y="373"/>
                    </a:lnTo>
                    <a:lnTo>
                      <a:pt x="197" y="375"/>
                    </a:lnTo>
                    <a:lnTo>
                      <a:pt x="197" y="377"/>
                    </a:lnTo>
                    <a:lnTo>
                      <a:pt x="197" y="379"/>
                    </a:lnTo>
                    <a:lnTo>
                      <a:pt x="197" y="383"/>
                    </a:lnTo>
                    <a:lnTo>
                      <a:pt x="197" y="388"/>
                    </a:lnTo>
                    <a:lnTo>
                      <a:pt x="197" y="390"/>
                    </a:lnTo>
                    <a:lnTo>
                      <a:pt x="195" y="392"/>
                    </a:lnTo>
                    <a:lnTo>
                      <a:pt x="195" y="394"/>
                    </a:lnTo>
                    <a:lnTo>
                      <a:pt x="195" y="396"/>
                    </a:lnTo>
                    <a:lnTo>
                      <a:pt x="197" y="398"/>
                    </a:lnTo>
                    <a:lnTo>
                      <a:pt x="203" y="403"/>
                    </a:lnTo>
                    <a:lnTo>
                      <a:pt x="205" y="405"/>
                    </a:lnTo>
                    <a:lnTo>
                      <a:pt x="205" y="405"/>
                    </a:lnTo>
                    <a:lnTo>
                      <a:pt x="205" y="407"/>
                    </a:lnTo>
                    <a:lnTo>
                      <a:pt x="205" y="407"/>
                    </a:lnTo>
                    <a:lnTo>
                      <a:pt x="208" y="405"/>
                    </a:lnTo>
                    <a:lnTo>
                      <a:pt x="212" y="407"/>
                    </a:lnTo>
                    <a:lnTo>
                      <a:pt x="214" y="409"/>
                    </a:lnTo>
                    <a:lnTo>
                      <a:pt x="216" y="409"/>
                    </a:lnTo>
                    <a:lnTo>
                      <a:pt x="222" y="409"/>
                    </a:lnTo>
                    <a:lnTo>
                      <a:pt x="224" y="411"/>
                    </a:lnTo>
                    <a:lnTo>
                      <a:pt x="224" y="411"/>
                    </a:lnTo>
                    <a:lnTo>
                      <a:pt x="226" y="413"/>
                    </a:lnTo>
                    <a:lnTo>
                      <a:pt x="226" y="413"/>
                    </a:lnTo>
                    <a:lnTo>
                      <a:pt x="227" y="413"/>
                    </a:lnTo>
                    <a:lnTo>
                      <a:pt x="229" y="413"/>
                    </a:lnTo>
                    <a:lnTo>
                      <a:pt x="235" y="409"/>
                    </a:lnTo>
                    <a:lnTo>
                      <a:pt x="235" y="409"/>
                    </a:lnTo>
                    <a:lnTo>
                      <a:pt x="235" y="411"/>
                    </a:lnTo>
                    <a:lnTo>
                      <a:pt x="235" y="411"/>
                    </a:lnTo>
                    <a:lnTo>
                      <a:pt x="233" y="415"/>
                    </a:lnTo>
                    <a:lnTo>
                      <a:pt x="233" y="415"/>
                    </a:lnTo>
                    <a:lnTo>
                      <a:pt x="233" y="415"/>
                    </a:lnTo>
                    <a:lnTo>
                      <a:pt x="237" y="415"/>
                    </a:lnTo>
                    <a:lnTo>
                      <a:pt x="237" y="415"/>
                    </a:lnTo>
                    <a:lnTo>
                      <a:pt x="239" y="415"/>
                    </a:lnTo>
                    <a:lnTo>
                      <a:pt x="241" y="415"/>
                    </a:lnTo>
                    <a:lnTo>
                      <a:pt x="243" y="415"/>
                    </a:lnTo>
                    <a:lnTo>
                      <a:pt x="246" y="417"/>
                    </a:lnTo>
                    <a:lnTo>
                      <a:pt x="252" y="421"/>
                    </a:lnTo>
                    <a:lnTo>
                      <a:pt x="252" y="421"/>
                    </a:lnTo>
                    <a:lnTo>
                      <a:pt x="250" y="419"/>
                    </a:lnTo>
                    <a:lnTo>
                      <a:pt x="250" y="417"/>
                    </a:lnTo>
                    <a:lnTo>
                      <a:pt x="248" y="415"/>
                    </a:lnTo>
                    <a:lnTo>
                      <a:pt x="250" y="413"/>
                    </a:lnTo>
                    <a:lnTo>
                      <a:pt x="254" y="413"/>
                    </a:lnTo>
                    <a:lnTo>
                      <a:pt x="256" y="411"/>
                    </a:lnTo>
                    <a:lnTo>
                      <a:pt x="260" y="411"/>
                    </a:lnTo>
                    <a:lnTo>
                      <a:pt x="262" y="411"/>
                    </a:lnTo>
                    <a:lnTo>
                      <a:pt x="266" y="409"/>
                    </a:lnTo>
                    <a:lnTo>
                      <a:pt x="275" y="403"/>
                    </a:lnTo>
                    <a:lnTo>
                      <a:pt x="277" y="402"/>
                    </a:lnTo>
                    <a:lnTo>
                      <a:pt x="279" y="402"/>
                    </a:lnTo>
                    <a:lnTo>
                      <a:pt x="281" y="400"/>
                    </a:lnTo>
                    <a:lnTo>
                      <a:pt x="281" y="400"/>
                    </a:lnTo>
                    <a:lnTo>
                      <a:pt x="281" y="398"/>
                    </a:lnTo>
                    <a:lnTo>
                      <a:pt x="281" y="396"/>
                    </a:lnTo>
                    <a:lnTo>
                      <a:pt x="279" y="396"/>
                    </a:lnTo>
                    <a:lnTo>
                      <a:pt x="279" y="396"/>
                    </a:lnTo>
                    <a:lnTo>
                      <a:pt x="277" y="396"/>
                    </a:lnTo>
                    <a:lnTo>
                      <a:pt x="275" y="396"/>
                    </a:lnTo>
                    <a:lnTo>
                      <a:pt x="275" y="394"/>
                    </a:lnTo>
                    <a:lnTo>
                      <a:pt x="271" y="388"/>
                    </a:lnTo>
                    <a:lnTo>
                      <a:pt x="271" y="388"/>
                    </a:lnTo>
                    <a:lnTo>
                      <a:pt x="273" y="386"/>
                    </a:lnTo>
                    <a:lnTo>
                      <a:pt x="275" y="384"/>
                    </a:lnTo>
                    <a:lnTo>
                      <a:pt x="275" y="384"/>
                    </a:lnTo>
                    <a:lnTo>
                      <a:pt x="275" y="381"/>
                    </a:lnTo>
                    <a:lnTo>
                      <a:pt x="273" y="379"/>
                    </a:lnTo>
                    <a:lnTo>
                      <a:pt x="271" y="377"/>
                    </a:lnTo>
                    <a:lnTo>
                      <a:pt x="271" y="375"/>
                    </a:lnTo>
                    <a:lnTo>
                      <a:pt x="271" y="371"/>
                    </a:lnTo>
                    <a:lnTo>
                      <a:pt x="271" y="369"/>
                    </a:lnTo>
                    <a:lnTo>
                      <a:pt x="267" y="365"/>
                    </a:lnTo>
                    <a:lnTo>
                      <a:pt x="267" y="364"/>
                    </a:lnTo>
                    <a:lnTo>
                      <a:pt x="267" y="362"/>
                    </a:lnTo>
                    <a:lnTo>
                      <a:pt x="269" y="354"/>
                    </a:lnTo>
                    <a:lnTo>
                      <a:pt x="271" y="350"/>
                    </a:lnTo>
                    <a:lnTo>
                      <a:pt x="273" y="348"/>
                    </a:lnTo>
                    <a:lnTo>
                      <a:pt x="273" y="348"/>
                    </a:lnTo>
                    <a:lnTo>
                      <a:pt x="275" y="348"/>
                    </a:lnTo>
                    <a:lnTo>
                      <a:pt x="275" y="348"/>
                    </a:lnTo>
                    <a:lnTo>
                      <a:pt x="277" y="348"/>
                    </a:lnTo>
                    <a:lnTo>
                      <a:pt x="277" y="346"/>
                    </a:lnTo>
                    <a:lnTo>
                      <a:pt x="277" y="343"/>
                    </a:lnTo>
                    <a:lnTo>
                      <a:pt x="277" y="341"/>
                    </a:lnTo>
                    <a:lnTo>
                      <a:pt x="277" y="339"/>
                    </a:lnTo>
                    <a:lnTo>
                      <a:pt x="275" y="339"/>
                    </a:lnTo>
                    <a:lnTo>
                      <a:pt x="273" y="337"/>
                    </a:lnTo>
                    <a:lnTo>
                      <a:pt x="273" y="335"/>
                    </a:lnTo>
                    <a:lnTo>
                      <a:pt x="273" y="333"/>
                    </a:lnTo>
                    <a:lnTo>
                      <a:pt x="273" y="333"/>
                    </a:lnTo>
                    <a:lnTo>
                      <a:pt x="275" y="333"/>
                    </a:lnTo>
                    <a:lnTo>
                      <a:pt x="275" y="333"/>
                    </a:lnTo>
                    <a:lnTo>
                      <a:pt x="277" y="333"/>
                    </a:lnTo>
                    <a:lnTo>
                      <a:pt x="277" y="333"/>
                    </a:lnTo>
                    <a:lnTo>
                      <a:pt x="279" y="331"/>
                    </a:lnTo>
                    <a:lnTo>
                      <a:pt x="279" y="329"/>
                    </a:lnTo>
                    <a:lnTo>
                      <a:pt x="279" y="329"/>
                    </a:lnTo>
                    <a:lnTo>
                      <a:pt x="279" y="325"/>
                    </a:lnTo>
                    <a:lnTo>
                      <a:pt x="279" y="324"/>
                    </a:lnTo>
                    <a:lnTo>
                      <a:pt x="279" y="324"/>
                    </a:lnTo>
                    <a:lnTo>
                      <a:pt x="287" y="316"/>
                    </a:lnTo>
                    <a:lnTo>
                      <a:pt x="290" y="310"/>
                    </a:lnTo>
                    <a:lnTo>
                      <a:pt x="294" y="306"/>
                    </a:lnTo>
                    <a:lnTo>
                      <a:pt x="296" y="305"/>
                    </a:lnTo>
                    <a:lnTo>
                      <a:pt x="298" y="305"/>
                    </a:lnTo>
                    <a:lnTo>
                      <a:pt x="300" y="305"/>
                    </a:lnTo>
                    <a:lnTo>
                      <a:pt x="306" y="306"/>
                    </a:lnTo>
                    <a:lnTo>
                      <a:pt x="308" y="306"/>
                    </a:lnTo>
                    <a:lnTo>
                      <a:pt x="309" y="305"/>
                    </a:lnTo>
                    <a:lnTo>
                      <a:pt x="313" y="303"/>
                    </a:lnTo>
                    <a:lnTo>
                      <a:pt x="319" y="299"/>
                    </a:lnTo>
                    <a:lnTo>
                      <a:pt x="327" y="295"/>
                    </a:lnTo>
                    <a:lnTo>
                      <a:pt x="332" y="293"/>
                    </a:lnTo>
                    <a:lnTo>
                      <a:pt x="340" y="287"/>
                    </a:lnTo>
                    <a:lnTo>
                      <a:pt x="342" y="287"/>
                    </a:lnTo>
                    <a:lnTo>
                      <a:pt x="344" y="287"/>
                    </a:lnTo>
                    <a:lnTo>
                      <a:pt x="348" y="287"/>
                    </a:lnTo>
                    <a:lnTo>
                      <a:pt x="349" y="287"/>
                    </a:lnTo>
                    <a:lnTo>
                      <a:pt x="351" y="289"/>
                    </a:lnTo>
                    <a:lnTo>
                      <a:pt x="351" y="289"/>
                    </a:lnTo>
                    <a:lnTo>
                      <a:pt x="353" y="291"/>
                    </a:lnTo>
                    <a:lnTo>
                      <a:pt x="353" y="291"/>
                    </a:lnTo>
                    <a:lnTo>
                      <a:pt x="355" y="291"/>
                    </a:lnTo>
                    <a:lnTo>
                      <a:pt x="357" y="291"/>
                    </a:lnTo>
                    <a:lnTo>
                      <a:pt x="359" y="291"/>
                    </a:lnTo>
                    <a:lnTo>
                      <a:pt x="359" y="293"/>
                    </a:lnTo>
                    <a:lnTo>
                      <a:pt x="363" y="297"/>
                    </a:lnTo>
                    <a:lnTo>
                      <a:pt x="365" y="299"/>
                    </a:lnTo>
                    <a:lnTo>
                      <a:pt x="367" y="299"/>
                    </a:lnTo>
                    <a:lnTo>
                      <a:pt x="369" y="299"/>
                    </a:lnTo>
                    <a:lnTo>
                      <a:pt x="372" y="297"/>
                    </a:lnTo>
                    <a:lnTo>
                      <a:pt x="376" y="297"/>
                    </a:lnTo>
                    <a:lnTo>
                      <a:pt x="380" y="297"/>
                    </a:lnTo>
                    <a:lnTo>
                      <a:pt x="382" y="297"/>
                    </a:lnTo>
                    <a:lnTo>
                      <a:pt x="384" y="299"/>
                    </a:lnTo>
                    <a:lnTo>
                      <a:pt x="386" y="299"/>
                    </a:lnTo>
                    <a:lnTo>
                      <a:pt x="388" y="299"/>
                    </a:lnTo>
                    <a:lnTo>
                      <a:pt x="390" y="299"/>
                    </a:lnTo>
                    <a:lnTo>
                      <a:pt x="395" y="299"/>
                    </a:lnTo>
                    <a:lnTo>
                      <a:pt x="399" y="301"/>
                    </a:lnTo>
                    <a:lnTo>
                      <a:pt x="401" y="301"/>
                    </a:lnTo>
                    <a:lnTo>
                      <a:pt x="403" y="301"/>
                    </a:lnTo>
                    <a:lnTo>
                      <a:pt x="405" y="301"/>
                    </a:lnTo>
                    <a:lnTo>
                      <a:pt x="407" y="306"/>
                    </a:lnTo>
                    <a:lnTo>
                      <a:pt x="409" y="308"/>
                    </a:lnTo>
                    <a:lnTo>
                      <a:pt x="410" y="310"/>
                    </a:lnTo>
                    <a:lnTo>
                      <a:pt x="412" y="312"/>
                    </a:lnTo>
                    <a:lnTo>
                      <a:pt x="420" y="314"/>
                    </a:lnTo>
                    <a:lnTo>
                      <a:pt x="422" y="312"/>
                    </a:lnTo>
                    <a:lnTo>
                      <a:pt x="424" y="312"/>
                    </a:lnTo>
                    <a:lnTo>
                      <a:pt x="428" y="312"/>
                    </a:lnTo>
                    <a:lnTo>
                      <a:pt x="430" y="308"/>
                    </a:lnTo>
                    <a:lnTo>
                      <a:pt x="428" y="306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6" name="Freeform 28">
                <a:extLst>
                  <a:ext uri="{FF2B5EF4-FFF2-40B4-BE49-F238E27FC236}">
                    <a16:creationId xmlns:a16="http://schemas.microsoft.com/office/drawing/2014/main" id="{75C2869A-6DED-4BAE-BAE1-CCA50A4BA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8382" y="2911949"/>
                <a:ext cx="623888" cy="742950"/>
              </a:xfrm>
              <a:custGeom>
                <a:avLst/>
                <a:gdLst>
                  <a:gd name="T0" fmla="*/ 367 w 393"/>
                  <a:gd name="T1" fmla="*/ 72 h 468"/>
                  <a:gd name="T2" fmla="*/ 338 w 393"/>
                  <a:gd name="T3" fmla="*/ 38 h 468"/>
                  <a:gd name="T4" fmla="*/ 309 w 393"/>
                  <a:gd name="T5" fmla="*/ 7 h 468"/>
                  <a:gd name="T6" fmla="*/ 296 w 393"/>
                  <a:gd name="T7" fmla="*/ 11 h 468"/>
                  <a:gd name="T8" fmla="*/ 300 w 393"/>
                  <a:gd name="T9" fmla="*/ 36 h 468"/>
                  <a:gd name="T10" fmla="*/ 307 w 393"/>
                  <a:gd name="T11" fmla="*/ 61 h 468"/>
                  <a:gd name="T12" fmla="*/ 292 w 393"/>
                  <a:gd name="T13" fmla="*/ 74 h 468"/>
                  <a:gd name="T14" fmla="*/ 265 w 393"/>
                  <a:gd name="T15" fmla="*/ 97 h 468"/>
                  <a:gd name="T16" fmla="*/ 271 w 393"/>
                  <a:gd name="T17" fmla="*/ 102 h 468"/>
                  <a:gd name="T18" fmla="*/ 248 w 393"/>
                  <a:gd name="T19" fmla="*/ 118 h 468"/>
                  <a:gd name="T20" fmla="*/ 237 w 393"/>
                  <a:gd name="T21" fmla="*/ 116 h 468"/>
                  <a:gd name="T22" fmla="*/ 220 w 393"/>
                  <a:gd name="T23" fmla="*/ 118 h 468"/>
                  <a:gd name="T24" fmla="*/ 218 w 393"/>
                  <a:gd name="T25" fmla="*/ 139 h 468"/>
                  <a:gd name="T26" fmla="*/ 199 w 393"/>
                  <a:gd name="T27" fmla="*/ 171 h 468"/>
                  <a:gd name="T28" fmla="*/ 159 w 393"/>
                  <a:gd name="T29" fmla="*/ 165 h 468"/>
                  <a:gd name="T30" fmla="*/ 117 w 393"/>
                  <a:gd name="T31" fmla="*/ 175 h 468"/>
                  <a:gd name="T32" fmla="*/ 100 w 393"/>
                  <a:gd name="T33" fmla="*/ 198 h 468"/>
                  <a:gd name="T34" fmla="*/ 90 w 393"/>
                  <a:gd name="T35" fmla="*/ 179 h 468"/>
                  <a:gd name="T36" fmla="*/ 98 w 393"/>
                  <a:gd name="T37" fmla="*/ 171 h 468"/>
                  <a:gd name="T38" fmla="*/ 84 w 393"/>
                  <a:gd name="T39" fmla="*/ 163 h 468"/>
                  <a:gd name="T40" fmla="*/ 80 w 393"/>
                  <a:gd name="T41" fmla="*/ 144 h 468"/>
                  <a:gd name="T42" fmla="*/ 61 w 393"/>
                  <a:gd name="T43" fmla="*/ 146 h 468"/>
                  <a:gd name="T44" fmla="*/ 33 w 393"/>
                  <a:gd name="T45" fmla="*/ 139 h 468"/>
                  <a:gd name="T46" fmla="*/ 8 w 393"/>
                  <a:gd name="T47" fmla="*/ 158 h 468"/>
                  <a:gd name="T48" fmla="*/ 14 w 393"/>
                  <a:gd name="T49" fmla="*/ 169 h 468"/>
                  <a:gd name="T50" fmla="*/ 19 w 393"/>
                  <a:gd name="T51" fmla="*/ 211 h 468"/>
                  <a:gd name="T52" fmla="*/ 23 w 393"/>
                  <a:gd name="T53" fmla="*/ 230 h 468"/>
                  <a:gd name="T54" fmla="*/ 50 w 393"/>
                  <a:gd name="T55" fmla="*/ 222 h 468"/>
                  <a:gd name="T56" fmla="*/ 75 w 393"/>
                  <a:gd name="T57" fmla="*/ 239 h 468"/>
                  <a:gd name="T58" fmla="*/ 101 w 393"/>
                  <a:gd name="T59" fmla="*/ 241 h 468"/>
                  <a:gd name="T60" fmla="*/ 117 w 393"/>
                  <a:gd name="T61" fmla="*/ 241 h 468"/>
                  <a:gd name="T62" fmla="*/ 117 w 393"/>
                  <a:gd name="T63" fmla="*/ 262 h 468"/>
                  <a:gd name="T64" fmla="*/ 132 w 393"/>
                  <a:gd name="T65" fmla="*/ 296 h 468"/>
                  <a:gd name="T66" fmla="*/ 164 w 393"/>
                  <a:gd name="T67" fmla="*/ 355 h 468"/>
                  <a:gd name="T68" fmla="*/ 204 w 393"/>
                  <a:gd name="T69" fmla="*/ 395 h 468"/>
                  <a:gd name="T70" fmla="*/ 191 w 393"/>
                  <a:gd name="T71" fmla="*/ 409 h 468"/>
                  <a:gd name="T72" fmla="*/ 189 w 393"/>
                  <a:gd name="T73" fmla="*/ 420 h 468"/>
                  <a:gd name="T74" fmla="*/ 193 w 393"/>
                  <a:gd name="T75" fmla="*/ 443 h 468"/>
                  <a:gd name="T76" fmla="*/ 214 w 393"/>
                  <a:gd name="T77" fmla="*/ 418 h 468"/>
                  <a:gd name="T78" fmla="*/ 237 w 393"/>
                  <a:gd name="T79" fmla="*/ 413 h 468"/>
                  <a:gd name="T80" fmla="*/ 233 w 393"/>
                  <a:gd name="T81" fmla="*/ 392 h 468"/>
                  <a:gd name="T82" fmla="*/ 252 w 393"/>
                  <a:gd name="T83" fmla="*/ 405 h 468"/>
                  <a:gd name="T84" fmla="*/ 260 w 393"/>
                  <a:gd name="T85" fmla="*/ 416 h 468"/>
                  <a:gd name="T86" fmla="*/ 275 w 393"/>
                  <a:gd name="T87" fmla="*/ 411 h 468"/>
                  <a:gd name="T88" fmla="*/ 300 w 393"/>
                  <a:gd name="T89" fmla="*/ 388 h 468"/>
                  <a:gd name="T90" fmla="*/ 311 w 393"/>
                  <a:gd name="T91" fmla="*/ 426 h 468"/>
                  <a:gd name="T92" fmla="*/ 309 w 393"/>
                  <a:gd name="T93" fmla="*/ 462 h 468"/>
                  <a:gd name="T94" fmla="*/ 323 w 393"/>
                  <a:gd name="T95" fmla="*/ 451 h 468"/>
                  <a:gd name="T96" fmla="*/ 347 w 393"/>
                  <a:gd name="T97" fmla="*/ 451 h 468"/>
                  <a:gd name="T98" fmla="*/ 380 w 393"/>
                  <a:gd name="T99" fmla="*/ 432 h 468"/>
                  <a:gd name="T100" fmla="*/ 382 w 393"/>
                  <a:gd name="T101" fmla="*/ 392 h 468"/>
                  <a:gd name="T102" fmla="*/ 378 w 393"/>
                  <a:gd name="T103" fmla="*/ 361 h 468"/>
                  <a:gd name="T104" fmla="*/ 361 w 393"/>
                  <a:gd name="T105" fmla="*/ 348 h 468"/>
                  <a:gd name="T106" fmla="*/ 330 w 393"/>
                  <a:gd name="T107" fmla="*/ 352 h 468"/>
                  <a:gd name="T108" fmla="*/ 298 w 393"/>
                  <a:gd name="T109" fmla="*/ 338 h 468"/>
                  <a:gd name="T110" fmla="*/ 313 w 393"/>
                  <a:gd name="T111" fmla="*/ 304 h 468"/>
                  <a:gd name="T112" fmla="*/ 342 w 393"/>
                  <a:gd name="T113" fmla="*/ 283 h 468"/>
                  <a:gd name="T114" fmla="*/ 336 w 393"/>
                  <a:gd name="T115" fmla="*/ 230 h 468"/>
                  <a:gd name="T116" fmla="*/ 328 w 393"/>
                  <a:gd name="T117" fmla="*/ 201 h 468"/>
                  <a:gd name="T118" fmla="*/ 336 w 393"/>
                  <a:gd name="T119" fmla="*/ 169 h 468"/>
                  <a:gd name="T120" fmla="*/ 359 w 393"/>
                  <a:gd name="T121" fmla="*/ 129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93" h="468">
                    <a:moveTo>
                      <a:pt x="393" y="80"/>
                    </a:moveTo>
                    <a:lnTo>
                      <a:pt x="393" y="80"/>
                    </a:lnTo>
                    <a:lnTo>
                      <a:pt x="393" y="80"/>
                    </a:lnTo>
                    <a:lnTo>
                      <a:pt x="387" y="76"/>
                    </a:lnTo>
                    <a:lnTo>
                      <a:pt x="384" y="74"/>
                    </a:lnTo>
                    <a:lnTo>
                      <a:pt x="382" y="74"/>
                    </a:lnTo>
                    <a:lnTo>
                      <a:pt x="380" y="74"/>
                    </a:lnTo>
                    <a:lnTo>
                      <a:pt x="378" y="74"/>
                    </a:lnTo>
                    <a:lnTo>
                      <a:pt x="378" y="74"/>
                    </a:lnTo>
                    <a:lnTo>
                      <a:pt x="374" y="74"/>
                    </a:lnTo>
                    <a:lnTo>
                      <a:pt x="374" y="74"/>
                    </a:lnTo>
                    <a:lnTo>
                      <a:pt x="374" y="74"/>
                    </a:lnTo>
                    <a:lnTo>
                      <a:pt x="376" y="70"/>
                    </a:lnTo>
                    <a:lnTo>
                      <a:pt x="376" y="70"/>
                    </a:lnTo>
                    <a:lnTo>
                      <a:pt x="376" y="68"/>
                    </a:lnTo>
                    <a:lnTo>
                      <a:pt x="376" y="68"/>
                    </a:lnTo>
                    <a:lnTo>
                      <a:pt x="370" y="72"/>
                    </a:lnTo>
                    <a:lnTo>
                      <a:pt x="368" y="72"/>
                    </a:lnTo>
                    <a:lnTo>
                      <a:pt x="367" y="72"/>
                    </a:lnTo>
                    <a:lnTo>
                      <a:pt x="367" y="72"/>
                    </a:lnTo>
                    <a:lnTo>
                      <a:pt x="365" y="70"/>
                    </a:lnTo>
                    <a:lnTo>
                      <a:pt x="365" y="70"/>
                    </a:lnTo>
                    <a:lnTo>
                      <a:pt x="363" y="68"/>
                    </a:lnTo>
                    <a:lnTo>
                      <a:pt x="357" y="68"/>
                    </a:lnTo>
                    <a:lnTo>
                      <a:pt x="355" y="68"/>
                    </a:lnTo>
                    <a:lnTo>
                      <a:pt x="353" y="66"/>
                    </a:lnTo>
                    <a:lnTo>
                      <a:pt x="349" y="64"/>
                    </a:lnTo>
                    <a:lnTo>
                      <a:pt x="346" y="66"/>
                    </a:lnTo>
                    <a:lnTo>
                      <a:pt x="346" y="66"/>
                    </a:lnTo>
                    <a:lnTo>
                      <a:pt x="346" y="64"/>
                    </a:lnTo>
                    <a:lnTo>
                      <a:pt x="346" y="64"/>
                    </a:lnTo>
                    <a:lnTo>
                      <a:pt x="344" y="62"/>
                    </a:lnTo>
                    <a:lnTo>
                      <a:pt x="338" y="57"/>
                    </a:lnTo>
                    <a:lnTo>
                      <a:pt x="336" y="55"/>
                    </a:lnTo>
                    <a:lnTo>
                      <a:pt x="336" y="53"/>
                    </a:lnTo>
                    <a:lnTo>
                      <a:pt x="336" y="51"/>
                    </a:lnTo>
                    <a:lnTo>
                      <a:pt x="338" y="49"/>
                    </a:lnTo>
                    <a:lnTo>
                      <a:pt x="338" y="47"/>
                    </a:lnTo>
                    <a:lnTo>
                      <a:pt x="338" y="42"/>
                    </a:lnTo>
                    <a:lnTo>
                      <a:pt x="338" y="38"/>
                    </a:lnTo>
                    <a:lnTo>
                      <a:pt x="338" y="36"/>
                    </a:lnTo>
                    <a:lnTo>
                      <a:pt x="338" y="34"/>
                    </a:lnTo>
                    <a:lnTo>
                      <a:pt x="336" y="32"/>
                    </a:lnTo>
                    <a:lnTo>
                      <a:pt x="334" y="30"/>
                    </a:lnTo>
                    <a:lnTo>
                      <a:pt x="330" y="28"/>
                    </a:lnTo>
                    <a:lnTo>
                      <a:pt x="325" y="24"/>
                    </a:lnTo>
                    <a:lnTo>
                      <a:pt x="321" y="23"/>
                    </a:lnTo>
                    <a:lnTo>
                      <a:pt x="319" y="23"/>
                    </a:lnTo>
                    <a:lnTo>
                      <a:pt x="319" y="21"/>
                    </a:lnTo>
                    <a:lnTo>
                      <a:pt x="319" y="21"/>
                    </a:lnTo>
                    <a:lnTo>
                      <a:pt x="319" y="19"/>
                    </a:lnTo>
                    <a:lnTo>
                      <a:pt x="317" y="17"/>
                    </a:lnTo>
                    <a:lnTo>
                      <a:pt x="317" y="17"/>
                    </a:lnTo>
                    <a:lnTo>
                      <a:pt x="315" y="17"/>
                    </a:lnTo>
                    <a:lnTo>
                      <a:pt x="313" y="15"/>
                    </a:lnTo>
                    <a:lnTo>
                      <a:pt x="313" y="15"/>
                    </a:lnTo>
                    <a:lnTo>
                      <a:pt x="313" y="13"/>
                    </a:lnTo>
                    <a:lnTo>
                      <a:pt x="311" y="9"/>
                    </a:lnTo>
                    <a:lnTo>
                      <a:pt x="311" y="9"/>
                    </a:lnTo>
                    <a:lnTo>
                      <a:pt x="309" y="7"/>
                    </a:lnTo>
                    <a:lnTo>
                      <a:pt x="307" y="3"/>
                    </a:lnTo>
                    <a:lnTo>
                      <a:pt x="305" y="3"/>
                    </a:lnTo>
                    <a:lnTo>
                      <a:pt x="304" y="3"/>
                    </a:lnTo>
                    <a:lnTo>
                      <a:pt x="302" y="5"/>
                    </a:lnTo>
                    <a:lnTo>
                      <a:pt x="300" y="3"/>
                    </a:lnTo>
                    <a:lnTo>
                      <a:pt x="300" y="3"/>
                    </a:lnTo>
                    <a:lnTo>
                      <a:pt x="298" y="2"/>
                    </a:lnTo>
                    <a:lnTo>
                      <a:pt x="296" y="0"/>
                    </a:lnTo>
                    <a:lnTo>
                      <a:pt x="296" y="0"/>
                    </a:lnTo>
                    <a:lnTo>
                      <a:pt x="296" y="0"/>
                    </a:lnTo>
                    <a:lnTo>
                      <a:pt x="294" y="0"/>
                    </a:lnTo>
                    <a:lnTo>
                      <a:pt x="294" y="0"/>
                    </a:lnTo>
                    <a:lnTo>
                      <a:pt x="292" y="2"/>
                    </a:lnTo>
                    <a:lnTo>
                      <a:pt x="290" y="2"/>
                    </a:lnTo>
                    <a:lnTo>
                      <a:pt x="290" y="3"/>
                    </a:lnTo>
                    <a:lnTo>
                      <a:pt x="292" y="5"/>
                    </a:lnTo>
                    <a:lnTo>
                      <a:pt x="292" y="5"/>
                    </a:lnTo>
                    <a:lnTo>
                      <a:pt x="294" y="9"/>
                    </a:lnTo>
                    <a:lnTo>
                      <a:pt x="294" y="11"/>
                    </a:lnTo>
                    <a:lnTo>
                      <a:pt x="296" y="11"/>
                    </a:lnTo>
                    <a:lnTo>
                      <a:pt x="298" y="11"/>
                    </a:lnTo>
                    <a:lnTo>
                      <a:pt x="298" y="11"/>
                    </a:lnTo>
                    <a:lnTo>
                      <a:pt x="298" y="13"/>
                    </a:lnTo>
                    <a:lnTo>
                      <a:pt x="298" y="13"/>
                    </a:lnTo>
                    <a:lnTo>
                      <a:pt x="298" y="15"/>
                    </a:lnTo>
                    <a:lnTo>
                      <a:pt x="298" y="15"/>
                    </a:lnTo>
                    <a:lnTo>
                      <a:pt x="298" y="17"/>
                    </a:lnTo>
                    <a:lnTo>
                      <a:pt x="296" y="21"/>
                    </a:lnTo>
                    <a:lnTo>
                      <a:pt x="296" y="23"/>
                    </a:lnTo>
                    <a:lnTo>
                      <a:pt x="296" y="23"/>
                    </a:lnTo>
                    <a:lnTo>
                      <a:pt x="296" y="24"/>
                    </a:lnTo>
                    <a:lnTo>
                      <a:pt x="298" y="26"/>
                    </a:lnTo>
                    <a:lnTo>
                      <a:pt x="298" y="26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296" y="32"/>
                    </a:lnTo>
                    <a:lnTo>
                      <a:pt x="298" y="36"/>
                    </a:lnTo>
                    <a:lnTo>
                      <a:pt x="300" y="36"/>
                    </a:lnTo>
                    <a:lnTo>
                      <a:pt x="300" y="36"/>
                    </a:lnTo>
                    <a:lnTo>
                      <a:pt x="300" y="36"/>
                    </a:lnTo>
                    <a:lnTo>
                      <a:pt x="300" y="36"/>
                    </a:lnTo>
                    <a:lnTo>
                      <a:pt x="300" y="36"/>
                    </a:lnTo>
                    <a:lnTo>
                      <a:pt x="302" y="36"/>
                    </a:lnTo>
                    <a:lnTo>
                      <a:pt x="302" y="38"/>
                    </a:lnTo>
                    <a:lnTo>
                      <a:pt x="302" y="42"/>
                    </a:lnTo>
                    <a:lnTo>
                      <a:pt x="302" y="42"/>
                    </a:lnTo>
                    <a:lnTo>
                      <a:pt x="304" y="42"/>
                    </a:lnTo>
                    <a:lnTo>
                      <a:pt x="304" y="42"/>
                    </a:lnTo>
                    <a:lnTo>
                      <a:pt x="305" y="43"/>
                    </a:lnTo>
                    <a:lnTo>
                      <a:pt x="305" y="43"/>
                    </a:lnTo>
                    <a:lnTo>
                      <a:pt x="305" y="45"/>
                    </a:lnTo>
                    <a:lnTo>
                      <a:pt x="307" y="47"/>
                    </a:lnTo>
                    <a:lnTo>
                      <a:pt x="307" y="47"/>
                    </a:lnTo>
                    <a:lnTo>
                      <a:pt x="307" y="49"/>
                    </a:lnTo>
                    <a:lnTo>
                      <a:pt x="305" y="53"/>
                    </a:lnTo>
                    <a:lnTo>
                      <a:pt x="305" y="57"/>
                    </a:lnTo>
                    <a:lnTo>
                      <a:pt x="307" y="57"/>
                    </a:lnTo>
                    <a:lnTo>
                      <a:pt x="307" y="59"/>
                    </a:lnTo>
                    <a:lnTo>
                      <a:pt x="307" y="59"/>
                    </a:lnTo>
                    <a:lnTo>
                      <a:pt x="307" y="61"/>
                    </a:lnTo>
                    <a:lnTo>
                      <a:pt x="307" y="61"/>
                    </a:lnTo>
                    <a:lnTo>
                      <a:pt x="307" y="62"/>
                    </a:lnTo>
                    <a:lnTo>
                      <a:pt x="307" y="62"/>
                    </a:lnTo>
                    <a:lnTo>
                      <a:pt x="305" y="64"/>
                    </a:lnTo>
                    <a:lnTo>
                      <a:pt x="305" y="68"/>
                    </a:lnTo>
                    <a:lnTo>
                      <a:pt x="305" y="70"/>
                    </a:lnTo>
                    <a:lnTo>
                      <a:pt x="307" y="76"/>
                    </a:lnTo>
                    <a:lnTo>
                      <a:pt x="307" y="78"/>
                    </a:lnTo>
                    <a:lnTo>
                      <a:pt x="307" y="80"/>
                    </a:lnTo>
                    <a:lnTo>
                      <a:pt x="307" y="81"/>
                    </a:lnTo>
                    <a:lnTo>
                      <a:pt x="305" y="81"/>
                    </a:lnTo>
                    <a:lnTo>
                      <a:pt x="304" y="83"/>
                    </a:lnTo>
                    <a:lnTo>
                      <a:pt x="304" y="81"/>
                    </a:lnTo>
                    <a:lnTo>
                      <a:pt x="302" y="80"/>
                    </a:lnTo>
                    <a:lnTo>
                      <a:pt x="300" y="76"/>
                    </a:lnTo>
                    <a:lnTo>
                      <a:pt x="300" y="74"/>
                    </a:lnTo>
                    <a:lnTo>
                      <a:pt x="300" y="74"/>
                    </a:lnTo>
                    <a:lnTo>
                      <a:pt x="298" y="72"/>
                    </a:lnTo>
                    <a:lnTo>
                      <a:pt x="294" y="74"/>
                    </a:lnTo>
                    <a:lnTo>
                      <a:pt x="292" y="74"/>
                    </a:lnTo>
                    <a:lnTo>
                      <a:pt x="290" y="72"/>
                    </a:lnTo>
                    <a:lnTo>
                      <a:pt x="288" y="72"/>
                    </a:lnTo>
                    <a:lnTo>
                      <a:pt x="285" y="74"/>
                    </a:lnTo>
                    <a:lnTo>
                      <a:pt x="285" y="74"/>
                    </a:lnTo>
                    <a:lnTo>
                      <a:pt x="285" y="76"/>
                    </a:lnTo>
                    <a:lnTo>
                      <a:pt x="285" y="80"/>
                    </a:lnTo>
                    <a:lnTo>
                      <a:pt x="285" y="80"/>
                    </a:lnTo>
                    <a:lnTo>
                      <a:pt x="285" y="81"/>
                    </a:lnTo>
                    <a:lnTo>
                      <a:pt x="285" y="81"/>
                    </a:lnTo>
                    <a:lnTo>
                      <a:pt x="286" y="81"/>
                    </a:lnTo>
                    <a:lnTo>
                      <a:pt x="286" y="81"/>
                    </a:lnTo>
                    <a:lnTo>
                      <a:pt x="286" y="81"/>
                    </a:lnTo>
                    <a:lnTo>
                      <a:pt x="286" y="83"/>
                    </a:lnTo>
                    <a:lnTo>
                      <a:pt x="285" y="83"/>
                    </a:lnTo>
                    <a:lnTo>
                      <a:pt x="283" y="85"/>
                    </a:lnTo>
                    <a:lnTo>
                      <a:pt x="275" y="91"/>
                    </a:lnTo>
                    <a:lnTo>
                      <a:pt x="273" y="93"/>
                    </a:lnTo>
                    <a:lnTo>
                      <a:pt x="271" y="95"/>
                    </a:lnTo>
                    <a:lnTo>
                      <a:pt x="269" y="95"/>
                    </a:lnTo>
                    <a:lnTo>
                      <a:pt x="265" y="97"/>
                    </a:lnTo>
                    <a:lnTo>
                      <a:pt x="264" y="99"/>
                    </a:lnTo>
                    <a:lnTo>
                      <a:pt x="262" y="99"/>
                    </a:lnTo>
                    <a:lnTo>
                      <a:pt x="262" y="101"/>
                    </a:lnTo>
                    <a:lnTo>
                      <a:pt x="262" y="102"/>
                    </a:lnTo>
                    <a:lnTo>
                      <a:pt x="262" y="102"/>
                    </a:lnTo>
                    <a:lnTo>
                      <a:pt x="262" y="102"/>
                    </a:lnTo>
                    <a:lnTo>
                      <a:pt x="264" y="102"/>
                    </a:lnTo>
                    <a:lnTo>
                      <a:pt x="264" y="102"/>
                    </a:lnTo>
                    <a:lnTo>
                      <a:pt x="264" y="102"/>
                    </a:lnTo>
                    <a:lnTo>
                      <a:pt x="265" y="99"/>
                    </a:lnTo>
                    <a:lnTo>
                      <a:pt x="267" y="99"/>
                    </a:lnTo>
                    <a:lnTo>
                      <a:pt x="267" y="99"/>
                    </a:lnTo>
                    <a:lnTo>
                      <a:pt x="267" y="99"/>
                    </a:lnTo>
                    <a:lnTo>
                      <a:pt x="269" y="99"/>
                    </a:lnTo>
                    <a:lnTo>
                      <a:pt x="269" y="101"/>
                    </a:lnTo>
                    <a:lnTo>
                      <a:pt x="269" y="101"/>
                    </a:lnTo>
                    <a:lnTo>
                      <a:pt x="269" y="101"/>
                    </a:lnTo>
                    <a:lnTo>
                      <a:pt x="269" y="102"/>
                    </a:lnTo>
                    <a:lnTo>
                      <a:pt x="269" y="102"/>
                    </a:lnTo>
                    <a:lnTo>
                      <a:pt x="271" y="102"/>
                    </a:lnTo>
                    <a:lnTo>
                      <a:pt x="271" y="104"/>
                    </a:lnTo>
                    <a:lnTo>
                      <a:pt x="273" y="104"/>
                    </a:lnTo>
                    <a:lnTo>
                      <a:pt x="273" y="104"/>
                    </a:lnTo>
                    <a:lnTo>
                      <a:pt x="273" y="104"/>
                    </a:lnTo>
                    <a:lnTo>
                      <a:pt x="275" y="106"/>
                    </a:lnTo>
                    <a:lnTo>
                      <a:pt x="275" y="106"/>
                    </a:lnTo>
                    <a:lnTo>
                      <a:pt x="275" y="106"/>
                    </a:lnTo>
                    <a:lnTo>
                      <a:pt x="273" y="108"/>
                    </a:lnTo>
                    <a:lnTo>
                      <a:pt x="273" y="110"/>
                    </a:lnTo>
                    <a:lnTo>
                      <a:pt x="273" y="112"/>
                    </a:lnTo>
                    <a:lnTo>
                      <a:pt x="273" y="114"/>
                    </a:lnTo>
                    <a:lnTo>
                      <a:pt x="273" y="114"/>
                    </a:lnTo>
                    <a:lnTo>
                      <a:pt x="267" y="118"/>
                    </a:lnTo>
                    <a:lnTo>
                      <a:pt x="260" y="123"/>
                    </a:lnTo>
                    <a:lnTo>
                      <a:pt x="256" y="123"/>
                    </a:lnTo>
                    <a:lnTo>
                      <a:pt x="254" y="121"/>
                    </a:lnTo>
                    <a:lnTo>
                      <a:pt x="252" y="121"/>
                    </a:lnTo>
                    <a:lnTo>
                      <a:pt x="250" y="120"/>
                    </a:lnTo>
                    <a:lnTo>
                      <a:pt x="250" y="120"/>
                    </a:lnTo>
                    <a:lnTo>
                      <a:pt x="248" y="118"/>
                    </a:lnTo>
                    <a:lnTo>
                      <a:pt x="248" y="114"/>
                    </a:lnTo>
                    <a:lnTo>
                      <a:pt x="246" y="110"/>
                    </a:lnTo>
                    <a:lnTo>
                      <a:pt x="246" y="108"/>
                    </a:lnTo>
                    <a:lnTo>
                      <a:pt x="244" y="108"/>
                    </a:lnTo>
                    <a:lnTo>
                      <a:pt x="244" y="108"/>
                    </a:lnTo>
                    <a:lnTo>
                      <a:pt x="243" y="108"/>
                    </a:lnTo>
                    <a:lnTo>
                      <a:pt x="243" y="108"/>
                    </a:lnTo>
                    <a:lnTo>
                      <a:pt x="243" y="110"/>
                    </a:lnTo>
                    <a:lnTo>
                      <a:pt x="243" y="110"/>
                    </a:lnTo>
                    <a:lnTo>
                      <a:pt x="243" y="112"/>
                    </a:lnTo>
                    <a:lnTo>
                      <a:pt x="243" y="112"/>
                    </a:lnTo>
                    <a:lnTo>
                      <a:pt x="243" y="114"/>
                    </a:lnTo>
                    <a:lnTo>
                      <a:pt x="243" y="114"/>
                    </a:lnTo>
                    <a:lnTo>
                      <a:pt x="243" y="116"/>
                    </a:lnTo>
                    <a:lnTo>
                      <a:pt x="241" y="118"/>
                    </a:lnTo>
                    <a:lnTo>
                      <a:pt x="241" y="118"/>
                    </a:lnTo>
                    <a:lnTo>
                      <a:pt x="241" y="118"/>
                    </a:lnTo>
                    <a:lnTo>
                      <a:pt x="239" y="118"/>
                    </a:lnTo>
                    <a:lnTo>
                      <a:pt x="239" y="118"/>
                    </a:lnTo>
                    <a:lnTo>
                      <a:pt x="237" y="116"/>
                    </a:lnTo>
                    <a:lnTo>
                      <a:pt x="237" y="114"/>
                    </a:lnTo>
                    <a:lnTo>
                      <a:pt x="235" y="114"/>
                    </a:lnTo>
                    <a:lnTo>
                      <a:pt x="235" y="114"/>
                    </a:lnTo>
                    <a:lnTo>
                      <a:pt x="235" y="116"/>
                    </a:lnTo>
                    <a:lnTo>
                      <a:pt x="235" y="118"/>
                    </a:lnTo>
                    <a:lnTo>
                      <a:pt x="235" y="118"/>
                    </a:lnTo>
                    <a:lnTo>
                      <a:pt x="235" y="118"/>
                    </a:lnTo>
                    <a:lnTo>
                      <a:pt x="233" y="120"/>
                    </a:lnTo>
                    <a:lnTo>
                      <a:pt x="233" y="120"/>
                    </a:lnTo>
                    <a:lnTo>
                      <a:pt x="231" y="120"/>
                    </a:lnTo>
                    <a:lnTo>
                      <a:pt x="229" y="120"/>
                    </a:lnTo>
                    <a:lnTo>
                      <a:pt x="229" y="118"/>
                    </a:lnTo>
                    <a:lnTo>
                      <a:pt x="227" y="118"/>
                    </a:lnTo>
                    <a:lnTo>
                      <a:pt x="225" y="118"/>
                    </a:lnTo>
                    <a:lnTo>
                      <a:pt x="223" y="114"/>
                    </a:lnTo>
                    <a:lnTo>
                      <a:pt x="222" y="114"/>
                    </a:lnTo>
                    <a:lnTo>
                      <a:pt x="222" y="116"/>
                    </a:lnTo>
                    <a:lnTo>
                      <a:pt x="220" y="116"/>
                    </a:lnTo>
                    <a:lnTo>
                      <a:pt x="220" y="116"/>
                    </a:lnTo>
                    <a:lnTo>
                      <a:pt x="220" y="118"/>
                    </a:lnTo>
                    <a:lnTo>
                      <a:pt x="220" y="118"/>
                    </a:lnTo>
                    <a:lnTo>
                      <a:pt x="220" y="120"/>
                    </a:lnTo>
                    <a:lnTo>
                      <a:pt x="222" y="120"/>
                    </a:lnTo>
                    <a:lnTo>
                      <a:pt x="225" y="121"/>
                    </a:lnTo>
                    <a:lnTo>
                      <a:pt x="225" y="121"/>
                    </a:lnTo>
                    <a:lnTo>
                      <a:pt x="225" y="121"/>
                    </a:lnTo>
                    <a:lnTo>
                      <a:pt x="225" y="123"/>
                    </a:lnTo>
                    <a:lnTo>
                      <a:pt x="222" y="123"/>
                    </a:lnTo>
                    <a:lnTo>
                      <a:pt x="222" y="123"/>
                    </a:lnTo>
                    <a:lnTo>
                      <a:pt x="222" y="123"/>
                    </a:lnTo>
                    <a:lnTo>
                      <a:pt x="222" y="125"/>
                    </a:lnTo>
                    <a:lnTo>
                      <a:pt x="222" y="125"/>
                    </a:lnTo>
                    <a:lnTo>
                      <a:pt x="222" y="125"/>
                    </a:lnTo>
                    <a:lnTo>
                      <a:pt x="222" y="127"/>
                    </a:lnTo>
                    <a:lnTo>
                      <a:pt x="222" y="127"/>
                    </a:lnTo>
                    <a:lnTo>
                      <a:pt x="222" y="127"/>
                    </a:lnTo>
                    <a:lnTo>
                      <a:pt x="222" y="129"/>
                    </a:lnTo>
                    <a:lnTo>
                      <a:pt x="220" y="129"/>
                    </a:lnTo>
                    <a:lnTo>
                      <a:pt x="220" y="131"/>
                    </a:lnTo>
                    <a:lnTo>
                      <a:pt x="218" y="139"/>
                    </a:lnTo>
                    <a:lnTo>
                      <a:pt x="216" y="140"/>
                    </a:lnTo>
                    <a:lnTo>
                      <a:pt x="216" y="142"/>
                    </a:lnTo>
                    <a:lnTo>
                      <a:pt x="216" y="144"/>
                    </a:lnTo>
                    <a:lnTo>
                      <a:pt x="216" y="144"/>
                    </a:lnTo>
                    <a:lnTo>
                      <a:pt x="218" y="146"/>
                    </a:lnTo>
                    <a:lnTo>
                      <a:pt x="218" y="148"/>
                    </a:lnTo>
                    <a:lnTo>
                      <a:pt x="218" y="148"/>
                    </a:lnTo>
                    <a:lnTo>
                      <a:pt x="220" y="150"/>
                    </a:lnTo>
                    <a:lnTo>
                      <a:pt x="222" y="152"/>
                    </a:lnTo>
                    <a:lnTo>
                      <a:pt x="222" y="152"/>
                    </a:lnTo>
                    <a:lnTo>
                      <a:pt x="222" y="154"/>
                    </a:lnTo>
                    <a:lnTo>
                      <a:pt x="222" y="156"/>
                    </a:lnTo>
                    <a:lnTo>
                      <a:pt x="218" y="158"/>
                    </a:lnTo>
                    <a:lnTo>
                      <a:pt x="214" y="159"/>
                    </a:lnTo>
                    <a:lnTo>
                      <a:pt x="212" y="159"/>
                    </a:lnTo>
                    <a:lnTo>
                      <a:pt x="210" y="161"/>
                    </a:lnTo>
                    <a:lnTo>
                      <a:pt x="204" y="163"/>
                    </a:lnTo>
                    <a:lnTo>
                      <a:pt x="201" y="169"/>
                    </a:lnTo>
                    <a:lnTo>
                      <a:pt x="199" y="169"/>
                    </a:lnTo>
                    <a:lnTo>
                      <a:pt x="199" y="171"/>
                    </a:lnTo>
                    <a:lnTo>
                      <a:pt x="195" y="169"/>
                    </a:lnTo>
                    <a:lnTo>
                      <a:pt x="193" y="171"/>
                    </a:lnTo>
                    <a:lnTo>
                      <a:pt x="191" y="171"/>
                    </a:lnTo>
                    <a:lnTo>
                      <a:pt x="189" y="173"/>
                    </a:lnTo>
                    <a:lnTo>
                      <a:pt x="187" y="173"/>
                    </a:lnTo>
                    <a:lnTo>
                      <a:pt x="182" y="171"/>
                    </a:lnTo>
                    <a:lnTo>
                      <a:pt x="180" y="171"/>
                    </a:lnTo>
                    <a:lnTo>
                      <a:pt x="178" y="169"/>
                    </a:lnTo>
                    <a:lnTo>
                      <a:pt x="178" y="169"/>
                    </a:lnTo>
                    <a:lnTo>
                      <a:pt x="176" y="163"/>
                    </a:lnTo>
                    <a:lnTo>
                      <a:pt x="176" y="163"/>
                    </a:lnTo>
                    <a:lnTo>
                      <a:pt x="172" y="161"/>
                    </a:lnTo>
                    <a:lnTo>
                      <a:pt x="172" y="159"/>
                    </a:lnTo>
                    <a:lnTo>
                      <a:pt x="170" y="159"/>
                    </a:lnTo>
                    <a:lnTo>
                      <a:pt x="168" y="159"/>
                    </a:lnTo>
                    <a:lnTo>
                      <a:pt x="166" y="159"/>
                    </a:lnTo>
                    <a:lnTo>
                      <a:pt x="164" y="159"/>
                    </a:lnTo>
                    <a:lnTo>
                      <a:pt x="161" y="161"/>
                    </a:lnTo>
                    <a:lnTo>
                      <a:pt x="159" y="163"/>
                    </a:lnTo>
                    <a:lnTo>
                      <a:pt x="159" y="165"/>
                    </a:lnTo>
                    <a:lnTo>
                      <a:pt x="159" y="165"/>
                    </a:lnTo>
                    <a:lnTo>
                      <a:pt x="159" y="167"/>
                    </a:lnTo>
                    <a:lnTo>
                      <a:pt x="157" y="167"/>
                    </a:lnTo>
                    <a:lnTo>
                      <a:pt x="157" y="169"/>
                    </a:lnTo>
                    <a:lnTo>
                      <a:pt x="151" y="167"/>
                    </a:lnTo>
                    <a:lnTo>
                      <a:pt x="149" y="167"/>
                    </a:lnTo>
                    <a:lnTo>
                      <a:pt x="147" y="169"/>
                    </a:lnTo>
                    <a:lnTo>
                      <a:pt x="143" y="169"/>
                    </a:lnTo>
                    <a:lnTo>
                      <a:pt x="141" y="167"/>
                    </a:lnTo>
                    <a:lnTo>
                      <a:pt x="138" y="165"/>
                    </a:lnTo>
                    <a:lnTo>
                      <a:pt x="136" y="165"/>
                    </a:lnTo>
                    <a:lnTo>
                      <a:pt x="136" y="165"/>
                    </a:lnTo>
                    <a:lnTo>
                      <a:pt x="132" y="165"/>
                    </a:lnTo>
                    <a:lnTo>
                      <a:pt x="128" y="163"/>
                    </a:lnTo>
                    <a:lnTo>
                      <a:pt x="126" y="163"/>
                    </a:lnTo>
                    <a:lnTo>
                      <a:pt x="124" y="161"/>
                    </a:lnTo>
                    <a:lnTo>
                      <a:pt x="124" y="163"/>
                    </a:lnTo>
                    <a:lnTo>
                      <a:pt x="122" y="165"/>
                    </a:lnTo>
                    <a:lnTo>
                      <a:pt x="121" y="169"/>
                    </a:lnTo>
                    <a:lnTo>
                      <a:pt x="117" y="175"/>
                    </a:lnTo>
                    <a:lnTo>
                      <a:pt x="115" y="177"/>
                    </a:lnTo>
                    <a:lnTo>
                      <a:pt x="113" y="179"/>
                    </a:lnTo>
                    <a:lnTo>
                      <a:pt x="111" y="180"/>
                    </a:lnTo>
                    <a:lnTo>
                      <a:pt x="111" y="180"/>
                    </a:lnTo>
                    <a:lnTo>
                      <a:pt x="111" y="182"/>
                    </a:lnTo>
                    <a:lnTo>
                      <a:pt x="111" y="184"/>
                    </a:lnTo>
                    <a:lnTo>
                      <a:pt x="111" y="184"/>
                    </a:lnTo>
                    <a:lnTo>
                      <a:pt x="109" y="184"/>
                    </a:lnTo>
                    <a:lnTo>
                      <a:pt x="109" y="184"/>
                    </a:lnTo>
                    <a:lnTo>
                      <a:pt x="107" y="184"/>
                    </a:lnTo>
                    <a:lnTo>
                      <a:pt x="105" y="188"/>
                    </a:lnTo>
                    <a:lnTo>
                      <a:pt x="105" y="190"/>
                    </a:lnTo>
                    <a:lnTo>
                      <a:pt x="105" y="190"/>
                    </a:lnTo>
                    <a:lnTo>
                      <a:pt x="105" y="192"/>
                    </a:lnTo>
                    <a:lnTo>
                      <a:pt x="105" y="192"/>
                    </a:lnTo>
                    <a:lnTo>
                      <a:pt x="107" y="194"/>
                    </a:lnTo>
                    <a:lnTo>
                      <a:pt x="107" y="196"/>
                    </a:lnTo>
                    <a:lnTo>
                      <a:pt x="105" y="196"/>
                    </a:lnTo>
                    <a:lnTo>
                      <a:pt x="101" y="198"/>
                    </a:lnTo>
                    <a:lnTo>
                      <a:pt x="100" y="198"/>
                    </a:lnTo>
                    <a:lnTo>
                      <a:pt x="98" y="198"/>
                    </a:lnTo>
                    <a:lnTo>
                      <a:pt x="98" y="194"/>
                    </a:lnTo>
                    <a:lnTo>
                      <a:pt x="98" y="194"/>
                    </a:lnTo>
                    <a:lnTo>
                      <a:pt x="96" y="192"/>
                    </a:lnTo>
                    <a:lnTo>
                      <a:pt x="96" y="192"/>
                    </a:lnTo>
                    <a:lnTo>
                      <a:pt x="96" y="192"/>
                    </a:lnTo>
                    <a:lnTo>
                      <a:pt x="96" y="190"/>
                    </a:lnTo>
                    <a:lnTo>
                      <a:pt x="96" y="190"/>
                    </a:lnTo>
                    <a:lnTo>
                      <a:pt x="94" y="188"/>
                    </a:lnTo>
                    <a:lnTo>
                      <a:pt x="92" y="186"/>
                    </a:lnTo>
                    <a:lnTo>
                      <a:pt x="92" y="186"/>
                    </a:lnTo>
                    <a:lnTo>
                      <a:pt x="92" y="186"/>
                    </a:lnTo>
                    <a:lnTo>
                      <a:pt x="92" y="184"/>
                    </a:lnTo>
                    <a:lnTo>
                      <a:pt x="92" y="184"/>
                    </a:lnTo>
                    <a:lnTo>
                      <a:pt x="92" y="184"/>
                    </a:lnTo>
                    <a:lnTo>
                      <a:pt x="92" y="184"/>
                    </a:lnTo>
                    <a:lnTo>
                      <a:pt x="90" y="180"/>
                    </a:lnTo>
                    <a:lnTo>
                      <a:pt x="90" y="180"/>
                    </a:lnTo>
                    <a:lnTo>
                      <a:pt x="90" y="180"/>
                    </a:lnTo>
                    <a:lnTo>
                      <a:pt x="90" y="179"/>
                    </a:lnTo>
                    <a:lnTo>
                      <a:pt x="92" y="179"/>
                    </a:lnTo>
                    <a:lnTo>
                      <a:pt x="92" y="179"/>
                    </a:lnTo>
                    <a:lnTo>
                      <a:pt x="94" y="179"/>
                    </a:lnTo>
                    <a:lnTo>
                      <a:pt x="94" y="177"/>
                    </a:lnTo>
                    <a:lnTo>
                      <a:pt x="94" y="177"/>
                    </a:lnTo>
                    <a:lnTo>
                      <a:pt x="94" y="177"/>
                    </a:lnTo>
                    <a:lnTo>
                      <a:pt x="94" y="175"/>
                    </a:lnTo>
                    <a:lnTo>
                      <a:pt x="94" y="173"/>
                    </a:lnTo>
                    <a:lnTo>
                      <a:pt x="94" y="173"/>
                    </a:lnTo>
                    <a:lnTo>
                      <a:pt x="94" y="171"/>
                    </a:lnTo>
                    <a:lnTo>
                      <a:pt x="94" y="171"/>
                    </a:lnTo>
                    <a:lnTo>
                      <a:pt x="96" y="171"/>
                    </a:lnTo>
                    <a:lnTo>
                      <a:pt x="96" y="171"/>
                    </a:lnTo>
                    <a:lnTo>
                      <a:pt x="96" y="171"/>
                    </a:lnTo>
                    <a:lnTo>
                      <a:pt x="96" y="171"/>
                    </a:lnTo>
                    <a:lnTo>
                      <a:pt x="98" y="171"/>
                    </a:lnTo>
                    <a:lnTo>
                      <a:pt x="98" y="171"/>
                    </a:lnTo>
                    <a:lnTo>
                      <a:pt x="98" y="171"/>
                    </a:lnTo>
                    <a:lnTo>
                      <a:pt x="98" y="171"/>
                    </a:lnTo>
                    <a:lnTo>
                      <a:pt x="98" y="171"/>
                    </a:lnTo>
                    <a:lnTo>
                      <a:pt x="98" y="169"/>
                    </a:lnTo>
                    <a:lnTo>
                      <a:pt x="98" y="169"/>
                    </a:lnTo>
                    <a:lnTo>
                      <a:pt x="96" y="165"/>
                    </a:lnTo>
                    <a:lnTo>
                      <a:pt x="94" y="163"/>
                    </a:lnTo>
                    <a:lnTo>
                      <a:pt x="94" y="163"/>
                    </a:lnTo>
                    <a:lnTo>
                      <a:pt x="94" y="161"/>
                    </a:lnTo>
                    <a:lnTo>
                      <a:pt x="94" y="159"/>
                    </a:lnTo>
                    <a:lnTo>
                      <a:pt x="92" y="159"/>
                    </a:lnTo>
                    <a:lnTo>
                      <a:pt x="92" y="159"/>
                    </a:lnTo>
                    <a:lnTo>
                      <a:pt x="92" y="159"/>
                    </a:lnTo>
                    <a:lnTo>
                      <a:pt x="90" y="159"/>
                    </a:lnTo>
                    <a:lnTo>
                      <a:pt x="88" y="159"/>
                    </a:lnTo>
                    <a:lnTo>
                      <a:pt x="88" y="161"/>
                    </a:lnTo>
                    <a:lnTo>
                      <a:pt x="88" y="161"/>
                    </a:lnTo>
                    <a:lnTo>
                      <a:pt x="88" y="163"/>
                    </a:lnTo>
                    <a:lnTo>
                      <a:pt x="88" y="165"/>
                    </a:lnTo>
                    <a:lnTo>
                      <a:pt x="86" y="165"/>
                    </a:lnTo>
                    <a:lnTo>
                      <a:pt x="86" y="165"/>
                    </a:lnTo>
                    <a:lnTo>
                      <a:pt x="86" y="163"/>
                    </a:lnTo>
                    <a:lnTo>
                      <a:pt x="84" y="163"/>
                    </a:lnTo>
                    <a:lnTo>
                      <a:pt x="84" y="161"/>
                    </a:lnTo>
                    <a:lnTo>
                      <a:pt x="82" y="161"/>
                    </a:lnTo>
                    <a:lnTo>
                      <a:pt x="80" y="159"/>
                    </a:lnTo>
                    <a:lnTo>
                      <a:pt x="80" y="159"/>
                    </a:lnTo>
                    <a:lnTo>
                      <a:pt x="80" y="156"/>
                    </a:lnTo>
                    <a:lnTo>
                      <a:pt x="80" y="156"/>
                    </a:lnTo>
                    <a:lnTo>
                      <a:pt x="80" y="156"/>
                    </a:lnTo>
                    <a:lnTo>
                      <a:pt x="80" y="154"/>
                    </a:lnTo>
                    <a:lnTo>
                      <a:pt x="80" y="154"/>
                    </a:lnTo>
                    <a:lnTo>
                      <a:pt x="80" y="154"/>
                    </a:lnTo>
                    <a:lnTo>
                      <a:pt x="80" y="154"/>
                    </a:lnTo>
                    <a:lnTo>
                      <a:pt x="80" y="152"/>
                    </a:lnTo>
                    <a:lnTo>
                      <a:pt x="80" y="152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6"/>
                    </a:lnTo>
                    <a:lnTo>
                      <a:pt x="80" y="146"/>
                    </a:lnTo>
                    <a:lnTo>
                      <a:pt x="80" y="144"/>
                    </a:lnTo>
                    <a:lnTo>
                      <a:pt x="79" y="146"/>
                    </a:lnTo>
                    <a:lnTo>
                      <a:pt x="79" y="146"/>
                    </a:lnTo>
                    <a:lnTo>
                      <a:pt x="79" y="148"/>
                    </a:lnTo>
                    <a:lnTo>
                      <a:pt x="79" y="148"/>
                    </a:lnTo>
                    <a:lnTo>
                      <a:pt x="79" y="150"/>
                    </a:lnTo>
                    <a:lnTo>
                      <a:pt x="79" y="150"/>
                    </a:lnTo>
                    <a:lnTo>
                      <a:pt x="77" y="150"/>
                    </a:lnTo>
                    <a:lnTo>
                      <a:pt x="77" y="150"/>
                    </a:lnTo>
                    <a:lnTo>
                      <a:pt x="77" y="152"/>
                    </a:lnTo>
                    <a:lnTo>
                      <a:pt x="75" y="152"/>
                    </a:lnTo>
                    <a:lnTo>
                      <a:pt x="71" y="152"/>
                    </a:lnTo>
                    <a:lnTo>
                      <a:pt x="69" y="154"/>
                    </a:lnTo>
                    <a:lnTo>
                      <a:pt x="67" y="154"/>
                    </a:lnTo>
                    <a:lnTo>
                      <a:pt x="67" y="152"/>
                    </a:lnTo>
                    <a:lnTo>
                      <a:pt x="65" y="152"/>
                    </a:lnTo>
                    <a:lnTo>
                      <a:pt x="65" y="150"/>
                    </a:lnTo>
                    <a:lnTo>
                      <a:pt x="65" y="150"/>
                    </a:lnTo>
                    <a:lnTo>
                      <a:pt x="61" y="148"/>
                    </a:lnTo>
                    <a:lnTo>
                      <a:pt x="61" y="148"/>
                    </a:lnTo>
                    <a:lnTo>
                      <a:pt x="61" y="146"/>
                    </a:lnTo>
                    <a:lnTo>
                      <a:pt x="59" y="146"/>
                    </a:lnTo>
                    <a:lnTo>
                      <a:pt x="59" y="144"/>
                    </a:lnTo>
                    <a:lnTo>
                      <a:pt x="59" y="144"/>
                    </a:lnTo>
                    <a:lnTo>
                      <a:pt x="59" y="142"/>
                    </a:lnTo>
                    <a:lnTo>
                      <a:pt x="58" y="142"/>
                    </a:lnTo>
                    <a:lnTo>
                      <a:pt x="58" y="142"/>
                    </a:lnTo>
                    <a:lnTo>
                      <a:pt x="56" y="140"/>
                    </a:lnTo>
                    <a:lnTo>
                      <a:pt x="50" y="140"/>
                    </a:lnTo>
                    <a:lnTo>
                      <a:pt x="48" y="140"/>
                    </a:lnTo>
                    <a:lnTo>
                      <a:pt x="48" y="139"/>
                    </a:lnTo>
                    <a:lnTo>
                      <a:pt x="48" y="139"/>
                    </a:lnTo>
                    <a:lnTo>
                      <a:pt x="46" y="137"/>
                    </a:lnTo>
                    <a:lnTo>
                      <a:pt x="46" y="137"/>
                    </a:lnTo>
                    <a:lnTo>
                      <a:pt x="46" y="137"/>
                    </a:lnTo>
                    <a:lnTo>
                      <a:pt x="44" y="137"/>
                    </a:lnTo>
                    <a:lnTo>
                      <a:pt x="39" y="139"/>
                    </a:lnTo>
                    <a:lnTo>
                      <a:pt x="37" y="139"/>
                    </a:lnTo>
                    <a:lnTo>
                      <a:pt x="35" y="139"/>
                    </a:lnTo>
                    <a:lnTo>
                      <a:pt x="33" y="139"/>
                    </a:lnTo>
                    <a:lnTo>
                      <a:pt x="33" y="139"/>
                    </a:lnTo>
                    <a:lnTo>
                      <a:pt x="29" y="142"/>
                    </a:lnTo>
                    <a:lnTo>
                      <a:pt x="27" y="142"/>
                    </a:lnTo>
                    <a:lnTo>
                      <a:pt x="27" y="144"/>
                    </a:lnTo>
                    <a:lnTo>
                      <a:pt x="25" y="146"/>
                    </a:lnTo>
                    <a:lnTo>
                      <a:pt x="25" y="146"/>
                    </a:lnTo>
                    <a:lnTo>
                      <a:pt x="25" y="148"/>
                    </a:lnTo>
                    <a:lnTo>
                      <a:pt x="23" y="146"/>
                    </a:lnTo>
                    <a:lnTo>
                      <a:pt x="16" y="144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48"/>
                    </a:lnTo>
                    <a:lnTo>
                      <a:pt x="10" y="148"/>
                    </a:lnTo>
                    <a:lnTo>
                      <a:pt x="10" y="150"/>
                    </a:lnTo>
                    <a:lnTo>
                      <a:pt x="12" y="150"/>
                    </a:lnTo>
                    <a:lnTo>
                      <a:pt x="12" y="152"/>
                    </a:lnTo>
                    <a:lnTo>
                      <a:pt x="12" y="154"/>
                    </a:lnTo>
                    <a:lnTo>
                      <a:pt x="12" y="156"/>
                    </a:lnTo>
                    <a:lnTo>
                      <a:pt x="12" y="156"/>
                    </a:lnTo>
                    <a:lnTo>
                      <a:pt x="10" y="158"/>
                    </a:lnTo>
                    <a:lnTo>
                      <a:pt x="8" y="158"/>
                    </a:lnTo>
                    <a:lnTo>
                      <a:pt x="4" y="159"/>
                    </a:lnTo>
                    <a:lnTo>
                      <a:pt x="4" y="159"/>
                    </a:lnTo>
                    <a:lnTo>
                      <a:pt x="4" y="159"/>
                    </a:lnTo>
                    <a:lnTo>
                      <a:pt x="2" y="161"/>
                    </a:lnTo>
                    <a:lnTo>
                      <a:pt x="2" y="163"/>
                    </a:lnTo>
                    <a:lnTo>
                      <a:pt x="0" y="167"/>
                    </a:lnTo>
                    <a:lnTo>
                      <a:pt x="0" y="169"/>
                    </a:lnTo>
                    <a:lnTo>
                      <a:pt x="0" y="171"/>
                    </a:lnTo>
                    <a:lnTo>
                      <a:pt x="2" y="171"/>
                    </a:lnTo>
                    <a:lnTo>
                      <a:pt x="2" y="173"/>
                    </a:lnTo>
                    <a:lnTo>
                      <a:pt x="4" y="173"/>
                    </a:lnTo>
                    <a:lnTo>
                      <a:pt x="6" y="173"/>
                    </a:lnTo>
                    <a:lnTo>
                      <a:pt x="6" y="173"/>
                    </a:lnTo>
                    <a:lnTo>
                      <a:pt x="8" y="173"/>
                    </a:lnTo>
                    <a:lnTo>
                      <a:pt x="8" y="173"/>
                    </a:lnTo>
                    <a:lnTo>
                      <a:pt x="10" y="171"/>
                    </a:lnTo>
                    <a:lnTo>
                      <a:pt x="10" y="171"/>
                    </a:lnTo>
                    <a:lnTo>
                      <a:pt x="12" y="171"/>
                    </a:lnTo>
                    <a:lnTo>
                      <a:pt x="14" y="171"/>
                    </a:lnTo>
                    <a:lnTo>
                      <a:pt x="14" y="169"/>
                    </a:lnTo>
                    <a:lnTo>
                      <a:pt x="14" y="169"/>
                    </a:lnTo>
                    <a:lnTo>
                      <a:pt x="16" y="169"/>
                    </a:lnTo>
                    <a:lnTo>
                      <a:pt x="16" y="169"/>
                    </a:lnTo>
                    <a:lnTo>
                      <a:pt x="16" y="167"/>
                    </a:lnTo>
                    <a:lnTo>
                      <a:pt x="18" y="169"/>
                    </a:lnTo>
                    <a:lnTo>
                      <a:pt x="18" y="169"/>
                    </a:lnTo>
                    <a:lnTo>
                      <a:pt x="19" y="171"/>
                    </a:lnTo>
                    <a:lnTo>
                      <a:pt x="19" y="173"/>
                    </a:lnTo>
                    <a:lnTo>
                      <a:pt x="19" y="175"/>
                    </a:lnTo>
                    <a:lnTo>
                      <a:pt x="18" y="179"/>
                    </a:lnTo>
                    <a:lnTo>
                      <a:pt x="16" y="182"/>
                    </a:lnTo>
                    <a:lnTo>
                      <a:pt x="16" y="194"/>
                    </a:lnTo>
                    <a:lnTo>
                      <a:pt x="16" y="196"/>
                    </a:lnTo>
                    <a:lnTo>
                      <a:pt x="16" y="198"/>
                    </a:lnTo>
                    <a:lnTo>
                      <a:pt x="19" y="201"/>
                    </a:lnTo>
                    <a:lnTo>
                      <a:pt x="19" y="203"/>
                    </a:lnTo>
                    <a:lnTo>
                      <a:pt x="19" y="203"/>
                    </a:lnTo>
                    <a:lnTo>
                      <a:pt x="19" y="209"/>
                    </a:lnTo>
                    <a:lnTo>
                      <a:pt x="19" y="211"/>
                    </a:lnTo>
                    <a:lnTo>
                      <a:pt x="19" y="211"/>
                    </a:lnTo>
                    <a:lnTo>
                      <a:pt x="18" y="211"/>
                    </a:lnTo>
                    <a:lnTo>
                      <a:pt x="16" y="211"/>
                    </a:lnTo>
                    <a:lnTo>
                      <a:pt x="14" y="211"/>
                    </a:lnTo>
                    <a:lnTo>
                      <a:pt x="12" y="211"/>
                    </a:lnTo>
                    <a:lnTo>
                      <a:pt x="12" y="213"/>
                    </a:lnTo>
                    <a:lnTo>
                      <a:pt x="10" y="215"/>
                    </a:lnTo>
                    <a:lnTo>
                      <a:pt x="10" y="215"/>
                    </a:lnTo>
                    <a:lnTo>
                      <a:pt x="10" y="217"/>
                    </a:lnTo>
                    <a:lnTo>
                      <a:pt x="12" y="217"/>
                    </a:lnTo>
                    <a:lnTo>
                      <a:pt x="12" y="218"/>
                    </a:lnTo>
                    <a:lnTo>
                      <a:pt x="14" y="220"/>
                    </a:lnTo>
                    <a:lnTo>
                      <a:pt x="14" y="222"/>
                    </a:lnTo>
                    <a:lnTo>
                      <a:pt x="16" y="224"/>
                    </a:lnTo>
                    <a:lnTo>
                      <a:pt x="18" y="226"/>
                    </a:lnTo>
                    <a:lnTo>
                      <a:pt x="18" y="228"/>
                    </a:lnTo>
                    <a:lnTo>
                      <a:pt x="19" y="230"/>
                    </a:lnTo>
                    <a:lnTo>
                      <a:pt x="19" y="230"/>
                    </a:lnTo>
                    <a:lnTo>
                      <a:pt x="21" y="232"/>
                    </a:lnTo>
                    <a:lnTo>
                      <a:pt x="21" y="232"/>
                    </a:lnTo>
                    <a:lnTo>
                      <a:pt x="23" y="230"/>
                    </a:lnTo>
                    <a:lnTo>
                      <a:pt x="23" y="230"/>
                    </a:lnTo>
                    <a:lnTo>
                      <a:pt x="23" y="228"/>
                    </a:lnTo>
                    <a:lnTo>
                      <a:pt x="23" y="228"/>
                    </a:lnTo>
                    <a:lnTo>
                      <a:pt x="25" y="226"/>
                    </a:lnTo>
                    <a:lnTo>
                      <a:pt x="25" y="226"/>
                    </a:lnTo>
                    <a:lnTo>
                      <a:pt x="25" y="226"/>
                    </a:lnTo>
                    <a:lnTo>
                      <a:pt x="27" y="226"/>
                    </a:lnTo>
                    <a:lnTo>
                      <a:pt x="31" y="226"/>
                    </a:lnTo>
                    <a:lnTo>
                      <a:pt x="33" y="226"/>
                    </a:lnTo>
                    <a:lnTo>
                      <a:pt x="37" y="226"/>
                    </a:lnTo>
                    <a:lnTo>
                      <a:pt x="39" y="226"/>
                    </a:lnTo>
                    <a:lnTo>
                      <a:pt x="39" y="226"/>
                    </a:lnTo>
                    <a:lnTo>
                      <a:pt x="40" y="226"/>
                    </a:lnTo>
                    <a:lnTo>
                      <a:pt x="42" y="224"/>
                    </a:lnTo>
                    <a:lnTo>
                      <a:pt x="42" y="222"/>
                    </a:lnTo>
                    <a:lnTo>
                      <a:pt x="44" y="222"/>
                    </a:lnTo>
                    <a:lnTo>
                      <a:pt x="46" y="220"/>
                    </a:lnTo>
                    <a:lnTo>
                      <a:pt x="48" y="220"/>
                    </a:lnTo>
                    <a:lnTo>
                      <a:pt x="48" y="220"/>
                    </a:lnTo>
                    <a:lnTo>
                      <a:pt x="50" y="222"/>
                    </a:lnTo>
                    <a:lnTo>
                      <a:pt x="52" y="222"/>
                    </a:lnTo>
                    <a:lnTo>
                      <a:pt x="54" y="222"/>
                    </a:lnTo>
                    <a:lnTo>
                      <a:pt x="56" y="224"/>
                    </a:lnTo>
                    <a:lnTo>
                      <a:pt x="58" y="224"/>
                    </a:lnTo>
                    <a:lnTo>
                      <a:pt x="59" y="226"/>
                    </a:lnTo>
                    <a:lnTo>
                      <a:pt x="59" y="228"/>
                    </a:lnTo>
                    <a:lnTo>
                      <a:pt x="59" y="228"/>
                    </a:lnTo>
                    <a:lnTo>
                      <a:pt x="59" y="230"/>
                    </a:lnTo>
                    <a:lnTo>
                      <a:pt x="61" y="232"/>
                    </a:lnTo>
                    <a:lnTo>
                      <a:pt x="63" y="236"/>
                    </a:lnTo>
                    <a:lnTo>
                      <a:pt x="63" y="237"/>
                    </a:lnTo>
                    <a:lnTo>
                      <a:pt x="65" y="237"/>
                    </a:lnTo>
                    <a:lnTo>
                      <a:pt x="65" y="237"/>
                    </a:lnTo>
                    <a:lnTo>
                      <a:pt x="67" y="237"/>
                    </a:lnTo>
                    <a:lnTo>
                      <a:pt x="67" y="239"/>
                    </a:lnTo>
                    <a:lnTo>
                      <a:pt x="69" y="237"/>
                    </a:lnTo>
                    <a:lnTo>
                      <a:pt x="71" y="237"/>
                    </a:lnTo>
                    <a:lnTo>
                      <a:pt x="73" y="237"/>
                    </a:lnTo>
                    <a:lnTo>
                      <a:pt x="73" y="237"/>
                    </a:lnTo>
                    <a:lnTo>
                      <a:pt x="75" y="239"/>
                    </a:lnTo>
                    <a:lnTo>
                      <a:pt x="75" y="239"/>
                    </a:lnTo>
                    <a:lnTo>
                      <a:pt x="77" y="243"/>
                    </a:lnTo>
                    <a:lnTo>
                      <a:pt x="77" y="243"/>
                    </a:lnTo>
                    <a:lnTo>
                      <a:pt x="79" y="245"/>
                    </a:lnTo>
                    <a:lnTo>
                      <a:pt x="80" y="245"/>
                    </a:lnTo>
                    <a:lnTo>
                      <a:pt x="80" y="245"/>
                    </a:lnTo>
                    <a:lnTo>
                      <a:pt x="82" y="245"/>
                    </a:lnTo>
                    <a:lnTo>
                      <a:pt x="84" y="243"/>
                    </a:lnTo>
                    <a:lnTo>
                      <a:pt x="84" y="243"/>
                    </a:lnTo>
                    <a:lnTo>
                      <a:pt x="88" y="243"/>
                    </a:lnTo>
                    <a:lnTo>
                      <a:pt x="88" y="241"/>
                    </a:lnTo>
                    <a:lnTo>
                      <a:pt x="90" y="239"/>
                    </a:lnTo>
                    <a:lnTo>
                      <a:pt x="92" y="239"/>
                    </a:lnTo>
                    <a:lnTo>
                      <a:pt x="92" y="239"/>
                    </a:lnTo>
                    <a:lnTo>
                      <a:pt x="94" y="241"/>
                    </a:lnTo>
                    <a:lnTo>
                      <a:pt x="96" y="241"/>
                    </a:lnTo>
                    <a:lnTo>
                      <a:pt x="98" y="243"/>
                    </a:lnTo>
                    <a:lnTo>
                      <a:pt x="100" y="241"/>
                    </a:lnTo>
                    <a:lnTo>
                      <a:pt x="101" y="241"/>
                    </a:lnTo>
                    <a:lnTo>
                      <a:pt x="101" y="241"/>
                    </a:lnTo>
                    <a:lnTo>
                      <a:pt x="101" y="239"/>
                    </a:lnTo>
                    <a:lnTo>
                      <a:pt x="103" y="239"/>
                    </a:lnTo>
                    <a:lnTo>
                      <a:pt x="103" y="239"/>
                    </a:lnTo>
                    <a:lnTo>
                      <a:pt x="103" y="237"/>
                    </a:lnTo>
                    <a:lnTo>
                      <a:pt x="107" y="236"/>
                    </a:lnTo>
                    <a:lnTo>
                      <a:pt x="109" y="236"/>
                    </a:lnTo>
                    <a:lnTo>
                      <a:pt x="109" y="236"/>
                    </a:lnTo>
                    <a:lnTo>
                      <a:pt x="109" y="237"/>
                    </a:lnTo>
                    <a:lnTo>
                      <a:pt x="109" y="237"/>
                    </a:lnTo>
                    <a:lnTo>
                      <a:pt x="109" y="241"/>
                    </a:lnTo>
                    <a:lnTo>
                      <a:pt x="109" y="241"/>
                    </a:lnTo>
                    <a:lnTo>
                      <a:pt x="109" y="243"/>
                    </a:lnTo>
                    <a:lnTo>
                      <a:pt x="109" y="245"/>
                    </a:lnTo>
                    <a:lnTo>
                      <a:pt x="111" y="245"/>
                    </a:lnTo>
                    <a:lnTo>
                      <a:pt x="111" y="245"/>
                    </a:lnTo>
                    <a:lnTo>
                      <a:pt x="113" y="245"/>
                    </a:lnTo>
                    <a:lnTo>
                      <a:pt x="113" y="243"/>
                    </a:lnTo>
                    <a:lnTo>
                      <a:pt x="115" y="243"/>
                    </a:lnTo>
                    <a:lnTo>
                      <a:pt x="117" y="241"/>
                    </a:lnTo>
                    <a:lnTo>
                      <a:pt x="117" y="241"/>
                    </a:lnTo>
                    <a:lnTo>
                      <a:pt x="117" y="243"/>
                    </a:lnTo>
                    <a:lnTo>
                      <a:pt x="119" y="245"/>
                    </a:lnTo>
                    <a:lnTo>
                      <a:pt x="119" y="247"/>
                    </a:lnTo>
                    <a:lnTo>
                      <a:pt x="121" y="249"/>
                    </a:lnTo>
                    <a:lnTo>
                      <a:pt x="121" y="249"/>
                    </a:lnTo>
                    <a:lnTo>
                      <a:pt x="121" y="251"/>
                    </a:lnTo>
                    <a:lnTo>
                      <a:pt x="121" y="251"/>
                    </a:lnTo>
                    <a:lnTo>
                      <a:pt x="119" y="251"/>
                    </a:lnTo>
                    <a:lnTo>
                      <a:pt x="119" y="253"/>
                    </a:lnTo>
                    <a:lnTo>
                      <a:pt x="117" y="253"/>
                    </a:lnTo>
                    <a:lnTo>
                      <a:pt x="117" y="253"/>
                    </a:lnTo>
                    <a:lnTo>
                      <a:pt x="117" y="253"/>
                    </a:lnTo>
                    <a:lnTo>
                      <a:pt x="115" y="255"/>
                    </a:lnTo>
                    <a:lnTo>
                      <a:pt x="117" y="255"/>
                    </a:lnTo>
                    <a:lnTo>
                      <a:pt x="117" y="257"/>
                    </a:lnTo>
                    <a:lnTo>
                      <a:pt x="117" y="258"/>
                    </a:lnTo>
                    <a:lnTo>
                      <a:pt x="119" y="258"/>
                    </a:lnTo>
                    <a:lnTo>
                      <a:pt x="119" y="260"/>
                    </a:lnTo>
                    <a:lnTo>
                      <a:pt x="117" y="260"/>
                    </a:lnTo>
                    <a:lnTo>
                      <a:pt x="117" y="262"/>
                    </a:lnTo>
                    <a:lnTo>
                      <a:pt x="119" y="264"/>
                    </a:lnTo>
                    <a:lnTo>
                      <a:pt x="119" y="264"/>
                    </a:lnTo>
                    <a:lnTo>
                      <a:pt x="119" y="266"/>
                    </a:lnTo>
                    <a:lnTo>
                      <a:pt x="122" y="270"/>
                    </a:lnTo>
                    <a:lnTo>
                      <a:pt x="124" y="276"/>
                    </a:lnTo>
                    <a:lnTo>
                      <a:pt x="126" y="276"/>
                    </a:lnTo>
                    <a:lnTo>
                      <a:pt x="132" y="277"/>
                    </a:lnTo>
                    <a:lnTo>
                      <a:pt x="132" y="279"/>
                    </a:lnTo>
                    <a:lnTo>
                      <a:pt x="134" y="279"/>
                    </a:lnTo>
                    <a:lnTo>
                      <a:pt x="134" y="279"/>
                    </a:lnTo>
                    <a:lnTo>
                      <a:pt x="134" y="281"/>
                    </a:lnTo>
                    <a:lnTo>
                      <a:pt x="134" y="283"/>
                    </a:lnTo>
                    <a:lnTo>
                      <a:pt x="134" y="285"/>
                    </a:lnTo>
                    <a:lnTo>
                      <a:pt x="132" y="285"/>
                    </a:lnTo>
                    <a:lnTo>
                      <a:pt x="130" y="287"/>
                    </a:lnTo>
                    <a:lnTo>
                      <a:pt x="130" y="287"/>
                    </a:lnTo>
                    <a:lnTo>
                      <a:pt x="130" y="289"/>
                    </a:lnTo>
                    <a:lnTo>
                      <a:pt x="130" y="289"/>
                    </a:lnTo>
                    <a:lnTo>
                      <a:pt x="130" y="293"/>
                    </a:lnTo>
                    <a:lnTo>
                      <a:pt x="132" y="296"/>
                    </a:lnTo>
                    <a:lnTo>
                      <a:pt x="132" y="298"/>
                    </a:lnTo>
                    <a:lnTo>
                      <a:pt x="134" y="302"/>
                    </a:lnTo>
                    <a:lnTo>
                      <a:pt x="134" y="304"/>
                    </a:lnTo>
                    <a:lnTo>
                      <a:pt x="134" y="306"/>
                    </a:lnTo>
                    <a:lnTo>
                      <a:pt x="136" y="308"/>
                    </a:lnTo>
                    <a:lnTo>
                      <a:pt x="138" y="314"/>
                    </a:lnTo>
                    <a:lnTo>
                      <a:pt x="141" y="325"/>
                    </a:lnTo>
                    <a:lnTo>
                      <a:pt x="143" y="329"/>
                    </a:lnTo>
                    <a:lnTo>
                      <a:pt x="145" y="333"/>
                    </a:lnTo>
                    <a:lnTo>
                      <a:pt x="147" y="335"/>
                    </a:lnTo>
                    <a:lnTo>
                      <a:pt x="149" y="338"/>
                    </a:lnTo>
                    <a:lnTo>
                      <a:pt x="151" y="340"/>
                    </a:lnTo>
                    <a:lnTo>
                      <a:pt x="151" y="340"/>
                    </a:lnTo>
                    <a:lnTo>
                      <a:pt x="153" y="342"/>
                    </a:lnTo>
                    <a:lnTo>
                      <a:pt x="157" y="348"/>
                    </a:lnTo>
                    <a:lnTo>
                      <a:pt x="162" y="352"/>
                    </a:lnTo>
                    <a:lnTo>
                      <a:pt x="164" y="354"/>
                    </a:lnTo>
                    <a:lnTo>
                      <a:pt x="166" y="354"/>
                    </a:lnTo>
                    <a:lnTo>
                      <a:pt x="166" y="355"/>
                    </a:lnTo>
                    <a:lnTo>
                      <a:pt x="164" y="355"/>
                    </a:lnTo>
                    <a:lnTo>
                      <a:pt x="164" y="357"/>
                    </a:lnTo>
                    <a:lnTo>
                      <a:pt x="166" y="359"/>
                    </a:lnTo>
                    <a:lnTo>
                      <a:pt x="166" y="359"/>
                    </a:lnTo>
                    <a:lnTo>
                      <a:pt x="168" y="359"/>
                    </a:lnTo>
                    <a:lnTo>
                      <a:pt x="168" y="359"/>
                    </a:lnTo>
                    <a:lnTo>
                      <a:pt x="170" y="359"/>
                    </a:lnTo>
                    <a:lnTo>
                      <a:pt x="172" y="359"/>
                    </a:lnTo>
                    <a:lnTo>
                      <a:pt x="174" y="361"/>
                    </a:lnTo>
                    <a:lnTo>
                      <a:pt x="176" y="363"/>
                    </a:lnTo>
                    <a:lnTo>
                      <a:pt x="178" y="363"/>
                    </a:lnTo>
                    <a:lnTo>
                      <a:pt x="180" y="363"/>
                    </a:lnTo>
                    <a:lnTo>
                      <a:pt x="183" y="367"/>
                    </a:lnTo>
                    <a:lnTo>
                      <a:pt x="189" y="373"/>
                    </a:lnTo>
                    <a:lnTo>
                      <a:pt x="197" y="384"/>
                    </a:lnTo>
                    <a:lnTo>
                      <a:pt x="199" y="386"/>
                    </a:lnTo>
                    <a:lnTo>
                      <a:pt x="201" y="390"/>
                    </a:lnTo>
                    <a:lnTo>
                      <a:pt x="201" y="390"/>
                    </a:lnTo>
                    <a:lnTo>
                      <a:pt x="203" y="392"/>
                    </a:lnTo>
                    <a:lnTo>
                      <a:pt x="203" y="394"/>
                    </a:lnTo>
                    <a:lnTo>
                      <a:pt x="204" y="395"/>
                    </a:lnTo>
                    <a:lnTo>
                      <a:pt x="204" y="397"/>
                    </a:lnTo>
                    <a:lnTo>
                      <a:pt x="203" y="399"/>
                    </a:lnTo>
                    <a:lnTo>
                      <a:pt x="203" y="397"/>
                    </a:lnTo>
                    <a:lnTo>
                      <a:pt x="201" y="397"/>
                    </a:lnTo>
                    <a:lnTo>
                      <a:pt x="199" y="395"/>
                    </a:lnTo>
                    <a:lnTo>
                      <a:pt x="199" y="394"/>
                    </a:lnTo>
                    <a:lnTo>
                      <a:pt x="197" y="395"/>
                    </a:lnTo>
                    <a:lnTo>
                      <a:pt x="197" y="395"/>
                    </a:lnTo>
                    <a:lnTo>
                      <a:pt x="195" y="397"/>
                    </a:lnTo>
                    <a:lnTo>
                      <a:pt x="195" y="399"/>
                    </a:lnTo>
                    <a:lnTo>
                      <a:pt x="193" y="399"/>
                    </a:lnTo>
                    <a:lnTo>
                      <a:pt x="191" y="401"/>
                    </a:lnTo>
                    <a:lnTo>
                      <a:pt x="189" y="401"/>
                    </a:lnTo>
                    <a:lnTo>
                      <a:pt x="187" y="401"/>
                    </a:lnTo>
                    <a:lnTo>
                      <a:pt x="187" y="403"/>
                    </a:lnTo>
                    <a:lnTo>
                      <a:pt x="187" y="405"/>
                    </a:lnTo>
                    <a:lnTo>
                      <a:pt x="187" y="405"/>
                    </a:lnTo>
                    <a:lnTo>
                      <a:pt x="187" y="407"/>
                    </a:lnTo>
                    <a:lnTo>
                      <a:pt x="191" y="409"/>
                    </a:lnTo>
                    <a:lnTo>
                      <a:pt x="191" y="409"/>
                    </a:lnTo>
                    <a:lnTo>
                      <a:pt x="193" y="409"/>
                    </a:lnTo>
                    <a:lnTo>
                      <a:pt x="193" y="409"/>
                    </a:lnTo>
                    <a:lnTo>
                      <a:pt x="193" y="407"/>
                    </a:lnTo>
                    <a:lnTo>
                      <a:pt x="195" y="407"/>
                    </a:lnTo>
                    <a:lnTo>
                      <a:pt x="195" y="405"/>
                    </a:lnTo>
                    <a:lnTo>
                      <a:pt x="195" y="405"/>
                    </a:lnTo>
                    <a:lnTo>
                      <a:pt x="197" y="405"/>
                    </a:lnTo>
                    <a:lnTo>
                      <a:pt x="197" y="407"/>
                    </a:lnTo>
                    <a:lnTo>
                      <a:pt x="197" y="409"/>
                    </a:lnTo>
                    <a:lnTo>
                      <a:pt x="197" y="409"/>
                    </a:lnTo>
                    <a:lnTo>
                      <a:pt x="195" y="413"/>
                    </a:lnTo>
                    <a:lnTo>
                      <a:pt x="193" y="414"/>
                    </a:lnTo>
                    <a:lnTo>
                      <a:pt x="193" y="414"/>
                    </a:lnTo>
                    <a:lnTo>
                      <a:pt x="193" y="416"/>
                    </a:lnTo>
                    <a:lnTo>
                      <a:pt x="191" y="418"/>
                    </a:lnTo>
                    <a:lnTo>
                      <a:pt x="191" y="418"/>
                    </a:lnTo>
                    <a:lnTo>
                      <a:pt x="191" y="420"/>
                    </a:lnTo>
                    <a:lnTo>
                      <a:pt x="189" y="420"/>
                    </a:lnTo>
                    <a:lnTo>
                      <a:pt x="189" y="420"/>
                    </a:lnTo>
                    <a:lnTo>
                      <a:pt x="189" y="420"/>
                    </a:lnTo>
                    <a:lnTo>
                      <a:pt x="191" y="422"/>
                    </a:lnTo>
                    <a:lnTo>
                      <a:pt x="191" y="422"/>
                    </a:lnTo>
                    <a:lnTo>
                      <a:pt x="193" y="424"/>
                    </a:lnTo>
                    <a:lnTo>
                      <a:pt x="193" y="426"/>
                    </a:lnTo>
                    <a:lnTo>
                      <a:pt x="191" y="426"/>
                    </a:lnTo>
                    <a:lnTo>
                      <a:pt x="191" y="428"/>
                    </a:lnTo>
                    <a:lnTo>
                      <a:pt x="189" y="428"/>
                    </a:lnTo>
                    <a:lnTo>
                      <a:pt x="189" y="428"/>
                    </a:lnTo>
                    <a:lnTo>
                      <a:pt x="185" y="428"/>
                    </a:lnTo>
                    <a:lnTo>
                      <a:pt x="185" y="428"/>
                    </a:lnTo>
                    <a:lnTo>
                      <a:pt x="185" y="430"/>
                    </a:lnTo>
                    <a:lnTo>
                      <a:pt x="185" y="433"/>
                    </a:lnTo>
                    <a:lnTo>
                      <a:pt x="189" y="435"/>
                    </a:lnTo>
                    <a:lnTo>
                      <a:pt x="189" y="435"/>
                    </a:lnTo>
                    <a:lnTo>
                      <a:pt x="191" y="437"/>
                    </a:lnTo>
                    <a:lnTo>
                      <a:pt x="191" y="437"/>
                    </a:lnTo>
                    <a:lnTo>
                      <a:pt x="191" y="439"/>
                    </a:lnTo>
                    <a:lnTo>
                      <a:pt x="191" y="441"/>
                    </a:lnTo>
                    <a:lnTo>
                      <a:pt x="193" y="443"/>
                    </a:lnTo>
                    <a:lnTo>
                      <a:pt x="193" y="443"/>
                    </a:lnTo>
                    <a:lnTo>
                      <a:pt x="206" y="441"/>
                    </a:lnTo>
                    <a:lnTo>
                      <a:pt x="208" y="441"/>
                    </a:lnTo>
                    <a:lnTo>
                      <a:pt x="212" y="445"/>
                    </a:lnTo>
                    <a:lnTo>
                      <a:pt x="216" y="449"/>
                    </a:lnTo>
                    <a:lnTo>
                      <a:pt x="220" y="445"/>
                    </a:lnTo>
                    <a:lnTo>
                      <a:pt x="220" y="445"/>
                    </a:lnTo>
                    <a:lnTo>
                      <a:pt x="222" y="443"/>
                    </a:lnTo>
                    <a:lnTo>
                      <a:pt x="220" y="443"/>
                    </a:lnTo>
                    <a:lnTo>
                      <a:pt x="220" y="441"/>
                    </a:lnTo>
                    <a:lnTo>
                      <a:pt x="220" y="441"/>
                    </a:lnTo>
                    <a:lnTo>
                      <a:pt x="220" y="439"/>
                    </a:lnTo>
                    <a:lnTo>
                      <a:pt x="220" y="437"/>
                    </a:lnTo>
                    <a:lnTo>
                      <a:pt x="220" y="437"/>
                    </a:lnTo>
                    <a:lnTo>
                      <a:pt x="218" y="435"/>
                    </a:lnTo>
                    <a:lnTo>
                      <a:pt x="216" y="433"/>
                    </a:lnTo>
                    <a:lnTo>
                      <a:pt x="216" y="432"/>
                    </a:lnTo>
                    <a:lnTo>
                      <a:pt x="216" y="430"/>
                    </a:lnTo>
                    <a:lnTo>
                      <a:pt x="216" y="428"/>
                    </a:lnTo>
                    <a:lnTo>
                      <a:pt x="214" y="422"/>
                    </a:lnTo>
                    <a:lnTo>
                      <a:pt x="214" y="418"/>
                    </a:lnTo>
                    <a:lnTo>
                      <a:pt x="214" y="416"/>
                    </a:lnTo>
                    <a:lnTo>
                      <a:pt x="214" y="414"/>
                    </a:lnTo>
                    <a:lnTo>
                      <a:pt x="214" y="413"/>
                    </a:lnTo>
                    <a:lnTo>
                      <a:pt x="214" y="413"/>
                    </a:lnTo>
                    <a:lnTo>
                      <a:pt x="216" y="411"/>
                    </a:lnTo>
                    <a:lnTo>
                      <a:pt x="216" y="411"/>
                    </a:lnTo>
                    <a:lnTo>
                      <a:pt x="216" y="411"/>
                    </a:lnTo>
                    <a:lnTo>
                      <a:pt x="218" y="411"/>
                    </a:lnTo>
                    <a:lnTo>
                      <a:pt x="220" y="411"/>
                    </a:lnTo>
                    <a:lnTo>
                      <a:pt x="222" y="411"/>
                    </a:lnTo>
                    <a:lnTo>
                      <a:pt x="222" y="411"/>
                    </a:lnTo>
                    <a:lnTo>
                      <a:pt x="223" y="411"/>
                    </a:lnTo>
                    <a:lnTo>
                      <a:pt x="223" y="411"/>
                    </a:lnTo>
                    <a:lnTo>
                      <a:pt x="225" y="409"/>
                    </a:lnTo>
                    <a:lnTo>
                      <a:pt x="225" y="409"/>
                    </a:lnTo>
                    <a:lnTo>
                      <a:pt x="227" y="411"/>
                    </a:lnTo>
                    <a:lnTo>
                      <a:pt x="233" y="414"/>
                    </a:lnTo>
                    <a:lnTo>
                      <a:pt x="233" y="414"/>
                    </a:lnTo>
                    <a:lnTo>
                      <a:pt x="235" y="414"/>
                    </a:lnTo>
                    <a:lnTo>
                      <a:pt x="237" y="413"/>
                    </a:lnTo>
                    <a:lnTo>
                      <a:pt x="237" y="411"/>
                    </a:lnTo>
                    <a:lnTo>
                      <a:pt x="237" y="409"/>
                    </a:lnTo>
                    <a:lnTo>
                      <a:pt x="237" y="407"/>
                    </a:lnTo>
                    <a:lnTo>
                      <a:pt x="235" y="407"/>
                    </a:lnTo>
                    <a:lnTo>
                      <a:pt x="233" y="407"/>
                    </a:lnTo>
                    <a:lnTo>
                      <a:pt x="233" y="405"/>
                    </a:lnTo>
                    <a:lnTo>
                      <a:pt x="231" y="405"/>
                    </a:lnTo>
                    <a:lnTo>
                      <a:pt x="233" y="403"/>
                    </a:lnTo>
                    <a:lnTo>
                      <a:pt x="233" y="403"/>
                    </a:lnTo>
                    <a:lnTo>
                      <a:pt x="235" y="403"/>
                    </a:lnTo>
                    <a:lnTo>
                      <a:pt x="237" y="403"/>
                    </a:lnTo>
                    <a:lnTo>
                      <a:pt x="237" y="401"/>
                    </a:lnTo>
                    <a:lnTo>
                      <a:pt x="237" y="401"/>
                    </a:lnTo>
                    <a:lnTo>
                      <a:pt x="235" y="399"/>
                    </a:lnTo>
                    <a:lnTo>
                      <a:pt x="233" y="399"/>
                    </a:lnTo>
                    <a:lnTo>
                      <a:pt x="233" y="397"/>
                    </a:lnTo>
                    <a:lnTo>
                      <a:pt x="231" y="395"/>
                    </a:lnTo>
                    <a:lnTo>
                      <a:pt x="231" y="394"/>
                    </a:lnTo>
                    <a:lnTo>
                      <a:pt x="231" y="394"/>
                    </a:lnTo>
                    <a:lnTo>
                      <a:pt x="233" y="392"/>
                    </a:lnTo>
                    <a:lnTo>
                      <a:pt x="235" y="394"/>
                    </a:lnTo>
                    <a:lnTo>
                      <a:pt x="235" y="394"/>
                    </a:lnTo>
                    <a:lnTo>
                      <a:pt x="237" y="394"/>
                    </a:lnTo>
                    <a:lnTo>
                      <a:pt x="237" y="395"/>
                    </a:lnTo>
                    <a:lnTo>
                      <a:pt x="237" y="395"/>
                    </a:lnTo>
                    <a:lnTo>
                      <a:pt x="237" y="397"/>
                    </a:lnTo>
                    <a:lnTo>
                      <a:pt x="239" y="397"/>
                    </a:lnTo>
                    <a:lnTo>
                      <a:pt x="239" y="397"/>
                    </a:lnTo>
                    <a:lnTo>
                      <a:pt x="239" y="399"/>
                    </a:lnTo>
                    <a:lnTo>
                      <a:pt x="241" y="399"/>
                    </a:lnTo>
                    <a:lnTo>
                      <a:pt x="246" y="397"/>
                    </a:lnTo>
                    <a:lnTo>
                      <a:pt x="248" y="397"/>
                    </a:lnTo>
                    <a:lnTo>
                      <a:pt x="250" y="397"/>
                    </a:lnTo>
                    <a:lnTo>
                      <a:pt x="250" y="397"/>
                    </a:lnTo>
                    <a:lnTo>
                      <a:pt x="254" y="403"/>
                    </a:lnTo>
                    <a:lnTo>
                      <a:pt x="254" y="403"/>
                    </a:lnTo>
                    <a:lnTo>
                      <a:pt x="254" y="405"/>
                    </a:lnTo>
                    <a:lnTo>
                      <a:pt x="254" y="405"/>
                    </a:lnTo>
                    <a:lnTo>
                      <a:pt x="254" y="405"/>
                    </a:lnTo>
                    <a:lnTo>
                      <a:pt x="252" y="405"/>
                    </a:lnTo>
                    <a:lnTo>
                      <a:pt x="250" y="403"/>
                    </a:lnTo>
                    <a:lnTo>
                      <a:pt x="250" y="403"/>
                    </a:lnTo>
                    <a:lnTo>
                      <a:pt x="250" y="403"/>
                    </a:lnTo>
                    <a:lnTo>
                      <a:pt x="248" y="405"/>
                    </a:lnTo>
                    <a:lnTo>
                      <a:pt x="250" y="405"/>
                    </a:lnTo>
                    <a:lnTo>
                      <a:pt x="250" y="407"/>
                    </a:lnTo>
                    <a:lnTo>
                      <a:pt x="252" y="409"/>
                    </a:lnTo>
                    <a:lnTo>
                      <a:pt x="254" y="409"/>
                    </a:lnTo>
                    <a:lnTo>
                      <a:pt x="254" y="409"/>
                    </a:lnTo>
                    <a:lnTo>
                      <a:pt x="254" y="409"/>
                    </a:lnTo>
                    <a:lnTo>
                      <a:pt x="254" y="409"/>
                    </a:lnTo>
                    <a:lnTo>
                      <a:pt x="250" y="411"/>
                    </a:lnTo>
                    <a:lnTo>
                      <a:pt x="250" y="411"/>
                    </a:lnTo>
                    <a:lnTo>
                      <a:pt x="250" y="413"/>
                    </a:lnTo>
                    <a:lnTo>
                      <a:pt x="250" y="413"/>
                    </a:lnTo>
                    <a:lnTo>
                      <a:pt x="254" y="414"/>
                    </a:lnTo>
                    <a:lnTo>
                      <a:pt x="256" y="414"/>
                    </a:lnTo>
                    <a:lnTo>
                      <a:pt x="258" y="414"/>
                    </a:lnTo>
                    <a:lnTo>
                      <a:pt x="258" y="414"/>
                    </a:lnTo>
                    <a:lnTo>
                      <a:pt x="260" y="416"/>
                    </a:lnTo>
                    <a:lnTo>
                      <a:pt x="260" y="416"/>
                    </a:lnTo>
                    <a:lnTo>
                      <a:pt x="262" y="422"/>
                    </a:lnTo>
                    <a:lnTo>
                      <a:pt x="262" y="424"/>
                    </a:lnTo>
                    <a:lnTo>
                      <a:pt x="262" y="424"/>
                    </a:lnTo>
                    <a:lnTo>
                      <a:pt x="264" y="426"/>
                    </a:lnTo>
                    <a:lnTo>
                      <a:pt x="264" y="426"/>
                    </a:lnTo>
                    <a:lnTo>
                      <a:pt x="265" y="424"/>
                    </a:lnTo>
                    <a:lnTo>
                      <a:pt x="267" y="422"/>
                    </a:lnTo>
                    <a:lnTo>
                      <a:pt x="267" y="422"/>
                    </a:lnTo>
                    <a:lnTo>
                      <a:pt x="267" y="420"/>
                    </a:lnTo>
                    <a:lnTo>
                      <a:pt x="269" y="420"/>
                    </a:lnTo>
                    <a:lnTo>
                      <a:pt x="271" y="420"/>
                    </a:lnTo>
                    <a:lnTo>
                      <a:pt x="273" y="420"/>
                    </a:lnTo>
                    <a:lnTo>
                      <a:pt x="275" y="418"/>
                    </a:lnTo>
                    <a:lnTo>
                      <a:pt x="277" y="418"/>
                    </a:lnTo>
                    <a:lnTo>
                      <a:pt x="277" y="418"/>
                    </a:lnTo>
                    <a:lnTo>
                      <a:pt x="277" y="416"/>
                    </a:lnTo>
                    <a:lnTo>
                      <a:pt x="275" y="414"/>
                    </a:lnTo>
                    <a:lnTo>
                      <a:pt x="275" y="413"/>
                    </a:lnTo>
                    <a:lnTo>
                      <a:pt x="275" y="411"/>
                    </a:lnTo>
                    <a:lnTo>
                      <a:pt x="275" y="411"/>
                    </a:lnTo>
                    <a:lnTo>
                      <a:pt x="275" y="409"/>
                    </a:lnTo>
                    <a:lnTo>
                      <a:pt x="275" y="409"/>
                    </a:lnTo>
                    <a:lnTo>
                      <a:pt x="275" y="409"/>
                    </a:lnTo>
                    <a:lnTo>
                      <a:pt x="277" y="407"/>
                    </a:lnTo>
                    <a:lnTo>
                      <a:pt x="279" y="407"/>
                    </a:lnTo>
                    <a:lnTo>
                      <a:pt x="279" y="405"/>
                    </a:lnTo>
                    <a:lnTo>
                      <a:pt x="281" y="403"/>
                    </a:lnTo>
                    <a:lnTo>
                      <a:pt x="283" y="403"/>
                    </a:lnTo>
                    <a:lnTo>
                      <a:pt x="283" y="403"/>
                    </a:lnTo>
                    <a:lnTo>
                      <a:pt x="285" y="401"/>
                    </a:lnTo>
                    <a:lnTo>
                      <a:pt x="286" y="399"/>
                    </a:lnTo>
                    <a:lnTo>
                      <a:pt x="288" y="399"/>
                    </a:lnTo>
                    <a:lnTo>
                      <a:pt x="292" y="395"/>
                    </a:lnTo>
                    <a:lnTo>
                      <a:pt x="292" y="392"/>
                    </a:lnTo>
                    <a:lnTo>
                      <a:pt x="294" y="392"/>
                    </a:lnTo>
                    <a:lnTo>
                      <a:pt x="294" y="390"/>
                    </a:lnTo>
                    <a:lnTo>
                      <a:pt x="298" y="388"/>
                    </a:lnTo>
                    <a:lnTo>
                      <a:pt x="298" y="388"/>
                    </a:lnTo>
                    <a:lnTo>
                      <a:pt x="300" y="388"/>
                    </a:lnTo>
                    <a:lnTo>
                      <a:pt x="300" y="388"/>
                    </a:lnTo>
                    <a:lnTo>
                      <a:pt x="302" y="388"/>
                    </a:lnTo>
                    <a:lnTo>
                      <a:pt x="302" y="390"/>
                    </a:lnTo>
                    <a:lnTo>
                      <a:pt x="304" y="390"/>
                    </a:lnTo>
                    <a:lnTo>
                      <a:pt x="304" y="392"/>
                    </a:lnTo>
                    <a:lnTo>
                      <a:pt x="305" y="394"/>
                    </a:lnTo>
                    <a:lnTo>
                      <a:pt x="309" y="397"/>
                    </a:lnTo>
                    <a:lnTo>
                      <a:pt x="311" y="399"/>
                    </a:lnTo>
                    <a:lnTo>
                      <a:pt x="311" y="401"/>
                    </a:lnTo>
                    <a:lnTo>
                      <a:pt x="311" y="401"/>
                    </a:lnTo>
                    <a:lnTo>
                      <a:pt x="311" y="403"/>
                    </a:lnTo>
                    <a:lnTo>
                      <a:pt x="309" y="411"/>
                    </a:lnTo>
                    <a:lnTo>
                      <a:pt x="309" y="414"/>
                    </a:lnTo>
                    <a:lnTo>
                      <a:pt x="309" y="416"/>
                    </a:lnTo>
                    <a:lnTo>
                      <a:pt x="309" y="418"/>
                    </a:lnTo>
                    <a:lnTo>
                      <a:pt x="311" y="422"/>
                    </a:lnTo>
                    <a:lnTo>
                      <a:pt x="311" y="422"/>
                    </a:lnTo>
                    <a:lnTo>
                      <a:pt x="311" y="424"/>
                    </a:lnTo>
                    <a:lnTo>
                      <a:pt x="311" y="424"/>
                    </a:lnTo>
                    <a:lnTo>
                      <a:pt x="311" y="426"/>
                    </a:lnTo>
                    <a:lnTo>
                      <a:pt x="311" y="426"/>
                    </a:lnTo>
                    <a:lnTo>
                      <a:pt x="311" y="428"/>
                    </a:lnTo>
                    <a:lnTo>
                      <a:pt x="311" y="430"/>
                    </a:lnTo>
                    <a:lnTo>
                      <a:pt x="311" y="432"/>
                    </a:lnTo>
                    <a:lnTo>
                      <a:pt x="311" y="433"/>
                    </a:lnTo>
                    <a:lnTo>
                      <a:pt x="311" y="435"/>
                    </a:lnTo>
                    <a:lnTo>
                      <a:pt x="313" y="439"/>
                    </a:lnTo>
                    <a:lnTo>
                      <a:pt x="311" y="441"/>
                    </a:lnTo>
                    <a:lnTo>
                      <a:pt x="311" y="441"/>
                    </a:lnTo>
                    <a:lnTo>
                      <a:pt x="311" y="443"/>
                    </a:lnTo>
                    <a:lnTo>
                      <a:pt x="309" y="447"/>
                    </a:lnTo>
                    <a:lnTo>
                      <a:pt x="309" y="447"/>
                    </a:lnTo>
                    <a:lnTo>
                      <a:pt x="307" y="456"/>
                    </a:lnTo>
                    <a:lnTo>
                      <a:pt x="307" y="458"/>
                    </a:lnTo>
                    <a:lnTo>
                      <a:pt x="307" y="460"/>
                    </a:lnTo>
                    <a:lnTo>
                      <a:pt x="307" y="460"/>
                    </a:lnTo>
                    <a:lnTo>
                      <a:pt x="309" y="460"/>
                    </a:lnTo>
                    <a:lnTo>
                      <a:pt x="309" y="462"/>
                    </a:lnTo>
                    <a:lnTo>
                      <a:pt x="309" y="462"/>
                    </a:lnTo>
                    <a:lnTo>
                      <a:pt x="309" y="462"/>
                    </a:lnTo>
                    <a:lnTo>
                      <a:pt x="307" y="464"/>
                    </a:lnTo>
                    <a:lnTo>
                      <a:pt x="305" y="464"/>
                    </a:lnTo>
                    <a:lnTo>
                      <a:pt x="305" y="466"/>
                    </a:lnTo>
                    <a:lnTo>
                      <a:pt x="305" y="466"/>
                    </a:lnTo>
                    <a:lnTo>
                      <a:pt x="305" y="466"/>
                    </a:lnTo>
                    <a:lnTo>
                      <a:pt x="307" y="468"/>
                    </a:lnTo>
                    <a:lnTo>
                      <a:pt x="307" y="468"/>
                    </a:lnTo>
                    <a:lnTo>
                      <a:pt x="311" y="466"/>
                    </a:lnTo>
                    <a:lnTo>
                      <a:pt x="315" y="466"/>
                    </a:lnTo>
                    <a:lnTo>
                      <a:pt x="317" y="466"/>
                    </a:lnTo>
                    <a:lnTo>
                      <a:pt x="319" y="460"/>
                    </a:lnTo>
                    <a:lnTo>
                      <a:pt x="321" y="460"/>
                    </a:lnTo>
                    <a:lnTo>
                      <a:pt x="323" y="458"/>
                    </a:lnTo>
                    <a:lnTo>
                      <a:pt x="328" y="458"/>
                    </a:lnTo>
                    <a:lnTo>
                      <a:pt x="328" y="456"/>
                    </a:lnTo>
                    <a:lnTo>
                      <a:pt x="328" y="456"/>
                    </a:lnTo>
                    <a:lnTo>
                      <a:pt x="328" y="454"/>
                    </a:lnTo>
                    <a:lnTo>
                      <a:pt x="325" y="452"/>
                    </a:lnTo>
                    <a:lnTo>
                      <a:pt x="323" y="452"/>
                    </a:lnTo>
                    <a:lnTo>
                      <a:pt x="323" y="451"/>
                    </a:lnTo>
                    <a:lnTo>
                      <a:pt x="325" y="449"/>
                    </a:lnTo>
                    <a:lnTo>
                      <a:pt x="326" y="447"/>
                    </a:lnTo>
                    <a:lnTo>
                      <a:pt x="328" y="449"/>
                    </a:lnTo>
                    <a:lnTo>
                      <a:pt x="332" y="451"/>
                    </a:lnTo>
                    <a:lnTo>
                      <a:pt x="334" y="451"/>
                    </a:lnTo>
                    <a:lnTo>
                      <a:pt x="336" y="451"/>
                    </a:lnTo>
                    <a:lnTo>
                      <a:pt x="338" y="449"/>
                    </a:lnTo>
                    <a:lnTo>
                      <a:pt x="340" y="447"/>
                    </a:lnTo>
                    <a:lnTo>
                      <a:pt x="340" y="447"/>
                    </a:lnTo>
                    <a:lnTo>
                      <a:pt x="340" y="447"/>
                    </a:lnTo>
                    <a:lnTo>
                      <a:pt x="342" y="449"/>
                    </a:lnTo>
                    <a:lnTo>
                      <a:pt x="342" y="449"/>
                    </a:lnTo>
                    <a:lnTo>
                      <a:pt x="344" y="449"/>
                    </a:lnTo>
                    <a:lnTo>
                      <a:pt x="344" y="449"/>
                    </a:lnTo>
                    <a:lnTo>
                      <a:pt x="344" y="447"/>
                    </a:lnTo>
                    <a:lnTo>
                      <a:pt x="346" y="447"/>
                    </a:lnTo>
                    <a:lnTo>
                      <a:pt x="346" y="447"/>
                    </a:lnTo>
                    <a:lnTo>
                      <a:pt x="347" y="449"/>
                    </a:lnTo>
                    <a:lnTo>
                      <a:pt x="347" y="451"/>
                    </a:lnTo>
                    <a:lnTo>
                      <a:pt x="347" y="451"/>
                    </a:lnTo>
                    <a:lnTo>
                      <a:pt x="349" y="451"/>
                    </a:lnTo>
                    <a:lnTo>
                      <a:pt x="349" y="451"/>
                    </a:lnTo>
                    <a:lnTo>
                      <a:pt x="351" y="447"/>
                    </a:lnTo>
                    <a:lnTo>
                      <a:pt x="355" y="449"/>
                    </a:lnTo>
                    <a:lnTo>
                      <a:pt x="357" y="445"/>
                    </a:lnTo>
                    <a:lnTo>
                      <a:pt x="359" y="445"/>
                    </a:lnTo>
                    <a:lnTo>
                      <a:pt x="359" y="443"/>
                    </a:lnTo>
                    <a:lnTo>
                      <a:pt x="361" y="443"/>
                    </a:lnTo>
                    <a:lnTo>
                      <a:pt x="361" y="443"/>
                    </a:lnTo>
                    <a:lnTo>
                      <a:pt x="363" y="443"/>
                    </a:lnTo>
                    <a:lnTo>
                      <a:pt x="363" y="441"/>
                    </a:lnTo>
                    <a:lnTo>
                      <a:pt x="368" y="441"/>
                    </a:lnTo>
                    <a:lnTo>
                      <a:pt x="368" y="441"/>
                    </a:lnTo>
                    <a:lnTo>
                      <a:pt x="372" y="437"/>
                    </a:lnTo>
                    <a:lnTo>
                      <a:pt x="374" y="435"/>
                    </a:lnTo>
                    <a:lnTo>
                      <a:pt x="376" y="437"/>
                    </a:lnTo>
                    <a:lnTo>
                      <a:pt x="376" y="437"/>
                    </a:lnTo>
                    <a:lnTo>
                      <a:pt x="378" y="437"/>
                    </a:lnTo>
                    <a:lnTo>
                      <a:pt x="380" y="435"/>
                    </a:lnTo>
                    <a:lnTo>
                      <a:pt x="380" y="432"/>
                    </a:lnTo>
                    <a:lnTo>
                      <a:pt x="382" y="432"/>
                    </a:lnTo>
                    <a:lnTo>
                      <a:pt x="384" y="430"/>
                    </a:lnTo>
                    <a:lnTo>
                      <a:pt x="386" y="428"/>
                    </a:lnTo>
                    <a:lnTo>
                      <a:pt x="386" y="424"/>
                    </a:lnTo>
                    <a:lnTo>
                      <a:pt x="384" y="420"/>
                    </a:lnTo>
                    <a:lnTo>
                      <a:pt x="382" y="418"/>
                    </a:lnTo>
                    <a:lnTo>
                      <a:pt x="382" y="416"/>
                    </a:lnTo>
                    <a:lnTo>
                      <a:pt x="380" y="416"/>
                    </a:lnTo>
                    <a:lnTo>
                      <a:pt x="378" y="414"/>
                    </a:lnTo>
                    <a:lnTo>
                      <a:pt x="380" y="411"/>
                    </a:lnTo>
                    <a:lnTo>
                      <a:pt x="378" y="407"/>
                    </a:lnTo>
                    <a:lnTo>
                      <a:pt x="378" y="405"/>
                    </a:lnTo>
                    <a:lnTo>
                      <a:pt x="382" y="409"/>
                    </a:lnTo>
                    <a:lnTo>
                      <a:pt x="382" y="403"/>
                    </a:lnTo>
                    <a:lnTo>
                      <a:pt x="382" y="399"/>
                    </a:lnTo>
                    <a:lnTo>
                      <a:pt x="384" y="397"/>
                    </a:lnTo>
                    <a:lnTo>
                      <a:pt x="387" y="395"/>
                    </a:lnTo>
                    <a:lnTo>
                      <a:pt x="386" y="394"/>
                    </a:lnTo>
                    <a:lnTo>
                      <a:pt x="382" y="394"/>
                    </a:lnTo>
                    <a:lnTo>
                      <a:pt x="382" y="392"/>
                    </a:lnTo>
                    <a:lnTo>
                      <a:pt x="382" y="392"/>
                    </a:lnTo>
                    <a:lnTo>
                      <a:pt x="384" y="392"/>
                    </a:lnTo>
                    <a:lnTo>
                      <a:pt x="386" y="390"/>
                    </a:lnTo>
                    <a:lnTo>
                      <a:pt x="386" y="390"/>
                    </a:lnTo>
                    <a:lnTo>
                      <a:pt x="386" y="388"/>
                    </a:lnTo>
                    <a:lnTo>
                      <a:pt x="386" y="388"/>
                    </a:lnTo>
                    <a:lnTo>
                      <a:pt x="386" y="386"/>
                    </a:lnTo>
                    <a:lnTo>
                      <a:pt x="387" y="386"/>
                    </a:lnTo>
                    <a:lnTo>
                      <a:pt x="386" y="386"/>
                    </a:lnTo>
                    <a:lnTo>
                      <a:pt x="382" y="384"/>
                    </a:lnTo>
                    <a:lnTo>
                      <a:pt x="382" y="384"/>
                    </a:lnTo>
                    <a:lnTo>
                      <a:pt x="380" y="382"/>
                    </a:lnTo>
                    <a:lnTo>
                      <a:pt x="380" y="380"/>
                    </a:lnTo>
                    <a:lnTo>
                      <a:pt x="380" y="378"/>
                    </a:lnTo>
                    <a:lnTo>
                      <a:pt x="378" y="376"/>
                    </a:lnTo>
                    <a:lnTo>
                      <a:pt x="378" y="373"/>
                    </a:lnTo>
                    <a:lnTo>
                      <a:pt x="382" y="365"/>
                    </a:lnTo>
                    <a:lnTo>
                      <a:pt x="380" y="365"/>
                    </a:lnTo>
                    <a:lnTo>
                      <a:pt x="378" y="365"/>
                    </a:lnTo>
                    <a:lnTo>
                      <a:pt x="378" y="361"/>
                    </a:lnTo>
                    <a:lnTo>
                      <a:pt x="378" y="359"/>
                    </a:lnTo>
                    <a:lnTo>
                      <a:pt x="376" y="359"/>
                    </a:lnTo>
                    <a:lnTo>
                      <a:pt x="374" y="359"/>
                    </a:lnTo>
                    <a:lnTo>
                      <a:pt x="372" y="359"/>
                    </a:lnTo>
                    <a:lnTo>
                      <a:pt x="372" y="359"/>
                    </a:lnTo>
                    <a:lnTo>
                      <a:pt x="372" y="357"/>
                    </a:lnTo>
                    <a:lnTo>
                      <a:pt x="372" y="357"/>
                    </a:lnTo>
                    <a:lnTo>
                      <a:pt x="372" y="355"/>
                    </a:lnTo>
                    <a:lnTo>
                      <a:pt x="372" y="355"/>
                    </a:lnTo>
                    <a:lnTo>
                      <a:pt x="370" y="354"/>
                    </a:lnTo>
                    <a:lnTo>
                      <a:pt x="370" y="355"/>
                    </a:lnTo>
                    <a:lnTo>
                      <a:pt x="368" y="355"/>
                    </a:lnTo>
                    <a:lnTo>
                      <a:pt x="367" y="355"/>
                    </a:lnTo>
                    <a:lnTo>
                      <a:pt x="367" y="355"/>
                    </a:lnTo>
                    <a:lnTo>
                      <a:pt x="367" y="354"/>
                    </a:lnTo>
                    <a:lnTo>
                      <a:pt x="367" y="352"/>
                    </a:lnTo>
                    <a:lnTo>
                      <a:pt x="365" y="352"/>
                    </a:lnTo>
                    <a:lnTo>
                      <a:pt x="363" y="352"/>
                    </a:lnTo>
                    <a:lnTo>
                      <a:pt x="363" y="350"/>
                    </a:lnTo>
                    <a:lnTo>
                      <a:pt x="361" y="348"/>
                    </a:lnTo>
                    <a:lnTo>
                      <a:pt x="361" y="348"/>
                    </a:lnTo>
                    <a:lnTo>
                      <a:pt x="353" y="348"/>
                    </a:lnTo>
                    <a:lnTo>
                      <a:pt x="351" y="350"/>
                    </a:lnTo>
                    <a:lnTo>
                      <a:pt x="349" y="350"/>
                    </a:lnTo>
                    <a:lnTo>
                      <a:pt x="347" y="352"/>
                    </a:lnTo>
                    <a:lnTo>
                      <a:pt x="347" y="354"/>
                    </a:lnTo>
                    <a:lnTo>
                      <a:pt x="347" y="354"/>
                    </a:lnTo>
                    <a:lnTo>
                      <a:pt x="349" y="355"/>
                    </a:lnTo>
                    <a:lnTo>
                      <a:pt x="349" y="355"/>
                    </a:lnTo>
                    <a:lnTo>
                      <a:pt x="349" y="357"/>
                    </a:lnTo>
                    <a:lnTo>
                      <a:pt x="349" y="357"/>
                    </a:lnTo>
                    <a:lnTo>
                      <a:pt x="349" y="357"/>
                    </a:lnTo>
                    <a:lnTo>
                      <a:pt x="347" y="359"/>
                    </a:lnTo>
                    <a:lnTo>
                      <a:pt x="344" y="359"/>
                    </a:lnTo>
                    <a:lnTo>
                      <a:pt x="338" y="357"/>
                    </a:lnTo>
                    <a:lnTo>
                      <a:pt x="336" y="355"/>
                    </a:lnTo>
                    <a:lnTo>
                      <a:pt x="334" y="355"/>
                    </a:lnTo>
                    <a:lnTo>
                      <a:pt x="332" y="354"/>
                    </a:lnTo>
                    <a:lnTo>
                      <a:pt x="330" y="352"/>
                    </a:lnTo>
                    <a:lnTo>
                      <a:pt x="330" y="352"/>
                    </a:lnTo>
                    <a:lnTo>
                      <a:pt x="328" y="348"/>
                    </a:lnTo>
                    <a:lnTo>
                      <a:pt x="328" y="346"/>
                    </a:lnTo>
                    <a:lnTo>
                      <a:pt x="328" y="346"/>
                    </a:lnTo>
                    <a:lnTo>
                      <a:pt x="319" y="342"/>
                    </a:lnTo>
                    <a:lnTo>
                      <a:pt x="319" y="342"/>
                    </a:lnTo>
                    <a:lnTo>
                      <a:pt x="319" y="342"/>
                    </a:lnTo>
                    <a:lnTo>
                      <a:pt x="317" y="342"/>
                    </a:lnTo>
                    <a:lnTo>
                      <a:pt x="317" y="344"/>
                    </a:lnTo>
                    <a:lnTo>
                      <a:pt x="317" y="344"/>
                    </a:lnTo>
                    <a:lnTo>
                      <a:pt x="315" y="346"/>
                    </a:lnTo>
                    <a:lnTo>
                      <a:pt x="307" y="346"/>
                    </a:lnTo>
                    <a:lnTo>
                      <a:pt x="304" y="348"/>
                    </a:lnTo>
                    <a:lnTo>
                      <a:pt x="304" y="346"/>
                    </a:lnTo>
                    <a:lnTo>
                      <a:pt x="304" y="346"/>
                    </a:lnTo>
                    <a:lnTo>
                      <a:pt x="304" y="344"/>
                    </a:lnTo>
                    <a:lnTo>
                      <a:pt x="302" y="344"/>
                    </a:lnTo>
                    <a:lnTo>
                      <a:pt x="302" y="342"/>
                    </a:lnTo>
                    <a:lnTo>
                      <a:pt x="300" y="340"/>
                    </a:lnTo>
                    <a:lnTo>
                      <a:pt x="298" y="340"/>
                    </a:lnTo>
                    <a:lnTo>
                      <a:pt x="298" y="338"/>
                    </a:lnTo>
                    <a:lnTo>
                      <a:pt x="300" y="338"/>
                    </a:lnTo>
                    <a:lnTo>
                      <a:pt x="302" y="335"/>
                    </a:lnTo>
                    <a:lnTo>
                      <a:pt x="304" y="333"/>
                    </a:lnTo>
                    <a:lnTo>
                      <a:pt x="304" y="331"/>
                    </a:lnTo>
                    <a:lnTo>
                      <a:pt x="305" y="331"/>
                    </a:lnTo>
                    <a:lnTo>
                      <a:pt x="307" y="331"/>
                    </a:lnTo>
                    <a:lnTo>
                      <a:pt x="307" y="331"/>
                    </a:lnTo>
                    <a:lnTo>
                      <a:pt x="309" y="329"/>
                    </a:lnTo>
                    <a:lnTo>
                      <a:pt x="309" y="327"/>
                    </a:lnTo>
                    <a:lnTo>
                      <a:pt x="309" y="325"/>
                    </a:lnTo>
                    <a:lnTo>
                      <a:pt x="311" y="323"/>
                    </a:lnTo>
                    <a:lnTo>
                      <a:pt x="313" y="321"/>
                    </a:lnTo>
                    <a:lnTo>
                      <a:pt x="313" y="321"/>
                    </a:lnTo>
                    <a:lnTo>
                      <a:pt x="311" y="319"/>
                    </a:lnTo>
                    <a:lnTo>
                      <a:pt x="311" y="317"/>
                    </a:lnTo>
                    <a:lnTo>
                      <a:pt x="311" y="316"/>
                    </a:lnTo>
                    <a:lnTo>
                      <a:pt x="311" y="308"/>
                    </a:lnTo>
                    <a:lnTo>
                      <a:pt x="311" y="306"/>
                    </a:lnTo>
                    <a:lnTo>
                      <a:pt x="311" y="306"/>
                    </a:lnTo>
                    <a:lnTo>
                      <a:pt x="313" y="304"/>
                    </a:lnTo>
                    <a:lnTo>
                      <a:pt x="313" y="302"/>
                    </a:lnTo>
                    <a:lnTo>
                      <a:pt x="317" y="300"/>
                    </a:lnTo>
                    <a:lnTo>
                      <a:pt x="319" y="300"/>
                    </a:lnTo>
                    <a:lnTo>
                      <a:pt x="325" y="300"/>
                    </a:lnTo>
                    <a:lnTo>
                      <a:pt x="326" y="298"/>
                    </a:lnTo>
                    <a:lnTo>
                      <a:pt x="326" y="296"/>
                    </a:lnTo>
                    <a:lnTo>
                      <a:pt x="328" y="295"/>
                    </a:lnTo>
                    <a:lnTo>
                      <a:pt x="328" y="295"/>
                    </a:lnTo>
                    <a:lnTo>
                      <a:pt x="334" y="296"/>
                    </a:lnTo>
                    <a:lnTo>
                      <a:pt x="336" y="298"/>
                    </a:lnTo>
                    <a:lnTo>
                      <a:pt x="338" y="298"/>
                    </a:lnTo>
                    <a:lnTo>
                      <a:pt x="338" y="298"/>
                    </a:lnTo>
                    <a:lnTo>
                      <a:pt x="344" y="296"/>
                    </a:lnTo>
                    <a:lnTo>
                      <a:pt x="346" y="293"/>
                    </a:lnTo>
                    <a:lnTo>
                      <a:pt x="347" y="293"/>
                    </a:lnTo>
                    <a:lnTo>
                      <a:pt x="347" y="291"/>
                    </a:lnTo>
                    <a:lnTo>
                      <a:pt x="347" y="289"/>
                    </a:lnTo>
                    <a:lnTo>
                      <a:pt x="346" y="287"/>
                    </a:lnTo>
                    <a:lnTo>
                      <a:pt x="346" y="287"/>
                    </a:lnTo>
                    <a:lnTo>
                      <a:pt x="342" y="283"/>
                    </a:lnTo>
                    <a:lnTo>
                      <a:pt x="342" y="281"/>
                    </a:lnTo>
                    <a:lnTo>
                      <a:pt x="344" y="279"/>
                    </a:lnTo>
                    <a:lnTo>
                      <a:pt x="344" y="279"/>
                    </a:lnTo>
                    <a:lnTo>
                      <a:pt x="340" y="274"/>
                    </a:lnTo>
                    <a:lnTo>
                      <a:pt x="338" y="264"/>
                    </a:lnTo>
                    <a:lnTo>
                      <a:pt x="338" y="264"/>
                    </a:lnTo>
                    <a:lnTo>
                      <a:pt x="336" y="264"/>
                    </a:lnTo>
                    <a:lnTo>
                      <a:pt x="336" y="262"/>
                    </a:lnTo>
                    <a:lnTo>
                      <a:pt x="336" y="262"/>
                    </a:lnTo>
                    <a:lnTo>
                      <a:pt x="336" y="262"/>
                    </a:lnTo>
                    <a:lnTo>
                      <a:pt x="336" y="260"/>
                    </a:lnTo>
                    <a:lnTo>
                      <a:pt x="336" y="260"/>
                    </a:lnTo>
                    <a:lnTo>
                      <a:pt x="338" y="260"/>
                    </a:lnTo>
                    <a:lnTo>
                      <a:pt x="336" y="237"/>
                    </a:lnTo>
                    <a:lnTo>
                      <a:pt x="336" y="237"/>
                    </a:lnTo>
                    <a:lnTo>
                      <a:pt x="338" y="236"/>
                    </a:lnTo>
                    <a:lnTo>
                      <a:pt x="338" y="234"/>
                    </a:lnTo>
                    <a:lnTo>
                      <a:pt x="338" y="232"/>
                    </a:lnTo>
                    <a:lnTo>
                      <a:pt x="336" y="230"/>
                    </a:lnTo>
                    <a:lnTo>
                      <a:pt x="336" y="230"/>
                    </a:lnTo>
                    <a:lnTo>
                      <a:pt x="336" y="226"/>
                    </a:lnTo>
                    <a:lnTo>
                      <a:pt x="336" y="224"/>
                    </a:lnTo>
                    <a:lnTo>
                      <a:pt x="336" y="222"/>
                    </a:lnTo>
                    <a:lnTo>
                      <a:pt x="338" y="222"/>
                    </a:lnTo>
                    <a:lnTo>
                      <a:pt x="338" y="220"/>
                    </a:lnTo>
                    <a:lnTo>
                      <a:pt x="338" y="218"/>
                    </a:lnTo>
                    <a:lnTo>
                      <a:pt x="336" y="217"/>
                    </a:lnTo>
                    <a:lnTo>
                      <a:pt x="332" y="217"/>
                    </a:lnTo>
                    <a:lnTo>
                      <a:pt x="328" y="218"/>
                    </a:lnTo>
                    <a:lnTo>
                      <a:pt x="328" y="218"/>
                    </a:lnTo>
                    <a:lnTo>
                      <a:pt x="328" y="215"/>
                    </a:lnTo>
                    <a:lnTo>
                      <a:pt x="332" y="211"/>
                    </a:lnTo>
                    <a:lnTo>
                      <a:pt x="334" y="209"/>
                    </a:lnTo>
                    <a:lnTo>
                      <a:pt x="332" y="207"/>
                    </a:lnTo>
                    <a:lnTo>
                      <a:pt x="328" y="207"/>
                    </a:lnTo>
                    <a:lnTo>
                      <a:pt x="328" y="207"/>
                    </a:lnTo>
                    <a:lnTo>
                      <a:pt x="328" y="207"/>
                    </a:lnTo>
                    <a:lnTo>
                      <a:pt x="328" y="205"/>
                    </a:lnTo>
                    <a:lnTo>
                      <a:pt x="328" y="203"/>
                    </a:lnTo>
                    <a:lnTo>
                      <a:pt x="328" y="201"/>
                    </a:lnTo>
                    <a:lnTo>
                      <a:pt x="326" y="199"/>
                    </a:lnTo>
                    <a:lnTo>
                      <a:pt x="326" y="199"/>
                    </a:lnTo>
                    <a:lnTo>
                      <a:pt x="328" y="198"/>
                    </a:lnTo>
                    <a:lnTo>
                      <a:pt x="328" y="196"/>
                    </a:lnTo>
                    <a:lnTo>
                      <a:pt x="330" y="196"/>
                    </a:lnTo>
                    <a:lnTo>
                      <a:pt x="332" y="194"/>
                    </a:lnTo>
                    <a:lnTo>
                      <a:pt x="332" y="192"/>
                    </a:lnTo>
                    <a:lnTo>
                      <a:pt x="330" y="190"/>
                    </a:lnTo>
                    <a:lnTo>
                      <a:pt x="330" y="188"/>
                    </a:lnTo>
                    <a:lnTo>
                      <a:pt x="330" y="186"/>
                    </a:lnTo>
                    <a:lnTo>
                      <a:pt x="330" y="184"/>
                    </a:lnTo>
                    <a:lnTo>
                      <a:pt x="334" y="180"/>
                    </a:lnTo>
                    <a:lnTo>
                      <a:pt x="332" y="179"/>
                    </a:lnTo>
                    <a:lnTo>
                      <a:pt x="336" y="177"/>
                    </a:lnTo>
                    <a:lnTo>
                      <a:pt x="336" y="175"/>
                    </a:lnTo>
                    <a:lnTo>
                      <a:pt x="338" y="173"/>
                    </a:lnTo>
                    <a:lnTo>
                      <a:pt x="336" y="173"/>
                    </a:lnTo>
                    <a:lnTo>
                      <a:pt x="336" y="171"/>
                    </a:lnTo>
                    <a:lnTo>
                      <a:pt x="336" y="171"/>
                    </a:lnTo>
                    <a:lnTo>
                      <a:pt x="336" y="169"/>
                    </a:lnTo>
                    <a:lnTo>
                      <a:pt x="336" y="167"/>
                    </a:lnTo>
                    <a:lnTo>
                      <a:pt x="338" y="167"/>
                    </a:lnTo>
                    <a:lnTo>
                      <a:pt x="340" y="169"/>
                    </a:lnTo>
                    <a:lnTo>
                      <a:pt x="340" y="167"/>
                    </a:lnTo>
                    <a:lnTo>
                      <a:pt x="342" y="163"/>
                    </a:lnTo>
                    <a:lnTo>
                      <a:pt x="346" y="144"/>
                    </a:lnTo>
                    <a:lnTo>
                      <a:pt x="347" y="140"/>
                    </a:lnTo>
                    <a:lnTo>
                      <a:pt x="347" y="139"/>
                    </a:lnTo>
                    <a:lnTo>
                      <a:pt x="349" y="137"/>
                    </a:lnTo>
                    <a:lnTo>
                      <a:pt x="353" y="133"/>
                    </a:lnTo>
                    <a:lnTo>
                      <a:pt x="355" y="131"/>
                    </a:lnTo>
                    <a:lnTo>
                      <a:pt x="355" y="131"/>
                    </a:lnTo>
                    <a:lnTo>
                      <a:pt x="355" y="129"/>
                    </a:lnTo>
                    <a:lnTo>
                      <a:pt x="355" y="129"/>
                    </a:lnTo>
                    <a:lnTo>
                      <a:pt x="355" y="129"/>
                    </a:lnTo>
                    <a:lnTo>
                      <a:pt x="357" y="129"/>
                    </a:lnTo>
                    <a:lnTo>
                      <a:pt x="357" y="129"/>
                    </a:lnTo>
                    <a:lnTo>
                      <a:pt x="359" y="129"/>
                    </a:lnTo>
                    <a:lnTo>
                      <a:pt x="359" y="129"/>
                    </a:lnTo>
                    <a:lnTo>
                      <a:pt x="359" y="129"/>
                    </a:lnTo>
                    <a:lnTo>
                      <a:pt x="359" y="127"/>
                    </a:lnTo>
                    <a:lnTo>
                      <a:pt x="359" y="125"/>
                    </a:lnTo>
                    <a:lnTo>
                      <a:pt x="361" y="125"/>
                    </a:lnTo>
                    <a:lnTo>
                      <a:pt x="363" y="125"/>
                    </a:lnTo>
                    <a:lnTo>
                      <a:pt x="367" y="121"/>
                    </a:lnTo>
                    <a:lnTo>
                      <a:pt x="370" y="118"/>
                    </a:lnTo>
                    <a:lnTo>
                      <a:pt x="370" y="114"/>
                    </a:lnTo>
                    <a:lnTo>
                      <a:pt x="372" y="112"/>
                    </a:lnTo>
                    <a:lnTo>
                      <a:pt x="374" y="110"/>
                    </a:lnTo>
                    <a:lnTo>
                      <a:pt x="384" y="101"/>
                    </a:lnTo>
                    <a:lnTo>
                      <a:pt x="389" y="97"/>
                    </a:lnTo>
                    <a:lnTo>
                      <a:pt x="391" y="95"/>
                    </a:lnTo>
                    <a:lnTo>
                      <a:pt x="393" y="87"/>
                    </a:lnTo>
                    <a:lnTo>
                      <a:pt x="393" y="81"/>
                    </a:lnTo>
                    <a:lnTo>
                      <a:pt x="393" y="8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7" name="Freeform 29">
                <a:extLst>
                  <a:ext uri="{FF2B5EF4-FFF2-40B4-BE49-F238E27FC236}">
                    <a16:creationId xmlns:a16="http://schemas.microsoft.com/office/drawing/2014/main" id="{4F905425-4FD4-4078-957D-19A0D77571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669" y="4310536"/>
                <a:ext cx="1255713" cy="995363"/>
              </a:xfrm>
              <a:custGeom>
                <a:avLst/>
                <a:gdLst>
                  <a:gd name="T0" fmla="*/ 753 w 791"/>
                  <a:gd name="T1" fmla="*/ 213 h 627"/>
                  <a:gd name="T2" fmla="*/ 696 w 791"/>
                  <a:gd name="T3" fmla="*/ 177 h 627"/>
                  <a:gd name="T4" fmla="*/ 671 w 791"/>
                  <a:gd name="T5" fmla="*/ 138 h 627"/>
                  <a:gd name="T6" fmla="*/ 658 w 791"/>
                  <a:gd name="T7" fmla="*/ 93 h 627"/>
                  <a:gd name="T8" fmla="*/ 622 w 791"/>
                  <a:gd name="T9" fmla="*/ 57 h 627"/>
                  <a:gd name="T10" fmla="*/ 622 w 791"/>
                  <a:gd name="T11" fmla="*/ 36 h 627"/>
                  <a:gd name="T12" fmla="*/ 603 w 791"/>
                  <a:gd name="T13" fmla="*/ 45 h 627"/>
                  <a:gd name="T14" fmla="*/ 543 w 791"/>
                  <a:gd name="T15" fmla="*/ 36 h 627"/>
                  <a:gd name="T16" fmla="*/ 517 w 791"/>
                  <a:gd name="T17" fmla="*/ 19 h 627"/>
                  <a:gd name="T18" fmla="*/ 475 w 791"/>
                  <a:gd name="T19" fmla="*/ 7 h 627"/>
                  <a:gd name="T20" fmla="*/ 414 w 791"/>
                  <a:gd name="T21" fmla="*/ 3 h 627"/>
                  <a:gd name="T22" fmla="*/ 355 w 791"/>
                  <a:gd name="T23" fmla="*/ 32 h 627"/>
                  <a:gd name="T24" fmla="*/ 301 w 791"/>
                  <a:gd name="T25" fmla="*/ 47 h 627"/>
                  <a:gd name="T26" fmla="*/ 128 w 791"/>
                  <a:gd name="T27" fmla="*/ 62 h 627"/>
                  <a:gd name="T28" fmla="*/ 31 w 791"/>
                  <a:gd name="T29" fmla="*/ 102 h 627"/>
                  <a:gd name="T30" fmla="*/ 8 w 791"/>
                  <a:gd name="T31" fmla="*/ 114 h 627"/>
                  <a:gd name="T32" fmla="*/ 4 w 791"/>
                  <a:gd name="T33" fmla="*/ 148 h 627"/>
                  <a:gd name="T34" fmla="*/ 63 w 791"/>
                  <a:gd name="T35" fmla="*/ 119 h 627"/>
                  <a:gd name="T36" fmla="*/ 44 w 791"/>
                  <a:gd name="T37" fmla="*/ 146 h 627"/>
                  <a:gd name="T38" fmla="*/ 38 w 791"/>
                  <a:gd name="T39" fmla="*/ 177 h 627"/>
                  <a:gd name="T40" fmla="*/ 57 w 791"/>
                  <a:gd name="T41" fmla="*/ 190 h 627"/>
                  <a:gd name="T42" fmla="*/ 160 w 791"/>
                  <a:gd name="T43" fmla="*/ 260 h 627"/>
                  <a:gd name="T44" fmla="*/ 248 w 791"/>
                  <a:gd name="T45" fmla="*/ 236 h 627"/>
                  <a:gd name="T46" fmla="*/ 276 w 791"/>
                  <a:gd name="T47" fmla="*/ 243 h 627"/>
                  <a:gd name="T48" fmla="*/ 294 w 791"/>
                  <a:gd name="T49" fmla="*/ 237 h 627"/>
                  <a:gd name="T50" fmla="*/ 215 w 791"/>
                  <a:gd name="T51" fmla="*/ 306 h 627"/>
                  <a:gd name="T52" fmla="*/ 177 w 791"/>
                  <a:gd name="T53" fmla="*/ 319 h 627"/>
                  <a:gd name="T54" fmla="*/ 128 w 791"/>
                  <a:gd name="T55" fmla="*/ 325 h 627"/>
                  <a:gd name="T56" fmla="*/ 103 w 791"/>
                  <a:gd name="T57" fmla="*/ 317 h 627"/>
                  <a:gd name="T58" fmla="*/ 175 w 791"/>
                  <a:gd name="T59" fmla="*/ 414 h 627"/>
                  <a:gd name="T60" fmla="*/ 330 w 791"/>
                  <a:gd name="T61" fmla="*/ 540 h 627"/>
                  <a:gd name="T62" fmla="*/ 427 w 791"/>
                  <a:gd name="T63" fmla="*/ 508 h 627"/>
                  <a:gd name="T64" fmla="*/ 496 w 791"/>
                  <a:gd name="T65" fmla="*/ 466 h 627"/>
                  <a:gd name="T66" fmla="*/ 509 w 791"/>
                  <a:gd name="T67" fmla="*/ 403 h 627"/>
                  <a:gd name="T68" fmla="*/ 490 w 791"/>
                  <a:gd name="T69" fmla="*/ 386 h 627"/>
                  <a:gd name="T70" fmla="*/ 496 w 791"/>
                  <a:gd name="T71" fmla="*/ 376 h 627"/>
                  <a:gd name="T72" fmla="*/ 521 w 791"/>
                  <a:gd name="T73" fmla="*/ 361 h 627"/>
                  <a:gd name="T74" fmla="*/ 524 w 791"/>
                  <a:gd name="T75" fmla="*/ 331 h 627"/>
                  <a:gd name="T76" fmla="*/ 564 w 791"/>
                  <a:gd name="T77" fmla="*/ 333 h 627"/>
                  <a:gd name="T78" fmla="*/ 566 w 791"/>
                  <a:gd name="T79" fmla="*/ 344 h 627"/>
                  <a:gd name="T80" fmla="*/ 572 w 791"/>
                  <a:gd name="T81" fmla="*/ 371 h 627"/>
                  <a:gd name="T82" fmla="*/ 584 w 791"/>
                  <a:gd name="T83" fmla="*/ 412 h 627"/>
                  <a:gd name="T84" fmla="*/ 580 w 791"/>
                  <a:gd name="T85" fmla="*/ 426 h 627"/>
                  <a:gd name="T86" fmla="*/ 559 w 791"/>
                  <a:gd name="T87" fmla="*/ 456 h 627"/>
                  <a:gd name="T88" fmla="*/ 568 w 791"/>
                  <a:gd name="T89" fmla="*/ 485 h 627"/>
                  <a:gd name="T90" fmla="*/ 585 w 791"/>
                  <a:gd name="T91" fmla="*/ 504 h 627"/>
                  <a:gd name="T92" fmla="*/ 603 w 791"/>
                  <a:gd name="T93" fmla="*/ 536 h 627"/>
                  <a:gd name="T94" fmla="*/ 580 w 791"/>
                  <a:gd name="T95" fmla="*/ 593 h 627"/>
                  <a:gd name="T96" fmla="*/ 593 w 791"/>
                  <a:gd name="T97" fmla="*/ 624 h 627"/>
                  <a:gd name="T98" fmla="*/ 610 w 791"/>
                  <a:gd name="T99" fmla="*/ 597 h 627"/>
                  <a:gd name="T100" fmla="*/ 616 w 791"/>
                  <a:gd name="T101" fmla="*/ 618 h 627"/>
                  <a:gd name="T102" fmla="*/ 654 w 791"/>
                  <a:gd name="T103" fmla="*/ 614 h 627"/>
                  <a:gd name="T104" fmla="*/ 662 w 791"/>
                  <a:gd name="T105" fmla="*/ 559 h 627"/>
                  <a:gd name="T106" fmla="*/ 681 w 791"/>
                  <a:gd name="T107" fmla="*/ 553 h 627"/>
                  <a:gd name="T108" fmla="*/ 717 w 791"/>
                  <a:gd name="T109" fmla="*/ 508 h 627"/>
                  <a:gd name="T110" fmla="*/ 690 w 791"/>
                  <a:gd name="T111" fmla="*/ 481 h 627"/>
                  <a:gd name="T112" fmla="*/ 738 w 791"/>
                  <a:gd name="T113" fmla="*/ 443 h 627"/>
                  <a:gd name="T114" fmla="*/ 753 w 791"/>
                  <a:gd name="T115" fmla="*/ 428 h 627"/>
                  <a:gd name="T116" fmla="*/ 713 w 791"/>
                  <a:gd name="T117" fmla="*/ 409 h 627"/>
                  <a:gd name="T118" fmla="*/ 746 w 791"/>
                  <a:gd name="T119" fmla="*/ 344 h 627"/>
                  <a:gd name="T120" fmla="*/ 761 w 791"/>
                  <a:gd name="T121" fmla="*/ 314 h 627"/>
                  <a:gd name="T122" fmla="*/ 782 w 791"/>
                  <a:gd name="T123" fmla="*/ 281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91" h="627">
                    <a:moveTo>
                      <a:pt x="791" y="255"/>
                    </a:moveTo>
                    <a:lnTo>
                      <a:pt x="788" y="251"/>
                    </a:lnTo>
                    <a:lnTo>
                      <a:pt x="786" y="251"/>
                    </a:lnTo>
                    <a:lnTo>
                      <a:pt x="784" y="249"/>
                    </a:lnTo>
                    <a:lnTo>
                      <a:pt x="784" y="251"/>
                    </a:lnTo>
                    <a:lnTo>
                      <a:pt x="782" y="251"/>
                    </a:lnTo>
                    <a:lnTo>
                      <a:pt x="782" y="251"/>
                    </a:lnTo>
                    <a:lnTo>
                      <a:pt x="780" y="251"/>
                    </a:lnTo>
                    <a:lnTo>
                      <a:pt x="780" y="251"/>
                    </a:lnTo>
                    <a:lnTo>
                      <a:pt x="780" y="249"/>
                    </a:lnTo>
                    <a:lnTo>
                      <a:pt x="778" y="247"/>
                    </a:lnTo>
                    <a:lnTo>
                      <a:pt x="778" y="236"/>
                    </a:lnTo>
                    <a:lnTo>
                      <a:pt x="774" y="228"/>
                    </a:lnTo>
                    <a:lnTo>
                      <a:pt x="774" y="226"/>
                    </a:lnTo>
                    <a:lnTo>
                      <a:pt x="772" y="224"/>
                    </a:lnTo>
                    <a:lnTo>
                      <a:pt x="772" y="224"/>
                    </a:lnTo>
                    <a:lnTo>
                      <a:pt x="770" y="222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67" y="218"/>
                    </a:lnTo>
                    <a:lnTo>
                      <a:pt x="767" y="216"/>
                    </a:lnTo>
                    <a:lnTo>
                      <a:pt x="765" y="215"/>
                    </a:lnTo>
                    <a:lnTo>
                      <a:pt x="763" y="213"/>
                    </a:lnTo>
                    <a:lnTo>
                      <a:pt x="759" y="211"/>
                    </a:lnTo>
                    <a:lnTo>
                      <a:pt x="759" y="209"/>
                    </a:lnTo>
                    <a:lnTo>
                      <a:pt x="757" y="209"/>
                    </a:lnTo>
                    <a:lnTo>
                      <a:pt x="755" y="211"/>
                    </a:lnTo>
                    <a:lnTo>
                      <a:pt x="755" y="211"/>
                    </a:lnTo>
                    <a:lnTo>
                      <a:pt x="753" y="213"/>
                    </a:lnTo>
                    <a:lnTo>
                      <a:pt x="753" y="213"/>
                    </a:lnTo>
                    <a:lnTo>
                      <a:pt x="751" y="211"/>
                    </a:lnTo>
                    <a:lnTo>
                      <a:pt x="749" y="211"/>
                    </a:lnTo>
                    <a:lnTo>
                      <a:pt x="748" y="207"/>
                    </a:lnTo>
                    <a:lnTo>
                      <a:pt x="748" y="205"/>
                    </a:lnTo>
                    <a:lnTo>
                      <a:pt x="748" y="203"/>
                    </a:lnTo>
                    <a:lnTo>
                      <a:pt x="748" y="201"/>
                    </a:lnTo>
                    <a:lnTo>
                      <a:pt x="748" y="199"/>
                    </a:lnTo>
                    <a:lnTo>
                      <a:pt x="746" y="197"/>
                    </a:lnTo>
                    <a:lnTo>
                      <a:pt x="744" y="197"/>
                    </a:lnTo>
                    <a:lnTo>
                      <a:pt x="738" y="194"/>
                    </a:lnTo>
                    <a:lnTo>
                      <a:pt x="734" y="188"/>
                    </a:lnTo>
                    <a:lnTo>
                      <a:pt x="728" y="184"/>
                    </a:lnTo>
                    <a:lnTo>
                      <a:pt x="727" y="184"/>
                    </a:lnTo>
                    <a:lnTo>
                      <a:pt x="727" y="184"/>
                    </a:lnTo>
                    <a:lnTo>
                      <a:pt x="727" y="184"/>
                    </a:lnTo>
                    <a:lnTo>
                      <a:pt x="725" y="186"/>
                    </a:lnTo>
                    <a:lnTo>
                      <a:pt x="725" y="186"/>
                    </a:lnTo>
                    <a:lnTo>
                      <a:pt x="725" y="188"/>
                    </a:lnTo>
                    <a:lnTo>
                      <a:pt x="725" y="188"/>
                    </a:lnTo>
                    <a:lnTo>
                      <a:pt x="723" y="188"/>
                    </a:lnTo>
                    <a:lnTo>
                      <a:pt x="723" y="188"/>
                    </a:lnTo>
                    <a:lnTo>
                      <a:pt x="721" y="188"/>
                    </a:lnTo>
                    <a:lnTo>
                      <a:pt x="719" y="188"/>
                    </a:lnTo>
                    <a:lnTo>
                      <a:pt x="715" y="184"/>
                    </a:lnTo>
                    <a:lnTo>
                      <a:pt x="711" y="177"/>
                    </a:lnTo>
                    <a:lnTo>
                      <a:pt x="711" y="175"/>
                    </a:lnTo>
                    <a:lnTo>
                      <a:pt x="709" y="175"/>
                    </a:lnTo>
                    <a:lnTo>
                      <a:pt x="707" y="175"/>
                    </a:lnTo>
                    <a:lnTo>
                      <a:pt x="698" y="177"/>
                    </a:lnTo>
                    <a:lnTo>
                      <a:pt x="696" y="177"/>
                    </a:lnTo>
                    <a:lnTo>
                      <a:pt x="694" y="175"/>
                    </a:lnTo>
                    <a:lnTo>
                      <a:pt x="692" y="173"/>
                    </a:lnTo>
                    <a:lnTo>
                      <a:pt x="686" y="175"/>
                    </a:lnTo>
                    <a:lnTo>
                      <a:pt x="686" y="173"/>
                    </a:lnTo>
                    <a:lnTo>
                      <a:pt x="688" y="169"/>
                    </a:lnTo>
                    <a:lnTo>
                      <a:pt x="688" y="167"/>
                    </a:lnTo>
                    <a:lnTo>
                      <a:pt x="688" y="165"/>
                    </a:lnTo>
                    <a:lnTo>
                      <a:pt x="686" y="163"/>
                    </a:lnTo>
                    <a:lnTo>
                      <a:pt x="686" y="161"/>
                    </a:lnTo>
                    <a:lnTo>
                      <a:pt x="686" y="159"/>
                    </a:lnTo>
                    <a:lnTo>
                      <a:pt x="686" y="158"/>
                    </a:lnTo>
                    <a:lnTo>
                      <a:pt x="686" y="154"/>
                    </a:lnTo>
                    <a:lnTo>
                      <a:pt x="686" y="152"/>
                    </a:lnTo>
                    <a:lnTo>
                      <a:pt x="683" y="148"/>
                    </a:lnTo>
                    <a:lnTo>
                      <a:pt x="681" y="148"/>
                    </a:lnTo>
                    <a:lnTo>
                      <a:pt x="679" y="148"/>
                    </a:lnTo>
                    <a:lnTo>
                      <a:pt x="679" y="148"/>
                    </a:lnTo>
                    <a:lnTo>
                      <a:pt x="675" y="150"/>
                    </a:lnTo>
                    <a:lnTo>
                      <a:pt x="675" y="152"/>
                    </a:lnTo>
                    <a:lnTo>
                      <a:pt x="673" y="152"/>
                    </a:lnTo>
                    <a:lnTo>
                      <a:pt x="671" y="152"/>
                    </a:lnTo>
                    <a:lnTo>
                      <a:pt x="671" y="152"/>
                    </a:lnTo>
                    <a:lnTo>
                      <a:pt x="671" y="150"/>
                    </a:lnTo>
                    <a:lnTo>
                      <a:pt x="671" y="148"/>
                    </a:lnTo>
                    <a:lnTo>
                      <a:pt x="671" y="144"/>
                    </a:lnTo>
                    <a:lnTo>
                      <a:pt x="671" y="142"/>
                    </a:lnTo>
                    <a:lnTo>
                      <a:pt x="673" y="140"/>
                    </a:lnTo>
                    <a:lnTo>
                      <a:pt x="673" y="140"/>
                    </a:lnTo>
                    <a:lnTo>
                      <a:pt x="673" y="138"/>
                    </a:lnTo>
                    <a:lnTo>
                      <a:pt x="671" y="138"/>
                    </a:lnTo>
                    <a:lnTo>
                      <a:pt x="671" y="137"/>
                    </a:lnTo>
                    <a:lnTo>
                      <a:pt x="669" y="137"/>
                    </a:lnTo>
                    <a:lnTo>
                      <a:pt x="667" y="137"/>
                    </a:lnTo>
                    <a:lnTo>
                      <a:pt x="666" y="135"/>
                    </a:lnTo>
                    <a:lnTo>
                      <a:pt x="664" y="135"/>
                    </a:lnTo>
                    <a:lnTo>
                      <a:pt x="662" y="133"/>
                    </a:lnTo>
                    <a:lnTo>
                      <a:pt x="662" y="131"/>
                    </a:lnTo>
                    <a:lnTo>
                      <a:pt x="662" y="129"/>
                    </a:lnTo>
                    <a:lnTo>
                      <a:pt x="660" y="127"/>
                    </a:lnTo>
                    <a:lnTo>
                      <a:pt x="660" y="127"/>
                    </a:lnTo>
                    <a:lnTo>
                      <a:pt x="658" y="127"/>
                    </a:lnTo>
                    <a:lnTo>
                      <a:pt x="654" y="127"/>
                    </a:lnTo>
                    <a:lnTo>
                      <a:pt x="654" y="127"/>
                    </a:lnTo>
                    <a:lnTo>
                      <a:pt x="654" y="125"/>
                    </a:lnTo>
                    <a:lnTo>
                      <a:pt x="654" y="119"/>
                    </a:lnTo>
                    <a:lnTo>
                      <a:pt x="654" y="118"/>
                    </a:lnTo>
                    <a:lnTo>
                      <a:pt x="654" y="114"/>
                    </a:lnTo>
                    <a:lnTo>
                      <a:pt x="654" y="112"/>
                    </a:lnTo>
                    <a:lnTo>
                      <a:pt x="654" y="112"/>
                    </a:lnTo>
                    <a:lnTo>
                      <a:pt x="656" y="110"/>
                    </a:lnTo>
                    <a:lnTo>
                      <a:pt x="658" y="108"/>
                    </a:lnTo>
                    <a:lnTo>
                      <a:pt x="660" y="108"/>
                    </a:lnTo>
                    <a:lnTo>
                      <a:pt x="662" y="106"/>
                    </a:lnTo>
                    <a:lnTo>
                      <a:pt x="662" y="106"/>
                    </a:lnTo>
                    <a:lnTo>
                      <a:pt x="662" y="102"/>
                    </a:lnTo>
                    <a:lnTo>
                      <a:pt x="660" y="99"/>
                    </a:lnTo>
                    <a:lnTo>
                      <a:pt x="658" y="97"/>
                    </a:lnTo>
                    <a:lnTo>
                      <a:pt x="658" y="97"/>
                    </a:lnTo>
                    <a:lnTo>
                      <a:pt x="658" y="97"/>
                    </a:lnTo>
                    <a:lnTo>
                      <a:pt x="658" y="93"/>
                    </a:lnTo>
                    <a:lnTo>
                      <a:pt x="658" y="91"/>
                    </a:lnTo>
                    <a:lnTo>
                      <a:pt x="658" y="89"/>
                    </a:lnTo>
                    <a:lnTo>
                      <a:pt x="652" y="83"/>
                    </a:lnTo>
                    <a:lnTo>
                      <a:pt x="652" y="81"/>
                    </a:lnTo>
                    <a:lnTo>
                      <a:pt x="650" y="83"/>
                    </a:lnTo>
                    <a:lnTo>
                      <a:pt x="650" y="85"/>
                    </a:lnTo>
                    <a:lnTo>
                      <a:pt x="648" y="87"/>
                    </a:lnTo>
                    <a:lnTo>
                      <a:pt x="648" y="89"/>
                    </a:lnTo>
                    <a:lnTo>
                      <a:pt x="646" y="91"/>
                    </a:lnTo>
                    <a:lnTo>
                      <a:pt x="645" y="91"/>
                    </a:lnTo>
                    <a:lnTo>
                      <a:pt x="641" y="95"/>
                    </a:lnTo>
                    <a:lnTo>
                      <a:pt x="639" y="95"/>
                    </a:lnTo>
                    <a:lnTo>
                      <a:pt x="637" y="93"/>
                    </a:lnTo>
                    <a:lnTo>
                      <a:pt x="635" y="89"/>
                    </a:lnTo>
                    <a:lnTo>
                      <a:pt x="635" y="89"/>
                    </a:lnTo>
                    <a:lnTo>
                      <a:pt x="633" y="87"/>
                    </a:lnTo>
                    <a:lnTo>
                      <a:pt x="633" y="85"/>
                    </a:lnTo>
                    <a:lnTo>
                      <a:pt x="633" y="85"/>
                    </a:lnTo>
                    <a:lnTo>
                      <a:pt x="629" y="83"/>
                    </a:lnTo>
                    <a:lnTo>
                      <a:pt x="629" y="83"/>
                    </a:lnTo>
                    <a:lnTo>
                      <a:pt x="627" y="79"/>
                    </a:lnTo>
                    <a:lnTo>
                      <a:pt x="625" y="79"/>
                    </a:lnTo>
                    <a:lnTo>
                      <a:pt x="624" y="78"/>
                    </a:lnTo>
                    <a:lnTo>
                      <a:pt x="622" y="78"/>
                    </a:lnTo>
                    <a:lnTo>
                      <a:pt x="622" y="76"/>
                    </a:lnTo>
                    <a:lnTo>
                      <a:pt x="620" y="72"/>
                    </a:lnTo>
                    <a:lnTo>
                      <a:pt x="618" y="70"/>
                    </a:lnTo>
                    <a:lnTo>
                      <a:pt x="618" y="68"/>
                    </a:lnTo>
                    <a:lnTo>
                      <a:pt x="618" y="66"/>
                    </a:lnTo>
                    <a:lnTo>
                      <a:pt x="622" y="57"/>
                    </a:lnTo>
                    <a:lnTo>
                      <a:pt x="624" y="57"/>
                    </a:lnTo>
                    <a:lnTo>
                      <a:pt x="624" y="55"/>
                    </a:lnTo>
                    <a:lnTo>
                      <a:pt x="625" y="55"/>
                    </a:lnTo>
                    <a:lnTo>
                      <a:pt x="625" y="53"/>
                    </a:lnTo>
                    <a:lnTo>
                      <a:pt x="625" y="51"/>
                    </a:lnTo>
                    <a:lnTo>
                      <a:pt x="625" y="51"/>
                    </a:lnTo>
                    <a:lnTo>
                      <a:pt x="625" y="51"/>
                    </a:lnTo>
                    <a:lnTo>
                      <a:pt x="627" y="51"/>
                    </a:lnTo>
                    <a:lnTo>
                      <a:pt x="629" y="51"/>
                    </a:lnTo>
                    <a:lnTo>
                      <a:pt x="631" y="51"/>
                    </a:lnTo>
                    <a:lnTo>
                      <a:pt x="633" y="51"/>
                    </a:lnTo>
                    <a:lnTo>
                      <a:pt x="633" y="51"/>
                    </a:lnTo>
                    <a:lnTo>
                      <a:pt x="635" y="49"/>
                    </a:lnTo>
                    <a:lnTo>
                      <a:pt x="635" y="49"/>
                    </a:lnTo>
                    <a:lnTo>
                      <a:pt x="635" y="47"/>
                    </a:lnTo>
                    <a:lnTo>
                      <a:pt x="635" y="45"/>
                    </a:lnTo>
                    <a:lnTo>
                      <a:pt x="635" y="43"/>
                    </a:lnTo>
                    <a:lnTo>
                      <a:pt x="635" y="43"/>
                    </a:lnTo>
                    <a:lnTo>
                      <a:pt x="633" y="43"/>
                    </a:lnTo>
                    <a:lnTo>
                      <a:pt x="631" y="45"/>
                    </a:lnTo>
                    <a:lnTo>
                      <a:pt x="631" y="45"/>
                    </a:lnTo>
                    <a:lnTo>
                      <a:pt x="631" y="45"/>
                    </a:lnTo>
                    <a:lnTo>
                      <a:pt x="629" y="45"/>
                    </a:lnTo>
                    <a:lnTo>
                      <a:pt x="624" y="43"/>
                    </a:lnTo>
                    <a:lnTo>
                      <a:pt x="622" y="43"/>
                    </a:lnTo>
                    <a:lnTo>
                      <a:pt x="622" y="41"/>
                    </a:lnTo>
                    <a:lnTo>
                      <a:pt x="620" y="41"/>
                    </a:lnTo>
                    <a:lnTo>
                      <a:pt x="620" y="40"/>
                    </a:lnTo>
                    <a:lnTo>
                      <a:pt x="620" y="40"/>
                    </a:lnTo>
                    <a:lnTo>
                      <a:pt x="622" y="36"/>
                    </a:lnTo>
                    <a:lnTo>
                      <a:pt x="622" y="34"/>
                    </a:lnTo>
                    <a:lnTo>
                      <a:pt x="622" y="30"/>
                    </a:lnTo>
                    <a:lnTo>
                      <a:pt x="622" y="30"/>
                    </a:lnTo>
                    <a:lnTo>
                      <a:pt x="622" y="28"/>
                    </a:lnTo>
                    <a:lnTo>
                      <a:pt x="620" y="28"/>
                    </a:lnTo>
                    <a:lnTo>
                      <a:pt x="620" y="28"/>
                    </a:lnTo>
                    <a:lnTo>
                      <a:pt x="620" y="28"/>
                    </a:lnTo>
                    <a:lnTo>
                      <a:pt x="618" y="28"/>
                    </a:lnTo>
                    <a:lnTo>
                      <a:pt x="616" y="28"/>
                    </a:lnTo>
                    <a:lnTo>
                      <a:pt x="612" y="28"/>
                    </a:lnTo>
                    <a:lnTo>
                      <a:pt x="610" y="30"/>
                    </a:lnTo>
                    <a:lnTo>
                      <a:pt x="608" y="30"/>
                    </a:lnTo>
                    <a:lnTo>
                      <a:pt x="608" y="30"/>
                    </a:lnTo>
                    <a:lnTo>
                      <a:pt x="608" y="30"/>
                    </a:lnTo>
                    <a:lnTo>
                      <a:pt x="606" y="32"/>
                    </a:lnTo>
                    <a:lnTo>
                      <a:pt x="606" y="32"/>
                    </a:lnTo>
                    <a:lnTo>
                      <a:pt x="604" y="34"/>
                    </a:lnTo>
                    <a:lnTo>
                      <a:pt x="604" y="34"/>
                    </a:lnTo>
                    <a:lnTo>
                      <a:pt x="604" y="36"/>
                    </a:lnTo>
                    <a:lnTo>
                      <a:pt x="604" y="38"/>
                    </a:lnTo>
                    <a:lnTo>
                      <a:pt x="604" y="38"/>
                    </a:lnTo>
                    <a:lnTo>
                      <a:pt x="604" y="38"/>
                    </a:lnTo>
                    <a:lnTo>
                      <a:pt x="604" y="40"/>
                    </a:lnTo>
                    <a:lnTo>
                      <a:pt x="604" y="40"/>
                    </a:lnTo>
                    <a:lnTo>
                      <a:pt x="604" y="40"/>
                    </a:lnTo>
                    <a:lnTo>
                      <a:pt x="604" y="41"/>
                    </a:lnTo>
                    <a:lnTo>
                      <a:pt x="604" y="41"/>
                    </a:lnTo>
                    <a:lnTo>
                      <a:pt x="604" y="43"/>
                    </a:lnTo>
                    <a:lnTo>
                      <a:pt x="603" y="43"/>
                    </a:lnTo>
                    <a:lnTo>
                      <a:pt x="603" y="45"/>
                    </a:lnTo>
                    <a:lnTo>
                      <a:pt x="603" y="45"/>
                    </a:lnTo>
                    <a:lnTo>
                      <a:pt x="599" y="47"/>
                    </a:lnTo>
                    <a:lnTo>
                      <a:pt x="597" y="47"/>
                    </a:lnTo>
                    <a:lnTo>
                      <a:pt x="595" y="47"/>
                    </a:lnTo>
                    <a:lnTo>
                      <a:pt x="591" y="45"/>
                    </a:lnTo>
                    <a:lnTo>
                      <a:pt x="587" y="45"/>
                    </a:lnTo>
                    <a:lnTo>
                      <a:pt x="584" y="45"/>
                    </a:lnTo>
                    <a:lnTo>
                      <a:pt x="576" y="45"/>
                    </a:lnTo>
                    <a:lnTo>
                      <a:pt x="576" y="45"/>
                    </a:lnTo>
                    <a:lnTo>
                      <a:pt x="574" y="43"/>
                    </a:lnTo>
                    <a:lnTo>
                      <a:pt x="572" y="41"/>
                    </a:lnTo>
                    <a:lnTo>
                      <a:pt x="570" y="41"/>
                    </a:lnTo>
                    <a:lnTo>
                      <a:pt x="570" y="40"/>
                    </a:lnTo>
                    <a:lnTo>
                      <a:pt x="568" y="36"/>
                    </a:lnTo>
                    <a:lnTo>
                      <a:pt x="568" y="36"/>
                    </a:lnTo>
                    <a:lnTo>
                      <a:pt x="566" y="34"/>
                    </a:lnTo>
                    <a:lnTo>
                      <a:pt x="566" y="34"/>
                    </a:lnTo>
                    <a:lnTo>
                      <a:pt x="564" y="32"/>
                    </a:lnTo>
                    <a:lnTo>
                      <a:pt x="563" y="32"/>
                    </a:lnTo>
                    <a:lnTo>
                      <a:pt x="561" y="32"/>
                    </a:lnTo>
                    <a:lnTo>
                      <a:pt x="559" y="32"/>
                    </a:lnTo>
                    <a:lnTo>
                      <a:pt x="553" y="28"/>
                    </a:lnTo>
                    <a:lnTo>
                      <a:pt x="551" y="26"/>
                    </a:lnTo>
                    <a:lnTo>
                      <a:pt x="549" y="26"/>
                    </a:lnTo>
                    <a:lnTo>
                      <a:pt x="547" y="28"/>
                    </a:lnTo>
                    <a:lnTo>
                      <a:pt x="547" y="28"/>
                    </a:lnTo>
                    <a:lnTo>
                      <a:pt x="547" y="28"/>
                    </a:lnTo>
                    <a:lnTo>
                      <a:pt x="545" y="28"/>
                    </a:lnTo>
                    <a:lnTo>
                      <a:pt x="545" y="28"/>
                    </a:lnTo>
                    <a:lnTo>
                      <a:pt x="543" y="36"/>
                    </a:lnTo>
                    <a:lnTo>
                      <a:pt x="543" y="38"/>
                    </a:lnTo>
                    <a:lnTo>
                      <a:pt x="543" y="38"/>
                    </a:lnTo>
                    <a:lnTo>
                      <a:pt x="543" y="38"/>
                    </a:lnTo>
                    <a:lnTo>
                      <a:pt x="542" y="38"/>
                    </a:lnTo>
                    <a:lnTo>
                      <a:pt x="542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8" y="36"/>
                    </a:lnTo>
                    <a:lnTo>
                      <a:pt x="538" y="34"/>
                    </a:lnTo>
                    <a:lnTo>
                      <a:pt x="536" y="32"/>
                    </a:lnTo>
                    <a:lnTo>
                      <a:pt x="536" y="30"/>
                    </a:lnTo>
                    <a:lnTo>
                      <a:pt x="536" y="28"/>
                    </a:lnTo>
                    <a:lnTo>
                      <a:pt x="536" y="28"/>
                    </a:lnTo>
                    <a:lnTo>
                      <a:pt x="536" y="28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2" y="24"/>
                    </a:lnTo>
                    <a:lnTo>
                      <a:pt x="532" y="24"/>
                    </a:lnTo>
                    <a:lnTo>
                      <a:pt x="530" y="26"/>
                    </a:lnTo>
                    <a:lnTo>
                      <a:pt x="528" y="26"/>
                    </a:lnTo>
                    <a:lnTo>
                      <a:pt x="528" y="24"/>
                    </a:lnTo>
                    <a:lnTo>
                      <a:pt x="526" y="24"/>
                    </a:lnTo>
                    <a:lnTo>
                      <a:pt x="526" y="22"/>
                    </a:lnTo>
                    <a:lnTo>
                      <a:pt x="526" y="22"/>
                    </a:lnTo>
                    <a:lnTo>
                      <a:pt x="526" y="21"/>
                    </a:lnTo>
                    <a:lnTo>
                      <a:pt x="524" y="21"/>
                    </a:lnTo>
                    <a:lnTo>
                      <a:pt x="522" y="21"/>
                    </a:lnTo>
                    <a:lnTo>
                      <a:pt x="521" y="21"/>
                    </a:lnTo>
                    <a:lnTo>
                      <a:pt x="519" y="21"/>
                    </a:lnTo>
                    <a:lnTo>
                      <a:pt x="517" y="19"/>
                    </a:lnTo>
                    <a:lnTo>
                      <a:pt x="515" y="17"/>
                    </a:lnTo>
                    <a:lnTo>
                      <a:pt x="515" y="17"/>
                    </a:lnTo>
                    <a:lnTo>
                      <a:pt x="515" y="15"/>
                    </a:lnTo>
                    <a:lnTo>
                      <a:pt x="515" y="15"/>
                    </a:lnTo>
                    <a:lnTo>
                      <a:pt x="515" y="15"/>
                    </a:lnTo>
                    <a:lnTo>
                      <a:pt x="517" y="13"/>
                    </a:lnTo>
                    <a:lnTo>
                      <a:pt x="522" y="13"/>
                    </a:lnTo>
                    <a:lnTo>
                      <a:pt x="522" y="13"/>
                    </a:lnTo>
                    <a:lnTo>
                      <a:pt x="524" y="13"/>
                    </a:lnTo>
                    <a:lnTo>
                      <a:pt x="524" y="11"/>
                    </a:lnTo>
                    <a:lnTo>
                      <a:pt x="524" y="11"/>
                    </a:lnTo>
                    <a:lnTo>
                      <a:pt x="524" y="9"/>
                    </a:lnTo>
                    <a:lnTo>
                      <a:pt x="524" y="9"/>
                    </a:lnTo>
                    <a:lnTo>
                      <a:pt x="522" y="9"/>
                    </a:lnTo>
                    <a:lnTo>
                      <a:pt x="521" y="9"/>
                    </a:lnTo>
                    <a:lnTo>
                      <a:pt x="517" y="9"/>
                    </a:lnTo>
                    <a:lnTo>
                      <a:pt x="509" y="11"/>
                    </a:lnTo>
                    <a:lnTo>
                      <a:pt x="505" y="11"/>
                    </a:lnTo>
                    <a:lnTo>
                      <a:pt x="496" y="7"/>
                    </a:lnTo>
                    <a:lnTo>
                      <a:pt x="494" y="5"/>
                    </a:lnTo>
                    <a:lnTo>
                      <a:pt x="492" y="1"/>
                    </a:lnTo>
                    <a:lnTo>
                      <a:pt x="490" y="1"/>
                    </a:lnTo>
                    <a:lnTo>
                      <a:pt x="490" y="0"/>
                    </a:lnTo>
                    <a:lnTo>
                      <a:pt x="488" y="0"/>
                    </a:lnTo>
                    <a:lnTo>
                      <a:pt x="481" y="1"/>
                    </a:lnTo>
                    <a:lnTo>
                      <a:pt x="481" y="1"/>
                    </a:lnTo>
                    <a:lnTo>
                      <a:pt x="481" y="3"/>
                    </a:lnTo>
                    <a:lnTo>
                      <a:pt x="479" y="5"/>
                    </a:lnTo>
                    <a:lnTo>
                      <a:pt x="477" y="5"/>
                    </a:lnTo>
                    <a:lnTo>
                      <a:pt x="475" y="7"/>
                    </a:lnTo>
                    <a:lnTo>
                      <a:pt x="473" y="7"/>
                    </a:lnTo>
                    <a:lnTo>
                      <a:pt x="471" y="7"/>
                    </a:lnTo>
                    <a:lnTo>
                      <a:pt x="469" y="5"/>
                    </a:lnTo>
                    <a:lnTo>
                      <a:pt x="469" y="3"/>
                    </a:lnTo>
                    <a:lnTo>
                      <a:pt x="467" y="3"/>
                    </a:lnTo>
                    <a:lnTo>
                      <a:pt x="467" y="3"/>
                    </a:lnTo>
                    <a:lnTo>
                      <a:pt x="465" y="3"/>
                    </a:lnTo>
                    <a:lnTo>
                      <a:pt x="463" y="3"/>
                    </a:lnTo>
                    <a:lnTo>
                      <a:pt x="461" y="5"/>
                    </a:lnTo>
                    <a:lnTo>
                      <a:pt x="461" y="5"/>
                    </a:lnTo>
                    <a:lnTo>
                      <a:pt x="461" y="7"/>
                    </a:lnTo>
                    <a:lnTo>
                      <a:pt x="461" y="9"/>
                    </a:lnTo>
                    <a:lnTo>
                      <a:pt x="461" y="9"/>
                    </a:lnTo>
                    <a:lnTo>
                      <a:pt x="461" y="9"/>
                    </a:lnTo>
                    <a:lnTo>
                      <a:pt x="460" y="9"/>
                    </a:lnTo>
                    <a:lnTo>
                      <a:pt x="456" y="9"/>
                    </a:lnTo>
                    <a:lnTo>
                      <a:pt x="456" y="7"/>
                    </a:lnTo>
                    <a:lnTo>
                      <a:pt x="454" y="7"/>
                    </a:lnTo>
                    <a:lnTo>
                      <a:pt x="454" y="5"/>
                    </a:lnTo>
                    <a:lnTo>
                      <a:pt x="454" y="3"/>
                    </a:lnTo>
                    <a:lnTo>
                      <a:pt x="452" y="3"/>
                    </a:lnTo>
                    <a:lnTo>
                      <a:pt x="439" y="7"/>
                    </a:lnTo>
                    <a:lnTo>
                      <a:pt x="437" y="7"/>
                    </a:lnTo>
                    <a:lnTo>
                      <a:pt x="435" y="5"/>
                    </a:lnTo>
                    <a:lnTo>
                      <a:pt x="435" y="5"/>
                    </a:lnTo>
                    <a:lnTo>
                      <a:pt x="431" y="3"/>
                    </a:lnTo>
                    <a:lnTo>
                      <a:pt x="429" y="3"/>
                    </a:lnTo>
                    <a:lnTo>
                      <a:pt x="425" y="3"/>
                    </a:lnTo>
                    <a:lnTo>
                      <a:pt x="416" y="3"/>
                    </a:lnTo>
                    <a:lnTo>
                      <a:pt x="414" y="3"/>
                    </a:lnTo>
                    <a:lnTo>
                      <a:pt x="412" y="3"/>
                    </a:lnTo>
                    <a:lnTo>
                      <a:pt x="408" y="7"/>
                    </a:lnTo>
                    <a:lnTo>
                      <a:pt x="406" y="7"/>
                    </a:lnTo>
                    <a:lnTo>
                      <a:pt x="404" y="9"/>
                    </a:lnTo>
                    <a:lnTo>
                      <a:pt x="402" y="7"/>
                    </a:lnTo>
                    <a:lnTo>
                      <a:pt x="400" y="7"/>
                    </a:lnTo>
                    <a:lnTo>
                      <a:pt x="399" y="5"/>
                    </a:lnTo>
                    <a:lnTo>
                      <a:pt x="395" y="7"/>
                    </a:lnTo>
                    <a:lnTo>
                      <a:pt x="393" y="7"/>
                    </a:lnTo>
                    <a:lnTo>
                      <a:pt x="391" y="9"/>
                    </a:lnTo>
                    <a:lnTo>
                      <a:pt x="389" y="9"/>
                    </a:lnTo>
                    <a:lnTo>
                      <a:pt x="387" y="9"/>
                    </a:lnTo>
                    <a:lnTo>
                      <a:pt x="385" y="9"/>
                    </a:lnTo>
                    <a:lnTo>
                      <a:pt x="374" y="7"/>
                    </a:lnTo>
                    <a:lnTo>
                      <a:pt x="368" y="3"/>
                    </a:lnTo>
                    <a:lnTo>
                      <a:pt x="364" y="1"/>
                    </a:lnTo>
                    <a:lnTo>
                      <a:pt x="366" y="3"/>
                    </a:lnTo>
                    <a:lnTo>
                      <a:pt x="362" y="5"/>
                    </a:lnTo>
                    <a:lnTo>
                      <a:pt x="355" y="9"/>
                    </a:lnTo>
                    <a:lnTo>
                      <a:pt x="353" y="13"/>
                    </a:lnTo>
                    <a:lnTo>
                      <a:pt x="353" y="17"/>
                    </a:lnTo>
                    <a:lnTo>
                      <a:pt x="353" y="21"/>
                    </a:lnTo>
                    <a:lnTo>
                      <a:pt x="355" y="22"/>
                    </a:lnTo>
                    <a:lnTo>
                      <a:pt x="355" y="24"/>
                    </a:lnTo>
                    <a:lnTo>
                      <a:pt x="355" y="24"/>
                    </a:lnTo>
                    <a:lnTo>
                      <a:pt x="355" y="26"/>
                    </a:lnTo>
                    <a:lnTo>
                      <a:pt x="355" y="26"/>
                    </a:lnTo>
                    <a:lnTo>
                      <a:pt x="355" y="30"/>
                    </a:lnTo>
                    <a:lnTo>
                      <a:pt x="355" y="30"/>
                    </a:lnTo>
                    <a:lnTo>
                      <a:pt x="355" y="32"/>
                    </a:lnTo>
                    <a:lnTo>
                      <a:pt x="355" y="32"/>
                    </a:lnTo>
                    <a:lnTo>
                      <a:pt x="355" y="34"/>
                    </a:lnTo>
                    <a:lnTo>
                      <a:pt x="358" y="36"/>
                    </a:lnTo>
                    <a:lnTo>
                      <a:pt x="362" y="36"/>
                    </a:lnTo>
                    <a:lnTo>
                      <a:pt x="366" y="38"/>
                    </a:lnTo>
                    <a:lnTo>
                      <a:pt x="368" y="41"/>
                    </a:lnTo>
                    <a:lnTo>
                      <a:pt x="366" y="41"/>
                    </a:lnTo>
                    <a:lnTo>
                      <a:pt x="360" y="43"/>
                    </a:lnTo>
                    <a:lnTo>
                      <a:pt x="358" y="45"/>
                    </a:lnTo>
                    <a:lnTo>
                      <a:pt x="358" y="47"/>
                    </a:lnTo>
                    <a:lnTo>
                      <a:pt x="357" y="49"/>
                    </a:lnTo>
                    <a:lnTo>
                      <a:pt x="355" y="49"/>
                    </a:lnTo>
                    <a:lnTo>
                      <a:pt x="353" y="47"/>
                    </a:lnTo>
                    <a:lnTo>
                      <a:pt x="349" y="47"/>
                    </a:lnTo>
                    <a:lnTo>
                      <a:pt x="347" y="47"/>
                    </a:lnTo>
                    <a:lnTo>
                      <a:pt x="339" y="53"/>
                    </a:lnTo>
                    <a:lnTo>
                      <a:pt x="338" y="55"/>
                    </a:lnTo>
                    <a:lnTo>
                      <a:pt x="338" y="59"/>
                    </a:lnTo>
                    <a:lnTo>
                      <a:pt x="339" y="60"/>
                    </a:lnTo>
                    <a:lnTo>
                      <a:pt x="339" y="60"/>
                    </a:lnTo>
                    <a:lnTo>
                      <a:pt x="338" y="60"/>
                    </a:lnTo>
                    <a:lnTo>
                      <a:pt x="334" y="62"/>
                    </a:lnTo>
                    <a:lnTo>
                      <a:pt x="330" y="64"/>
                    </a:lnTo>
                    <a:lnTo>
                      <a:pt x="326" y="66"/>
                    </a:lnTo>
                    <a:lnTo>
                      <a:pt x="311" y="64"/>
                    </a:lnTo>
                    <a:lnTo>
                      <a:pt x="305" y="62"/>
                    </a:lnTo>
                    <a:lnTo>
                      <a:pt x="303" y="60"/>
                    </a:lnTo>
                    <a:lnTo>
                      <a:pt x="303" y="59"/>
                    </a:lnTo>
                    <a:lnTo>
                      <a:pt x="301" y="53"/>
                    </a:lnTo>
                    <a:lnTo>
                      <a:pt x="301" y="47"/>
                    </a:lnTo>
                    <a:lnTo>
                      <a:pt x="301" y="45"/>
                    </a:lnTo>
                    <a:lnTo>
                      <a:pt x="301" y="45"/>
                    </a:lnTo>
                    <a:lnTo>
                      <a:pt x="303" y="43"/>
                    </a:lnTo>
                    <a:lnTo>
                      <a:pt x="305" y="41"/>
                    </a:lnTo>
                    <a:lnTo>
                      <a:pt x="303" y="40"/>
                    </a:lnTo>
                    <a:lnTo>
                      <a:pt x="297" y="40"/>
                    </a:lnTo>
                    <a:lnTo>
                      <a:pt x="284" y="41"/>
                    </a:lnTo>
                    <a:lnTo>
                      <a:pt x="278" y="45"/>
                    </a:lnTo>
                    <a:lnTo>
                      <a:pt x="276" y="47"/>
                    </a:lnTo>
                    <a:lnTo>
                      <a:pt x="269" y="47"/>
                    </a:lnTo>
                    <a:lnTo>
                      <a:pt x="267" y="49"/>
                    </a:lnTo>
                    <a:lnTo>
                      <a:pt x="263" y="51"/>
                    </a:lnTo>
                    <a:lnTo>
                      <a:pt x="259" y="53"/>
                    </a:lnTo>
                    <a:lnTo>
                      <a:pt x="257" y="53"/>
                    </a:lnTo>
                    <a:lnTo>
                      <a:pt x="250" y="55"/>
                    </a:lnTo>
                    <a:lnTo>
                      <a:pt x="246" y="55"/>
                    </a:lnTo>
                    <a:lnTo>
                      <a:pt x="244" y="57"/>
                    </a:lnTo>
                    <a:lnTo>
                      <a:pt x="242" y="59"/>
                    </a:lnTo>
                    <a:lnTo>
                      <a:pt x="240" y="66"/>
                    </a:lnTo>
                    <a:lnTo>
                      <a:pt x="238" y="70"/>
                    </a:lnTo>
                    <a:lnTo>
                      <a:pt x="235" y="74"/>
                    </a:lnTo>
                    <a:lnTo>
                      <a:pt x="229" y="74"/>
                    </a:lnTo>
                    <a:lnTo>
                      <a:pt x="204" y="76"/>
                    </a:lnTo>
                    <a:lnTo>
                      <a:pt x="196" y="74"/>
                    </a:lnTo>
                    <a:lnTo>
                      <a:pt x="191" y="72"/>
                    </a:lnTo>
                    <a:lnTo>
                      <a:pt x="181" y="60"/>
                    </a:lnTo>
                    <a:lnTo>
                      <a:pt x="177" y="59"/>
                    </a:lnTo>
                    <a:lnTo>
                      <a:pt x="141" y="59"/>
                    </a:lnTo>
                    <a:lnTo>
                      <a:pt x="133" y="62"/>
                    </a:lnTo>
                    <a:lnTo>
                      <a:pt x="128" y="62"/>
                    </a:lnTo>
                    <a:lnTo>
                      <a:pt x="126" y="62"/>
                    </a:lnTo>
                    <a:lnTo>
                      <a:pt x="118" y="59"/>
                    </a:lnTo>
                    <a:lnTo>
                      <a:pt x="114" y="57"/>
                    </a:lnTo>
                    <a:lnTo>
                      <a:pt x="113" y="59"/>
                    </a:lnTo>
                    <a:lnTo>
                      <a:pt x="107" y="60"/>
                    </a:lnTo>
                    <a:lnTo>
                      <a:pt x="105" y="62"/>
                    </a:lnTo>
                    <a:lnTo>
                      <a:pt x="103" y="62"/>
                    </a:lnTo>
                    <a:lnTo>
                      <a:pt x="101" y="60"/>
                    </a:lnTo>
                    <a:lnTo>
                      <a:pt x="97" y="55"/>
                    </a:lnTo>
                    <a:lnTo>
                      <a:pt x="97" y="55"/>
                    </a:lnTo>
                    <a:lnTo>
                      <a:pt x="95" y="53"/>
                    </a:lnTo>
                    <a:lnTo>
                      <a:pt x="95" y="53"/>
                    </a:lnTo>
                    <a:lnTo>
                      <a:pt x="93" y="53"/>
                    </a:lnTo>
                    <a:lnTo>
                      <a:pt x="92" y="55"/>
                    </a:lnTo>
                    <a:lnTo>
                      <a:pt x="92" y="55"/>
                    </a:lnTo>
                    <a:lnTo>
                      <a:pt x="92" y="57"/>
                    </a:lnTo>
                    <a:lnTo>
                      <a:pt x="88" y="64"/>
                    </a:lnTo>
                    <a:lnTo>
                      <a:pt x="86" y="64"/>
                    </a:lnTo>
                    <a:lnTo>
                      <a:pt x="84" y="62"/>
                    </a:lnTo>
                    <a:lnTo>
                      <a:pt x="84" y="55"/>
                    </a:lnTo>
                    <a:lnTo>
                      <a:pt x="82" y="53"/>
                    </a:lnTo>
                    <a:lnTo>
                      <a:pt x="74" y="51"/>
                    </a:lnTo>
                    <a:lnTo>
                      <a:pt x="72" y="57"/>
                    </a:lnTo>
                    <a:lnTo>
                      <a:pt x="72" y="68"/>
                    </a:lnTo>
                    <a:lnTo>
                      <a:pt x="72" y="83"/>
                    </a:lnTo>
                    <a:lnTo>
                      <a:pt x="72" y="102"/>
                    </a:lnTo>
                    <a:lnTo>
                      <a:pt x="63" y="102"/>
                    </a:lnTo>
                    <a:lnTo>
                      <a:pt x="50" y="102"/>
                    </a:lnTo>
                    <a:lnTo>
                      <a:pt x="36" y="102"/>
                    </a:lnTo>
                    <a:lnTo>
                      <a:pt x="31" y="102"/>
                    </a:lnTo>
                    <a:lnTo>
                      <a:pt x="25" y="106"/>
                    </a:lnTo>
                    <a:lnTo>
                      <a:pt x="25" y="104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3" y="102"/>
                    </a:lnTo>
                    <a:lnTo>
                      <a:pt x="23" y="102"/>
                    </a:lnTo>
                    <a:lnTo>
                      <a:pt x="23" y="104"/>
                    </a:lnTo>
                    <a:lnTo>
                      <a:pt x="23" y="106"/>
                    </a:lnTo>
                    <a:lnTo>
                      <a:pt x="23" y="106"/>
                    </a:lnTo>
                    <a:lnTo>
                      <a:pt x="21" y="108"/>
                    </a:lnTo>
                    <a:lnTo>
                      <a:pt x="19" y="110"/>
                    </a:lnTo>
                    <a:lnTo>
                      <a:pt x="17" y="108"/>
                    </a:lnTo>
                    <a:lnTo>
                      <a:pt x="17" y="108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3" y="106"/>
                    </a:lnTo>
                    <a:lnTo>
                      <a:pt x="13" y="108"/>
                    </a:lnTo>
                    <a:lnTo>
                      <a:pt x="13" y="110"/>
                    </a:lnTo>
                    <a:lnTo>
                      <a:pt x="13" y="110"/>
                    </a:lnTo>
                    <a:lnTo>
                      <a:pt x="13" y="110"/>
                    </a:lnTo>
                    <a:lnTo>
                      <a:pt x="13" y="112"/>
                    </a:lnTo>
                    <a:lnTo>
                      <a:pt x="13" y="112"/>
                    </a:lnTo>
                    <a:lnTo>
                      <a:pt x="13" y="112"/>
                    </a:lnTo>
                    <a:lnTo>
                      <a:pt x="13" y="112"/>
                    </a:lnTo>
                    <a:lnTo>
                      <a:pt x="11" y="112"/>
                    </a:lnTo>
                    <a:lnTo>
                      <a:pt x="11" y="112"/>
                    </a:lnTo>
                    <a:lnTo>
                      <a:pt x="11" y="112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4" y="119"/>
                    </a:lnTo>
                    <a:lnTo>
                      <a:pt x="4" y="119"/>
                    </a:lnTo>
                    <a:lnTo>
                      <a:pt x="4" y="119"/>
                    </a:lnTo>
                    <a:lnTo>
                      <a:pt x="4" y="119"/>
                    </a:lnTo>
                    <a:lnTo>
                      <a:pt x="4" y="121"/>
                    </a:lnTo>
                    <a:lnTo>
                      <a:pt x="4" y="125"/>
                    </a:lnTo>
                    <a:lnTo>
                      <a:pt x="2" y="129"/>
                    </a:lnTo>
                    <a:lnTo>
                      <a:pt x="2" y="131"/>
                    </a:lnTo>
                    <a:lnTo>
                      <a:pt x="2" y="131"/>
                    </a:lnTo>
                    <a:lnTo>
                      <a:pt x="4" y="131"/>
                    </a:lnTo>
                    <a:lnTo>
                      <a:pt x="6" y="127"/>
                    </a:lnTo>
                    <a:lnTo>
                      <a:pt x="6" y="131"/>
                    </a:lnTo>
                    <a:lnTo>
                      <a:pt x="6" y="133"/>
                    </a:lnTo>
                    <a:lnTo>
                      <a:pt x="6" y="137"/>
                    </a:lnTo>
                    <a:lnTo>
                      <a:pt x="8" y="138"/>
                    </a:lnTo>
                    <a:lnTo>
                      <a:pt x="10" y="140"/>
                    </a:lnTo>
                    <a:lnTo>
                      <a:pt x="11" y="142"/>
                    </a:lnTo>
                    <a:lnTo>
                      <a:pt x="13" y="142"/>
                    </a:lnTo>
                    <a:lnTo>
                      <a:pt x="17" y="140"/>
                    </a:lnTo>
                    <a:lnTo>
                      <a:pt x="15" y="142"/>
                    </a:lnTo>
                    <a:lnTo>
                      <a:pt x="13" y="144"/>
                    </a:lnTo>
                    <a:lnTo>
                      <a:pt x="11" y="144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8" y="144"/>
                    </a:lnTo>
                    <a:lnTo>
                      <a:pt x="6" y="144"/>
                    </a:lnTo>
                    <a:lnTo>
                      <a:pt x="4" y="144"/>
                    </a:lnTo>
                    <a:lnTo>
                      <a:pt x="4" y="146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0"/>
                    </a:lnTo>
                    <a:lnTo>
                      <a:pt x="2" y="152"/>
                    </a:lnTo>
                    <a:lnTo>
                      <a:pt x="4" y="152"/>
                    </a:lnTo>
                    <a:lnTo>
                      <a:pt x="10" y="154"/>
                    </a:lnTo>
                    <a:lnTo>
                      <a:pt x="19" y="154"/>
                    </a:lnTo>
                    <a:lnTo>
                      <a:pt x="19" y="154"/>
                    </a:lnTo>
                    <a:lnTo>
                      <a:pt x="21" y="154"/>
                    </a:lnTo>
                    <a:lnTo>
                      <a:pt x="23" y="154"/>
                    </a:lnTo>
                    <a:lnTo>
                      <a:pt x="25" y="152"/>
                    </a:lnTo>
                    <a:lnTo>
                      <a:pt x="25" y="152"/>
                    </a:lnTo>
                    <a:lnTo>
                      <a:pt x="25" y="150"/>
                    </a:lnTo>
                    <a:lnTo>
                      <a:pt x="25" y="150"/>
                    </a:lnTo>
                    <a:lnTo>
                      <a:pt x="25" y="148"/>
                    </a:lnTo>
                    <a:lnTo>
                      <a:pt x="32" y="138"/>
                    </a:lnTo>
                    <a:lnTo>
                      <a:pt x="34" y="137"/>
                    </a:lnTo>
                    <a:lnTo>
                      <a:pt x="38" y="135"/>
                    </a:lnTo>
                    <a:lnTo>
                      <a:pt x="40" y="133"/>
                    </a:lnTo>
                    <a:lnTo>
                      <a:pt x="46" y="133"/>
                    </a:lnTo>
                    <a:lnTo>
                      <a:pt x="48" y="131"/>
                    </a:lnTo>
                    <a:lnTo>
                      <a:pt x="50" y="129"/>
                    </a:lnTo>
                    <a:lnTo>
                      <a:pt x="51" y="129"/>
                    </a:lnTo>
                    <a:lnTo>
                      <a:pt x="55" y="127"/>
                    </a:lnTo>
                    <a:lnTo>
                      <a:pt x="57" y="127"/>
                    </a:lnTo>
                    <a:lnTo>
                      <a:pt x="57" y="125"/>
                    </a:lnTo>
                    <a:lnTo>
                      <a:pt x="59" y="121"/>
                    </a:lnTo>
                    <a:lnTo>
                      <a:pt x="61" y="119"/>
                    </a:lnTo>
                    <a:lnTo>
                      <a:pt x="63" y="119"/>
                    </a:lnTo>
                    <a:lnTo>
                      <a:pt x="69" y="119"/>
                    </a:lnTo>
                    <a:lnTo>
                      <a:pt x="71" y="119"/>
                    </a:lnTo>
                    <a:lnTo>
                      <a:pt x="74" y="118"/>
                    </a:lnTo>
                    <a:lnTo>
                      <a:pt x="78" y="114"/>
                    </a:lnTo>
                    <a:lnTo>
                      <a:pt x="80" y="114"/>
                    </a:lnTo>
                    <a:lnTo>
                      <a:pt x="82" y="114"/>
                    </a:lnTo>
                    <a:lnTo>
                      <a:pt x="84" y="114"/>
                    </a:lnTo>
                    <a:lnTo>
                      <a:pt x="78" y="119"/>
                    </a:lnTo>
                    <a:lnTo>
                      <a:pt x="76" y="119"/>
                    </a:lnTo>
                    <a:lnTo>
                      <a:pt x="74" y="119"/>
                    </a:lnTo>
                    <a:lnTo>
                      <a:pt x="72" y="121"/>
                    </a:lnTo>
                    <a:lnTo>
                      <a:pt x="71" y="123"/>
                    </a:lnTo>
                    <a:lnTo>
                      <a:pt x="67" y="121"/>
                    </a:lnTo>
                    <a:lnTo>
                      <a:pt x="65" y="123"/>
                    </a:lnTo>
                    <a:lnTo>
                      <a:pt x="63" y="125"/>
                    </a:lnTo>
                    <a:lnTo>
                      <a:pt x="61" y="129"/>
                    </a:lnTo>
                    <a:lnTo>
                      <a:pt x="57" y="131"/>
                    </a:lnTo>
                    <a:lnTo>
                      <a:pt x="55" y="133"/>
                    </a:lnTo>
                    <a:lnTo>
                      <a:pt x="51" y="137"/>
                    </a:lnTo>
                    <a:lnTo>
                      <a:pt x="50" y="140"/>
                    </a:lnTo>
                    <a:lnTo>
                      <a:pt x="48" y="140"/>
                    </a:lnTo>
                    <a:lnTo>
                      <a:pt x="48" y="142"/>
                    </a:lnTo>
                    <a:lnTo>
                      <a:pt x="44" y="142"/>
                    </a:lnTo>
                    <a:lnTo>
                      <a:pt x="42" y="142"/>
                    </a:lnTo>
                    <a:lnTo>
                      <a:pt x="40" y="144"/>
                    </a:lnTo>
                    <a:lnTo>
                      <a:pt x="40" y="144"/>
                    </a:lnTo>
                    <a:lnTo>
                      <a:pt x="40" y="146"/>
                    </a:lnTo>
                    <a:lnTo>
                      <a:pt x="42" y="146"/>
                    </a:lnTo>
                    <a:lnTo>
                      <a:pt x="42" y="146"/>
                    </a:lnTo>
                    <a:lnTo>
                      <a:pt x="44" y="146"/>
                    </a:lnTo>
                    <a:lnTo>
                      <a:pt x="44" y="150"/>
                    </a:lnTo>
                    <a:lnTo>
                      <a:pt x="40" y="150"/>
                    </a:lnTo>
                    <a:lnTo>
                      <a:pt x="34" y="148"/>
                    </a:lnTo>
                    <a:lnTo>
                      <a:pt x="32" y="150"/>
                    </a:lnTo>
                    <a:lnTo>
                      <a:pt x="32" y="152"/>
                    </a:lnTo>
                    <a:lnTo>
                      <a:pt x="32" y="159"/>
                    </a:lnTo>
                    <a:lnTo>
                      <a:pt x="32" y="165"/>
                    </a:lnTo>
                    <a:lnTo>
                      <a:pt x="32" y="167"/>
                    </a:lnTo>
                    <a:lnTo>
                      <a:pt x="36" y="167"/>
                    </a:lnTo>
                    <a:lnTo>
                      <a:pt x="38" y="165"/>
                    </a:lnTo>
                    <a:lnTo>
                      <a:pt x="38" y="163"/>
                    </a:lnTo>
                    <a:lnTo>
                      <a:pt x="36" y="161"/>
                    </a:lnTo>
                    <a:lnTo>
                      <a:pt x="36" y="159"/>
                    </a:lnTo>
                    <a:lnTo>
                      <a:pt x="36" y="159"/>
                    </a:lnTo>
                    <a:lnTo>
                      <a:pt x="38" y="161"/>
                    </a:lnTo>
                    <a:lnTo>
                      <a:pt x="38" y="163"/>
                    </a:lnTo>
                    <a:lnTo>
                      <a:pt x="40" y="163"/>
                    </a:lnTo>
                    <a:lnTo>
                      <a:pt x="40" y="161"/>
                    </a:lnTo>
                    <a:lnTo>
                      <a:pt x="42" y="161"/>
                    </a:lnTo>
                    <a:lnTo>
                      <a:pt x="42" y="163"/>
                    </a:lnTo>
                    <a:lnTo>
                      <a:pt x="40" y="165"/>
                    </a:lnTo>
                    <a:lnTo>
                      <a:pt x="38" y="167"/>
                    </a:lnTo>
                    <a:lnTo>
                      <a:pt x="36" y="171"/>
                    </a:lnTo>
                    <a:lnTo>
                      <a:pt x="34" y="173"/>
                    </a:lnTo>
                    <a:lnTo>
                      <a:pt x="36" y="175"/>
                    </a:lnTo>
                    <a:lnTo>
                      <a:pt x="36" y="175"/>
                    </a:lnTo>
                    <a:lnTo>
                      <a:pt x="38" y="175"/>
                    </a:lnTo>
                    <a:lnTo>
                      <a:pt x="40" y="173"/>
                    </a:lnTo>
                    <a:lnTo>
                      <a:pt x="40" y="175"/>
                    </a:lnTo>
                    <a:lnTo>
                      <a:pt x="38" y="177"/>
                    </a:lnTo>
                    <a:lnTo>
                      <a:pt x="40" y="178"/>
                    </a:lnTo>
                    <a:lnTo>
                      <a:pt x="40" y="178"/>
                    </a:lnTo>
                    <a:lnTo>
                      <a:pt x="42" y="178"/>
                    </a:lnTo>
                    <a:lnTo>
                      <a:pt x="44" y="177"/>
                    </a:lnTo>
                    <a:lnTo>
                      <a:pt x="44" y="177"/>
                    </a:lnTo>
                    <a:lnTo>
                      <a:pt x="46" y="177"/>
                    </a:lnTo>
                    <a:lnTo>
                      <a:pt x="48" y="177"/>
                    </a:lnTo>
                    <a:lnTo>
                      <a:pt x="48" y="177"/>
                    </a:lnTo>
                    <a:lnTo>
                      <a:pt x="48" y="177"/>
                    </a:lnTo>
                    <a:lnTo>
                      <a:pt x="50" y="178"/>
                    </a:lnTo>
                    <a:lnTo>
                      <a:pt x="48" y="178"/>
                    </a:lnTo>
                    <a:lnTo>
                      <a:pt x="46" y="178"/>
                    </a:lnTo>
                    <a:lnTo>
                      <a:pt x="46" y="178"/>
                    </a:lnTo>
                    <a:lnTo>
                      <a:pt x="46" y="180"/>
                    </a:lnTo>
                    <a:lnTo>
                      <a:pt x="46" y="182"/>
                    </a:lnTo>
                    <a:lnTo>
                      <a:pt x="46" y="184"/>
                    </a:lnTo>
                    <a:lnTo>
                      <a:pt x="48" y="184"/>
                    </a:lnTo>
                    <a:lnTo>
                      <a:pt x="50" y="184"/>
                    </a:lnTo>
                    <a:lnTo>
                      <a:pt x="50" y="184"/>
                    </a:lnTo>
                    <a:lnTo>
                      <a:pt x="50" y="184"/>
                    </a:lnTo>
                    <a:lnTo>
                      <a:pt x="51" y="184"/>
                    </a:lnTo>
                    <a:lnTo>
                      <a:pt x="51" y="184"/>
                    </a:lnTo>
                    <a:lnTo>
                      <a:pt x="51" y="184"/>
                    </a:lnTo>
                    <a:lnTo>
                      <a:pt x="51" y="186"/>
                    </a:lnTo>
                    <a:lnTo>
                      <a:pt x="53" y="186"/>
                    </a:lnTo>
                    <a:lnTo>
                      <a:pt x="53" y="186"/>
                    </a:lnTo>
                    <a:lnTo>
                      <a:pt x="55" y="188"/>
                    </a:lnTo>
                    <a:lnTo>
                      <a:pt x="57" y="188"/>
                    </a:lnTo>
                    <a:lnTo>
                      <a:pt x="57" y="190"/>
                    </a:lnTo>
                    <a:lnTo>
                      <a:pt x="57" y="190"/>
                    </a:lnTo>
                    <a:lnTo>
                      <a:pt x="53" y="190"/>
                    </a:lnTo>
                    <a:lnTo>
                      <a:pt x="51" y="190"/>
                    </a:lnTo>
                    <a:lnTo>
                      <a:pt x="50" y="196"/>
                    </a:lnTo>
                    <a:lnTo>
                      <a:pt x="51" y="197"/>
                    </a:lnTo>
                    <a:lnTo>
                      <a:pt x="53" y="199"/>
                    </a:lnTo>
                    <a:lnTo>
                      <a:pt x="57" y="197"/>
                    </a:lnTo>
                    <a:lnTo>
                      <a:pt x="59" y="197"/>
                    </a:lnTo>
                    <a:lnTo>
                      <a:pt x="59" y="199"/>
                    </a:lnTo>
                    <a:lnTo>
                      <a:pt x="59" y="199"/>
                    </a:lnTo>
                    <a:lnTo>
                      <a:pt x="57" y="203"/>
                    </a:lnTo>
                    <a:lnTo>
                      <a:pt x="57" y="201"/>
                    </a:lnTo>
                    <a:lnTo>
                      <a:pt x="55" y="201"/>
                    </a:lnTo>
                    <a:lnTo>
                      <a:pt x="57" y="203"/>
                    </a:lnTo>
                    <a:lnTo>
                      <a:pt x="57" y="205"/>
                    </a:lnTo>
                    <a:lnTo>
                      <a:pt x="59" y="207"/>
                    </a:lnTo>
                    <a:lnTo>
                      <a:pt x="63" y="209"/>
                    </a:lnTo>
                    <a:lnTo>
                      <a:pt x="63" y="211"/>
                    </a:lnTo>
                    <a:lnTo>
                      <a:pt x="63" y="211"/>
                    </a:lnTo>
                    <a:lnTo>
                      <a:pt x="63" y="213"/>
                    </a:lnTo>
                    <a:lnTo>
                      <a:pt x="65" y="213"/>
                    </a:lnTo>
                    <a:lnTo>
                      <a:pt x="69" y="216"/>
                    </a:lnTo>
                    <a:lnTo>
                      <a:pt x="90" y="232"/>
                    </a:lnTo>
                    <a:lnTo>
                      <a:pt x="113" y="241"/>
                    </a:lnTo>
                    <a:lnTo>
                      <a:pt x="124" y="249"/>
                    </a:lnTo>
                    <a:lnTo>
                      <a:pt x="132" y="255"/>
                    </a:lnTo>
                    <a:lnTo>
                      <a:pt x="137" y="255"/>
                    </a:lnTo>
                    <a:lnTo>
                      <a:pt x="149" y="256"/>
                    </a:lnTo>
                    <a:lnTo>
                      <a:pt x="153" y="258"/>
                    </a:lnTo>
                    <a:lnTo>
                      <a:pt x="158" y="258"/>
                    </a:lnTo>
                    <a:lnTo>
                      <a:pt x="160" y="260"/>
                    </a:lnTo>
                    <a:lnTo>
                      <a:pt x="166" y="262"/>
                    </a:lnTo>
                    <a:lnTo>
                      <a:pt x="166" y="262"/>
                    </a:lnTo>
                    <a:lnTo>
                      <a:pt x="168" y="262"/>
                    </a:lnTo>
                    <a:lnTo>
                      <a:pt x="168" y="262"/>
                    </a:lnTo>
                    <a:lnTo>
                      <a:pt x="170" y="264"/>
                    </a:lnTo>
                    <a:lnTo>
                      <a:pt x="172" y="264"/>
                    </a:lnTo>
                    <a:lnTo>
                      <a:pt x="175" y="264"/>
                    </a:lnTo>
                    <a:lnTo>
                      <a:pt x="177" y="264"/>
                    </a:lnTo>
                    <a:lnTo>
                      <a:pt x="179" y="266"/>
                    </a:lnTo>
                    <a:lnTo>
                      <a:pt x="181" y="266"/>
                    </a:lnTo>
                    <a:lnTo>
                      <a:pt x="189" y="266"/>
                    </a:lnTo>
                    <a:lnTo>
                      <a:pt x="195" y="268"/>
                    </a:lnTo>
                    <a:lnTo>
                      <a:pt x="196" y="268"/>
                    </a:lnTo>
                    <a:lnTo>
                      <a:pt x="198" y="268"/>
                    </a:lnTo>
                    <a:lnTo>
                      <a:pt x="202" y="260"/>
                    </a:lnTo>
                    <a:lnTo>
                      <a:pt x="204" y="256"/>
                    </a:lnTo>
                    <a:lnTo>
                      <a:pt x="208" y="255"/>
                    </a:lnTo>
                    <a:lnTo>
                      <a:pt x="212" y="253"/>
                    </a:lnTo>
                    <a:lnTo>
                      <a:pt x="214" y="253"/>
                    </a:lnTo>
                    <a:lnTo>
                      <a:pt x="217" y="251"/>
                    </a:lnTo>
                    <a:lnTo>
                      <a:pt x="225" y="249"/>
                    </a:lnTo>
                    <a:lnTo>
                      <a:pt x="233" y="249"/>
                    </a:lnTo>
                    <a:lnTo>
                      <a:pt x="240" y="245"/>
                    </a:lnTo>
                    <a:lnTo>
                      <a:pt x="248" y="243"/>
                    </a:lnTo>
                    <a:lnTo>
                      <a:pt x="250" y="243"/>
                    </a:lnTo>
                    <a:lnTo>
                      <a:pt x="248" y="241"/>
                    </a:lnTo>
                    <a:lnTo>
                      <a:pt x="248" y="239"/>
                    </a:lnTo>
                    <a:lnTo>
                      <a:pt x="246" y="239"/>
                    </a:lnTo>
                    <a:lnTo>
                      <a:pt x="248" y="234"/>
                    </a:lnTo>
                    <a:lnTo>
                      <a:pt x="248" y="236"/>
                    </a:lnTo>
                    <a:lnTo>
                      <a:pt x="248" y="237"/>
                    </a:lnTo>
                    <a:lnTo>
                      <a:pt x="248" y="237"/>
                    </a:lnTo>
                    <a:lnTo>
                      <a:pt x="250" y="237"/>
                    </a:lnTo>
                    <a:lnTo>
                      <a:pt x="250" y="237"/>
                    </a:lnTo>
                    <a:lnTo>
                      <a:pt x="252" y="239"/>
                    </a:lnTo>
                    <a:lnTo>
                      <a:pt x="252" y="239"/>
                    </a:lnTo>
                    <a:lnTo>
                      <a:pt x="252" y="239"/>
                    </a:lnTo>
                    <a:lnTo>
                      <a:pt x="252" y="241"/>
                    </a:lnTo>
                    <a:lnTo>
                      <a:pt x="254" y="241"/>
                    </a:lnTo>
                    <a:lnTo>
                      <a:pt x="254" y="239"/>
                    </a:lnTo>
                    <a:lnTo>
                      <a:pt x="254" y="239"/>
                    </a:lnTo>
                    <a:lnTo>
                      <a:pt x="257" y="239"/>
                    </a:lnTo>
                    <a:lnTo>
                      <a:pt x="259" y="239"/>
                    </a:lnTo>
                    <a:lnTo>
                      <a:pt x="261" y="237"/>
                    </a:lnTo>
                    <a:lnTo>
                      <a:pt x="261" y="234"/>
                    </a:lnTo>
                    <a:lnTo>
                      <a:pt x="263" y="236"/>
                    </a:lnTo>
                    <a:lnTo>
                      <a:pt x="265" y="237"/>
                    </a:lnTo>
                    <a:lnTo>
                      <a:pt x="265" y="239"/>
                    </a:lnTo>
                    <a:lnTo>
                      <a:pt x="269" y="239"/>
                    </a:lnTo>
                    <a:lnTo>
                      <a:pt x="269" y="239"/>
                    </a:lnTo>
                    <a:lnTo>
                      <a:pt x="269" y="241"/>
                    </a:lnTo>
                    <a:lnTo>
                      <a:pt x="271" y="241"/>
                    </a:lnTo>
                    <a:lnTo>
                      <a:pt x="271" y="241"/>
                    </a:lnTo>
                    <a:lnTo>
                      <a:pt x="271" y="241"/>
                    </a:lnTo>
                    <a:lnTo>
                      <a:pt x="273" y="241"/>
                    </a:lnTo>
                    <a:lnTo>
                      <a:pt x="273" y="241"/>
                    </a:lnTo>
                    <a:lnTo>
                      <a:pt x="273" y="241"/>
                    </a:lnTo>
                    <a:lnTo>
                      <a:pt x="275" y="241"/>
                    </a:lnTo>
                    <a:lnTo>
                      <a:pt x="275" y="243"/>
                    </a:lnTo>
                    <a:lnTo>
                      <a:pt x="276" y="243"/>
                    </a:lnTo>
                    <a:lnTo>
                      <a:pt x="276" y="243"/>
                    </a:lnTo>
                    <a:lnTo>
                      <a:pt x="276" y="243"/>
                    </a:lnTo>
                    <a:lnTo>
                      <a:pt x="278" y="241"/>
                    </a:lnTo>
                    <a:lnTo>
                      <a:pt x="280" y="241"/>
                    </a:lnTo>
                    <a:lnTo>
                      <a:pt x="282" y="241"/>
                    </a:lnTo>
                    <a:lnTo>
                      <a:pt x="282" y="241"/>
                    </a:lnTo>
                    <a:lnTo>
                      <a:pt x="282" y="239"/>
                    </a:lnTo>
                    <a:lnTo>
                      <a:pt x="282" y="237"/>
                    </a:lnTo>
                    <a:lnTo>
                      <a:pt x="282" y="236"/>
                    </a:lnTo>
                    <a:lnTo>
                      <a:pt x="282" y="236"/>
                    </a:lnTo>
                    <a:lnTo>
                      <a:pt x="282" y="234"/>
                    </a:lnTo>
                    <a:lnTo>
                      <a:pt x="284" y="230"/>
                    </a:lnTo>
                    <a:lnTo>
                      <a:pt x="282" y="230"/>
                    </a:lnTo>
                    <a:lnTo>
                      <a:pt x="282" y="228"/>
                    </a:lnTo>
                    <a:lnTo>
                      <a:pt x="282" y="226"/>
                    </a:lnTo>
                    <a:lnTo>
                      <a:pt x="282" y="224"/>
                    </a:lnTo>
                    <a:lnTo>
                      <a:pt x="284" y="222"/>
                    </a:lnTo>
                    <a:lnTo>
                      <a:pt x="288" y="218"/>
                    </a:lnTo>
                    <a:lnTo>
                      <a:pt x="290" y="218"/>
                    </a:lnTo>
                    <a:lnTo>
                      <a:pt x="290" y="216"/>
                    </a:lnTo>
                    <a:lnTo>
                      <a:pt x="294" y="216"/>
                    </a:lnTo>
                    <a:lnTo>
                      <a:pt x="296" y="220"/>
                    </a:lnTo>
                    <a:lnTo>
                      <a:pt x="297" y="222"/>
                    </a:lnTo>
                    <a:lnTo>
                      <a:pt x="297" y="224"/>
                    </a:lnTo>
                    <a:lnTo>
                      <a:pt x="299" y="228"/>
                    </a:lnTo>
                    <a:lnTo>
                      <a:pt x="297" y="230"/>
                    </a:lnTo>
                    <a:lnTo>
                      <a:pt x="297" y="234"/>
                    </a:lnTo>
                    <a:lnTo>
                      <a:pt x="296" y="234"/>
                    </a:lnTo>
                    <a:lnTo>
                      <a:pt x="296" y="236"/>
                    </a:lnTo>
                    <a:lnTo>
                      <a:pt x="294" y="237"/>
                    </a:lnTo>
                    <a:lnTo>
                      <a:pt x="294" y="239"/>
                    </a:lnTo>
                    <a:lnTo>
                      <a:pt x="292" y="239"/>
                    </a:lnTo>
                    <a:lnTo>
                      <a:pt x="290" y="237"/>
                    </a:lnTo>
                    <a:lnTo>
                      <a:pt x="290" y="237"/>
                    </a:lnTo>
                    <a:lnTo>
                      <a:pt x="286" y="239"/>
                    </a:lnTo>
                    <a:lnTo>
                      <a:pt x="282" y="245"/>
                    </a:lnTo>
                    <a:lnTo>
                      <a:pt x="280" y="245"/>
                    </a:lnTo>
                    <a:lnTo>
                      <a:pt x="278" y="247"/>
                    </a:lnTo>
                    <a:lnTo>
                      <a:pt x="275" y="255"/>
                    </a:lnTo>
                    <a:lnTo>
                      <a:pt x="273" y="256"/>
                    </a:lnTo>
                    <a:lnTo>
                      <a:pt x="273" y="258"/>
                    </a:lnTo>
                    <a:lnTo>
                      <a:pt x="273" y="258"/>
                    </a:lnTo>
                    <a:lnTo>
                      <a:pt x="273" y="262"/>
                    </a:lnTo>
                    <a:lnTo>
                      <a:pt x="273" y="264"/>
                    </a:lnTo>
                    <a:lnTo>
                      <a:pt x="265" y="274"/>
                    </a:lnTo>
                    <a:lnTo>
                      <a:pt x="261" y="281"/>
                    </a:lnTo>
                    <a:lnTo>
                      <a:pt x="257" y="285"/>
                    </a:lnTo>
                    <a:lnTo>
                      <a:pt x="256" y="291"/>
                    </a:lnTo>
                    <a:lnTo>
                      <a:pt x="254" y="293"/>
                    </a:lnTo>
                    <a:lnTo>
                      <a:pt x="250" y="294"/>
                    </a:lnTo>
                    <a:lnTo>
                      <a:pt x="240" y="294"/>
                    </a:lnTo>
                    <a:lnTo>
                      <a:pt x="235" y="294"/>
                    </a:lnTo>
                    <a:lnTo>
                      <a:pt x="233" y="296"/>
                    </a:lnTo>
                    <a:lnTo>
                      <a:pt x="233" y="296"/>
                    </a:lnTo>
                    <a:lnTo>
                      <a:pt x="229" y="296"/>
                    </a:lnTo>
                    <a:lnTo>
                      <a:pt x="229" y="296"/>
                    </a:lnTo>
                    <a:lnTo>
                      <a:pt x="227" y="296"/>
                    </a:lnTo>
                    <a:lnTo>
                      <a:pt x="221" y="304"/>
                    </a:lnTo>
                    <a:lnTo>
                      <a:pt x="217" y="306"/>
                    </a:lnTo>
                    <a:lnTo>
                      <a:pt x="215" y="306"/>
                    </a:lnTo>
                    <a:lnTo>
                      <a:pt x="214" y="306"/>
                    </a:lnTo>
                    <a:lnTo>
                      <a:pt x="212" y="306"/>
                    </a:lnTo>
                    <a:lnTo>
                      <a:pt x="212" y="306"/>
                    </a:lnTo>
                    <a:lnTo>
                      <a:pt x="210" y="308"/>
                    </a:lnTo>
                    <a:lnTo>
                      <a:pt x="210" y="310"/>
                    </a:lnTo>
                    <a:lnTo>
                      <a:pt x="208" y="312"/>
                    </a:lnTo>
                    <a:lnTo>
                      <a:pt x="208" y="312"/>
                    </a:lnTo>
                    <a:lnTo>
                      <a:pt x="206" y="312"/>
                    </a:lnTo>
                    <a:lnTo>
                      <a:pt x="206" y="312"/>
                    </a:lnTo>
                    <a:lnTo>
                      <a:pt x="200" y="306"/>
                    </a:lnTo>
                    <a:lnTo>
                      <a:pt x="198" y="304"/>
                    </a:lnTo>
                    <a:lnTo>
                      <a:pt x="198" y="306"/>
                    </a:lnTo>
                    <a:lnTo>
                      <a:pt x="196" y="312"/>
                    </a:lnTo>
                    <a:lnTo>
                      <a:pt x="195" y="314"/>
                    </a:lnTo>
                    <a:lnTo>
                      <a:pt x="195" y="315"/>
                    </a:lnTo>
                    <a:lnTo>
                      <a:pt x="193" y="314"/>
                    </a:lnTo>
                    <a:lnTo>
                      <a:pt x="191" y="314"/>
                    </a:lnTo>
                    <a:lnTo>
                      <a:pt x="191" y="314"/>
                    </a:lnTo>
                    <a:lnTo>
                      <a:pt x="191" y="314"/>
                    </a:lnTo>
                    <a:lnTo>
                      <a:pt x="189" y="315"/>
                    </a:lnTo>
                    <a:lnTo>
                      <a:pt x="189" y="315"/>
                    </a:lnTo>
                    <a:lnTo>
                      <a:pt x="189" y="317"/>
                    </a:lnTo>
                    <a:lnTo>
                      <a:pt x="189" y="317"/>
                    </a:lnTo>
                    <a:lnTo>
                      <a:pt x="187" y="319"/>
                    </a:lnTo>
                    <a:lnTo>
                      <a:pt x="185" y="317"/>
                    </a:lnTo>
                    <a:lnTo>
                      <a:pt x="185" y="319"/>
                    </a:lnTo>
                    <a:lnTo>
                      <a:pt x="185" y="319"/>
                    </a:lnTo>
                    <a:lnTo>
                      <a:pt x="185" y="321"/>
                    </a:lnTo>
                    <a:lnTo>
                      <a:pt x="183" y="319"/>
                    </a:lnTo>
                    <a:lnTo>
                      <a:pt x="177" y="319"/>
                    </a:lnTo>
                    <a:lnTo>
                      <a:pt x="175" y="317"/>
                    </a:lnTo>
                    <a:lnTo>
                      <a:pt x="177" y="315"/>
                    </a:lnTo>
                    <a:lnTo>
                      <a:pt x="177" y="314"/>
                    </a:lnTo>
                    <a:lnTo>
                      <a:pt x="175" y="308"/>
                    </a:lnTo>
                    <a:lnTo>
                      <a:pt x="175" y="308"/>
                    </a:lnTo>
                    <a:lnTo>
                      <a:pt x="174" y="310"/>
                    </a:lnTo>
                    <a:lnTo>
                      <a:pt x="172" y="308"/>
                    </a:lnTo>
                    <a:lnTo>
                      <a:pt x="172" y="308"/>
                    </a:lnTo>
                    <a:lnTo>
                      <a:pt x="172" y="312"/>
                    </a:lnTo>
                    <a:lnTo>
                      <a:pt x="172" y="314"/>
                    </a:lnTo>
                    <a:lnTo>
                      <a:pt x="172" y="315"/>
                    </a:lnTo>
                    <a:lnTo>
                      <a:pt x="174" y="315"/>
                    </a:lnTo>
                    <a:lnTo>
                      <a:pt x="172" y="317"/>
                    </a:lnTo>
                    <a:lnTo>
                      <a:pt x="172" y="319"/>
                    </a:lnTo>
                    <a:lnTo>
                      <a:pt x="170" y="319"/>
                    </a:lnTo>
                    <a:lnTo>
                      <a:pt x="170" y="319"/>
                    </a:lnTo>
                    <a:lnTo>
                      <a:pt x="170" y="319"/>
                    </a:lnTo>
                    <a:lnTo>
                      <a:pt x="168" y="323"/>
                    </a:lnTo>
                    <a:lnTo>
                      <a:pt x="168" y="323"/>
                    </a:lnTo>
                    <a:lnTo>
                      <a:pt x="166" y="323"/>
                    </a:lnTo>
                    <a:lnTo>
                      <a:pt x="162" y="325"/>
                    </a:lnTo>
                    <a:lnTo>
                      <a:pt x="153" y="325"/>
                    </a:lnTo>
                    <a:lnTo>
                      <a:pt x="151" y="325"/>
                    </a:lnTo>
                    <a:lnTo>
                      <a:pt x="149" y="327"/>
                    </a:lnTo>
                    <a:lnTo>
                      <a:pt x="143" y="331"/>
                    </a:lnTo>
                    <a:lnTo>
                      <a:pt x="133" y="333"/>
                    </a:lnTo>
                    <a:lnTo>
                      <a:pt x="133" y="331"/>
                    </a:lnTo>
                    <a:lnTo>
                      <a:pt x="132" y="329"/>
                    </a:lnTo>
                    <a:lnTo>
                      <a:pt x="128" y="327"/>
                    </a:lnTo>
                    <a:lnTo>
                      <a:pt x="128" y="325"/>
                    </a:lnTo>
                    <a:lnTo>
                      <a:pt x="130" y="321"/>
                    </a:lnTo>
                    <a:lnTo>
                      <a:pt x="130" y="319"/>
                    </a:lnTo>
                    <a:lnTo>
                      <a:pt x="133" y="315"/>
                    </a:lnTo>
                    <a:lnTo>
                      <a:pt x="132" y="314"/>
                    </a:lnTo>
                    <a:lnTo>
                      <a:pt x="130" y="312"/>
                    </a:lnTo>
                    <a:lnTo>
                      <a:pt x="130" y="312"/>
                    </a:lnTo>
                    <a:lnTo>
                      <a:pt x="128" y="312"/>
                    </a:lnTo>
                    <a:lnTo>
                      <a:pt x="126" y="314"/>
                    </a:lnTo>
                    <a:lnTo>
                      <a:pt x="126" y="314"/>
                    </a:lnTo>
                    <a:lnTo>
                      <a:pt x="124" y="314"/>
                    </a:lnTo>
                    <a:lnTo>
                      <a:pt x="124" y="314"/>
                    </a:lnTo>
                    <a:lnTo>
                      <a:pt x="122" y="314"/>
                    </a:lnTo>
                    <a:lnTo>
                      <a:pt x="120" y="314"/>
                    </a:lnTo>
                    <a:lnTo>
                      <a:pt x="118" y="315"/>
                    </a:lnTo>
                    <a:lnTo>
                      <a:pt x="118" y="315"/>
                    </a:lnTo>
                    <a:lnTo>
                      <a:pt x="116" y="315"/>
                    </a:lnTo>
                    <a:lnTo>
                      <a:pt x="114" y="314"/>
                    </a:lnTo>
                    <a:lnTo>
                      <a:pt x="113" y="312"/>
                    </a:lnTo>
                    <a:lnTo>
                      <a:pt x="114" y="310"/>
                    </a:lnTo>
                    <a:lnTo>
                      <a:pt x="116" y="308"/>
                    </a:lnTo>
                    <a:lnTo>
                      <a:pt x="116" y="308"/>
                    </a:lnTo>
                    <a:lnTo>
                      <a:pt x="118" y="306"/>
                    </a:lnTo>
                    <a:lnTo>
                      <a:pt x="116" y="304"/>
                    </a:lnTo>
                    <a:lnTo>
                      <a:pt x="116" y="304"/>
                    </a:lnTo>
                    <a:lnTo>
                      <a:pt x="113" y="306"/>
                    </a:lnTo>
                    <a:lnTo>
                      <a:pt x="107" y="310"/>
                    </a:lnTo>
                    <a:lnTo>
                      <a:pt x="107" y="312"/>
                    </a:lnTo>
                    <a:lnTo>
                      <a:pt x="105" y="312"/>
                    </a:lnTo>
                    <a:lnTo>
                      <a:pt x="103" y="314"/>
                    </a:lnTo>
                    <a:lnTo>
                      <a:pt x="103" y="317"/>
                    </a:lnTo>
                    <a:lnTo>
                      <a:pt x="103" y="319"/>
                    </a:lnTo>
                    <a:lnTo>
                      <a:pt x="101" y="321"/>
                    </a:lnTo>
                    <a:lnTo>
                      <a:pt x="101" y="323"/>
                    </a:lnTo>
                    <a:lnTo>
                      <a:pt x="99" y="327"/>
                    </a:lnTo>
                    <a:lnTo>
                      <a:pt x="99" y="329"/>
                    </a:lnTo>
                    <a:lnTo>
                      <a:pt x="101" y="333"/>
                    </a:lnTo>
                    <a:lnTo>
                      <a:pt x="105" y="336"/>
                    </a:lnTo>
                    <a:lnTo>
                      <a:pt x="107" y="342"/>
                    </a:lnTo>
                    <a:lnTo>
                      <a:pt x="109" y="344"/>
                    </a:lnTo>
                    <a:lnTo>
                      <a:pt x="113" y="348"/>
                    </a:lnTo>
                    <a:lnTo>
                      <a:pt x="118" y="355"/>
                    </a:lnTo>
                    <a:lnTo>
                      <a:pt x="120" y="359"/>
                    </a:lnTo>
                    <a:lnTo>
                      <a:pt x="122" y="361"/>
                    </a:lnTo>
                    <a:lnTo>
                      <a:pt x="126" y="363"/>
                    </a:lnTo>
                    <a:lnTo>
                      <a:pt x="132" y="372"/>
                    </a:lnTo>
                    <a:lnTo>
                      <a:pt x="133" y="374"/>
                    </a:lnTo>
                    <a:lnTo>
                      <a:pt x="137" y="376"/>
                    </a:lnTo>
                    <a:lnTo>
                      <a:pt x="149" y="388"/>
                    </a:lnTo>
                    <a:lnTo>
                      <a:pt x="151" y="390"/>
                    </a:lnTo>
                    <a:lnTo>
                      <a:pt x="153" y="388"/>
                    </a:lnTo>
                    <a:lnTo>
                      <a:pt x="156" y="386"/>
                    </a:lnTo>
                    <a:lnTo>
                      <a:pt x="156" y="388"/>
                    </a:lnTo>
                    <a:lnTo>
                      <a:pt x="156" y="392"/>
                    </a:lnTo>
                    <a:lnTo>
                      <a:pt x="156" y="393"/>
                    </a:lnTo>
                    <a:lnTo>
                      <a:pt x="160" y="399"/>
                    </a:lnTo>
                    <a:lnTo>
                      <a:pt x="162" y="401"/>
                    </a:lnTo>
                    <a:lnTo>
                      <a:pt x="166" y="403"/>
                    </a:lnTo>
                    <a:lnTo>
                      <a:pt x="170" y="407"/>
                    </a:lnTo>
                    <a:lnTo>
                      <a:pt x="172" y="409"/>
                    </a:lnTo>
                    <a:lnTo>
                      <a:pt x="175" y="414"/>
                    </a:lnTo>
                    <a:lnTo>
                      <a:pt x="177" y="416"/>
                    </a:lnTo>
                    <a:lnTo>
                      <a:pt x="185" y="420"/>
                    </a:lnTo>
                    <a:lnTo>
                      <a:pt x="202" y="437"/>
                    </a:lnTo>
                    <a:lnTo>
                      <a:pt x="204" y="439"/>
                    </a:lnTo>
                    <a:lnTo>
                      <a:pt x="206" y="441"/>
                    </a:lnTo>
                    <a:lnTo>
                      <a:pt x="208" y="441"/>
                    </a:lnTo>
                    <a:lnTo>
                      <a:pt x="210" y="445"/>
                    </a:lnTo>
                    <a:lnTo>
                      <a:pt x="214" y="451"/>
                    </a:lnTo>
                    <a:lnTo>
                      <a:pt x="221" y="462"/>
                    </a:lnTo>
                    <a:lnTo>
                      <a:pt x="227" y="468"/>
                    </a:lnTo>
                    <a:lnTo>
                      <a:pt x="229" y="468"/>
                    </a:lnTo>
                    <a:lnTo>
                      <a:pt x="229" y="470"/>
                    </a:lnTo>
                    <a:lnTo>
                      <a:pt x="240" y="483"/>
                    </a:lnTo>
                    <a:lnTo>
                      <a:pt x="252" y="492"/>
                    </a:lnTo>
                    <a:lnTo>
                      <a:pt x="265" y="506"/>
                    </a:lnTo>
                    <a:lnTo>
                      <a:pt x="269" y="509"/>
                    </a:lnTo>
                    <a:lnTo>
                      <a:pt x="275" y="513"/>
                    </a:lnTo>
                    <a:lnTo>
                      <a:pt x="282" y="517"/>
                    </a:lnTo>
                    <a:lnTo>
                      <a:pt x="284" y="519"/>
                    </a:lnTo>
                    <a:lnTo>
                      <a:pt x="288" y="523"/>
                    </a:lnTo>
                    <a:lnTo>
                      <a:pt x="290" y="525"/>
                    </a:lnTo>
                    <a:lnTo>
                      <a:pt x="294" y="525"/>
                    </a:lnTo>
                    <a:lnTo>
                      <a:pt x="299" y="529"/>
                    </a:lnTo>
                    <a:lnTo>
                      <a:pt x="320" y="538"/>
                    </a:lnTo>
                    <a:lnTo>
                      <a:pt x="324" y="540"/>
                    </a:lnTo>
                    <a:lnTo>
                      <a:pt x="324" y="542"/>
                    </a:lnTo>
                    <a:lnTo>
                      <a:pt x="326" y="542"/>
                    </a:lnTo>
                    <a:lnTo>
                      <a:pt x="328" y="540"/>
                    </a:lnTo>
                    <a:lnTo>
                      <a:pt x="330" y="540"/>
                    </a:lnTo>
                    <a:lnTo>
                      <a:pt x="330" y="540"/>
                    </a:lnTo>
                    <a:lnTo>
                      <a:pt x="332" y="542"/>
                    </a:lnTo>
                    <a:lnTo>
                      <a:pt x="336" y="544"/>
                    </a:lnTo>
                    <a:lnTo>
                      <a:pt x="338" y="544"/>
                    </a:lnTo>
                    <a:lnTo>
                      <a:pt x="355" y="542"/>
                    </a:lnTo>
                    <a:lnTo>
                      <a:pt x="355" y="542"/>
                    </a:lnTo>
                    <a:lnTo>
                      <a:pt x="355" y="542"/>
                    </a:lnTo>
                    <a:lnTo>
                      <a:pt x="355" y="540"/>
                    </a:lnTo>
                    <a:lnTo>
                      <a:pt x="355" y="540"/>
                    </a:lnTo>
                    <a:lnTo>
                      <a:pt x="355" y="538"/>
                    </a:lnTo>
                    <a:lnTo>
                      <a:pt x="357" y="538"/>
                    </a:lnTo>
                    <a:lnTo>
                      <a:pt x="357" y="538"/>
                    </a:lnTo>
                    <a:lnTo>
                      <a:pt x="358" y="538"/>
                    </a:lnTo>
                    <a:lnTo>
                      <a:pt x="358" y="538"/>
                    </a:lnTo>
                    <a:lnTo>
                      <a:pt x="360" y="538"/>
                    </a:lnTo>
                    <a:lnTo>
                      <a:pt x="362" y="538"/>
                    </a:lnTo>
                    <a:lnTo>
                      <a:pt x="366" y="538"/>
                    </a:lnTo>
                    <a:lnTo>
                      <a:pt x="366" y="538"/>
                    </a:lnTo>
                    <a:lnTo>
                      <a:pt x="368" y="536"/>
                    </a:lnTo>
                    <a:lnTo>
                      <a:pt x="370" y="536"/>
                    </a:lnTo>
                    <a:lnTo>
                      <a:pt x="372" y="536"/>
                    </a:lnTo>
                    <a:lnTo>
                      <a:pt x="372" y="534"/>
                    </a:lnTo>
                    <a:lnTo>
                      <a:pt x="376" y="534"/>
                    </a:lnTo>
                    <a:lnTo>
                      <a:pt x="399" y="525"/>
                    </a:lnTo>
                    <a:lnTo>
                      <a:pt x="404" y="523"/>
                    </a:lnTo>
                    <a:lnTo>
                      <a:pt x="416" y="519"/>
                    </a:lnTo>
                    <a:lnTo>
                      <a:pt x="418" y="517"/>
                    </a:lnTo>
                    <a:lnTo>
                      <a:pt x="418" y="515"/>
                    </a:lnTo>
                    <a:lnTo>
                      <a:pt x="420" y="513"/>
                    </a:lnTo>
                    <a:lnTo>
                      <a:pt x="425" y="508"/>
                    </a:lnTo>
                    <a:lnTo>
                      <a:pt x="427" y="508"/>
                    </a:lnTo>
                    <a:lnTo>
                      <a:pt x="429" y="506"/>
                    </a:lnTo>
                    <a:lnTo>
                      <a:pt x="429" y="508"/>
                    </a:lnTo>
                    <a:lnTo>
                      <a:pt x="427" y="508"/>
                    </a:lnTo>
                    <a:lnTo>
                      <a:pt x="427" y="509"/>
                    </a:lnTo>
                    <a:lnTo>
                      <a:pt x="431" y="509"/>
                    </a:lnTo>
                    <a:lnTo>
                      <a:pt x="439" y="504"/>
                    </a:lnTo>
                    <a:lnTo>
                      <a:pt x="442" y="502"/>
                    </a:lnTo>
                    <a:lnTo>
                      <a:pt x="448" y="500"/>
                    </a:lnTo>
                    <a:lnTo>
                      <a:pt x="450" y="500"/>
                    </a:lnTo>
                    <a:lnTo>
                      <a:pt x="450" y="500"/>
                    </a:lnTo>
                    <a:lnTo>
                      <a:pt x="454" y="500"/>
                    </a:lnTo>
                    <a:lnTo>
                      <a:pt x="456" y="498"/>
                    </a:lnTo>
                    <a:lnTo>
                      <a:pt x="460" y="496"/>
                    </a:lnTo>
                    <a:lnTo>
                      <a:pt x="473" y="487"/>
                    </a:lnTo>
                    <a:lnTo>
                      <a:pt x="481" y="487"/>
                    </a:lnTo>
                    <a:lnTo>
                      <a:pt x="482" y="485"/>
                    </a:lnTo>
                    <a:lnTo>
                      <a:pt x="490" y="481"/>
                    </a:lnTo>
                    <a:lnTo>
                      <a:pt x="490" y="481"/>
                    </a:lnTo>
                    <a:lnTo>
                      <a:pt x="492" y="479"/>
                    </a:lnTo>
                    <a:lnTo>
                      <a:pt x="492" y="479"/>
                    </a:lnTo>
                    <a:lnTo>
                      <a:pt x="494" y="479"/>
                    </a:lnTo>
                    <a:lnTo>
                      <a:pt x="494" y="477"/>
                    </a:lnTo>
                    <a:lnTo>
                      <a:pt x="496" y="475"/>
                    </a:lnTo>
                    <a:lnTo>
                      <a:pt x="496" y="473"/>
                    </a:lnTo>
                    <a:lnTo>
                      <a:pt x="494" y="471"/>
                    </a:lnTo>
                    <a:lnTo>
                      <a:pt x="494" y="470"/>
                    </a:lnTo>
                    <a:lnTo>
                      <a:pt x="494" y="470"/>
                    </a:lnTo>
                    <a:lnTo>
                      <a:pt x="496" y="468"/>
                    </a:lnTo>
                    <a:lnTo>
                      <a:pt x="496" y="468"/>
                    </a:lnTo>
                    <a:lnTo>
                      <a:pt x="496" y="466"/>
                    </a:lnTo>
                    <a:lnTo>
                      <a:pt x="496" y="464"/>
                    </a:lnTo>
                    <a:lnTo>
                      <a:pt x="498" y="464"/>
                    </a:lnTo>
                    <a:lnTo>
                      <a:pt x="498" y="462"/>
                    </a:lnTo>
                    <a:lnTo>
                      <a:pt x="496" y="462"/>
                    </a:lnTo>
                    <a:lnTo>
                      <a:pt x="498" y="460"/>
                    </a:lnTo>
                    <a:lnTo>
                      <a:pt x="502" y="456"/>
                    </a:lnTo>
                    <a:lnTo>
                      <a:pt x="503" y="454"/>
                    </a:lnTo>
                    <a:lnTo>
                      <a:pt x="503" y="451"/>
                    </a:lnTo>
                    <a:lnTo>
                      <a:pt x="511" y="445"/>
                    </a:lnTo>
                    <a:lnTo>
                      <a:pt x="513" y="439"/>
                    </a:lnTo>
                    <a:lnTo>
                      <a:pt x="517" y="424"/>
                    </a:lnTo>
                    <a:lnTo>
                      <a:pt x="519" y="424"/>
                    </a:lnTo>
                    <a:lnTo>
                      <a:pt x="521" y="422"/>
                    </a:lnTo>
                    <a:lnTo>
                      <a:pt x="521" y="420"/>
                    </a:lnTo>
                    <a:lnTo>
                      <a:pt x="521" y="420"/>
                    </a:lnTo>
                    <a:lnTo>
                      <a:pt x="521" y="418"/>
                    </a:lnTo>
                    <a:lnTo>
                      <a:pt x="521" y="418"/>
                    </a:lnTo>
                    <a:lnTo>
                      <a:pt x="521" y="416"/>
                    </a:lnTo>
                    <a:lnTo>
                      <a:pt x="521" y="414"/>
                    </a:lnTo>
                    <a:lnTo>
                      <a:pt x="519" y="414"/>
                    </a:lnTo>
                    <a:lnTo>
                      <a:pt x="519" y="412"/>
                    </a:lnTo>
                    <a:lnTo>
                      <a:pt x="517" y="411"/>
                    </a:lnTo>
                    <a:lnTo>
                      <a:pt x="517" y="411"/>
                    </a:lnTo>
                    <a:lnTo>
                      <a:pt x="515" y="411"/>
                    </a:lnTo>
                    <a:lnTo>
                      <a:pt x="513" y="411"/>
                    </a:lnTo>
                    <a:lnTo>
                      <a:pt x="511" y="411"/>
                    </a:lnTo>
                    <a:lnTo>
                      <a:pt x="511" y="409"/>
                    </a:lnTo>
                    <a:lnTo>
                      <a:pt x="511" y="409"/>
                    </a:lnTo>
                    <a:lnTo>
                      <a:pt x="509" y="409"/>
                    </a:lnTo>
                    <a:lnTo>
                      <a:pt x="509" y="403"/>
                    </a:lnTo>
                    <a:lnTo>
                      <a:pt x="507" y="403"/>
                    </a:lnTo>
                    <a:lnTo>
                      <a:pt x="507" y="401"/>
                    </a:lnTo>
                    <a:lnTo>
                      <a:pt x="505" y="401"/>
                    </a:lnTo>
                    <a:lnTo>
                      <a:pt x="505" y="399"/>
                    </a:lnTo>
                    <a:lnTo>
                      <a:pt x="505" y="397"/>
                    </a:lnTo>
                    <a:lnTo>
                      <a:pt x="503" y="397"/>
                    </a:lnTo>
                    <a:lnTo>
                      <a:pt x="498" y="399"/>
                    </a:lnTo>
                    <a:lnTo>
                      <a:pt x="496" y="399"/>
                    </a:lnTo>
                    <a:lnTo>
                      <a:pt x="494" y="399"/>
                    </a:lnTo>
                    <a:lnTo>
                      <a:pt x="492" y="397"/>
                    </a:lnTo>
                    <a:lnTo>
                      <a:pt x="490" y="397"/>
                    </a:lnTo>
                    <a:lnTo>
                      <a:pt x="486" y="399"/>
                    </a:lnTo>
                    <a:lnTo>
                      <a:pt x="486" y="399"/>
                    </a:lnTo>
                    <a:lnTo>
                      <a:pt x="486" y="397"/>
                    </a:lnTo>
                    <a:lnTo>
                      <a:pt x="486" y="395"/>
                    </a:lnTo>
                    <a:lnTo>
                      <a:pt x="484" y="397"/>
                    </a:lnTo>
                    <a:lnTo>
                      <a:pt x="484" y="397"/>
                    </a:lnTo>
                    <a:lnTo>
                      <a:pt x="482" y="397"/>
                    </a:lnTo>
                    <a:lnTo>
                      <a:pt x="482" y="395"/>
                    </a:lnTo>
                    <a:lnTo>
                      <a:pt x="482" y="395"/>
                    </a:lnTo>
                    <a:lnTo>
                      <a:pt x="482" y="392"/>
                    </a:lnTo>
                    <a:lnTo>
                      <a:pt x="482" y="390"/>
                    </a:lnTo>
                    <a:lnTo>
                      <a:pt x="484" y="388"/>
                    </a:lnTo>
                    <a:lnTo>
                      <a:pt x="490" y="392"/>
                    </a:lnTo>
                    <a:lnTo>
                      <a:pt x="494" y="392"/>
                    </a:lnTo>
                    <a:lnTo>
                      <a:pt x="496" y="392"/>
                    </a:lnTo>
                    <a:lnTo>
                      <a:pt x="494" y="388"/>
                    </a:lnTo>
                    <a:lnTo>
                      <a:pt x="494" y="386"/>
                    </a:lnTo>
                    <a:lnTo>
                      <a:pt x="492" y="386"/>
                    </a:lnTo>
                    <a:lnTo>
                      <a:pt x="490" y="386"/>
                    </a:lnTo>
                    <a:lnTo>
                      <a:pt x="490" y="386"/>
                    </a:lnTo>
                    <a:lnTo>
                      <a:pt x="490" y="386"/>
                    </a:lnTo>
                    <a:lnTo>
                      <a:pt x="490" y="382"/>
                    </a:lnTo>
                    <a:lnTo>
                      <a:pt x="492" y="384"/>
                    </a:lnTo>
                    <a:lnTo>
                      <a:pt x="496" y="386"/>
                    </a:lnTo>
                    <a:lnTo>
                      <a:pt x="498" y="386"/>
                    </a:lnTo>
                    <a:lnTo>
                      <a:pt x="498" y="390"/>
                    </a:lnTo>
                    <a:lnTo>
                      <a:pt x="500" y="390"/>
                    </a:lnTo>
                    <a:lnTo>
                      <a:pt x="503" y="392"/>
                    </a:lnTo>
                    <a:lnTo>
                      <a:pt x="503" y="390"/>
                    </a:lnTo>
                    <a:lnTo>
                      <a:pt x="503" y="390"/>
                    </a:lnTo>
                    <a:lnTo>
                      <a:pt x="503" y="388"/>
                    </a:lnTo>
                    <a:lnTo>
                      <a:pt x="503" y="386"/>
                    </a:lnTo>
                    <a:lnTo>
                      <a:pt x="503" y="384"/>
                    </a:lnTo>
                    <a:lnTo>
                      <a:pt x="502" y="382"/>
                    </a:lnTo>
                    <a:lnTo>
                      <a:pt x="503" y="382"/>
                    </a:lnTo>
                    <a:lnTo>
                      <a:pt x="502" y="382"/>
                    </a:lnTo>
                    <a:lnTo>
                      <a:pt x="502" y="380"/>
                    </a:lnTo>
                    <a:lnTo>
                      <a:pt x="503" y="378"/>
                    </a:lnTo>
                    <a:lnTo>
                      <a:pt x="502" y="380"/>
                    </a:lnTo>
                    <a:lnTo>
                      <a:pt x="496" y="380"/>
                    </a:lnTo>
                    <a:lnTo>
                      <a:pt x="494" y="380"/>
                    </a:lnTo>
                    <a:lnTo>
                      <a:pt x="486" y="378"/>
                    </a:lnTo>
                    <a:lnTo>
                      <a:pt x="488" y="376"/>
                    </a:lnTo>
                    <a:lnTo>
                      <a:pt x="490" y="376"/>
                    </a:lnTo>
                    <a:lnTo>
                      <a:pt x="492" y="374"/>
                    </a:lnTo>
                    <a:lnTo>
                      <a:pt x="494" y="376"/>
                    </a:lnTo>
                    <a:lnTo>
                      <a:pt x="496" y="376"/>
                    </a:lnTo>
                    <a:lnTo>
                      <a:pt x="496" y="376"/>
                    </a:lnTo>
                    <a:lnTo>
                      <a:pt x="496" y="376"/>
                    </a:lnTo>
                    <a:lnTo>
                      <a:pt x="496" y="374"/>
                    </a:lnTo>
                    <a:lnTo>
                      <a:pt x="494" y="372"/>
                    </a:lnTo>
                    <a:lnTo>
                      <a:pt x="492" y="372"/>
                    </a:lnTo>
                    <a:lnTo>
                      <a:pt x="498" y="372"/>
                    </a:lnTo>
                    <a:lnTo>
                      <a:pt x="500" y="372"/>
                    </a:lnTo>
                    <a:lnTo>
                      <a:pt x="500" y="371"/>
                    </a:lnTo>
                    <a:lnTo>
                      <a:pt x="498" y="371"/>
                    </a:lnTo>
                    <a:lnTo>
                      <a:pt x="496" y="369"/>
                    </a:lnTo>
                    <a:lnTo>
                      <a:pt x="498" y="367"/>
                    </a:lnTo>
                    <a:lnTo>
                      <a:pt x="500" y="369"/>
                    </a:lnTo>
                    <a:lnTo>
                      <a:pt x="502" y="371"/>
                    </a:lnTo>
                    <a:lnTo>
                      <a:pt x="503" y="371"/>
                    </a:lnTo>
                    <a:lnTo>
                      <a:pt x="503" y="372"/>
                    </a:lnTo>
                    <a:lnTo>
                      <a:pt x="505" y="372"/>
                    </a:lnTo>
                    <a:lnTo>
                      <a:pt x="505" y="371"/>
                    </a:lnTo>
                    <a:lnTo>
                      <a:pt x="507" y="371"/>
                    </a:lnTo>
                    <a:lnTo>
                      <a:pt x="507" y="371"/>
                    </a:lnTo>
                    <a:lnTo>
                      <a:pt x="507" y="369"/>
                    </a:lnTo>
                    <a:lnTo>
                      <a:pt x="507" y="369"/>
                    </a:lnTo>
                    <a:lnTo>
                      <a:pt x="509" y="371"/>
                    </a:lnTo>
                    <a:lnTo>
                      <a:pt x="509" y="371"/>
                    </a:lnTo>
                    <a:lnTo>
                      <a:pt x="511" y="369"/>
                    </a:lnTo>
                    <a:lnTo>
                      <a:pt x="511" y="367"/>
                    </a:lnTo>
                    <a:lnTo>
                      <a:pt x="513" y="369"/>
                    </a:lnTo>
                    <a:lnTo>
                      <a:pt x="515" y="369"/>
                    </a:lnTo>
                    <a:lnTo>
                      <a:pt x="515" y="367"/>
                    </a:lnTo>
                    <a:lnTo>
                      <a:pt x="517" y="365"/>
                    </a:lnTo>
                    <a:lnTo>
                      <a:pt x="517" y="365"/>
                    </a:lnTo>
                    <a:lnTo>
                      <a:pt x="519" y="363"/>
                    </a:lnTo>
                    <a:lnTo>
                      <a:pt x="521" y="361"/>
                    </a:lnTo>
                    <a:lnTo>
                      <a:pt x="521" y="363"/>
                    </a:lnTo>
                    <a:lnTo>
                      <a:pt x="521" y="361"/>
                    </a:lnTo>
                    <a:lnTo>
                      <a:pt x="522" y="359"/>
                    </a:lnTo>
                    <a:lnTo>
                      <a:pt x="522" y="344"/>
                    </a:lnTo>
                    <a:lnTo>
                      <a:pt x="521" y="338"/>
                    </a:lnTo>
                    <a:lnTo>
                      <a:pt x="517" y="338"/>
                    </a:lnTo>
                    <a:lnTo>
                      <a:pt x="513" y="336"/>
                    </a:lnTo>
                    <a:lnTo>
                      <a:pt x="513" y="336"/>
                    </a:lnTo>
                    <a:lnTo>
                      <a:pt x="513" y="334"/>
                    </a:lnTo>
                    <a:lnTo>
                      <a:pt x="513" y="333"/>
                    </a:lnTo>
                    <a:lnTo>
                      <a:pt x="515" y="333"/>
                    </a:lnTo>
                    <a:lnTo>
                      <a:pt x="513" y="331"/>
                    </a:lnTo>
                    <a:lnTo>
                      <a:pt x="509" y="334"/>
                    </a:lnTo>
                    <a:lnTo>
                      <a:pt x="507" y="334"/>
                    </a:lnTo>
                    <a:lnTo>
                      <a:pt x="503" y="334"/>
                    </a:lnTo>
                    <a:lnTo>
                      <a:pt x="502" y="331"/>
                    </a:lnTo>
                    <a:lnTo>
                      <a:pt x="503" y="331"/>
                    </a:lnTo>
                    <a:lnTo>
                      <a:pt x="509" y="333"/>
                    </a:lnTo>
                    <a:lnTo>
                      <a:pt x="509" y="331"/>
                    </a:lnTo>
                    <a:lnTo>
                      <a:pt x="509" y="329"/>
                    </a:lnTo>
                    <a:lnTo>
                      <a:pt x="511" y="329"/>
                    </a:lnTo>
                    <a:lnTo>
                      <a:pt x="513" y="329"/>
                    </a:lnTo>
                    <a:lnTo>
                      <a:pt x="517" y="329"/>
                    </a:lnTo>
                    <a:lnTo>
                      <a:pt x="517" y="331"/>
                    </a:lnTo>
                    <a:lnTo>
                      <a:pt x="517" y="333"/>
                    </a:lnTo>
                    <a:lnTo>
                      <a:pt x="517" y="334"/>
                    </a:lnTo>
                    <a:lnTo>
                      <a:pt x="519" y="334"/>
                    </a:lnTo>
                    <a:lnTo>
                      <a:pt x="522" y="334"/>
                    </a:lnTo>
                    <a:lnTo>
                      <a:pt x="524" y="334"/>
                    </a:lnTo>
                    <a:lnTo>
                      <a:pt x="524" y="331"/>
                    </a:lnTo>
                    <a:lnTo>
                      <a:pt x="526" y="329"/>
                    </a:lnTo>
                    <a:lnTo>
                      <a:pt x="526" y="325"/>
                    </a:lnTo>
                    <a:lnTo>
                      <a:pt x="528" y="323"/>
                    </a:lnTo>
                    <a:lnTo>
                      <a:pt x="530" y="321"/>
                    </a:lnTo>
                    <a:lnTo>
                      <a:pt x="532" y="319"/>
                    </a:lnTo>
                    <a:lnTo>
                      <a:pt x="534" y="321"/>
                    </a:lnTo>
                    <a:lnTo>
                      <a:pt x="534" y="325"/>
                    </a:lnTo>
                    <a:lnTo>
                      <a:pt x="532" y="325"/>
                    </a:lnTo>
                    <a:lnTo>
                      <a:pt x="530" y="327"/>
                    </a:lnTo>
                    <a:lnTo>
                      <a:pt x="530" y="331"/>
                    </a:lnTo>
                    <a:lnTo>
                      <a:pt x="532" y="333"/>
                    </a:lnTo>
                    <a:lnTo>
                      <a:pt x="532" y="334"/>
                    </a:lnTo>
                    <a:lnTo>
                      <a:pt x="536" y="336"/>
                    </a:lnTo>
                    <a:lnTo>
                      <a:pt x="538" y="334"/>
                    </a:lnTo>
                    <a:lnTo>
                      <a:pt x="540" y="333"/>
                    </a:lnTo>
                    <a:lnTo>
                      <a:pt x="542" y="333"/>
                    </a:lnTo>
                    <a:lnTo>
                      <a:pt x="542" y="334"/>
                    </a:lnTo>
                    <a:lnTo>
                      <a:pt x="540" y="336"/>
                    </a:lnTo>
                    <a:lnTo>
                      <a:pt x="540" y="336"/>
                    </a:lnTo>
                    <a:lnTo>
                      <a:pt x="542" y="338"/>
                    </a:lnTo>
                    <a:lnTo>
                      <a:pt x="543" y="338"/>
                    </a:lnTo>
                    <a:lnTo>
                      <a:pt x="545" y="336"/>
                    </a:lnTo>
                    <a:lnTo>
                      <a:pt x="549" y="334"/>
                    </a:lnTo>
                    <a:lnTo>
                      <a:pt x="553" y="331"/>
                    </a:lnTo>
                    <a:lnTo>
                      <a:pt x="555" y="331"/>
                    </a:lnTo>
                    <a:lnTo>
                      <a:pt x="559" y="331"/>
                    </a:lnTo>
                    <a:lnTo>
                      <a:pt x="559" y="331"/>
                    </a:lnTo>
                    <a:lnTo>
                      <a:pt x="561" y="333"/>
                    </a:lnTo>
                    <a:lnTo>
                      <a:pt x="563" y="333"/>
                    </a:lnTo>
                    <a:lnTo>
                      <a:pt x="564" y="333"/>
                    </a:lnTo>
                    <a:lnTo>
                      <a:pt x="566" y="333"/>
                    </a:lnTo>
                    <a:lnTo>
                      <a:pt x="574" y="336"/>
                    </a:lnTo>
                    <a:lnTo>
                      <a:pt x="578" y="336"/>
                    </a:lnTo>
                    <a:lnTo>
                      <a:pt x="582" y="334"/>
                    </a:lnTo>
                    <a:lnTo>
                      <a:pt x="584" y="333"/>
                    </a:lnTo>
                    <a:lnTo>
                      <a:pt x="585" y="333"/>
                    </a:lnTo>
                    <a:lnTo>
                      <a:pt x="587" y="333"/>
                    </a:lnTo>
                    <a:lnTo>
                      <a:pt x="591" y="333"/>
                    </a:lnTo>
                    <a:lnTo>
                      <a:pt x="593" y="334"/>
                    </a:lnTo>
                    <a:lnTo>
                      <a:pt x="595" y="334"/>
                    </a:lnTo>
                    <a:lnTo>
                      <a:pt x="597" y="333"/>
                    </a:lnTo>
                    <a:lnTo>
                      <a:pt x="597" y="331"/>
                    </a:lnTo>
                    <a:lnTo>
                      <a:pt x="599" y="333"/>
                    </a:lnTo>
                    <a:lnTo>
                      <a:pt x="599" y="334"/>
                    </a:lnTo>
                    <a:lnTo>
                      <a:pt x="599" y="336"/>
                    </a:lnTo>
                    <a:lnTo>
                      <a:pt x="599" y="338"/>
                    </a:lnTo>
                    <a:lnTo>
                      <a:pt x="595" y="340"/>
                    </a:lnTo>
                    <a:lnTo>
                      <a:pt x="593" y="340"/>
                    </a:lnTo>
                    <a:lnTo>
                      <a:pt x="591" y="338"/>
                    </a:lnTo>
                    <a:lnTo>
                      <a:pt x="589" y="336"/>
                    </a:lnTo>
                    <a:lnTo>
                      <a:pt x="585" y="338"/>
                    </a:lnTo>
                    <a:lnTo>
                      <a:pt x="582" y="340"/>
                    </a:lnTo>
                    <a:lnTo>
                      <a:pt x="578" y="348"/>
                    </a:lnTo>
                    <a:lnTo>
                      <a:pt x="574" y="346"/>
                    </a:lnTo>
                    <a:lnTo>
                      <a:pt x="574" y="344"/>
                    </a:lnTo>
                    <a:lnTo>
                      <a:pt x="572" y="344"/>
                    </a:lnTo>
                    <a:lnTo>
                      <a:pt x="570" y="344"/>
                    </a:lnTo>
                    <a:lnTo>
                      <a:pt x="570" y="344"/>
                    </a:lnTo>
                    <a:lnTo>
                      <a:pt x="568" y="344"/>
                    </a:lnTo>
                    <a:lnTo>
                      <a:pt x="566" y="344"/>
                    </a:lnTo>
                    <a:lnTo>
                      <a:pt x="564" y="342"/>
                    </a:lnTo>
                    <a:lnTo>
                      <a:pt x="563" y="340"/>
                    </a:lnTo>
                    <a:lnTo>
                      <a:pt x="561" y="340"/>
                    </a:lnTo>
                    <a:lnTo>
                      <a:pt x="557" y="342"/>
                    </a:lnTo>
                    <a:lnTo>
                      <a:pt x="555" y="342"/>
                    </a:lnTo>
                    <a:lnTo>
                      <a:pt x="553" y="346"/>
                    </a:lnTo>
                    <a:lnTo>
                      <a:pt x="551" y="348"/>
                    </a:lnTo>
                    <a:lnTo>
                      <a:pt x="551" y="350"/>
                    </a:lnTo>
                    <a:lnTo>
                      <a:pt x="549" y="353"/>
                    </a:lnTo>
                    <a:lnTo>
                      <a:pt x="549" y="355"/>
                    </a:lnTo>
                    <a:lnTo>
                      <a:pt x="549" y="357"/>
                    </a:lnTo>
                    <a:lnTo>
                      <a:pt x="549" y="359"/>
                    </a:lnTo>
                    <a:lnTo>
                      <a:pt x="549" y="361"/>
                    </a:lnTo>
                    <a:lnTo>
                      <a:pt x="549" y="361"/>
                    </a:lnTo>
                    <a:lnTo>
                      <a:pt x="547" y="365"/>
                    </a:lnTo>
                    <a:lnTo>
                      <a:pt x="547" y="371"/>
                    </a:lnTo>
                    <a:lnTo>
                      <a:pt x="545" y="372"/>
                    </a:lnTo>
                    <a:lnTo>
                      <a:pt x="547" y="374"/>
                    </a:lnTo>
                    <a:lnTo>
                      <a:pt x="549" y="380"/>
                    </a:lnTo>
                    <a:lnTo>
                      <a:pt x="551" y="382"/>
                    </a:lnTo>
                    <a:lnTo>
                      <a:pt x="553" y="380"/>
                    </a:lnTo>
                    <a:lnTo>
                      <a:pt x="557" y="378"/>
                    </a:lnTo>
                    <a:lnTo>
                      <a:pt x="559" y="376"/>
                    </a:lnTo>
                    <a:lnTo>
                      <a:pt x="561" y="374"/>
                    </a:lnTo>
                    <a:lnTo>
                      <a:pt x="561" y="374"/>
                    </a:lnTo>
                    <a:lnTo>
                      <a:pt x="570" y="372"/>
                    </a:lnTo>
                    <a:lnTo>
                      <a:pt x="570" y="372"/>
                    </a:lnTo>
                    <a:lnTo>
                      <a:pt x="570" y="371"/>
                    </a:lnTo>
                    <a:lnTo>
                      <a:pt x="570" y="371"/>
                    </a:lnTo>
                    <a:lnTo>
                      <a:pt x="572" y="371"/>
                    </a:lnTo>
                    <a:lnTo>
                      <a:pt x="572" y="371"/>
                    </a:lnTo>
                    <a:lnTo>
                      <a:pt x="574" y="369"/>
                    </a:lnTo>
                    <a:lnTo>
                      <a:pt x="574" y="371"/>
                    </a:lnTo>
                    <a:lnTo>
                      <a:pt x="576" y="371"/>
                    </a:lnTo>
                    <a:lnTo>
                      <a:pt x="576" y="371"/>
                    </a:lnTo>
                    <a:lnTo>
                      <a:pt x="572" y="371"/>
                    </a:lnTo>
                    <a:lnTo>
                      <a:pt x="572" y="374"/>
                    </a:lnTo>
                    <a:lnTo>
                      <a:pt x="572" y="376"/>
                    </a:lnTo>
                    <a:lnTo>
                      <a:pt x="570" y="378"/>
                    </a:lnTo>
                    <a:lnTo>
                      <a:pt x="564" y="376"/>
                    </a:lnTo>
                    <a:lnTo>
                      <a:pt x="563" y="378"/>
                    </a:lnTo>
                    <a:lnTo>
                      <a:pt x="561" y="380"/>
                    </a:lnTo>
                    <a:lnTo>
                      <a:pt x="559" y="386"/>
                    </a:lnTo>
                    <a:lnTo>
                      <a:pt x="557" y="388"/>
                    </a:lnTo>
                    <a:lnTo>
                      <a:pt x="555" y="390"/>
                    </a:lnTo>
                    <a:lnTo>
                      <a:pt x="553" y="392"/>
                    </a:lnTo>
                    <a:lnTo>
                      <a:pt x="553" y="399"/>
                    </a:lnTo>
                    <a:lnTo>
                      <a:pt x="553" y="403"/>
                    </a:lnTo>
                    <a:lnTo>
                      <a:pt x="549" y="409"/>
                    </a:lnTo>
                    <a:lnTo>
                      <a:pt x="549" y="411"/>
                    </a:lnTo>
                    <a:lnTo>
                      <a:pt x="551" y="412"/>
                    </a:lnTo>
                    <a:lnTo>
                      <a:pt x="553" y="414"/>
                    </a:lnTo>
                    <a:lnTo>
                      <a:pt x="555" y="414"/>
                    </a:lnTo>
                    <a:lnTo>
                      <a:pt x="561" y="412"/>
                    </a:lnTo>
                    <a:lnTo>
                      <a:pt x="563" y="412"/>
                    </a:lnTo>
                    <a:lnTo>
                      <a:pt x="564" y="412"/>
                    </a:lnTo>
                    <a:lnTo>
                      <a:pt x="568" y="412"/>
                    </a:lnTo>
                    <a:lnTo>
                      <a:pt x="576" y="411"/>
                    </a:lnTo>
                    <a:lnTo>
                      <a:pt x="578" y="412"/>
                    </a:lnTo>
                    <a:lnTo>
                      <a:pt x="584" y="412"/>
                    </a:lnTo>
                    <a:lnTo>
                      <a:pt x="585" y="412"/>
                    </a:lnTo>
                    <a:lnTo>
                      <a:pt x="589" y="411"/>
                    </a:lnTo>
                    <a:lnTo>
                      <a:pt x="591" y="411"/>
                    </a:lnTo>
                    <a:lnTo>
                      <a:pt x="593" y="411"/>
                    </a:lnTo>
                    <a:lnTo>
                      <a:pt x="599" y="412"/>
                    </a:lnTo>
                    <a:lnTo>
                      <a:pt x="603" y="411"/>
                    </a:lnTo>
                    <a:lnTo>
                      <a:pt x="608" y="409"/>
                    </a:lnTo>
                    <a:lnTo>
                      <a:pt x="610" y="409"/>
                    </a:lnTo>
                    <a:lnTo>
                      <a:pt x="612" y="407"/>
                    </a:lnTo>
                    <a:lnTo>
                      <a:pt x="614" y="405"/>
                    </a:lnTo>
                    <a:lnTo>
                      <a:pt x="614" y="405"/>
                    </a:lnTo>
                    <a:lnTo>
                      <a:pt x="620" y="403"/>
                    </a:lnTo>
                    <a:lnTo>
                      <a:pt x="624" y="401"/>
                    </a:lnTo>
                    <a:lnTo>
                      <a:pt x="624" y="401"/>
                    </a:lnTo>
                    <a:lnTo>
                      <a:pt x="625" y="401"/>
                    </a:lnTo>
                    <a:lnTo>
                      <a:pt x="624" y="403"/>
                    </a:lnTo>
                    <a:lnTo>
                      <a:pt x="624" y="405"/>
                    </a:lnTo>
                    <a:lnTo>
                      <a:pt x="622" y="405"/>
                    </a:lnTo>
                    <a:lnTo>
                      <a:pt x="620" y="405"/>
                    </a:lnTo>
                    <a:lnTo>
                      <a:pt x="612" y="411"/>
                    </a:lnTo>
                    <a:lnTo>
                      <a:pt x="604" y="412"/>
                    </a:lnTo>
                    <a:lnTo>
                      <a:pt x="601" y="414"/>
                    </a:lnTo>
                    <a:lnTo>
                      <a:pt x="595" y="418"/>
                    </a:lnTo>
                    <a:lnTo>
                      <a:pt x="593" y="418"/>
                    </a:lnTo>
                    <a:lnTo>
                      <a:pt x="591" y="418"/>
                    </a:lnTo>
                    <a:lnTo>
                      <a:pt x="587" y="416"/>
                    </a:lnTo>
                    <a:lnTo>
                      <a:pt x="585" y="416"/>
                    </a:lnTo>
                    <a:lnTo>
                      <a:pt x="585" y="418"/>
                    </a:lnTo>
                    <a:lnTo>
                      <a:pt x="582" y="424"/>
                    </a:lnTo>
                    <a:lnTo>
                      <a:pt x="580" y="426"/>
                    </a:lnTo>
                    <a:lnTo>
                      <a:pt x="578" y="428"/>
                    </a:lnTo>
                    <a:lnTo>
                      <a:pt x="574" y="430"/>
                    </a:lnTo>
                    <a:lnTo>
                      <a:pt x="572" y="430"/>
                    </a:lnTo>
                    <a:lnTo>
                      <a:pt x="570" y="431"/>
                    </a:lnTo>
                    <a:lnTo>
                      <a:pt x="564" y="435"/>
                    </a:lnTo>
                    <a:lnTo>
                      <a:pt x="563" y="437"/>
                    </a:lnTo>
                    <a:lnTo>
                      <a:pt x="561" y="439"/>
                    </a:lnTo>
                    <a:lnTo>
                      <a:pt x="557" y="445"/>
                    </a:lnTo>
                    <a:lnTo>
                      <a:pt x="557" y="447"/>
                    </a:lnTo>
                    <a:lnTo>
                      <a:pt x="561" y="447"/>
                    </a:lnTo>
                    <a:lnTo>
                      <a:pt x="566" y="443"/>
                    </a:lnTo>
                    <a:lnTo>
                      <a:pt x="568" y="441"/>
                    </a:lnTo>
                    <a:lnTo>
                      <a:pt x="576" y="439"/>
                    </a:lnTo>
                    <a:lnTo>
                      <a:pt x="578" y="439"/>
                    </a:lnTo>
                    <a:lnTo>
                      <a:pt x="578" y="441"/>
                    </a:lnTo>
                    <a:lnTo>
                      <a:pt x="576" y="443"/>
                    </a:lnTo>
                    <a:lnTo>
                      <a:pt x="574" y="441"/>
                    </a:lnTo>
                    <a:lnTo>
                      <a:pt x="568" y="445"/>
                    </a:lnTo>
                    <a:lnTo>
                      <a:pt x="568" y="447"/>
                    </a:lnTo>
                    <a:lnTo>
                      <a:pt x="563" y="449"/>
                    </a:lnTo>
                    <a:lnTo>
                      <a:pt x="555" y="451"/>
                    </a:lnTo>
                    <a:lnTo>
                      <a:pt x="553" y="452"/>
                    </a:lnTo>
                    <a:lnTo>
                      <a:pt x="555" y="452"/>
                    </a:lnTo>
                    <a:lnTo>
                      <a:pt x="555" y="454"/>
                    </a:lnTo>
                    <a:lnTo>
                      <a:pt x="557" y="454"/>
                    </a:lnTo>
                    <a:lnTo>
                      <a:pt x="561" y="454"/>
                    </a:lnTo>
                    <a:lnTo>
                      <a:pt x="563" y="454"/>
                    </a:lnTo>
                    <a:lnTo>
                      <a:pt x="564" y="454"/>
                    </a:lnTo>
                    <a:lnTo>
                      <a:pt x="563" y="456"/>
                    </a:lnTo>
                    <a:lnTo>
                      <a:pt x="559" y="456"/>
                    </a:lnTo>
                    <a:lnTo>
                      <a:pt x="557" y="456"/>
                    </a:lnTo>
                    <a:lnTo>
                      <a:pt x="557" y="458"/>
                    </a:lnTo>
                    <a:lnTo>
                      <a:pt x="557" y="460"/>
                    </a:lnTo>
                    <a:lnTo>
                      <a:pt x="559" y="462"/>
                    </a:lnTo>
                    <a:lnTo>
                      <a:pt x="559" y="466"/>
                    </a:lnTo>
                    <a:lnTo>
                      <a:pt x="559" y="468"/>
                    </a:lnTo>
                    <a:lnTo>
                      <a:pt x="561" y="470"/>
                    </a:lnTo>
                    <a:lnTo>
                      <a:pt x="561" y="470"/>
                    </a:lnTo>
                    <a:lnTo>
                      <a:pt x="564" y="468"/>
                    </a:lnTo>
                    <a:lnTo>
                      <a:pt x="564" y="470"/>
                    </a:lnTo>
                    <a:lnTo>
                      <a:pt x="566" y="471"/>
                    </a:lnTo>
                    <a:lnTo>
                      <a:pt x="568" y="471"/>
                    </a:lnTo>
                    <a:lnTo>
                      <a:pt x="568" y="473"/>
                    </a:lnTo>
                    <a:lnTo>
                      <a:pt x="570" y="473"/>
                    </a:lnTo>
                    <a:lnTo>
                      <a:pt x="574" y="475"/>
                    </a:lnTo>
                    <a:lnTo>
                      <a:pt x="576" y="477"/>
                    </a:lnTo>
                    <a:lnTo>
                      <a:pt x="574" y="477"/>
                    </a:lnTo>
                    <a:lnTo>
                      <a:pt x="572" y="477"/>
                    </a:lnTo>
                    <a:lnTo>
                      <a:pt x="570" y="479"/>
                    </a:lnTo>
                    <a:lnTo>
                      <a:pt x="563" y="485"/>
                    </a:lnTo>
                    <a:lnTo>
                      <a:pt x="561" y="487"/>
                    </a:lnTo>
                    <a:lnTo>
                      <a:pt x="561" y="489"/>
                    </a:lnTo>
                    <a:lnTo>
                      <a:pt x="563" y="492"/>
                    </a:lnTo>
                    <a:lnTo>
                      <a:pt x="563" y="492"/>
                    </a:lnTo>
                    <a:lnTo>
                      <a:pt x="566" y="490"/>
                    </a:lnTo>
                    <a:lnTo>
                      <a:pt x="566" y="490"/>
                    </a:lnTo>
                    <a:lnTo>
                      <a:pt x="566" y="490"/>
                    </a:lnTo>
                    <a:lnTo>
                      <a:pt x="568" y="489"/>
                    </a:lnTo>
                    <a:lnTo>
                      <a:pt x="568" y="485"/>
                    </a:lnTo>
                    <a:lnTo>
                      <a:pt x="568" y="485"/>
                    </a:lnTo>
                    <a:lnTo>
                      <a:pt x="568" y="483"/>
                    </a:lnTo>
                    <a:lnTo>
                      <a:pt x="570" y="483"/>
                    </a:lnTo>
                    <a:lnTo>
                      <a:pt x="572" y="483"/>
                    </a:lnTo>
                    <a:lnTo>
                      <a:pt x="572" y="481"/>
                    </a:lnTo>
                    <a:lnTo>
                      <a:pt x="574" y="483"/>
                    </a:lnTo>
                    <a:lnTo>
                      <a:pt x="574" y="487"/>
                    </a:lnTo>
                    <a:lnTo>
                      <a:pt x="572" y="489"/>
                    </a:lnTo>
                    <a:lnTo>
                      <a:pt x="570" y="494"/>
                    </a:lnTo>
                    <a:lnTo>
                      <a:pt x="574" y="492"/>
                    </a:lnTo>
                    <a:lnTo>
                      <a:pt x="576" y="490"/>
                    </a:lnTo>
                    <a:lnTo>
                      <a:pt x="576" y="489"/>
                    </a:lnTo>
                    <a:lnTo>
                      <a:pt x="576" y="489"/>
                    </a:lnTo>
                    <a:lnTo>
                      <a:pt x="576" y="487"/>
                    </a:lnTo>
                    <a:lnTo>
                      <a:pt x="576" y="489"/>
                    </a:lnTo>
                    <a:lnTo>
                      <a:pt x="578" y="489"/>
                    </a:lnTo>
                    <a:lnTo>
                      <a:pt x="578" y="489"/>
                    </a:lnTo>
                    <a:lnTo>
                      <a:pt x="584" y="487"/>
                    </a:lnTo>
                    <a:lnTo>
                      <a:pt x="585" y="487"/>
                    </a:lnTo>
                    <a:lnTo>
                      <a:pt x="585" y="487"/>
                    </a:lnTo>
                    <a:lnTo>
                      <a:pt x="589" y="498"/>
                    </a:lnTo>
                    <a:lnTo>
                      <a:pt x="589" y="498"/>
                    </a:lnTo>
                    <a:lnTo>
                      <a:pt x="585" y="500"/>
                    </a:lnTo>
                    <a:lnTo>
                      <a:pt x="582" y="498"/>
                    </a:lnTo>
                    <a:lnTo>
                      <a:pt x="580" y="498"/>
                    </a:lnTo>
                    <a:lnTo>
                      <a:pt x="580" y="500"/>
                    </a:lnTo>
                    <a:lnTo>
                      <a:pt x="582" y="502"/>
                    </a:lnTo>
                    <a:lnTo>
                      <a:pt x="582" y="502"/>
                    </a:lnTo>
                    <a:lnTo>
                      <a:pt x="584" y="504"/>
                    </a:lnTo>
                    <a:lnTo>
                      <a:pt x="585" y="504"/>
                    </a:lnTo>
                    <a:lnTo>
                      <a:pt x="585" y="504"/>
                    </a:lnTo>
                    <a:lnTo>
                      <a:pt x="585" y="506"/>
                    </a:lnTo>
                    <a:lnTo>
                      <a:pt x="585" y="506"/>
                    </a:lnTo>
                    <a:lnTo>
                      <a:pt x="587" y="508"/>
                    </a:lnTo>
                    <a:lnTo>
                      <a:pt x="589" y="508"/>
                    </a:lnTo>
                    <a:lnTo>
                      <a:pt x="593" y="506"/>
                    </a:lnTo>
                    <a:lnTo>
                      <a:pt x="595" y="506"/>
                    </a:lnTo>
                    <a:lnTo>
                      <a:pt x="595" y="509"/>
                    </a:lnTo>
                    <a:lnTo>
                      <a:pt x="591" y="511"/>
                    </a:lnTo>
                    <a:lnTo>
                      <a:pt x="587" y="513"/>
                    </a:lnTo>
                    <a:lnTo>
                      <a:pt x="591" y="517"/>
                    </a:lnTo>
                    <a:lnTo>
                      <a:pt x="591" y="519"/>
                    </a:lnTo>
                    <a:lnTo>
                      <a:pt x="589" y="523"/>
                    </a:lnTo>
                    <a:lnTo>
                      <a:pt x="587" y="525"/>
                    </a:lnTo>
                    <a:lnTo>
                      <a:pt x="593" y="523"/>
                    </a:lnTo>
                    <a:lnTo>
                      <a:pt x="593" y="521"/>
                    </a:lnTo>
                    <a:lnTo>
                      <a:pt x="595" y="521"/>
                    </a:lnTo>
                    <a:lnTo>
                      <a:pt x="597" y="521"/>
                    </a:lnTo>
                    <a:lnTo>
                      <a:pt x="595" y="523"/>
                    </a:lnTo>
                    <a:lnTo>
                      <a:pt x="593" y="527"/>
                    </a:lnTo>
                    <a:lnTo>
                      <a:pt x="595" y="530"/>
                    </a:lnTo>
                    <a:lnTo>
                      <a:pt x="597" y="530"/>
                    </a:lnTo>
                    <a:lnTo>
                      <a:pt x="599" y="527"/>
                    </a:lnTo>
                    <a:lnTo>
                      <a:pt x="599" y="529"/>
                    </a:lnTo>
                    <a:lnTo>
                      <a:pt x="599" y="530"/>
                    </a:lnTo>
                    <a:lnTo>
                      <a:pt x="599" y="530"/>
                    </a:lnTo>
                    <a:lnTo>
                      <a:pt x="599" y="532"/>
                    </a:lnTo>
                    <a:lnTo>
                      <a:pt x="599" y="532"/>
                    </a:lnTo>
                    <a:lnTo>
                      <a:pt x="601" y="534"/>
                    </a:lnTo>
                    <a:lnTo>
                      <a:pt x="601" y="534"/>
                    </a:lnTo>
                    <a:lnTo>
                      <a:pt x="603" y="536"/>
                    </a:lnTo>
                    <a:lnTo>
                      <a:pt x="601" y="536"/>
                    </a:lnTo>
                    <a:lnTo>
                      <a:pt x="595" y="540"/>
                    </a:lnTo>
                    <a:lnTo>
                      <a:pt x="597" y="542"/>
                    </a:lnTo>
                    <a:lnTo>
                      <a:pt x="597" y="544"/>
                    </a:lnTo>
                    <a:lnTo>
                      <a:pt x="597" y="549"/>
                    </a:lnTo>
                    <a:lnTo>
                      <a:pt x="597" y="551"/>
                    </a:lnTo>
                    <a:lnTo>
                      <a:pt x="595" y="553"/>
                    </a:lnTo>
                    <a:lnTo>
                      <a:pt x="595" y="555"/>
                    </a:lnTo>
                    <a:lnTo>
                      <a:pt x="595" y="555"/>
                    </a:lnTo>
                    <a:lnTo>
                      <a:pt x="595" y="559"/>
                    </a:lnTo>
                    <a:lnTo>
                      <a:pt x="595" y="561"/>
                    </a:lnTo>
                    <a:lnTo>
                      <a:pt x="595" y="563"/>
                    </a:lnTo>
                    <a:lnTo>
                      <a:pt x="595" y="567"/>
                    </a:lnTo>
                    <a:lnTo>
                      <a:pt x="593" y="568"/>
                    </a:lnTo>
                    <a:lnTo>
                      <a:pt x="589" y="574"/>
                    </a:lnTo>
                    <a:lnTo>
                      <a:pt x="589" y="574"/>
                    </a:lnTo>
                    <a:lnTo>
                      <a:pt x="591" y="576"/>
                    </a:lnTo>
                    <a:lnTo>
                      <a:pt x="593" y="578"/>
                    </a:lnTo>
                    <a:lnTo>
                      <a:pt x="593" y="582"/>
                    </a:lnTo>
                    <a:lnTo>
                      <a:pt x="593" y="586"/>
                    </a:lnTo>
                    <a:lnTo>
                      <a:pt x="591" y="586"/>
                    </a:lnTo>
                    <a:lnTo>
                      <a:pt x="589" y="587"/>
                    </a:lnTo>
                    <a:lnTo>
                      <a:pt x="585" y="587"/>
                    </a:lnTo>
                    <a:lnTo>
                      <a:pt x="585" y="587"/>
                    </a:lnTo>
                    <a:lnTo>
                      <a:pt x="585" y="587"/>
                    </a:lnTo>
                    <a:lnTo>
                      <a:pt x="585" y="587"/>
                    </a:lnTo>
                    <a:lnTo>
                      <a:pt x="584" y="589"/>
                    </a:lnTo>
                    <a:lnTo>
                      <a:pt x="582" y="589"/>
                    </a:lnTo>
                    <a:lnTo>
                      <a:pt x="582" y="589"/>
                    </a:lnTo>
                    <a:lnTo>
                      <a:pt x="580" y="593"/>
                    </a:lnTo>
                    <a:lnTo>
                      <a:pt x="580" y="595"/>
                    </a:lnTo>
                    <a:lnTo>
                      <a:pt x="578" y="597"/>
                    </a:lnTo>
                    <a:lnTo>
                      <a:pt x="578" y="601"/>
                    </a:lnTo>
                    <a:lnTo>
                      <a:pt x="576" y="605"/>
                    </a:lnTo>
                    <a:lnTo>
                      <a:pt x="576" y="605"/>
                    </a:lnTo>
                    <a:lnTo>
                      <a:pt x="576" y="607"/>
                    </a:lnTo>
                    <a:lnTo>
                      <a:pt x="576" y="608"/>
                    </a:lnTo>
                    <a:lnTo>
                      <a:pt x="578" y="608"/>
                    </a:lnTo>
                    <a:lnTo>
                      <a:pt x="578" y="608"/>
                    </a:lnTo>
                    <a:lnTo>
                      <a:pt x="578" y="608"/>
                    </a:lnTo>
                    <a:lnTo>
                      <a:pt x="578" y="610"/>
                    </a:lnTo>
                    <a:lnTo>
                      <a:pt x="576" y="612"/>
                    </a:lnTo>
                    <a:lnTo>
                      <a:pt x="576" y="614"/>
                    </a:lnTo>
                    <a:lnTo>
                      <a:pt x="574" y="620"/>
                    </a:lnTo>
                    <a:lnTo>
                      <a:pt x="572" y="626"/>
                    </a:lnTo>
                    <a:lnTo>
                      <a:pt x="572" y="627"/>
                    </a:lnTo>
                    <a:lnTo>
                      <a:pt x="572" y="627"/>
                    </a:lnTo>
                    <a:lnTo>
                      <a:pt x="574" y="627"/>
                    </a:lnTo>
                    <a:lnTo>
                      <a:pt x="578" y="626"/>
                    </a:lnTo>
                    <a:lnTo>
                      <a:pt x="578" y="626"/>
                    </a:lnTo>
                    <a:lnTo>
                      <a:pt x="580" y="624"/>
                    </a:lnTo>
                    <a:lnTo>
                      <a:pt x="580" y="624"/>
                    </a:lnTo>
                    <a:lnTo>
                      <a:pt x="582" y="624"/>
                    </a:lnTo>
                    <a:lnTo>
                      <a:pt x="584" y="626"/>
                    </a:lnTo>
                    <a:lnTo>
                      <a:pt x="585" y="626"/>
                    </a:lnTo>
                    <a:lnTo>
                      <a:pt x="585" y="624"/>
                    </a:lnTo>
                    <a:lnTo>
                      <a:pt x="585" y="624"/>
                    </a:lnTo>
                    <a:lnTo>
                      <a:pt x="587" y="624"/>
                    </a:lnTo>
                    <a:lnTo>
                      <a:pt x="591" y="624"/>
                    </a:lnTo>
                    <a:lnTo>
                      <a:pt x="593" y="624"/>
                    </a:lnTo>
                    <a:lnTo>
                      <a:pt x="595" y="624"/>
                    </a:lnTo>
                    <a:lnTo>
                      <a:pt x="603" y="620"/>
                    </a:lnTo>
                    <a:lnTo>
                      <a:pt x="601" y="618"/>
                    </a:lnTo>
                    <a:lnTo>
                      <a:pt x="601" y="614"/>
                    </a:lnTo>
                    <a:lnTo>
                      <a:pt x="601" y="612"/>
                    </a:lnTo>
                    <a:lnTo>
                      <a:pt x="601" y="612"/>
                    </a:lnTo>
                    <a:lnTo>
                      <a:pt x="599" y="610"/>
                    </a:lnTo>
                    <a:lnTo>
                      <a:pt x="599" y="610"/>
                    </a:lnTo>
                    <a:lnTo>
                      <a:pt x="597" y="608"/>
                    </a:lnTo>
                    <a:lnTo>
                      <a:pt x="595" y="608"/>
                    </a:lnTo>
                    <a:lnTo>
                      <a:pt x="595" y="607"/>
                    </a:lnTo>
                    <a:lnTo>
                      <a:pt x="595" y="607"/>
                    </a:lnTo>
                    <a:lnTo>
                      <a:pt x="595" y="605"/>
                    </a:lnTo>
                    <a:lnTo>
                      <a:pt x="595" y="605"/>
                    </a:lnTo>
                    <a:lnTo>
                      <a:pt x="595" y="605"/>
                    </a:lnTo>
                    <a:lnTo>
                      <a:pt x="595" y="603"/>
                    </a:lnTo>
                    <a:lnTo>
                      <a:pt x="597" y="603"/>
                    </a:lnTo>
                    <a:lnTo>
                      <a:pt x="597" y="603"/>
                    </a:lnTo>
                    <a:lnTo>
                      <a:pt x="599" y="603"/>
                    </a:lnTo>
                    <a:lnTo>
                      <a:pt x="601" y="603"/>
                    </a:lnTo>
                    <a:lnTo>
                      <a:pt x="601" y="603"/>
                    </a:lnTo>
                    <a:lnTo>
                      <a:pt x="603" y="603"/>
                    </a:lnTo>
                    <a:lnTo>
                      <a:pt x="603" y="599"/>
                    </a:lnTo>
                    <a:lnTo>
                      <a:pt x="604" y="597"/>
                    </a:lnTo>
                    <a:lnTo>
                      <a:pt x="604" y="597"/>
                    </a:lnTo>
                    <a:lnTo>
                      <a:pt x="604" y="597"/>
                    </a:lnTo>
                    <a:lnTo>
                      <a:pt x="606" y="599"/>
                    </a:lnTo>
                    <a:lnTo>
                      <a:pt x="608" y="599"/>
                    </a:lnTo>
                    <a:lnTo>
                      <a:pt x="608" y="599"/>
                    </a:lnTo>
                    <a:lnTo>
                      <a:pt x="610" y="597"/>
                    </a:lnTo>
                    <a:lnTo>
                      <a:pt x="614" y="593"/>
                    </a:lnTo>
                    <a:lnTo>
                      <a:pt x="616" y="593"/>
                    </a:lnTo>
                    <a:lnTo>
                      <a:pt x="616" y="593"/>
                    </a:lnTo>
                    <a:lnTo>
                      <a:pt x="618" y="593"/>
                    </a:lnTo>
                    <a:lnTo>
                      <a:pt x="618" y="593"/>
                    </a:lnTo>
                    <a:lnTo>
                      <a:pt x="618" y="595"/>
                    </a:lnTo>
                    <a:lnTo>
                      <a:pt x="618" y="597"/>
                    </a:lnTo>
                    <a:lnTo>
                      <a:pt x="618" y="597"/>
                    </a:lnTo>
                    <a:lnTo>
                      <a:pt x="618" y="599"/>
                    </a:lnTo>
                    <a:lnTo>
                      <a:pt x="620" y="599"/>
                    </a:lnTo>
                    <a:lnTo>
                      <a:pt x="620" y="599"/>
                    </a:lnTo>
                    <a:lnTo>
                      <a:pt x="622" y="599"/>
                    </a:lnTo>
                    <a:lnTo>
                      <a:pt x="622" y="599"/>
                    </a:lnTo>
                    <a:lnTo>
                      <a:pt x="624" y="599"/>
                    </a:lnTo>
                    <a:lnTo>
                      <a:pt x="624" y="599"/>
                    </a:lnTo>
                    <a:lnTo>
                      <a:pt x="624" y="601"/>
                    </a:lnTo>
                    <a:lnTo>
                      <a:pt x="624" y="601"/>
                    </a:lnTo>
                    <a:lnTo>
                      <a:pt x="624" y="603"/>
                    </a:lnTo>
                    <a:lnTo>
                      <a:pt x="622" y="603"/>
                    </a:lnTo>
                    <a:lnTo>
                      <a:pt x="614" y="608"/>
                    </a:lnTo>
                    <a:lnTo>
                      <a:pt x="614" y="608"/>
                    </a:lnTo>
                    <a:lnTo>
                      <a:pt x="614" y="608"/>
                    </a:lnTo>
                    <a:lnTo>
                      <a:pt x="612" y="610"/>
                    </a:lnTo>
                    <a:lnTo>
                      <a:pt x="612" y="610"/>
                    </a:lnTo>
                    <a:lnTo>
                      <a:pt x="612" y="610"/>
                    </a:lnTo>
                    <a:lnTo>
                      <a:pt x="612" y="612"/>
                    </a:lnTo>
                    <a:lnTo>
                      <a:pt x="614" y="616"/>
                    </a:lnTo>
                    <a:lnTo>
                      <a:pt x="614" y="618"/>
                    </a:lnTo>
                    <a:lnTo>
                      <a:pt x="616" y="618"/>
                    </a:lnTo>
                    <a:lnTo>
                      <a:pt x="616" y="618"/>
                    </a:lnTo>
                    <a:lnTo>
                      <a:pt x="620" y="618"/>
                    </a:lnTo>
                    <a:lnTo>
                      <a:pt x="620" y="618"/>
                    </a:lnTo>
                    <a:lnTo>
                      <a:pt x="622" y="618"/>
                    </a:lnTo>
                    <a:lnTo>
                      <a:pt x="622" y="618"/>
                    </a:lnTo>
                    <a:lnTo>
                      <a:pt x="622" y="616"/>
                    </a:lnTo>
                    <a:lnTo>
                      <a:pt x="622" y="614"/>
                    </a:lnTo>
                    <a:lnTo>
                      <a:pt x="622" y="614"/>
                    </a:lnTo>
                    <a:lnTo>
                      <a:pt x="624" y="612"/>
                    </a:lnTo>
                    <a:lnTo>
                      <a:pt x="624" y="612"/>
                    </a:lnTo>
                    <a:lnTo>
                      <a:pt x="627" y="614"/>
                    </a:lnTo>
                    <a:lnTo>
                      <a:pt x="629" y="614"/>
                    </a:lnTo>
                    <a:lnTo>
                      <a:pt x="629" y="616"/>
                    </a:lnTo>
                    <a:lnTo>
                      <a:pt x="629" y="622"/>
                    </a:lnTo>
                    <a:lnTo>
                      <a:pt x="633" y="622"/>
                    </a:lnTo>
                    <a:lnTo>
                      <a:pt x="633" y="622"/>
                    </a:lnTo>
                    <a:lnTo>
                      <a:pt x="635" y="622"/>
                    </a:lnTo>
                    <a:lnTo>
                      <a:pt x="637" y="620"/>
                    </a:lnTo>
                    <a:lnTo>
                      <a:pt x="639" y="620"/>
                    </a:lnTo>
                    <a:lnTo>
                      <a:pt x="639" y="618"/>
                    </a:lnTo>
                    <a:lnTo>
                      <a:pt x="639" y="618"/>
                    </a:lnTo>
                    <a:lnTo>
                      <a:pt x="639" y="616"/>
                    </a:lnTo>
                    <a:lnTo>
                      <a:pt x="639" y="616"/>
                    </a:lnTo>
                    <a:lnTo>
                      <a:pt x="639" y="614"/>
                    </a:lnTo>
                    <a:lnTo>
                      <a:pt x="639" y="614"/>
                    </a:lnTo>
                    <a:lnTo>
                      <a:pt x="641" y="612"/>
                    </a:lnTo>
                    <a:lnTo>
                      <a:pt x="641" y="612"/>
                    </a:lnTo>
                    <a:lnTo>
                      <a:pt x="643" y="612"/>
                    </a:lnTo>
                    <a:lnTo>
                      <a:pt x="650" y="612"/>
                    </a:lnTo>
                    <a:lnTo>
                      <a:pt x="652" y="614"/>
                    </a:lnTo>
                    <a:lnTo>
                      <a:pt x="654" y="614"/>
                    </a:lnTo>
                    <a:lnTo>
                      <a:pt x="656" y="614"/>
                    </a:lnTo>
                    <a:lnTo>
                      <a:pt x="656" y="612"/>
                    </a:lnTo>
                    <a:lnTo>
                      <a:pt x="656" y="612"/>
                    </a:lnTo>
                    <a:lnTo>
                      <a:pt x="656" y="608"/>
                    </a:lnTo>
                    <a:lnTo>
                      <a:pt x="656" y="608"/>
                    </a:lnTo>
                    <a:lnTo>
                      <a:pt x="656" y="607"/>
                    </a:lnTo>
                    <a:lnTo>
                      <a:pt x="658" y="605"/>
                    </a:lnTo>
                    <a:lnTo>
                      <a:pt x="658" y="603"/>
                    </a:lnTo>
                    <a:lnTo>
                      <a:pt x="658" y="601"/>
                    </a:lnTo>
                    <a:lnTo>
                      <a:pt x="658" y="595"/>
                    </a:lnTo>
                    <a:lnTo>
                      <a:pt x="658" y="593"/>
                    </a:lnTo>
                    <a:lnTo>
                      <a:pt x="656" y="591"/>
                    </a:lnTo>
                    <a:lnTo>
                      <a:pt x="656" y="591"/>
                    </a:lnTo>
                    <a:lnTo>
                      <a:pt x="656" y="589"/>
                    </a:lnTo>
                    <a:lnTo>
                      <a:pt x="656" y="589"/>
                    </a:lnTo>
                    <a:lnTo>
                      <a:pt x="654" y="589"/>
                    </a:lnTo>
                    <a:lnTo>
                      <a:pt x="654" y="589"/>
                    </a:lnTo>
                    <a:lnTo>
                      <a:pt x="654" y="587"/>
                    </a:lnTo>
                    <a:lnTo>
                      <a:pt x="654" y="586"/>
                    </a:lnTo>
                    <a:lnTo>
                      <a:pt x="658" y="582"/>
                    </a:lnTo>
                    <a:lnTo>
                      <a:pt x="664" y="570"/>
                    </a:lnTo>
                    <a:lnTo>
                      <a:pt x="666" y="568"/>
                    </a:lnTo>
                    <a:lnTo>
                      <a:pt x="666" y="565"/>
                    </a:lnTo>
                    <a:lnTo>
                      <a:pt x="666" y="561"/>
                    </a:lnTo>
                    <a:lnTo>
                      <a:pt x="666" y="559"/>
                    </a:lnTo>
                    <a:lnTo>
                      <a:pt x="664" y="559"/>
                    </a:lnTo>
                    <a:lnTo>
                      <a:pt x="664" y="559"/>
                    </a:lnTo>
                    <a:lnTo>
                      <a:pt x="664" y="559"/>
                    </a:lnTo>
                    <a:lnTo>
                      <a:pt x="662" y="559"/>
                    </a:lnTo>
                    <a:lnTo>
                      <a:pt x="662" y="559"/>
                    </a:lnTo>
                    <a:lnTo>
                      <a:pt x="662" y="559"/>
                    </a:lnTo>
                    <a:lnTo>
                      <a:pt x="660" y="557"/>
                    </a:lnTo>
                    <a:lnTo>
                      <a:pt x="660" y="557"/>
                    </a:lnTo>
                    <a:lnTo>
                      <a:pt x="660" y="553"/>
                    </a:lnTo>
                    <a:lnTo>
                      <a:pt x="660" y="553"/>
                    </a:lnTo>
                    <a:lnTo>
                      <a:pt x="660" y="553"/>
                    </a:lnTo>
                    <a:lnTo>
                      <a:pt x="658" y="553"/>
                    </a:lnTo>
                    <a:lnTo>
                      <a:pt x="658" y="553"/>
                    </a:lnTo>
                    <a:lnTo>
                      <a:pt x="656" y="551"/>
                    </a:lnTo>
                    <a:lnTo>
                      <a:pt x="656" y="551"/>
                    </a:lnTo>
                    <a:lnTo>
                      <a:pt x="654" y="551"/>
                    </a:lnTo>
                    <a:lnTo>
                      <a:pt x="654" y="551"/>
                    </a:lnTo>
                    <a:lnTo>
                      <a:pt x="654" y="549"/>
                    </a:lnTo>
                    <a:lnTo>
                      <a:pt x="656" y="549"/>
                    </a:lnTo>
                    <a:lnTo>
                      <a:pt x="660" y="548"/>
                    </a:lnTo>
                    <a:lnTo>
                      <a:pt x="662" y="546"/>
                    </a:lnTo>
                    <a:lnTo>
                      <a:pt x="662" y="542"/>
                    </a:lnTo>
                    <a:lnTo>
                      <a:pt x="664" y="542"/>
                    </a:lnTo>
                    <a:lnTo>
                      <a:pt x="664" y="542"/>
                    </a:lnTo>
                    <a:lnTo>
                      <a:pt x="666" y="542"/>
                    </a:lnTo>
                    <a:lnTo>
                      <a:pt x="666" y="542"/>
                    </a:lnTo>
                    <a:lnTo>
                      <a:pt x="666" y="542"/>
                    </a:lnTo>
                    <a:lnTo>
                      <a:pt x="667" y="544"/>
                    </a:lnTo>
                    <a:lnTo>
                      <a:pt x="667" y="548"/>
                    </a:lnTo>
                    <a:lnTo>
                      <a:pt x="669" y="548"/>
                    </a:lnTo>
                    <a:lnTo>
                      <a:pt x="669" y="548"/>
                    </a:lnTo>
                    <a:lnTo>
                      <a:pt x="671" y="548"/>
                    </a:lnTo>
                    <a:lnTo>
                      <a:pt x="671" y="549"/>
                    </a:lnTo>
                    <a:lnTo>
                      <a:pt x="677" y="551"/>
                    </a:lnTo>
                    <a:lnTo>
                      <a:pt x="681" y="553"/>
                    </a:lnTo>
                    <a:lnTo>
                      <a:pt x="683" y="555"/>
                    </a:lnTo>
                    <a:lnTo>
                      <a:pt x="685" y="557"/>
                    </a:lnTo>
                    <a:lnTo>
                      <a:pt x="686" y="561"/>
                    </a:lnTo>
                    <a:lnTo>
                      <a:pt x="688" y="563"/>
                    </a:lnTo>
                    <a:lnTo>
                      <a:pt x="688" y="563"/>
                    </a:lnTo>
                    <a:lnTo>
                      <a:pt x="690" y="563"/>
                    </a:lnTo>
                    <a:lnTo>
                      <a:pt x="696" y="563"/>
                    </a:lnTo>
                    <a:lnTo>
                      <a:pt x="698" y="561"/>
                    </a:lnTo>
                    <a:lnTo>
                      <a:pt x="702" y="559"/>
                    </a:lnTo>
                    <a:lnTo>
                      <a:pt x="704" y="559"/>
                    </a:lnTo>
                    <a:lnTo>
                      <a:pt x="706" y="557"/>
                    </a:lnTo>
                    <a:lnTo>
                      <a:pt x="707" y="557"/>
                    </a:lnTo>
                    <a:lnTo>
                      <a:pt x="709" y="555"/>
                    </a:lnTo>
                    <a:lnTo>
                      <a:pt x="709" y="553"/>
                    </a:lnTo>
                    <a:lnTo>
                      <a:pt x="709" y="551"/>
                    </a:lnTo>
                    <a:lnTo>
                      <a:pt x="711" y="549"/>
                    </a:lnTo>
                    <a:lnTo>
                      <a:pt x="709" y="548"/>
                    </a:lnTo>
                    <a:lnTo>
                      <a:pt x="709" y="548"/>
                    </a:lnTo>
                    <a:lnTo>
                      <a:pt x="713" y="544"/>
                    </a:lnTo>
                    <a:lnTo>
                      <a:pt x="721" y="538"/>
                    </a:lnTo>
                    <a:lnTo>
                      <a:pt x="721" y="536"/>
                    </a:lnTo>
                    <a:lnTo>
                      <a:pt x="723" y="536"/>
                    </a:lnTo>
                    <a:lnTo>
                      <a:pt x="723" y="534"/>
                    </a:lnTo>
                    <a:lnTo>
                      <a:pt x="723" y="532"/>
                    </a:lnTo>
                    <a:lnTo>
                      <a:pt x="723" y="530"/>
                    </a:lnTo>
                    <a:lnTo>
                      <a:pt x="723" y="519"/>
                    </a:lnTo>
                    <a:lnTo>
                      <a:pt x="721" y="515"/>
                    </a:lnTo>
                    <a:lnTo>
                      <a:pt x="719" y="513"/>
                    </a:lnTo>
                    <a:lnTo>
                      <a:pt x="719" y="509"/>
                    </a:lnTo>
                    <a:lnTo>
                      <a:pt x="717" y="508"/>
                    </a:lnTo>
                    <a:lnTo>
                      <a:pt x="717" y="506"/>
                    </a:lnTo>
                    <a:lnTo>
                      <a:pt x="715" y="506"/>
                    </a:lnTo>
                    <a:lnTo>
                      <a:pt x="713" y="504"/>
                    </a:lnTo>
                    <a:lnTo>
                      <a:pt x="711" y="500"/>
                    </a:lnTo>
                    <a:lnTo>
                      <a:pt x="709" y="498"/>
                    </a:lnTo>
                    <a:lnTo>
                      <a:pt x="707" y="496"/>
                    </a:lnTo>
                    <a:lnTo>
                      <a:pt x="706" y="496"/>
                    </a:lnTo>
                    <a:lnTo>
                      <a:pt x="702" y="494"/>
                    </a:lnTo>
                    <a:lnTo>
                      <a:pt x="700" y="492"/>
                    </a:lnTo>
                    <a:lnTo>
                      <a:pt x="700" y="490"/>
                    </a:lnTo>
                    <a:lnTo>
                      <a:pt x="698" y="489"/>
                    </a:lnTo>
                    <a:lnTo>
                      <a:pt x="696" y="489"/>
                    </a:lnTo>
                    <a:lnTo>
                      <a:pt x="696" y="487"/>
                    </a:lnTo>
                    <a:lnTo>
                      <a:pt x="694" y="487"/>
                    </a:lnTo>
                    <a:lnTo>
                      <a:pt x="694" y="487"/>
                    </a:lnTo>
                    <a:lnTo>
                      <a:pt x="692" y="489"/>
                    </a:lnTo>
                    <a:lnTo>
                      <a:pt x="690" y="489"/>
                    </a:lnTo>
                    <a:lnTo>
                      <a:pt x="688" y="489"/>
                    </a:lnTo>
                    <a:lnTo>
                      <a:pt x="683" y="485"/>
                    </a:lnTo>
                    <a:lnTo>
                      <a:pt x="679" y="481"/>
                    </a:lnTo>
                    <a:lnTo>
                      <a:pt x="677" y="479"/>
                    </a:lnTo>
                    <a:lnTo>
                      <a:pt x="677" y="477"/>
                    </a:lnTo>
                    <a:lnTo>
                      <a:pt x="679" y="477"/>
                    </a:lnTo>
                    <a:lnTo>
                      <a:pt x="679" y="477"/>
                    </a:lnTo>
                    <a:lnTo>
                      <a:pt x="679" y="477"/>
                    </a:lnTo>
                    <a:lnTo>
                      <a:pt x="681" y="477"/>
                    </a:lnTo>
                    <a:lnTo>
                      <a:pt x="688" y="481"/>
                    </a:lnTo>
                    <a:lnTo>
                      <a:pt x="688" y="481"/>
                    </a:lnTo>
                    <a:lnTo>
                      <a:pt x="690" y="481"/>
                    </a:lnTo>
                    <a:lnTo>
                      <a:pt x="690" y="481"/>
                    </a:lnTo>
                    <a:lnTo>
                      <a:pt x="692" y="481"/>
                    </a:lnTo>
                    <a:lnTo>
                      <a:pt x="692" y="481"/>
                    </a:lnTo>
                    <a:lnTo>
                      <a:pt x="694" y="481"/>
                    </a:lnTo>
                    <a:lnTo>
                      <a:pt x="694" y="481"/>
                    </a:lnTo>
                    <a:lnTo>
                      <a:pt x="696" y="481"/>
                    </a:lnTo>
                    <a:lnTo>
                      <a:pt x="696" y="481"/>
                    </a:lnTo>
                    <a:lnTo>
                      <a:pt x="696" y="481"/>
                    </a:lnTo>
                    <a:lnTo>
                      <a:pt x="698" y="479"/>
                    </a:lnTo>
                    <a:lnTo>
                      <a:pt x="700" y="479"/>
                    </a:lnTo>
                    <a:lnTo>
                      <a:pt x="700" y="477"/>
                    </a:lnTo>
                    <a:lnTo>
                      <a:pt x="702" y="477"/>
                    </a:lnTo>
                    <a:lnTo>
                      <a:pt x="704" y="477"/>
                    </a:lnTo>
                    <a:lnTo>
                      <a:pt x="706" y="477"/>
                    </a:lnTo>
                    <a:lnTo>
                      <a:pt x="706" y="475"/>
                    </a:lnTo>
                    <a:lnTo>
                      <a:pt x="707" y="468"/>
                    </a:lnTo>
                    <a:lnTo>
                      <a:pt x="709" y="466"/>
                    </a:lnTo>
                    <a:lnTo>
                      <a:pt x="709" y="466"/>
                    </a:lnTo>
                    <a:lnTo>
                      <a:pt x="711" y="466"/>
                    </a:lnTo>
                    <a:lnTo>
                      <a:pt x="713" y="468"/>
                    </a:lnTo>
                    <a:lnTo>
                      <a:pt x="713" y="468"/>
                    </a:lnTo>
                    <a:lnTo>
                      <a:pt x="715" y="468"/>
                    </a:lnTo>
                    <a:lnTo>
                      <a:pt x="723" y="466"/>
                    </a:lnTo>
                    <a:lnTo>
                      <a:pt x="725" y="464"/>
                    </a:lnTo>
                    <a:lnTo>
                      <a:pt x="725" y="462"/>
                    </a:lnTo>
                    <a:lnTo>
                      <a:pt x="727" y="454"/>
                    </a:lnTo>
                    <a:lnTo>
                      <a:pt x="728" y="451"/>
                    </a:lnTo>
                    <a:lnTo>
                      <a:pt x="730" y="449"/>
                    </a:lnTo>
                    <a:lnTo>
                      <a:pt x="732" y="449"/>
                    </a:lnTo>
                    <a:lnTo>
                      <a:pt x="734" y="447"/>
                    </a:lnTo>
                    <a:lnTo>
                      <a:pt x="738" y="443"/>
                    </a:lnTo>
                    <a:lnTo>
                      <a:pt x="740" y="441"/>
                    </a:lnTo>
                    <a:lnTo>
                      <a:pt x="740" y="441"/>
                    </a:lnTo>
                    <a:lnTo>
                      <a:pt x="742" y="441"/>
                    </a:lnTo>
                    <a:lnTo>
                      <a:pt x="746" y="443"/>
                    </a:lnTo>
                    <a:lnTo>
                      <a:pt x="746" y="443"/>
                    </a:lnTo>
                    <a:lnTo>
                      <a:pt x="748" y="443"/>
                    </a:lnTo>
                    <a:lnTo>
                      <a:pt x="765" y="439"/>
                    </a:lnTo>
                    <a:lnTo>
                      <a:pt x="767" y="437"/>
                    </a:lnTo>
                    <a:lnTo>
                      <a:pt x="768" y="435"/>
                    </a:lnTo>
                    <a:lnTo>
                      <a:pt x="770" y="435"/>
                    </a:lnTo>
                    <a:lnTo>
                      <a:pt x="770" y="433"/>
                    </a:lnTo>
                    <a:lnTo>
                      <a:pt x="772" y="433"/>
                    </a:lnTo>
                    <a:lnTo>
                      <a:pt x="772" y="431"/>
                    </a:lnTo>
                    <a:lnTo>
                      <a:pt x="772" y="430"/>
                    </a:lnTo>
                    <a:lnTo>
                      <a:pt x="770" y="430"/>
                    </a:lnTo>
                    <a:lnTo>
                      <a:pt x="770" y="428"/>
                    </a:lnTo>
                    <a:lnTo>
                      <a:pt x="770" y="428"/>
                    </a:lnTo>
                    <a:lnTo>
                      <a:pt x="770" y="426"/>
                    </a:lnTo>
                    <a:lnTo>
                      <a:pt x="768" y="426"/>
                    </a:lnTo>
                    <a:lnTo>
                      <a:pt x="768" y="426"/>
                    </a:lnTo>
                    <a:lnTo>
                      <a:pt x="767" y="428"/>
                    </a:lnTo>
                    <a:lnTo>
                      <a:pt x="765" y="428"/>
                    </a:lnTo>
                    <a:lnTo>
                      <a:pt x="765" y="430"/>
                    </a:lnTo>
                    <a:lnTo>
                      <a:pt x="763" y="430"/>
                    </a:lnTo>
                    <a:lnTo>
                      <a:pt x="757" y="430"/>
                    </a:lnTo>
                    <a:lnTo>
                      <a:pt x="757" y="430"/>
                    </a:lnTo>
                    <a:lnTo>
                      <a:pt x="755" y="430"/>
                    </a:lnTo>
                    <a:lnTo>
                      <a:pt x="755" y="428"/>
                    </a:lnTo>
                    <a:lnTo>
                      <a:pt x="755" y="428"/>
                    </a:lnTo>
                    <a:lnTo>
                      <a:pt x="753" y="428"/>
                    </a:lnTo>
                    <a:lnTo>
                      <a:pt x="753" y="428"/>
                    </a:lnTo>
                    <a:lnTo>
                      <a:pt x="751" y="428"/>
                    </a:lnTo>
                    <a:lnTo>
                      <a:pt x="751" y="428"/>
                    </a:lnTo>
                    <a:lnTo>
                      <a:pt x="749" y="428"/>
                    </a:lnTo>
                    <a:lnTo>
                      <a:pt x="749" y="428"/>
                    </a:lnTo>
                    <a:lnTo>
                      <a:pt x="749" y="430"/>
                    </a:lnTo>
                    <a:lnTo>
                      <a:pt x="748" y="430"/>
                    </a:lnTo>
                    <a:lnTo>
                      <a:pt x="738" y="428"/>
                    </a:lnTo>
                    <a:lnTo>
                      <a:pt x="736" y="428"/>
                    </a:lnTo>
                    <a:lnTo>
                      <a:pt x="734" y="430"/>
                    </a:lnTo>
                    <a:lnTo>
                      <a:pt x="728" y="431"/>
                    </a:lnTo>
                    <a:lnTo>
                      <a:pt x="725" y="431"/>
                    </a:lnTo>
                    <a:lnTo>
                      <a:pt x="715" y="433"/>
                    </a:lnTo>
                    <a:lnTo>
                      <a:pt x="713" y="435"/>
                    </a:lnTo>
                    <a:lnTo>
                      <a:pt x="711" y="435"/>
                    </a:lnTo>
                    <a:lnTo>
                      <a:pt x="711" y="435"/>
                    </a:lnTo>
                    <a:lnTo>
                      <a:pt x="709" y="433"/>
                    </a:lnTo>
                    <a:lnTo>
                      <a:pt x="709" y="431"/>
                    </a:lnTo>
                    <a:lnTo>
                      <a:pt x="707" y="430"/>
                    </a:lnTo>
                    <a:lnTo>
                      <a:pt x="704" y="426"/>
                    </a:lnTo>
                    <a:lnTo>
                      <a:pt x="704" y="424"/>
                    </a:lnTo>
                    <a:lnTo>
                      <a:pt x="704" y="422"/>
                    </a:lnTo>
                    <a:lnTo>
                      <a:pt x="704" y="420"/>
                    </a:lnTo>
                    <a:lnTo>
                      <a:pt x="704" y="420"/>
                    </a:lnTo>
                    <a:lnTo>
                      <a:pt x="707" y="420"/>
                    </a:lnTo>
                    <a:lnTo>
                      <a:pt x="709" y="418"/>
                    </a:lnTo>
                    <a:lnTo>
                      <a:pt x="713" y="416"/>
                    </a:lnTo>
                    <a:lnTo>
                      <a:pt x="713" y="412"/>
                    </a:lnTo>
                    <a:lnTo>
                      <a:pt x="713" y="411"/>
                    </a:lnTo>
                    <a:lnTo>
                      <a:pt x="713" y="409"/>
                    </a:lnTo>
                    <a:lnTo>
                      <a:pt x="711" y="407"/>
                    </a:lnTo>
                    <a:lnTo>
                      <a:pt x="709" y="407"/>
                    </a:lnTo>
                    <a:lnTo>
                      <a:pt x="709" y="405"/>
                    </a:lnTo>
                    <a:lnTo>
                      <a:pt x="709" y="403"/>
                    </a:lnTo>
                    <a:lnTo>
                      <a:pt x="709" y="401"/>
                    </a:lnTo>
                    <a:lnTo>
                      <a:pt x="709" y="397"/>
                    </a:lnTo>
                    <a:lnTo>
                      <a:pt x="707" y="395"/>
                    </a:lnTo>
                    <a:lnTo>
                      <a:pt x="709" y="393"/>
                    </a:lnTo>
                    <a:lnTo>
                      <a:pt x="709" y="392"/>
                    </a:lnTo>
                    <a:lnTo>
                      <a:pt x="711" y="390"/>
                    </a:lnTo>
                    <a:lnTo>
                      <a:pt x="713" y="390"/>
                    </a:lnTo>
                    <a:lnTo>
                      <a:pt x="717" y="390"/>
                    </a:lnTo>
                    <a:lnTo>
                      <a:pt x="721" y="386"/>
                    </a:lnTo>
                    <a:lnTo>
                      <a:pt x="723" y="388"/>
                    </a:lnTo>
                    <a:lnTo>
                      <a:pt x="727" y="386"/>
                    </a:lnTo>
                    <a:lnTo>
                      <a:pt x="730" y="384"/>
                    </a:lnTo>
                    <a:lnTo>
                      <a:pt x="730" y="382"/>
                    </a:lnTo>
                    <a:lnTo>
                      <a:pt x="742" y="376"/>
                    </a:lnTo>
                    <a:lnTo>
                      <a:pt x="749" y="376"/>
                    </a:lnTo>
                    <a:lnTo>
                      <a:pt x="749" y="365"/>
                    </a:lnTo>
                    <a:lnTo>
                      <a:pt x="751" y="361"/>
                    </a:lnTo>
                    <a:lnTo>
                      <a:pt x="751" y="359"/>
                    </a:lnTo>
                    <a:lnTo>
                      <a:pt x="751" y="357"/>
                    </a:lnTo>
                    <a:lnTo>
                      <a:pt x="749" y="357"/>
                    </a:lnTo>
                    <a:lnTo>
                      <a:pt x="749" y="355"/>
                    </a:lnTo>
                    <a:lnTo>
                      <a:pt x="748" y="353"/>
                    </a:lnTo>
                    <a:lnTo>
                      <a:pt x="748" y="352"/>
                    </a:lnTo>
                    <a:lnTo>
                      <a:pt x="748" y="348"/>
                    </a:lnTo>
                    <a:lnTo>
                      <a:pt x="746" y="346"/>
                    </a:lnTo>
                    <a:lnTo>
                      <a:pt x="746" y="344"/>
                    </a:lnTo>
                    <a:lnTo>
                      <a:pt x="744" y="342"/>
                    </a:lnTo>
                    <a:lnTo>
                      <a:pt x="742" y="342"/>
                    </a:lnTo>
                    <a:lnTo>
                      <a:pt x="742" y="340"/>
                    </a:lnTo>
                    <a:lnTo>
                      <a:pt x="742" y="336"/>
                    </a:lnTo>
                    <a:lnTo>
                      <a:pt x="742" y="334"/>
                    </a:lnTo>
                    <a:lnTo>
                      <a:pt x="742" y="333"/>
                    </a:lnTo>
                    <a:lnTo>
                      <a:pt x="742" y="329"/>
                    </a:lnTo>
                    <a:lnTo>
                      <a:pt x="742" y="325"/>
                    </a:lnTo>
                    <a:lnTo>
                      <a:pt x="742" y="323"/>
                    </a:lnTo>
                    <a:lnTo>
                      <a:pt x="744" y="323"/>
                    </a:lnTo>
                    <a:lnTo>
                      <a:pt x="744" y="323"/>
                    </a:lnTo>
                    <a:lnTo>
                      <a:pt x="744" y="321"/>
                    </a:lnTo>
                    <a:lnTo>
                      <a:pt x="746" y="321"/>
                    </a:lnTo>
                    <a:lnTo>
                      <a:pt x="746" y="323"/>
                    </a:lnTo>
                    <a:lnTo>
                      <a:pt x="748" y="323"/>
                    </a:lnTo>
                    <a:lnTo>
                      <a:pt x="749" y="325"/>
                    </a:lnTo>
                    <a:lnTo>
                      <a:pt x="749" y="325"/>
                    </a:lnTo>
                    <a:lnTo>
                      <a:pt x="751" y="325"/>
                    </a:lnTo>
                    <a:lnTo>
                      <a:pt x="753" y="325"/>
                    </a:lnTo>
                    <a:lnTo>
                      <a:pt x="757" y="325"/>
                    </a:lnTo>
                    <a:lnTo>
                      <a:pt x="759" y="325"/>
                    </a:lnTo>
                    <a:lnTo>
                      <a:pt x="761" y="323"/>
                    </a:lnTo>
                    <a:lnTo>
                      <a:pt x="763" y="321"/>
                    </a:lnTo>
                    <a:lnTo>
                      <a:pt x="763" y="321"/>
                    </a:lnTo>
                    <a:lnTo>
                      <a:pt x="765" y="319"/>
                    </a:lnTo>
                    <a:lnTo>
                      <a:pt x="765" y="319"/>
                    </a:lnTo>
                    <a:lnTo>
                      <a:pt x="765" y="317"/>
                    </a:lnTo>
                    <a:lnTo>
                      <a:pt x="765" y="315"/>
                    </a:lnTo>
                    <a:lnTo>
                      <a:pt x="763" y="315"/>
                    </a:lnTo>
                    <a:lnTo>
                      <a:pt x="761" y="314"/>
                    </a:lnTo>
                    <a:lnTo>
                      <a:pt x="759" y="314"/>
                    </a:lnTo>
                    <a:lnTo>
                      <a:pt x="755" y="314"/>
                    </a:lnTo>
                    <a:lnTo>
                      <a:pt x="749" y="314"/>
                    </a:lnTo>
                    <a:lnTo>
                      <a:pt x="748" y="314"/>
                    </a:lnTo>
                    <a:lnTo>
                      <a:pt x="746" y="314"/>
                    </a:lnTo>
                    <a:lnTo>
                      <a:pt x="744" y="312"/>
                    </a:lnTo>
                    <a:lnTo>
                      <a:pt x="738" y="306"/>
                    </a:lnTo>
                    <a:lnTo>
                      <a:pt x="738" y="304"/>
                    </a:lnTo>
                    <a:lnTo>
                      <a:pt x="738" y="302"/>
                    </a:lnTo>
                    <a:lnTo>
                      <a:pt x="738" y="300"/>
                    </a:lnTo>
                    <a:lnTo>
                      <a:pt x="740" y="300"/>
                    </a:lnTo>
                    <a:lnTo>
                      <a:pt x="740" y="298"/>
                    </a:lnTo>
                    <a:lnTo>
                      <a:pt x="742" y="298"/>
                    </a:lnTo>
                    <a:lnTo>
                      <a:pt x="742" y="298"/>
                    </a:lnTo>
                    <a:lnTo>
                      <a:pt x="749" y="300"/>
                    </a:lnTo>
                    <a:lnTo>
                      <a:pt x="749" y="300"/>
                    </a:lnTo>
                    <a:lnTo>
                      <a:pt x="751" y="300"/>
                    </a:lnTo>
                    <a:lnTo>
                      <a:pt x="753" y="300"/>
                    </a:lnTo>
                    <a:lnTo>
                      <a:pt x="753" y="298"/>
                    </a:lnTo>
                    <a:lnTo>
                      <a:pt x="759" y="294"/>
                    </a:lnTo>
                    <a:lnTo>
                      <a:pt x="768" y="287"/>
                    </a:lnTo>
                    <a:lnTo>
                      <a:pt x="768" y="287"/>
                    </a:lnTo>
                    <a:lnTo>
                      <a:pt x="770" y="287"/>
                    </a:lnTo>
                    <a:lnTo>
                      <a:pt x="774" y="287"/>
                    </a:lnTo>
                    <a:lnTo>
                      <a:pt x="776" y="285"/>
                    </a:lnTo>
                    <a:lnTo>
                      <a:pt x="776" y="285"/>
                    </a:lnTo>
                    <a:lnTo>
                      <a:pt x="778" y="285"/>
                    </a:lnTo>
                    <a:lnTo>
                      <a:pt x="780" y="283"/>
                    </a:lnTo>
                    <a:lnTo>
                      <a:pt x="780" y="283"/>
                    </a:lnTo>
                    <a:lnTo>
                      <a:pt x="782" y="281"/>
                    </a:lnTo>
                    <a:lnTo>
                      <a:pt x="791" y="260"/>
                    </a:lnTo>
                    <a:lnTo>
                      <a:pt x="791" y="258"/>
                    </a:lnTo>
                    <a:lnTo>
                      <a:pt x="791" y="255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8" name="Freeform 30">
                <a:extLst>
                  <a:ext uri="{FF2B5EF4-FFF2-40B4-BE49-F238E27FC236}">
                    <a16:creationId xmlns:a16="http://schemas.microsoft.com/office/drawing/2014/main" id="{3B07136B-EF12-4B1B-9375-1135574D7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4394" y="6204424"/>
                <a:ext cx="123825" cy="184150"/>
              </a:xfrm>
              <a:custGeom>
                <a:avLst/>
                <a:gdLst>
                  <a:gd name="T0" fmla="*/ 76 w 78"/>
                  <a:gd name="T1" fmla="*/ 55 h 116"/>
                  <a:gd name="T2" fmla="*/ 73 w 78"/>
                  <a:gd name="T3" fmla="*/ 49 h 116"/>
                  <a:gd name="T4" fmla="*/ 73 w 78"/>
                  <a:gd name="T5" fmla="*/ 43 h 116"/>
                  <a:gd name="T6" fmla="*/ 71 w 78"/>
                  <a:gd name="T7" fmla="*/ 38 h 116"/>
                  <a:gd name="T8" fmla="*/ 71 w 78"/>
                  <a:gd name="T9" fmla="*/ 24 h 116"/>
                  <a:gd name="T10" fmla="*/ 65 w 78"/>
                  <a:gd name="T11" fmla="*/ 17 h 116"/>
                  <a:gd name="T12" fmla="*/ 59 w 78"/>
                  <a:gd name="T13" fmla="*/ 17 h 116"/>
                  <a:gd name="T14" fmla="*/ 54 w 78"/>
                  <a:gd name="T15" fmla="*/ 19 h 116"/>
                  <a:gd name="T16" fmla="*/ 38 w 78"/>
                  <a:gd name="T17" fmla="*/ 20 h 116"/>
                  <a:gd name="T18" fmla="*/ 31 w 78"/>
                  <a:gd name="T19" fmla="*/ 17 h 116"/>
                  <a:gd name="T20" fmla="*/ 27 w 78"/>
                  <a:gd name="T21" fmla="*/ 5 h 116"/>
                  <a:gd name="T22" fmla="*/ 21 w 78"/>
                  <a:gd name="T23" fmla="*/ 3 h 116"/>
                  <a:gd name="T24" fmla="*/ 19 w 78"/>
                  <a:gd name="T25" fmla="*/ 0 h 116"/>
                  <a:gd name="T26" fmla="*/ 17 w 78"/>
                  <a:gd name="T27" fmla="*/ 1 h 116"/>
                  <a:gd name="T28" fmla="*/ 12 w 78"/>
                  <a:gd name="T29" fmla="*/ 5 h 116"/>
                  <a:gd name="T30" fmla="*/ 0 w 78"/>
                  <a:gd name="T31" fmla="*/ 9 h 116"/>
                  <a:gd name="T32" fmla="*/ 4 w 78"/>
                  <a:gd name="T33" fmla="*/ 19 h 116"/>
                  <a:gd name="T34" fmla="*/ 12 w 78"/>
                  <a:gd name="T35" fmla="*/ 17 h 116"/>
                  <a:gd name="T36" fmla="*/ 19 w 78"/>
                  <a:gd name="T37" fmla="*/ 17 h 116"/>
                  <a:gd name="T38" fmla="*/ 8 w 78"/>
                  <a:gd name="T39" fmla="*/ 22 h 116"/>
                  <a:gd name="T40" fmla="*/ 8 w 78"/>
                  <a:gd name="T41" fmla="*/ 26 h 116"/>
                  <a:gd name="T42" fmla="*/ 12 w 78"/>
                  <a:gd name="T43" fmla="*/ 36 h 116"/>
                  <a:gd name="T44" fmla="*/ 23 w 78"/>
                  <a:gd name="T45" fmla="*/ 32 h 116"/>
                  <a:gd name="T46" fmla="*/ 23 w 78"/>
                  <a:gd name="T47" fmla="*/ 34 h 116"/>
                  <a:gd name="T48" fmla="*/ 15 w 78"/>
                  <a:gd name="T49" fmla="*/ 39 h 116"/>
                  <a:gd name="T50" fmla="*/ 19 w 78"/>
                  <a:gd name="T51" fmla="*/ 43 h 116"/>
                  <a:gd name="T52" fmla="*/ 23 w 78"/>
                  <a:gd name="T53" fmla="*/ 45 h 116"/>
                  <a:gd name="T54" fmla="*/ 33 w 78"/>
                  <a:gd name="T55" fmla="*/ 47 h 116"/>
                  <a:gd name="T56" fmla="*/ 34 w 78"/>
                  <a:gd name="T57" fmla="*/ 53 h 116"/>
                  <a:gd name="T58" fmla="*/ 33 w 78"/>
                  <a:gd name="T59" fmla="*/ 49 h 116"/>
                  <a:gd name="T60" fmla="*/ 23 w 78"/>
                  <a:gd name="T61" fmla="*/ 47 h 116"/>
                  <a:gd name="T62" fmla="*/ 15 w 78"/>
                  <a:gd name="T63" fmla="*/ 51 h 116"/>
                  <a:gd name="T64" fmla="*/ 25 w 78"/>
                  <a:gd name="T65" fmla="*/ 55 h 116"/>
                  <a:gd name="T66" fmla="*/ 34 w 78"/>
                  <a:gd name="T67" fmla="*/ 81 h 116"/>
                  <a:gd name="T68" fmla="*/ 31 w 78"/>
                  <a:gd name="T69" fmla="*/ 87 h 116"/>
                  <a:gd name="T70" fmla="*/ 40 w 78"/>
                  <a:gd name="T71" fmla="*/ 98 h 116"/>
                  <a:gd name="T72" fmla="*/ 44 w 78"/>
                  <a:gd name="T73" fmla="*/ 104 h 116"/>
                  <a:gd name="T74" fmla="*/ 50 w 78"/>
                  <a:gd name="T75" fmla="*/ 114 h 116"/>
                  <a:gd name="T76" fmla="*/ 59 w 78"/>
                  <a:gd name="T77" fmla="*/ 110 h 116"/>
                  <a:gd name="T78" fmla="*/ 65 w 78"/>
                  <a:gd name="T79" fmla="*/ 110 h 116"/>
                  <a:gd name="T80" fmla="*/ 71 w 78"/>
                  <a:gd name="T81" fmla="*/ 106 h 116"/>
                  <a:gd name="T82" fmla="*/ 73 w 78"/>
                  <a:gd name="T83" fmla="*/ 98 h 116"/>
                  <a:gd name="T84" fmla="*/ 73 w 78"/>
                  <a:gd name="T85" fmla="*/ 95 h 116"/>
                  <a:gd name="T86" fmla="*/ 73 w 78"/>
                  <a:gd name="T87" fmla="*/ 85 h 116"/>
                  <a:gd name="T88" fmla="*/ 76 w 78"/>
                  <a:gd name="T89" fmla="*/ 76 h 116"/>
                  <a:gd name="T90" fmla="*/ 74 w 78"/>
                  <a:gd name="T91" fmla="*/ 74 h 116"/>
                  <a:gd name="T92" fmla="*/ 71 w 78"/>
                  <a:gd name="T93" fmla="*/ 68 h 116"/>
                  <a:gd name="T94" fmla="*/ 74 w 78"/>
                  <a:gd name="T95" fmla="*/ 66 h 116"/>
                  <a:gd name="T96" fmla="*/ 78 w 78"/>
                  <a:gd name="T97" fmla="*/ 62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8" h="116">
                    <a:moveTo>
                      <a:pt x="78" y="59"/>
                    </a:moveTo>
                    <a:lnTo>
                      <a:pt x="78" y="57"/>
                    </a:lnTo>
                    <a:lnTo>
                      <a:pt x="76" y="57"/>
                    </a:lnTo>
                    <a:lnTo>
                      <a:pt x="76" y="55"/>
                    </a:lnTo>
                    <a:lnTo>
                      <a:pt x="73" y="51"/>
                    </a:lnTo>
                    <a:lnTo>
                      <a:pt x="73" y="51"/>
                    </a:lnTo>
                    <a:lnTo>
                      <a:pt x="73" y="49"/>
                    </a:lnTo>
                    <a:lnTo>
                      <a:pt x="73" y="49"/>
                    </a:lnTo>
                    <a:lnTo>
                      <a:pt x="73" y="47"/>
                    </a:lnTo>
                    <a:lnTo>
                      <a:pt x="73" y="47"/>
                    </a:lnTo>
                    <a:lnTo>
                      <a:pt x="73" y="45"/>
                    </a:lnTo>
                    <a:lnTo>
                      <a:pt x="73" y="43"/>
                    </a:lnTo>
                    <a:lnTo>
                      <a:pt x="71" y="43"/>
                    </a:lnTo>
                    <a:lnTo>
                      <a:pt x="71" y="41"/>
                    </a:lnTo>
                    <a:lnTo>
                      <a:pt x="69" y="39"/>
                    </a:lnTo>
                    <a:lnTo>
                      <a:pt x="71" y="38"/>
                    </a:lnTo>
                    <a:lnTo>
                      <a:pt x="73" y="36"/>
                    </a:lnTo>
                    <a:lnTo>
                      <a:pt x="73" y="34"/>
                    </a:lnTo>
                    <a:lnTo>
                      <a:pt x="73" y="32"/>
                    </a:lnTo>
                    <a:lnTo>
                      <a:pt x="71" y="24"/>
                    </a:lnTo>
                    <a:lnTo>
                      <a:pt x="71" y="20"/>
                    </a:lnTo>
                    <a:lnTo>
                      <a:pt x="69" y="20"/>
                    </a:lnTo>
                    <a:lnTo>
                      <a:pt x="69" y="19"/>
                    </a:lnTo>
                    <a:lnTo>
                      <a:pt x="65" y="17"/>
                    </a:lnTo>
                    <a:lnTo>
                      <a:pt x="63" y="17"/>
                    </a:lnTo>
                    <a:lnTo>
                      <a:pt x="61" y="17"/>
                    </a:lnTo>
                    <a:lnTo>
                      <a:pt x="61" y="17"/>
                    </a:lnTo>
                    <a:lnTo>
                      <a:pt x="59" y="17"/>
                    </a:lnTo>
                    <a:lnTo>
                      <a:pt x="59" y="19"/>
                    </a:lnTo>
                    <a:lnTo>
                      <a:pt x="57" y="19"/>
                    </a:lnTo>
                    <a:lnTo>
                      <a:pt x="55" y="19"/>
                    </a:lnTo>
                    <a:lnTo>
                      <a:pt x="54" y="19"/>
                    </a:lnTo>
                    <a:lnTo>
                      <a:pt x="54" y="19"/>
                    </a:lnTo>
                    <a:lnTo>
                      <a:pt x="48" y="19"/>
                    </a:lnTo>
                    <a:lnTo>
                      <a:pt x="40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6" y="20"/>
                    </a:lnTo>
                    <a:lnTo>
                      <a:pt x="33" y="19"/>
                    </a:lnTo>
                    <a:lnTo>
                      <a:pt x="31" y="17"/>
                    </a:lnTo>
                    <a:lnTo>
                      <a:pt x="31" y="15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5" y="5"/>
                    </a:lnTo>
                    <a:lnTo>
                      <a:pt x="23" y="3"/>
                    </a:lnTo>
                    <a:lnTo>
                      <a:pt x="21" y="3"/>
                    </a:lnTo>
                    <a:lnTo>
                      <a:pt x="21" y="3"/>
                    </a:lnTo>
                    <a:lnTo>
                      <a:pt x="19" y="3"/>
                    </a:lnTo>
                    <a:lnTo>
                      <a:pt x="19" y="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1"/>
                    </a:lnTo>
                    <a:lnTo>
                      <a:pt x="15" y="3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4" y="19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12" y="17"/>
                    </a:lnTo>
                    <a:lnTo>
                      <a:pt x="12" y="17"/>
                    </a:lnTo>
                    <a:lnTo>
                      <a:pt x="13" y="15"/>
                    </a:lnTo>
                    <a:lnTo>
                      <a:pt x="15" y="15"/>
                    </a:lnTo>
                    <a:lnTo>
                      <a:pt x="19" y="15"/>
                    </a:lnTo>
                    <a:lnTo>
                      <a:pt x="19" y="17"/>
                    </a:lnTo>
                    <a:lnTo>
                      <a:pt x="13" y="17"/>
                    </a:lnTo>
                    <a:lnTo>
                      <a:pt x="10" y="19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6" y="24"/>
                    </a:lnTo>
                    <a:lnTo>
                      <a:pt x="8" y="26"/>
                    </a:lnTo>
                    <a:lnTo>
                      <a:pt x="8" y="28"/>
                    </a:lnTo>
                    <a:lnTo>
                      <a:pt x="10" y="32"/>
                    </a:lnTo>
                    <a:lnTo>
                      <a:pt x="10" y="34"/>
                    </a:lnTo>
                    <a:lnTo>
                      <a:pt x="12" y="36"/>
                    </a:lnTo>
                    <a:lnTo>
                      <a:pt x="13" y="38"/>
                    </a:lnTo>
                    <a:lnTo>
                      <a:pt x="15" y="36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4"/>
                    </a:lnTo>
                    <a:lnTo>
                      <a:pt x="23" y="34"/>
                    </a:lnTo>
                    <a:lnTo>
                      <a:pt x="23" y="34"/>
                    </a:lnTo>
                    <a:lnTo>
                      <a:pt x="19" y="36"/>
                    </a:lnTo>
                    <a:lnTo>
                      <a:pt x="17" y="36"/>
                    </a:lnTo>
                    <a:lnTo>
                      <a:pt x="15" y="38"/>
                    </a:lnTo>
                    <a:lnTo>
                      <a:pt x="15" y="39"/>
                    </a:lnTo>
                    <a:lnTo>
                      <a:pt x="13" y="41"/>
                    </a:lnTo>
                    <a:lnTo>
                      <a:pt x="15" y="43"/>
                    </a:lnTo>
                    <a:lnTo>
                      <a:pt x="15" y="41"/>
                    </a:lnTo>
                    <a:lnTo>
                      <a:pt x="19" y="43"/>
                    </a:lnTo>
                    <a:lnTo>
                      <a:pt x="21" y="43"/>
                    </a:lnTo>
                    <a:lnTo>
                      <a:pt x="21" y="43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5" y="43"/>
                    </a:lnTo>
                    <a:lnTo>
                      <a:pt x="25" y="45"/>
                    </a:lnTo>
                    <a:lnTo>
                      <a:pt x="31" y="47"/>
                    </a:lnTo>
                    <a:lnTo>
                      <a:pt x="33" y="47"/>
                    </a:lnTo>
                    <a:lnTo>
                      <a:pt x="34" y="51"/>
                    </a:lnTo>
                    <a:lnTo>
                      <a:pt x="36" y="53"/>
                    </a:lnTo>
                    <a:lnTo>
                      <a:pt x="36" y="53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33" y="51"/>
                    </a:lnTo>
                    <a:lnTo>
                      <a:pt x="33" y="49"/>
                    </a:lnTo>
                    <a:lnTo>
                      <a:pt x="27" y="47"/>
                    </a:lnTo>
                    <a:lnTo>
                      <a:pt x="25" y="49"/>
                    </a:lnTo>
                    <a:lnTo>
                      <a:pt x="23" y="49"/>
                    </a:lnTo>
                    <a:lnTo>
                      <a:pt x="23" y="47"/>
                    </a:lnTo>
                    <a:lnTo>
                      <a:pt x="21" y="49"/>
                    </a:lnTo>
                    <a:lnTo>
                      <a:pt x="19" y="49"/>
                    </a:lnTo>
                    <a:lnTo>
                      <a:pt x="13" y="47"/>
                    </a:lnTo>
                    <a:lnTo>
                      <a:pt x="15" y="51"/>
                    </a:lnTo>
                    <a:lnTo>
                      <a:pt x="19" y="53"/>
                    </a:lnTo>
                    <a:lnTo>
                      <a:pt x="21" y="55"/>
                    </a:lnTo>
                    <a:lnTo>
                      <a:pt x="23" y="55"/>
                    </a:lnTo>
                    <a:lnTo>
                      <a:pt x="25" y="55"/>
                    </a:lnTo>
                    <a:lnTo>
                      <a:pt x="27" y="57"/>
                    </a:lnTo>
                    <a:lnTo>
                      <a:pt x="33" y="79"/>
                    </a:lnTo>
                    <a:lnTo>
                      <a:pt x="34" y="79"/>
                    </a:lnTo>
                    <a:lnTo>
                      <a:pt x="34" y="81"/>
                    </a:lnTo>
                    <a:lnTo>
                      <a:pt x="34" y="81"/>
                    </a:lnTo>
                    <a:lnTo>
                      <a:pt x="33" y="83"/>
                    </a:lnTo>
                    <a:lnTo>
                      <a:pt x="31" y="85"/>
                    </a:lnTo>
                    <a:lnTo>
                      <a:pt x="31" y="87"/>
                    </a:lnTo>
                    <a:lnTo>
                      <a:pt x="29" y="91"/>
                    </a:lnTo>
                    <a:lnTo>
                      <a:pt x="36" y="93"/>
                    </a:lnTo>
                    <a:lnTo>
                      <a:pt x="36" y="93"/>
                    </a:lnTo>
                    <a:lnTo>
                      <a:pt x="40" y="98"/>
                    </a:lnTo>
                    <a:lnTo>
                      <a:pt x="40" y="100"/>
                    </a:lnTo>
                    <a:lnTo>
                      <a:pt x="42" y="100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4" y="108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2" y="116"/>
                    </a:lnTo>
                    <a:lnTo>
                      <a:pt x="55" y="114"/>
                    </a:lnTo>
                    <a:lnTo>
                      <a:pt x="59" y="110"/>
                    </a:lnTo>
                    <a:lnTo>
                      <a:pt x="59" y="110"/>
                    </a:lnTo>
                    <a:lnTo>
                      <a:pt x="59" y="110"/>
                    </a:lnTo>
                    <a:lnTo>
                      <a:pt x="63" y="110"/>
                    </a:lnTo>
                    <a:lnTo>
                      <a:pt x="65" y="110"/>
                    </a:lnTo>
                    <a:lnTo>
                      <a:pt x="67" y="110"/>
                    </a:lnTo>
                    <a:lnTo>
                      <a:pt x="69" y="108"/>
                    </a:lnTo>
                    <a:lnTo>
                      <a:pt x="71" y="106"/>
                    </a:lnTo>
                    <a:lnTo>
                      <a:pt x="71" y="106"/>
                    </a:lnTo>
                    <a:lnTo>
                      <a:pt x="71" y="106"/>
                    </a:lnTo>
                    <a:lnTo>
                      <a:pt x="71" y="104"/>
                    </a:lnTo>
                    <a:lnTo>
                      <a:pt x="73" y="100"/>
                    </a:lnTo>
                    <a:lnTo>
                      <a:pt x="73" y="98"/>
                    </a:lnTo>
                    <a:lnTo>
                      <a:pt x="73" y="98"/>
                    </a:lnTo>
                    <a:lnTo>
                      <a:pt x="73" y="97"/>
                    </a:lnTo>
                    <a:lnTo>
                      <a:pt x="73" y="95"/>
                    </a:lnTo>
                    <a:lnTo>
                      <a:pt x="73" y="95"/>
                    </a:lnTo>
                    <a:lnTo>
                      <a:pt x="73" y="91"/>
                    </a:lnTo>
                    <a:lnTo>
                      <a:pt x="73" y="89"/>
                    </a:lnTo>
                    <a:lnTo>
                      <a:pt x="73" y="89"/>
                    </a:lnTo>
                    <a:lnTo>
                      <a:pt x="73" y="85"/>
                    </a:lnTo>
                    <a:lnTo>
                      <a:pt x="73" y="85"/>
                    </a:lnTo>
                    <a:lnTo>
                      <a:pt x="76" y="79"/>
                    </a:lnTo>
                    <a:lnTo>
                      <a:pt x="76" y="78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76" y="74"/>
                    </a:lnTo>
                    <a:lnTo>
                      <a:pt x="74" y="74"/>
                    </a:lnTo>
                    <a:lnTo>
                      <a:pt x="71" y="72"/>
                    </a:lnTo>
                    <a:lnTo>
                      <a:pt x="71" y="70"/>
                    </a:lnTo>
                    <a:lnTo>
                      <a:pt x="71" y="70"/>
                    </a:lnTo>
                    <a:lnTo>
                      <a:pt x="71" y="68"/>
                    </a:lnTo>
                    <a:lnTo>
                      <a:pt x="71" y="68"/>
                    </a:lnTo>
                    <a:lnTo>
                      <a:pt x="71" y="68"/>
                    </a:lnTo>
                    <a:lnTo>
                      <a:pt x="71" y="68"/>
                    </a:lnTo>
                    <a:lnTo>
                      <a:pt x="74" y="66"/>
                    </a:lnTo>
                    <a:lnTo>
                      <a:pt x="76" y="66"/>
                    </a:lnTo>
                    <a:lnTo>
                      <a:pt x="78" y="66"/>
                    </a:lnTo>
                    <a:lnTo>
                      <a:pt x="78" y="64"/>
                    </a:lnTo>
                    <a:lnTo>
                      <a:pt x="78" y="62"/>
                    </a:lnTo>
                    <a:lnTo>
                      <a:pt x="78" y="5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9" name="Freeform 31">
                <a:extLst>
                  <a:ext uri="{FF2B5EF4-FFF2-40B4-BE49-F238E27FC236}">
                    <a16:creationId xmlns:a16="http://schemas.microsoft.com/office/drawing/2014/main" id="{114E5C18-6148-4FD8-A58F-ABB6497E73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56232" y="5164611"/>
                <a:ext cx="377825" cy="77788"/>
              </a:xfrm>
              <a:custGeom>
                <a:avLst/>
                <a:gdLst>
                  <a:gd name="T0" fmla="*/ 238 w 238"/>
                  <a:gd name="T1" fmla="*/ 40 h 49"/>
                  <a:gd name="T2" fmla="*/ 236 w 238"/>
                  <a:gd name="T3" fmla="*/ 38 h 49"/>
                  <a:gd name="T4" fmla="*/ 234 w 238"/>
                  <a:gd name="T5" fmla="*/ 36 h 49"/>
                  <a:gd name="T6" fmla="*/ 234 w 238"/>
                  <a:gd name="T7" fmla="*/ 36 h 49"/>
                  <a:gd name="T8" fmla="*/ 234 w 238"/>
                  <a:gd name="T9" fmla="*/ 38 h 49"/>
                  <a:gd name="T10" fmla="*/ 232 w 238"/>
                  <a:gd name="T11" fmla="*/ 40 h 49"/>
                  <a:gd name="T12" fmla="*/ 230 w 238"/>
                  <a:gd name="T13" fmla="*/ 44 h 49"/>
                  <a:gd name="T14" fmla="*/ 230 w 238"/>
                  <a:gd name="T15" fmla="*/ 48 h 49"/>
                  <a:gd name="T16" fmla="*/ 230 w 238"/>
                  <a:gd name="T17" fmla="*/ 49 h 49"/>
                  <a:gd name="T18" fmla="*/ 230 w 238"/>
                  <a:gd name="T19" fmla="*/ 49 h 49"/>
                  <a:gd name="T20" fmla="*/ 234 w 238"/>
                  <a:gd name="T21" fmla="*/ 49 h 49"/>
                  <a:gd name="T22" fmla="*/ 236 w 238"/>
                  <a:gd name="T23" fmla="*/ 48 h 49"/>
                  <a:gd name="T24" fmla="*/ 238 w 238"/>
                  <a:gd name="T25" fmla="*/ 48 h 49"/>
                  <a:gd name="T26" fmla="*/ 238 w 238"/>
                  <a:gd name="T27" fmla="*/ 44 h 49"/>
                  <a:gd name="T28" fmla="*/ 238 w 238"/>
                  <a:gd name="T29" fmla="*/ 40 h 49"/>
                  <a:gd name="T30" fmla="*/ 2 w 238"/>
                  <a:gd name="T31" fmla="*/ 0 h 49"/>
                  <a:gd name="T32" fmla="*/ 0 w 238"/>
                  <a:gd name="T33" fmla="*/ 0 h 49"/>
                  <a:gd name="T34" fmla="*/ 0 w 238"/>
                  <a:gd name="T35" fmla="*/ 2 h 49"/>
                  <a:gd name="T36" fmla="*/ 0 w 238"/>
                  <a:gd name="T37" fmla="*/ 2 h 49"/>
                  <a:gd name="T38" fmla="*/ 0 w 238"/>
                  <a:gd name="T39" fmla="*/ 4 h 49"/>
                  <a:gd name="T40" fmla="*/ 0 w 238"/>
                  <a:gd name="T41" fmla="*/ 4 h 49"/>
                  <a:gd name="T42" fmla="*/ 0 w 238"/>
                  <a:gd name="T43" fmla="*/ 4 h 49"/>
                  <a:gd name="T44" fmla="*/ 3 w 238"/>
                  <a:gd name="T45" fmla="*/ 2 h 49"/>
                  <a:gd name="T46" fmla="*/ 3 w 238"/>
                  <a:gd name="T47" fmla="*/ 0 h 49"/>
                  <a:gd name="T48" fmla="*/ 3 w 238"/>
                  <a:gd name="T49" fmla="*/ 0 h 49"/>
                  <a:gd name="T50" fmla="*/ 2 w 238"/>
                  <a:gd name="T51" fmla="*/ 0 h 49"/>
                  <a:gd name="T52" fmla="*/ 2 w 238"/>
                  <a:gd name="T5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8" h="49">
                    <a:moveTo>
                      <a:pt x="238" y="40"/>
                    </a:moveTo>
                    <a:lnTo>
                      <a:pt x="236" y="38"/>
                    </a:lnTo>
                    <a:lnTo>
                      <a:pt x="234" y="36"/>
                    </a:lnTo>
                    <a:lnTo>
                      <a:pt x="234" y="36"/>
                    </a:lnTo>
                    <a:lnTo>
                      <a:pt x="234" y="38"/>
                    </a:lnTo>
                    <a:lnTo>
                      <a:pt x="232" y="40"/>
                    </a:lnTo>
                    <a:lnTo>
                      <a:pt x="230" y="44"/>
                    </a:lnTo>
                    <a:lnTo>
                      <a:pt x="230" y="48"/>
                    </a:lnTo>
                    <a:lnTo>
                      <a:pt x="230" y="49"/>
                    </a:lnTo>
                    <a:lnTo>
                      <a:pt x="230" y="49"/>
                    </a:lnTo>
                    <a:lnTo>
                      <a:pt x="234" y="49"/>
                    </a:lnTo>
                    <a:lnTo>
                      <a:pt x="236" y="48"/>
                    </a:lnTo>
                    <a:lnTo>
                      <a:pt x="238" y="48"/>
                    </a:lnTo>
                    <a:lnTo>
                      <a:pt x="238" y="44"/>
                    </a:lnTo>
                    <a:lnTo>
                      <a:pt x="238" y="40"/>
                    </a:lnTo>
                    <a:close/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0" name="Freeform 32">
                <a:extLst>
                  <a:ext uri="{FF2B5EF4-FFF2-40B4-BE49-F238E27FC236}">
                    <a16:creationId xmlns:a16="http://schemas.microsoft.com/office/drawing/2014/main" id="{4E11076E-EFBA-4C2D-8A05-AD662A6EC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232" y="5251924"/>
                <a:ext cx="53975" cy="63500"/>
              </a:xfrm>
              <a:custGeom>
                <a:avLst/>
                <a:gdLst>
                  <a:gd name="T0" fmla="*/ 34 w 34"/>
                  <a:gd name="T1" fmla="*/ 21 h 40"/>
                  <a:gd name="T2" fmla="*/ 29 w 34"/>
                  <a:gd name="T3" fmla="*/ 19 h 40"/>
                  <a:gd name="T4" fmla="*/ 27 w 34"/>
                  <a:gd name="T5" fmla="*/ 21 h 40"/>
                  <a:gd name="T6" fmla="*/ 27 w 34"/>
                  <a:gd name="T7" fmla="*/ 23 h 40"/>
                  <a:gd name="T8" fmla="*/ 27 w 34"/>
                  <a:gd name="T9" fmla="*/ 25 h 40"/>
                  <a:gd name="T10" fmla="*/ 25 w 34"/>
                  <a:gd name="T11" fmla="*/ 25 h 40"/>
                  <a:gd name="T12" fmla="*/ 21 w 34"/>
                  <a:gd name="T13" fmla="*/ 25 h 40"/>
                  <a:gd name="T14" fmla="*/ 19 w 34"/>
                  <a:gd name="T15" fmla="*/ 23 h 40"/>
                  <a:gd name="T16" fmla="*/ 17 w 34"/>
                  <a:gd name="T17" fmla="*/ 17 h 40"/>
                  <a:gd name="T18" fmla="*/ 17 w 34"/>
                  <a:gd name="T19" fmla="*/ 17 h 40"/>
                  <a:gd name="T20" fmla="*/ 19 w 34"/>
                  <a:gd name="T21" fmla="*/ 15 h 40"/>
                  <a:gd name="T22" fmla="*/ 27 w 34"/>
                  <a:gd name="T23" fmla="*/ 10 h 40"/>
                  <a:gd name="T24" fmla="*/ 29 w 34"/>
                  <a:gd name="T25" fmla="*/ 8 h 40"/>
                  <a:gd name="T26" fmla="*/ 29 w 34"/>
                  <a:gd name="T27" fmla="*/ 6 h 40"/>
                  <a:gd name="T28" fmla="*/ 27 w 34"/>
                  <a:gd name="T29" fmla="*/ 6 h 40"/>
                  <a:gd name="T30" fmla="*/ 25 w 34"/>
                  <a:gd name="T31" fmla="*/ 6 h 40"/>
                  <a:gd name="T32" fmla="*/ 23 w 34"/>
                  <a:gd name="T33" fmla="*/ 6 h 40"/>
                  <a:gd name="T34" fmla="*/ 23 w 34"/>
                  <a:gd name="T35" fmla="*/ 4 h 40"/>
                  <a:gd name="T36" fmla="*/ 23 w 34"/>
                  <a:gd name="T37" fmla="*/ 0 h 40"/>
                  <a:gd name="T38" fmla="*/ 21 w 34"/>
                  <a:gd name="T39" fmla="*/ 0 h 40"/>
                  <a:gd name="T40" fmla="*/ 19 w 34"/>
                  <a:gd name="T41" fmla="*/ 0 h 40"/>
                  <a:gd name="T42" fmla="*/ 13 w 34"/>
                  <a:gd name="T43" fmla="*/ 6 h 40"/>
                  <a:gd name="T44" fmla="*/ 11 w 34"/>
                  <a:gd name="T45" fmla="*/ 6 h 40"/>
                  <a:gd name="T46" fmla="*/ 9 w 34"/>
                  <a:gd name="T47" fmla="*/ 4 h 40"/>
                  <a:gd name="T48" fmla="*/ 8 w 34"/>
                  <a:gd name="T49" fmla="*/ 6 h 40"/>
                  <a:gd name="T50" fmla="*/ 6 w 34"/>
                  <a:gd name="T51" fmla="*/ 10 h 40"/>
                  <a:gd name="T52" fmla="*/ 4 w 34"/>
                  <a:gd name="T53" fmla="*/ 10 h 40"/>
                  <a:gd name="T54" fmla="*/ 2 w 34"/>
                  <a:gd name="T55" fmla="*/ 10 h 40"/>
                  <a:gd name="T56" fmla="*/ 0 w 34"/>
                  <a:gd name="T57" fmla="*/ 12 h 40"/>
                  <a:gd name="T58" fmla="*/ 0 w 34"/>
                  <a:gd name="T59" fmla="*/ 12 h 40"/>
                  <a:gd name="T60" fmla="*/ 0 w 34"/>
                  <a:gd name="T61" fmla="*/ 14 h 40"/>
                  <a:gd name="T62" fmla="*/ 2 w 34"/>
                  <a:gd name="T63" fmla="*/ 15 h 40"/>
                  <a:gd name="T64" fmla="*/ 4 w 34"/>
                  <a:gd name="T65" fmla="*/ 17 h 40"/>
                  <a:gd name="T66" fmla="*/ 6 w 34"/>
                  <a:gd name="T67" fmla="*/ 19 h 40"/>
                  <a:gd name="T68" fmla="*/ 6 w 34"/>
                  <a:gd name="T69" fmla="*/ 25 h 40"/>
                  <a:gd name="T70" fmla="*/ 9 w 34"/>
                  <a:gd name="T71" fmla="*/ 33 h 40"/>
                  <a:gd name="T72" fmla="*/ 11 w 34"/>
                  <a:gd name="T73" fmla="*/ 38 h 40"/>
                  <a:gd name="T74" fmla="*/ 13 w 34"/>
                  <a:gd name="T75" fmla="*/ 38 h 40"/>
                  <a:gd name="T76" fmla="*/ 15 w 34"/>
                  <a:gd name="T77" fmla="*/ 38 h 40"/>
                  <a:gd name="T78" fmla="*/ 19 w 34"/>
                  <a:gd name="T79" fmla="*/ 36 h 40"/>
                  <a:gd name="T80" fmla="*/ 21 w 34"/>
                  <a:gd name="T81" fmla="*/ 38 h 40"/>
                  <a:gd name="T82" fmla="*/ 21 w 34"/>
                  <a:gd name="T83" fmla="*/ 38 h 40"/>
                  <a:gd name="T84" fmla="*/ 23 w 34"/>
                  <a:gd name="T85" fmla="*/ 38 h 40"/>
                  <a:gd name="T86" fmla="*/ 25 w 34"/>
                  <a:gd name="T87" fmla="*/ 36 h 40"/>
                  <a:gd name="T88" fmla="*/ 27 w 34"/>
                  <a:gd name="T89" fmla="*/ 36 h 40"/>
                  <a:gd name="T90" fmla="*/ 29 w 34"/>
                  <a:gd name="T91" fmla="*/ 38 h 40"/>
                  <a:gd name="T92" fmla="*/ 32 w 34"/>
                  <a:gd name="T93" fmla="*/ 40 h 40"/>
                  <a:gd name="T94" fmla="*/ 32 w 34"/>
                  <a:gd name="T95" fmla="*/ 40 h 40"/>
                  <a:gd name="T96" fmla="*/ 34 w 34"/>
                  <a:gd name="T97" fmla="*/ 36 h 40"/>
                  <a:gd name="T98" fmla="*/ 34 w 34"/>
                  <a:gd name="T99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40">
                    <a:moveTo>
                      <a:pt x="34" y="23"/>
                    </a:moveTo>
                    <a:lnTo>
                      <a:pt x="34" y="21"/>
                    </a:lnTo>
                    <a:lnTo>
                      <a:pt x="32" y="21"/>
                    </a:lnTo>
                    <a:lnTo>
                      <a:pt x="29" y="19"/>
                    </a:lnTo>
                    <a:lnTo>
                      <a:pt x="29" y="19"/>
                    </a:lnTo>
                    <a:lnTo>
                      <a:pt x="27" y="21"/>
                    </a:lnTo>
                    <a:lnTo>
                      <a:pt x="27" y="21"/>
                    </a:lnTo>
                    <a:lnTo>
                      <a:pt x="27" y="23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9" y="23"/>
                    </a:lnTo>
                    <a:lnTo>
                      <a:pt x="17" y="19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27" y="10"/>
                    </a:lnTo>
                    <a:lnTo>
                      <a:pt x="29" y="10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6"/>
                    </a:lnTo>
                    <a:lnTo>
                      <a:pt x="29" y="6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3" y="6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2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15" y="4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6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8" y="6"/>
                    </a:lnTo>
                    <a:lnTo>
                      <a:pt x="8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6" y="21"/>
                    </a:lnTo>
                    <a:lnTo>
                      <a:pt x="6" y="25"/>
                    </a:lnTo>
                    <a:lnTo>
                      <a:pt x="8" y="27"/>
                    </a:lnTo>
                    <a:lnTo>
                      <a:pt x="9" y="33"/>
                    </a:lnTo>
                    <a:lnTo>
                      <a:pt x="11" y="36"/>
                    </a:lnTo>
                    <a:lnTo>
                      <a:pt x="11" y="38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15" y="38"/>
                    </a:lnTo>
                    <a:lnTo>
                      <a:pt x="15" y="38"/>
                    </a:lnTo>
                    <a:lnTo>
                      <a:pt x="17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1" y="38"/>
                    </a:lnTo>
                    <a:lnTo>
                      <a:pt x="21" y="38"/>
                    </a:lnTo>
                    <a:lnTo>
                      <a:pt x="21" y="38"/>
                    </a:lnTo>
                    <a:lnTo>
                      <a:pt x="23" y="38"/>
                    </a:lnTo>
                    <a:lnTo>
                      <a:pt x="23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30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4" y="38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4" y="29"/>
                    </a:lnTo>
                    <a:lnTo>
                      <a:pt x="34" y="23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1" name="Freeform 33">
                <a:extLst>
                  <a:ext uri="{FF2B5EF4-FFF2-40B4-BE49-F238E27FC236}">
                    <a16:creationId xmlns:a16="http://schemas.microsoft.com/office/drawing/2014/main" id="{C2D4216C-0A54-44F3-8482-447B129B0D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669" y="4434361"/>
                <a:ext cx="814388" cy="1355725"/>
              </a:xfrm>
              <a:custGeom>
                <a:avLst/>
                <a:gdLst>
                  <a:gd name="T0" fmla="*/ 488 w 513"/>
                  <a:gd name="T1" fmla="*/ 152 h 854"/>
                  <a:gd name="T2" fmla="*/ 471 w 513"/>
                  <a:gd name="T3" fmla="*/ 131 h 854"/>
                  <a:gd name="T4" fmla="*/ 463 w 513"/>
                  <a:gd name="T5" fmla="*/ 93 h 854"/>
                  <a:gd name="T6" fmla="*/ 459 w 513"/>
                  <a:gd name="T7" fmla="*/ 70 h 854"/>
                  <a:gd name="T8" fmla="*/ 437 w 513"/>
                  <a:gd name="T9" fmla="*/ 74 h 854"/>
                  <a:gd name="T10" fmla="*/ 408 w 513"/>
                  <a:gd name="T11" fmla="*/ 9 h 854"/>
                  <a:gd name="T12" fmla="*/ 370 w 513"/>
                  <a:gd name="T13" fmla="*/ 26 h 854"/>
                  <a:gd name="T14" fmla="*/ 314 w 513"/>
                  <a:gd name="T15" fmla="*/ 28 h 854"/>
                  <a:gd name="T16" fmla="*/ 227 w 513"/>
                  <a:gd name="T17" fmla="*/ 47 h 854"/>
                  <a:gd name="T18" fmla="*/ 179 w 513"/>
                  <a:gd name="T19" fmla="*/ 59 h 854"/>
                  <a:gd name="T20" fmla="*/ 181 w 513"/>
                  <a:gd name="T21" fmla="*/ 85 h 854"/>
                  <a:gd name="T22" fmla="*/ 234 w 513"/>
                  <a:gd name="T23" fmla="*/ 108 h 854"/>
                  <a:gd name="T24" fmla="*/ 198 w 513"/>
                  <a:gd name="T25" fmla="*/ 173 h 854"/>
                  <a:gd name="T26" fmla="*/ 164 w 513"/>
                  <a:gd name="T27" fmla="*/ 218 h 854"/>
                  <a:gd name="T28" fmla="*/ 118 w 513"/>
                  <a:gd name="T29" fmla="*/ 230 h 854"/>
                  <a:gd name="T30" fmla="*/ 89 w 513"/>
                  <a:gd name="T31" fmla="*/ 275 h 854"/>
                  <a:gd name="T32" fmla="*/ 59 w 513"/>
                  <a:gd name="T33" fmla="*/ 327 h 854"/>
                  <a:gd name="T34" fmla="*/ 21 w 513"/>
                  <a:gd name="T35" fmla="*/ 422 h 854"/>
                  <a:gd name="T36" fmla="*/ 36 w 513"/>
                  <a:gd name="T37" fmla="*/ 454 h 854"/>
                  <a:gd name="T38" fmla="*/ 40 w 513"/>
                  <a:gd name="T39" fmla="*/ 477 h 854"/>
                  <a:gd name="T40" fmla="*/ 46 w 513"/>
                  <a:gd name="T41" fmla="*/ 513 h 854"/>
                  <a:gd name="T42" fmla="*/ 21 w 513"/>
                  <a:gd name="T43" fmla="*/ 540 h 854"/>
                  <a:gd name="T44" fmla="*/ 23 w 513"/>
                  <a:gd name="T45" fmla="*/ 568 h 854"/>
                  <a:gd name="T46" fmla="*/ 19 w 513"/>
                  <a:gd name="T47" fmla="*/ 588 h 854"/>
                  <a:gd name="T48" fmla="*/ 34 w 513"/>
                  <a:gd name="T49" fmla="*/ 586 h 854"/>
                  <a:gd name="T50" fmla="*/ 70 w 513"/>
                  <a:gd name="T51" fmla="*/ 620 h 854"/>
                  <a:gd name="T52" fmla="*/ 63 w 513"/>
                  <a:gd name="T53" fmla="*/ 652 h 854"/>
                  <a:gd name="T54" fmla="*/ 27 w 513"/>
                  <a:gd name="T55" fmla="*/ 648 h 854"/>
                  <a:gd name="T56" fmla="*/ 0 w 513"/>
                  <a:gd name="T57" fmla="*/ 724 h 854"/>
                  <a:gd name="T58" fmla="*/ 15 w 513"/>
                  <a:gd name="T59" fmla="*/ 744 h 854"/>
                  <a:gd name="T60" fmla="*/ 63 w 513"/>
                  <a:gd name="T61" fmla="*/ 789 h 854"/>
                  <a:gd name="T62" fmla="*/ 70 w 513"/>
                  <a:gd name="T63" fmla="*/ 797 h 854"/>
                  <a:gd name="T64" fmla="*/ 84 w 513"/>
                  <a:gd name="T65" fmla="*/ 816 h 854"/>
                  <a:gd name="T66" fmla="*/ 124 w 513"/>
                  <a:gd name="T67" fmla="*/ 850 h 854"/>
                  <a:gd name="T68" fmla="*/ 149 w 513"/>
                  <a:gd name="T69" fmla="*/ 837 h 854"/>
                  <a:gd name="T70" fmla="*/ 158 w 513"/>
                  <a:gd name="T71" fmla="*/ 802 h 854"/>
                  <a:gd name="T72" fmla="*/ 177 w 513"/>
                  <a:gd name="T73" fmla="*/ 780 h 854"/>
                  <a:gd name="T74" fmla="*/ 206 w 513"/>
                  <a:gd name="T75" fmla="*/ 744 h 854"/>
                  <a:gd name="T76" fmla="*/ 229 w 513"/>
                  <a:gd name="T77" fmla="*/ 723 h 854"/>
                  <a:gd name="T78" fmla="*/ 246 w 513"/>
                  <a:gd name="T79" fmla="*/ 704 h 854"/>
                  <a:gd name="T80" fmla="*/ 236 w 513"/>
                  <a:gd name="T81" fmla="*/ 660 h 854"/>
                  <a:gd name="T82" fmla="*/ 231 w 513"/>
                  <a:gd name="T83" fmla="*/ 633 h 854"/>
                  <a:gd name="T84" fmla="*/ 215 w 513"/>
                  <a:gd name="T85" fmla="*/ 588 h 854"/>
                  <a:gd name="T86" fmla="*/ 211 w 513"/>
                  <a:gd name="T87" fmla="*/ 546 h 854"/>
                  <a:gd name="T88" fmla="*/ 229 w 513"/>
                  <a:gd name="T89" fmla="*/ 553 h 854"/>
                  <a:gd name="T90" fmla="*/ 259 w 513"/>
                  <a:gd name="T91" fmla="*/ 578 h 854"/>
                  <a:gd name="T92" fmla="*/ 290 w 513"/>
                  <a:gd name="T93" fmla="*/ 589 h 854"/>
                  <a:gd name="T94" fmla="*/ 305 w 513"/>
                  <a:gd name="T95" fmla="*/ 563 h 854"/>
                  <a:gd name="T96" fmla="*/ 288 w 513"/>
                  <a:gd name="T97" fmla="*/ 555 h 854"/>
                  <a:gd name="T98" fmla="*/ 271 w 513"/>
                  <a:gd name="T99" fmla="*/ 502 h 854"/>
                  <a:gd name="T100" fmla="*/ 261 w 513"/>
                  <a:gd name="T101" fmla="*/ 487 h 854"/>
                  <a:gd name="T102" fmla="*/ 269 w 513"/>
                  <a:gd name="T103" fmla="*/ 443 h 854"/>
                  <a:gd name="T104" fmla="*/ 293 w 513"/>
                  <a:gd name="T105" fmla="*/ 422 h 854"/>
                  <a:gd name="T106" fmla="*/ 339 w 513"/>
                  <a:gd name="T107" fmla="*/ 401 h 854"/>
                  <a:gd name="T108" fmla="*/ 375 w 513"/>
                  <a:gd name="T109" fmla="*/ 386 h 854"/>
                  <a:gd name="T110" fmla="*/ 391 w 513"/>
                  <a:gd name="T111" fmla="*/ 373 h 854"/>
                  <a:gd name="T112" fmla="*/ 406 w 513"/>
                  <a:gd name="T113" fmla="*/ 317 h 854"/>
                  <a:gd name="T114" fmla="*/ 408 w 513"/>
                  <a:gd name="T115" fmla="*/ 296 h 854"/>
                  <a:gd name="T116" fmla="*/ 423 w 513"/>
                  <a:gd name="T117" fmla="*/ 260 h 854"/>
                  <a:gd name="T118" fmla="*/ 465 w 513"/>
                  <a:gd name="T119" fmla="*/ 218 h 854"/>
                  <a:gd name="T120" fmla="*/ 496 w 513"/>
                  <a:gd name="T121" fmla="*/ 188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13" h="854">
                    <a:moveTo>
                      <a:pt x="513" y="169"/>
                    </a:moveTo>
                    <a:lnTo>
                      <a:pt x="513" y="167"/>
                    </a:lnTo>
                    <a:lnTo>
                      <a:pt x="511" y="163"/>
                    </a:lnTo>
                    <a:lnTo>
                      <a:pt x="511" y="163"/>
                    </a:lnTo>
                    <a:lnTo>
                      <a:pt x="511" y="159"/>
                    </a:lnTo>
                    <a:lnTo>
                      <a:pt x="509" y="159"/>
                    </a:lnTo>
                    <a:lnTo>
                      <a:pt x="509" y="158"/>
                    </a:lnTo>
                    <a:lnTo>
                      <a:pt x="505" y="156"/>
                    </a:lnTo>
                    <a:lnTo>
                      <a:pt x="503" y="156"/>
                    </a:lnTo>
                    <a:lnTo>
                      <a:pt x="503" y="156"/>
                    </a:lnTo>
                    <a:lnTo>
                      <a:pt x="501" y="156"/>
                    </a:lnTo>
                    <a:lnTo>
                      <a:pt x="499" y="156"/>
                    </a:lnTo>
                    <a:lnTo>
                      <a:pt x="499" y="156"/>
                    </a:lnTo>
                    <a:lnTo>
                      <a:pt x="499" y="156"/>
                    </a:lnTo>
                    <a:lnTo>
                      <a:pt x="498" y="156"/>
                    </a:lnTo>
                    <a:lnTo>
                      <a:pt x="498" y="156"/>
                    </a:lnTo>
                    <a:lnTo>
                      <a:pt x="496" y="156"/>
                    </a:lnTo>
                    <a:lnTo>
                      <a:pt x="494" y="156"/>
                    </a:lnTo>
                    <a:lnTo>
                      <a:pt x="492" y="156"/>
                    </a:lnTo>
                    <a:lnTo>
                      <a:pt x="488" y="152"/>
                    </a:lnTo>
                    <a:lnTo>
                      <a:pt x="488" y="152"/>
                    </a:lnTo>
                    <a:lnTo>
                      <a:pt x="486" y="154"/>
                    </a:lnTo>
                    <a:lnTo>
                      <a:pt x="486" y="154"/>
                    </a:lnTo>
                    <a:lnTo>
                      <a:pt x="488" y="156"/>
                    </a:lnTo>
                    <a:lnTo>
                      <a:pt x="488" y="156"/>
                    </a:lnTo>
                    <a:lnTo>
                      <a:pt x="488" y="156"/>
                    </a:lnTo>
                    <a:lnTo>
                      <a:pt x="486" y="156"/>
                    </a:lnTo>
                    <a:lnTo>
                      <a:pt x="486" y="158"/>
                    </a:lnTo>
                    <a:lnTo>
                      <a:pt x="484" y="158"/>
                    </a:lnTo>
                    <a:lnTo>
                      <a:pt x="484" y="158"/>
                    </a:lnTo>
                    <a:lnTo>
                      <a:pt x="484" y="156"/>
                    </a:lnTo>
                    <a:lnTo>
                      <a:pt x="482" y="156"/>
                    </a:lnTo>
                    <a:lnTo>
                      <a:pt x="482" y="156"/>
                    </a:lnTo>
                    <a:lnTo>
                      <a:pt x="482" y="154"/>
                    </a:lnTo>
                    <a:lnTo>
                      <a:pt x="480" y="152"/>
                    </a:lnTo>
                    <a:lnTo>
                      <a:pt x="480" y="148"/>
                    </a:lnTo>
                    <a:lnTo>
                      <a:pt x="480" y="146"/>
                    </a:lnTo>
                    <a:lnTo>
                      <a:pt x="480" y="144"/>
                    </a:lnTo>
                    <a:lnTo>
                      <a:pt x="478" y="142"/>
                    </a:lnTo>
                    <a:lnTo>
                      <a:pt x="475" y="138"/>
                    </a:lnTo>
                    <a:lnTo>
                      <a:pt x="473" y="137"/>
                    </a:lnTo>
                    <a:lnTo>
                      <a:pt x="471" y="131"/>
                    </a:lnTo>
                    <a:lnTo>
                      <a:pt x="473" y="125"/>
                    </a:lnTo>
                    <a:lnTo>
                      <a:pt x="473" y="114"/>
                    </a:lnTo>
                    <a:lnTo>
                      <a:pt x="473" y="106"/>
                    </a:lnTo>
                    <a:lnTo>
                      <a:pt x="471" y="104"/>
                    </a:lnTo>
                    <a:lnTo>
                      <a:pt x="471" y="104"/>
                    </a:lnTo>
                    <a:lnTo>
                      <a:pt x="469" y="102"/>
                    </a:lnTo>
                    <a:lnTo>
                      <a:pt x="469" y="102"/>
                    </a:lnTo>
                    <a:lnTo>
                      <a:pt x="467" y="102"/>
                    </a:lnTo>
                    <a:lnTo>
                      <a:pt x="465" y="106"/>
                    </a:lnTo>
                    <a:lnTo>
                      <a:pt x="463" y="106"/>
                    </a:lnTo>
                    <a:lnTo>
                      <a:pt x="463" y="106"/>
                    </a:lnTo>
                    <a:lnTo>
                      <a:pt x="463" y="106"/>
                    </a:lnTo>
                    <a:lnTo>
                      <a:pt x="461" y="106"/>
                    </a:lnTo>
                    <a:lnTo>
                      <a:pt x="461" y="104"/>
                    </a:lnTo>
                    <a:lnTo>
                      <a:pt x="461" y="102"/>
                    </a:lnTo>
                    <a:lnTo>
                      <a:pt x="461" y="100"/>
                    </a:lnTo>
                    <a:lnTo>
                      <a:pt x="463" y="97"/>
                    </a:lnTo>
                    <a:lnTo>
                      <a:pt x="463" y="95"/>
                    </a:lnTo>
                    <a:lnTo>
                      <a:pt x="463" y="95"/>
                    </a:lnTo>
                    <a:lnTo>
                      <a:pt x="463" y="93"/>
                    </a:lnTo>
                    <a:lnTo>
                      <a:pt x="463" y="93"/>
                    </a:lnTo>
                    <a:lnTo>
                      <a:pt x="463" y="91"/>
                    </a:lnTo>
                    <a:lnTo>
                      <a:pt x="463" y="89"/>
                    </a:lnTo>
                    <a:lnTo>
                      <a:pt x="463" y="89"/>
                    </a:lnTo>
                    <a:lnTo>
                      <a:pt x="467" y="85"/>
                    </a:lnTo>
                    <a:lnTo>
                      <a:pt x="469" y="83"/>
                    </a:lnTo>
                    <a:lnTo>
                      <a:pt x="469" y="81"/>
                    </a:lnTo>
                    <a:lnTo>
                      <a:pt x="471" y="80"/>
                    </a:lnTo>
                    <a:lnTo>
                      <a:pt x="471" y="80"/>
                    </a:lnTo>
                    <a:lnTo>
                      <a:pt x="471" y="78"/>
                    </a:lnTo>
                    <a:lnTo>
                      <a:pt x="469" y="74"/>
                    </a:lnTo>
                    <a:lnTo>
                      <a:pt x="467" y="72"/>
                    </a:lnTo>
                    <a:lnTo>
                      <a:pt x="467" y="72"/>
                    </a:lnTo>
                    <a:lnTo>
                      <a:pt x="467" y="70"/>
                    </a:lnTo>
                    <a:lnTo>
                      <a:pt x="467" y="68"/>
                    </a:lnTo>
                    <a:lnTo>
                      <a:pt x="465" y="68"/>
                    </a:lnTo>
                    <a:lnTo>
                      <a:pt x="465" y="68"/>
                    </a:lnTo>
                    <a:lnTo>
                      <a:pt x="463" y="68"/>
                    </a:lnTo>
                    <a:lnTo>
                      <a:pt x="461" y="70"/>
                    </a:lnTo>
                    <a:lnTo>
                      <a:pt x="461" y="70"/>
                    </a:lnTo>
                    <a:lnTo>
                      <a:pt x="459" y="70"/>
                    </a:lnTo>
                    <a:lnTo>
                      <a:pt x="459" y="70"/>
                    </a:lnTo>
                    <a:lnTo>
                      <a:pt x="459" y="70"/>
                    </a:lnTo>
                    <a:lnTo>
                      <a:pt x="459" y="72"/>
                    </a:lnTo>
                    <a:lnTo>
                      <a:pt x="457" y="72"/>
                    </a:lnTo>
                    <a:lnTo>
                      <a:pt x="457" y="72"/>
                    </a:lnTo>
                    <a:lnTo>
                      <a:pt x="457" y="74"/>
                    </a:lnTo>
                    <a:lnTo>
                      <a:pt x="459" y="78"/>
                    </a:lnTo>
                    <a:lnTo>
                      <a:pt x="459" y="78"/>
                    </a:lnTo>
                    <a:lnTo>
                      <a:pt x="457" y="78"/>
                    </a:lnTo>
                    <a:lnTo>
                      <a:pt x="457" y="80"/>
                    </a:lnTo>
                    <a:lnTo>
                      <a:pt x="457" y="80"/>
                    </a:lnTo>
                    <a:lnTo>
                      <a:pt x="457" y="80"/>
                    </a:lnTo>
                    <a:lnTo>
                      <a:pt x="450" y="76"/>
                    </a:lnTo>
                    <a:lnTo>
                      <a:pt x="448" y="76"/>
                    </a:lnTo>
                    <a:lnTo>
                      <a:pt x="446" y="76"/>
                    </a:lnTo>
                    <a:lnTo>
                      <a:pt x="446" y="76"/>
                    </a:lnTo>
                    <a:lnTo>
                      <a:pt x="442" y="76"/>
                    </a:lnTo>
                    <a:lnTo>
                      <a:pt x="442" y="76"/>
                    </a:lnTo>
                    <a:lnTo>
                      <a:pt x="440" y="76"/>
                    </a:lnTo>
                    <a:lnTo>
                      <a:pt x="440" y="76"/>
                    </a:lnTo>
                    <a:lnTo>
                      <a:pt x="438" y="74"/>
                    </a:lnTo>
                    <a:lnTo>
                      <a:pt x="437" y="74"/>
                    </a:lnTo>
                    <a:lnTo>
                      <a:pt x="437" y="70"/>
                    </a:lnTo>
                    <a:lnTo>
                      <a:pt x="435" y="66"/>
                    </a:lnTo>
                    <a:lnTo>
                      <a:pt x="433" y="64"/>
                    </a:lnTo>
                    <a:lnTo>
                      <a:pt x="433" y="62"/>
                    </a:lnTo>
                    <a:lnTo>
                      <a:pt x="433" y="60"/>
                    </a:lnTo>
                    <a:lnTo>
                      <a:pt x="433" y="60"/>
                    </a:lnTo>
                    <a:lnTo>
                      <a:pt x="435" y="57"/>
                    </a:lnTo>
                    <a:lnTo>
                      <a:pt x="435" y="55"/>
                    </a:lnTo>
                    <a:lnTo>
                      <a:pt x="435" y="53"/>
                    </a:lnTo>
                    <a:lnTo>
                      <a:pt x="435" y="51"/>
                    </a:lnTo>
                    <a:lnTo>
                      <a:pt x="433" y="47"/>
                    </a:lnTo>
                    <a:lnTo>
                      <a:pt x="431" y="43"/>
                    </a:lnTo>
                    <a:lnTo>
                      <a:pt x="414" y="28"/>
                    </a:lnTo>
                    <a:lnTo>
                      <a:pt x="412" y="24"/>
                    </a:lnTo>
                    <a:lnTo>
                      <a:pt x="410" y="22"/>
                    </a:lnTo>
                    <a:lnTo>
                      <a:pt x="410" y="21"/>
                    </a:lnTo>
                    <a:lnTo>
                      <a:pt x="408" y="19"/>
                    </a:lnTo>
                    <a:lnTo>
                      <a:pt x="408" y="17"/>
                    </a:lnTo>
                    <a:lnTo>
                      <a:pt x="408" y="11"/>
                    </a:lnTo>
                    <a:lnTo>
                      <a:pt x="408" y="11"/>
                    </a:lnTo>
                    <a:lnTo>
                      <a:pt x="408" y="9"/>
                    </a:lnTo>
                    <a:lnTo>
                      <a:pt x="408" y="7"/>
                    </a:lnTo>
                    <a:lnTo>
                      <a:pt x="402" y="5"/>
                    </a:lnTo>
                    <a:lnTo>
                      <a:pt x="400" y="3"/>
                    </a:lnTo>
                    <a:lnTo>
                      <a:pt x="400" y="3"/>
                    </a:lnTo>
                    <a:lnTo>
                      <a:pt x="398" y="3"/>
                    </a:lnTo>
                    <a:lnTo>
                      <a:pt x="393" y="1"/>
                    </a:lnTo>
                    <a:lnTo>
                      <a:pt x="385" y="0"/>
                    </a:lnTo>
                    <a:lnTo>
                      <a:pt x="383" y="1"/>
                    </a:lnTo>
                    <a:lnTo>
                      <a:pt x="383" y="7"/>
                    </a:lnTo>
                    <a:lnTo>
                      <a:pt x="381" y="7"/>
                    </a:lnTo>
                    <a:lnTo>
                      <a:pt x="381" y="9"/>
                    </a:lnTo>
                    <a:lnTo>
                      <a:pt x="377" y="11"/>
                    </a:lnTo>
                    <a:lnTo>
                      <a:pt x="375" y="13"/>
                    </a:lnTo>
                    <a:lnTo>
                      <a:pt x="375" y="15"/>
                    </a:lnTo>
                    <a:lnTo>
                      <a:pt x="375" y="19"/>
                    </a:lnTo>
                    <a:lnTo>
                      <a:pt x="375" y="19"/>
                    </a:lnTo>
                    <a:lnTo>
                      <a:pt x="374" y="21"/>
                    </a:lnTo>
                    <a:lnTo>
                      <a:pt x="372" y="24"/>
                    </a:lnTo>
                    <a:lnTo>
                      <a:pt x="372" y="26"/>
                    </a:lnTo>
                    <a:lnTo>
                      <a:pt x="370" y="26"/>
                    </a:lnTo>
                    <a:lnTo>
                      <a:pt x="370" y="26"/>
                    </a:lnTo>
                    <a:lnTo>
                      <a:pt x="366" y="28"/>
                    </a:lnTo>
                    <a:lnTo>
                      <a:pt x="362" y="28"/>
                    </a:lnTo>
                    <a:lnTo>
                      <a:pt x="362" y="28"/>
                    </a:lnTo>
                    <a:lnTo>
                      <a:pt x="358" y="30"/>
                    </a:lnTo>
                    <a:lnTo>
                      <a:pt x="356" y="32"/>
                    </a:lnTo>
                    <a:lnTo>
                      <a:pt x="355" y="32"/>
                    </a:lnTo>
                    <a:lnTo>
                      <a:pt x="349" y="30"/>
                    </a:lnTo>
                    <a:lnTo>
                      <a:pt x="343" y="30"/>
                    </a:lnTo>
                    <a:lnTo>
                      <a:pt x="339" y="30"/>
                    </a:lnTo>
                    <a:lnTo>
                      <a:pt x="339" y="30"/>
                    </a:lnTo>
                    <a:lnTo>
                      <a:pt x="335" y="30"/>
                    </a:lnTo>
                    <a:lnTo>
                      <a:pt x="332" y="28"/>
                    </a:lnTo>
                    <a:lnTo>
                      <a:pt x="330" y="26"/>
                    </a:lnTo>
                    <a:lnTo>
                      <a:pt x="322" y="21"/>
                    </a:lnTo>
                    <a:lnTo>
                      <a:pt x="318" y="19"/>
                    </a:lnTo>
                    <a:lnTo>
                      <a:pt x="316" y="22"/>
                    </a:lnTo>
                    <a:lnTo>
                      <a:pt x="316" y="22"/>
                    </a:lnTo>
                    <a:lnTo>
                      <a:pt x="316" y="24"/>
                    </a:lnTo>
                    <a:lnTo>
                      <a:pt x="316" y="26"/>
                    </a:lnTo>
                    <a:lnTo>
                      <a:pt x="314" y="28"/>
                    </a:lnTo>
                    <a:lnTo>
                      <a:pt x="314" y="28"/>
                    </a:lnTo>
                    <a:lnTo>
                      <a:pt x="311" y="30"/>
                    </a:lnTo>
                    <a:lnTo>
                      <a:pt x="309" y="32"/>
                    </a:lnTo>
                    <a:lnTo>
                      <a:pt x="305" y="32"/>
                    </a:lnTo>
                    <a:lnTo>
                      <a:pt x="301" y="34"/>
                    </a:lnTo>
                    <a:lnTo>
                      <a:pt x="299" y="36"/>
                    </a:lnTo>
                    <a:lnTo>
                      <a:pt x="299" y="38"/>
                    </a:lnTo>
                    <a:lnTo>
                      <a:pt x="299" y="40"/>
                    </a:lnTo>
                    <a:lnTo>
                      <a:pt x="299" y="40"/>
                    </a:lnTo>
                    <a:lnTo>
                      <a:pt x="297" y="41"/>
                    </a:lnTo>
                    <a:lnTo>
                      <a:pt x="293" y="43"/>
                    </a:lnTo>
                    <a:lnTo>
                      <a:pt x="290" y="45"/>
                    </a:lnTo>
                    <a:lnTo>
                      <a:pt x="288" y="47"/>
                    </a:lnTo>
                    <a:lnTo>
                      <a:pt x="286" y="49"/>
                    </a:lnTo>
                    <a:lnTo>
                      <a:pt x="284" y="49"/>
                    </a:lnTo>
                    <a:lnTo>
                      <a:pt x="280" y="51"/>
                    </a:lnTo>
                    <a:lnTo>
                      <a:pt x="269" y="49"/>
                    </a:lnTo>
                    <a:lnTo>
                      <a:pt x="250" y="49"/>
                    </a:lnTo>
                    <a:lnTo>
                      <a:pt x="248" y="49"/>
                    </a:lnTo>
                    <a:lnTo>
                      <a:pt x="244" y="47"/>
                    </a:lnTo>
                    <a:lnTo>
                      <a:pt x="231" y="47"/>
                    </a:lnTo>
                    <a:lnTo>
                      <a:pt x="227" y="47"/>
                    </a:lnTo>
                    <a:lnTo>
                      <a:pt x="221" y="43"/>
                    </a:lnTo>
                    <a:lnTo>
                      <a:pt x="217" y="41"/>
                    </a:lnTo>
                    <a:lnTo>
                      <a:pt x="210" y="41"/>
                    </a:lnTo>
                    <a:lnTo>
                      <a:pt x="206" y="41"/>
                    </a:lnTo>
                    <a:lnTo>
                      <a:pt x="200" y="45"/>
                    </a:lnTo>
                    <a:lnTo>
                      <a:pt x="196" y="47"/>
                    </a:lnTo>
                    <a:lnTo>
                      <a:pt x="194" y="47"/>
                    </a:lnTo>
                    <a:lnTo>
                      <a:pt x="191" y="47"/>
                    </a:lnTo>
                    <a:lnTo>
                      <a:pt x="185" y="43"/>
                    </a:lnTo>
                    <a:lnTo>
                      <a:pt x="181" y="38"/>
                    </a:lnTo>
                    <a:lnTo>
                      <a:pt x="177" y="36"/>
                    </a:lnTo>
                    <a:lnTo>
                      <a:pt x="173" y="36"/>
                    </a:lnTo>
                    <a:lnTo>
                      <a:pt x="170" y="38"/>
                    </a:lnTo>
                    <a:lnTo>
                      <a:pt x="171" y="38"/>
                    </a:lnTo>
                    <a:lnTo>
                      <a:pt x="171" y="40"/>
                    </a:lnTo>
                    <a:lnTo>
                      <a:pt x="170" y="41"/>
                    </a:lnTo>
                    <a:lnTo>
                      <a:pt x="170" y="43"/>
                    </a:lnTo>
                    <a:lnTo>
                      <a:pt x="171" y="45"/>
                    </a:lnTo>
                    <a:lnTo>
                      <a:pt x="175" y="53"/>
                    </a:lnTo>
                    <a:lnTo>
                      <a:pt x="177" y="57"/>
                    </a:lnTo>
                    <a:lnTo>
                      <a:pt x="179" y="59"/>
                    </a:lnTo>
                    <a:lnTo>
                      <a:pt x="179" y="62"/>
                    </a:lnTo>
                    <a:lnTo>
                      <a:pt x="177" y="62"/>
                    </a:lnTo>
                    <a:lnTo>
                      <a:pt x="177" y="64"/>
                    </a:lnTo>
                    <a:lnTo>
                      <a:pt x="175" y="68"/>
                    </a:lnTo>
                    <a:lnTo>
                      <a:pt x="173" y="68"/>
                    </a:lnTo>
                    <a:lnTo>
                      <a:pt x="171" y="70"/>
                    </a:lnTo>
                    <a:lnTo>
                      <a:pt x="170" y="70"/>
                    </a:lnTo>
                    <a:lnTo>
                      <a:pt x="170" y="76"/>
                    </a:lnTo>
                    <a:lnTo>
                      <a:pt x="168" y="78"/>
                    </a:lnTo>
                    <a:lnTo>
                      <a:pt x="168" y="78"/>
                    </a:lnTo>
                    <a:lnTo>
                      <a:pt x="166" y="78"/>
                    </a:lnTo>
                    <a:lnTo>
                      <a:pt x="166" y="80"/>
                    </a:lnTo>
                    <a:lnTo>
                      <a:pt x="168" y="81"/>
                    </a:lnTo>
                    <a:lnTo>
                      <a:pt x="168" y="83"/>
                    </a:lnTo>
                    <a:lnTo>
                      <a:pt x="170" y="85"/>
                    </a:lnTo>
                    <a:lnTo>
                      <a:pt x="170" y="87"/>
                    </a:lnTo>
                    <a:lnTo>
                      <a:pt x="171" y="89"/>
                    </a:lnTo>
                    <a:lnTo>
                      <a:pt x="173" y="91"/>
                    </a:lnTo>
                    <a:lnTo>
                      <a:pt x="175" y="89"/>
                    </a:lnTo>
                    <a:lnTo>
                      <a:pt x="177" y="87"/>
                    </a:lnTo>
                    <a:lnTo>
                      <a:pt x="181" y="85"/>
                    </a:lnTo>
                    <a:lnTo>
                      <a:pt x="185" y="83"/>
                    </a:lnTo>
                    <a:lnTo>
                      <a:pt x="185" y="81"/>
                    </a:lnTo>
                    <a:lnTo>
                      <a:pt x="187" y="81"/>
                    </a:lnTo>
                    <a:lnTo>
                      <a:pt x="191" y="83"/>
                    </a:lnTo>
                    <a:lnTo>
                      <a:pt x="192" y="83"/>
                    </a:lnTo>
                    <a:lnTo>
                      <a:pt x="200" y="87"/>
                    </a:lnTo>
                    <a:lnTo>
                      <a:pt x="206" y="87"/>
                    </a:lnTo>
                    <a:lnTo>
                      <a:pt x="208" y="89"/>
                    </a:lnTo>
                    <a:lnTo>
                      <a:pt x="211" y="93"/>
                    </a:lnTo>
                    <a:lnTo>
                      <a:pt x="215" y="99"/>
                    </a:lnTo>
                    <a:lnTo>
                      <a:pt x="217" y="100"/>
                    </a:lnTo>
                    <a:lnTo>
                      <a:pt x="219" y="102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21" y="104"/>
                    </a:lnTo>
                    <a:lnTo>
                      <a:pt x="221" y="106"/>
                    </a:lnTo>
                    <a:lnTo>
                      <a:pt x="223" y="106"/>
                    </a:lnTo>
                    <a:lnTo>
                      <a:pt x="231" y="104"/>
                    </a:lnTo>
                    <a:lnTo>
                      <a:pt x="232" y="106"/>
                    </a:lnTo>
                    <a:lnTo>
                      <a:pt x="232" y="106"/>
                    </a:lnTo>
                    <a:lnTo>
                      <a:pt x="234" y="108"/>
                    </a:lnTo>
                    <a:lnTo>
                      <a:pt x="240" y="112"/>
                    </a:lnTo>
                    <a:lnTo>
                      <a:pt x="240" y="114"/>
                    </a:lnTo>
                    <a:lnTo>
                      <a:pt x="242" y="116"/>
                    </a:lnTo>
                    <a:lnTo>
                      <a:pt x="238" y="127"/>
                    </a:lnTo>
                    <a:lnTo>
                      <a:pt x="238" y="133"/>
                    </a:lnTo>
                    <a:lnTo>
                      <a:pt x="236" y="135"/>
                    </a:lnTo>
                    <a:lnTo>
                      <a:pt x="234" y="140"/>
                    </a:lnTo>
                    <a:lnTo>
                      <a:pt x="234" y="142"/>
                    </a:lnTo>
                    <a:lnTo>
                      <a:pt x="231" y="142"/>
                    </a:lnTo>
                    <a:lnTo>
                      <a:pt x="229" y="142"/>
                    </a:lnTo>
                    <a:lnTo>
                      <a:pt x="227" y="142"/>
                    </a:lnTo>
                    <a:lnTo>
                      <a:pt x="221" y="146"/>
                    </a:lnTo>
                    <a:lnTo>
                      <a:pt x="213" y="148"/>
                    </a:lnTo>
                    <a:lnTo>
                      <a:pt x="211" y="150"/>
                    </a:lnTo>
                    <a:lnTo>
                      <a:pt x="210" y="154"/>
                    </a:lnTo>
                    <a:lnTo>
                      <a:pt x="210" y="156"/>
                    </a:lnTo>
                    <a:lnTo>
                      <a:pt x="211" y="161"/>
                    </a:lnTo>
                    <a:lnTo>
                      <a:pt x="210" y="163"/>
                    </a:lnTo>
                    <a:lnTo>
                      <a:pt x="206" y="167"/>
                    </a:lnTo>
                    <a:lnTo>
                      <a:pt x="200" y="171"/>
                    </a:lnTo>
                    <a:lnTo>
                      <a:pt x="198" y="173"/>
                    </a:lnTo>
                    <a:lnTo>
                      <a:pt x="192" y="175"/>
                    </a:lnTo>
                    <a:lnTo>
                      <a:pt x="191" y="177"/>
                    </a:lnTo>
                    <a:lnTo>
                      <a:pt x="191" y="178"/>
                    </a:lnTo>
                    <a:lnTo>
                      <a:pt x="189" y="180"/>
                    </a:lnTo>
                    <a:lnTo>
                      <a:pt x="191" y="186"/>
                    </a:lnTo>
                    <a:lnTo>
                      <a:pt x="191" y="190"/>
                    </a:lnTo>
                    <a:lnTo>
                      <a:pt x="189" y="194"/>
                    </a:lnTo>
                    <a:lnTo>
                      <a:pt x="187" y="194"/>
                    </a:lnTo>
                    <a:lnTo>
                      <a:pt x="187" y="196"/>
                    </a:lnTo>
                    <a:lnTo>
                      <a:pt x="189" y="199"/>
                    </a:lnTo>
                    <a:lnTo>
                      <a:pt x="189" y="201"/>
                    </a:lnTo>
                    <a:lnTo>
                      <a:pt x="187" y="203"/>
                    </a:lnTo>
                    <a:lnTo>
                      <a:pt x="183" y="203"/>
                    </a:lnTo>
                    <a:lnTo>
                      <a:pt x="175" y="209"/>
                    </a:lnTo>
                    <a:lnTo>
                      <a:pt x="173" y="211"/>
                    </a:lnTo>
                    <a:lnTo>
                      <a:pt x="173" y="213"/>
                    </a:lnTo>
                    <a:lnTo>
                      <a:pt x="173" y="215"/>
                    </a:lnTo>
                    <a:lnTo>
                      <a:pt x="173" y="216"/>
                    </a:lnTo>
                    <a:lnTo>
                      <a:pt x="170" y="218"/>
                    </a:lnTo>
                    <a:lnTo>
                      <a:pt x="168" y="218"/>
                    </a:lnTo>
                    <a:lnTo>
                      <a:pt x="164" y="218"/>
                    </a:lnTo>
                    <a:lnTo>
                      <a:pt x="162" y="220"/>
                    </a:lnTo>
                    <a:lnTo>
                      <a:pt x="160" y="220"/>
                    </a:lnTo>
                    <a:lnTo>
                      <a:pt x="156" y="224"/>
                    </a:lnTo>
                    <a:lnTo>
                      <a:pt x="154" y="226"/>
                    </a:lnTo>
                    <a:lnTo>
                      <a:pt x="152" y="228"/>
                    </a:lnTo>
                    <a:lnTo>
                      <a:pt x="150" y="228"/>
                    </a:lnTo>
                    <a:lnTo>
                      <a:pt x="149" y="230"/>
                    </a:lnTo>
                    <a:lnTo>
                      <a:pt x="147" y="232"/>
                    </a:lnTo>
                    <a:lnTo>
                      <a:pt x="145" y="232"/>
                    </a:lnTo>
                    <a:lnTo>
                      <a:pt x="143" y="230"/>
                    </a:lnTo>
                    <a:lnTo>
                      <a:pt x="141" y="226"/>
                    </a:lnTo>
                    <a:lnTo>
                      <a:pt x="139" y="224"/>
                    </a:lnTo>
                    <a:lnTo>
                      <a:pt x="137" y="224"/>
                    </a:lnTo>
                    <a:lnTo>
                      <a:pt x="135" y="224"/>
                    </a:lnTo>
                    <a:lnTo>
                      <a:pt x="131" y="226"/>
                    </a:lnTo>
                    <a:lnTo>
                      <a:pt x="129" y="226"/>
                    </a:lnTo>
                    <a:lnTo>
                      <a:pt x="128" y="228"/>
                    </a:lnTo>
                    <a:lnTo>
                      <a:pt x="124" y="230"/>
                    </a:lnTo>
                    <a:lnTo>
                      <a:pt x="122" y="232"/>
                    </a:lnTo>
                    <a:lnTo>
                      <a:pt x="120" y="230"/>
                    </a:lnTo>
                    <a:lnTo>
                      <a:pt x="118" y="230"/>
                    </a:lnTo>
                    <a:lnTo>
                      <a:pt x="118" y="228"/>
                    </a:lnTo>
                    <a:lnTo>
                      <a:pt x="118" y="226"/>
                    </a:lnTo>
                    <a:lnTo>
                      <a:pt x="116" y="226"/>
                    </a:lnTo>
                    <a:lnTo>
                      <a:pt x="114" y="226"/>
                    </a:lnTo>
                    <a:lnTo>
                      <a:pt x="112" y="228"/>
                    </a:lnTo>
                    <a:lnTo>
                      <a:pt x="109" y="234"/>
                    </a:lnTo>
                    <a:lnTo>
                      <a:pt x="107" y="237"/>
                    </a:lnTo>
                    <a:lnTo>
                      <a:pt x="107" y="241"/>
                    </a:lnTo>
                    <a:lnTo>
                      <a:pt x="109" y="245"/>
                    </a:lnTo>
                    <a:lnTo>
                      <a:pt x="107" y="249"/>
                    </a:lnTo>
                    <a:lnTo>
                      <a:pt x="107" y="251"/>
                    </a:lnTo>
                    <a:lnTo>
                      <a:pt x="105" y="256"/>
                    </a:lnTo>
                    <a:lnTo>
                      <a:pt x="99" y="260"/>
                    </a:lnTo>
                    <a:lnTo>
                      <a:pt x="97" y="260"/>
                    </a:lnTo>
                    <a:lnTo>
                      <a:pt x="95" y="262"/>
                    </a:lnTo>
                    <a:lnTo>
                      <a:pt x="95" y="264"/>
                    </a:lnTo>
                    <a:lnTo>
                      <a:pt x="95" y="272"/>
                    </a:lnTo>
                    <a:lnTo>
                      <a:pt x="93" y="274"/>
                    </a:lnTo>
                    <a:lnTo>
                      <a:pt x="93" y="274"/>
                    </a:lnTo>
                    <a:lnTo>
                      <a:pt x="91" y="275"/>
                    </a:lnTo>
                    <a:lnTo>
                      <a:pt x="89" y="275"/>
                    </a:lnTo>
                    <a:lnTo>
                      <a:pt x="91" y="277"/>
                    </a:lnTo>
                    <a:lnTo>
                      <a:pt x="91" y="279"/>
                    </a:lnTo>
                    <a:lnTo>
                      <a:pt x="93" y="281"/>
                    </a:lnTo>
                    <a:lnTo>
                      <a:pt x="93" y="283"/>
                    </a:lnTo>
                    <a:lnTo>
                      <a:pt x="91" y="285"/>
                    </a:lnTo>
                    <a:lnTo>
                      <a:pt x="89" y="285"/>
                    </a:lnTo>
                    <a:lnTo>
                      <a:pt x="89" y="283"/>
                    </a:lnTo>
                    <a:lnTo>
                      <a:pt x="86" y="279"/>
                    </a:lnTo>
                    <a:lnTo>
                      <a:pt x="84" y="277"/>
                    </a:lnTo>
                    <a:lnTo>
                      <a:pt x="82" y="277"/>
                    </a:lnTo>
                    <a:lnTo>
                      <a:pt x="80" y="279"/>
                    </a:lnTo>
                    <a:lnTo>
                      <a:pt x="78" y="283"/>
                    </a:lnTo>
                    <a:lnTo>
                      <a:pt x="72" y="294"/>
                    </a:lnTo>
                    <a:lnTo>
                      <a:pt x="72" y="298"/>
                    </a:lnTo>
                    <a:lnTo>
                      <a:pt x="70" y="304"/>
                    </a:lnTo>
                    <a:lnTo>
                      <a:pt x="72" y="312"/>
                    </a:lnTo>
                    <a:lnTo>
                      <a:pt x="70" y="317"/>
                    </a:lnTo>
                    <a:lnTo>
                      <a:pt x="68" y="321"/>
                    </a:lnTo>
                    <a:lnTo>
                      <a:pt x="65" y="323"/>
                    </a:lnTo>
                    <a:lnTo>
                      <a:pt x="61" y="323"/>
                    </a:lnTo>
                    <a:lnTo>
                      <a:pt x="59" y="327"/>
                    </a:lnTo>
                    <a:lnTo>
                      <a:pt x="59" y="329"/>
                    </a:lnTo>
                    <a:lnTo>
                      <a:pt x="57" y="342"/>
                    </a:lnTo>
                    <a:lnTo>
                      <a:pt x="57" y="344"/>
                    </a:lnTo>
                    <a:lnTo>
                      <a:pt x="57" y="348"/>
                    </a:lnTo>
                    <a:lnTo>
                      <a:pt x="57" y="359"/>
                    </a:lnTo>
                    <a:lnTo>
                      <a:pt x="57" y="363"/>
                    </a:lnTo>
                    <a:lnTo>
                      <a:pt x="55" y="367"/>
                    </a:lnTo>
                    <a:lnTo>
                      <a:pt x="55" y="373"/>
                    </a:lnTo>
                    <a:lnTo>
                      <a:pt x="51" y="378"/>
                    </a:lnTo>
                    <a:lnTo>
                      <a:pt x="51" y="386"/>
                    </a:lnTo>
                    <a:lnTo>
                      <a:pt x="49" y="388"/>
                    </a:lnTo>
                    <a:lnTo>
                      <a:pt x="47" y="392"/>
                    </a:lnTo>
                    <a:lnTo>
                      <a:pt x="46" y="393"/>
                    </a:lnTo>
                    <a:lnTo>
                      <a:pt x="36" y="397"/>
                    </a:lnTo>
                    <a:lnTo>
                      <a:pt x="27" y="403"/>
                    </a:lnTo>
                    <a:lnTo>
                      <a:pt x="27" y="405"/>
                    </a:lnTo>
                    <a:lnTo>
                      <a:pt x="25" y="405"/>
                    </a:lnTo>
                    <a:lnTo>
                      <a:pt x="25" y="407"/>
                    </a:lnTo>
                    <a:lnTo>
                      <a:pt x="25" y="409"/>
                    </a:lnTo>
                    <a:lnTo>
                      <a:pt x="23" y="418"/>
                    </a:lnTo>
                    <a:lnTo>
                      <a:pt x="21" y="422"/>
                    </a:lnTo>
                    <a:lnTo>
                      <a:pt x="21" y="424"/>
                    </a:lnTo>
                    <a:lnTo>
                      <a:pt x="21" y="426"/>
                    </a:lnTo>
                    <a:lnTo>
                      <a:pt x="23" y="428"/>
                    </a:lnTo>
                    <a:lnTo>
                      <a:pt x="23" y="431"/>
                    </a:lnTo>
                    <a:lnTo>
                      <a:pt x="25" y="431"/>
                    </a:lnTo>
                    <a:lnTo>
                      <a:pt x="25" y="433"/>
                    </a:lnTo>
                    <a:lnTo>
                      <a:pt x="27" y="433"/>
                    </a:lnTo>
                    <a:lnTo>
                      <a:pt x="27" y="435"/>
                    </a:lnTo>
                    <a:lnTo>
                      <a:pt x="28" y="435"/>
                    </a:lnTo>
                    <a:lnTo>
                      <a:pt x="28" y="435"/>
                    </a:lnTo>
                    <a:lnTo>
                      <a:pt x="30" y="435"/>
                    </a:lnTo>
                    <a:lnTo>
                      <a:pt x="32" y="433"/>
                    </a:lnTo>
                    <a:lnTo>
                      <a:pt x="32" y="433"/>
                    </a:lnTo>
                    <a:lnTo>
                      <a:pt x="34" y="433"/>
                    </a:lnTo>
                    <a:lnTo>
                      <a:pt x="34" y="435"/>
                    </a:lnTo>
                    <a:lnTo>
                      <a:pt x="36" y="435"/>
                    </a:lnTo>
                    <a:lnTo>
                      <a:pt x="36" y="437"/>
                    </a:lnTo>
                    <a:lnTo>
                      <a:pt x="36" y="437"/>
                    </a:lnTo>
                    <a:lnTo>
                      <a:pt x="36" y="439"/>
                    </a:lnTo>
                    <a:lnTo>
                      <a:pt x="36" y="443"/>
                    </a:lnTo>
                    <a:lnTo>
                      <a:pt x="36" y="454"/>
                    </a:lnTo>
                    <a:lnTo>
                      <a:pt x="38" y="466"/>
                    </a:lnTo>
                    <a:lnTo>
                      <a:pt x="38" y="468"/>
                    </a:lnTo>
                    <a:lnTo>
                      <a:pt x="38" y="470"/>
                    </a:lnTo>
                    <a:lnTo>
                      <a:pt x="36" y="470"/>
                    </a:lnTo>
                    <a:lnTo>
                      <a:pt x="32" y="473"/>
                    </a:lnTo>
                    <a:lnTo>
                      <a:pt x="30" y="473"/>
                    </a:lnTo>
                    <a:lnTo>
                      <a:pt x="30" y="475"/>
                    </a:lnTo>
                    <a:lnTo>
                      <a:pt x="28" y="477"/>
                    </a:lnTo>
                    <a:lnTo>
                      <a:pt x="28" y="477"/>
                    </a:lnTo>
                    <a:lnTo>
                      <a:pt x="28" y="479"/>
                    </a:lnTo>
                    <a:lnTo>
                      <a:pt x="28" y="479"/>
                    </a:lnTo>
                    <a:lnTo>
                      <a:pt x="30" y="481"/>
                    </a:lnTo>
                    <a:lnTo>
                      <a:pt x="30" y="481"/>
                    </a:lnTo>
                    <a:lnTo>
                      <a:pt x="30" y="481"/>
                    </a:lnTo>
                    <a:lnTo>
                      <a:pt x="32" y="481"/>
                    </a:lnTo>
                    <a:lnTo>
                      <a:pt x="34" y="481"/>
                    </a:lnTo>
                    <a:lnTo>
                      <a:pt x="36" y="479"/>
                    </a:lnTo>
                    <a:lnTo>
                      <a:pt x="38" y="477"/>
                    </a:lnTo>
                    <a:lnTo>
                      <a:pt x="38" y="477"/>
                    </a:lnTo>
                    <a:lnTo>
                      <a:pt x="40" y="477"/>
                    </a:lnTo>
                    <a:lnTo>
                      <a:pt x="40" y="477"/>
                    </a:lnTo>
                    <a:lnTo>
                      <a:pt x="42" y="477"/>
                    </a:lnTo>
                    <a:lnTo>
                      <a:pt x="44" y="477"/>
                    </a:lnTo>
                    <a:lnTo>
                      <a:pt x="44" y="479"/>
                    </a:lnTo>
                    <a:lnTo>
                      <a:pt x="46" y="479"/>
                    </a:lnTo>
                    <a:lnTo>
                      <a:pt x="46" y="479"/>
                    </a:lnTo>
                    <a:lnTo>
                      <a:pt x="46" y="481"/>
                    </a:lnTo>
                    <a:lnTo>
                      <a:pt x="46" y="481"/>
                    </a:lnTo>
                    <a:lnTo>
                      <a:pt x="44" y="487"/>
                    </a:lnTo>
                    <a:lnTo>
                      <a:pt x="46" y="489"/>
                    </a:lnTo>
                    <a:lnTo>
                      <a:pt x="46" y="489"/>
                    </a:lnTo>
                    <a:lnTo>
                      <a:pt x="46" y="489"/>
                    </a:lnTo>
                    <a:lnTo>
                      <a:pt x="46" y="490"/>
                    </a:lnTo>
                    <a:lnTo>
                      <a:pt x="46" y="492"/>
                    </a:lnTo>
                    <a:lnTo>
                      <a:pt x="46" y="494"/>
                    </a:lnTo>
                    <a:lnTo>
                      <a:pt x="44" y="496"/>
                    </a:lnTo>
                    <a:lnTo>
                      <a:pt x="44" y="498"/>
                    </a:lnTo>
                    <a:lnTo>
                      <a:pt x="44" y="506"/>
                    </a:lnTo>
                    <a:lnTo>
                      <a:pt x="44" y="508"/>
                    </a:lnTo>
                    <a:lnTo>
                      <a:pt x="44" y="509"/>
                    </a:lnTo>
                    <a:lnTo>
                      <a:pt x="44" y="511"/>
                    </a:lnTo>
                    <a:lnTo>
                      <a:pt x="46" y="513"/>
                    </a:lnTo>
                    <a:lnTo>
                      <a:pt x="46" y="515"/>
                    </a:lnTo>
                    <a:lnTo>
                      <a:pt x="46" y="515"/>
                    </a:lnTo>
                    <a:lnTo>
                      <a:pt x="44" y="517"/>
                    </a:lnTo>
                    <a:lnTo>
                      <a:pt x="42" y="517"/>
                    </a:lnTo>
                    <a:lnTo>
                      <a:pt x="40" y="517"/>
                    </a:lnTo>
                    <a:lnTo>
                      <a:pt x="38" y="519"/>
                    </a:lnTo>
                    <a:lnTo>
                      <a:pt x="36" y="523"/>
                    </a:lnTo>
                    <a:lnTo>
                      <a:pt x="34" y="523"/>
                    </a:lnTo>
                    <a:lnTo>
                      <a:pt x="32" y="525"/>
                    </a:lnTo>
                    <a:lnTo>
                      <a:pt x="30" y="525"/>
                    </a:lnTo>
                    <a:lnTo>
                      <a:pt x="23" y="525"/>
                    </a:lnTo>
                    <a:lnTo>
                      <a:pt x="23" y="525"/>
                    </a:lnTo>
                    <a:lnTo>
                      <a:pt x="21" y="527"/>
                    </a:lnTo>
                    <a:lnTo>
                      <a:pt x="21" y="529"/>
                    </a:lnTo>
                    <a:lnTo>
                      <a:pt x="19" y="530"/>
                    </a:lnTo>
                    <a:lnTo>
                      <a:pt x="21" y="530"/>
                    </a:lnTo>
                    <a:lnTo>
                      <a:pt x="19" y="532"/>
                    </a:lnTo>
                    <a:lnTo>
                      <a:pt x="19" y="538"/>
                    </a:lnTo>
                    <a:lnTo>
                      <a:pt x="19" y="538"/>
                    </a:lnTo>
                    <a:lnTo>
                      <a:pt x="19" y="540"/>
                    </a:lnTo>
                    <a:lnTo>
                      <a:pt x="21" y="540"/>
                    </a:lnTo>
                    <a:lnTo>
                      <a:pt x="30" y="540"/>
                    </a:lnTo>
                    <a:lnTo>
                      <a:pt x="30" y="540"/>
                    </a:lnTo>
                    <a:lnTo>
                      <a:pt x="32" y="540"/>
                    </a:lnTo>
                    <a:lnTo>
                      <a:pt x="34" y="542"/>
                    </a:lnTo>
                    <a:lnTo>
                      <a:pt x="36" y="549"/>
                    </a:lnTo>
                    <a:lnTo>
                      <a:pt x="36" y="553"/>
                    </a:lnTo>
                    <a:lnTo>
                      <a:pt x="36" y="555"/>
                    </a:lnTo>
                    <a:lnTo>
                      <a:pt x="36" y="555"/>
                    </a:lnTo>
                    <a:lnTo>
                      <a:pt x="36" y="555"/>
                    </a:lnTo>
                    <a:lnTo>
                      <a:pt x="34" y="559"/>
                    </a:lnTo>
                    <a:lnTo>
                      <a:pt x="34" y="567"/>
                    </a:lnTo>
                    <a:lnTo>
                      <a:pt x="34" y="568"/>
                    </a:lnTo>
                    <a:lnTo>
                      <a:pt x="34" y="570"/>
                    </a:lnTo>
                    <a:lnTo>
                      <a:pt x="32" y="570"/>
                    </a:lnTo>
                    <a:lnTo>
                      <a:pt x="32" y="570"/>
                    </a:lnTo>
                    <a:lnTo>
                      <a:pt x="30" y="570"/>
                    </a:lnTo>
                    <a:lnTo>
                      <a:pt x="28" y="570"/>
                    </a:lnTo>
                    <a:lnTo>
                      <a:pt x="25" y="567"/>
                    </a:lnTo>
                    <a:lnTo>
                      <a:pt x="25" y="567"/>
                    </a:lnTo>
                    <a:lnTo>
                      <a:pt x="23" y="567"/>
                    </a:lnTo>
                    <a:lnTo>
                      <a:pt x="23" y="568"/>
                    </a:lnTo>
                    <a:lnTo>
                      <a:pt x="21" y="570"/>
                    </a:lnTo>
                    <a:lnTo>
                      <a:pt x="21" y="572"/>
                    </a:lnTo>
                    <a:lnTo>
                      <a:pt x="21" y="574"/>
                    </a:lnTo>
                    <a:lnTo>
                      <a:pt x="21" y="574"/>
                    </a:lnTo>
                    <a:lnTo>
                      <a:pt x="21" y="574"/>
                    </a:lnTo>
                    <a:lnTo>
                      <a:pt x="21" y="574"/>
                    </a:lnTo>
                    <a:lnTo>
                      <a:pt x="23" y="576"/>
                    </a:lnTo>
                    <a:lnTo>
                      <a:pt x="27" y="576"/>
                    </a:lnTo>
                    <a:lnTo>
                      <a:pt x="27" y="576"/>
                    </a:lnTo>
                    <a:lnTo>
                      <a:pt x="28" y="578"/>
                    </a:lnTo>
                    <a:lnTo>
                      <a:pt x="28" y="578"/>
                    </a:lnTo>
                    <a:lnTo>
                      <a:pt x="27" y="580"/>
                    </a:lnTo>
                    <a:lnTo>
                      <a:pt x="27" y="580"/>
                    </a:lnTo>
                    <a:lnTo>
                      <a:pt x="27" y="582"/>
                    </a:lnTo>
                    <a:lnTo>
                      <a:pt x="27" y="582"/>
                    </a:lnTo>
                    <a:lnTo>
                      <a:pt x="25" y="582"/>
                    </a:lnTo>
                    <a:lnTo>
                      <a:pt x="23" y="584"/>
                    </a:lnTo>
                    <a:lnTo>
                      <a:pt x="21" y="584"/>
                    </a:lnTo>
                    <a:lnTo>
                      <a:pt x="19" y="586"/>
                    </a:lnTo>
                    <a:lnTo>
                      <a:pt x="19" y="586"/>
                    </a:lnTo>
                    <a:lnTo>
                      <a:pt x="19" y="588"/>
                    </a:lnTo>
                    <a:lnTo>
                      <a:pt x="19" y="588"/>
                    </a:lnTo>
                    <a:lnTo>
                      <a:pt x="19" y="589"/>
                    </a:lnTo>
                    <a:lnTo>
                      <a:pt x="21" y="589"/>
                    </a:lnTo>
                    <a:lnTo>
                      <a:pt x="25" y="589"/>
                    </a:lnTo>
                    <a:lnTo>
                      <a:pt x="25" y="591"/>
                    </a:lnTo>
                    <a:lnTo>
                      <a:pt x="27" y="589"/>
                    </a:lnTo>
                    <a:lnTo>
                      <a:pt x="27" y="589"/>
                    </a:lnTo>
                    <a:lnTo>
                      <a:pt x="28" y="589"/>
                    </a:lnTo>
                    <a:lnTo>
                      <a:pt x="28" y="589"/>
                    </a:lnTo>
                    <a:lnTo>
                      <a:pt x="28" y="589"/>
                    </a:lnTo>
                    <a:lnTo>
                      <a:pt x="28" y="588"/>
                    </a:lnTo>
                    <a:lnTo>
                      <a:pt x="28" y="588"/>
                    </a:lnTo>
                    <a:lnTo>
                      <a:pt x="28" y="588"/>
                    </a:lnTo>
                    <a:lnTo>
                      <a:pt x="28" y="586"/>
                    </a:lnTo>
                    <a:lnTo>
                      <a:pt x="28" y="586"/>
                    </a:lnTo>
                    <a:lnTo>
                      <a:pt x="30" y="584"/>
                    </a:lnTo>
                    <a:lnTo>
                      <a:pt x="30" y="584"/>
                    </a:lnTo>
                    <a:lnTo>
                      <a:pt x="32" y="584"/>
                    </a:lnTo>
                    <a:lnTo>
                      <a:pt x="32" y="584"/>
                    </a:lnTo>
                    <a:lnTo>
                      <a:pt x="34" y="584"/>
                    </a:lnTo>
                    <a:lnTo>
                      <a:pt x="34" y="586"/>
                    </a:lnTo>
                    <a:lnTo>
                      <a:pt x="36" y="588"/>
                    </a:lnTo>
                    <a:lnTo>
                      <a:pt x="36" y="591"/>
                    </a:lnTo>
                    <a:lnTo>
                      <a:pt x="38" y="593"/>
                    </a:lnTo>
                    <a:lnTo>
                      <a:pt x="38" y="595"/>
                    </a:lnTo>
                    <a:lnTo>
                      <a:pt x="40" y="597"/>
                    </a:lnTo>
                    <a:lnTo>
                      <a:pt x="42" y="597"/>
                    </a:lnTo>
                    <a:lnTo>
                      <a:pt x="47" y="599"/>
                    </a:lnTo>
                    <a:lnTo>
                      <a:pt x="47" y="599"/>
                    </a:lnTo>
                    <a:lnTo>
                      <a:pt x="49" y="599"/>
                    </a:lnTo>
                    <a:lnTo>
                      <a:pt x="51" y="601"/>
                    </a:lnTo>
                    <a:lnTo>
                      <a:pt x="51" y="603"/>
                    </a:lnTo>
                    <a:lnTo>
                      <a:pt x="53" y="610"/>
                    </a:lnTo>
                    <a:lnTo>
                      <a:pt x="53" y="612"/>
                    </a:lnTo>
                    <a:lnTo>
                      <a:pt x="55" y="612"/>
                    </a:lnTo>
                    <a:lnTo>
                      <a:pt x="57" y="614"/>
                    </a:lnTo>
                    <a:lnTo>
                      <a:pt x="63" y="616"/>
                    </a:lnTo>
                    <a:lnTo>
                      <a:pt x="65" y="616"/>
                    </a:lnTo>
                    <a:lnTo>
                      <a:pt x="68" y="620"/>
                    </a:lnTo>
                    <a:lnTo>
                      <a:pt x="68" y="620"/>
                    </a:lnTo>
                    <a:lnTo>
                      <a:pt x="70" y="620"/>
                    </a:lnTo>
                    <a:lnTo>
                      <a:pt x="70" y="620"/>
                    </a:lnTo>
                    <a:lnTo>
                      <a:pt x="72" y="620"/>
                    </a:lnTo>
                    <a:lnTo>
                      <a:pt x="74" y="622"/>
                    </a:lnTo>
                    <a:lnTo>
                      <a:pt x="76" y="626"/>
                    </a:lnTo>
                    <a:lnTo>
                      <a:pt x="78" y="627"/>
                    </a:lnTo>
                    <a:lnTo>
                      <a:pt x="80" y="629"/>
                    </a:lnTo>
                    <a:lnTo>
                      <a:pt x="80" y="631"/>
                    </a:lnTo>
                    <a:lnTo>
                      <a:pt x="78" y="633"/>
                    </a:lnTo>
                    <a:lnTo>
                      <a:pt x="78" y="635"/>
                    </a:lnTo>
                    <a:lnTo>
                      <a:pt x="76" y="637"/>
                    </a:lnTo>
                    <a:lnTo>
                      <a:pt x="74" y="637"/>
                    </a:lnTo>
                    <a:lnTo>
                      <a:pt x="70" y="637"/>
                    </a:lnTo>
                    <a:lnTo>
                      <a:pt x="68" y="637"/>
                    </a:lnTo>
                    <a:lnTo>
                      <a:pt x="68" y="639"/>
                    </a:lnTo>
                    <a:lnTo>
                      <a:pt x="67" y="639"/>
                    </a:lnTo>
                    <a:lnTo>
                      <a:pt x="68" y="641"/>
                    </a:lnTo>
                    <a:lnTo>
                      <a:pt x="70" y="645"/>
                    </a:lnTo>
                    <a:lnTo>
                      <a:pt x="70" y="646"/>
                    </a:lnTo>
                    <a:lnTo>
                      <a:pt x="70" y="648"/>
                    </a:lnTo>
                    <a:lnTo>
                      <a:pt x="70" y="648"/>
                    </a:lnTo>
                    <a:lnTo>
                      <a:pt x="65" y="650"/>
                    </a:lnTo>
                    <a:lnTo>
                      <a:pt x="63" y="652"/>
                    </a:lnTo>
                    <a:lnTo>
                      <a:pt x="61" y="654"/>
                    </a:lnTo>
                    <a:lnTo>
                      <a:pt x="59" y="656"/>
                    </a:lnTo>
                    <a:lnTo>
                      <a:pt x="57" y="658"/>
                    </a:lnTo>
                    <a:lnTo>
                      <a:pt x="57" y="658"/>
                    </a:lnTo>
                    <a:lnTo>
                      <a:pt x="57" y="658"/>
                    </a:lnTo>
                    <a:lnTo>
                      <a:pt x="55" y="656"/>
                    </a:lnTo>
                    <a:lnTo>
                      <a:pt x="53" y="650"/>
                    </a:lnTo>
                    <a:lnTo>
                      <a:pt x="51" y="650"/>
                    </a:lnTo>
                    <a:lnTo>
                      <a:pt x="49" y="648"/>
                    </a:lnTo>
                    <a:lnTo>
                      <a:pt x="46" y="650"/>
                    </a:lnTo>
                    <a:lnTo>
                      <a:pt x="44" y="650"/>
                    </a:lnTo>
                    <a:lnTo>
                      <a:pt x="42" y="646"/>
                    </a:lnTo>
                    <a:lnTo>
                      <a:pt x="40" y="641"/>
                    </a:lnTo>
                    <a:lnTo>
                      <a:pt x="38" y="641"/>
                    </a:lnTo>
                    <a:lnTo>
                      <a:pt x="36" y="641"/>
                    </a:lnTo>
                    <a:lnTo>
                      <a:pt x="34" y="643"/>
                    </a:lnTo>
                    <a:lnTo>
                      <a:pt x="32" y="645"/>
                    </a:lnTo>
                    <a:lnTo>
                      <a:pt x="32" y="646"/>
                    </a:lnTo>
                    <a:lnTo>
                      <a:pt x="30" y="646"/>
                    </a:lnTo>
                    <a:lnTo>
                      <a:pt x="28" y="648"/>
                    </a:lnTo>
                    <a:lnTo>
                      <a:pt x="27" y="648"/>
                    </a:lnTo>
                    <a:lnTo>
                      <a:pt x="27" y="650"/>
                    </a:lnTo>
                    <a:lnTo>
                      <a:pt x="25" y="654"/>
                    </a:lnTo>
                    <a:lnTo>
                      <a:pt x="23" y="656"/>
                    </a:lnTo>
                    <a:lnTo>
                      <a:pt x="21" y="656"/>
                    </a:lnTo>
                    <a:lnTo>
                      <a:pt x="19" y="658"/>
                    </a:lnTo>
                    <a:lnTo>
                      <a:pt x="17" y="660"/>
                    </a:lnTo>
                    <a:lnTo>
                      <a:pt x="17" y="662"/>
                    </a:lnTo>
                    <a:lnTo>
                      <a:pt x="13" y="671"/>
                    </a:lnTo>
                    <a:lnTo>
                      <a:pt x="13" y="673"/>
                    </a:lnTo>
                    <a:lnTo>
                      <a:pt x="13" y="677"/>
                    </a:lnTo>
                    <a:lnTo>
                      <a:pt x="9" y="681"/>
                    </a:lnTo>
                    <a:lnTo>
                      <a:pt x="4" y="690"/>
                    </a:lnTo>
                    <a:lnTo>
                      <a:pt x="0" y="694"/>
                    </a:lnTo>
                    <a:lnTo>
                      <a:pt x="0" y="700"/>
                    </a:lnTo>
                    <a:lnTo>
                      <a:pt x="2" y="702"/>
                    </a:lnTo>
                    <a:lnTo>
                      <a:pt x="9" y="711"/>
                    </a:lnTo>
                    <a:lnTo>
                      <a:pt x="11" y="715"/>
                    </a:lnTo>
                    <a:lnTo>
                      <a:pt x="9" y="717"/>
                    </a:lnTo>
                    <a:lnTo>
                      <a:pt x="2" y="721"/>
                    </a:lnTo>
                    <a:lnTo>
                      <a:pt x="0" y="723"/>
                    </a:lnTo>
                    <a:lnTo>
                      <a:pt x="0" y="724"/>
                    </a:lnTo>
                    <a:lnTo>
                      <a:pt x="0" y="726"/>
                    </a:lnTo>
                    <a:lnTo>
                      <a:pt x="0" y="728"/>
                    </a:lnTo>
                    <a:lnTo>
                      <a:pt x="0" y="730"/>
                    </a:lnTo>
                    <a:lnTo>
                      <a:pt x="2" y="730"/>
                    </a:lnTo>
                    <a:lnTo>
                      <a:pt x="4" y="730"/>
                    </a:lnTo>
                    <a:lnTo>
                      <a:pt x="6" y="730"/>
                    </a:lnTo>
                    <a:lnTo>
                      <a:pt x="6" y="732"/>
                    </a:lnTo>
                    <a:lnTo>
                      <a:pt x="6" y="734"/>
                    </a:lnTo>
                    <a:lnTo>
                      <a:pt x="6" y="736"/>
                    </a:lnTo>
                    <a:lnTo>
                      <a:pt x="6" y="738"/>
                    </a:lnTo>
                    <a:lnTo>
                      <a:pt x="7" y="740"/>
                    </a:lnTo>
                    <a:lnTo>
                      <a:pt x="7" y="742"/>
                    </a:lnTo>
                    <a:lnTo>
                      <a:pt x="9" y="742"/>
                    </a:lnTo>
                    <a:lnTo>
                      <a:pt x="9" y="744"/>
                    </a:lnTo>
                    <a:lnTo>
                      <a:pt x="9" y="745"/>
                    </a:lnTo>
                    <a:lnTo>
                      <a:pt x="11" y="745"/>
                    </a:lnTo>
                    <a:lnTo>
                      <a:pt x="11" y="745"/>
                    </a:lnTo>
                    <a:lnTo>
                      <a:pt x="13" y="744"/>
                    </a:lnTo>
                    <a:lnTo>
                      <a:pt x="13" y="744"/>
                    </a:lnTo>
                    <a:lnTo>
                      <a:pt x="15" y="744"/>
                    </a:lnTo>
                    <a:lnTo>
                      <a:pt x="15" y="744"/>
                    </a:lnTo>
                    <a:lnTo>
                      <a:pt x="17" y="745"/>
                    </a:lnTo>
                    <a:lnTo>
                      <a:pt x="19" y="747"/>
                    </a:lnTo>
                    <a:lnTo>
                      <a:pt x="21" y="745"/>
                    </a:lnTo>
                    <a:lnTo>
                      <a:pt x="25" y="744"/>
                    </a:lnTo>
                    <a:lnTo>
                      <a:pt x="28" y="744"/>
                    </a:lnTo>
                    <a:lnTo>
                      <a:pt x="30" y="745"/>
                    </a:lnTo>
                    <a:lnTo>
                      <a:pt x="32" y="747"/>
                    </a:lnTo>
                    <a:lnTo>
                      <a:pt x="32" y="747"/>
                    </a:lnTo>
                    <a:lnTo>
                      <a:pt x="36" y="749"/>
                    </a:lnTo>
                    <a:lnTo>
                      <a:pt x="38" y="749"/>
                    </a:lnTo>
                    <a:lnTo>
                      <a:pt x="40" y="753"/>
                    </a:lnTo>
                    <a:lnTo>
                      <a:pt x="46" y="759"/>
                    </a:lnTo>
                    <a:lnTo>
                      <a:pt x="47" y="763"/>
                    </a:lnTo>
                    <a:lnTo>
                      <a:pt x="49" y="764"/>
                    </a:lnTo>
                    <a:lnTo>
                      <a:pt x="51" y="766"/>
                    </a:lnTo>
                    <a:lnTo>
                      <a:pt x="53" y="770"/>
                    </a:lnTo>
                    <a:lnTo>
                      <a:pt x="55" y="772"/>
                    </a:lnTo>
                    <a:lnTo>
                      <a:pt x="55" y="774"/>
                    </a:lnTo>
                    <a:lnTo>
                      <a:pt x="57" y="778"/>
                    </a:lnTo>
                    <a:lnTo>
                      <a:pt x="61" y="785"/>
                    </a:lnTo>
                    <a:lnTo>
                      <a:pt x="63" y="789"/>
                    </a:lnTo>
                    <a:lnTo>
                      <a:pt x="65" y="791"/>
                    </a:lnTo>
                    <a:lnTo>
                      <a:pt x="65" y="793"/>
                    </a:lnTo>
                    <a:lnTo>
                      <a:pt x="63" y="793"/>
                    </a:lnTo>
                    <a:lnTo>
                      <a:pt x="63" y="795"/>
                    </a:lnTo>
                    <a:lnTo>
                      <a:pt x="61" y="795"/>
                    </a:lnTo>
                    <a:lnTo>
                      <a:pt x="59" y="797"/>
                    </a:lnTo>
                    <a:lnTo>
                      <a:pt x="59" y="797"/>
                    </a:lnTo>
                    <a:lnTo>
                      <a:pt x="59" y="799"/>
                    </a:lnTo>
                    <a:lnTo>
                      <a:pt x="59" y="799"/>
                    </a:lnTo>
                    <a:lnTo>
                      <a:pt x="59" y="801"/>
                    </a:lnTo>
                    <a:lnTo>
                      <a:pt x="59" y="802"/>
                    </a:lnTo>
                    <a:lnTo>
                      <a:pt x="61" y="802"/>
                    </a:lnTo>
                    <a:lnTo>
                      <a:pt x="65" y="802"/>
                    </a:lnTo>
                    <a:lnTo>
                      <a:pt x="67" y="802"/>
                    </a:lnTo>
                    <a:lnTo>
                      <a:pt x="67" y="802"/>
                    </a:lnTo>
                    <a:lnTo>
                      <a:pt x="68" y="801"/>
                    </a:lnTo>
                    <a:lnTo>
                      <a:pt x="68" y="801"/>
                    </a:lnTo>
                    <a:lnTo>
                      <a:pt x="68" y="801"/>
                    </a:lnTo>
                    <a:lnTo>
                      <a:pt x="68" y="797"/>
                    </a:lnTo>
                    <a:lnTo>
                      <a:pt x="68" y="797"/>
                    </a:lnTo>
                    <a:lnTo>
                      <a:pt x="70" y="797"/>
                    </a:lnTo>
                    <a:lnTo>
                      <a:pt x="70" y="795"/>
                    </a:lnTo>
                    <a:lnTo>
                      <a:pt x="72" y="795"/>
                    </a:lnTo>
                    <a:lnTo>
                      <a:pt x="72" y="797"/>
                    </a:lnTo>
                    <a:lnTo>
                      <a:pt x="74" y="799"/>
                    </a:lnTo>
                    <a:lnTo>
                      <a:pt x="74" y="801"/>
                    </a:lnTo>
                    <a:lnTo>
                      <a:pt x="74" y="802"/>
                    </a:lnTo>
                    <a:lnTo>
                      <a:pt x="74" y="804"/>
                    </a:lnTo>
                    <a:lnTo>
                      <a:pt x="74" y="804"/>
                    </a:lnTo>
                    <a:lnTo>
                      <a:pt x="76" y="806"/>
                    </a:lnTo>
                    <a:lnTo>
                      <a:pt x="78" y="806"/>
                    </a:lnTo>
                    <a:lnTo>
                      <a:pt x="80" y="806"/>
                    </a:lnTo>
                    <a:lnTo>
                      <a:pt x="82" y="804"/>
                    </a:lnTo>
                    <a:lnTo>
                      <a:pt x="84" y="804"/>
                    </a:lnTo>
                    <a:lnTo>
                      <a:pt x="86" y="804"/>
                    </a:lnTo>
                    <a:lnTo>
                      <a:pt x="88" y="804"/>
                    </a:lnTo>
                    <a:lnTo>
                      <a:pt x="88" y="806"/>
                    </a:lnTo>
                    <a:lnTo>
                      <a:pt x="88" y="806"/>
                    </a:lnTo>
                    <a:lnTo>
                      <a:pt x="86" y="808"/>
                    </a:lnTo>
                    <a:lnTo>
                      <a:pt x="86" y="810"/>
                    </a:lnTo>
                    <a:lnTo>
                      <a:pt x="84" y="812"/>
                    </a:lnTo>
                    <a:lnTo>
                      <a:pt x="84" y="816"/>
                    </a:lnTo>
                    <a:lnTo>
                      <a:pt x="86" y="818"/>
                    </a:lnTo>
                    <a:lnTo>
                      <a:pt x="86" y="820"/>
                    </a:lnTo>
                    <a:lnTo>
                      <a:pt x="86" y="822"/>
                    </a:lnTo>
                    <a:lnTo>
                      <a:pt x="89" y="827"/>
                    </a:lnTo>
                    <a:lnTo>
                      <a:pt x="89" y="829"/>
                    </a:lnTo>
                    <a:lnTo>
                      <a:pt x="89" y="844"/>
                    </a:lnTo>
                    <a:lnTo>
                      <a:pt x="91" y="850"/>
                    </a:lnTo>
                    <a:lnTo>
                      <a:pt x="93" y="852"/>
                    </a:lnTo>
                    <a:lnTo>
                      <a:pt x="95" y="854"/>
                    </a:lnTo>
                    <a:lnTo>
                      <a:pt x="97" y="854"/>
                    </a:lnTo>
                    <a:lnTo>
                      <a:pt x="99" y="852"/>
                    </a:lnTo>
                    <a:lnTo>
                      <a:pt x="103" y="850"/>
                    </a:lnTo>
                    <a:lnTo>
                      <a:pt x="107" y="848"/>
                    </a:lnTo>
                    <a:lnTo>
                      <a:pt x="109" y="846"/>
                    </a:lnTo>
                    <a:lnTo>
                      <a:pt x="110" y="846"/>
                    </a:lnTo>
                    <a:lnTo>
                      <a:pt x="112" y="846"/>
                    </a:lnTo>
                    <a:lnTo>
                      <a:pt x="112" y="846"/>
                    </a:lnTo>
                    <a:lnTo>
                      <a:pt x="114" y="846"/>
                    </a:lnTo>
                    <a:lnTo>
                      <a:pt x="118" y="848"/>
                    </a:lnTo>
                    <a:lnTo>
                      <a:pt x="120" y="850"/>
                    </a:lnTo>
                    <a:lnTo>
                      <a:pt x="124" y="850"/>
                    </a:lnTo>
                    <a:lnTo>
                      <a:pt x="126" y="850"/>
                    </a:lnTo>
                    <a:lnTo>
                      <a:pt x="131" y="850"/>
                    </a:lnTo>
                    <a:lnTo>
                      <a:pt x="141" y="850"/>
                    </a:lnTo>
                    <a:lnTo>
                      <a:pt x="141" y="848"/>
                    </a:lnTo>
                    <a:lnTo>
                      <a:pt x="141" y="846"/>
                    </a:lnTo>
                    <a:lnTo>
                      <a:pt x="141" y="842"/>
                    </a:lnTo>
                    <a:lnTo>
                      <a:pt x="141" y="841"/>
                    </a:lnTo>
                    <a:lnTo>
                      <a:pt x="141" y="841"/>
                    </a:lnTo>
                    <a:lnTo>
                      <a:pt x="143" y="839"/>
                    </a:lnTo>
                    <a:lnTo>
                      <a:pt x="143" y="839"/>
                    </a:lnTo>
                    <a:lnTo>
                      <a:pt x="143" y="839"/>
                    </a:lnTo>
                    <a:lnTo>
                      <a:pt x="145" y="839"/>
                    </a:lnTo>
                    <a:lnTo>
                      <a:pt x="145" y="839"/>
                    </a:lnTo>
                    <a:lnTo>
                      <a:pt x="145" y="841"/>
                    </a:lnTo>
                    <a:lnTo>
                      <a:pt x="147" y="841"/>
                    </a:lnTo>
                    <a:lnTo>
                      <a:pt x="147" y="841"/>
                    </a:lnTo>
                    <a:lnTo>
                      <a:pt x="147" y="841"/>
                    </a:lnTo>
                    <a:lnTo>
                      <a:pt x="149" y="841"/>
                    </a:lnTo>
                    <a:lnTo>
                      <a:pt x="149" y="839"/>
                    </a:lnTo>
                    <a:lnTo>
                      <a:pt x="149" y="839"/>
                    </a:lnTo>
                    <a:lnTo>
                      <a:pt x="149" y="837"/>
                    </a:lnTo>
                    <a:lnTo>
                      <a:pt x="149" y="835"/>
                    </a:lnTo>
                    <a:lnTo>
                      <a:pt x="149" y="835"/>
                    </a:lnTo>
                    <a:lnTo>
                      <a:pt x="150" y="833"/>
                    </a:lnTo>
                    <a:lnTo>
                      <a:pt x="150" y="831"/>
                    </a:lnTo>
                    <a:lnTo>
                      <a:pt x="150" y="831"/>
                    </a:lnTo>
                    <a:lnTo>
                      <a:pt x="152" y="829"/>
                    </a:lnTo>
                    <a:lnTo>
                      <a:pt x="152" y="827"/>
                    </a:lnTo>
                    <a:lnTo>
                      <a:pt x="152" y="825"/>
                    </a:lnTo>
                    <a:lnTo>
                      <a:pt x="152" y="820"/>
                    </a:lnTo>
                    <a:lnTo>
                      <a:pt x="152" y="820"/>
                    </a:lnTo>
                    <a:lnTo>
                      <a:pt x="152" y="818"/>
                    </a:lnTo>
                    <a:lnTo>
                      <a:pt x="152" y="818"/>
                    </a:lnTo>
                    <a:lnTo>
                      <a:pt x="154" y="816"/>
                    </a:lnTo>
                    <a:lnTo>
                      <a:pt x="154" y="814"/>
                    </a:lnTo>
                    <a:lnTo>
                      <a:pt x="154" y="814"/>
                    </a:lnTo>
                    <a:lnTo>
                      <a:pt x="154" y="814"/>
                    </a:lnTo>
                    <a:lnTo>
                      <a:pt x="156" y="812"/>
                    </a:lnTo>
                    <a:lnTo>
                      <a:pt x="156" y="808"/>
                    </a:lnTo>
                    <a:lnTo>
                      <a:pt x="156" y="806"/>
                    </a:lnTo>
                    <a:lnTo>
                      <a:pt x="158" y="804"/>
                    </a:lnTo>
                    <a:lnTo>
                      <a:pt x="158" y="802"/>
                    </a:lnTo>
                    <a:lnTo>
                      <a:pt x="158" y="802"/>
                    </a:lnTo>
                    <a:lnTo>
                      <a:pt x="156" y="801"/>
                    </a:lnTo>
                    <a:lnTo>
                      <a:pt x="156" y="799"/>
                    </a:lnTo>
                    <a:lnTo>
                      <a:pt x="156" y="799"/>
                    </a:lnTo>
                    <a:lnTo>
                      <a:pt x="156" y="797"/>
                    </a:lnTo>
                    <a:lnTo>
                      <a:pt x="156" y="797"/>
                    </a:lnTo>
                    <a:lnTo>
                      <a:pt x="158" y="795"/>
                    </a:lnTo>
                    <a:lnTo>
                      <a:pt x="158" y="793"/>
                    </a:lnTo>
                    <a:lnTo>
                      <a:pt x="160" y="789"/>
                    </a:lnTo>
                    <a:lnTo>
                      <a:pt x="160" y="789"/>
                    </a:lnTo>
                    <a:lnTo>
                      <a:pt x="162" y="789"/>
                    </a:lnTo>
                    <a:lnTo>
                      <a:pt x="162" y="789"/>
                    </a:lnTo>
                    <a:lnTo>
                      <a:pt x="164" y="789"/>
                    </a:lnTo>
                    <a:lnTo>
                      <a:pt x="164" y="789"/>
                    </a:lnTo>
                    <a:lnTo>
                      <a:pt x="166" y="787"/>
                    </a:lnTo>
                    <a:lnTo>
                      <a:pt x="173" y="785"/>
                    </a:lnTo>
                    <a:lnTo>
                      <a:pt x="173" y="785"/>
                    </a:lnTo>
                    <a:lnTo>
                      <a:pt x="175" y="783"/>
                    </a:lnTo>
                    <a:lnTo>
                      <a:pt x="175" y="782"/>
                    </a:lnTo>
                    <a:lnTo>
                      <a:pt x="177" y="780"/>
                    </a:lnTo>
                    <a:lnTo>
                      <a:pt x="177" y="780"/>
                    </a:lnTo>
                    <a:lnTo>
                      <a:pt x="179" y="780"/>
                    </a:lnTo>
                    <a:lnTo>
                      <a:pt x="183" y="780"/>
                    </a:lnTo>
                    <a:lnTo>
                      <a:pt x="183" y="778"/>
                    </a:lnTo>
                    <a:lnTo>
                      <a:pt x="185" y="778"/>
                    </a:lnTo>
                    <a:lnTo>
                      <a:pt x="185" y="778"/>
                    </a:lnTo>
                    <a:lnTo>
                      <a:pt x="189" y="770"/>
                    </a:lnTo>
                    <a:lnTo>
                      <a:pt x="192" y="766"/>
                    </a:lnTo>
                    <a:lnTo>
                      <a:pt x="192" y="764"/>
                    </a:lnTo>
                    <a:lnTo>
                      <a:pt x="198" y="761"/>
                    </a:lnTo>
                    <a:lnTo>
                      <a:pt x="202" y="757"/>
                    </a:lnTo>
                    <a:lnTo>
                      <a:pt x="204" y="755"/>
                    </a:lnTo>
                    <a:lnTo>
                      <a:pt x="206" y="753"/>
                    </a:lnTo>
                    <a:lnTo>
                      <a:pt x="208" y="751"/>
                    </a:lnTo>
                    <a:lnTo>
                      <a:pt x="210" y="751"/>
                    </a:lnTo>
                    <a:lnTo>
                      <a:pt x="210" y="751"/>
                    </a:lnTo>
                    <a:lnTo>
                      <a:pt x="211" y="749"/>
                    </a:lnTo>
                    <a:lnTo>
                      <a:pt x="211" y="747"/>
                    </a:lnTo>
                    <a:lnTo>
                      <a:pt x="210" y="745"/>
                    </a:lnTo>
                    <a:lnTo>
                      <a:pt x="210" y="745"/>
                    </a:lnTo>
                    <a:lnTo>
                      <a:pt x="208" y="744"/>
                    </a:lnTo>
                    <a:lnTo>
                      <a:pt x="206" y="744"/>
                    </a:lnTo>
                    <a:lnTo>
                      <a:pt x="206" y="742"/>
                    </a:lnTo>
                    <a:lnTo>
                      <a:pt x="206" y="742"/>
                    </a:lnTo>
                    <a:lnTo>
                      <a:pt x="206" y="740"/>
                    </a:lnTo>
                    <a:lnTo>
                      <a:pt x="206" y="740"/>
                    </a:lnTo>
                    <a:lnTo>
                      <a:pt x="208" y="740"/>
                    </a:lnTo>
                    <a:lnTo>
                      <a:pt x="208" y="740"/>
                    </a:lnTo>
                    <a:lnTo>
                      <a:pt x="210" y="740"/>
                    </a:lnTo>
                    <a:lnTo>
                      <a:pt x="210" y="738"/>
                    </a:lnTo>
                    <a:lnTo>
                      <a:pt x="211" y="738"/>
                    </a:lnTo>
                    <a:lnTo>
                      <a:pt x="213" y="734"/>
                    </a:lnTo>
                    <a:lnTo>
                      <a:pt x="213" y="734"/>
                    </a:lnTo>
                    <a:lnTo>
                      <a:pt x="215" y="732"/>
                    </a:lnTo>
                    <a:lnTo>
                      <a:pt x="215" y="732"/>
                    </a:lnTo>
                    <a:lnTo>
                      <a:pt x="217" y="732"/>
                    </a:lnTo>
                    <a:lnTo>
                      <a:pt x="219" y="730"/>
                    </a:lnTo>
                    <a:lnTo>
                      <a:pt x="223" y="730"/>
                    </a:lnTo>
                    <a:lnTo>
                      <a:pt x="225" y="730"/>
                    </a:lnTo>
                    <a:lnTo>
                      <a:pt x="227" y="728"/>
                    </a:lnTo>
                    <a:lnTo>
                      <a:pt x="227" y="728"/>
                    </a:lnTo>
                    <a:lnTo>
                      <a:pt x="229" y="723"/>
                    </a:lnTo>
                    <a:lnTo>
                      <a:pt x="229" y="723"/>
                    </a:lnTo>
                    <a:lnTo>
                      <a:pt x="231" y="723"/>
                    </a:lnTo>
                    <a:lnTo>
                      <a:pt x="231" y="723"/>
                    </a:lnTo>
                    <a:lnTo>
                      <a:pt x="231" y="723"/>
                    </a:lnTo>
                    <a:lnTo>
                      <a:pt x="232" y="724"/>
                    </a:lnTo>
                    <a:lnTo>
                      <a:pt x="234" y="724"/>
                    </a:lnTo>
                    <a:lnTo>
                      <a:pt x="234" y="726"/>
                    </a:lnTo>
                    <a:lnTo>
                      <a:pt x="236" y="723"/>
                    </a:lnTo>
                    <a:lnTo>
                      <a:pt x="236" y="721"/>
                    </a:lnTo>
                    <a:lnTo>
                      <a:pt x="236" y="721"/>
                    </a:lnTo>
                    <a:lnTo>
                      <a:pt x="236" y="719"/>
                    </a:lnTo>
                    <a:lnTo>
                      <a:pt x="238" y="713"/>
                    </a:lnTo>
                    <a:lnTo>
                      <a:pt x="238" y="709"/>
                    </a:lnTo>
                    <a:lnTo>
                      <a:pt x="238" y="709"/>
                    </a:lnTo>
                    <a:lnTo>
                      <a:pt x="238" y="707"/>
                    </a:lnTo>
                    <a:lnTo>
                      <a:pt x="240" y="707"/>
                    </a:lnTo>
                    <a:lnTo>
                      <a:pt x="240" y="707"/>
                    </a:lnTo>
                    <a:lnTo>
                      <a:pt x="240" y="705"/>
                    </a:lnTo>
                    <a:lnTo>
                      <a:pt x="240" y="705"/>
                    </a:lnTo>
                    <a:lnTo>
                      <a:pt x="242" y="705"/>
                    </a:lnTo>
                    <a:lnTo>
                      <a:pt x="244" y="704"/>
                    </a:lnTo>
                    <a:lnTo>
                      <a:pt x="246" y="704"/>
                    </a:lnTo>
                    <a:lnTo>
                      <a:pt x="246" y="702"/>
                    </a:lnTo>
                    <a:lnTo>
                      <a:pt x="246" y="702"/>
                    </a:lnTo>
                    <a:lnTo>
                      <a:pt x="246" y="692"/>
                    </a:lnTo>
                    <a:lnTo>
                      <a:pt x="246" y="692"/>
                    </a:lnTo>
                    <a:lnTo>
                      <a:pt x="246" y="690"/>
                    </a:lnTo>
                    <a:lnTo>
                      <a:pt x="246" y="688"/>
                    </a:lnTo>
                    <a:lnTo>
                      <a:pt x="244" y="686"/>
                    </a:lnTo>
                    <a:lnTo>
                      <a:pt x="242" y="685"/>
                    </a:lnTo>
                    <a:lnTo>
                      <a:pt x="242" y="681"/>
                    </a:lnTo>
                    <a:lnTo>
                      <a:pt x="242" y="681"/>
                    </a:lnTo>
                    <a:lnTo>
                      <a:pt x="242" y="679"/>
                    </a:lnTo>
                    <a:lnTo>
                      <a:pt x="238" y="677"/>
                    </a:lnTo>
                    <a:lnTo>
                      <a:pt x="238" y="675"/>
                    </a:lnTo>
                    <a:lnTo>
                      <a:pt x="238" y="675"/>
                    </a:lnTo>
                    <a:lnTo>
                      <a:pt x="238" y="671"/>
                    </a:lnTo>
                    <a:lnTo>
                      <a:pt x="238" y="669"/>
                    </a:lnTo>
                    <a:lnTo>
                      <a:pt x="238" y="667"/>
                    </a:lnTo>
                    <a:lnTo>
                      <a:pt x="236" y="666"/>
                    </a:lnTo>
                    <a:lnTo>
                      <a:pt x="236" y="664"/>
                    </a:lnTo>
                    <a:lnTo>
                      <a:pt x="236" y="662"/>
                    </a:lnTo>
                    <a:lnTo>
                      <a:pt x="236" y="660"/>
                    </a:lnTo>
                    <a:lnTo>
                      <a:pt x="236" y="658"/>
                    </a:lnTo>
                    <a:lnTo>
                      <a:pt x="236" y="656"/>
                    </a:lnTo>
                    <a:lnTo>
                      <a:pt x="238" y="652"/>
                    </a:lnTo>
                    <a:lnTo>
                      <a:pt x="238" y="650"/>
                    </a:lnTo>
                    <a:lnTo>
                      <a:pt x="238" y="648"/>
                    </a:lnTo>
                    <a:lnTo>
                      <a:pt x="238" y="648"/>
                    </a:lnTo>
                    <a:lnTo>
                      <a:pt x="234" y="646"/>
                    </a:lnTo>
                    <a:lnTo>
                      <a:pt x="234" y="646"/>
                    </a:lnTo>
                    <a:lnTo>
                      <a:pt x="234" y="645"/>
                    </a:lnTo>
                    <a:lnTo>
                      <a:pt x="234" y="645"/>
                    </a:lnTo>
                    <a:lnTo>
                      <a:pt x="236" y="643"/>
                    </a:lnTo>
                    <a:lnTo>
                      <a:pt x="238" y="641"/>
                    </a:lnTo>
                    <a:lnTo>
                      <a:pt x="238" y="641"/>
                    </a:lnTo>
                    <a:lnTo>
                      <a:pt x="238" y="639"/>
                    </a:lnTo>
                    <a:lnTo>
                      <a:pt x="238" y="639"/>
                    </a:lnTo>
                    <a:lnTo>
                      <a:pt x="238" y="637"/>
                    </a:lnTo>
                    <a:lnTo>
                      <a:pt x="236" y="635"/>
                    </a:lnTo>
                    <a:lnTo>
                      <a:pt x="236" y="635"/>
                    </a:lnTo>
                    <a:lnTo>
                      <a:pt x="232" y="635"/>
                    </a:lnTo>
                    <a:lnTo>
                      <a:pt x="231" y="635"/>
                    </a:lnTo>
                    <a:lnTo>
                      <a:pt x="231" y="633"/>
                    </a:lnTo>
                    <a:lnTo>
                      <a:pt x="231" y="633"/>
                    </a:lnTo>
                    <a:lnTo>
                      <a:pt x="229" y="627"/>
                    </a:lnTo>
                    <a:lnTo>
                      <a:pt x="227" y="627"/>
                    </a:lnTo>
                    <a:lnTo>
                      <a:pt x="227" y="627"/>
                    </a:lnTo>
                    <a:lnTo>
                      <a:pt x="227" y="626"/>
                    </a:lnTo>
                    <a:lnTo>
                      <a:pt x="223" y="626"/>
                    </a:lnTo>
                    <a:lnTo>
                      <a:pt x="221" y="626"/>
                    </a:lnTo>
                    <a:lnTo>
                      <a:pt x="221" y="624"/>
                    </a:lnTo>
                    <a:lnTo>
                      <a:pt x="221" y="612"/>
                    </a:lnTo>
                    <a:lnTo>
                      <a:pt x="223" y="608"/>
                    </a:lnTo>
                    <a:lnTo>
                      <a:pt x="223" y="608"/>
                    </a:lnTo>
                    <a:lnTo>
                      <a:pt x="223" y="607"/>
                    </a:lnTo>
                    <a:lnTo>
                      <a:pt x="221" y="603"/>
                    </a:lnTo>
                    <a:lnTo>
                      <a:pt x="221" y="599"/>
                    </a:lnTo>
                    <a:lnTo>
                      <a:pt x="221" y="597"/>
                    </a:lnTo>
                    <a:lnTo>
                      <a:pt x="223" y="591"/>
                    </a:lnTo>
                    <a:lnTo>
                      <a:pt x="223" y="589"/>
                    </a:lnTo>
                    <a:lnTo>
                      <a:pt x="221" y="589"/>
                    </a:lnTo>
                    <a:lnTo>
                      <a:pt x="219" y="588"/>
                    </a:lnTo>
                    <a:lnTo>
                      <a:pt x="219" y="588"/>
                    </a:lnTo>
                    <a:lnTo>
                      <a:pt x="215" y="588"/>
                    </a:lnTo>
                    <a:lnTo>
                      <a:pt x="213" y="588"/>
                    </a:lnTo>
                    <a:lnTo>
                      <a:pt x="213" y="586"/>
                    </a:lnTo>
                    <a:lnTo>
                      <a:pt x="211" y="586"/>
                    </a:lnTo>
                    <a:lnTo>
                      <a:pt x="210" y="582"/>
                    </a:lnTo>
                    <a:lnTo>
                      <a:pt x="210" y="580"/>
                    </a:lnTo>
                    <a:lnTo>
                      <a:pt x="210" y="580"/>
                    </a:lnTo>
                    <a:lnTo>
                      <a:pt x="198" y="574"/>
                    </a:lnTo>
                    <a:lnTo>
                      <a:pt x="196" y="572"/>
                    </a:lnTo>
                    <a:lnTo>
                      <a:pt x="196" y="570"/>
                    </a:lnTo>
                    <a:lnTo>
                      <a:pt x="194" y="568"/>
                    </a:lnTo>
                    <a:lnTo>
                      <a:pt x="194" y="568"/>
                    </a:lnTo>
                    <a:lnTo>
                      <a:pt x="194" y="567"/>
                    </a:lnTo>
                    <a:lnTo>
                      <a:pt x="194" y="565"/>
                    </a:lnTo>
                    <a:lnTo>
                      <a:pt x="194" y="565"/>
                    </a:lnTo>
                    <a:lnTo>
                      <a:pt x="200" y="555"/>
                    </a:lnTo>
                    <a:lnTo>
                      <a:pt x="200" y="553"/>
                    </a:lnTo>
                    <a:lnTo>
                      <a:pt x="202" y="553"/>
                    </a:lnTo>
                    <a:lnTo>
                      <a:pt x="204" y="551"/>
                    </a:lnTo>
                    <a:lnTo>
                      <a:pt x="210" y="546"/>
                    </a:lnTo>
                    <a:lnTo>
                      <a:pt x="210" y="546"/>
                    </a:lnTo>
                    <a:lnTo>
                      <a:pt x="211" y="546"/>
                    </a:lnTo>
                    <a:lnTo>
                      <a:pt x="211" y="546"/>
                    </a:lnTo>
                    <a:lnTo>
                      <a:pt x="213" y="546"/>
                    </a:lnTo>
                    <a:lnTo>
                      <a:pt x="219" y="553"/>
                    </a:lnTo>
                    <a:lnTo>
                      <a:pt x="219" y="555"/>
                    </a:lnTo>
                    <a:lnTo>
                      <a:pt x="219" y="555"/>
                    </a:lnTo>
                    <a:lnTo>
                      <a:pt x="219" y="557"/>
                    </a:lnTo>
                    <a:lnTo>
                      <a:pt x="219" y="557"/>
                    </a:lnTo>
                    <a:lnTo>
                      <a:pt x="221" y="557"/>
                    </a:lnTo>
                    <a:lnTo>
                      <a:pt x="221" y="557"/>
                    </a:lnTo>
                    <a:lnTo>
                      <a:pt x="223" y="557"/>
                    </a:lnTo>
                    <a:lnTo>
                      <a:pt x="223" y="557"/>
                    </a:lnTo>
                    <a:lnTo>
                      <a:pt x="223" y="557"/>
                    </a:lnTo>
                    <a:lnTo>
                      <a:pt x="225" y="553"/>
                    </a:lnTo>
                    <a:lnTo>
                      <a:pt x="225" y="553"/>
                    </a:lnTo>
                    <a:lnTo>
                      <a:pt x="227" y="551"/>
                    </a:lnTo>
                    <a:lnTo>
                      <a:pt x="227" y="551"/>
                    </a:lnTo>
                    <a:lnTo>
                      <a:pt x="227" y="551"/>
                    </a:lnTo>
                    <a:lnTo>
                      <a:pt x="229" y="551"/>
                    </a:lnTo>
                    <a:lnTo>
                      <a:pt x="229" y="551"/>
                    </a:lnTo>
                    <a:lnTo>
                      <a:pt x="229" y="551"/>
                    </a:lnTo>
                    <a:lnTo>
                      <a:pt x="229" y="553"/>
                    </a:lnTo>
                    <a:lnTo>
                      <a:pt x="234" y="557"/>
                    </a:lnTo>
                    <a:lnTo>
                      <a:pt x="234" y="557"/>
                    </a:lnTo>
                    <a:lnTo>
                      <a:pt x="236" y="559"/>
                    </a:lnTo>
                    <a:lnTo>
                      <a:pt x="236" y="559"/>
                    </a:lnTo>
                    <a:lnTo>
                      <a:pt x="236" y="559"/>
                    </a:lnTo>
                    <a:lnTo>
                      <a:pt x="236" y="561"/>
                    </a:lnTo>
                    <a:lnTo>
                      <a:pt x="238" y="561"/>
                    </a:lnTo>
                    <a:lnTo>
                      <a:pt x="238" y="561"/>
                    </a:lnTo>
                    <a:lnTo>
                      <a:pt x="238" y="563"/>
                    </a:lnTo>
                    <a:lnTo>
                      <a:pt x="238" y="563"/>
                    </a:lnTo>
                    <a:lnTo>
                      <a:pt x="240" y="563"/>
                    </a:lnTo>
                    <a:lnTo>
                      <a:pt x="244" y="563"/>
                    </a:lnTo>
                    <a:lnTo>
                      <a:pt x="244" y="563"/>
                    </a:lnTo>
                    <a:lnTo>
                      <a:pt x="246" y="563"/>
                    </a:lnTo>
                    <a:lnTo>
                      <a:pt x="246" y="565"/>
                    </a:lnTo>
                    <a:lnTo>
                      <a:pt x="253" y="582"/>
                    </a:lnTo>
                    <a:lnTo>
                      <a:pt x="255" y="582"/>
                    </a:lnTo>
                    <a:lnTo>
                      <a:pt x="255" y="584"/>
                    </a:lnTo>
                    <a:lnTo>
                      <a:pt x="257" y="582"/>
                    </a:lnTo>
                    <a:lnTo>
                      <a:pt x="257" y="582"/>
                    </a:lnTo>
                    <a:lnTo>
                      <a:pt x="259" y="578"/>
                    </a:lnTo>
                    <a:lnTo>
                      <a:pt x="259" y="576"/>
                    </a:lnTo>
                    <a:lnTo>
                      <a:pt x="261" y="576"/>
                    </a:lnTo>
                    <a:lnTo>
                      <a:pt x="261" y="576"/>
                    </a:lnTo>
                    <a:lnTo>
                      <a:pt x="261" y="576"/>
                    </a:lnTo>
                    <a:lnTo>
                      <a:pt x="263" y="574"/>
                    </a:lnTo>
                    <a:lnTo>
                      <a:pt x="265" y="574"/>
                    </a:lnTo>
                    <a:lnTo>
                      <a:pt x="265" y="574"/>
                    </a:lnTo>
                    <a:lnTo>
                      <a:pt x="276" y="576"/>
                    </a:lnTo>
                    <a:lnTo>
                      <a:pt x="278" y="576"/>
                    </a:lnTo>
                    <a:lnTo>
                      <a:pt x="282" y="578"/>
                    </a:lnTo>
                    <a:lnTo>
                      <a:pt x="284" y="580"/>
                    </a:lnTo>
                    <a:lnTo>
                      <a:pt x="288" y="580"/>
                    </a:lnTo>
                    <a:lnTo>
                      <a:pt x="290" y="580"/>
                    </a:lnTo>
                    <a:lnTo>
                      <a:pt x="290" y="580"/>
                    </a:lnTo>
                    <a:lnTo>
                      <a:pt x="290" y="582"/>
                    </a:lnTo>
                    <a:lnTo>
                      <a:pt x="290" y="582"/>
                    </a:lnTo>
                    <a:lnTo>
                      <a:pt x="290" y="584"/>
                    </a:lnTo>
                    <a:lnTo>
                      <a:pt x="290" y="586"/>
                    </a:lnTo>
                    <a:lnTo>
                      <a:pt x="290" y="588"/>
                    </a:lnTo>
                    <a:lnTo>
                      <a:pt x="290" y="588"/>
                    </a:lnTo>
                    <a:lnTo>
                      <a:pt x="290" y="589"/>
                    </a:lnTo>
                    <a:lnTo>
                      <a:pt x="290" y="589"/>
                    </a:lnTo>
                    <a:lnTo>
                      <a:pt x="290" y="589"/>
                    </a:lnTo>
                    <a:lnTo>
                      <a:pt x="292" y="589"/>
                    </a:lnTo>
                    <a:lnTo>
                      <a:pt x="293" y="589"/>
                    </a:lnTo>
                    <a:lnTo>
                      <a:pt x="297" y="586"/>
                    </a:lnTo>
                    <a:lnTo>
                      <a:pt x="299" y="584"/>
                    </a:lnTo>
                    <a:lnTo>
                      <a:pt x="301" y="584"/>
                    </a:lnTo>
                    <a:lnTo>
                      <a:pt x="303" y="584"/>
                    </a:lnTo>
                    <a:lnTo>
                      <a:pt x="305" y="582"/>
                    </a:lnTo>
                    <a:lnTo>
                      <a:pt x="307" y="580"/>
                    </a:lnTo>
                    <a:lnTo>
                      <a:pt x="307" y="580"/>
                    </a:lnTo>
                    <a:lnTo>
                      <a:pt x="307" y="578"/>
                    </a:lnTo>
                    <a:lnTo>
                      <a:pt x="307" y="578"/>
                    </a:lnTo>
                    <a:lnTo>
                      <a:pt x="305" y="576"/>
                    </a:lnTo>
                    <a:lnTo>
                      <a:pt x="303" y="574"/>
                    </a:lnTo>
                    <a:lnTo>
                      <a:pt x="303" y="574"/>
                    </a:lnTo>
                    <a:lnTo>
                      <a:pt x="303" y="572"/>
                    </a:lnTo>
                    <a:lnTo>
                      <a:pt x="303" y="572"/>
                    </a:lnTo>
                    <a:lnTo>
                      <a:pt x="305" y="565"/>
                    </a:lnTo>
                    <a:lnTo>
                      <a:pt x="305" y="563"/>
                    </a:lnTo>
                    <a:lnTo>
                      <a:pt x="305" y="563"/>
                    </a:lnTo>
                    <a:lnTo>
                      <a:pt x="305" y="559"/>
                    </a:lnTo>
                    <a:lnTo>
                      <a:pt x="305" y="559"/>
                    </a:lnTo>
                    <a:lnTo>
                      <a:pt x="305" y="559"/>
                    </a:lnTo>
                    <a:lnTo>
                      <a:pt x="303" y="559"/>
                    </a:lnTo>
                    <a:lnTo>
                      <a:pt x="301" y="559"/>
                    </a:lnTo>
                    <a:lnTo>
                      <a:pt x="299" y="559"/>
                    </a:lnTo>
                    <a:lnTo>
                      <a:pt x="299" y="559"/>
                    </a:lnTo>
                    <a:lnTo>
                      <a:pt x="297" y="559"/>
                    </a:lnTo>
                    <a:lnTo>
                      <a:pt x="297" y="559"/>
                    </a:lnTo>
                    <a:lnTo>
                      <a:pt x="297" y="559"/>
                    </a:lnTo>
                    <a:lnTo>
                      <a:pt x="295" y="561"/>
                    </a:lnTo>
                    <a:lnTo>
                      <a:pt x="295" y="561"/>
                    </a:lnTo>
                    <a:lnTo>
                      <a:pt x="293" y="561"/>
                    </a:lnTo>
                    <a:lnTo>
                      <a:pt x="293" y="561"/>
                    </a:lnTo>
                    <a:lnTo>
                      <a:pt x="293" y="561"/>
                    </a:lnTo>
                    <a:lnTo>
                      <a:pt x="292" y="559"/>
                    </a:lnTo>
                    <a:lnTo>
                      <a:pt x="292" y="559"/>
                    </a:lnTo>
                    <a:lnTo>
                      <a:pt x="290" y="557"/>
                    </a:lnTo>
                    <a:lnTo>
                      <a:pt x="290" y="557"/>
                    </a:lnTo>
                    <a:lnTo>
                      <a:pt x="288" y="557"/>
                    </a:lnTo>
                    <a:lnTo>
                      <a:pt x="288" y="555"/>
                    </a:lnTo>
                    <a:lnTo>
                      <a:pt x="286" y="555"/>
                    </a:lnTo>
                    <a:lnTo>
                      <a:pt x="282" y="557"/>
                    </a:lnTo>
                    <a:lnTo>
                      <a:pt x="280" y="557"/>
                    </a:lnTo>
                    <a:lnTo>
                      <a:pt x="278" y="555"/>
                    </a:lnTo>
                    <a:lnTo>
                      <a:pt x="278" y="555"/>
                    </a:lnTo>
                    <a:lnTo>
                      <a:pt x="276" y="553"/>
                    </a:lnTo>
                    <a:lnTo>
                      <a:pt x="276" y="553"/>
                    </a:lnTo>
                    <a:lnTo>
                      <a:pt x="271" y="549"/>
                    </a:lnTo>
                    <a:lnTo>
                      <a:pt x="269" y="549"/>
                    </a:lnTo>
                    <a:lnTo>
                      <a:pt x="269" y="548"/>
                    </a:lnTo>
                    <a:lnTo>
                      <a:pt x="273" y="538"/>
                    </a:lnTo>
                    <a:lnTo>
                      <a:pt x="273" y="536"/>
                    </a:lnTo>
                    <a:lnTo>
                      <a:pt x="273" y="532"/>
                    </a:lnTo>
                    <a:lnTo>
                      <a:pt x="271" y="527"/>
                    </a:lnTo>
                    <a:lnTo>
                      <a:pt x="271" y="521"/>
                    </a:lnTo>
                    <a:lnTo>
                      <a:pt x="271" y="519"/>
                    </a:lnTo>
                    <a:lnTo>
                      <a:pt x="271" y="517"/>
                    </a:lnTo>
                    <a:lnTo>
                      <a:pt x="269" y="517"/>
                    </a:lnTo>
                    <a:lnTo>
                      <a:pt x="269" y="515"/>
                    </a:lnTo>
                    <a:lnTo>
                      <a:pt x="269" y="513"/>
                    </a:lnTo>
                    <a:lnTo>
                      <a:pt x="271" y="502"/>
                    </a:lnTo>
                    <a:lnTo>
                      <a:pt x="271" y="500"/>
                    </a:lnTo>
                    <a:lnTo>
                      <a:pt x="271" y="498"/>
                    </a:lnTo>
                    <a:lnTo>
                      <a:pt x="269" y="498"/>
                    </a:lnTo>
                    <a:lnTo>
                      <a:pt x="269" y="498"/>
                    </a:lnTo>
                    <a:lnTo>
                      <a:pt x="269" y="498"/>
                    </a:lnTo>
                    <a:lnTo>
                      <a:pt x="267" y="498"/>
                    </a:lnTo>
                    <a:lnTo>
                      <a:pt x="267" y="498"/>
                    </a:lnTo>
                    <a:lnTo>
                      <a:pt x="267" y="496"/>
                    </a:lnTo>
                    <a:lnTo>
                      <a:pt x="265" y="494"/>
                    </a:lnTo>
                    <a:lnTo>
                      <a:pt x="265" y="492"/>
                    </a:lnTo>
                    <a:lnTo>
                      <a:pt x="265" y="492"/>
                    </a:lnTo>
                    <a:lnTo>
                      <a:pt x="265" y="492"/>
                    </a:lnTo>
                    <a:lnTo>
                      <a:pt x="265" y="492"/>
                    </a:lnTo>
                    <a:lnTo>
                      <a:pt x="263" y="492"/>
                    </a:lnTo>
                    <a:lnTo>
                      <a:pt x="263" y="492"/>
                    </a:lnTo>
                    <a:lnTo>
                      <a:pt x="263" y="492"/>
                    </a:lnTo>
                    <a:lnTo>
                      <a:pt x="263" y="492"/>
                    </a:lnTo>
                    <a:lnTo>
                      <a:pt x="263" y="492"/>
                    </a:lnTo>
                    <a:lnTo>
                      <a:pt x="263" y="492"/>
                    </a:lnTo>
                    <a:lnTo>
                      <a:pt x="261" y="489"/>
                    </a:lnTo>
                    <a:lnTo>
                      <a:pt x="261" y="487"/>
                    </a:lnTo>
                    <a:lnTo>
                      <a:pt x="261" y="485"/>
                    </a:lnTo>
                    <a:lnTo>
                      <a:pt x="263" y="475"/>
                    </a:lnTo>
                    <a:lnTo>
                      <a:pt x="263" y="473"/>
                    </a:lnTo>
                    <a:lnTo>
                      <a:pt x="263" y="471"/>
                    </a:lnTo>
                    <a:lnTo>
                      <a:pt x="263" y="470"/>
                    </a:lnTo>
                    <a:lnTo>
                      <a:pt x="263" y="468"/>
                    </a:lnTo>
                    <a:lnTo>
                      <a:pt x="263" y="466"/>
                    </a:lnTo>
                    <a:lnTo>
                      <a:pt x="263" y="466"/>
                    </a:lnTo>
                    <a:lnTo>
                      <a:pt x="261" y="462"/>
                    </a:lnTo>
                    <a:lnTo>
                      <a:pt x="261" y="460"/>
                    </a:lnTo>
                    <a:lnTo>
                      <a:pt x="261" y="460"/>
                    </a:lnTo>
                    <a:lnTo>
                      <a:pt x="261" y="445"/>
                    </a:lnTo>
                    <a:lnTo>
                      <a:pt x="261" y="443"/>
                    </a:lnTo>
                    <a:lnTo>
                      <a:pt x="261" y="443"/>
                    </a:lnTo>
                    <a:lnTo>
                      <a:pt x="261" y="443"/>
                    </a:lnTo>
                    <a:lnTo>
                      <a:pt x="261" y="441"/>
                    </a:lnTo>
                    <a:lnTo>
                      <a:pt x="263" y="441"/>
                    </a:lnTo>
                    <a:lnTo>
                      <a:pt x="263" y="441"/>
                    </a:lnTo>
                    <a:lnTo>
                      <a:pt x="267" y="443"/>
                    </a:lnTo>
                    <a:lnTo>
                      <a:pt x="269" y="443"/>
                    </a:lnTo>
                    <a:lnTo>
                      <a:pt x="269" y="443"/>
                    </a:lnTo>
                    <a:lnTo>
                      <a:pt x="269" y="443"/>
                    </a:lnTo>
                    <a:lnTo>
                      <a:pt x="269" y="445"/>
                    </a:lnTo>
                    <a:lnTo>
                      <a:pt x="269" y="447"/>
                    </a:lnTo>
                    <a:lnTo>
                      <a:pt x="269" y="447"/>
                    </a:lnTo>
                    <a:lnTo>
                      <a:pt x="269" y="447"/>
                    </a:lnTo>
                    <a:lnTo>
                      <a:pt x="269" y="449"/>
                    </a:lnTo>
                    <a:lnTo>
                      <a:pt x="271" y="449"/>
                    </a:lnTo>
                    <a:lnTo>
                      <a:pt x="271" y="449"/>
                    </a:lnTo>
                    <a:lnTo>
                      <a:pt x="273" y="447"/>
                    </a:lnTo>
                    <a:lnTo>
                      <a:pt x="274" y="447"/>
                    </a:lnTo>
                    <a:lnTo>
                      <a:pt x="276" y="445"/>
                    </a:lnTo>
                    <a:lnTo>
                      <a:pt x="276" y="443"/>
                    </a:lnTo>
                    <a:lnTo>
                      <a:pt x="278" y="441"/>
                    </a:lnTo>
                    <a:lnTo>
                      <a:pt x="280" y="437"/>
                    </a:lnTo>
                    <a:lnTo>
                      <a:pt x="282" y="435"/>
                    </a:lnTo>
                    <a:lnTo>
                      <a:pt x="284" y="435"/>
                    </a:lnTo>
                    <a:lnTo>
                      <a:pt x="284" y="435"/>
                    </a:lnTo>
                    <a:lnTo>
                      <a:pt x="286" y="435"/>
                    </a:lnTo>
                    <a:lnTo>
                      <a:pt x="286" y="433"/>
                    </a:lnTo>
                    <a:lnTo>
                      <a:pt x="288" y="431"/>
                    </a:lnTo>
                    <a:lnTo>
                      <a:pt x="293" y="422"/>
                    </a:lnTo>
                    <a:lnTo>
                      <a:pt x="295" y="414"/>
                    </a:lnTo>
                    <a:lnTo>
                      <a:pt x="299" y="412"/>
                    </a:lnTo>
                    <a:lnTo>
                      <a:pt x="299" y="409"/>
                    </a:lnTo>
                    <a:lnTo>
                      <a:pt x="297" y="407"/>
                    </a:lnTo>
                    <a:lnTo>
                      <a:pt x="297" y="407"/>
                    </a:lnTo>
                    <a:lnTo>
                      <a:pt x="299" y="407"/>
                    </a:lnTo>
                    <a:lnTo>
                      <a:pt x="299" y="405"/>
                    </a:lnTo>
                    <a:lnTo>
                      <a:pt x="299" y="405"/>
                    </a:lnTo>
                    <a:lnTo>
                      <a:pt x="301" y="405"/>
                    </a:lnTo>
                    <a:lnTo>
                      <a:pt x="313" y="405"/>
                    </a:lnTo>
                    <a:lnTo>
                      <a:pt x="313" y="405"/>
                    </a:lnTo>
                    <a:lnTo>
                      <a:pt x="314" y="405"/>
                    </a:lnTo>
                    <a:lnTo>
                      <a:pt x="314" y="405"/>
                    </a:lnTo>
                    <a:lnTo>
                      <a:pt x="316" y="407"/>
                    </a:lnTo>
                    <a:lnTo>
                      <a:pt x="316" y="407"/>
                    </a:lnTo>
                    <a:lnTo>
                      <a:pt x="318" y="407"/>
                    </a:lnTo>
                    <a:lnTo>
                      <a:pt x="318" y="405"/>
                    </a:lnTo>
                    <a:lnTo>
                      <a:pt x="320" y="405"/>
                    </a:lnTo>
                    <a:lnTo>
                      <a:pt x="324" y="405"/>
                    </a:lnTo>
                    <a:lnTo>
                      <a:pt x="326" y="405"/>
                    </a:lnTo>
                    <a:lnTo>
                      <a:pt x="339" y="401"/>
                    </a:lnTo>
                    <a:lnTo>
                      <a:pt x="339" y="403"/>
                    </a:lnTo>
                    <a:lnTo>
                      <a:pt x="341" y="403"/>
                    </a:lnTo>
                    <a:lnTo>
                      <a:pt x="343" y="405"/>
                    </a:lnTo>
                    <a:lnTo>
                      <a:pt x="343" y="405"/>
                    </a:lnTo>
                    <a:lnTo>
                      <a:pt x="345" y="405"/>
                    </a:lnTo>
                    <a:lnTo>
                      <a:pt x="345" y="407"/>
                    </a:lnTo>
                    <a:lnTo>
                      <a:pt x="347" y="407"/>
                    </a:lnTo>
                    <a:lnTo>
                      <a:pt x="349" y="407"/>
                    </a:lnTo>
                    <a:lnTo>
                      <a:pt x="349" y="407"/>
                    </a:lnTo>
                    <a:lnTo>
                      <a:pt x="351" y="409"/>
                    </a:lnTo>
                    <a:lnTo>
                      <a:pt x="353" y="411"/>
                    </a:lnTo>
                    <a:lnTo>
                      <a:pt x="353" y="411"/>
                    </a:lnTo>
                    <a:lnTo>
                      <a:pt x="358" y="411"/>
                    </a:lnTo>
                    <a:lnTo>
                      <a:pt x="360" y="409"/>
                    </a:lnTo>
                    <a:lnTo>
                      <a:pt x="362" y="409"/>
                    </a:lnTo>
                    <a:lnTo>
                      <a:pt x="364" y="407"/>
                    </a:lnTo>
                    <a:lnTo>
                      <a:pt x="366" y="405"/>
                    </a:lnTo>
                    <a:lnTo>
                      <a:pt x="368" y="403"/>
                    </a:lnTo>
                    <a:lnTo>
                      <a:pt x="372" y="392"/>
                    </a:lnTo>
                    <a:lnTo>
                      <a:pt x="372" y="390"/>
                    </a:lnTo>
                    <a:lnTo>
                      <a:pt x="375" y="386"/>
                    </a:lnTo>
                    <a:lnTo>
                      <a:pt x="375" y="386"/>
                    </a:lnTo>
                    <a:lnTo>
                      <a:pt x="375" y="384"/>
                    </a:lnTo>
                    <a:lnTo>
                      <a:pt x="375" y="384"/>
                    </a:lnTo>
                    <a:lnTo>
                      <a:pt x="375" y="384"/>
                    </a:lnTo>
                    <a:lnTo>
                      <a:pt x="375" y="384"/>
                    </a:lnTo>
                    <a:lnTo>
                      <a:pt x="375" y="382"/>
                    </a:lnTo>
                    <a:lnTo>
                      <a:pt x="375" y="380"/>
                    </a:lnTo>
                    <a:lnTo>
                      <a:pt x="375" y="380"/>
                    </a:lnTo>
                    <a:lnTo>
                      <a:pt x="377" y="378"/>
                    </a:lnTo>
                    <a:lnTo>
                      <a:pt x="377" y="378"/>
                    </a:lnTo>
                    <a:lnTo>
                      <a:pt x="379" y="378"/>
                    </a:lnTo>
                    <a:lnTo>
                      <a:pt x="381" y="378"/>
                    </a:lnTo>
                    <a:lnTo>
                      <a:pt x="387" y="380"/>
                    </a:lnTo>
                    <a:lnTo>
                      <a:pt x="387" y="380"/>
                    </a:lnTo>
                    <a:lnTo>
                      <a:pt x="389" y="380"/>
                    </a:lnTo>
                    <a:lnTo>
                      <a:pt x="389" y="380"/>
                    </a:lnTo>
                    <a:lnTo>
                      <a:pt x="391" y="380"/>
                    </a:lnTo>
                    <a:lnTo>
                      <a:pt x="391" y="378"/>
                    </a:lnTo>
                    <a:lnTo>
                      <a:pt x="393" y="378"/>
                    </a:lnTo>
                    <a:lnTo>
                      <a:pt x="391" y="374"/>
                    </a:lnTo>
                    <a:lnTo>
                      <a:pt x="391" y="373"/>
                    </a:lnTo>
                    <a:lnTo>
                      <a:pt x="391" y="373"/>
                    </a:lnTo>
                    <a:lnTo>
                      <a:pt x="391" y="371"/>
                    </a:lnTo>
                    <a:lnTo>
                      <a:pt x="385" y="367"/>
                    </a:lnTo>
                    <a:lnTo>
                      <a:pt x="385" y="367"/>
                    </a:lnTo>
                    <a:lnTo>
                      <a:pt x="385" y="365"/>
                    </a:lnTo>
                    <a:lnTo>
                      <a:pt x="383" y="363"/>
                    </a:lnTo>
                    <a:lnTo>
                      <a:pt x="383" y="359"/>
                    </a:lnTo>
                    <a:lnTo>
                      <a:pt x="385" y="359"/>
                    </a:lnTo>
                    <a:lnTo>
                      <a:pt x="385" y="355"/>
                    </a:lnTo>
                    <a:lnTo>
                      <a:pt x="385" y="352"/>
                    </a:lnTo>
                    <a:lnTo>
                      <a:pt x="387" y="350"/>
                    </a:lnTo>
                    <a:lnTo>
                      <a:pt x="387" y="348"/>
                    </a:lnTo>
                    <a:lnTo>
                      <a:pt x="398" y="329"/>
                    </a:lnTo>
                    <a:lnTo>
                      <a:pt x="400" y="325"/>
                    </a:lnTo>
                    <a:lnTo>
                      <a:pt x="400" y="323"/>
                    </a:lnTo>
                    <a:lnTo>
                      <a:pt x="400" y="319"/>
                    </a:lnTo>
                    <a:lnTo>
                      <a:pt x="402" y="317"/>
                    </a:lnTo>
                    <a:lnTo>
                      <a:pt x="402" y="317"/>
                    </a:lnTo>
                    <a:lnTo>
                      <a:pt x="404" y="317"/>
                    </a:lnTo>
                    <a:lnTo>
                      <a:pt x="404" y="317"/>
                    </a:lnTo>
                    <a:lnTo>
                      <a:pt x="406" y="317"/>
                    </a:lnTo>
                    <a:lnTo>
                      <a:pt x="406" y="319"/>
                    </a:lnTo>
                    <a:lnTo>
                      <a:pt x="408" y="319"/>
                    </a:lnTo>
                    <a:lnTo>
                      <a:pt x="408" y="317"/>
                    </a:lnTo>
                    <a:lnTo>
                      <a:pt x="408" y="317"/>
                    </a:lnTo>
                    <a:lnTo>
                      <a:pt x="408" y="315"/>
                    </a:lnTo>
                    <a:lnTo>
                      <a:pt x="408" y="314"/>
                    </a:lnTo>
                    <a:lnTo>
                      <a:pt x="410" y="314"/>
                    </a:lnTo>
                    <a:lnTo>
                      <a:pt x="412" y="314"/>
                    </a:lnTo>
                    <a:lnTo>
                      <a:pt x="412" y="314"/>
                    </a:lnTo>
                    <a:lnTo>
                      <a:pt x="414" y="314"/>
                    </a:lnTo>
                    <a:lnTo>
                      <a:pt x="414" y="312"/>
                    </a:lnTo>
                    <a:lnTo>
                      <a:pt x="414" y="308"/>
                    </a:lnTo>
                    <a:lnTo>
                      <a:pt x="414" y="308"/>
                    </a:lnTo>
                    <a:lnTo>
                      <a:pt x="414" y="306"/>
                    </a:lnTo>
                    <a:lnTo>
                      <a:pt x="414" y="304"/>
                    </a:lnTo>
                    <a:lnTo>
                      <a:pt x="416" y="302"/>
                    </a:lnTo>
                    <a:lnTo>
                      <a:pt x="414" y="302"/>
                    </a:lnTo>
                    <a:lnTo>
                      <a:pt x="414" y="300"/>
                    </a:lnTo>
                    <a:lnTo>
                      <a:pt x="414" y="300"/>
                    </a:lnTo>
                    <a:lnTo>
                      <a:pt x="410" y="298"/>
                    </a:lnTo>
                    <a:lnTo>
                      <a:pt x="408" y="296"/>
                    </a:lnTo>
                    <a:lnTo>
                      <a:pt x="408" y="296"/>
                    </a:lnTo>
                    <a:lnTo>
                      <a:pt x="408" y="294"/>
                    </a:lnTo>
                    <a:lnTo>
                      <a:pt x="408" y="293"/>
                    </a:lnTo>
                    <a:lnTo>
                      <a:pt x="408" y="289"/>
                    </a:lnTo>
                    <a:lnTo>
                      <a:pt x="408" y="287"/>
                    </a:lnTo>
                    <a:lnTo>
                      <a:pt x="410" y="287"/>
                    </a:lnTo>
                    <a:lnTo>
                      <a:pt x="412" y="285"/>
                    </a:lnTo>
                    <a:lnTo>
                      <a:pt x="414" y="285"/>
                    </a:lnTo>
                    <a:lnTo>
                      <a:pt x="414" y="285"/>
                    </a:lnTo>
                    <a:lnTo>
                      <a:pt x="416" y="283"/>
                    </a:lnTo>
                    <a:lnTo>
                      <a:pt x="416" y="281"/>
                    </a:lnTo>
                    <a:lnTo>
                      <a:pt x="414" y="281"/>
                    </a:lnTo>
                    <a:lnTo>
                      <a:pt x="414" y="281"/>
                    </a:lnTo>
                    <a:lnTo>
                      <a:pt x="414" y="279"/>
                    </a:lnTo>
                    <a:lnTo>
                      <a:pt x="412" y="277"/>
                    </a:lnTo>
                    <a:lnTo>
                      <a:pt x="412" y="277"/>
                    </a:lnTo>
                    <a:lnTo>
                      <a:pt x="412" y="275"/>
                    </a:lnTo>
                    <a:lnTo>
                      <a:pt x="414" y="274"/>
                    </a:lnTo>
                    <a:lnTo>
                      <a:pt x="419" y="264"/>
                    </a:lnTo>
                    <a:lnTo>
                      <a:pt x="421" y="262"/>
                    </a:lnTo>
                    <a:lnTo>
                      <a:pt x="423" y="260"/>
                    </a:lnTo>
                    <a:lnTo>
                      <a:pt x="427" y="260"/>
                    </a:lnTo>
                    <a:lnTo>
                      <a:pt x="433" y="256"/>
                    </a:lnTo>
                    <a:lnTo>
                      <a:pt x="435" y="256"/>
                    </a:lnTo>
                    <a:lnTo>
                      <a:pt x="446" y="247"/>
                    </a:lnTo>
                    <a:lnTo>
                      <a:pt x="448" y="243"/>
                    </a:lnTo>
                    <a:lnTo>
                      <a:pt x="454" y="243"/>
                    </a:lnTo>
                    <a:lnTo>
                      <a:pt x="457" y="241"/>
                    </a:lnTo>
                    <a:lnTo>
                      <a:pt x="459" y="241"/>
                    </a:lnTo>
                    <a:lnTo>
                      <a:pt x="461" y="241"/>
                    </a:lnTo>
                    <a:lnTo>
                      <a:pt x="463" y="239"/>
                    </a:lnTo>
                    <a:lnTo>
                      <a:pt x="467" y="236"/>
                    </a:lnTo>
                    <a:lnTo>
                      <a:pt x="467" y="236"/>
                    </a:lnTo>
                    <a:lnTo>
                      <a:pt x="467" y="234"/>
                    </a:lnTo>
                    <a:lnTo>
                      <a:pt x="467" y="234"/>
                    </a:lnTo>
                    <a:lnTo>
                      <a:pt x="469" y="232"/>
                    </a:lnTo>
                    <a:lnTo>
                      <a:pt x="469" y="230"/>
                    </a:lnTo>
                    <a:lnTo>
                      <a:pt x="467" y="228"/>
                    </a:lnTo>
                    <a:lnTo>
                      <a:pt x="467" y="226"/>
                    </a:lnTo>
                    <a:lnTo>
                      <a:pt x="465" y="222"/>
                    </a:lnTo>
                    <a:lnTo>
                      <a:pt x="465" y="220"/>
                    </a:lnTo>
                    <a:lnTo>
                      <a:pt x="465" y="218"/>
                    </a:lnTo>
                    <a:lnTo>
                      <a:pt x="465" y="216"/>
                    </a:lnTo>
                    <a:lnTo>
                      <a:pt x="467" y="213"/>
                    </a:lnTo>
                    <a:lnTo>
                      <a:pt x="467" y="213"/>
                    </a:lnTo>
                    <a:lnTo>
                      <a:pt x="467" y="213"/>
                    </a:lnTo>
                    <a:lnTo>
                      <a:pt x="467" y="211"/>
                    </a:lnTo>
                    <a:lnTo>
                      <a:pt x="467" y="211"/>
                    </a:lnTo>
                    <a:lnTo>
                      <a:pt x="471" y="211"/>
                    </a:lnTo>
                    <a:lnTo>
                      <a:pt x="471" y="209"/>
                    </a:lnTo>
                    <a:lnTo>
                      <a:pt x="471" y="209"/>
                    </a:lnTo>
                    <a:lnTo>
                      <a:pt x="475" y="207"/>
                    </a:lnTo>
                    <a:lnTo>
                      <a:pt x="475" y="205"/>
                    </a:lnTo>
                    <a:lnTo>
                      <a:pt x="477" y="205"/>
                    </a:lnTo>
                    <a:lnTo>
                      <a:pt x="480" y="205"/>
                    </a:lnTo>
                    <a:lnTo>
                      <a:pt x="482" y="205"/>
                    </a:lnTo>
                    <a:lnTo>
                      <a:pt x="482" y="203"/>
                    </a:lnTo>
                    <a:lnTo>
                      <a:pt x="484" y="203"/>
                    </a:lnTo>
                    <a:lnTo>
                      <a:pt x="486" y="201"/>
                    </a:lnTo>
                    <a:lnTo>
                      <a:pt x="492" y="196"/>
                    </a:lnTo>
                    <a:lnTo>
                      <a:pt x="494" y="196"/>
                    </a:lnTo>
                    <a:lnTo>
                      <a:pt x="494" y="194"/>
                    </a:lnTo>
                    <a:lnTo>
                      <a:pt x="496" y="188"/>
                    </a:lnTo>
                    <a:lnTo>
                      <a:pt x="496" y="186"/>
                    </a:lnTo>
                    <a:lnTo>
                      <a:pt x="498" y="186"/>
                    </a:lnTo>
                    <a:lnTo>
                      <a:pt x="498" y="184"/>
                    </a:lnTo>
                    <a:lnTo>
                      <a:pt x="499" y="184"/>
                    </a:lnTo>
                    <a:lnTo>
                      <a:pt x="501" y="182"/>
                    </a:lnTo>
                    <a:lnTo>
                      <a:pt x="501" y="182"/>
                    </a:lnTo>
                    <a:lnTo>
                      <a:pt x="503" y="180"/>
                    </a:lnTo>
                    <a:lnTo>
                      <a:pt x="505" y="180"/>
                    </a:lnTo>
                    <a:lnTo>
                      <a:pt x="509" y="177"/>
                    </a:lnTo>
                    <a:lnTo>
                      <a:pt x="511" y="175"/>
                    </a:lnTo>
                    <a:lnTo>
                      <a:pt x="513" y="173"/>
                    </a:lnTo>
                    <a:lnTo>
                      <a:pt x="513" y="171"/>
                    </a:lnTo>
                    <a:lnTo>
                      <a:pt x="513" y="169"/>
                    </a:lnTo>
                    <a:lnTo>
                      <a:pt x="513" y="16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2" name="Freeform 34">
                <a:extLst>
                  <a:ext uri="{FF2B5EF4-FFF2-40B4-BE49-F238E27FC236}">
                    <a16:creationId xmlns:a16="http://schemas.microsoft.com/office/drawing/2014/main" id="{D8212624-A1BE-4847-BA0B-CF0D699A1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4469" y="2942111"/>
                <a:ext cx="26988" cy="30163"/>
              </a:xfrm>
              <a:custGeom>
                <a:avLst/>
                <a:gdLst>
                  <a:gd name="T0" fmla="*/ 15 w 17"/>
                  <a:gd name="T1" fmla="*/ 13 h 19"/>
                  <a:gd name="T2" fmla="*/ 17 w 17"/>
                  <a:gd name="T3" fmla="*/ 11 h 19"/>
                  <a:gd name="T4" fmla="*/ 17 w 17"/>
                  <a:gd name="T5" fmla="*/ 9 h 19"/>
                  <a:gd name="T6" fmla="*/ 17 w 17"/>
                  <a:gd name="T7" fmla="*/ 7 h 19"/>
                  <a:gd name="T8" fmla="*/ 17 w 17"/>
                  <a:gd name="T9" fmla="*/ 7 h 19"/>
                  <a:gd name="T10" fmla="*/ 15 w 17"/>
                  <a:gd name="T11" fmla="*/ 5 h 19"/>
                  <a:gd name="T12" fmla="*/ 15 w 17"/>
                  <a:gd name="T13" fmla="*/ 4 h 19"/>
                  <a:gd name="T14" fmla="*/ 15 w 17"/>
                  <a:gd name="T15" fmla="*/ 4 h 19"/>
                  <a:gd name="T16" fmla="*/ 15 w 17"/>
                  <a:gd name="T17" fmla="*/ 2 h 19"/>
                  <a:gd name="T18" fmla="*/ 9 w 17"/>
                  <a:gd name="T19" fmla="*/ 0 h 19"/>
                  <a:gd name="T20" fmla="*/ 7 w 17"/>
                  <a:gd name="T21" fmla="*/ 0 h 19"/>
                  <a:gd name="T22" fmla="*/ 5 w 17"/>
                  <a:gd name="T23" fmla="*/ 0 h 19"/>
                  <a:gd name="T24" fmla="*/ 2 w 17"/>
                  <a:gd name="T25" fmla="*/ 2 h 19"/>
                  <a:gd name="T26" fmla="*/ 0 w 17"/>
                  <a:gd name="T27" fmla="*/ 4 h 19"/>
                  <a:gd name="T28" fmla="*/ 0 w 17"/>
                  <a:gd name="T29" fmla="*/ 4 h 19"/>
                  <a:gd name="T30" fmla="*/ 0 w 17"/>
                  <a:gd name="T31" fmla="*/ 5 h 19"/>
                  <a:gd name="T32" fmla="*/ 0 w 17"/>
                  <a:gd name="T33" fmla="*/ 5 h 19"/>
                  <a:gd name="T34" fmla="*/ 0 w 17"/>
                  <a:gd name="T35" fmla="*/ 7 h 19"/>
                  <a:gd name="T36" fmla="*/ 2 w 17"/>
                  <a:gd name="T37" fmla="*/ 7 h 19"/>
                  <a:gd name="T38" fmla="*/ 5 w 17"/>
                  <a:gd name="T39" fmla="*/ 11 h 19"/>
                  <a:gd name="T40" fmla="*/ 7 w 17"/>
                  <a:gd name="T41" fmla="*/ 15 h 19"/>
                  <a:gd name="T42" fmla="*/ 9 w 17"/>
                  <a:gd name="T43" fmla="*/ 17 h 19"/>
                  <a:gd name="T44" fmla="*/ 9 w 17"/>
                  <a:gd name="T45" fmla="*/ 17 h 19"/>
                  <a:gd name="T46" fmla="*/ 11 w 17"/>
                  <a:gd name="T47" fmla="*/ 19 h 19"/>
                  <a:gd name="T48" fmla="*/ 11 w 17"/>
                  <a:gd name="T49" fmla="*/ 19 h 19"/>
                  <a:gd name="T50" fmla="*/ 13 w 17"/>
                  <a:gd name="T51" fmla="*/ 17 h 19"/>
                  <a:gd name="T52" fmla="*/ 13 w 17"/>
                  <a:gd name="T53" fmla="*/ 17 h 19"/>
                  <a:gd name="T54" fmla="*/ 15 w 17"/>
                  <a:gd name="T55" fmla="*/ 17 h 19"/>
                  <a:gd name="T56" fmla="*/ 15 w 17"/>
                  <a:gd name="T57" fmla="*/ 17 h 19"/>
                  <a:gd name="T58" fmla="*/ 17 w 17"/>
                  <a:gd name="T59" fmla="*/ 17 h 19"/>
                  <a:gd name="T60" fmla="*/ 15 w 17"/>
                  <a:gd name="T61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" h="19">
                    <a:moveTo>
                      <a:pt x="15" y="13"/>
                    </a:moveTo>
                    <a:lnTo>
                      <a:pt x="17" y="11"/>
                    </a:lnTo>
                    <a:lnTo>
                      <a:pt x="17" y="9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5" y="11"/>
                    </a:lnTo>
                    <a:lnTo>
                      <a:pt x="7" y="15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3" y="17"/>
                    </a:lnTo>
                    <a:lnTo>
                      <a:pt x="13" y="17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7" y="17"/>
                    </a:lnTo>
                    <a:lnTo>
                      <a:pt x="15" y="13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3" name="Freeform 35">
                <a:extLst>
                  <a:ext uri="{FF2B5EF4-FFF2-40B4-BE49-F238E27FC236}">
                    <a16:creationId xmlns:a16="http://schemas.microsoft.com/office/drawing/2014/main" id="{691B4D33-E8CD-4CE7-BDB0-186DD14C8F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3682" y="3688236"/>
                <a:ext cx="993775" cy="712788"/>
              </a:xfrm>
              <a:custGeom>
                <a:avLst/>
                <a:gdLst>
                  <a:gd name="T0" fmla="*/ 616 w 626"/>
                  <a:gd name="T1" fmla="*/ 146 h 449"/>
                  <a:gd name="T2" fmla="*/ 597 w 626"/>
                  <a:gd name="T3" fmla="*/ 140 h 449"/>
                  <a:gd name="T4" fmla="*/ 570 w 626"/>
                  <a:gd name="T5" fmla="*/ 148 h 449"/>
                  <a:gd name="T6" fmla="*/ 536 w 626"/>
                  <a:gd name="T7" fmla="*/ 159 h 449"/>
                  <a:gd name="T8" fmla="*/ 484 w 626"/>
                  <a:gd name="T9" fmla="*/ 158 h 449"/>
                  <a:gd name="T10" fmla="*/ 450 w 626"/>
                  <a:gd name="T11" fmla="*/ 142 h 449"/>
                  <a:gd name="T12" fmla="*/ 404 w 626"/>
                  <a:gd name="T13" fmla="*/ 144 h 449"/>
                  <a:gd name="T14" fmla="*/ 364 w 626"/>
                  <a:gd name="T15" fmla="*/ 129 h 449"/>
                  <a:gd name="T16" fmla="*/ 330 w 626"/>
                  <a:gd name="T17" fmla="*/ 123 h 449"/>
                  <a:gd name="T18" fmla="*/ 300 w 626"/>
                  <a:gd name="T19" fmla="*/ 106 h 449"/>
                  <a:gd name="T20" fmla="*/ 246 w 626"/>
                  <a:gd name="T21" fmla="*/ 110 h 449"/>
                  <a:gd name="T22" fmla="*/ 202 w 626"/>
                  <a:gd name="T23" fmla="*/ 81 h 449"/>
                  <a:gd name="T24" fmla="*/ 168 w 626"/>
                  <a:gd name="T25" fmla="*/ 55 h 449"/>
                  <a:gd name="T26" fmla="*/ 103 w 626"/>
                  <a:gd name="T27" fmla="*/ 5 h 449"/>
                  <a:gd name="T28" fmla="*/ 69 w 626"/>
                  <a:gd name="T29" fmla="*/ 19 h 449"/>
                  <a:gd name="T30" fmla="*/ 73 w 626"/>
                  <a:gd name="T31" fmla="*/ 28 h 449"/>
                  <a:gd name="T32" fmla="*/ 84 w 626"/>
                  <a:gd name="T33" fmla="*/ 61 h 449"/>
                  <a:gd name="T34" fmla="*/ 107 w 626"/>
                  <a:gd name="T35" fmla="*/ 89 h 449"/>
                  <a:gd name="T36" fmla="*/ 118 w 626"/>
                  <a:gd name="T37" fmla="*/ 108 h 449"/>
                  <a:gd name="T38" fmla="*/ 99 w 626"/>
                  <a:gd name="T39" fmla="*/ 121 h 449"/>
                  <a:gd name="T40" fmla="*/ 82 w 626"/>
                  <a:gd name="T41" fmla="*/ 140 h 449"/>
                  <a:gd name="T42" fmla="*/ 74 w 626"/>
                  <a:gd name="T43" fmla="*/ 146 h 449"/>
                  <a:gd name="T44" fmla="*/ 95 w 626"/>
                  <a:gd name="T45" fmla="*/ 154 h 449"/>
                  <a:gd name="T46" fmla="*/ 103 w 626"/>
                  <a:gd name="T47" fmla="*/ 175 h 449"/>
                  <a:gd name="T48" fmla="*/ 84 w 626"/>
                  <a:gd name="T49" fmla="*/ 184 h 449"/>
                  <a:gd name="T50" fmla="*/ 111 w 626"/>
                  <a:gd name="T51" fmla="*/ 211 h 449"/>
                  <a:gd name="T52" fmla="*/ 137 w 626"/>
                  <a:gd name="T53" fmla="*/ 228 h 449"/>
                  <a:gd name="T54" fmla="*/ 153 w 626"/>
                  <a:gd name="T55" fmla="*/ 255 h 449"/>
                  <a:gd name="T56" fmla="*/ 126 w 626"/>
                  <a:gd name="T57" fmla="*/ 256 h 449"/>
                  <a:gd name="T58" fmla="*/ 113 w 626"/>
                  <a:gd name="T59" fmla="*/ 260 h 449"/>
                  <a:gd name="T60" fmla="*/ 74 w 626"/>
                  <a:gd name="T61" fmla="*/ 276 h 449"/>
                  <a:gd name="T62" fmla="*/ 8 w 626"/>
                  <a:gd name="T63" fmla="*/ 319 h 449"/>
                  <a:gd name="T64" fmla="*/ 6 w 626"/>
                  <a:gd name="T65" fmla="*/ 355 h 449"/>
                  <a:gd name="T66" fmla="*/ 19 w 626"/>
                  <a:gd name="T67" fmla="*/ 384 h 449"/>
                  <a:gd name="T68" fmla="*/ 27 w 626"/>
                  <a:gd name="T69" fmla="*/ 416 h 449"/>
                  <a:gd name="T70" fmla="*/ 82 w 626"/>
                  <a:gd name="T71" fmla="*/ 409 h 449"/>
                  <a:gd name="T72" fmla="*/ 103 w 626"/>
                  <a:gd name="T73" fmla="*/ 424 h 449"/>
                  <a:gd name="T74" fmla="*/ 111 w 626"/>
                  <a:gd name="T75" fmla="*/ 418 h 449"/>
                  <a:gd name="T76" fmla="*/ 126 w 626"/>
                  <a:gd name="T77" fmla="*/ 424 h 449"/>
                  <a:gd name="T78" fmla="*/ 149 w 626"/>
                  <a:gd name="T79" fmla="*/ 447 h 449"/>
                  <a:gd name="T80" fmla="*/ 168 w 626"/>
                  <a:gd name="T81" fmla="*/ 437 h 449"/>
                  <a:gd name="T82" fmla="*/ 197 w 626"/>
                  <a:gd name="T83" fmla="*/ 432 h 449"/>
                  <a:gd name="T84" fmla="*/ 229 w 626"/>
                  <a:gd name="T85" fmla="*/ 435 h 449"/>
                  <a:gd name="T86" fmla="*/ 271 w 626"/>
                  <a:gd name="T87" fmla="*/ 420 h 449"/>
                  <a:gd name="T88" fmla="*/ 294 w 626"/>
                  <a:gd name="T89" fmla="*/ 407 h 449"/>
                  <a:gd name="T90" fmla="*/ 315 w 626"/>
                  <a:gd name="T91" fmla="*/ 384 h 449"/>
                  <a:gd name="T92" fmla="*/ 349 w 626"/>
                  <a:gd name="T93" fmla="*/ 393 h 449"/>
                  <a:gd name="T94" fmla="*/ 374 w 626"/>
                  <a:gd name="T95" fmla="*/ 424 h 449"/>
                  <a:gd name="T96" fmla="*/ 397 w 626"/>
                  <a:gd name="T97" fmla="*/ 428 h 449"/>
                  <a:gd name="T98" fmla="*/ 435 w 626"/>
                  <a:gd name="T99" fmla="*/ 411 h 449"/>
                  <a:gd name="T100" fmla="*/ 469 w 626"/>
                  <a:gd name="T101" fmla="*/ 403 h 449"/>
                  <a:gd name="T102" fmla="*/ 479 w 626"/>
                  <a:gd name="T103" fmla="*/ 352 h 449"/>
                  <a:gd name="T104" fmla="*/ 505 w 626"/>
                  <a:gd name="T105" fmla="*/ 325 h 449"/>
                  <a:gd name="T106" fmla="*/ 528 w 626"/>
                  <a:gd name="T107" fmla="*/ 308 h 449"/>
                  <a:gd name="T108" fmla="*/ 565 w 626"/>
                  <a:gd name="T109" fmla="*/ 317 h 449"/>
                  <a:gd name="T110" fmla="*/ 559 w 626"/>
                  <a:gd name="T111" fmla="*/ 300 h 449"/>
                  <a:gd name="T112" fmla="*/ 561 w 626"/>
                  <a:gd name="T113" fmla="*/ 291 h 449"/>
                  <a:gd name="T114" fmla="*/ 586 w 626"/>
                  <a:gd name="T115" fmla="*/ 281 h 449"/>
                  <a:gd name="T116" fmla="*/ 593 w 626"/>
                  <a:gd name="T117" fmla="*/ 258 h 449"/>
                  <a:gd name="T118" fmla="*/ 563 w 626"/>
                  <a:gd name="T119" fmla="*/ 230 h 449"/>
                  <a:gd name="T120" fmla="*/ 566 w 626"/>
                  <a:gd name="T121" fmla="*/ 217 h 449"/>
                  <a:gd name="T122" fmla="*/ 591 w 626"/>
                  <a:gd name="T123" fmla="*/ 190 h 449"/>
                  <a:gd name="T124" fmla="*/ 626 w 626"/>
                  <a:gd name="T125" fmla="*/ 165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6" h="449">
                    <a:moveTo>
                      <a:pt x="626" y="163"/>
                    </a:moveTo>
                    <a:lnTo>
                      <a:pt x="626" y="161"/>
                    </a:lnTo>
                    <a:lnTo>
                      <a:pt x="624" y="161"/>
                    </a:lnTo>
                    <a:lnTo>
                      <a:pt x="622" y="159"/>
                    </a:lnTo>
                    <a:lnTo>
                      <a:pt x="620" y="158"/>
                    </a:lnTo>
                    <a:lnTo>
                      <a:pt x="620" y="158"/>
                    </a:lnTo>
                    <a:lnTo>
                      <a:pt x="620" y="158"/>
                    </a:lnTo>
                    <a:lnTo>
                      <a:pt x="620" y="156"/>
                    </a:lnTo>
                    <a:lnTo>
                      <a:pt x="620" y="156"/>
                    </a:lnTo>
                    <a:lnTo>
                      <a:pt x="622" y="154"/>
                    </a:lnTo>
                    <a:lnTo>
                      <a:pt x="622" y="154"/>
                    </a:lnTo>
                    <a:lnTo>
                      <a:pt x="622" y="154"/>
                    </a:lnTo>
                    <a:lnTo>
                      <a:pt x="622" y="152"/>
                    </a:lnTo>
                    <a:lnTo>
                      <a:pt x="622" y="152"/>
                    </a:lnTo>
                    <a:lnTo>
                      <a:pt x="616" y="146"/>
                    </a:lnTo>
                    <a:lnTo>
                      <a:pt x="616" y="146"/>
                    </a:lnTo>
                    <a:lnTo>
                      <a:pt x="614" y="146"/>
                    </a:lnTo>
                    <a:lnTo>
                      <a:pt x="614" y="144"/>
                    </a:lnTo>
                    <a:lnTo>
                      <a:pt x="612" y="144"/>
                    </a:lnTo>
                    <a:lnTo>
                      <a:pt x="612" y="142"/>
                    </a:lnTo>
                    <a:lnTo>
                      <a:pt x="612" y="142"/>
                    </a:lnTo>
                    <a:lnTo>
                      <a:pt x="612" y="142"/>
                    </a:lnTo>
                    <a:lnTo>
                      <a:pt x="612" y="142"/>
                    </a:lnTo>
                    <a:lnTo>
                      <a:pt x="612" y="139"/>
                    </a:lnTo>
                    <a:lnTo>
                      <a:pt x="612" y="137"/>
                    </a:lnTo>
                    <a:lnTo>
                      <a:pt x="612" y="137"/>
                    </a:lnTo>
                    <a:lnTo>
                      <a:pt x="607" y="139"/>
                    </a:lnTo>
                    <a:lnTo>
                      <a:pt x="603" y="139"/>
                    </a:lnTo>
                    <a:lnTo>
                      <a:pt x="603" y="139"/>
                    </a:lnTo>
                    <a:lnTo>
                      <a:pt x="601" y="139"/>
                    </a:lnTo>
                    <a:lnTo>
                      <a:pt x="599" y="139"/>
                    </a:lnTo>
                    <a:lnTo>
                      <a:pt x="597" y="140"/>
                    </a:lnTo>
                    <a:lnTo>
                      <a:pt x="597" y="142"/>
                    </a:lnTo>
                    <a:lnTo>
                      <a:pt x="597" y="144"/>
                    </a:lnTo>
                    <a:lnTo>
                      <a:pt x="597" y="144"/>
                    </a:lnTo>
                    <a:lnTo>
                      <a:pt x="597" y="150"/>
                    </a:lnTo>
                    <a:lnTo>
                      <a:pt x="593" y="156"/>
                    </a:lnTo>
                    <a:lnTo>
                      <a:pt x="587" y="161"/>
                    </a:lnTo>
                    <a:lnTo>
                      <a:pt x="584" y="161"/>
                    </a:lnTo>
                    <a:lnTo>
                      <a:pt x="582" y="159"/>
                    </a:lnTo>
                    <a:lnTo>
                      <a:pt x="578" y="158"/>
                    </a:lnTo>
                    <a:lnTo>
                      <a:pt x="576" y="156"/>
                    </a:lnTo>
                    <a:lnTo>
                      <a:pt x="576" y="154"/>
                    </a:lnTo>
                    <a:lnTo>
                      <a:pt x="574" y="152"/>
                    </a:lnTo>
                    <a:lnTo>
                      <a:pt x="574" y="152"/>
                    </a:lnTo>
                    <a:lnTo>
                      <a:pt x="574" y="152"/>
                    </a:lnTo>
                    <a:lnTo>
                      <a:pt x="570" y="148"/>
                    </a:lnTo>
                    <a:lnTo>
                      <a:pt x="570" y="148"/>
                    </a:lnTo>
                    <a:lnTo>
                      <a:pt x="568" y="148"/>
                    </a:lnTo>
                    <a:lnTo>
                      <a:pt x="565" y="152"/>
                    </a:lnTo>
                    <a:lnTo>
                      <a:pt x="563" y="152"/>
                    </a:lnTo>
                    <a:lnTo>
                      <a:pt x="561" y="150"/>
                    </a:lnTo>
                    <a:lnTo>
                      <a:pt x="559" y="150"/>
                    </a:lnTo>
                    <a:lnTo>
                      <a:pt x="557" y="150"/>
                    </a:lnTo>
                    <a:lnTo>
                      <a:pt x="555" y="154"/>
                    </a:lnTo>
                    <a:lnTo>
                      <a:pt x="555" y="156"/>
                    </a:lnTo>
                    <a:lnTo>
                      <a:pt x="553" y="156"/>
                    </a:lnTo>
                    <a:lnTo>
                      <a:pt x="551" y="156"/>
                    </a:lnTo>
                    <a:lnTo>
                      <a:pt x="549" y="156"/>
                    </a:lnTo>
                    <a:lnTo>
                      <a:pt x="547" y="154"/>
                    </a:lnTo>
                    <a:lnTo>
                      <a:pt x="544" y="154"/>
                    </a:lnTo>
                    <a:lnTo>
                      <a:pt x="544" y="156"/>
                    </a:lnTo>
                    <a:lnTo>
                      <a:pt x="540" y="158"/>
                    </a:lnTo>
                    <a:lnTo>
                      <a:pt x="536" y="159"/>
                    </a:lnTo>
                    <a:lnTo>
                      <a:pt x="530" y="159"/>
                    </a:lnTo>
                    <a:lnTo>
                      <a:pt x="523" y="154"/>
                    </a:lnTo>
                    <a:lnTo>
                      <a:pt x="519" y="154"/>
                    </a:lnTo>
                    <a:lnTo>
                      <a:pt x="513" y="154"/>
                    </a:lnTo>
                    <a:lnTo>
                      <a:pt x="509" y="154"/>
                    </a:lnTo>
                    <a:lnTo>
                      <a:pt x="507" y="158"/>
                    </a:lnTo>
                    <a:lnTo>
                      <a:pt x="505" y="159"/>
                    </a:lnTo>
                    <a:lnTo>
                      <a:pt x="504" y="163"/>
                    </a:lnTo>
                    <a:lnTo>
                      <a:pt x="502" y="165"/>
                    </a:lnTo>
                    <a:lnTo>
                      <a:pt x="500" y="165"/>
                    </a:lnTo>
                    <a:lnTo>
                      <a:pt x="494" y="161"/>
                    </a:lnTo>
                    <a:lnTo>
                      <a:pt x="492" y="161"/>
                    </a:lnTo>
                    <a:lnTo>
                      <a:pt x="492" y="159"/>
                    </a:lnTo>
                    <a:lnTo>
                      <a:pt x="490" y="158"/>
                    </a:lnTo>
                    <a:lnTo>
                      <a:pt x="490" y="156"/>
                    </a:lnTo>
                    <a:lnTo>
                      <a:pt x="484" y="158"/>
                    </a:lnTo>
                    <a:lnTo>
                      <a:pt x="479" y="158"/>
                    </a:lnTo>
                    <a:lnTo>
                      <a:pt x="475" y="156"/>
                    </a:lnTo>
                    <a:lnTo>
                      <a:pt x="473" y="152"/>
                    </a:lnTo>
                    <a:lnTo>
                      <a:pt x="469" y="148"/>
                    </a:lnTo>
                    <a:lnTo>
                      <a:pt x="469" y="144"/>
                    </a:lnTo>
                    <a:lnTo>
                      <a:pt x="469" y="144"/>
                    </a:lnTo>
                    <a:lnTo>
                      <a:pt x="469" y="144"/>
                    </a:lnTo>
                    <a:lnTo>
                      <a:pt x="467" y="137"/>
                    </a:lnTo>
                    <a:lnTo>
                      <a:pt x="467" y="135"/>
                    </a:lnTo>
                    <a:lnTo>
                      <a:pt x="467" y="133"/>
                    </a:lnTo>
                    <a:lnTo>
                      <a:pt x="465" y="133"/>
                    </a:lnTo>
                    <a:lnTo>
                      <a:pt x="464" y="133"/>
                    </a:lnTo>
                    <a:lnTo>
                      <a:pt x="460" y="137"/>
                    </a:lnTo>
                    <a:lnTo>
                      <a:pt x="458" y="139"/>
                    </a:lnTo>
                    <a:lnTo>
                      <a:pt x="454" y="140"/>
                    </a:lnTo>
                    <a:lnTo>
                      <a:pt x="450" y="142"/>
                    </a:lnTo>
                    <a:lnTo>
                      <a:pt x="446" y="144"/>
                    </a:lnTo>
                    <a:lnTo>
                      <a:pt x="444" y="146"/>
                    </a:lnTo>
                    <a:lnTo>
                      <a:pt x="443" y="150"/>
                    </a:lnTo>
                    <a:lnTo>
                      <a:pt x="439" y="152"/>
                    </a:lnTo>
                    <a:lnTo>
                      <a:pt x="437" y="152"/>
                    </a:lnTo>
                    <a:lnTo>
                      <a:pt x="435" y="152"/>
                    </a:lnTo>
                    <a:lnTo>
                      <a:pt x="431" y="150"/>
                    </a:lnTo>
                    <a:lnTo>
                      <a:pt x="429" y="152"/>
                    </a:lnTo>
                    <a:lnTo>
                      <a:pt x="427" y="152"/>
                    </a:lnTo>
                    <a:lnTo>
                      <a:pt x="427" y="154"/>
                    </a:lnTo>
                    <a:lnTo>
                      <a:pt x="425" y="156"/>
                    </a:lnTo>
                    <a:lnTo>
                      <a:pt x="423" y="154"/>
                    </a:lnTo>
                    <a:lnTo>
                      <a:pt x="414" y="150"/>
                    </a:lnTo>
                    <a:lnTo>
                      <a:pt x="406" y="146"/>
                    </a:lnTo>
                    <a:lnTo>
                      <a:pt x="404" y="144"/>
                    </a:lnTo>
                    <a:lnTo>
                      <a:pt x="404" y="144"/>
                    </a:lnTo>
                    <a:lnTo>
                      <a:pt x="402" y="142"/>
                    </a:lnTo>
                    <a:lnTo>
                      <a:pt x="401" y="140"/>
                    </a:lnTo>
                    <a:lnTo>
                      <a:pt x="399" y="139"/>
                    </a:lnTo>
                    <a:lnTo>
                      <a:pt x="397" y="139"/>
                    </a:lnTo>
                    <a:lnTo>
                      <a:pt x="393" y="137"/>
                    </a:lnTo>
                    <a:lnTo>
                      <a:pt x="385" y="133"/>
                    </a:lnTo>
                    <a:lnTo>
                      <a:pt x="382" y="131"/>
                    </a:lnTo>
                    <a:lnTo>
                      <a:pt x="380" y="131"/>
                    </a:lnTo>
                    <a:lnTo>
                      <a:pt x="378" y="133"/>
                    </a:lnTo>
                    <a:lnTo>
                      <a:pt x="376" y="131"/>
                    </a:lnTo>
                    <a:lnTo>
                      <a:pt x="376" y="131"/>
                    </a:lnTo>
                    <a:lnTo>
                      <a:pt x="376" y="129"/>
                    </a:lnTo>
                    <a:lnTo>
                      <a:pt x="374" y="127"/>
                    </a:lnTo>
                    <a:lnTo>
                      <a:pt x="372" y="127"/>
                    </a:lnTo>
                    <a:lnTo>
                      <a:pt x="370" y="127"/>
                    </a:lnTo>
                    <a:lnTo>
                      <a:pt x="364" y="129"/>
                    </a:lnTo>
                    <a:lnTo>
                      <a:pt x="362" y="131"/>
                    </a:lnTo>
                    <a:lnTo>
                      <a:pt x="361" y="131"/>
                    </a:lnTo>
                    <a:lnTo>
                      <a:pt x="361" y="131"/>
                    </a:lnTo>
                    <a:lnTo>
                      <a:pt x="359" y="131"/>
                    </a:lnTo>
                    <a:lnTo>
                      <a:pt x="359" y="131"/>
                    </a:lnTo>
                    <a:lnTo>
                      <a:pt x="357" y="129"/>
                    </a:lnTo>
                    <a:lnTo>
                      <a:pt x="355" y="129"/>
                    </a:lnTo>
                    <a:lnTo>
                      <a:pt x="355" y="129"/>
                    </a:lnTo>
                    <a:lnTo>
                      <a:pt x="355" y="129"/>
                    </a:lnTo>
                    <a:lnTo>
                      <a:pt x="351" y="129"/>
                    </a:lnTo>
                    <a:lnTo>
                      <a:pt x="351" y="129"/>
                    </a:lnTo>
                    <a:lnTo>
                      <a:pt x="351" y="129"/>
                    </a:lnTo>
                    <a:lnTo>
                      <a:pt x="341" y="123"/>
                    </a:lnTo>
                    <a:lnTo>
                      <a:pt x="338" y="121"/>
                    </a:lnTo>
                    <a:lnTo>
                      <a:pt x="334" y="123"/>
                    </a:lnTo>
                    <a:lnTo>
                      <a:pt x="330" y="123"/>
                    </a:lnTo>
                    <a:lnTo>
                      <a:pt x="328" y="125"/>
                    </a:lnTo>
                    <a:lnTo>
                      <a:pt x="320" y="133"/>
                    </a:lnTo>
                    <a:lnTo>
                      <a:pt x="317" y="133"/>
                    </a:lnTo>
                    <a:lnTo>
                      <a:pt x="315" y="135"/>
                    </a:lnTo>
                    <a:lnTo>
                      <a:pt x="315" y="133"/>
                    </a:lnTo>
                    <a:lnTo>
                      <a:pt x="313" y="133"/>
                    </a:lnTo>
                    <a:lnTo>
                      <a:pt x="313" y="131"/>
                    </a:lnTo>
                    <a:lnTo>
                      <a:pt x="313" y="129"/>
                    </a:lnTo>
                    <a:lnTo>
                      <a:pt x="313" y="129"/>
                    </a:lnTo>
                    <a:lnTo>
                      <a:pt x="311" y="129"/>
                    </a:lnTo>
                    <a:lnTo>
                      <a:pt x="309" y="129"/>
                    </a:lnTo>
                    <a:lnTo>
                      <a:pt x="309" y="129"/>
                    </a:lnTo>
                    <a:lnTo>
                      <a:pt x="301" y="123"/>
                    </a:lnTo>
                    <a:lnTo>
                      <a:pt x="300" y="121"/>
                    </a:lnTo>
                    <a:lnTo>
                      <a:pt x="300" y="118"/>
                    </a:lnTo>
                    <a:lnTo>
                      <a:pt x="300" y="106"/>
                    </a:lnTo>
                    <a:lnTo>
                      <a:pt x="300" y="102"/>
                    </a:lnTo>
                    <a:lnTo>
                      <a:pt x="298" y="99"/>
                    </a:lnTo>
                    <a:lnTo>
                      <a:pt x="288" y="95"/>
                    </a:lnTo>
                    <a:lnTo>
                      <a:pt x="286" y="93"/>
                    </a:lnTo>
                    <a:lnTo>
                      <a:pt x="277" y="97"/>
                    </a:lnTo>
                    <a:lnTo>
                      <a:pt x="271" y="100"/>
                    </a:lnTo>
                    <a:lnTo>
                      <a:pt x="265" y="102"/>
                    </a:lnTo>
                    <a:lnTo>
                      <a:pt x="263" y="104"/>
                    </a:lnTo>
                    <a:lnTo>
                      <a:pt x="261" y="102"/>
                    </a:lnTo>
                    <a:lnTo>
                      <a:pt x="259" y="102"/>
                    </a:lnTo>
                    <a:lnTo>
                      <a:pt x="258" y="104"/>
                    </a:lnTo>
                    <a:lnTo>
                      <a:pt x="256" y="106"/>
                    </a:lnTo>
                    <a:lnTo>
                      <a:pt x="256" y="106"/>
                    </a:lnTo>
                    <a:lnTo>
                      <a:pt x="254" y="108"/>
                    </a:lnTo>
                    <a:lnTo>
                      <a:pt x="248" y="110"/>
                    </a:lnTo>
                    <a:lnTo>
                      <a:pt x="246" y="110"/>
                    </a:lnTo>
                    <a:lnTo>
                      <a:pt x="235" y="106"/>
                    </a:lnTo>
                    <a:lnTo>
                      <a:pt x="231" y="102"/>
                    </a:lnTo>
                    <a:lnTo>
                      <a:pt x="231" y="99"/>
                    </a:lnTo>
                    <a:lnTo>
                      <a:pt x="231" y="95"/>
                    </a:lnTo>
                    <a:lnTo>
                      <a:pt x="227" y="93"/>
                    </a:lnTo>
                    <a:lnTo>
                      <a:pt x="223" y="93"/>
                    </a:lnTo>
                    <a:lnTo>
                      <a:pt x="216" y="95"/>
                    </a:lnTo>
                    <a:lnTo>
                      <a:pt x="214" y="95"/>
                    </a:lnTo>
                    <a:lnTo>
                      <a:pt x="214" y="93"/>
                    </a:lnTo>
                    <a:lnTo>
                      <a:pt x="214" y="91"/>
                    </a:lnTo>
                    <a:lnTo>
                      <a:pt x="212" y="89"/>
                    </a:lnTo>
                    <a:lnTo>
                      <a:pt x="210" y="89"/>
                    </a:lnTo>
                    <a:lnTo>
                      <a:pt x="208" y="89"/>
                    </a:lnTo>
                    <a:lnTo>
                      <a:pt x="204" y="87"/>
                    </a:lnTo>
                    <a:lnTo>
                      <a:pt x="204" y="85"/>
                    </a:lnTo>
                    <a:lnTo>
                      <a:pt x="202" y="81"/>
                    </a:lnTo>
                    <a:lnTo>
                      <a:pt x="202" y="80"/>
                    </a:lnTo>
                    <a:lnTo>
                      <a:pt x="198" y="78"/>
                    </a:lnTo>
                    <a:lnTo>
                      <a:pt x="193" y="76"/>
                    </a:lnTo>
                    <a:lnTo>
                      <a:pt x="189" y="74"/>
                    </a:lnTo>
                    <a:lnTo>
                      <a:pt x="189" y="74"/>
                    </a:lnTo>
                    <a:lnTo>
                      <a:pt x="189" y="72"/>
                    </a:lnTo>
                    <a:lnTo>
                      <a:pt x="185" y="72"/>
                    </a:lnTo>
                    <a:lnTo>
                      <a:pt x="183" y="72"/>
                    </a:lnTo>
                    <a:lnTo>
                      <a:pt x="183" y="74"/>
                    </a:lnTo>
                    <a:lnTo>
                      <a:pt x="181" y="7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4" y="62"/>
                    </a:lnTo>
                    <a:lnTo>
                      <a:pt x="166" y="59"/>
                    </a:lnTo>
                    <a:lnTo>
                      <a:pt x="168" y="55"/>
                    </a:lnTo>
                    <a:lnTo>
                      <a:pt x="168" y="49"/>
                    </a:lnTo>
                    <a:lnTo>
                      <a:pt x="168" y="45"/>
                    </a:lnTo>
                    <a:lnTo>
                      <a:pt x="166" y="40"/>
                    </a:lnTo>
                    <a:lnTo>
                      <a:pt x="164" y="34"/>
                    </a:lnTo>
                    <a:lnTo>
                      <a:pt x="162" y="30"/>
                    </a:lnTo>
                    <a:lnTo>
                      <a:pt x="158" y="26"/>
                    </a:lnTo>
                    <a:lnTo>
                      <a:pt x="122" y="21"/>
                    </a:lnTo>
                    <a:lnTo>
                      <a:pt x="118" y="19"/>
                    </a:lnTo>
                    <a:lnTo>
                      <a:pt x="116" y="15"/>
                    </a:lnTo>
                    <a:lnTo>
                      <a:pt x="115" y="13"/>
                    </a:lnTo>
                    <a:lnTo>
                      <a:pt x="115" y="11"/>
                    </a:lnTo>
                    <a:lnTo>
                      <a:pt x="111" y="11"/>
                    </a:lnTo>
                    <a:lnTo>
                      <a:pt x="109" y="11"/>
                    </a:lnTo>
                    <a:lnTo>
                      <a:pt x="107" y="7"/>
                    </a:lnTo>
                    <a:lnTo>
                      <a:pt x="107" y="7"/>
                    </a:lnTo>
                    <a:lnTo>
                      <a:pt x="103" y="5"/>
                    </a:lnTo>
                    <a:lnTo>
                      <a:pt x="101" y="5"/>
                    </a:lnTo>
                    <a:lnTo>
                      <a:pt x="101" y="3"/>
                    </a:lnTo>
                    <a:lnTo>
                      <a:pt x="99" y="2"/>
                    </a:lnTo>
                    <a:lnTo>
                      <a:pt x="97" y="0"/>
                    </a:lnTo>
                    <a:lnTo>
                      <a:pt x="95" y="2"/>
                    </a:lnTo>
                    <a:lnTo>
                      <a:pt x="90" y="9"/>
                    </a:lnTo>
                    <a:lnTo>
                      <a:pt x="86" y="11"/>
                    </a:lnTo>
                    <a:lnTo>
                      <a:pt x="82" y="11"/>
                    </a:lnTo>
                    <a:lnTo>
                      <a:pt x="78" y="11"/>
                    </a:lnTo>
                    <a:lnTo>
                      <a:pt x="76" y="9"/>
                    </a:lnTo>
                    <a:lnTo>
                      <a:pt x="76" y="9"/>
                    </a:lnTo>
                    <a:lnTo>
                      <a:pt x="73" y="11"/>
                    </a:lnTo>
                    <a:lnTo>
                      <a:pt x="67" y="11"/>
                    </a:lnTo>
                    <a:lnTo>
                      <a:pt x="65" y="11"/>
                    </a:lnTo>
                    <a:lnTo>
                      <a:pt x="65" y="15"/>
                    </a:lnTo>
                    <a:lnTo>
                      <a:pt x="69" y="19"/>
                    </a:lnTo>
                    <a:lnTo>
                      <a:pt x="69" y="19"/>
                    </a:lnTo>
                    <a:lnTo>
                      <a:pt x="71" y="21"/>
                    </a:lnTo>
                    <a:lnTo>
                      <a:pt x="71" y="22"/>
                    </a:lnTo>
                    <a:lnTo>
                      <a:pt x="69" y="22"/>
                    </a:lnTo>
                    <a:lnTo>
                      <a:pt x="69" y="22"/>
                    </a:lnTo>
                    <a:lnTo>
                      <a:pt x="67" y="24"/>
                    </a:lnTo>
                    <a:lnTo>
                      <a:pt x="67" y="24"/>
                    </a:lnTo>
                    <a:lnTo>
                      <a:pt x="67" y="24"/>
                    </a:lnTo>
                    <a:lnTo>
                      <a:pt x="67" y="26"/>
                    </a:lnTo>
                    <a:lnTo>
                      <a:pt x="67" y="26"/>
                    </a:lnTo>
                    <a:lnTo>
                      <a:pt x="67" y="26"/>
                    </a:lnTo>
                    <a:lnTo>
                      <a:pt x="67" y="26"/>
                    </a:lnTo>
                    <a:lnTo>
                      <a:pt x="71" y="26"/>
                    </a:lnTo>
                    <a:lnTo>
                      <a:pt x="73" y="26"/>
                    </a:lnTo>
                    <a:lnTo>
                      <a:pt x="73" y="28"/>
                    </a:lnTo>
                    <a:lnTo>
                      <a:pt x="73" y="28"/>
                    </a:lnTo>
                    <a:lnTo>
                      <a:pt x="71" y="32"/>
                    </a:lnTo>
                    <a:lnTo>
                      <a:pt x="71" y="34"/>
                    </a:lnTo>
                    <a:lnTo>
                      <a:pt x="73" y="34"/>
                    </a:lnTo>
                    <a:lnTo>
                      <a:pt x="73" y="36"/>
                    </a:lnTo>
                    <a:lnTo>
                      <a:pt x="74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8" y="42"/>
                    </a:lnTo>
                    <a:lnTo>
                      <a:pt x="78" y="43"/>
                    </a:lnTo>
                    <a:lnTo>
                      <a:pt x="78" y="47"/>
                    </a:lnTo>
                    <a:lnTo>
                      <a:pt x="78" y="49"/>
                    </a:lnTo>
                    <a:lnTo>
                      <a:pt x="78" y="51"/>
                    </a:lnTo>
                    <a:lnTo>
                      <a:pt x="78" y="53"/>
                    </a:lnTo>
                    <a:lnTo>
                      <a:pt x="82" y="55"/>
                    </a:lnTo>
                    <a:lnTo>
                      <a:pt x="82" y="57"/>
                    </a:lnTo>
                    <a:lnTo>
                      <a:pt x="84" y="61"/>
                    </a:lnTo>
                    <a:lnTo>
                      <a:pt x="86" y="62"/>
                    </a:lnTo>
                    <a:lnTo>
                      <a:pt x="88" y="62"/>
                    </a:lnTo>
                    <a:lnTo>
                      <a:pt x="88" y="64"/>
                    </a:lnTo>
                    <a:lnTo>
                      <a:pt x="90" y="66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4"/>
                    </a:lnTo>
                    <a:lnTo>
                      <a:pt x="94" y="81"/>
                    </a:lnTo>
                    <a:lnTo>
                      <a:pt x="94" y="83"/>
                    </a:lnTo>
                    <a:lnTo>
                      <a:pt x="95" y="85"/>
                    </a:lnTo>
                    <a:lnTo>
                      <a:pt x="97" y="85"/>
                    </a:lnTo>
                    <a:lnTo>
                      <a:pt x="99" y="87"/>
                    </a:lnTo>
                    <a:lnTo>
                      <a:pt x="101" y="87"/>
                    </a:lnTo>
                    <a:lnTo>
                      <a:pt x="105" y="91"/>
                    </a:lnTo>
                    <a:lnTo>
                      <a:pt x="105" y="91"/>
                    </a:lnTo>
                    <a:lnTo>
                      <a:pt x="107" y="89"/>
                    </a:lnTo>
                    <a:lnTo>
                      <a:pt x="107" y="89"/>
                    </a:lnTo>
                    <a:lnTo>
                      <a:pt x="107" y="89"/>
                    </a:lnTo>
                    <a:lnTo>
                      <a:pt x="109" y="87"/>
                    </a:lnTo>
                    <a:lnTo>
                      <a:pt x="111" y="87"/>
                    </a:lnTo>
                    <a:lnTo>
                      <a:pt x="111" y="87"/>
                    </a:lnTo>
                    <a:lnTo>
                      <a:pt x="113" y="87"/>
                    </a:lnTo>
                    <a:lnTo>
                      <a:pt x="115" y="89"/>
                    </a:lnTo>
                    <a:lnTo>
                      <a:pt x="115" y="89"/>
                    </a:lnTo>
                    <a:lnTo>
                      <a:pt x="116" y="91"/>
                    </a:lnTo>
                    <a:lnTo>
                      <a:pt x="116" y="93"/>
                    </a:lnTo>
                    <a:lnTo>
                      <a:pt x="116" y="97"/>
                    </a:lnTo>
                    <a:lnTo>
                      <a:pt x="116" y="99"/>
                    </a:lnTo>
                    <a:lnTo>
                      <a:pt x="116" y="104"/>
                    </a:lnTo>
                    <a:lnTo>
                      <a:pt x="116" y="106"/>
                    </a:lnTo>
                    <a:lnTo>
                      <a:pt x="116" y="108"/>
                    </a:lnTo>
                    <a:lnTo>
                      <a:pt x="118" y="108"/>
                    </a:lnTo>
                    <a:lnTo>
                      <a:pt x="120" y="108"/>
                    </a:lnTo>
                    <a:lnTo>
                      <a:pt x="120" y="108"/>
                    </a:lnTo>
                    <a:lnTo>
                      <a:pt x="122" y="108"/>
                    </a:lnTo>
                    <a:lnTo>
                      <a:pt x="124" y="108"/>
                    </a:lnTo>
                    <a:lnTo>
                      <a:pt x="134" y="118"/>
                    </a:lnTo>
                    <a:lnTo>
                      <a:pt x="134" y="120"/>
                    </a:lnTo>
                    <a:lnTo>
                      <a:pt x="136" y="121"/>
                    </a:lnTo>
                    <a:lnTo>
                      <a:pt x="136" y="121"/>
                    </a:lnTo>
                    <a:lnTo>
                      <a:pt x="136" y="121"/>
                    </a:lnTo>
                    <a:lnTo>
                      <a:pt x="134" y="123"/>
                    </a:lnTo>
                    <a:lnTo>
                      <a:pt x="115" y="123"/>
                    </a:lnTo>
                    <a:lnTo>
                      <a:pt x="109" y="123"/>
                    </a:lnTo>
                    <a:lnTo>
                      <a:pt x="107" y="121"/>
                    </a:lnTo>
                    <a:lnTo>
                      <a:pt x="105" y="121"/>
                    </a:lnTo>
                    <a:lnTo>
                      <a:pt x="103" y="121"/>
                    </a:lnTo>
                    <a:lnTo>
                      <a:pt x="99" y="121"/>
                    </a:lnTo>
                    <a:lnTo>
                      <a:pt x="97" y="121"/>
                    </a:lnTo>
                    <a:lnTo>
                      <a:pt x="97" y="123"/>
                    </a:lnTo>
                    <a:lnTo>
                      <a:pt x="95" y="123"/>
                    </a:lnTo>
                    <a:lnTo>
                      <a:pt x="95" y="125"/>
                    </a:lnTo>
                    <a:lnTo>
                      <a:pt x="94" y="131"/>
                    </a:lnTo>
                    <a:lnTo>
                      <a:pt x="94" y="131"/>
                    </a:lnTo>
                    <a:lnTo>
                      <a:pt x="94" y="133"/>
                    </a:lnTo>
                    <a:lnTo>
                      <a:pt x="92" y="135"/>
                    </a:lnTo>
                    <a:lnTo>
                      <a:pt x="92" y="135"/>
                    </a:lnTo>
                    <a:lnTo>
                      <a:pt x="90" y="135"/>
                    </a:lnTo>
                    <a:lnTo>
                      <a:pt x="84" y="137"/>
                    </a:lnTo>
                    <a:lnTo>
                      <a:pt x="84" y="137"/>
                    </a:lnTo>
                    <a:lnTo>
                      <a:pt x="84" y="137"/>
                    </a:lnTo>
                    <a:lnTo>
                      <a:pt x="84" y="139"/>
                    </a:lnTo>
                    <a:lnTo>
                      <a:pt x="82" y="140"/>
                    </a:lnTo>
                    <a:lnTo>
                      <a:pt x="82" y="140"/>
                    </a:lnTo>
                    <a:lnTo>
                      <a:pt x="80" y="140"/>
                    </a:lnTo>
                    <a:lnTo>
                      <a:pt x="80" y="140"/>
                    </a:lnTo>
                    <a:lnTo>
                      <a:pt x="80" y="140"/>
                    </a:lnTo>
                    <a:lnTo>
                      <a:pt x="80" y="139"/>
                    </a:lnTo>
                    <a:lnTo>
                      <a:pt x="80" y="139"/>
                    </a:lnTo>
                    <a:lnTo>
                      <a:pt x="78" y="137"/>
                    </a:lnTo>
                    <a:lnTo>
                      <a:pt x="78" y="137"/>
                    </a:lnTo>
                    <a:lnTo>
                      <a:pt x="78" y="137"/>
                    </a:lnTo>
                    <a:lnTo>
                      <a:pt x="78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4" y="139"/>
                    </a:lnTo>
                    <a:lnTo>
                      <a:pt x="74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4" y="146"/>
                    </a:lnTo>
                    <a:lnTo>
                      <a:pt x="76" y="148"/>
                    </a:lnTo>
                    <a:lnTo>
                      <a:pt x="78" y="150"/>
                    </a:lnTo>
                    <a:lnTo>
                      <a:pt x="80" y="150"/>
                    </a:lnTo>
                    <a:lnTo>
                      <a:pt x="82" y="150"/>
                    </a:lnTo>
                    <a:lnTo>
                      <a:pt x="82" y="150"/>
                    </a:lnTo>
                    <a:lnTo>
                      <a:pt x="84" y="150"/>
                    </a:lnTo>
                    <a:lnTo>
                      <a:pt x="86" y="148"/>
                    </a:lnTo>
                    <a:lnTo>
                      <a:pt x="86" y="148"/>
                    </a:lnTo>
                    <a:lnTo>
                      <a:pt x="86" y="148"/>
                    </a:lnTo>
                    <a:lnTo>
                      <a:pt x="86" y="146"/>
                    </a:lnTo>
                    <a:lnTo>
                      <a:pt x="88" y="146"/>
                    </a:lnTo>
                    <a:lnTo>
                      <a:pt x="88" y="148"/>
                    </a:lnTo>
                    <a:lnTo>
                      <a:pt x="90" y="148"/>
                    </a:lnTo>
                    <a:lnTo>
                      <a:pt x="94" y="152"/>
                    </a:lnTo>
                    <a:lnTo>
                      <a:pt x="95" y="154"/>
                    </a:lnTo>
                    <a:lnTo>
                      <a:pt x="99" y="154"/>
                    </a:lnTo>
                    <a:lnTo>
                      <a:pt x="107" y="156"/>
                    </a:lnTo>
                    <a:lnTo>
                      <a:pt x="109" y="158"/>
                    </a:lnTo>
                    <a:lnTo>
                      <a:pt x="109" y="158"/>
                    </a:lnTo>
                    <a:lnTo>
                      <a:pt x="109" y="159"/>
                    </a:lnTo>
                    <a:lnTo>
                      <a:pt x="109" y="161"/>
                    </a:lnTo>
                    <a:lnTo>
                      <a:pt x="105" y="165"/>
                    </a:lnTo>
                    <a:lnTo>
                      <a:pt x="105" y="165"/>
                    </a:lnTo>
                    <a:lnTo>
                      <a:pt x="105" y="167"/>
                    </a:lnTo>
                    <a:lnTo>
                      <a:pt x="107" y="169"/>
                    </a:lnTo>
                    <a:lnTo>
                      <a:pt x="109" y="173"/>
                    </a:lnTo>
                    <a:lnTo>
                      <a:pt x="109" y="173"/>
                    </a:lnTo>
                    <a:lnTo>
                      <a:pt x="109" y="173"/>
                    </a:lnTo>
                    <a:lnTo>
                      <a:pt x="107" y="175"/>
                    </a:lnTo>
                    <a:lnTo>
                      <a:pt x="103" y="175"/>
                    </a:lnTo>
                    <a:lnTo>
                      <a:pt x="103" y="175"/>
                    </a:lnTo>
                    <a:lnTo>
                      <a:pt x="101" y="175"/>
                    </a:lnTo>
                    <a:lnTo>
                      <a:pt x="101" y="175"/>
                    </a:lnTo>
                    <a:lnTo>
                      <a:pt x="99" y="175"/>
                    </a:lnTo>
                    <a:lnTo>
                      <a:pt x="99" y="175"/>
                    </a:lnTo>
                    <a:lnTo>
                      <a:pt x="97" y="177"/>
                    </a:lnTo>
                    <a:lnTo>
                      <a:pt x="97" y="177"/>
                    </a:lnTo>
                    <a:lnTo>
                      <a:pt x="95" y="177"/>
                    </a:lnTo>
                    <a:lnTo>
                      <a:pt x="88" y="177"/>
                    </a:lnTo>
                    <a:lnTo>
                      <a:pt x="86" y="178"/>
                    </a:lnTo>
                    <a:lnTo>
                      <a:pt x="86" y="178"/>
                    </a:lnTo>
                    <a:lnTo>
                      <a:pt x="86" y="178"/>
                    </a:lnTo>
                    <a:lnTo>
                      <a:pt x="84" y="178"/>
                    </a:lnTo>
                    <a:lnTo>
                      <a:pt x="84" y="180"/>
                    </a:lnTo>
                    <a:lnTo>
                      <a:pt x="84" y="180"/>
                    </a:lnTo>
                    <a:lnTo>
                      <a:pt x="84" y="182"/>
                    </a:lnTo>
                    <a:lnTo>
                      <a:pt x="84" y="184"/>
                    </a:lnTo>
                    <a:lnTo>
                      <a:pt x="86" y="184"/>
                    </a:lnTo>
                    <a:lnTo>
                      <a:pt x="88" y="188"/>
                    </a:lnTo>
                    <a:lnTo>
                      <a:pt x="90" y="190"/>
                    </a:lnTo>
                    <a:lnTo>
                      <a:pt x="94" y="199"/>
                    </a:lnTo>
                    <a:lnTo>
                      <a:pt x="95" y="199"/>
                    </a:lnTo>
                    <a:lnTo>
                      <a:pt x="97" y="199"/>
                    </a:lnTo>
                    <a:lnTo>
                      <a:pt x="97" y="199"/>
                    </a:lnTo>
                    <a:lnTo>
                      <a:pt x="99" y="201"/>
                    </a:lnTo>
                    <a:lnTo>
                      <a:pt x="101" y="203"/>
                    </a:lnTo>
                    <a:lnTo>
                      <a:pt x="103" y="203"/>
                    </a:lnTo>
                    <a:lnTo>
                      <a:pt x="105" y="203"/>
                    </a:lnTo>
                    <a:lnTo>
                      <a:pt x="105" y="205"/>
                    </a:lnTo>
                    <a:lnTo>
                      <a:pt x="107" y="207"/>
                    </a:lnTo>
                    <a:lnTo>
                      <a:pt x="107" y="209"/>
                    </a:lnTo>
                    <a:lnTo>
                      <a:pt x="109" y="211"/>
                    </a:lnTo>
                    <a:lnTo>
                      <a:pt x="111" y="211"/>
                    </a:lnTo>
                    <a:lnTo>
                      <a:pt x="111" y="211"/>
                    </a:lnTo>
                    <a:lnTo>
                      <a:pt x="113" y="213"/>
                    </a:lnTo>
                    <a:lnTo>
                      <a:pt x="113" y="217"/>
                    </a:lnTo>
                    <a:lnTo>
                      <a:pt x="115" y="218"/>
                    </a:lnTo>
                    <a:lnTo>
                      <a:pt x="115" y="218"/>
                    </a:lnTo>
                    <a:lnTo>
                      <a:pt x="116" y="220"/>
                    </a:lnTo>
                    <a:lnTo>
                      <a:pt x="118" y="222"/>
                    </a:lnTo>
                    <a:lnTo>
                      <a:pt x="120" y="222"/>
                    </a:lnTo>
                    <a:lnTo>
                      <a:pt x="122" y="222"/>
                    </a:lnTo>
                    <a:lnTo>
                      <a:pt x="128" y="222"/>
                    </a:lnTo>
                    <a:lnTo>
                      <a:pt x="128" y="220"/>
                    </a:lnTo>
                    <a:lnTo>
                      <a:pt x="132" y="220"/>
                    </a:lnTo>
                    <a:lnTo>
                      <a:pt x="134" y="222"/>
                    </a:lnTo>
                    <a:lnTo>
                      <a:pt x="136" y="224"/>
                    </a:lnTo>
                    <a:lnTo>
                      <a:pt x="137" y="226"/>
                    </a:lnTo>
                    <a:lnTo>
                      <a:pt x="137" y="228"/>
                    </a:lnTo>
                    <a:lnTo>
                      <a:pt x="137" y="228"/>
                    </a:lnTo>
                    <a:lnTo>
                      <a:pt x="143" y="232"/>
                    </a:lnTo>
                    <a:lnTo>
                      <a:pt x="145" y="232"/>
                    </a:lnTo>
                    <a:lnTo>
                      <a:pt x="149" y="232"/>
                    </a:lnTo>
                    <a:lnTo>
                      <a:pt x="151" y="232"/>
                    </a:lnTo>
                    <a:lnTo>
                      <a:pt x="153" y="232"/>
                    </a:lnTo>
                    <a:lnTo>
                      <a:pt x="162" y="241"/>
                    </a:lnTo>
                    <a:lnTo>
                      <a:pt x="162" y="241"/>
                    </a:lnTo>
                    <a:lnTo>
                      <a:pt x="162" y="243"/>
                    </a:lnTo>
                    <a:lnTo>
                      <a:pt x="162" y="245"/>
                    </a:lnTo>
                    <a:lnTo>
                      <a:pt x="160" y="247"/>
                    </a:lnTo>
                    <a:lnTo>
                      <a:pt x="160" y="249"/>
                    </a:lnTo>
                    <a:lnTo>
                      <a:pt x="160" y="249"/>
                    </a:lnTo>
                    <a:lnTo>
                      <a:pt x="158" y="249"/>
                    </a:lnTo>
                    <a:lnTo>
                      <a:pt x="153" y="255"/>
                    </a:lnTo>
                    <a:lnTo>
                      <a:pt x="153" y="255"/>
                    </a:lnTo>
                    <a:lnTo>
                      <a:pt x="151" y="255"/>
                    </a:lnTo>
                    <a:lnTo>
                      <a:pt x="149" y="255"/>
                    </a:lnTo>
                    <a:lnTo>
                      <a:pt x="147" y="255"/>
                    </a:lnTo>
                    <a:lnTo>
                      <a:pt x="145" y="255"/>
                    </a:lnTo>
                    <a:lnTo>
                      <a:pt x="143" y="253"/>
                    </a:lnTo>
                    <a:lnTo>
                      <a:pt x="141" y="253"/>
                    </a:lnTo>
                    <a:lnTo>
                      <a:pt x="137" y="251"/>
                    </a:lnTo>
                    <a:lnTo>
                      <a:pt x="134" y="247"/>
                    </a:lnTo>
                    <a:lnTo>
                      <a:pt x="132" y="245"/>
                    </a:lnTo>
                    <a:lnTo>
                      <a:pt x="130" y="247"/>
                    </a:lnTo>
                    <a:lnTo>
                      <a:pt x="128" y="247"/>
                    </a:lnTo>
                    <a:lnTo>
                      <a:pt x="126" y="247"/>
                    </a:lnTo>
                    <a:lnTo>
                      <a:pt x="124" y="249"/>
                    </a:lnTo>
                    <a:lnTo>
                      <a:pt x="124" y="253"/>
                    </a:lnTo>
                    <a:lnTo>
                      <a:pt x="126" y="256"/>
                    </a:lnTo>
                    <a:lnTo>
                      <a:pt x="126" y="256"/>
                    </a:lnTo>
                    <a:lnTo>
                      <a:pt x="126" y="256"/>
                    </a:lnTo>
                    <a:lnTo>
                      <a:pt x="126" y="258"/>
                    </a:lnTo>
                    <a:lnTo>
                      <a:pt x="126" y="258"/>
                    </a:lnTo>
                    <a:lnTo>
                      <a:pt x="126" y="260"/>
                    </a:lnTo>
                    <a:lnTo>
                      <a:pt x="126" y="260"/>
                    </a:lnTo>
                    <a:lnTo>
                      <a:pt x="126" y="260"/>
                    </a:lnTo>
                    <a:lnTo>
                      <a:pt x="124" y="262"/>
                    </a:lnTo>
                    <a:lnTo>
                      <a:pt x="122" y="262"/>
                    </a:lnTo>
                    <a:lnTo>
                      <a:pt x="120" y="262"/>
                    </a:lnTo>
                    <a:lnTo>
                      <a:pt x="118" y="262"/>
                    </a:lnTo>
                    <a:lnTo>
                      <a:pt x="116" y="262"/>
                    </a:lnTo>
                    <a:lnTo>
                      <a:pt x="116" y="262"/>
                    </a:lnTo>
                    <a:lnTo>
                      <a:pt x="115" y="262"/>
                    </a:lnTo>
                    <a:lnTo>
                      <a:pt x="115" y="260"/>
                    </a:lnTo>
                    <a:lnTo>
                      <a:pt x="115" y="260"/>
                    </a:lnTo>
                    <a:lnTo>
                      <a:pt x="113" y="260"/>
                    </a:lnTo>
                    <a:lnTo>
                      <a:pt x="113" y="260"/>
                    </a:lnTo>
                    <a:lnTo>
                      <a:pt x="113" y="258"/>
                    </a:lnTo>
                    <a:lnTo>
                      <a:pt x="113" y="258"/>
                    </a:lnTo>
                    <a:lnTo>
                      <a:pt x="113" y="256"/>
                    </a:lnTo>
                    <a:lnTo>
                      <a:pt x="113" y="256"/>
                    </a:lnTo>
                    <a:lnTo>
                      <a:pt x="113" y="255"/>
                    </a:lnTo>
                    <a:lnTo>
                      <a:pt x="113" y="255"/>
                    </a:lnTo>
                    <a:lnTo>
                      <a:pt x="113" y="253"/>
                    </a:lnTo>
                    <a:lnTo>
                      <a:pt x="113" y="251"/>
                    </a:lnTo>
                    <a:lnTo>
                      <a:pt x="113" y="251"/>
                    </a:lnTo>
                    <a:lnTo>
                      <a:pt x="109" y="249"/>
                    </a:lnTo>
                    <a:lnTo>
                      <a:pt x="103" y="249"/>
                    </a:lnTo>
                    <a:lnTo>
                      <a:pt x="94" y="258"/>
                    </a:lnTo>
                    <a:lnTo>
                      <a:pt x="86" y="268"/>
                    </a:lnTo>
                    <a:lnTo>
                      <a:pt x="84" y="270"/>
                    </a:lnTo>
                    <a:lnTo>
                      <a:pt x="74" y="276"/>
                    </a:lnTo>
                    <a:lnTo>
                      <a:pt x="74" y="277"/>
                    </a:lnTo>
                    <a:lnTo>
                      <a:pt x="73" y="277"/>
                    </a:lnTo>
                    <a:lnTo>
                      <a:pt x="71" y="279"/>
                    </a:lnTo>
                    <a:lnTo>
                      <a:pt x="67" y="281"/>
                    </a:lnTo>
                    <a:lnTo>
                      <a:pt x="63" y="283"/>
                    </a:lnTo>
                    <a:lnTo>
                      <a:pt x="61" y="285"/>
                    </a:lnTo>
                    <a:lnTo>
                      <a:pt x="61" y="285"/>
                    </a:lnTo>
                    <a:lnTo>
                      <a:pt x="61" y="287"/>
                    </a:lnTo>
                    <a:lnTo>
                      <a:pt x="57" y="291"/>
                    </a:lnTo>
                    <a:lnTo>
                      <a:pt x="44" y="298"/>
                    </a:lnTo>
                    <a:lnTo>
                      <a:pt x="27" y="308"/>
                    </a:lnTo>
                    <a:lnTo>
                      <a:pt x="25" y="310"/>
                    </a:lnTo>
                    <a:lnTo>
                      <a:pt x="21" y="312"/>
                    </a:lnTo>
                    <a:lnTo>
                      <a:pt x="19" y="314"/>
                    </a:lnTo>
                    <a:lnTo>
                      <a:pt x="12" y="317"/>
                    </a:lnTo>
                    <a:lnTo>
                      <a:pt x="8" y="319"/>
                    </a:lnTo>
                    <a:lnTo>
                      <a:pt x="6" y="321"/>
                    </a:lnTo>
                    <a:lnTo>
                      <a:pt x="4" y="323"/>
                    </a:lnTo>
                    <a:lnTo>
                      <a:pt x="4" y="325"/>
                    </a:lnTo>
                    <a:lnTo>
                      <a:pt x="2" y="325"/>
                    </a:lnTo>
                    <a:lnTo>
                      <a:pt x="2" y="327"/>
                    </a:lnTo>
                    <a:lnTo>
                      <a:pt x="2" y="327"/>
                    </a:lnTo>
                    <a:lnTo>
                      <a:pt x="2" y="331"/>
                    </a:lnTo>
                    <a:lnTo>
                      <a:pt x="0" y="338"/>
                    </a:lnTo>
                    <a:lnTo>
                      <a:pt x="0" y="340"/>
                    </a:lnTo>
                    <a:lnTo>
                      <a:pt x="0" y="342"/>
                    </a:lnTo>
                    <a:lnTo>
                      <a:pt x="0" y="344"/>
                    </a:lnTo>
                    <a:lnTo>
                      <a:pt x="2" y="346"/>
                    </a:lnTo>
                    <a:lnTo>
                      <a:pt x="6" y="350"/>
                    </a:lnTo>
                    <a:lnTo>
                      <a:pt x="6" y="352"/>
                    </a:lnTo>
                    <a:lnTo>
                      <a:pt x="6" y="352"/>
                    </a:lnTo>
                    <a:lnTo>
                      <a:pt x="6" y="355"/>
                    </a:lnTo>
                    <a:lnTo>
                      <a:pt x="6" y="361"/>
                    </a:lnTo>
                    <a:lnTo>
                      <a:pt x="6" y="363"/>
                    </a:lnTo>
                    <a:lnTo>
                      <a:pt x="6" y="365"/>
                    </a:lnTo>
                    <a:lnTo>
                      <a:pt x="4" y="365"/>
                    </a:lnTo>
                    <a:lnTo>
                      <a:pt x="4" y="367"/>
                    </a:lnTo>
                    <a:lnTo>
                      <a:pt x="4" y="369"/>
                    </a:lnTo>
                    <a:lnTo>
                      <a:pt x="6" y="371"/>
                    </a:lnTo>
                    <a:lnTo>
                      <a:pt x="8" y="373"/>
                    </a:lnTo>
                    <a:lnTo>
                      <a:pt x="10" y="374"/>
                    </a:lnTo>
                    <a:lnTo>
                      <a:pt x="10" y="374"/>
                    </a:lnTo>
                    <a:lnTo>
                      <a:pt x="12" y="374"/>
                    </a:lnTo>
                    <a:lnTo>
                      <a:pt x="13" y="378"/>
                    </a:lnTo>
                    <a:lnTo>
                      <a:pt x="13" y="380"/>
                    </a:lnTo>
                    <a:lnTo>
                      <a:pt x="15" y="382"/>
                    </a:lnTo>
                    <a:lnTo>
                      <a:pt x="17" y="382"/>
                    </a:lnTo>
                    <a:lnTo>
                      <a:pt x="19" y="384"/>
                    </a:lnTo>
                    <a:lnTo>
                      <a:pt x="23" y="384"/>
                    </a:lnTo>
                    <a:lnTo>
                      <a:pt x="25" y="386"/>
                    </a:lnTo>
                    <a:lnTo>
                      <a:pt x="25" y="386"/>
                    </a:lnTo>
                    <a:lnTo>
                      <a:pt x="27" y="390"/>
                    </a:lnTo>
                    <a:lnTo>
                      <a:pt x="27" y="392"/>
                    </a:lnTo>
                    <a:lnTo>
                      <a:pt x="27" y="392"/>
                    </a:lnTo>
                    <a:lnTo>
                      <a:pt x="25" y="397"/>
                    </a:lnTo>
                    <a:lnTo>
                      <a:pt x="25" y="397"/>
                    </a:lnTo>
                    <a:lnTo>
                      <a:pt x="25" y="399"/>
                    </a:lnTo>
                    <a:lnTo>
                      <a:pt x="25" y="401"/>
                    </a:lnTo>
                    <a:lnTo>
                      <a:pt x="27" y="403"/>
                    </a:lnTo>
                    <a:lnTo>
                      <a:pt x="25" y="405"/>
                    </a:lnTo>
                    <a:lnTo>
                      <a:pt x="25" y="409"/>
                    </a:lnTo>
                    <a:lnTo>
                      <a:pt x="27" y="413"/>
                    </a:lnTo>
                    <a:lnTo>
                      <a:pt x="25" y="416"/>
                    </a:lnTo>
                    <a:lnTo>
                      <a:pt x="27" y="416"/>
                    </a:lnTo>
                    <a:lnTo>
                      <a:pt x="40" y="418"/>
                    </a:lnTo>
                    <a:lnTo>
                      <a:pt x="48" y="420"/>
                    </a:lnTo>
                    <a:lnTo>
                      <a:pt x="54" y="420"/>
                    </a:lnTo>
                    <a:lnTo>
                      <a:pt x="55" y="418"/>
                    </a:lnTo>
                    <a:lnTo>
                      <a:pt x="59" y="416"/>
                    </a:lnTo>
                    <a:lnTo>
                      <a:pt x="61" y="414"/>
                    </a:lnTo>
                    <a:lnTo>
                      <a:pt x="63" y="414"/>
                    </a:lnTo>
                    <a:lnTo>
                      <a:pt x="65" y="416"/>
                    </a:lnTo>
                    <a:lnTo>
                      <a:pt x="67" y="416"/>
                    </a:lnTo>
                    <a:lnTo>
                      <a:pt x="69" y="416"/>
                    </a:lnTo>
                    <a:lnTo>
                      <a:pt x="71" y="414"/>
                    </a:lnTo>
                    <a:lnTo>
                      <a:pt x="74" y="414"/>
                    </a:lnTo>
                    <a:lnTo>
                      <a:pt x="78" y="414"/>
                    </a:lnTo>
                    <a:lnTo>
                      <a:pt x="80" y="413"/>
                    </a:lnTo>
                    <a:lnTo>
                      <a:pt x="80" y="411"/>
                    </a:lnTo>
                    <a:lnTo>
                      <a:pt x="82" y="409"/>
                    </a:lnTo>
                    <a:lnTo>
                      <a:pt x="84" y="409"/>
                    </a:lnTo>
                    <a:lnTo>
                      <a:pt x="84" y="409"/>
                    </a:lnTo>
                    <a:lnTo>
                      <a:pt x="84" y="407"/>
                    </a:lnTo>
                    <a:lnTo>
                      <a:pt x="86" y="407"/>
                    </a:lnTo>
                    <a:lnTo>
                      <a:pt x="88" y="403"/>
                    </a:lnTo>
                    <a:lnTo>
                      <a:pt x="88" y="401"/>
                    </a:lnTo>
                    <a:lnTo>
                      <a:pt x="88" y="401"/>
                    </a:lnTo>
                    <a:lnTo>
                      <a:pt x="90" y="401"/>
                    </a:lnTo>
                    <a:lnTo>
                      <a:pt x="92" y="403"/>
                    </a:lnTo>
                    <a:lnTo>
                      <a:pt x="95" y="413"/>
                    </a:lnTo>
                    <a:lnTo>
                      <a:pt x="97" y="420"/>
                    </a:lnTo>
                    <a:lnTo>
                      <a:pt x="99" y="422"/>
                    </a:lnTo>
                    <a:lnTo>
                      <a:pt x="101" y="424"/>
                    </a:lnTo>
                    <a:lnTo>
                      <a:pt x="101" y="424"/>
                    </a:lnTo>
                    <a:lnTo>
                      <a:pt x="103" y="424"/>
                    </a:lnTo>
                    <a:lnTo>
                      <a:pt x="103" y="424"/>
                    </a:lnTo>
                    <a:lnTo>
                      <a:pt x="105" y="422"/>
                    </a:lnTo>
                    <a:lnTo>
                      <a:pt x="105" y="422"/>
                    </a:lnTo>
                    <a:lnTo>
                      <a:pt x="105" y="420"/>
                    </a:lnTo>
                    <a:lnTo>
                      <a:pt x="105" y="420"/>
                    </a:lnTo>
                    <a:lnTo>
                      <a:pt x="105" y="418"/>
                    </a:lnTo>
                    <a:lnTo>
                      <a:pt x="107" y="418"/>
                    </a:lnTo>
                    <a:lnTo>
                      <a:pt x="107" y="420"/>
                    </a:lnTo>
                    <a:lnTo>
                      <a:pt x="107" y="420"/>
                    </a:lnTo>
                    <a:lnTo>
                      <a:pt x="107" y="422"/>
                    </a:lnTo>
                    <a:lnTo>
                      <a:pt x="107" y="424"/>
                    </a:lnTo>
                    <a:lnTo>
                      <a:pt x="109" y="424"/>
                    </a:lnTo>
                    <a:lnTo>
                      <a:pt x="109" y="424"/>
                    </a:lnTo>
                    <a:lnTo>
                      <a:pt x="111" y="424"/>
                    </a:lnTo>
                    <a:lnTo>
                      <a:pt x="111" y="422"/>
                    </a:lnTo>
                    <a:lnTo>
                      <a:pt x="111" y="418"/>
                    </a:lnTo>
                    <a:lnTo>
                      <a:pt x="111" y="418"/>
                    </a:lnTo>
                    <a:lnTo>
                      <a:pt x="111" y="418"/>
                    </a:lnTo>
                    <a:lnTo>
                      <a:pt x="113" y="418"/>
                    </a:lnTo>
                    <a:lnTo>
                      <a:pt x="115" y="418"/>
                    </a:lnTo>
                    <a:lnTo>
                      <a:pt x="115" y="418"/>
                    </a:lnTo>
                    <a:lnTo>
                      <a:pt x="116" y="416"/>
                    </a:lnTo>
                    <a:lnTo>
                      <a:pt x="116" y="416"/>
                    </a:lnTo>
                    <a:lnTo>
                      <a:pt x="116" y="416"/>
                    </a:lnTo>
                    <a:lnTo>
                      <a:pt x="118" y="418"/>
                    </a:lnTo>
                    <a:lnTo>
                      <a:pt x="118" y="418"/>
                    </a:lnTo>
                    <a:lnTo>
                      <a:pt x="120" y="418"/>
                    </a:lnTo>
                    <a:lnTo>
                      <a:pt x="122" y="416"/>
                    </a:lnTo>
                    <a:lnTo>
                      <a:pt x="122" y="416"/>
                    </a:lnTo>
                    <a:lnTo>
                      <a:pt x="124" y="416"/>
                    </a:lnTo>
                    <a:lnTo>
                      <a:pt x="124" y="418"/>
                    </a:lnTo>
                    <a:lnTo>
                      <a:pt x="126" y="420"/>
                    </a:lnTo>
                    <a:lnTo>
                      <a:pt x="126" y="424"/>
                    </a:lnTo>
                    <a:lnTo>
                      <a:pt x="126" y="426"/>
                    </a:lnTo>
                    <a:lnTo>
                      <a:pt x="124" y="428"/>
                    </a:lnTo>
                    <a:lnTo>
                      <a:pt x="124" y="428"/>
                    </a:lnTo>
                    <a:lnTo>
                      <a:pt x="128" y="432"/>
                    </a:lnTo>
                    <a:lnTo>
                      <a:pt x="130" y="433"/>
                    </a:lnTo>
                    <a:lnTo>
                      <a:pt x="132" y="435"/>
                    </a:lnTo>
                    <a:lnTo>
                      <a:pt x="134" y="437"/>
                    </a:lnTo>
                    <a:lnTo>
                      <a:pt x="137" y="439"/>
                    </a:lnTo>
                    <a:lnTo>
                      <a:pt x="139" y="441"/>
                    </a:lnTo>
                    <a:lnTo>
                      <a:pt x="141" y="443"/>
                    </a:lnTo>
                    <a:lnTo>
                      <a:pt x="141" y="445"/>
                    </a:lnTo>
                    <a:lnTo>
                      <a:pt x="143" y="445"/>
                    </a:lnTo>
                    <a:lnTo>
                      <a:pt x="145" y="447"/>
                    </a:lnTo>
                    <a:lnTo>
                      <a:pt x="147" y="447"/>
                    </a:lnTo>
                    <a:lnTo>
                      <a:pt x="147" y="449"/>
                    </a:lnTo>
                    <a:lnTo>
                      <a:pt x="149" y="447"/>
                    </a:lnTo>
                    <a:lnTo>
                      <a:pt x="151" y="447"/>
                    </a:lnTo>
                    <a:lnTo>
                      <a:pt x="153" y="445"/>
                    </a:lnTo>
                    <a:lnTo>
                      <a:pt x="153" y="443"/>
                    </a:lnTo>
                    <a:lnTo>
                      <a:pt x="155" y="443"/>
                    </a:lnTo>
                    <a:lnTo>
                      <a:pt x="155" y="441"/>
                    </a:lnTo>
                    <a:lnTo>
                      <a:pt x="156" y="437"/>
                    </a:lnTo>
                    <a:lnTo>
                      <a:pt x="158" y="437"/>
                    </a:lnTo>
                    <a:lnTo>
                      <a:pt x="158" y="435"/>
                    </a:lnTo>
                    <a:lnTo>
                      <a:pt x="158" y="435"/>
                    </a:lnTo>
                    <a:lnTo>
                      <a:pt x="160" y="435"/>
                    </a:lnTo>
                    <a:lnTo>
                      <a:pt x="160" y="435"/>
                    </a:lnTo>
                    <a:lnTo>
                      <a:pt x="162" y="437"/>
                    </a:lnTo>
                    <a:lnTo>
                      <a:pt x="164" y="437"/>
                    </a:lnTo>
                    <a:lnTo>
                      <a:pt x="166" y="437"/>
                    </a:lnTo>
                    <a:lnTo>
                      <a:pt x="168" y="437"/>
                    </a:lnTo>
                    <a:lnTo>
                      <a:pt x="168" y="437"/>
                    </a:lnTo>
                    <a:lnTo>
                      <a:pt x="170" y="433"/>
                    </a:lnTo>
                    <a:lnTo>
                      <a:pt x="172" y="430"/>
                    </a:lnTo>
                    <a:lnTo>
                      <a:pt x="174" y="428"/>
                    </a:lnTo>
                    <a:lnTo>
                      <a:pt x="179" y="426"/>
                    </a:lnTo>
                    <a:lnTo>
                      <a:pt x="181" y="424"/>
                    </a:lnTo>
                    <a:lnTo>
                      <a:pt x="183" y="422"/>
                    </a:lnTo>
                    <a:lnTo>
                      <a:pt x="185" y="422"/>
                    </a:lnTo>
                    <a:lnTo>
                      <a:pt x="185" y="420"/>
                    </a:lnTo>
                    <a:lnTo>
                      <a:pt x="187" y="422"/>
                    </a:lnTo>
                    <a:lnTo>
                      <a:pt x="189" y="422"/>
                    </a:lnTo>
                    <a:lnTo>
                      <a:pt x="191" y="430"/>
                    </a:lnTo>
                    <a:lnTo>
                      <a:pt x="191" y="430"/>
                    </a:lnTo>
                    <a:lnTo>
                      <a:pt x="193" y="430"/>
                    </a:lnTo>
                    <a:lnTo>
                      <a:pt x="195" y="430"/>
                    </a:lnTo>
                    <a:lnTo>
                      <a:pt x="195" y="430"/>
                    </a:lnTo>
                    <a:lnTo>
                      <a:pt x="197" y="432"/>
                    </a:lnTo>
                    <a:lnTo>
                      <a:pt x="197" y="437"/>
                    </a:lnTo>
                    <a:lnTo>
                      <a:pt x="198" y="439"/>
                    </a:lnTo>
                    <a:lnTo>
                      <a:pt x="200" y="441"/>
                    </a:lnTo>
                    <a:lnTo>
                      <a:pt x="206" y="441"/>
                    </a:lnTo>
                    <a:lnTo>
                      <a:pt x="208" y="441"/>
                    </a:lnTo>
                    <a:lnTo>
                      <a:pt x="210" y="439"/>
                    </a:lnTo>
                    <a:lnTo>
                      <a:pt x="214" y="437"/>
                    </a:lnTo>
                    <a:lnTo>
                      <a:pt x="221" y="435"/>
                    </a:lnTo>
                    <a:lnTo>
                      <a:pt x="221" y="435"/>
                    </a:lnTo>
                    <a:lnTo>
                      <a:pt x="221" y="437"/>
                    </a:lnTo>
                    <a:lnTo>
                      <a:pt x="221" y="439"/>
                    </a:lnTo>
                    <a:lnTo>
                      <a:pt x="221" y="441"/>
                    </a:lnTo>
                    <a:lnTo>
                      <a:pt x="221" y="443"/>
                    </a:lnTo>
                    <a:lnTo>
                      <a:pt x="223" y="441"/>
                    </a:lnTo>
                    <a:lnTo>
                      <a:pt x="227" y="437"/>
                    </a:lnTo>
                    <a:lnTo>
                      <a:pt x="229" y="435"/>
                    </a:lnTo>
                    <a:lnTo>
                      <a:pt x="231" y="435"/>
                    </a:lnTo>
                    <a:lnTo>
                      <a:pt x="231" y="433"/>
                    </a:lnTo>
                    <a:lnTo>
                      <a:pt x="231" y="433"/>
                    </a:lnTo>
                    <a:lnTo>
                      <a:pt x="231" y="432"/>
                    </a:lnTo>
                    <a:lnTo>
                      <a:pt x="233" y="430"/>
                    </a:lnTo>
                    <a:lnTo>
                      <a:pt x="244" y="426"/>
                    </a:lnTo>
                    <a:lnTo>
                      <a:pt x="244" y="426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46" y="422"/>
                    </a:lnTo>
                    <a:lnTo>
                      <a:pt x="248" y="422"/>
                    </a:lnTo>
                    <a:lnTo>
                      <a:pt x="258" y="420"/>
                    </a:lnTo>
                    <a:lnTo>
                      <a:pt x="259" y="420"/>
                    </a:lnTo>
                    <a:lnTo>
                      <a:pt x="265" y="420"/>
                    </a:lnTo>
                    <a:lnTo>
                      <a:pt x="269" y="420"/>
                    </a:lnTo>
                    <a:lnTo>
                      <a:pt x="271" y="420"/>
                    </a:lnTo>
                    <a:lnTo>
                      <a:pt x="273" y="420"/>
                    </a:lnTo>
                    <a:lnTo>
                      <a:pt x="275" y="420"/>
                    </a:lnTo>
                    <a:lnTo>
                      <a:pt x="277" y="420"/>
                    </a:lnTo>
                    <a:lnTo>
                      <a:pt x="277" y="420"/>
                    </a:lnTo>
                    <a:lnTo>
                      <a:pt x="280" y="416"/>
                    </a:lnTo>
                    <a:lnTo>
                      <a:pt x="280" y="416"/>
                    </a:lnTo>
                    <a:lnTo>
                      <a:pt x="282" y="414"/>
                    </a:lnTo>
                    <a:lnTo>
                      <a:pt x="282" y="414"/>
                    </a:lnTo>
                    <a:lnTo>
                      <a:pt x="284" y="413"/>
                    </a:lnTo>
                    <a:lnTo>
                      <a:pt x="284" y="413"/>
                    </a:lnTo>
                    <a:lnTo>
                      <a:pt x="286" y="413"/>
                    </a:lnTo>
                    <a:lnTo>
                      <a:pt x="288" y="414"/>
                    </a:lnTo>
                    <a:lnTo>
                      <a:pt x="292" y="414"/>
                    </a:lnTo>
                    <a:lnTo>
                      <a:pt x="294" y="413"/>
                    </a:lnTo>
                    <a:lnTo>
                      <a:pt x="294" y="411"/>
                    </a:lnTo>
                    <a:lnTo>
                      <a:pt x="294" y="407"/>
                    </a:lnTo>
                    <a:lnTo>
                      <a:pt x="294" y="405"/>
                    </a:lnTo>
                    <a:lnTo>
                      <a:pt x="294" y="403"/>
                    </a:lnTo>
                    <a:lnTo>
                      <a:pt x="292" y="401"/>
                    </a:lnTo>
                    <a:lnTo>
                      <a:pt x="292" y="401"/>
                    </a:lnTo>
                    <a:lnTo>
                      <a:pt x="292" y="399"/>
                    </a:lnTo>
                    <a:lnTo>
                      <a:pt x="294" y="399"/>
                    </a:lnTo>
                    <a:lnTo>
                      <a:pt x="296" y="399"/>
                    </a:lnTo>
                    <a:lnTo>
                      <a:pt x="298" y="397"/>
                    </a:lnTo>
                    <a:lnTo>
                      <a:pt x="298" y="395"/>
                    </a:lnTo>
                    <a:lnTo>
                      <a:pt x="298" y="392"/>
                    </a:lnTo>
                    <a:lnTo>
                      <a:pt x="300" y="390"/>
                    </a:lnTo>
                    <a:lnTo>
                      <a:pt x="300" y="388"/>
                    </a:lnTo>
                    <a:lnTo>
                      <a:pt x="301" y="386"/>
                    </a:lnTo>
                    <a:lnTo>
                      <a:pt x="303" y="384"/>
                    </a:lnTo>
                    <a:lnTo>
                      <a:pt x="305" y="384"/>
                    </a:lnTo>
                    <a:lnTo>
                      <a:pt x="315" y="384"/>
                    </a:lnTo>
                    <a:lnTo>
                      <a:pt x="317" y="384"/>
                    </a:lnTo>
                    <a:lnTo>
                      <a:pt x="319" y="386"/>
                    </a:lnTo>
                    <a:lnTo>
                      <a:pt x="324" y="393"/>
                    </a:lnTo>
                    <a:lnTo>
                      <a:pt x="332" y="393"/>
                    </a:lnTo>
                    <a:lnTo>
                      <a:pt x="336" y="390"/>
                    </a:lnTo>
                    <a:lnTo>
                      <a:pt x="340" y="388"/>
                    </a:lnTo>
                    <a:lnTo>
                      <a:pt x="341" y="386"/>
                    </a:lnTo>
                    <a:lnTo>
                      <a:pt x="341" y="388"/>
                    </a:lnTo>
                    <a:lnTo>
                      <a:pt x="341" y="388"/>
                    </a:lnTo>
                    <a:lnTo>
                      <a:pt x="341" y="390"/>
                    </a:lnTo>
                    <a:lnTo>
                      <a:pt x="340" y="392"/>
                    </a:lnTo>
                    <a:lnTo>
                      <a:pt x="341" y="392"/>
                    </a:lnTo>
                    <a:lnTo>
                      <a:pt x="343" y="392"/>
                    </a:lnTo>
                    <a:lnTo>
                      <a:pt x="345" y="392"/>
                    </a:lnTo>
                    <a:lnTo>
                      <a:pt x="347" y="393"/>
                    </a:lnTo>
                    <a:lnTo>
                      <a:pt x="349" y="393"/>
                    </a:lnTo>
                    <a:lnTo>
                      <a:pt x="349" y="397"/>
                    </a:lnTo>
                    <a:lnTo>
                      <a:pt x="351" y="407"/>
                    </a:lnTo>
                    <a:lnTo>
                      <a:pt x="353" y="409"/>
                    </a:lnTo>
                    <a:lnTo>
                      <a:pt x="353" y="411"/>
                    </a:lnTo>
                    <a:lnTo>
                      <a:pt x="355" y="413"/>
                    </a:lnTo>
                    <a:lnTo>
                      <a:pt x="359" y="413"/>
                    </a:lnTo>
                    <a:lnTo>
                      <a:pt x="361" y="413"/>
                    </a:lnTo>
                    <a:lnTo>
                      <a:pt x="362" y="411"/>
                    </a:lnTo>
                    <a:lnTo>
                      <a:pt x="364" y="411"/>
                    </a:lnTo>
                    <a:lnTo>
                      <a:pt x="370" y="413"/>
                    </a:lnTo>
                    <a:lnTo>
                      <a:pt x="372" y="413"/>
                    </a:lnTo>
                    <a:lnTo>
                      <a:pt x="374" y="414"/>
                    </a:lnTo>
                    <a:lnTo>
                      <a:pt x="374" y="416"/>
                    </a:lnTo>
                    <a:lnTo>
                      <a:pt x="374" y="420"/>
                    </a:lnTo>
                    <a:lnTo>
                      <a:pt x="374" y="422"/>
                    </a:lnTo>
                    <a:lnTo>
                      <a:pt x="374" y="424"/>
                    </a:lnTo>
                    <a:lnTo>
                      <a:pt x="370" y="428"/>
                    </a:lnTo>
                    <a:lnTo>
                      <a:pt x="370" y="428"/>
                    </a:lnTo>
                    <a:lnTo>
                      <a:pt x="370" y="430"/>
                    </a:lnTo>
                    <a:lnTo>
                      <a:pt x="382" y="435"/>
                    </a:lnTo>
                    <a:lnTo>
                      <a:pt x="389" y="441"/>
                    </a:lnTo>
                    <a:lnTo>
                      <a:pt x="391" y="443"/>
                    </a:lnTo>
                    <a:lnTo>
                      <a:pt x="393" y="443"/>
                    </a:lnTo>
                    <a:lnTo>
                      <a:pt x="393" y="441"/>
                    </a:lnTo>
                    <a:lnTo>
                      <a:pt x="395" y="439"/>
                    </a:lnTo>
                    <a:lnTo>
                      <a:pt x="395" y="437"/>
                    </a:lnTo>
                    <a:lnTo>
                      <a:pt x="395" y="437"/>
                    </a:lnTo>
                    <a:lnTo>
                      <a:pt x="395" y="435"/>
                    </a:lnTo>
                    <a:lnTo>
                      <a:pt x="395" y="433"/>
                    </a:lnTo>
                    <a:lnTo>
                      <a:pt x="397" y="433"/>
                    </a:lnTo>
                    <a:lnTo>
                      <a:pt x="397" y="433"/>
                    </a:lnTo>
                    <a:lnTo>
                      <a:pt x="397" y="428"/>
                    </a:lnTo>
                    <a:lnTo>
                      <a:pt x="399" y="424"/>
                    </a:lnTo>
                    <a:lnTo>
                      <a:pt x="399" y="422"/>
                    </a:lnTo>
                    <a:lnTo>
                      <a:pt x="404" y="418"/>
                    </a:lnTo>
                    <a:lnTo>
                      <a:pt x="410" y="413"/>
                    </a:lnTo>
                    <a:lnTo>
                      <a:pt x="412" y="413"/>
                    </a:lnTo>
                    <a:lnTo>
                      <a:pt x="416" y="413"/>
                    </a:lnTo>
                    <a:lnTo>
                      <a:pt x="418" y="414"/>
                    </a:lnTo>
                    <a:lnTo>
                      <a:pt x="420" y="414"/>
                    </a:lnTo>
                    <a:lnTo>
                      <a:pt x="423" y="414"/>
                    </a:lnTo>
                    <a:lnTo>
                      <a:pt x="425" y="414"/>
                    </a:lnTo>
                    <a:lnTo>
                      <a:pt x="427" y="413"/>
                    </a:lnTo>
                    <a:lnTo>
                      <a:pt x="429" y="409"/>
                    </a:lnTo>
                    <a:lnTo>
                      <a:pt x="429" y="409"/>
                    </a:lnTo>
                    <a:lnTo>
                      <a:pt x="431" y="409"/>
                    </a:lnTo>
                    <a:lnTo>
                      <a:pt x="433" y="409"/>
                    </a:lnTo>
                    <a:lnTo>
                      <a:pt x="435" y="411"/>
                    </a:lnTo>
                    <a:lnTo>
                      <a:pt x="439" y="413"/>
                    </a:lnTo>
                    <a:lnTo>
                      <a:pt x="448" y="416"/>
                    </a:lnTo>
                    <a:lnTo>
                      <a:pt x="448" y="416"/>
                    </a:lnTo>
                    <a:lnTo>
                      <a:pt x="448" y="413"/>
                    </a:lnTo>
                    <a:lnTo>
                      <a:pt x="448" y="413"/>
                    </a:lnTo>
                    <a:lnTo>
                      <a:pt x="450" y="411"/>
                    </a:lnTo>
                    <a:lnTo>
                      <a:pt x="452" y="407"/>
                    </a:lnTo>
                    <a:lnTo>
                      <a:pt x="452" y="405"/>
                    </a:lnTo>
                    <a:lnTo>
                      <a:pt x="452" y="405"/>
                    </a:lnTo>
                    <a:lnTo>
                      <a:pt x="458" y="407"/>
                    </a:lnTo>
                    <a:lnTo>
                      <a:pt x="464" y="409"/>
                    </a:lnTo>
                    <a:lnTo>
                      <a:pt x="465" y="409"/>
                    </a:lnTo>
                    <a:lnTo>
                      <a:pt x="467" y="409"/>
                    </a:lnTo>
                    <a:lnTo>
                      <a:pt x="467" y="407"/>
                    </a:lnTo>
                    <a:lnTo>
                      <a:pt x="469" y="405"/>
                    </a:lnTo>
                    <a:lnTo>
                      <a:pt x="469" y="403"/>
                    </a:lnTo>
                    <a:lnTo>
                      <a:pt x="471" y="397"/>
                    </a:lnTo>
                    <a:lnTo>
                      <a:pt x="469" y="393"/>
                    </a:lnTo>
                    <a:lnTo>
                      <a:pt x="471" y="386"/>
                    </a:lnTo>
                    <a:lnTo>
                      <a:pt x="471" y="384"/>
                    </a:lnTo>
                    <a:lnTo>
                      <a:pt x="471" y="384"/>
                    </a:lnTo>
                    <a:lnTo>
                      <a:pt x="471" y="382"/>
                    </a:lnTo>
                    <a:lnTo>
                      <a:pt x="471" y="382"/>
                    </a:lnTo>
                    <a:lnTo>
                      <a:pt x="471" y="380"/>
                    </a:lnTo>
                    <a:lnTo>
                      <a:pt x="473" y="380"/>
                    </a:lnTo>
                    <a:lnTo>
                      <a:pt x="475" y="376"/>
                    </a:lnTo>
                    <a:lnTo>
                      <a:pt x="475" y="374"/>
                    </a:lnTo>
                    <a:lnTo>
                      <a:pt x="477" y="373"/>
                    </a:lnTo>
                    <a:lnTo>
                      <a:pt x="477" y="371"/>
                    </a:lnTo>
                    <a:lnTo>
                      <a:pt x="477" y="355"/>
                    </a:lnTo>
                    <a:lnTo>
                      <a:pt x="477" y="354"/>
                    </a:lnTo>
                    <a:lnTo>
                      <a:pt x="479" y="352"/>
                    </a:lnTo>
                    <a:lnTo>
                      <a:pt x="481" y="348"/>
                    </a:lnTo>
                    <a:lnTo>
                      <a:pt x="484" y="344"/>
                    </a:lnTo>
                    <a:lnTo>
                      <a:pt x="484" y="342"/>
                    </a:lnTo>
                    <a:lnTo>
                      <a:pt x="488" y="342"/>
                    </a:lnTo>
                    <a:lnTo>
                      <a:pt x="490" y="342"/>
                    </a:lnTo>
                    <a:lnTo>
                      <a:pt x="494" y="342"/>
                    </a:lnTo>
                    <a:lnTo>
                      <a:pt x="494" y="342"/>
                    </a:lnTo>
                    <a:lnTo>
                      <a:pt x="496" y="342"/>
                    </a:lnTo>
                    <a:lnTo>
                      <a:pt x="498" y="333"/>
                    </a:lnTo>
                    <a:lnTo>
                      <a:pt x="498" y="331"/>
                    </a:lnTo>
                    <a:lnTo>
                      <a:pt x="498" y="327"/>
                    </a:lnTo>
                    <a:lnTo>
                      <a:pt x="500" y="327"/>
                    </a:lnTo>
                    <a:lnTo>
                      <a:pt x="502" y="325"/>
                    </a:lnTo>
                    <a:lnTo>
                      <a:pt x="504" y="325"/>
                    </a:lnTo>
                    <a:lnTo>
                      <a:pt x="505" y="325"/>
                    </a:lnTo>
                    <a:lnTo>
                      <a:pt x="505" y="325"/>
                    </a:lnTo>
                    <a:lnTo>
                      <a:pt x="505" y="325"/>
                    </a:lnTo>
                    <a:lnTo>
                      <a:pt x="507" y="325"/>
                    </a:lnTo>
                    <a:lnTo>
                      <a:pt x="509" y="325"/>
                    </a:lnTo>
                    <a:lnTo>
                      <a:pt x="511" y="327"/>
                    </a:lnTo>
                    <a:lnTo>
                      <a:pt x="513" y="327"/>
                    </a:lnTo>
                    <a:lnTo>
                      <a:pt x="515" y="325"/>
                    </a:lnTo>
                    <a:lnTo>
                      <a:pt x="515" y="323"/>
                    </a:lnTo>
                    <a:lnTo>
                      <a:pt x="517" y="319"/>
                    </a:lnTo>
                    <a:lnTo>
                      <a:pt x="517" y="319"/>
                    </a:lnTo>
                    <a:lnTo>
                      <a:pt x="519" y="317"/>
                    </a:lnTo>
                    <a:lnTo>
                      <a:pt x="519" y="317"/>
                    </a:lnTo>
                    <a:lnTo>
                      <a:pt x="519" y="315"/>
                    </a:lnTo>
                    <a:lnTo>
                      <a:pt x="521" y="312"/>
                    </a:lnTo>
                    <a:lnTo>
                      <a:pt x="526" y="308"/>
                    </a:lnTo>
                    <a:lnTo>
                      <a:pt x="528" y="306"/>
                    </a:lnTo>
                    <a:lnTo>
                      <a:pt x="528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2" y="308"/>
                    </a:lnTo>
                    <a:lnTo>
                      <a:pt x="534" y="310"/>
                    </a:lnTo>
                    <a:lnTo>
                      <a:pt x="534" y="312"/>
                    </a:lnTo>
                    <a:lnTo>
                      <a:pt x="536" y="314"/>
                    </a:lnTo>
                    <a:lnTo>
                      <a:pt x="536" y="315"/>
                    </a:lnTo>
                    <a:lnTo>
                      <a:pt x="544" y="315"/>
                    </a:lnTo>
                    <a:lnTo>
                      <a:pt x="547" y="317"/>
                    </a:lnTo>
                    <a:lnTo>
                      <a:pt x="553" y="317"/>
                    </a:lnTo>
                    <a:lnTo>
                      <a:pt x="555" y="317"/>
                    </a:lnTo>
                    <a:lnTo>
                      <a:pt x="557" y="317"/>
                    </a:lnTo>
                    <a:lnTo>
                      <a:pt x="559" y="319"/>
                    </a:lnTo>
                    <a:lnTo>
                      <a:pt x="559" y="319"/>
                    </a:lnTo>
                    <a:lnTo>
                      <a:pt x="561" y="321"/>
                    </a:lnTo>
                    <a:lnTo>
                      <a:pt x="565" y="317"/>
                    </a:lnTo>
                    <a:lnTo>
                      <a:pt x="566" y="314"/>
                    </a:lnTo>
                    <a:lnTo>
                      <a:pt x="566" y="312"/>
                    </a:lnTo>
                    <a:lnTo>
                      <a:pt x="566" y="310"/>
                    </a:lnTo>
                    <a:lnTo>
                      <a:pt x="565" y="308"/>
                    </a:lnTo>
                    <a:lnTo>
                      <a:pt x="565" y="304"/>
                    </a:lnTo>
                    <a:lnTo>
                      <a:pt x="565" y="304"/>
                    </a:lnTo>
                    <a:lnTo>
                      <a:pt x="563" y="302"/>
                    </a:lnTo>
                    <a:lnTo>
                      <a:pt x="563" y="300"/>
                    </a:lnTo>
                    <a:lnTo>
                      <a:pt x="561" y="300"/>
                    </a:lnTo>
                    <a:lnTo>
                      <a:pt x="561" y="300"/>
                    </a:lnTo>
                    <a:lnTo>
                      <a:pt x="561" y="300"/>
                    </a:lnTo>
                    <a:lnTo>
                      <a:pt x="561" y="300"/>
                    </a:lnTo>
                    <a:lnTo>
                      <a:pt x="559" y="300"/>
                    </a:lnTo>
                    <a:lnTo>
                      <a:pt x="559" y="300"/>
                    </a:lnTo>
                    <a:lnTo>
                      <a:pt x="559" y="300"/>
                    </a:lnTo>
                    <a:lnTo>
                      <a:pt x="559" y="300"/>
                    </a:lnTo>
                    <a:lnTo>
                      <a:pt x="559" y="298"/>
                    </a:lnTo>
                    <a:lnTo>
                      <a:pt x="557" y="298"/>
                    </a:lnTo>
                    <a:lnTo>
                      <a:pt x="557" y="298"/>
                    </a:lnTo>
                    <a:lnTo>
                      <a:pt x="557" y="296"/>
                    </a:lnTo>
                    <a:lnTo>
                      <a:pt x="555" y="296"/>
                    </a:lnTo>
                    <a:lnTo>
                      <a:pt x="555" y="296"/>
                    </a:lnTo>
                    <a:lnTo>
                      <a:pt x="555" y="296"/>
                    </a:lnTo>
                    <a:lnTo>
                      <a:pt x="555" y="295"/>
                    </a:lnTo>
                    <a:lnTo>
                      <a:pt x="555" y="295"/>
                    </a:lnTo>
                    <a:lnTo>
                      <a:pt x="557" y="295"/>
                    </a:lnTo>
                    <a:lnTo>
                      <a:pt x="557" y="293"/>
                    </a:lnTo>
                    <a:lnTo>
                      <a:pt x="559" y="293"/>
                    </a:lnTo>
                    <a:lnTo>
                      <a:pt x="559" y="293"/>
                    </a:lnTo>
                    <a:lnTo>
                      <a:pt x="559" y="291"/>
                    </a:lnTo>
                    <a:lnTo>
                      <a:pt x="559" y="291"/>
                    </a:lnTo>
                    <a:lnTo>
                      <a:pt x="561" y="291"/>
                    </a:lnTo>
                    <a:lnTo>
                      <a:pt x="565" y="289"/>
                    </a:lnTo>
                    <a:lnTo>
                      <a:pt x="568" y="287"/>
                    </a:lnTo>
                    <a:lnTo>
                      <a:pt x="570" y="285"/>
                    </a:lnTo>
                    <a:lnTo>
                      <a:pt x="570" y="285"/>
                    </a:lnTo>
                    <a:lnTo>
                      <a:pt x="572" y="283"/>
                    </a:lnTo>
                    <a:lnTo>
                      <a:pt x="572" y="283"/>
                    </a:lnTo>
                    <a:lnTo>
                      <a:pt x="572" y="283"/>
                    </a:lnTo>
                    <a:lnTo>
                      <a:pt x="572" y="283"/>
                    </a:lnTo>
                    <a:lnTo>
                      <a:pt x="572" y="281"/>
                    </a:lnTo>
                    <a:lnTo>
                      <a:pt x="578" y="281"/>
                    </a:lnTo>
                    <a:lnTo>
                      <a:pt x="580" y="279"/>
                    </a:lnTo>
                    <a:lnTo>
                      <a:pt x="582" y="277"/>
                    </a:lnTo>
                    <a:lnTo>
                      <a:pt x="584" y="279"/>
                    </a:lnTo>
                    <a:lnTo>
                      <a:pt x="586" y="279"/>
                    </a:lnTo>
                    <a:lnTo>
                      <a:pt x="586" y="281"/>
                    </a:lnTo>
                    <a:lnTo>
                      <a:pt x="586" y="281"/>
                    </a:lnTo>
                    <a:lnTo>
                      <a:pt x="587" y="283"/>
                    </a:lnTo>
                    <a:lnTo>
                      <a:pt x="595" y="283"/>
                    </a:lnTo>
                    <a:lnTo>
                      <a:pt x="595" y="281"/>
                    </a:lnTo>
                    <a:lnTo>
                      <a:pt x="595" y="279"/>
                    </a:lnTo>
                    <a:lnTo>
                      <a:pt x="595" y="279"/>
                    </a:lnTo>
                    <a:lnTo>
                      <a:pt x="595" y="277"/>
                    </a:lnTo>
                    <a:lnTo>
                      <a:pt x="593" y="277"/>
                    </a:lnTo>
                    <a:lnTo>
                      <a:pt x="593" y="277"/>
                    </a:lnTo>
                    <a:lnTo>
                      <a:pt x="593" y="276"/>
                    </a:lnTo>
                    <a:lnTo>
                      <a:pt x="593" y="274"/>
                    </a:lnTo>
                    <a:lnTo>
                      <a:pt x="593" y="270"/>
                    </a:lnTo>
                    <a:lnTo>
                      <a:pt x="595" y="266"/>
                    </a:lnTo>
                    <a:lnTo>
                      <a:pt x="595" y="266"/>
                    </a:lnTo>
                    <a:lnTo>
                      <a:pt x="595" y="264"/>
                    </a:lnTo>
                    <a:lnTo>
                      <a:pt x="593" y="262"/>
                    </a:lnTo>
                    <a:lnTo>
                      <a:pt x="593" y="258"/>
                    </a:lnTo>
                    <a:lnTo>
                      <a:pt x="593" y="258"/>
                    </a:lnTo>
                    <a:lnTo>
                      <a:pt x="591" y="256"/>
                    </a:lnTo>
                    <a:lnTo>
                      <a:pt x="587" y="253"/>
                    </a:lnTo>
                    <a:lnTo>
                      <a:pt x="580" y="249"/>
                    </a:lnTo>
                    <a:lnTo>
                      <a:pt x="578" y="247"/>
                    </a:lnTo>
                    <a:lnTo>
                      <a:pt x="576" y="245"/>
                    </a:lnTo>
                    <a:lnTo>
                      <a:pt x="576" y="245"/>
                    </a:lnTo>
                    <a:lnTo>
                      <a:pt x="574" y="243"/>
                    </a:lnTo>
                    <a:lnTo>
                      <a:pt x="574" y="239"/>
                    </a:lnTo>
                    <a:lnTo>
                      <a:pt x="572" y="239"/>
                    </a:lnTo>
                    <a:lnTo>
                      <a:pt x="572" y="237"/>
                    </a:lnTo>
                    <a:lnTo>
                      <a:pt x="572" y="237"/>
                    </a:lnTo>
                    <a:lnTo>
                      <a:pt x="570" y="236"/>
                    </a:lnTo>
                    <a:lnTo>
                      <a:pt x="568" y="234"/>
                    </a:lnTo>
                    <a:lnTo>
                      <a:pt x="565" y="232"/>
                    </a:lnTo>
                    <a:lnTo>
                      <a:pt x="563" y="230"/>
                    </a:lnTo>
                    <a:lnTo>
                      <a:pt x="563" y="230"/>
                    </a:lnTo>
                    <a:lnTo>
                      <a:pt x="563" y="230"/>
                    </a:lnTo>
                    <a:lnTo>
                      <a:pt x="563" y="228"/>
                    </a:lnTo>
                    <a:lnTo>
                      <a:pt x="561" y="228"/>
                    </a:lnTo>
                    <a:lnTo>
                      <a:pt x="561" y="228"/>
                    </a:lnTo>
                    <a:lnTo>
                      <a:pt x="561" y="226"/>
                    </a:lnTo>
                    <a:lnTo>
                      <a:pt x="561" y="226"/>
                    </a:lnTo>
                    <a:lnTo>
                      <a:pt x="561" y="226"/>
                    </a:lnTo>
                    <a:lnTo>
                      <a:pt x="561" y="224"/>
                    </a:lnTo>
                    <a:lnTo>
                      <a:pt x="561" y="224"/>
                    </a:lnTo>
                    <a:lnTo>
                      <a:pt x="563" y="224"/>
                    </a:lnTo>
                    <a:lnTo>
                      <a:pt x="563" y="222"/>
                    </a:lnTo>
                    <a:lnTo>
                      <a:pt x="565" y="222"/>
                    </a:lnTo>
                    <a:lnTo>
                      <a:pt x="565" y="222"/>
                    </a:lnTo>
                    <a:lnTo>
                      <a:pt x="565" y="218"/>
                    </a:lnTo>
                    <a:lnTo>
                      <a:pt x="566" y="217"/>
                    </a:lnTo>
                    <a:lnTo>
                      <a:pt x="566" y="215"/>
                    </a:lnTo>
                    <a:lnTo>
                      <a:pt x="566" y="213"/>
                    </a:lnTo>
                    <a:lnTo>
                      <a:pt x="566" y="213"/>
                    </a:lnTo>
                    <a:lnTo>
                      <a:pt x="566" y="213"/>
                    </a:lnTo>
                    <a:lnTo>
                      <a:pt x="566" y="211"/>
                    </a:lnTo>
                    <a:lnTo>
                      <a:pt x="566" y="209"/>
                    </a:lnTo>
                    <a:lnTo>
                      <a:pt x="570" y="207"/>
                    </a:lnTo>
                    <a:lnTo>
                      <a:pt x="580" y="199"/>
                    </a:lnTo>
                    <a:lnTo>
                      <a:pt x="584" y="194"/>
                    </a:lnTo>
                    <a:lnTo>
                      <a:pt x="586" y="192"/>
                    </a:lnTo>
                    <a:lnTo>
                      <a:pt x="586" y="192"/>
                    </a:lnTo>
                    <a:lnTo>
                      <a:pt x="586" y="192"/>
                    </a:lnTo>
                    <a:lnTo>
                      <a:pt x="587" y="192"/>
                    </a:lnTo>
                    <a:lnTo>
                      <a:pt x="587" y="192"/>
                    </a:lnTo>
                    <a:lnTo>
                      <a:pt x="589" y="192"/>
                    </a:lnTo>
                    <a:lnTo>
                      <a:pt x="591" y="190"/>
                    </a:lnTo>
                    <a:lnTo>
                      <a:pt x="593" y="188"/>
                    </a:lnTo>
                    <a:lnTo>
                      <a:pt x="595" y="188"/>
                    </a:lnTo>
                    <a:lnTo>
                      <a:pt x="597" y="186"/>
                    </a:lnTo>
                    <a:lnTo>
                      <a:pt x="599" y="184"/>
                    </a:lnTo>
                    <a:lnTo>
                      <a:pt x="603" y="182"/>
                    </a:lnTo>
                    <a:lnTo>
                      <a:pt x="607" y="177"/>
                    </a:lnTo>
                    <a:lnTo>
                      <a:pt x="608" y="175"/>
                    </a:lnTo>
                    <a:lnTo>
                      <a:pt x="610" y="173"/>
                    </a:lnTo>
                    <a:lnTo>
                      <a:pt x="614" y="173"/>
                    </a:lnTo>
                    <a:lnTo>
                      <a:pt x="614" y="171"/>
                    </a:lnTo>
                    <a:lnTo>
                      <a:pt x="618" y="167"/>
                    </a:lnTo>
                    <a:lnTo>
                      <a:pt x="620" y="167"/>
                    </a:lnTo>
                    <a:lnTo>
                      <a:pt x="622" y="167"/>
                    </a:lnTo>
                    <a:lnTo>
                      <a:pt x="624" y="167"/>
                    </a:lnTo>
                    <a:lnTo>
                      <a:pt x="624" y="165"/>
                    </a:lnTo>
                    <a:lnTo>
                      <a:pt x="626" y="165"/>
                    </a:lnTo>
                    <a:lnTo>
                      <a:pt x="626" y="165"/>
                    </a:lnTo>
                    <a:lnTo>
                      <a:pt x="626" y="163"/>
                    </a:lnTo>
                    <a:lnTo>
                      <a:pt x="626" y="163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4" name="Freeform 36">
                <a:extLst>
                  <a:ext uri="{FF2B5EF4-FFF2-40B4-BE49-F238E27FC236}">
                    <a16:creationId xmlns:a16="http://schemas.microsoft.com/office/drawing/2014/main" id="{305F5CAC-1934-4CC0-A2EB-B510D71DED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744" y="3581874"/>
                <a:ext cx="1265238" cy="854075"/>
              </a:xfrm>
              <a:custGeom>
                <a:avLst/>
                <a:gdLst>
                  <a:gd name="T0" fmla="*/ 782 w 797"/>
                  <a:gd name="T1" fmla="*/ 78 h 538"/>
                  <a:gd name="T2" fmla="*/ 771 w 797"/>
                  <a:gd name="T3" fmla="*/ 50 h 538"/>
                  <a:gd name="T4" fmla="*/ 738 w 797"/>
                  <a:gd name="T5" fmla="*/ 13 h 538"/>
                  <a:gd name="T6" fmla="*/ 628 w 797"/>
                  <a:gd name="T7" fmla="*/ 46 h 538"/>
                  <a:gd name="T8" fmla="*/ 576 w 797"/>
                  <a:gd name="T9" fmla="*/ 50 h 538"/>
                  <a:gd name="T10" fmla="*/ 540 w 797"/>
                  <a:gd name="T11" fmla="*/ 97 h 538"/>
                  <a:gd name="T12" fmla="*/ 488 w 797"/>
                  <a:gd name="T13" fmla="*/ 145 h 538"/>
                  <a:gd name="T14" fmla="*/ 397 w 797"/>
                  <a:gd name="T15" fmla="*/ 133 h 538"/>
                  <a:gd name="T16" fmla="*/ 304 w 797"/>
                  <a:gd name="T17" fmla="*/ 150 h 538"/>
                  <a:gd name="T18" fmla="*/ 275 w 797"/>
                  <a:gd name="T19" fmla="*/ 162 h 538"/>
                  <a:gd name="T20" fmla="*/ 218 w 797"/>
                  <a:gd name="T21" fmla="*/ 160 h 538"/>
                  <a:gd name="T22" fmla="*/ 162 w 797"/>
                  <a:gd name="T23" fmla="*/ 171 h 538"/>
                  <a:gd name="T24" fmla="*/ 40 w 797"/>
                  <a:gd name="T25" fmla="*/ 177 h 538"/>
                  <a:gd name="T26" fmla="*/ 23 w 797"/>
                  <a:gd name="T27" fmla="*/ 226 h 538"/>
                  <a:gd name="T28" fmla="*/ 10 w 797"/>
                  <a:gd name="T29" fmla="*/ 245 h 538"/>
                  <a:gd name="T30" fmla="*/ 8 w 797"/>
                  <a:gd name="T31" fmla="*/ 259 h 538"/>
                  <a:gd name="T32" fmla="*/ 19 w 797"/>
                  <a:gd name="T33" fmla="*/ 280 h 538"/>
                  <a:gd name="T34" fmla="*/ 21 w 797"/>
                  <a:gd name="T35" fmla="*/ 341 h 538"/>
                  <a:gd name="T36" fmla="*/ 42 w 797"/>
                  <a:gd name="T37" fmla="*/ 339 h 538"/>
                  <a:gd name="T38" fmla="*/ 40 w 797"/>
                  <a:gd name="T39" fmla="*/ 312 h 538"/>
                  <a:gd name="T40" fmla="*/ 84 w 797"/>
                  <a:gd name="T41" fmla="*/ 282 h 538"/>
                  <a:gd name="T42" fmla="*/ 111 w 797"/>
                  <a:gd name="T43" fmla="*/ 289 h 538"/>
                  <a:gd name="T44" fmla="*/ 124 w 797"/>
                  <a:gd name="T45" fmla="*/ 289 h 538"/>
                  <a:gd name="T46" fmla="*/ 166 w 797"/>
                  <a:gd name="T47" fmla="*/ 287 h 538"/>
                  <a:gd name="T48" fmla="*/ 178 w 797"/>
                  <a:gd name="T49" fmla="*/ 303 h 538"/>
                  <a:gd name="T50" fmla="*/ 212 w 797"/>
                  <a:gd name="T51" fmla="*/ 303 h 538"/>
                  <a:gd name="T52" fmla="*/ 237 w 797"/>
                  <a:gd name="T53" fmla="*/ 285 h 538"/>
                  <a:gd name="T54" fmla="*/ 248 w 797"/>
                  <a:gd name="T55" fmla="*/ 289 h 538"/>
                  <a:gd name="T56" fmla="*/ 283 w 797"/>
                  <a:gd name="T57" fmla="*/ 274 h 538"/>
                  <a:gd name="T58" fmla="*/ 317 w 797"/>
                  <a:gd name="T59" fmla="*/ 284 h 538"/>
                  <a:gd name="T60" fmla="*/ 315 w 797"/>
                  <a:gd name="T61" fmla="*/ 323 h 538"/>
                  <a:gd name="T62" fmla="*/ 359 w 797"/>
                  <a:gd name="T63" fmla="*/ 327 h 538"/>
                  <a:gd name="T64" fmla="*/ 378 w 797"/>
                  <a:gd name="T65" fmla="*/ 339 h 538"/>
                  <a:gd name="T66" fmla="*/ 380 w 797"/>
                  <a:gd name="T67" fmla="*/ 358 h 538"/>
                  <a:gd name="T68" fmla="*/ 393 w 797"/>
                  <a:gd name="T69" fmla="*/ 382 h 538"/>
                  <a:gd name="T70" fmla="*/ 359 w 797"/>
                  <a:gd name="T71" fmla="*/ 402 h 538"/>
                  <a:gd name="T72" fmla="*/ 351 w 797"/>
                  <a:gd name="T73" fmla="*/ 424 h 538"/>
                  <a:gd name="T74" fmla="*/ 340 w 797"/>
                  <a:gd name="T75" fmla="*/ 441 h 538"/>
                  <a:gd name="T76" fmla="*/ 324 w 797"/>
                  <a:gd name="T77" fmla="*/ 447 h 538"/>
                  <a:gd name="T78" fmla="*/ 326 w 797"/>
                  <a:gd name="T79" fmla="*/ 502 h 538"/>
                  <a:gd name="T80" fmla="*/ 345 w 797"/>
                  <a:gd name="T81" fmla="*/ 529 h 538"/>
                  <a:gd name="T82" fmla="*/ 370 w 797"/>
                  <a:gd name="T83" fmla="*/ 523 h 538"/>
                  <a:gd name="T84" fmla="*/ 391 w 797"/>
                  <a:gd name="T85" fmla="*/ 491 h 538"/>
                  <a:gd name="T86" fmla="*/ 431 w 797"/>
                  <a:gd name="T87" fmla="*/ 478 h 538"/>
                  <a:gd name="T88" fmla="*/ 435 w 797"/>
                  <a:gd name="T89" fmla="*/ 443 h 538"/>
                  <a:gd name="T90" fmla="*/ 450 w 797"/>
                  <a:gd name="T91" fmla="*/ 428 h 538"/>
                  <a:gd name="T92" fmla="*/ 454 w 797"/>
                  <a:gd name="T93" fmla="*/ 411 h 538"/>
                  <a:gd name="T94" fmla="*/ 477 w 797"/>
                  <a:gd name="T95" fmla="*/ 369 h 538"/>
                  <a:gd name="T96" fmla="*/ 466 w 797"/>
                  <a:gd name="T97" fmla="*/ 348 h 538"/>
                  <a:gd name="T98" fmla="*/ 506 w 797"/>
                  <a:gd name="T99" fmla="*/ 295 h 538"/>
                  <a:gd name="T100" fmla="*/ 521 w 797"/>
                  <a:gd name="T101" fmla="*/ 295 h 538"/>
                  <a:gd name="T102" fmla="*/ 544 w 797"/>
                  <a:gd name="T103" fmla="*/ 289 h 538"/>
                  <a:gd name="T104" fmla="*/ 546 w 797"/>
                  <a:gd name="T105" fmla="*/ 255 h 538"/>
                  <a:gd name="T106" fmla="*/ 582 w 797"/>
                  <a:gd name="T107" fmla="*/ 211 h 538"/>
                  <a:gd name="T108" fmla="*/ 607 w 797"/>
                  <a:gd name="T109" fmla="*/ 185 h 538"/>
                  <a:gd name="T110" fmla="*/ 658 w 797"/>
                  <a:gd name="T111" fmla="*/ 148 h 538"/>
                  <a:gd name="T112" fmla="*/ 694 w 797"/>
                  <a:gd name="T113" fmla="*/ 133 h 538"/>
                  <a:gd name="T114" fmla="*/ 731 w 797"/>
                  <a:gd name="T115" fmla="*/ 109 h 538"/>
                  <a:gd name="T116" fmla="*/ 780 w 797"/>
                  <a:gd name="T117" fmla="*/ 99 h 538"/>
                  <a:gd name="T118" fmla="*/ 794 w 797"/>
                  <a:gd name="T119" fmla="*/ 91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97" h="538">
                    <a:moveTo>
                      <a:pt x="797" y="82"/>
                    </a:moveTo>
                    <a:lnTo>
                      <a:pt x="796" y="80"/>
                    </a:lnTo>
                    <a:lnTo>
                      <a:pt x="794" y="78"/>
                    </a:lnTo>
                    <a:lnTo>
                      <a:pt x="794" y="76"/>
                    </a:lnTo>
                    <a:lnTo>
                      <a:pt x="792" y="76"/>
                    </a:lnTo>
                    <a:lnTo>
                      <a:pt x="792" y="76"/>
                    </a:lnTo>
                    <a:lnTo>
                      <a:pt x="790" y="76"/>
                    </a:lnTo>
                    <a:lnTo>
                      <a:pt x="790" y="76"/>
                    </a:lnTo>
                    <a:lnTo>
                      <a:pt x="788" y="78"/>
                    </a:lnTo>
                    <a:lnTo>
                      <a:pt x="788" y="78"/>
                    </a:lnTo>
                    <a:lnTo>
                      <a:pt x="788" y="78"/>
                    </a:lnTo>
                    <a:lnTo>
                      <a:pt x="784" y="84"/>
                    </a:lnTo>
                    <a:lnTo>
                      <a:pt x="782" y="84"/>
                    </a:lnTo>
                    <a:lnTo>
                      <a:pt x="782" y="84"/>
                    </a:lnTo>
                    <a:lnTo>
                      <a:pt x="782" y="82"/>
                    </a:lnTo>
                    <a:lnTo>
                      <a:pt x="782" y="80"/>
                    </a:lnTo>
                    <a:lnTo>
                      <a:pt x="782" y="78"/>
                    </a:lnTo>
                    <a:lnTo>
                      <a:pt x="782" y="76"/>
                    </a:lnTo>
                    <a:lnTo>
                      <a:pt x="780" y="76"/>
                    </a:lnTo>
                    <a:lnTo>
                      <a:pt x="780" y="76"/>
                    </a:lnTo>
                    <a:lnTo>
                      <a:pt x="780" y="74"/>
                    </a:lnTo>
                    <a:lnTo>
                      <a:pt x="782" y="70"/>
                    </a:lnTo>
                    <a:lnTo>
                      <a:pt x="782" y="69"/>
                    </a:lnTo>
                    <a:lnTo>
                      <a:pt x="782" y="61"/>
                    </a:lnTo>
                    <a:lnTo>
                      <a:pt x="780" y="59"/>
                    </a:lnTo>
                    <a:lnTo>
                      <a:pt x="780" y="59"/>
                    </a:lnTo>
                    <a:lnTo>
                      <a:pt x="776" y="57"/>
                    </a:lnTo>
                    <a:lnTo>
                      <a:pt x="775" y="57"/>
                    </a:lnTo>
                    <a:lnTo>
                      <a:pt x="775" y="55"/>
                    </a:lnTo>
                    <a:lnTo>
                      <a:pt x="775" y="55"/>
                    </a:lnTo>
                    <a:lnTo>
                      <a:pt x="773" y="53"/>
                    </a:lnTo>
                    <a:lnTo>
                      <a:pt x="771" y="53"/>
                    </a:lnTo>
                    <a:lnTo>
                      <a:pt x="771" y="51"/>
                    </a:lnTo>
                    <a:lnTo>
                      <a:pt x="771" y="50"/>
                    </a:lnTo>
                    <a:lnTo>
                      <a:pt x="769" y="42"/>
                    </a:lnTo>
                    <a:lnTo>
                      <a:pt x="769" y="40"/>
                    </a:lnTo>
                    <a:lnTo>
                      <a:pt x="767" y="38"/>
                    </a:lnTo>
                    <a:lnTo>
                      <a:pt x="769" y="36"/>
                    </a:lnTo>
                    <a:lnTo>
                      <a:pt x="773" y="30"/>
                    </a:lnTo>
                    <a:lnTo>
                      <a:pt x="784" y="17"/>
                    </a:lnTo>
                    <a:lnTo>
                      <a:pt x="788" y="10"/>
                    </a:lnTo>
                    <a:lnTo>
                      <a:pt x="790" y="6"/>
                    </a:lnTo>
                    <a:lnTo>
                      <a:pt x="792" y="4"/>
                    </a:lnTo>
                    <a:lnTo>
                      <a:pt x="792" y="2"/>
                    </a:lnTo>
                    <a:lnTo>
                      <a:pt x="792" y="0"/>
                    </a:lnTo>
                    <a:lnTo>
                      <a:pt x="792" y="0"/>
                    </a:lnTo>
                    <a:lnTo>
                      <a:pt x="761" y="0"/>
                    </a:lnTo>
                    <a:lnTo>
                      <a:pt x="755" y="2"/>
                    </a:lnTo>
                    <a:lnTo>
                      <a:pt x="744" y="10"/>
                    </a:lnTo>
                    <a:lnTo>
                      <a:pt x="742" y="11"/>
                    </a:lnTo>
                    <a:lnTo>
                      <a:pt x="738" y="13"/>
                    </a:lnTo>
                    <a:lnTo>
                      <a:pt x="733" y="15"/>
                    </a:lnTo>
                    <a:lnTo>
                      <a:pt x="721" y="17"/>
                    </a:lnTo>
                    <a:lnTo>
                      <a:pt x="719" y="17"/>
                    </a:lnTo>
                    <a:lnTo>
                      <a:pt x="715" y="17"/>
                    </a:lnTo>
                    <a:lnTo>
                      <a:pt x="715" y="17"/>
                    </a:lnTo>
                    <a:lnTo>
                      <a:pt x="714" y="15"/>
                    </a:lnTo>
                    <a:lnTo>
                      <a:pt x="710" y="13"/>
                    </a:lnTo>
                    <a:lnTo>
                      <a:pt x="708" y="13"/>
                    </a:lnTo>
                    <a:lnTo>
                      <a:pt x="708" y="13"/>
                    </a:lnTo>
                    <a:lnTo>
                      <a:pt x="702" y="17"/>
                    </a:lnTo>
                    <a:lnTo>
                      <a:pt x="664" y="32"/>
                    </a:lnTo>
                    <a:lnTo>
                      <a:pt x="658" y="34"/>
                    </a:lnTo>
                    <a:lnTo>
                      <a:pt x="649" y="40"/>
                    </a:lnTo>
                    <a:lnTo>
                      <a:pt x="645" y="42"/>
                    </a:lnTo>
                    <a:lnTo>
                      <a:pt x="643" y="42"/>
                    </a:lnTo>
                    <a:lnTo>
                      <a:pt x="635" y="44"/>
                    </a:lnTo>
                    <a:lnTo>
                      <a:pt x="628" y="46"/>
                    </a:lnTo>
                    <a:lnTo>
                      <a:pt x="622" y="50"/>
                    </a:lnTo>
                    <a:lnTo>
                      <a:pt x="616" y="53"/>
                    </a:lnTo>
                    <a:lnTo>
                      <a:pt x="614" y="53"/>
                    </a:lnTo>
                    <a:lnTo>
                      <a:pt x="611" y="55"/>
                    </a:lnTo>
                    <a:lnTo>
                      <a:pt x="611" y="55"/>
                    </a:lnTo>
                    <a:lnTo>
                      <a:pt x="607" y="55"/>
                    </a:lnTo>
                    <a:lnTo>
                      <a:pt x="605" y="57"/>
                    </a:lnTo>
                    <a:lnTo>
                      <a:pt x="601" y="53"/>
                    </a:lnTo>
                    <a:lnTo>
                      <a:pt x="590" y="57"/>
                    </a:lnTo>
                    <a:lnTo>
                      <a:pt x="586" y="55"/>
                    </a:lnTo>
                    <a:lnTo>
                      <a:pt x="584" y="53"/>
                    </a:lnTo>
                    <a:lnTo>
                      <a:pt x="582" y="53"/>
                    </a:lnTo>
                    <a:lnTo>
                      <a:pt x="580" y="53"/>
                    </a:lnTo>
                    <a:lnTo>
                      <a:pt x="578" y="51"/>
                    </a:lnTo>
                    <a:lnTo>
                      <a:pt x="578" y="50"/>
                    </a:lnTo>
                    <a:lnTo>
                      <a:pt x="576" y="50"/>
                    </a:lnTo>
                    <a:lnTo>
                      <a:pt x="576" y="50"/>
                    </a:lnTo>
                    <a:lnTo>
                      <a:pt x="576" y="50"/>
                    </a:lnTo>
                    <a:lnTo>
                      <a:pt x="572" y="51"/>
                    </a:lnTo>
                    <a:lnTo>
                      <a:pt x="572" y="53"/>
                    </a:lnTo>
                    <a:lnTo>
                      <a:pt x="572" y="55"/>
                    </a:lnTo>
                    <a:lnTo>
                      <a:pt x="574" y="57"/>
                    </a:lnTo>
                    <a:lnTo>
                      <a:pt x="574" y="59"/>
                    </a:lnTo>
                    <a:lnTo>
                      <a:pt x="576" y="61"/>
                    </a:lnTo>
                    <a:lnTo>
                      <a:pt x="576" y="63"/>
                    </a:lnTo>
                    <a:lnTo>
                      <a:pt x="576" y="63"/>
                    </a:lnTo>
                    <a:lnTo>
                      <a:pt x="576" y="65"/>
                    </a:lnTo>
                    <a:lnTo>
                      <a:pt x="576" y="67"/>
                    </a:lnTo>
                    <a:lnTo>
                      <a:pt x="559" y="80"/>
                    </a:lnTo>
                    <a:lnTo>
                      <a:pt x="553" y="86"/>
                    </a:lnTo>
                    <a:lnTo>
                      <a:pt x="548" y="89"/>
                    </a:lnTo>
                    <a:lnTo>
                      <a:pt x="544" y="93"/>
                    </a:lnTo>
                    <a:lnTo>
                      <a:pt x="542" y="93"/>
                    </a:lnTo>
                    <a:lnTo>
                      <a:pt x="540" y="97"/>
                    </a:lnTo>
                    <a:lnTo>
                      <a:pt x="525" y="112"/>
                    </a:lnTo>
                    <a:lnTo>
                      <a:pt x="525" y="112"/>
                    </a:lnTo>
                    <a:lnTo>
                      <a:pt x="525" y="114"/>
                    </a:lnTo>
                    <a:lnTo>
                      <a:pt x="523" y="116"/>
                    </a:lnTo>
                    <a:lnTo>
                      <a:pt x="523" y="120"/>
                    </a:lnTo>
                    <a:lnTo>
                      <a:pt x="525" y="124"/>
                    </a:lnTo>
                    <a:lnTo>
                      <a:pt x="525" y="126"/>
                    </a:lnTo>
                    <a:lnTo>
                      <a:pt x="523" y="128"/>
                    </a:lnTo>
                    <a:lnTo>
                      <a:pt x="519" y="129"/>
                    </a:lnTo>
                    <a:lnTo>
                      <a:pt x="517" y="131"/>
                    </a:lnTo>
                    <a:lnTo>
                      <a:pt x="515" y="131"/>
                    </a:lnTo>
                    <a:lnTo>
                      <a:pt x="511" y="135"/>
                    </a:lnTo>
                    <a:lnTo>
                      <a:pt x="509" y="137"/>
                    </a:lnTo>
                    <a:lnTo>
                      <a:pt x="506" y="139"/>
                    </a:lnTo>
                    <a:lnTo>
                      <a:pt x="498" y="143"/>
                    </a:lnTo>
                    <a:lnTo>
                      <a:pt x="494" y="143"/>
                    </a:lnTo>
                    <a:lnTo>
                      <a:pt x="488" y="145"/>
                    </a:lnTo>
                    <a:lnTo>
                      <a:pt x="485" y="145"/>
                    </a:lnTo>
                    <a:lnTo>
                      <a:pt x="479" y="147"/>
                    </a:lnTo>
                    <a:lnTo>
                      <a:pt x="477" y="147"/>
                    </a:lnTo>
                    <a:lnTo>
                      <a:pt x="473" y="145"/>
                    </a:lnTo>
                    <a:lnTo>
                      <a:pt x="471" y="143"/>
                    </a:lnTo>
                    <a:lnTo>
                      <a:pt x="469" y="143"/>
                    </a:lnTo>
                    <a:lnTo>
                      <a:pt x="466" y="141"/>
                    </a:lnTo>
                    <a:lnTo>
                      <a:pt x="422" y="147"/>
                    </a:lnTo>
                    <a:lnTo>
                      <a:pt x="418" y="147"/>
                    </a:lnTo>
                    <a:lnTo>
                      <a:pt x="414" y="145"/>
                    </a:lnTo>
                    <a:lnTo>
                      <a:pt x="412" y="143"/>
                    </a:lnTo>
                    <a:lnTo>
                      <a:pt x="412" y="143"/>
                    </a:lnTo>
                    <a:lnTo>
                      <a:pt x="412" y="141"/>
                    </a:lnTo>
                    <a:lnTo>
                      <a:pt x="412" y="141"/>
                    </a:lnTo>
                    <a:lnTo>
                      <a:pt x="412" y="139"/>
                    </a:lnTo>
                    <a:lnTo>
                      <a:pt x="406" y="137"/>
                    </a:lnTo>
                    <a:lnTo>
                      <a:pt x="397" y="133"/>
                    </a:lnTo>
                    <a:lnTo>
                      <a:pt x="387" y="131"/>
                    </a:lnTo>
                    <a:lnTo>
                      <a:pt x="382" y="131"/>
                    </a:lnTo>
                    <a:lnTo>
                      <a:pt x="380" y="131"/>
                    </a:lnTo>
                    <a:lnTo>
                      <a:pt x="376" y="133"/>
                    </a:lnTo>
                    <a:lnTo>
                      <a:pt x="374" y="135"/>
                    </a:lnTo>
                    <a:lnTo>
                      <a:pt x="372" y="137"/>
                    </a:lnTo>
                    <a:lnTo>
                      <a:pt x="370" y="139"/>
                    </a:lnTo>
                    <a:lnTo>
                      <a:pt x="363" y="141"/>
                    </a:lnTo>
                    <a:lnTo>
                      <a:pt x="353" y="143"/>
                    </a:lnTo>
                    <a:lnTo>
                      <a:pt x="340" y="147"/>
                    </a:lnTo>
                    <a:lnTo>
                      <a:pt x="336" y="148"/>
                    </a:lnTo>
                    <a:lnTo>
                      <a:pt x="334" y="150"/>
                    </a:lnTo>
                    <a:lnTo>
                      <a:pt x="328" y="150"/>
                    </a:lnTo>
                    <a:lnTo>
                      <a:pt x="326" y="150"/>
                    </a:lnTo>
                    <a:lnTo>
                      <a:pt x="321" y="152"/>
                    </a:lnTo>
                    <a:lnTo>
                      <a:pt x="307" y="150"/>
                    </a:lnTo>
                    <a:lnTo>
                      <a:pt x="304" y="150"/>
                    </a:lnTo>
                    <a:lnTo>
                      <a:pt x="304" y="156"/>
                    </a:lnTo>
                    <a:lnTo>
                      <a:pt x="298" y="160"/>
                    </a:lnTo>
                    <a:lnTo>
                      <a:pt x="290" y="162"/>
                    </a:lnTo>
                    <a:lnTo>
                      <a:pt x="288" y="160"/>
                    </a:lnTo>
                    <a:lnTo>
                      <a:pt x="284" y="158"/>
                    </a:lnTo>
                    <a:lnTo>
                      <a:pt x="283" y="156"/>
                    </a:lnTo>
                    <a:lnTo>
                      <a:pt x="281" y="156"/>
                    </a:lnTo>
                    <a:lnTo>
                      <a:pt x="281" y="158"/>
                    </a:lnTo>
                    <a:lnTo>
                      <a:pt x="281" y="160"/>
                    </a:lnTo>
                    <a:lnTo>
                      <a:pt x="279" y="162"/>
                    </a:lnTo>
                    <a:lnTo>
                      <a:pt x="281" y="164"/>
                    </a:lnTo>
                    <a:lnTo>
                      <a:pt x="281" y="166"/>
                    </a:lnTo>
                    <a:lnTo>
                      <a:pt x="279" y="167"/>
                    </a:lnTo>
                    <a:lnTo>
                      <a:pt x="277" y="167"/>
                    </a:lnTo>
                    <a:lnTo>
                      <a:pt x="275" y="166"/>
                    </a:lnTo>
                    <a:lnTo>
                      <a:pt x="275" y="164"/>
                    </a:lnTo>
                    <a:lnTo>
                      <a:pt x="275" y="162"/>
                    </a:lnTo>
                    <a:lnTo>
                      <a:pt x="273" y="160"/>
                    </a:lnTo>
                    <a:lnTo>
                      <a:pt x="269" y="160"/>
                    </a:lnTo>
                    <a:lnTo>
                      <a:pt x="260" y="166"/>
                    </a:lnTo>
                    <a:lnTo>
                      <a:pt x="256" y="167"/>
                    </a:lnTo>
                    <a:lnTo>
                      <a:pt x="250" y="167"/>
                    </a:lnTo>
                    <a:lnTo>
                      <a:pt x="248" y="167"/>
                    </a:lnTo>
                    <a:lnTo>
                      <a:pt x="242" y="167"/>
                    </a:lnTo>
                    <a:lnTo>
                      <a:pt x="241" y="167"/>
                    </a:lnTo>
                    <a:lnTo>
                      <a:pt x="237" y="167"/>
                    </a:lnTo>
                    <a:lnTo>
                      <a:pt x="233" y="169"/>
                    </a:lnTo>
                    <a:lnTo>
                      <a:pt x="233" y="167"/>
                    </a:lnTo>
                    <a:lnTo>
                      <a:pt x="229" y="160"/>
                    </a:lnTo>
                    <a:lnTo>
                      <a:pt x="227" y="160"/>
                    </a:lnTo>
                    <a:lnTo>
                      <a:pt x="227" y="158"/>
                    </a:lnTo>
                    <a:lnTo>
                      <a:pt x="222" y="158"/>
                    </a:lnTo>
                    <a:lnTo>
                      <a:pt x="220" y="158"/>
                    </a:lnTo>
                    <a:lnTo>
                      <a:pt x="218" y="160"/>
                    </a:lnTo>
                    <a:lnTo>
                      <a:pt x="216" y="162"/>
                    </a:lnTo>
                    <a:lnTo>
                      <a:pt x="216" y="166"/>
                    </a:lnTo>
                    <a:lnTo>
                      <a:pt x="214" y="167"/>
                    </a:lnTo>
                    <a:lnTo>
                      <a:pt x="212" y="169"/>
                    </a:lnTo>
                    <a:lnTo>
                      <a:pt x="210" y="169"/>
                    </a:lnTo>
                    <a:lnTo>
                      <a:pt x="208" y="171"/>
                    </a:lnTo>
                    <a:lnTo>
                      <a:pt x="206" y="171"/>
                    </a:lnTo>
                    <a:lnTo>
                      <a:pt x="202" y="171"/>
                    </a:lnTo>
                    <a:lnTo>
                      <a:pt x="201" y="171"/>
                    </a:lnTo>
                    <a:lnTo>
                      <a:pt x="199" y="169"/>
                    </a:lnTo>
                    <a:lnTo>
                      <a:pt x="193" y="167"/>
                    </a:lnTo>
                    <a:lnTo>
                      <a:pt x="185" y="167"/>
                    </a:lnTo>
                    <a:lnTo>
                      <a:pt x="180" y="167"/>
                    </a:lnTo>
                    <a:lnTo>
                      <a:pt x="176" y="167"/>
                    </a:lnTo>
                    <a:lnTo>
                      <a:pt x="170" y="171"/>
                    </a:lnTo>
                    <a:lnTo>
                      <a:pt x="170" y="171"/>
                    </a:lnTo>
                    <a:lnTo>
                      <a:pt x="162" y="171"/>
                    </a:lnTo>
                    <a:lnTo>
                      <a:pt x="134" y="173"/>
                    </a:lnTo>
                    <a:lnTo>
                      <a:pt x="117" y="171"/>
                    </a:lnTo>
                    <a:lnTo>
                      <a:pt x="103" y="164"/>
                    </a:lnTo>
                    <a:lnTo>
                      <a:pt x="92" y="156"/>
                    </a:lnTo>
                    <a:lnTo>
                      <a:pt x="86" y="154"/>
                    </a:lnTo>
                    <a:lnTo>
                      <a:pt x="84" y="156"/>
                    </a:lnTo>
                    <a:lnTo>
                      <a:pt x="82" y="156"/>
                    </a:lnTo>
                    <a:lnTo>
                      <a:pt x="80" y="158"/>
                    </a:lnTo>
                    <a:lnTo>
                      <a:pt x="78" y="160"/>
                    </a:lnTo>
                    <a:lnTo>
                      <a:pt x="77" y="162"/>
                    </a:lnTo>
                    <a:lnTo>
                      <a:pt x="73" y="160"/>
                    </a:lnTo>
                    <a:lnTo>
                      <a:pt x="69" y="162"/>
                    </a:lnTo>
                    <a:lnTo>
                      <a:pt x="65" y="164"/>
                    </a:lnTo>
                    <a:lnTo>
                      <a:pt x="61" y="171"/>
                    </a:lnTo>
                    <a:lnTo>
                      <a:pt x="59" y="175"/>
                    </a:lnTo>
                    <a:lnTo>
                      <a:pt x="54" y="177"/>
                    </a:lnTo>
                    <a:lnTo>
                      <a:pt x="40" y="177"/>
                    </a:lnTo>
                    <a:lnTo>
                      <a:pt x="33" y="179"/>
                    </a:lnTo>
                    <a:lnTo>
                      <a:pt x="29" y="181"/>
                    </a:lnTo>
                    <a:lnTo>
                      <a:pt x="29" y="181"/>
                    </a:lnTo>
                    <a:lnTo>
                      <a:pt x="25" y="179"/>
                    </a:lnTo>
                    <a:lnTo>
                      <a:pt x="25" y="179"/>
                    </a:lnTo>
                    <a:lnTo>
                      <a:pt x="25" y="181"/>
                    </a:lnTo>
                    <a:lnTo>
                      <a:pt x="27" y="188"/>
                    </a:lnTo>
                    <a:lnTo>
                      <a:pt x="27" y="190"/>
                    </a:lnTo>
                    <a:lnTo>
                      <a:pt x="29" y="206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5" y="215"/>
                    </a:lnTo>
                    <a:lnTo>
                      <a:pt x="25" y="217"/>
                    </a:lnTo>
                    <a:lnTo>
                      <a:pt x="23" y="226"/>
                    </a:lnTo>
                    <a:lnTo>
                      <a:pt x="23" y="226"/>
                    </a:lnTo>
                    <a:lnTo>
                      <a:pt x="23" y="226"/>
                    </a:lnTo>
                    <a:lnTo>
                      <a:pt x="21" y="228"/>
                    </a:lnTo>
                    <a:lnTo>
                      <a:pt x="19" y="228"/>
                    </a:lnTo>
                    <a:lnTo>
                      <a:pt x="19" y="230"/>
                    </a:lnTo>
                    <a:lnTo>
                      <a:pt x="19" y="230"/>
                    </a:lnTo>
                    <a:lnTo>
                      <a:pt x="19" y="232"/>
                    </a:lnTo>
                    <a:lnTo>
                      <a:pt x="21" y="232"/>
                    </a:lnTo>
                    <a:lnTo>
                      <a:pt x="21" y="234"/>
                    </a:lnTo>
                    <a:lnTo>
                      <a:pt x="21" y="234"/>
                    </a:lnTo>
                    <a:lnTo>
                      <a:pt x="21" y="234"/>
                    </a:lnTo>
                    <a:lnTo>
                      <a:pt x="19" y="236"/>
                    </a:lnTo>
                    <a:lnTo>
                      <a:pt x="16" y="236"/>
                    </a:lnTo>
                    <a:lnTo>
                      <a:pt x="16" y="238"/>
                    </a:lnTo>
                    <a:lnTo>
                      <a:pt x="16" y="238"/>
                    </a:lnTo>
                    <a:lnTo>
                      <a:pt x="14" y="244"/>
                    </a:lnTo>
                    <a:lnTo>
                      <a:pt x="12" y="245"/>
                    </a:lnTo>
                    <a:lnTo>
                      <a:pt x="10" y="245"/>
                    </a:lnTo>
                    <a:lnTo>
                      <a:pt x="10" y="245"/>
                    </a:lnTo>
                    <a:lnTo>
                      <a:pt x="10" y="247"/>
                    </a:lnTo>
                    <a:lnTo>
                      <a:pt x="10" y="247"/>
                    </a:lnTo>
                    <a:lnTo>
                      <a:pt x="10" y="249"/>
                    </a:lnTo>
                    <a:lnTo>
                      <a:pt x="10" y="251"/>
                    </a:lnTo>
                    <a:lnTo>
                      <a:pt x="10" y="251"/>
                    </a:lnTo>
                    <a:lnTo>
                      <a:pt x="6" y="251"/>
                    </a:lnTo>
                    <a:lnTo>
                      <a:pt x="4" y="253"/>
                    </a:lnTo>
                    <a:lnTo>
                      <a:pt x="0" y="253"/>
                    </a:lnTo>
                    <a:lnTo>
                      <a:pt x="0" y="257"/>
                    </a:lnTo>
                    <a:lnTo>
                      <a:pt x="0" y="257"/>
                    </a:lnTo>
                    <a:lnTo>
                      <a:pt x="0" y="257"/>
                    </a:lnTo>
                    <a:lnTo>
                      <a:pt x="2" y="259"/>
                    </a:lnTo>
                    <a:lnTo>
                      <a:pt x="2" y="259"/>
                    </a:lnTo>
                    <a:lnTo>
                      <a:pt x="6" y="259"/>
                    </a:lnTo>
                    <a:lnTo>
                      <a:pt x="6" y="259"/>
                    </a:lnTo>
                    <a:lnTo>
                      <a:pt x="8" y="259"/>
                    </a:lnTo>
                    <a:lnTo>
                      <a:pt x="8" y="263"/>
                    </a:lnTo>
                    <a:lnTo>
                      <a:pt x="10" y="265"/>
                    </a:lnTo>
                    <a:lnTo>
                      <a:pt x="10" y="266"/>
                    </a:lnTo>
                    <a:lnTo>
                      <a:pt x="12" y="268"/>
                    </a:lnTo>
                    <a:lnTo>
                      <a:pt x="12" y="270"/>
                    </a:lnTo>
                    <a:lnTo>
                      <a:pt x="12" y="272"/>
                    </a:lnTo>
                    <a:lnTo>
                      <a:pt x="12" y="274"/>
                    </a:lnTo>
                    <a:lnTo>
                      <a:pt x="12" y="276"/>
                    </a:lnTo>
                    <a:lnTo>
                      <a:pt x="16" y="280"/>
                    </a:lnTo>
                    <a:lnTo>
                      <a:pt x="16" y="280"/>
                    </a:lnTo>
                    <a:lnTo>
                      <a:pt x="17" y="282"/>
                    </a:lnTo>
                    <a:lnTo>
                      <a:pt x="17" y="282"/>
                    </a:lnTo>
                    <a:lnTo>
                      <a:pt x="17" y="282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21" y="284"/>
                    </a:lnTo>
                    <a:lnTo>
                      <a:pt x="21" y="285"/>
                    </a:lnTo>
                    <a:lnTo>
                      <a:pt x="19" y="285"/>
                    </a:lnTo>
                    <a:lnTo>
                      <a:pt x="17" y="287"/>
                    </a:lnTo>
                    <a:lnTo>
                      <a:pt x="19" y="289"/>
                    </a:lnTo>
                    <a:lnTo>
                      <a:pt x="21" y="289"/>
                    </a:lnTo>
                    <a:lnTo>
                      <a:pt x="23" y="289"/>
                    </a:lnTo>
                    <a:lnTo>
                      <a:pt x="21" y="293"/>
                    </a:lnTo>
                    <a:lnTo>
                      <a:pt x="16" y="303"/>
                    </a:lnTo>
                    <a:lnTo>
                      <a:pt x="16" y="306"/>
                    </a:lnTo>
                    <a:lnTo>
                      <a:pt x="17" y="318"/>
                    </a:lnTo>
                    <a:lnTo>
                      <a:pt x="21" y="325"/>
                    </a:lnTo>
                    <a:lnTo>
                      <a:pt x="23" y="331"/>
                    </a:lnTo>
                    <a:lnTo>
                      <a:pt x="21" y="341"/>
                    </a:lnTo>
                    <a:lnTo>
                      <a:pt x="21" y="350"/>
                    </a:lnTo>
                    <a:lnTo>
                      <a:pt x="19" y="358"/>
                    </a:lnTo>
                    <a:lnTo>
                      <a:pt x="23" y="356"/>
                    </a:lnTo>
                    <a:lnTo>
                      <a:pt x="27" y="356"/>
                    </a:lnTo>
                    <a:lnTo>
                      <a:pt x="29" y="354"/>
                    </a:lnTo>
                    <a:lnTo>
                      <a:pt x="29" y="354"/>
                    </a:lnTo>
                    <a:lnTo>
                      <a:pt x="29" y="352"/>
                    </a:lnTo>
                    <a:lnTo>
                      <a:pt x="31" y="350"/>
                    </a:lnTo>
                    <a:lnTo>
                      <a:pt x="31" y="346"/>
                    </a:lnTo>
                    <a:lnTo>
                      <a:pt x="31" y="344"/>
                    </a:lnTo>
                    <a:lnTo>
                      <a:pt x="31" y="343"/>
                    </a:lnTo>
                    <a:lnTo>
                      <a:pt x="33" y="341"/>
                    </a:lnTo>
                    <a:lnTo>
                      <a:pt x="37" y="341"/>
                    </a:lnTo>
                    <a:lnTo>
                      <a:pt x="38" y="341"/>
                    </a:lnTo>
                    <a:lnTo>
                      <a:pt x="40" y="341"/>
                    </a:lnTo>
                    <a:lnTo>
                      <a:pt x="42" y="339"/>
                    </a:lnTo>
                    <a:lnTo>
                      <a:pt x="42" y="339"/>
                    </a:lnTo>
                    <a:lnTo>
                      <a:pt x="44" y="337"/>
                    </a:lnTo>
                    <a:lnTo>
                      <a:pt x="44" y="335"/>
                    </a:lnTo>
                    <a:lnTo>
                      <a:pt x="44" y="335"/>
                    </a:lnTo>
                    <a:lnTo>
                      <a:pt x="42" y="335"/>
                    </a:lnTo>
                    <a:lnTo>
                      <a:pt x="42" y="333"/>
                    </a:lnTo>
                    <a:lnTo>
                      <a:pt x="38" y="331"/>
                    </a:lnTo>
                    <a:lnTo>
                      <a:pt x="38" y="329"/>
                    </a:lnTo>
                    <a:lnTo>
                      <a:pt x="37" y="327"/>
                    </a:lnTo>
                    <a:lnTo>
                      <a:pt x="37" y="327"/>
                    </a:lnTo>
                    <a:lnTo>
                      <a:pt x="37" y="323"/>
                    </a:lnTo>
                    <a:lnTo>
                      <a:pt x="37" y="322"/>
                    </a:lnTo>
                    <a:lnTo>
                      <a:pt x="37" y="320"/>
                    </a:lnTo>
                    <a:lnTo>
                      <a:pt x="37" y="318"/>
                    </a:lnTo>
                    <a:lnTo>
                      <a:pt x="37" y="316"/>
                    </a:lnTo>
                    <a:lnTo>
                      <a:pt x="38" y="314"/>
                    </a:lnTo>
                    <a:lnTo>
                      <a:pt x="38" y="312"/>
                    </a:lnTo>
                    <a:lnTo>
                      <a:pt x="40" y="312"/>
                    </a:lnTo>
                    <a:lnTo>
                      <a:pt x="40" y="310"/>
                    </a:lnTo>
                    <a:lnTo>
                      <a:pt x="40" y="308"/>
                    </a:lnTo>
                    <a:lnTo>
                      <a:pt x="40" y="306"/>
                    </a:lnTo>
                    <a:lnTo>
                      <a:pt x="42" y="304"/>
                    </a:lnTo>
                    <a:lnTo>
                      <a:pt x="46" y="301"/>
                    </a:lnTo>
                    <a:lnTo>
                      <a:pt x="46" y="299"/>
                    </a:lnTo>
                    <a:lnTo>
                      <a:pt x="48" y="297"/>
                    </a:lnTo>
                    <a:lnTo>
                      <a:pt x="48" y="295"/>
                    </a:lnTo>
                    <a:lnTo>
                      <a:pt x="50" y="293"/>
                    </a:lnTo>
                    <a:lnTo>
                      <a:pt x="54" y="291"/>
                    </a:lnTo>
                    <a:lnTo>
                      <a:pt x="58" y="287"/>
                    </a:lnTo>
                    <a:lnTo>
                      <a:pt x="58" y="287"/>
                    </a:lnTo>
                    <a:lnTo>
                      <a:pt x="59" y="285"/>
                    </a:lnTo>
                    <a:lnTo>
                      <a:pt x="71" y="284"/>
                    </a:lnTo>
                    <a:lnTo>
                      <a:pt x="78" y="284"/>
                    </a:lnTo>
                    <a:lnTo>
                      <a:pt x="80" y="284"/>
                    </a:lnTo>
                    <a:lnTo>
                      <a:pt x="84" y="282"/>
                    </a:lnTo>
                    <a:lnTo>
                      <a:pt x="84" y="282"/>
                    </a:lnTo>
                    <a:lnTo>
                      <a:pt x="86" y="282"/>
                    </a:lnTo>
                    <a:lnTo>
                      <a:pt x="88" y="280"/>
                    </a:lnTo>
                    <a:lnTo>
                      <a:pt x="90" y="278"/>
                    </a:lnTo>
                    <a:lnTo>
                      <a:pt x="92" y="278"/>
                    </a:lnTo>
                    <a:lnTo>
                      <a:pt x="94" y="278"/>
                    </a:lnTo>
                    <a:lnTo>
                      <a:pt x="99" y="278"/>
                    </a:lnTo>
                    <a:lnTo>
                      <a:pt x="101" y="278"/>
                    </a:lnTo>
                    <a:lnTo>
                      <a:pt x="103" y="278"/>
                    </a:lnTo>
                    <a:lnTo>
                      <a:pt x="103" y="278"/>
                    </a:lnTo>
                    <a:lnTo>
                      <a:pt x="105" y="278"/>
                    </a:lnTo>
                    <a:lnTo>
                      <a:pt x="107" y="280"/>
                    </a:lnTo>
                    <a:lnTo>
                      <a:pt x="111" y="284"/>
                    </a:lnTo>
                    <a:lnTo>
                      <a:pt x="113" y="284"/>
                    </a:lnTo>
                    <a:lnTo>
                      <a:pt x="113" y="285"/>
                    </a:lnTo>
                    <a:lnTo>
                      <a:pt x="113" y="287"/>
                    </a:lnTo>
                    <a:lnTo>
                      <a:pt x="111" y="289"/>
                    </a:lnTo>
                    <a:lnTo>
                      <a:pt x="111" y="291"/>
                    </a:lnTo>
                    <a:lnTo>
                      <a:pt x="109" y="291"/>
                    </a:lnTo>
                    <a:lnTo>
                      <a:pt x="109" y="293"/>
                    </a:lnTo>
                    <a:lnTo>
                      <a:pt x="111" y="293"/>
                    </a:lnTo>
                    <a:lnTo>
                      <a:pt x="111" y="293"/>
                    </a:lnTo>
                    <a:lnTo>
                      <a:pt x="117" y="289"/>
                    </a:lnTo>
                    <a:lnTo>
                      <a:pt x="117" y="287"/>
                    </a:lnTo>
                    <a:lnTo>
                      <a:pt x="119" y="287"/>
                    </a:lnTo>
                    <a:lnTo>
                      <a:pt x="119" y="285"/>
                    </a:lnTo>
                    <a:lnTo>
                      <a:pt x="120" y="284"/>
                    </a:lnTo>
                    <a:lnTo>
                      <a:pt x="120" y="284"/>
                    </a:lnTo>
                    <a:lnTo>
                      <a:pt x="122" y="285"/>
                    </a:lnTo>
                    <a:lnTo>
                      <a:pt x="122" y="285"/>
                    </a:lnTo>
                    <a:lnTo>
                      <a:pt x="122" y="287"/>
                    </a:lnTo>
                    <a:lnTo>
                      <a:pt x="122" y="289"/>
                    </a:lnTo>
                    <a:lnTo>
                      <a:pt x="122" y="289"/>
                    </a:lnTo>
                    <a:lnTo>
                      <a:pt x="124" y="289"/>
                    </a:lnTo>
                    <a:lnTo>
                      <a:pt x="126" y="287"/>
                    </a:lnTo>
                    <a:lnTo>
                      <a:pt x="130" y="287"/>
                    </a:lnTo>
                    <a:lnTo>
                      <a:pt x="138" y="285"/>
                    </a:lnTo>
                    <a:lnTo>
                      <a:pt x="140" y="285"/>
                    </a:lnTo>
                    <a:lnTo>
                      <a:pt x="140" y="285"/>
                    </a:lnTo>
                    <a:lnTo>
                      <a:pt x="140" y="285"/>
                    </a:lnTo>
                    <a:lnTo>
                      <a:pt x="140" y="289"/>
                    </a:lnTo>
                    <a:lnTo>
                      <a:pt x="140" y="289"/>
                    </a:lnTo>
                    <a:lnTo>
                      <a:pt x="141" y="291"/>
                    </a:lnTo>
                    <a:lnTo>
                      <a:pt x="141" y="289"/>
                    </a:lnTo>
                    <a:lnTo>
                      <a:pt x="145" y="287"/>
                    </a:lnTo>
                    <a:lnTo>
                      <a:pt x="147" y="287"/>
                    </a:lnTo>
                    <a:lnTo>
                      <a:pt x="153" y="287"/>
                    </a:lnTo>
                    <a:lnTo>
                      <a:pt x="157" y="287"/>
                    </a:lnTo>
                    <a:lnTo>
                      <a:pt x="159" y="287"/>
                    </a:lnTo>
                    <a:lnTo>
                      <a:pt x="164" y="287"/>
                    </a:lnTo>
                    <a:lnTo>
                      <a:pt x="166" y="287"/>
                    </a:lnTo>
                    <a:lnTo>
                      <a:pt x="166" y="289"/>
                    </a:lnTo>
                    <a:lnTo>
                      <a:pt x="166" y="291"/>
                    </a:lnTo>
                    <a:lnTo>
                      <a:pt x="168" y="291"/>
                    </a:lnTo>
                    <a:lnTo>
                      <a:pt x="170" y="291"/>
                    </a:lnTo>
                    <a:lnTo>
                      <a:pt x="170" y="291"/>
                    </a:lnTo>
                    <a:lnTo>
                      <a:pt x="172" y="293"/>
                    </a:lnTo>
                    <a:lnTo>
                      <a:pt x="172" y="293"/>
                    </a:lnTo>
                    <a:lnTo>
                      <a:pt x="172" y="295"/>
                    </a:lnTo>
                    <a:lnTo>
                      <a:pt x="172" y="297"/>
                    </a:lnTo>
                    <a:lnTo>
                      <a:pt x="172" y="301"/>
                    </a:lnTo>
                    <a:lnTo>
                      <a:pt x="172" y="303"/>
                    </a:lnTo>
                    <a:lnTo>
                      <a:pt x="172" y="303"/>
                    </a:lnTo>
                    <a:lnTo>
                      <a:pt x="174" y="303"/>
                    </a:lnTo>
                    <a:lnTo>
                      <a:pt x="176" y="301"/>
                    </a:lnTo>
                    <a:lnTo>
                      <a:pt x="176" y="301"/>
                    </a:lnTo>
                    <a:lnTo>
                      <a:pt x="178" y="301"/>
                    </a:lnTo>
                    <a:lnTo>
                      <a:pt x="178" y="303"/>
                    </a:lnTo>
                    <a:lnTo>
                      <a:pt x="180" y="303"/>
                    </a:lnTo>
                    <a:lnTo>
                      <a:pt x="181" y="303"/>
                    </a:lnTo>
                    <a:lnTo>
                      <a:pt x="191" y="299"/>
                    </a:lnTo>
                    <a:lnTo>
                      <a:pt x="193" y="299"/>
                    </a:lnTo>
                    <a:lnTo>
                      <a:pt x="193" y="301"/>
                    </a:lnTo>
                    <a:lnTo>
                      <a:pt x="193" y="304"/>
                    </a:lnTo>
                    <a:lnTo>
                      <a:pt x="193" y="306"/>
                    </a:lnTo>
                    <a:lnTo>
                      <a:pt x="193" y="308"/>
                    </a:lnTo>
                    <a:lnTo>
                      <a:pt x="193" y="314"/>
                    </a:lnTo>
                    <a:lnTo>
                      <a:pt x="195" y="316"/>
                    </a:lnTo>
                    <a:lnTo>
                      <a:pt x="197" y="318"/>
                    </a:lnTo>
                    <a:lnTo>
                      <a:pt x="199" y="318"/>
                    </a:lnTo>
                    <a:lnTo>
                      <a:pt x="201" y="316"/>
                    </a:lnTo>
                    <a:lnTo>
                      <a:pt x="202" y="314"/>
                    </a:lnTo>
                    <a:lnTo>
                      <a:pt x="208" y="308"/>
                    </a:lnTo>
                    <a:lnTo>
                      <a:pt x="210" y="304"/>
                    </a:lnTo>
                    <a:lnTo>
                      <a:pt x="212" y="303"/>
                    </a:lnTo>
                    <a:lnTo>
                      <a:pt x="214" y="303"/>
                    </a:lnTo>
                    <a:lnTo>
                      <a:pt x="222" y="299"/>
                    </a:lnTo>
                    <a:lnTo>
                      <a:pt x="227" y="299"/>
                    </a:lnTo>
                    <a:lnTo>
                      <a:pt x="235" y="295"/>
                    </a:lnTo>
                    <a:lnTo>
                      <a:pt x="235" y="295"/>
                    </a:lnTo>
                    <a:lnTo>
                      <a:pt x="235" y="293"/>
                    </a:lnTo>
                    <a:lnTo>
                      <a:pt x="235" y="293"/>
                    </a:lnTo>
                    <a:lnTo>
                      <a:pt x="231" y="297"/>
                    </a:lnTo>
                    <a:lnTo>
                      <a:pt x="231" y="297"/>
                    </a:lnTo>
                    <a:lnTo>
                      <a:pt x="229" y="297"/>
                    </a:lnTo>
                    <a:lnTo>
                      <a:pt x="227" y="297"/>
                    </a:lnTo>
                    <a:lnTo>
                      <a:pt x="227" y="295"/>
                    </a:lnTo>
                    <a:lnTo>
                      <a:pt x="227" y="295"/>
                    </a:lnTo>
                    <a:lnTo>
                      <a:pt x="231" y="293"/>
                    </a:lnTo>
                    <a:lnTo>
                      <a:pt x="231" y="291"/>
                    </a:lnTo>
                    <a:lnTo>
                      <a:pt x="235" y="287"/>
                    </a:lnTo>
                    <a:lnTo>
                      <a:pt x="237" y="285"/>
                    </a:lnTo>
                    <a:lnTo>
                      <a:pt x="239" y="282"/>
                    </a:lnTo>
                    <a:lnTo>
                      <a:pt x="241" y="280"/>
                    </a:lnTo>
                    <a:lnTo>
                      <a:pt x="241" y="280"/>
                    </a:lnTo>
                    <a:lnTo>
                      <a:pt x="242" y="276"/>
                    </a:lnTo>
                    <a:lnTo>
                      <a:pt x="242" y="276"/>
                    </a:lnTo>
                    <a:lnTo>
                      <a:pt x="244" y="274"/>
                    </a:lnTo>
                    <a:lnTo>
                      <a:pt x="246" y="276"/>
                    </a:lnTo>
                    <a:lnTo>
                      <a:pt x="248" y="276"/>
                    </a:lnTo>
                    <a:lnTo>
                      <a:pt x="250" y="278"/>
                    </a:lnTo>
                    <a:lnTo>
                      <a:pt x="250" y="280"/>
                    </a:lnTo>
                    <a:lnTo>
                      <a:pt x="250" y="280"/>
                    </a:lnTo>
                    <a:lnTo>
                      <a:pt x="250" y="282"/>
                    </a:lnTo>
                    <a:lnTo>
                      <a:pt x="248" y="284"/>
                    </a:lnTo>
                    <a:lnTo>
                      <a:pt x="248" y="285"/>
                    </a:lnTo>
                    <a:lnTo>
                      <a:pt x="248" y="287"/>
                    </a:lnTo>
                    <a:lnTo>
                      <a:pt x="248" y="289"/>
                    </a:lnTo>
                    <a:lnTo>
                      <a:pt x="248" y="289"/>
                    </a:lnTo>
                    <a:lnTo>
                      <a:pt x="250" y="289"/>
                    </a:lnTo>
                    <a:lnTo>
                      <a:pt x="252" y="289"/>
                    </a:lnTo>
                    <a:lnTo>
                      <a:pt x="256" y="287"/>
                    </a:lnTo>
                    <a:lnTo>
                      <a:pt x="258" y="285"/>
                    </a:lnTo>
                    <a:lnTo>
                      <a:pt x="258" y="284"/>
                    </a:lnTo>
                    <a:lnTo>
                      <a:pt x="260" y="282"/>
                    </a:lnTo>
                    <a:lnTo>
                      <a:pt x="262" y="280"/>
                    </a:lnTo>
                    <a:lnTo>
                      <a:pt x="262" y="276"/>
                    </a:lnTo>
                    <a:lnTo>
                      <a:pt x="262" y="274"/>
                    </a:lnTo>
                    <a:lnTo>
                      <a:pt x="263" y="274"/>
                    </a:lnTo>
                    <a:lnTo>
                      <a:pt x="267" y="268"/>
                    </a:lnTo>
                    <a:lnTo>
                      <a:pt x="269" y="268"/>
                    </a:lnTo>
                    <a:lnTo>
                      <a:pt x="273" y="268"/>
                    </a:lnTo>
                    <a:lnTo>
                      <a:pt x="275" y="268"/>
                    </a:lnTo>
                    <a:lnTo>
                      <a:pt x="279" y="272"/>
                    </a:lnTo>
                    <a:lnTo>
                      <a:pt x="281" y="274"/>
                    </a:lnTo>
                    <a:lnTo>
                      <a:pt x="283" y="274"/>
                    </a:lnTo>
                    <a:lnTo>
                      <a:pt x="284" y="274"/>
                    </a:lnTo>
                    <a:lnTo>
                      <a:pt x="288" y="274"/>
                    </a:lnTo>
                    <a:lnTo>
                      <a:pt x="296" y="272"/>
                    </a:lnTo>
                    <a:lnTo>
                      <a:pt x="298" y="272"/>
                    </a:lnTo>
                    <a:lnTo>
                      <a:pt x="300" y="272"/>
                    </a:lnTo>
                    <a:lnTo>
                      <a:pt x="302" y="272"/>
                    </a:lnTo>
                    <a:lnTo>
                      <a:pt x="309" y="270"/>
                    </a:lnTo>
                    <a:lnTo>
                      <a:pt x="313" y="268"/>
                    </a:lnTo>
                    <a:lnTo>
                      <a:pt x="315" y="268"/>
                    </a:lnTo>
                    <a:lnTo>
                      <a:pt x="326" y="268"/>
                    </a:lnTo>
                    <a:lnTo>
                      <a:pt x="326" y="268"/>
                    </a:lnTo>
                    <a:lnTo>
                      <a:pt x="328" y="268"/>
                    </a:lnTo>
                    <a:lnTo>
                      <a:pt x="328" y="270"/>
                    </a:lnTo>
                    <a:lnTo>
                      <a:pt x="326" y="272"/>
                    </a:lnTo>
                    <a:lnTo>
                      <a:pt x="317" y="282"/>
                    </a:lnTo>
                    <a:lnTo>
                      <a:pt x="317" y="282"/>
                    </a:lnTo>
                    <a:lnTo>
                      <a:pt x="317" y="284"/>
                    </a:lnTo>
                    <a:lnTo>
                      <a:pt x="315" y="284"/>
                    </a:lnTo>
                    <a:lnTo>
                      <a:pt x="317" y="285"/>
                    </a:lnTo>
                    <a:lnTo>
                      <a:pt x="317" y="287"/>
                    </a:lnTo>
                    <a:lnTo>
                      <a:pt x="317" y="287"/>
                    </a:lnTo>
                    <a:lnTo>
                      <a:pt x="321" y="289"/>
                    </a:lnTo>
                    <a:lnTo>
                      <a:pt x="321" y="289"/>
                    </a:lnTo>
                    <a:lnTo>
                      <a:pt x="321" y="291"/>
                    </a:lnTo>
                    <a:lnTo>
                      <a:pt x="319" y="297"/>
                    </a:lnTo>
                    <a:lnTo>
                      <a:pt x="317" y="301"/>
                    </a:lnTo>
                    <a:lnTo>
                      <a:pt x="315" y="304"/>
                    </a:lnTo>
                    <a:lnTo>
                      <a:pt x="315" y="306"/>
                    </a:lnTo>
                    <a:lnTo>
                      <a:pt x="315" y="308"/>
                    </a:lnTo>
                    <a:lnTo>
                      <a:pt x="315" y="310"/>
                    </a:lnTo>
                    <a:lnTo>
                      <a:pt x="315" y="312"/>
                    </a:lnTo>
                    <a:lnTo>
                      <a:pt x="315" y="314"/>
                    </a:lnTo>
                    <a:lnTo>
                      <a:pt x="315" y="322"/>
                    </a:lnTo>
                    <a:lnTo>
                      <a:pt x="315" y="323"/>
                    </a:lnTo>
                    <a:lnTo>
                      <a:pt x="315" y="323"/>
                    </a:lnTo>
                    <a:lnTo>
                      <a:pt x="317" y="323"/>
                    </a:lnTo>
                    <a:lnTo>
                      <a:pt x="317" y="323"/>
                    </a:lnTo>
                    <a:lnTo>
                      <a:pt x="319" y="322"/>
                    </a:lnTo>
                    <a:lnTo>
                      <a:pt x="323" y="320"/>
                    </a:lnTo>
                    <a:lnTo>
                      <a:pt x="328" y="318"/>
                    </a:lnTo>
                    <a:lnTo>
                      <a:pt x="334" y="318"/>
                    </a:lnTo>
                    <a:lnTo>
                      <a:pt x="336" y="316"/>
                    </a:lnTo>
                    <a:lnTo>
                      <a:pt x="336" y="316"/>
                    </a:lnTo>
                    <a:lnTo>
                      <a:pt x="338" y="314"/>
                    </a:lnTo>
                    <a:lnTo>
                      <a:pt x="340" y="314"/>
                    </a:lnTo>
                    <a:lnTo>
                      <a:pt x="342" y="312"/>
                    </a:lnTo>
                    <a:lnTo>
                      <a:pt x="344" y="314"/>
                    </a:lnTo>
                    <a:lnTo>
                      <a:pt x="345" y="314"/>
                    </a:lnTo>
                    <a:lnTo>
                      <a:pt x="349" y="318"/>
                    </a:lnTo>
                    <a:lnTo>
                      <a:pt x="353" y="322"/>
                    </a:lnTo>
                    <a:lnTo>
                      <a:pt x="359" y="327"/>
                    </a:lnTo>
                    <a:lnTo>
                      <a:pt x="368" y="337"/>
                    </a:lnTo>
                    <a:lnTo>
                      <a:pt x="368" y="337"/>
                    </a:lnTo>
                    <a:lnTo>
                      <a:pt x="368" y="337"/>
                    </a:lnTo>
                    <a:lnTo>
                      <a:pt x="368" y="339"/>
                    </a:lnTo>
                    <a:lnTo>
                      <a:pt x="370" y="337"/>
                    </a:lnTo>
                    <a:lnTo>
                      <a:pt x="372" y="337"/>
                    </a:lnTo>
                    <a:lnTo>
                      <a:pt x="372" y="337"/>
                    </a:lnTo>
                    <a:lnTo>
                      <a:pt x="374" y="335"/>
                    </a:lnTo>
                    <a:lnTo>
                      <a:pt x="376" y="333"/>
                    </a:lnTo>
                    <a:lnTo>
                      <a:pt x="378" y="333"/>
                    </a:lnTo>
                    <a:lnTo>
                      <a:pt x="378" y="333"/>
                    </a:lnTo>
                    <a:lnTo>
                      <a:pt x="380" y="335"/>
                    </a:lnTo>
                    <a:lnTo>
                      <a:pt x="380" y="335"/>
                    </a:lnTo>
                    <a:lnTo>
                      <a:pt x="380" y="337"/>
                    </a:lnTo>
                    <a:lnTo>
                      <a:pt x="380" y="337"/>
                    </a:lnTo>
                    <a:lnTo>
                      <a:pt x="378" y="339"/>
                    </a:lnTo>
                    <a:lnTo>
                      <a:pt x="378" y="339"/>
                    </a:lnTo>
                    <a:lnTo>
                      <a:pt x="376" y="341"/>
                    </a:lnTo>
                    <a:lnTo>
                      <a:pt x="376" y="341"/>
                    </a:lnTo>
                    <a:lnTo>
                      <a:pt x="374" y="343"/>
                    </a:lnTo>
                    <a:lnTo>
                      <a:pt x="374" y="344"/>
                    </a:lnTo>
                    <a:lnTo>
                      <a:pt x="372" y="346"/>
                    </a:lnTo>
                    <a:lnTo>
                      <a:pt x="370" y="348"/>
                    </a:lnTo>
                    <a:lnTo>
                      <a:pt x="368" y="350"/>
                    </a:lnTo>
                    <a:lnTo>
                      <a:pt x="368" y="350"/>
                    </a:lnTo>
                    <a:lnTo>
                      <a:pt x="366" y="350"/>
                    </a:lnTo>
                    <a:lnTo>
                      <a:pt x="368" y="352"/>
                    </a:lnTo>
                    <a:lnTo>
                      <a:pt x="370" y="352"/>
                    </a:lnTo>
                    <a:lnTo>
                      <a:pt x="372" y="354"/>
                    </a:lnTo>
                    <a:lnTo>
                      <a:pt x="372" y="356"/>
                    </a:lnTo>
                    <a:lnTo>
                      <a:pt x="374" y="356"/>
                    </a:lnTo>
                    <a:lnTo>
                      <a:pt x="374" y="356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0" y="360"/>
                    </a:lnTo>
                    <a:lnTo>
                      <a:pt x="382" y="360"/>
                    </a:lnTo>
                    <a:lnTo>
                      <a:pt x="387" y="363"/>
                    </a:lnTo>
                    <a:lnTo>
                      <a:pt x="389" y="367"/>
                    </a:lnTo>
                    <a:lnTo>
                      <a:pt x="389" y="367"/>
                    </a:lnTo>
                    <a:lnTo>
                      <a:pt x="391" y="369"/>
                    </a:lnTo>
                    <a:lnTo>
                      <a:pt x="393" y="371"/>
                    </a:lnTo>
                    <a:lnTo>
                      <a:pt x="393" y="371"/>
                    </a:lnTo>
                    <a:lnTo>
                      <a:pt x="395" y="373"/>
                    </a:lnTo>
                    <a:lnTo>
                      <a:pt x="393" y="375"/>
                    </a:lnTo>
                    <a:lnTo>
                      <a:pt x="393" y="377"/>
                    </a:lnTo>
                    <a:lnTo>
                      <a:pt x="393" y="379"/>
                    </a:lnTo>
                    <a:lnTo>
                      <a:pt x="393" y="379"/>
                    </a:lnTo>
                    <a:lnTo>
                      <a:pt x="393" y="381"/>
                    </a:lnTo>
                    <a:lnTo>
                      <a:pt x="393" y="381"/>
                    </a:lnTo>
                    <a:lnTo>
                      <a:pt x="393" y="382"/>
                    </a:lnTo>
                    <a:lnTo>
                      <a:pt x="393" y="382"/>
                    </a:lnTo>
                    <a:lnTo>
                      <a:pt x="395" y="384"/>
                    </a:lnTo>
                    <a:lnTo>
                      <a:pt x="395" y="386"/>
                    </a:lnTo>
                    <a:lnTo>
                      <a:pt x="395" y="386"/>
                    </a:lnTo>
                    <a:lnTo>
                      <a:pt x="395" y="386"/>
                    </a:lnTo>
                    <a:lnTo>
                      <a:pt x="380" y="392"/>
                    </a:lnTo>
                    <a:lnTo>
                      <a:pt x="376" y="398"/>
                    </a:lnTo>
                    <a:lnTo>
                      <a:pt x="374" y="398"/>
                    </a:lnTo>
                    <a:lnTo>
                      <a:pt x="370" y="398"/>
                    </a:lnTo>
                    <a:lnTo>
                      <a:pt x="368" y="398"/>
                    </a:lnTo>
                    <a:lnTo>
                      <a:pt x="365" y="398"/>
                    </a:lnTo>
                    <a:lnTo>
                      <a:pt x="365" y="398"/>
                    </a:lnTo>
                    <a:lnTo>
                      <a:pt x="365" y="400"/>
                    </a:lnTo>
                    <a:lnTo>
                      <a:pt x="365" y="400"/>
                    </a:lnTo>
                    <a:lnTo>
                      <a:pt x="365" y="402"/>
                    </a:lnTo>
                    <a:lnTo>
                      <a:pt x="363" y="402"/>
                    </a:lnTo>
                    <a:lnTo>
                      <a:pt x="361" y="402"/>
                    </a:lnTo>
                    <a:lnTo>
                      <a:pt x="359" y="402"/>
                    </a:lnTo>
                    <a:lnTo>
                      <a:pt x="359" y="403"/>
                    </a:lnTo>
                    <a:lnTo>
                      <a:pt x="355" y="405"/>
                    </a:lnTo>
                    <a:lnTo>
                      <a:pt x="351" y="409"/>
                    </a:lnTo>
                    <a:lnTo>
                      <a:pt x="345" y="415"/>
                    </a:lnTo>
                    <a:lnTo>
                      <a:pt x="342" y="419"/>
                    </a:lnTo>
                    <a:lnTo>
                      <a:pt x="342" y="419"/>
                    </a:lnTo>
                    <a:lnTo>
                      <a:pt x="342" y="419"/>
                    </a:lnTo>
                    <a:lnTo>
                      <a:pt x="342" y="419"/>
                    </a:lnTo>
                    <a:lnTo>
                      <a:pt x="344" y="419"/>
                    </a:lnTo>
                    <a:lnTo>
                      <a:pt x="345" y="421"/>
                    </a:lnTo>
                    <a:lnTo>
                      <a:pt x="345" y="421"/>
                    </a:lnTo>
                    <a:lnTo>
                      <a:pt x="345" y="421"/>
                    </a:lnTo>
                    <a:lnTo>
                      <a:pt x="345" y="421"/>
                    </a:lnTo>
                    <a:lnTo>
                      <a:pt x="345" y="421"/>
                    </a:lnTo>
                    <a:lnTo>
                      <a:pt x="349" y="424"/>
                    </a:lnTo>
                    <a:lnTo>
                      <a:pt x="349" y="424"/>
                    </a:lnTo>
                    <a:lnTo>
                      <a:pt x="351" y="424"/>
                    </a:lnTo>
                    <a:lnTo>
                      <a:pt x="351" y="424"/>
                    </a:lnTo>
                    <a:lnTo>
                      <a:pt x="351" y="424"/>
                    </a:lnTo>
                    <a:lnTo>
                      <a:pt x="351" y="424"/>
                    </a:lnTo>
                    <a:lnTo>
                      <a:pt x="351" y="426"/>
                    </a:lnTo>
                    <a:lnTo>
                      <a:pt x="351" y="426"/>
                    </a:lnTo>
                    <a:lnTo>
                      <a:pt x="351" y="426"/>
                    </a:lnTo>
                    <a:lnTo>
                      <a:pt x="353" y="428"/>
                    </a:lnTo>
                    <a:lnTo>
                      <a:pt x="353" y="428"/>
                    </a:lnTo>
                    <a:lnTo>
                      <a:pt x="355" y="428"/>
                    </a:lnTo>
                    <a:lnTo>
                      <a:pt x="355" y="430"/>
                    </a:lnTo>
                    <a:lnTo>
                      <a:pt x="355" y="430"/>
                    </a:lnTo>
                    <a:lnTo>
                      <a:pt x="357" y="434"/>
                    </a:lnTo>
                    <a:lnTo>
                      <a:pt x="355" y="434"/>
                    </a:lnTo>
                    <a:lnTo>
                      <a:pt x="353" y="438"/>
                    </a:lnTo>
                    <a:lnTo>
                      <a:pt x="349" y="438"/>
                    </a:lnTo>
                    <a:lnTo>
                      <a:pt x="342" y="441"/>
                    </a:lnTo>
                    <a:lnTo>
                      <a:pt x="340" y="441"/>
                    </a:lnTo>
                    <a:lnTo>
                      <a:pt x="340" y="441"/>
                    </a:lnTo>
                    <a:lnTo>
                      <a:pt x="340" y="441"/>
                    </a:lnTo>
                    <a:lnTo>
                      <a:pt x="340" y="440"/>
                    </a:lnTo>
                    <a:lnTo>
                      <a:pt x="340" y="440"/>
                    </a:lnTo>
                    <a:lnTo>
                      <a:pt x="340" y="440"/>
                    </a:lnTo>
                    <a:lnTo>
                      <a:pt x="340" y="440"/>
                    </a:lnTo>
                    <a:lnTo>
                      <a:pt x="330" y="434"/>
                    </a:lnTo>
                    <a:lnTo>
                      <a:pt x="330" y="434"/>
                    </a:lnTo>
                    <a:lnTo>
                      <a:pt x="326" y="432"/>
                    </a:lnTo>
                    <a:lnTo>
                      <a:pt x="323" y="434"/>
                    </a:lnTo>
                    <a:lnTo>
                      <a:pt x="321" y="436"/>
                    </a:lnTo>
                    <a:lnTo>
                      <a:pt x="323" y="438"/>
                    </a:lnTo>
                    <a:lnTo>
                      <a:pt x="323" y="438"/>
                    </a:lnTo>
                    <a:lnTo>
                      <a:pt x="323" y="443"/>
                    </a:lnTo>
                    <a:lnTo>
                      <a:pt x="323" y="443"/>
                    </a:lnTo>
                    <a:lnTo>
                      <a:pt x="324" y="445"/>
                    </a:lnTo>
                    <a:lnTo>
                      <a:pt x="324" y="447"/>
                    </a:lnTo>
                    <a:lnTo>
                      <a:pt x="323" y="449"/>
                    </a:lnTo>
                    <a:lnTo>
                      <a:pt x="317" y="468"/>
                    </a:lnTo>
                    <a:lnTo>
                      <a:pt x="315" y="472"/>
                    </a:lnTo>
                    <a:lnTo>
                      <a:pt x="315" y="478"/>
                    </a:lnTo>
                    <a:lnTo>
                      <a:pt x="315" y="480"/>
                    </a:lnTo>
                    <a:lnTo>
                      <a:pt x="313" y="481"/>
                    </a:lnTo>
                    <a:lnTo>
                      <a:pt x="313" y="481"/>
                    </a:lnTo>
                    <a:lnTo>
                      <a:pt x="313" y="481"/>
                    </a:lnTo>
                    <a:lnTo>
                      <a:pt x="323" y="487"/>
                    </a:lnTo>
                    <a:lnTo>
                      <a:pt x="323" y="489"/>
                    </a:lnTo>
                    <a:lnTo>
                      <a:pt x="323" y="489"/>
                    </a:lnTo>
                    <a:lnTo>
                      <a:pt x="323" y="491"/>
                    </a:lnTo>
                    <a:lnTo>
                      <a:pt x="323" y="495"/>
                    </a:lnTo>
                    <a:lnTo>
                      <a:pt x="324" y="497"/>
                    </a:lnTo>
                    <a:lnTo>
                      <a:pt x="324" y="497"/>
                    </a:lnTo>
                    <a:lnTo>
                      <a:pt x="326" y="502"/>
                    </a:lnTo>
                    <a:lnTo>
                      <a:pt x="326" y="502"/>
                    </a:lnTo>
                    <a:lnTo>
                      <a:pt x="326" y="506"/>
                    </a:lnTo>
                    <a:lnTo>
                      <a:pt x="326" y="508"/>
                    </a:lnTo>
                    <a:lnTo>
                      <a:pt x="326" y="510"/>
                    </a:lnTo>
                    <a:lnTo>
                      <a:pt x="323" y="519"/>
                    </a:lnTo>
                    <a:lnTo>
                      <a:pt x="323" y="521"/>
                    </a:lnTo>
                    <a:lnTo>
                      <a:pt x="323" y="521"/>
                    </a:lnTo>
                    <a:lnTo>
                      <a:pt x="332" y="523"/>
                    </a:lnTo>
                    <a:lnTo>
                      <a:pt x="340" y="523"/>
                    </a:lnTo>
                    <a:lnTo>
                      <a:pt x="345" y="523"/>
                    </a:lnTo>
                    <a:lnTo>
                      <a:pt x="347" y="523"/>
                    </a:lnTo>
                    <a:lnTo>
                      <a:pt x="347" y="523"/>
                    </a:lnTo>
                    <a:lnTo>
                      <a:pt x="347" y="525"/>
                    </a:lnTo>
                    <a:lnTo>
                      <a:pt x="347" y="525"/>
                    </a:lnTo>
                    <a:lnTo>
                      <a:pt x="347" y="525"/>
                    </a:lnTo>
                    <a:lnTo>
                      <a:pt x="347" y="525"/>
                    </a:lnTo>
                    <a:lnTo>
                      <a:pt x="345" y="527"/>
                    </a:lnTo>
                    <a:lnTo>
                      <a:pt x="345" y="529"/>
                    </a:lnTo>
                    <a:lnTo>
                      <a:pt x="345" y="529"/>
                    </a:lnTo>
                    <a:lnTo>
                      <a:pt x="347" y="533"/>
                    </a:lnTo>
                    <a:lnTo>
                      <a:pt x="347" y="535"/>
                    </a:lnTo>
                    <a:lnTo>
                      <a:pt x="349" y="537"/>
                    </a:lnTo>
                    <a:lnTo>
                      <a:pt x="349" y="537"/>
                    </a:lnTo>
                    <a:lnTo>
                      <a:pt x="351" y="538"/>
                    </a:lnTo>
                    <a:lnTo>
                      <a:pt x="353" y="538"/>
                    </a:lnTo>
                    <a:lnTo>
                      <a:pt x="353" y="538"/>
                    </a:lnTo>
                    <a:lnTo>
                      <a:pt x="355" y="538"/>
                    </a:lnTo>
                    <a:lnTo>
                      <a:pt x="355" y="538"/>
                    </a:lnTo>
                    <a:lnTo>
                      <a:pt x="357" y="537"/>
                    </a:lnTo>
                    <a:lnTo>
                      <a:pt x="359" y="537"/>
                    </a:lnTo>
                    <a:lnTo>
                      <a:pt x="361" y="533"/>
                    </a:lnTo>
                    <a:lnTo>
                      <a:pt x="365" y="529"/>
                    </a:lnTo>
                    <a:lnTo>
                      <a:pt x="368" y="525"/>
                    </a:lnTo>
                    <a:lnTo>
                      <a:pt x="368" y="525"/>
                    </a:lnTo>
                    <a:lnTo>
                      <a:pt x="370" y="523"/>
                    </a:lnTo>
                    <a:lnTo>
                      <a:pt x="372" y="523"/>
                    </a:lnTo>
                    <a:lnTo>
                      <a:pt x="372" y="523"/>
                    </a:lnTo>
                    <a:lnTo>
                      <a:pt x="372" y="523"/>
                    </a:lnTo>
                    <a:lnTo>
                      <a:pt x="372" y="521"/>
                    </a:lnTo>
                    <a:lnTo>
                      <a:pt x="372" y="519"/>
                    </a:lnTo>
                    <a:lnTo>
                      <a:pt x="372" y="518"/>
                    </a:lnTo>
                    <a:lnTo>
                      <a:pt x="374" y="516"/>
                    </a:lnTo>
                    <a:lnTo>
                      <a:pt x="380" y="510"/>
                    </a:lnTo>
                    <a:lnTo>
                      <a:pt x="382" y="506"/>
                    </a:lnTo>
                    <a:lnTo>
                      <a:pt x="384" y="506"/>
                    </a:lnTo>
                    <a:lnTo>
                      <a:pt x="384" y="504"/>
                    </a:lnTo>
                    <a:lnTo>
                      <a:pt x="384" y="502"/>
                    </a:lnTo>
                    <a:lnTo>
                      <a:pt x="387" y="491"/>
                    </a:lnTo>
                    <a:lnTo>
                      <a:pt x="387" y="491"/>
                    </a:lnTo>
                    <a:lnTo>
                      <a:pt x="389" y="489"/>
                    </a:lnTo>
                    <a:lnTo>
                      <a:pt x="389" y="491"/>
                    </a:lnTo>
                    <a:lnTo>
                      <a:pt x="391" y="491"/>
                    </a:lnTo>
                    <a:lnTo>
                      <a:pt x="393" y="493"/>
                    </a:lnTo>
                    <a:lnTo>
                      <a:pt x="399" y="504"/>
                    </a:lnTo>
                    <a:lnTo>
                      <a:pt x="399" y="506"/>
                    </a:lnTo>
                    <a:lnTo>
                      <a:pt x="401" y="506"/>
                    </a:lnTo>
                    <a:lnTo>
                      <a:pt x="403" y="506"/>
                    </a:lnTo>
                    <a:lnTo>
                      <a:pt x="410" y="502"/>
                    </a:lnTo>
                    <a:lnTo>
                      <a:pt x="412" y="502"/>
                    </a:lnTo>
                    <a:lnTo>
                      <a:pt x="416" y="504"/>
                    </a:lnTo>
                    <a:lnTo>
                      <a:pt x="418" y="504"/>
                    </a:lnTo>
                    <a:lnTo>
                      <a:pt x="422" y="500"/>
                    </a:lnTo>
                    <a:lnTo>
                      <a:pt x="422" y="500"/>
                    </a:lnTo>
                    <a:lnTo>
                      <a:pt x="424" y="499"/>
                    </a:lnTo>
                    <a:lnTo>
                      <a:pt x="426" y="495"/>
                    </a:lnTo>
                    <a:lnTo>
                      <a:pt x="426" y="485"/>
                    </a:lnTo>
                    <a:lnTo>
                      <a:pt x="427" y="480"/>
                    </a:lnTo>
                    <a:lnTo>
                      <a:pt x="429" y="478"/>
                    </a:lnTo>
                    <a:lnTo>
                      <a:pt x="431" y="478"/>
                    </a:lnTo>
                    <a:lnTo>
                      <a:pt x="431" y="478"/>
                    </a:lnTo>
                    <a:lnTo>
                      <a:pt x="431" y="474"/>
                    </a:lnTo>
                    <a:lnTo>
                      <a:pt x="429" y="470"/>
                    </a:lnTo>
                    <a:lnTo>
                      <a:pt x="431" y="466"/>
                    </a:lnTo>
                    <a:lnTo>
                      <a:pt x="433" y="464"/>
                    </a:lnTo>
                    <a:lnTo>
                      <a:pt x="431" y="462"/>
                    </a:lnTo>
                    <a:lnTo>
                      <a:pt x="431" y="462"/>
                    </a:lnTo>
                    <a:lnTo>
                      <a:pt x="431" y="460"/>
                    </a:lnTo>
                    <a:lnTo>
                      <a:pt x="431" y="459"/>
                    </a:lnTo>
                    <a:lnTo>
                      <a:pt x="431" y="459"/>
                    </a:lnTo>
                    <a:lnTo>
                      <a:pt x="431" y="459"/>
                    </a:lnTo>
                    <a:lnTo>
                      <a:pt x="431" y="457"/>
                    </a:lnTo>
                    <a:lnTo>
                      <a:pt x="433" y="455"/>
                    </a:lnTo>
                    <a:lnTo>
                      <a:pt x="433" y="449"/>
                    </a:lnTo>
                    <a:lnTo>
                      <a:pt x="435" y="447"/>
                    </a:lnTo>
                    <a:lnTo>
                      <a:pt x="435" y="445"/>
                    </a:lnTo>
                    <a:lnTo>
                      <a:pt x="435" y="443"/>
                    </a:lnTo>
                    <a:lnTo>
                      <a:pt x="437" y="443"/>
                    </a:lnTo>
                    <a:lnTo>
                      <a:pt x="437" y="443"/>
                    </a:lnTo>
                    <a:lnTo>
                      <a:pt x="439" y="443"/>
                    </a:lnTo>
                    <a:lnTo>
                      <a:pt x="439" y="443"/>
                    </a:lnTo>
                    <a:lnTo>
                      <a:pt x="439" y="443"/>
                    </a:lnTo>
                    <a:lnTo>
                      <a:pt x="439" y="443"/>
                    </a:lnTo>
                    <a:lnTo>
                      <a:pt x="441" y="445"/>
                    </a:lnTo>
                    <a:lnTo>
                      <a:pt x="441" y="445"/>
                    </a:lnTo>
                    <a:lnTo>
                      <a:pt x="443" y="445"/>
                    </a:lnTo>
                    <a:lnTo>
                      <a:pt x="443" y="445"/>
                    </a:lnTo>
                    <a:lnTo>
                      <a:pt x="445" y="443"/>
                    </a:lnTo>
                    <a:lnTo>
                      <a:pt x="445" y="443"/>
                    </a:lnTo>
                    <a:lnTo>
                      <a:pt x="445" y="441"/>
                    </a:lnTo>
                    <a:lnTo>
                      <a:pt x="445" y="440"/>
                    </a:lnTo>
                    <a:lnTo>
                      <a:pt x="448" y="436"/>
                    </a:lnTo>
                    <a:lnTo>
                      <a:pt x="450" y="430"/>
                    </a:lnTo>
                    <a:lnTo>
                      <a:pt x="450" y="428"/>
                    </a:lnTo>
                    <a:lnTo>
                      <a:pt x="450" y="428"/>
                    </a:lnTo>
                    <a:lnTo>
                      <a:pt x="450" y="426"/>
                    </a:lnTo>
                    <a:lnTo>
                      <a:pt x="450" y="426"/>
                    </a:lnTo>
                    <a:lnTo>
                      <a:pt x="450" y="426"/>
                    </a:lnTo>
                    <a:lnTo>
                      <a:pt x="450" y="424"/>
                    </a:lnTo>
                    <a:lnTo>
                      <a:pt x="450" y="424"/>
                    </a:lnTo>
                    <a:lnTo>
                      <a:pt x="452" y="424"/>
                    </a:lnTo>
                    <a:lnTo>
                      <a:pt x="452" y="424"/>
                    </a:lnTo>
                    <a:lnTo>
                      <a:pt x="454" y="422"/>
                    </a:lnTo>
                    <a:lnTo>
                      <a:pt x="454" y="422"/>
                    </a:lnTo>
                    <a:lnTo>
                      <a:pt x="454" y="421"/>
                    </a:lnTo>
                    <a:lnTo>
                      <a:pt x="452" y="417"/>
                    </a:lnTo>
                    <a:lnTo>
                      <a:pt x="452" y="415"/>
                    </a:lnTo>
                    <a:lnTo>
                      <a:pt x="452" y="413"/>
                    </a:lnTo>
                    <a:lnTo>
                      <a:pt x="452" y="413"/>
                    </a:lnTo>
                    <a:lnTo>
                      <a:pt x="454" y="411"/>
                    </a:lnTo>
                    <a:lnTo>
                      <a:pt x="454" y="411"/>
                    </a:lnTo>
                    <a:lnTo>
                      <a:pt x="456" y="411"/>
                    </a:lnTo>
                    <a:lnTo>
                      <a:pt x="458" y="411"/>
                    </a:lnTo>
                    <a:lnTo>
                      <a:pt x="458" y="409"/>
                    </a:lnTo>
                    <a:lnTo>
                      <a:pt x="460" y="409"/>
                    </a:lnTo>
                    <a:lnTo>
                      <a:pt x="460" y="407"/>
                    </a:lnTo>
                    <a:lnTo>
                      <a:pt x="460" y="405"/>
                    </a:lnTo>
                    <a:lnTo>
                      <a:pt x="462" y="403"/>
                    </a:lnTo>
                    <a:lnTo>
                      <a:pt x="464" y="402"/>
                    </a:lnTo>
                    <a:lnTo>
                      <a:pt x="466" y="394"/>
                    </a:lnTo>
                    <a:lnTo>
                      <a:pt x="469" y="386"/>
                    </a:lnTo>
                    <a:lnTo>
                      <a:pt x="471" y="382"/>
                    </a:lnTo>
                    <a:lnTo>
                      <a:pt x="473" y="381"/>
                    </a:lnTo>
                    <a:lnTo>
                      <a:pt x="475" y="377"/>
                    </a:lnTo>
                    <a:lnTo>
                      <a:pt x="475" y="377"/>
                    </a:lnTo>
                    <a:lnTo>
                      <a:pt x="477" y="375"/>
                    </a:lnTo>
                    <a:lnTo>
                      <a:pt x="477" y="371"/>
                    </a:lnTo>
                    <a:lnTo>
                      <a:pt x="477" y="369"/>
                    </a:lnTo>
                    <a:lnTo>
                      <a:pt x="477" y="365"/>
                    </a:lnTo>
                    <a:lnTo>
                      <a:pt x="477" y="363"/>
                    </a:lnTo>
                    <a:lnTo>
                      <a:pt x="475" y="363"/>
                    </a:lnTo>
                    <a:lnTo>
                      <a:pt x="475" y="360"/>
                    </a:lnTo>
                    <a:lnTo>
                      <a:pt x="475" y="360"/>
                    </a:lnTo>
                    <a:lnTo>
                      <a:pt x="473" y="358"/>
                    </a:lnTo>
                    <a:lnTo>
                      <a:pt x="471" y="356"/>
                    </a:lnTo>
                    <a:lnTo>
                      <a:pt x="471" y="356"/>
                    </a:lnTo>
                    <a:lnTo>
                      <a:pt x="469" y="354"/>
                    </a:lnTo>
                    <a:lnTo>
                      <a:pt x="468" y="354"/>
                    </a:lnTo>
                    <a:lnTo>
                      <a:pt x="468" y="352"/>
                    </a:lnTo>
                    <a:lnTo>
                      <a:pt x="468" y="350"/>
                    </a:lnTo>
                    <a:lnTo>
                      <a:pt x="466" y="350"/>
                    </a:lnTo>
                    <a:lnTo>
                      <a:pt x="466" y="350"/>
                    </a:lnTo>
                    <a:lnTo>
                      <a:pt x="466" y="350"/>
                    </a:lnTo>
                    <a:lnTo>
                      <a:pt x="466" y="350"/>
                    </a:lnTo>
                    <a:lnTo>
                      <a:pt x="466" y="348"/>
                    </a:lnTo>
                    <a:lnTo>
                      <a:pt x="464" y="348"/>
                    </a:lnTo>
                    <a:lnTo>
                      <a:pt x="462" y="344"/>
                    </a:lnTo>
                    <a:lnTo>
                      <a:pt x="462" y="344"/>
                    </a:lnTo>
                    <a:lnTo>
                      <a:pt x="462" y="343"/>
                    </a:lnTo>
                    <a:lnTo>
                      <a:pt x="464" y="341"/>
                    </a:lnTo>
                    <a:lnTo>
                      <a:pt x="468" y="339"/>
                    </a:lnTo>
                    <a:lnTo>
                      <a:pt x="471" y="333"/>
                    </a:lnTo>
                    <a:lnTo>
                      <a:pt x="479" y="327"/>
                    </a:lnTo>
                    <a:lnTo>
                      <a:pt x="485" y="323"/>
                    </a:lnTo>
                    <a:lnTo>
                      <a:pt x="492" y="312"/>
                    </a:lnTo>
                    <a:lnTo>
                      <a:pt x="494" y="310"/>
                    </a:lnTo>
                    <a:lnTo>
                      <a:pt x="508" y="301"/>
                    </a:lnTo>
                    <a:lnTo>
                      <a:pt x="508" y="299"/>
                    </a:lnTo>
                    <a:lnTo>
                      <a:pt x="508" y="299"/>
                    </a:lnTo>
                    <a:lnTo>
                      <a:pt x="508" y="297"/>
                    </a:lnTo>
                    <a:lnTo>
                      <a:pt x="508" y="297"/>
                    </a:lnTo>
                    <a:lnTo>
                      <a:pt x="506" y="295"/>
                    </a:lnTo>
                    <a:lnTo>
                      <a:pt x="506" y="293"/>
                    </a:lnTo>
                    <a:lnTo>
                      <a:pt x="504" y="293"/>
                    </a:lnTo>
                    <a:lnTo>
                      <a:pt x="504" y="291"/>
                    </a:lnTo>
                    <a:lnTo>
                      <a:pt x="506" y="289"/>
                    </a:lnTo>
                    <a:lnTo>
                      <a:pt x="508" y="289"/>
                    </a:lnTo>
                    <a:lnTo>
                      <a:pt x="509" y="287"/>
                    </a:lnTo>
                    <a:lnTo>
                      <a:pt x="513" y="285"/>
                    </a:lnTo>
                    <a:lnTo>
                      <a:pt x="513" y="285"/>
                    </a:lnTo>
                    <a:lnTo>
                      <a:pt x="515" y="285"/>
                    </a:lnTo>
                    <a:lnTo>
                      <a:pt x="515" y="285"/>
                    </a:lnTo>
                    <a:lnTo>
                      <a:pt x="519" y="285"/>
                    </a:lnTo>
                    <a:lnTo>
                      <a:pt x="519" y="287"/>
                    </a:lnTo>
                    <a:lnTo>
                      <a:pt x="521" y="287"/>
                    </a:lnTo>
                    <a:lnTo>
                      <a:pt x="521" y="289"/>
                    </a:lnTo>
                    <a:lnTo>
                      <a:pt x="521" y="291"/>
                    </a:lnTo>
                    <a:lnTo>
                      <a:pt x="521" y="293"/>
                    </a:lnTo>
                    <a:lnTo>
                      <a:pt x="521" y="295"/>
                    </a:lnTo>
                    <a:lnTo>
                      <a:pt x="521" y="297"/>
                    </a:lnTo>
                    <a:lnTo>
                      <a:pt x="519" y="299"/>
                    </a:lnTo>
                    <a:lnTo>
                      <a:pt x="517" y="301"/>
                    </a:lnTo>
                    <a:lnTo>
                      <a:pt x="517" y="301"/>
                    </a:lnTo>
                    <a:lnTo>
                      <a:pt x="517" y="303"/>
                    </a:lnTo>
                    <a:lnTo>
                      <a:pt x="517" y="303"/>
                    </a:lnTo>
                    <a:lnTo>
                      <a:pt x="517" y="303"/>
                    </a:lnTo>
                    <a:lnTo>
                      <a:pt x="519" y="303"/>
                    </a:lnTo>
                    <a:lnTo>
                      <a:pt x="521" y="303"/>
                    </a:lnTo>
                    <a:lnTo>
                      <a:pt x="525" y="301"/>
                    </a:lnTo>
                    <a:lnTo>
                      <a:pt x="530" y="301"/>
                    </a:lnTo>
                    <a:lnTo>
                      <a:pt x="532" y="301"/>
                    </a:lnTo>
                    <a:lnTo>
                      <a:pt x="536" y="297"/>
                    </a:lnTo>
                    <a:lnTo>
                      <a:pt x="538" y="295"/>
                    </a:lnTo>
                    <a:lnTo>
                      <a:pt x="542" y="291"/>
                    </a:lnTo>
                    <a:lnTo>
                      <a:pt x="542" y="289"/>
                    </a:lnTo>
                    <a:lnTo>
                      <a:pt x="544" y="289"/>
                    </a:lnTo>
                    <a:lnTo>
                      <a:pt x="544" y="287"/>
                    </a:lnTo>
                    <a:lnTo>
                      <a:pt x="542" y="285"/>
                    </a:lnTo>
                    <a:lnTo>
                      <a:pt x="542" y="284"/>
                    </a:lnTo>
                    <a:lnTo>
                      <a:pt x="542" y="282"/>
                    </a:lnTo>
                    <a:lnTo>
                      <a:pt x="542" y="282"/>
                    </a:lnTo>
                    <a:lnTo>
                      <a:pt x="542" y="280"/>
                    </a:lnTo>
                    <a:lnTo>
                      <a:pt x="542" y="276"/>
                    </a:lnTo>
                    <a:lnTo>
                      <a:pt x="542" y="274"/>
                    </a:lnTo>
                    <a:lnTo>
                      <a:pt x="542" y="272"/>
                    </a:lnTo>
                    <a:lnTo>
                      <a:pt x="544" y="272"/>
                    </a:lnTo>
                    <a:lnTo>
                      <a:pt x="546" y="270"/>
                    </a:lnTo>
                    <a:lnTo>
                      <a:pt x="546" y="268"/>
                    </a:lnTo>
                    <a:lnTo>
                      <a:pt x="546" y="261"/>
                    </a:lnTo>
                    <a:lnTo>
                      <a:pt x="546" y="261"/>
                    </a:lnTo>
                    <a:lnTo>
                      <a:pt x="546" y="257"/>
                    </a:lnTo>
                    <a:lnTo>
                      <a:pt x="546" y="255"/>
                    </a:lnTo>
                    <a:lnTo>
                      <a:pt x="546" y="255"/>
                    </a:lnTo>
                    <a:lnTo>
                      <a:pt x="557" y="238"/>
                    </a:lnTo>
                    <a:lnTo>
                      <a:pt x="561" y="234"/>
                    </a:lnTo>
                    <a:lnTo>
                      <a:pt x="565" y="230"/>
                    </a:lnTo>
                    <a:lnTo>
                      <a:pt x="567" y="230"/>
                    </a:lnTo>
                    <a:lnTo>
                      <a:pt x="567" y="228"/>
                    </a:lnTo>
                    <a:lnTo>
                      <a:pt x="569" y="225"/>
                    </a:lnTo>
                    <a:lnTo>
                      <a:pt x="569" y="217"/>
                    </a:lnTo>
                    <a:lnTo>
                      <a:pt x="569" y="215"/>
                    </a:lnTo>
                    <a:lnTo>
                      <a:pt x="570" y="213"/>
                    </a:lnTo>
                    <a:lnTo>
                      <a:pt x="576" y="207"/>
                    </a:lnTo>
                    <a:lnTo>
                      <a:pt x="578" y="202"/>
                    </a:lnTo>
                    <a:lnTo>
                      <a:pt x="582" y="204"/>
                    </a:lnTo>
                    <a:lnTo>
                      <a:pt x="582" y="206"/>
                    </a:lnTo>
                    <a:lnTo>
                      <a:pt x="582" y="209"/>
                    </a:lnTo>
                    <a:lnTo>
                      <a:pt x="582" y="209"/>
                    </a:lnTo>
                    <a:lnTo>
                      <a:pt x="582" y="209"/>
                    </a:lnTo>
                    <a:lnTo>
                      <a:pt x="582" y="211"/>
                    </a:lnTo>
                    <a:lnTo>
                      <a:pt x="584" y="213"/>
                    </a:lnTo>
                    <a:lnTo>
                      <a:pt x="584" y="213"/>
                    </a:lnTo>
                    <a:lnTo>
                      <a:pt x="586" y="213"/>
                    </a:lnTo>
                    <a:lnTo>
                      <a:pt x="588" y="211"/>
                    </a:lnTo>
                    <a:lnTo>
                      <a:pt x="590" y="211"/>
                    </a:lnTo>
                    <a:lnTo>
                      <a:pt x="591" y="209"/>
                    </a:lnTo>
                    <a:lnTo>
                      <a:pt x="593" y="207"/>
                    </a:lnTo>
                    <a:lnTo>
                      <a:pt x="595" y="206"/>
                    </a:lnTo>
                    <a:lnTo>
                      <a:pt x="597" y="200"/>
                    </a:lnTo>
                    <a:lnTo>
                      <a:pt x="597" y="198"/>
                    </a:lnTo>
                    <a:lnTo>
                      <a:pt x="597" y="198"/>
                    </a:lnTo>
                    <a:lnTo>
                      <a:pt x="597" y="196"/>
                    </a:lnTo>
                    <a:lnTo>
                      <a:pt x="599" y="194"/>
                    </a:lnTo>
                    <a:lnTo>
                      <a:pt x="603" y="190"/>
                    </a:lnTo>
                    <a:lnTo>
                      <a:pt x="603" y="188"/>
                    </a:lnTo>
                    <a:lnTo>
                      <a:pt x="605" y="187"/>
                    </a:lnTo>
                    <a:lnTo>
                      <a:pt x="607" y="185"/>
                    </a:lnTo>
                    <a:lnTo>
                      <a:pt x="607" y="185"/>
                    </a:lnTo>
                    <a:lnTo>
                      <a:pt x="609" y="185"/>
                    </a:lnTo>
                    <a:lnTo>
                      <a:pt x="611" y="185"/>
                    </a:lnTo>
                    <a:lnTo>
                      <a:pt x="612" y="185"/>
                    </a:lnTo>
                    <a:lnTo>
                      <a:pt x="612" y="183"/>
                    </a:lnTo>
                    <a:lnTo>
                      <a:pt x="614" y="183"/>
                    </a:lnTo>
                    <a:lnTo>
                      <a:pt x="614" y="183"/>
                    </a:lnTo>
                    <a:lnTo>
                      <a:pt x="618" y="183"/>
                    </a:lnTo>
                    <a:lnTo>
                      <a:pt x="630" y="177"/>
                    </a:lnTo>
                    <a:lnTo>
                      <a:pt x="632" y="177"/>
                    </a:lnTo>
                    <a:lnTo>
                      <a:pt x="641" y="169"/>
                    </a:lnTo>
                    <a:lnTo>
                      <a:pt x="645" y="166"/>
                    </a:lnTo>
                    <a:lnTo>
                      <a:pt x="649" y="160"/>
                    </a:lnTo>
                    <a:lnTo>
                      <a:pt x="652" y="154"/>
                    </a:lnTo>
                    <a:lnTo>
                      <a:pt x="654" y="152"/>
                    </a:lnTo>
                    <a:lnTo>
                      <a:pt x="658" y="148"/>
                    </a:lnTo>
                    <a:lnTo>
                      <a:pt x="658" y="148"/>
                    </a:lnTo>
                    <a:lnTo>
                      <a:pt x="660" y="147"/>
                    </a:lnTo>
                    <a:lnTo>
                      <a:pt x="660" y="147"/>
                    </a:lnTo>
                    <a:lnTo>
                      <a:pt x="662" y="147"/>
                    </a:lnTo>
                    <a:lnTo>
                      <a:pt x="664" y="150"/>
                    </a:lnTo>
                    <a:lnTo>
                      <a:pt x="666" y="150"/>
                    </a:lnTo>
                    <a:lnTo>
                      <a:pt x="668" y="150"/>
                    </a:lnTo>
                    <a:lnTo>
                      <a:pt x="670" y="150"/>
                    </a:lnTo>
                    <a:lnTo>
                      <a:pt x="673" y="150"/>
                    </a:lnTo>
                    <a:lnTo>
                      <a:pt x="673" y="150"/>
                    </a:lnTo>
                    <a:lnTo>
                      <a:pt x="689" y="141"/>
                    </a:lnTo>
                    <a:lnTo>
                      <a:pt x="689" y="141"/>
                    </a:lnTo>
                    <a:lnTo>
                      <a:pt x="689" y="141"/>
                    </a:lnTo>
                    <a:lnTo>
                      <a:pt x="689" y="139"/>
                    </a:lnTo>
                    <a:lnTo>
                      <a:pt x="691" y="139"/>
                    </a:lnTo>
                    <a:lnTo>
                      <a:pt x="691" y="137"/>
                    </a:lnTo>
                    <a:lnTo>
                      <a:pt x="693" y="135"/>
                    </a:lnTo>
                    <a:lnTo>
                      <a:pt x="694" y="133"/>
                    </a:lnTo>
                    <a:lnTo>
                      <a:pt x="694" y="133"/>
                    </a:lnTo>
                    <a:lnTo>
                      <a:pt x="696" y="133"/>
                    </a:lnTo>
                    <a:lnTo>
                      <a:pt x="698" y="133"/>
                    </a:lnTo>
                    <a:lnTo>
                      <a:pt x="700" y="133"/>
                    </a:lnTo>
                    <a:lnTo>
                      <a:pt x="702" y="133"/>
                    </a:lnTo>
                    <a:lnTo>
                      <a:pt x="704" y="133"/>
                    </a:lnTo>
                    <a:lnTo>
                      <a:pt x="708" y="129"/>
                    </a:lnTo>
                    <a:lnTo>
                      <a:pt x="715" y="124"/>
                    </a:lnTo>
                    <a:lnTo>
                      <a:pt x="717" y="124"/>
                    </a:lnTo>
                    <a:lnTo>
                      <a:pt x="719" y="122"/>
                    </a:lnTo>
                    <a:lnTo>
                      <a:pt x="721" y="122"/>
                    </a:lnTo>
                    <a:lnTo>
                      <a:pt x="723" y="120"/>
                    </a:lnTo>
                    <a:lnTo>
                      <a:pt x="727" y="118"/>
                    </a:lnTo>
                    <a:lnTo>
                      <a:pt x="729" y="116"/>
                    </a:lnTo>
                    <a:lnTo>
                      <a:pt x="731" y="112"/>
                    </a:lnTo>
                    <a:lnTo>
                      <a:pt x="731" y="110"/>
                    </a:lnTo>
                    <a:lnTo>
                      <a:pt x="731" y="109"/>
                    </a:lnTo>
                    <a:lnTo>
                      <a:pt x="731" y="107"/>
                    </a:lnTo>
                    <a:lnTo>
                      <a:pt x="733" y="105"/>
                    </a:lnTo>
                    <a:lnTo>
                      <a:pt x="733" y="105"/>
                    </a:lnTo>
                    <a:lnTo>
                      <a:pt x="734" y="103"/>
                    </a:lnTo>
                    <a:lnTo>
                      <a:pt x="738" y="103"/>
                    </a:lnTo>
                    <a:lnTo>
                      <a:pt x="738" y="101"/>
                    </a:lnTo>
                    <a:lnTo>
                      <a:pt x="740" y="103"/>
                    </a:lnTo>
                    <a:lnTo>
                      <a:pt x="742" y="103"/>
                    </a:lnTo>
                    <a:lnTo>
                      <a:pt x="746" y="105"/>
                    </a:lnTo>
                    <a:lnTo>
                      <a:pt x="748" y="107"/>
                    </a:lnTo>
                    <a:lnTo>
                      <a:pt x="752" y="109"/>
                    </a:lnTo>
                    <a:lnTo>
                      <a:pt x="771" y="99"/>
                    </a:lnTo>
                    <a:lnTo>
                      <a:pt x="773" y="99"/>
                    </a:lnTo>
                    <a:lnTo>
                      <a:pt x="776" y="101"/>
                    </a:lnTo>
                    <a:lnTo>
                      <a:pt x="776" y="101"/>
                    </a:lnTo>
                    <a:lnTo>
                      <a:pt x="778" y="99"/>
                    </a:lnTo>
                    <a:lnTo>
                      <a:pt x="780" y="99"/>
                    </a:lnTo>
                    <a:lnTo>
                      <a:pt x="780" y="99"/>
                    </a:lnTo>
                    <a:lnTo>
                      <a:pt x="784" y="101"/>
                    </a:lnTo>
                    <a:lnTo>
                      <a:pt x="784" y="101"/>
                    </a:lnTo>
                    <a:lnTo>
                      <a:pt x="786" y="101"/>
                    </a:lnTo>
                    <a:lnTo>
                      <a:pt x="786" y="99"/>
                    </a:lnTo>
                    <a:lnTo>
                      <a:pt x="786" y="99"/>
                    </a:lnTo>
                    <a:lnTo>
                      <a:pt x="786" y="97"/>
                    </a:lnTo>
                    <a:lnTo>
                      <a:pt x="788" y="97"/>
                    </a:lnTo>
                    <a:lnTo>
                      <a:pt x="790" y="97"/>
                    </a:lnTo>
                    <a:lnTo>
                      <a:pt x="790" y="95"/>
                    </a:lnTo>
                    <a:lnTo>
                      <a:pt x="790" y="95"/>
                    </a:lnTo>
                    <a:lnTo>
                      <a:pt x="792" y="95"/>
                    </a:lnTo>
                    <a:lnTo>
                      <a:pt x="792" y="95"/>
                    </a:lnTo>
                    <a:lnTo>
                      <a:pt x="792" y="93"/>
                    </a:lnTo>
                    <a:lnTo>
                      <a:pt x="792" y="91"/>
                    </a:lnTo>
                    <a:lnTo>
                      <a:pt x="794" y="91"/>
                    </a:lnTo>
                    <a:lnTo>
                      <a:pt x="794" y="91"/>
                    </a:lnTo>
                    <a:lnTo>
                      <a:pt x="796" y="89"/>
                    </a:lnTo>
                    <a:lnTo>
                      <a:pt x="796" y="89"/>
                    </a:lnTo>
                    <a:lnTo>
                      <a:pt x="797" y="89"/>
                    </a:lnTo>
                    <a:lnTo>
                      <a:pt x="797" y="88"/>
                    </a:lnTo>
                    <a:lnTo>
                      <a:pt x="797" y="88"/>
                    </a:lnTo>
                    <a:lnTo>
                      <a:pt x="797" y="84"/>
                    </a:lnTo>
                    <a:lnTo>
                      <a:pt x="797" y="82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5" name="Freeform 37">
                <a:extLst>
                  <a:ext uri="{FF2B5EF4-FFF2-40B4-BE49-F238E27FC236}">
                    <a16:creationId xmlns:a16="http://schemas.microsoft.com/office/drawing/2014/main" id="{7F062741-94B5-46B4-AC4D-D96481C3E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8332" y="3270724"/>
                <a:ext cx="1152525" cy="612775"/>
              </a:xfrm>
              <a:custGeom>
                <a:avLst/>
                <a:gdLst>
                  <a:gd name="T0" fmla="*/ 705 w 726"/>
                  <a:gd name="T1" fmla="*/ 150 h 386"/>
                  <a:gd name="T2" fmla="*/ 659 w 726"/>
                  <a:gd name="T3" fmla="*/ 128 h 386"/>
                  <a:gd name="T4" fmla="*/ 614 w 726"/>
                  <a:gd name="T5" fmla="*/ 114 h 386"/>
                  <a:gd name="T6" fmla="*/ 612 w 726"/>
                  <a:gd name="T7" fmla="*/ 57 h 386"/>
                  <a:gd name="T8" fmla="*/ 581 w 726"/>
                  <a:gd name="T9" fmla="*/ 32 h 386"/>
                  <a:gd name="T10" fmla="*/ 585 w 726"/>
                  <a:gd name="T11" fmla="*/ 17 h 386"/>
                  <a:gd name="T12" fmla="*/ 526 w 726"/>
                  <a:gd name="T13" fmla="*/ 4 h 386"/>
                  <a:gd name="T14" fmla="*/ 499 w 726"/>
                  <a:gd name="T15" fmla="*/ 21 h 386"/>
                  <a:gd name="T16" fmla="*/ 482 w 726"/>
                  <a:gd name="T17" fmla="*/ 27 h 386"/>
                  <a:gd name="T18" fmla="*/ 455 w 726"/>
                  <a:gd name="T19" fmla="*/ 38 h 386"/>
                  <a:gd name="T20" fmla="*/ 425 w 726"/>
                  <a:gd name="T21" fmla="*/ 34 h 386"/>
                  <a:gd name="T22" fmla="*/ 383 w 726"/>
                  <a:gd name="T23" fmla="*/ 8 h 386"/>
                  <a:gd name="T24" fmla="*/ 347 w 726"/>
                  <a:gd name="T25" fmla="*/ 31 h 386"/>
                  <a:gd name="T26" fmla="*/ 314 w 726"/>
                  <a:gd name="T27" fmla="*/ 69 h 386"/>
                  <a:gd name="T28" fmla="*/ 293 w 726"/>
                  <a:gd name="T29" fmla="*/ 80 h 386"/>
                  <a:gd name="T30" fmla="*/ 265 w 726"/>
                  <a:gd name="T31" fmla="*/ 95 h 386"/>
                  <a:gd name="T32" fmla="*/ 206 w 726"/>
                  <a:gd name="T33" fmla="*/ 118 h 386"/>
                  <a:gd name="T34" fmla="*/ 165 w 726"/>
                  <a:gd name="T35" fmla="*/ 160 h 386"/>
                  <a:gd name="T36" fmla="*/ 150 w 726"/>
                  <a:gd name="T37" fmla="*/ 168 h 386"/>
                  <a:gd name="T38" fmla="*/ 139 w 726"/>
                  <a:gd name="T39" fmla="*/ 196 h 386"/>
                  <a:gd name="T40" fmla="*/ 112 w 726"/>
                  <a:gd name="T41" fmla="*/ 217 h 386"/>
                  <a:gd name="T42" fmla="*/ 95 w 726"/>
                  <a:gd name="T43" fmla="*/ 219 h 386"/>
                  <a:gd name="T44" fmla="*/ 82 w 726"/>
                  <a:gd name="T45" fmla="*/ 219 h 386"/>
                  <a:gd name="T46" fmla="*/ 42 w 726"/>
                  <a:gd name="T47" fmla="*/ 232 h 386"/>
                  <a:gd name="T48" fmla="*/ 7 w 726"/>
                  <a:gd name="T49" fmla="*/ 265 h 386"/>
                  <a:gd name="T50" fmla="*/ 36 w 726"/>
                  <a:gd name="T51" fmla="*/ 274 h 386"/>
                  <a:gd name="T52" fmla="*/ 57 w 726"/>
                  <a:gd name="T53" fmla="*/ 303 h 386"/>
                  <a:gd name="T54" fmla="*/ 51 w 726"/>
                  <a:gd name="T55" fmla="*/ 322 h 386"/>
                  <a:gd name="T56" fmla="*/ 93 w 726"/>
                  <a:gd name="T57" fmla="*/ 346 h 386"/>
                  <a:gd name="T58" fmla="*/ 146 w 726"/>
                  <a:gd name="T59" fmla="*/ 327 h 386"/>
                  <a:gd name="T60" fmla="*/ 225 w 726"/>
                  <a:gd name="T61" fmla="*/ 337 h 386"/>
                  <a:gd name="T62" fmla="*/ 268 w 726"/>
                  <a:gd name="T63" fmla="*/ 333 h 386"/>
                  <a:gd name="T64" fmla="*/ 284 w 726"/>
                  <a:gd name="T65" fmla="*/ 308 h 386"/>
                  <a:gd name="T66" fmla="*/ 335 w 726"/>
                  <a:gd name="T67" fmla="*/ 259 h 386"/>
                  <a:gd name="T68" fmla="*/ 337 w 726"/>
                  <a:gd name="T69" fmla="*/ 247 h 386"/>
                  <a:gd name="T70" fmla="*/ 373 w 726"/>
                  <a:gd name="T71" fmla="*/ 249 h 386"/>
                  <a:gd name="T72" fmla="*/ 467 w 726"/>
                  <a:gd name="T73" fmla="*/ 209 h 386"/>
                  <a:gd name="T74" fmla="*/ 503 w 726"/>
                  <a:gd name="T75" fmla="*/ 206 h 386"/>
                  <a:gd name="T76" fmla="*/ 528 w 726"/>
                  <a:gd name="T77" fmla="*/ 232 h 386"/>
                  <a:gd name="T78" fmla="*/ 535 w 726"/>
                  <a:gd name="T79" fmla="*/ 253 h 386"/>
                  <a:gd name="T80" fmla="*/ 541 w 726"/>
                  <a:gd name="T81" fmla="*/ 276 h 386"/>
                  <a:gd name="T82" fmla="*/ 551 w 726"/>
                  <a:gd name="T83" fmla="*/ 272 h 386"/>
                  <a:gd name="T84" fmla="*/ 553 w 726"/>
                  <a:gd name="T85" fmla="*/ 287 h 386"/>
                  <a:gd name="T86" fmla="*/ 545 w 726"/>
                  <a:gd name="T87" fmla="*/ 295 h 386"/>
                  <a:gd name="T88" fmla="*/ 530 w 726"/>
                  <a:gd name="T89" fmla="*/ 295 h 386"/>
                  <a:gd name="T90" fmla="*/ 490 w 726"/>
                  <a:gd name="T91" fmla="*/ 303 h 386"/>
                  <a:gd name="T92" fmla="*/ 467 w 726"/>
                  <a:gd name="T93" fmla="*/ 325 h 386"/>
                  <a:gd name="T94" fmla="*/ 453 w 726"/>
                  <a:gd name="T95" fmla="*/ 337 h 386"/>
                  <a:gd name="T96" fmla="*/ 455 w 726"/>
                  <a:gd name="T97" fmla="*/ 354 h 386"/>
                  <a:gd name="T98" fmla="*/ 457 w 726"/>
                  <a:gd name="T99" fmla="*/ 375 h 386"/>
                  <a:gd name="T100" fmla="*/ 492 w 726"/>
                  <a:gd name="T101" fmla="*/ 363 h 386"/>
                  <a:gd name="T102" fmla="*/ 518 w 726"/>
                  <a:gd name="T103" fmla="*/ 348 h 386"/>
                  <a:gd name="T104" fmla="*/ 574 w 726"/>
                  <a:gd name="T105" fmla="*/ 301 h 386"/>
                  <a:gd name="T106" fmla="*/ 633 w 726"/>
                  <a:gd name="T107" fmla="*/ 287 h 386"/>
                  <a:gd name="T108" fmla="*/ 654 w 726"/>
                  <a:gd name="T109" fmla="*/ 291 h 386"/>
                  <a:gd name="T110" fmla="*/ 682 w 726"/>
                  <a:gd name="T111" fmla="*/ 322 h 386"/>
                  <a:gd name="T112" fmla="*/ 696 w 726"/>
                  <a:gd name="T113" fmla="*/ 324 h 386"/>
                  <a:gd name="T114" fmla="*/ 669 w 726"/>
                  <a:gd name="T115" fmla="*/ 278 h 386"/>
                  <a:gd name="T116" fmla="*/ 663 w 726"/>
                  <a:gd name="T117" fmla="*/ 251 h 386"/>
                  <a:gd name="T118" fmla="*/ 688 w 726"/>
                  <a:gd name="T119" fmla="*/ 230 h 386"/>
                  <a:gd name="T120" fmla="*/ 705 w 726"/>
                  <a:gd name="T121" fmla="*/ 213 h 386"/>
                  <a:gd name="T122" fmla="*/ 722 w 726"/>
                  <a:gd name="T123" fmla="*/ 20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26" h="386">
                    <a:moveTo>
                      <a:pt x="724" y="192"/>
                    </a:moveTo>
                    <a:lnTo>
                      <a:pt x="719" y="185"/>
                    </a:lnTo>
                    <a:lnTo>
                      <a:pt x="717" y="181"/>
                    </a:lnTo>
                    <a:lnTo>
                      <a:pt x="719" y="177"/>
                    </a:lnTo>
                    <a:lnTo>
                      <a:pt x="722" y="168"/>
                    </a:lnTo>
                    <a:lnTo>
                      <a:pt x="720" y="164"/>
                    </a:lnTo>
                    <a:lnTo>
                      <a:pt x="717" y="162"/>
                    </a:lnTo>
                    <a:lnTo>
                      <a:pt x="709" y="156"/>
                    </a:lnTo>
                    <a:lnTo>
                      <a:pt x="707" y="154"/>
                    </a:lnTo>
                    <a:lnTo>
                      <a:pt x="707" y="150"/>
                    </a:lnTo>
                    <a:lnTo>
                      <a:pt x="705" y="150"/>
                    </a:lnTo>
                    <a:lnTo>
                      <a:pt x="705" y="150"/>
                    </a:lnTo>
                    <a:lnTo>
                      <a:pt x="703" y="150"/>
                    </a:lnTo>
                    <a:lnTo>
                      <a:pt x="696" y="143"/>
                    </a:lnTo>
                    <a:lnTo>
                      <a:pt x="690" y="141"/>
                    </a:lnTo>
                    <a:lnTo>
                      <a:pt x="684" y="145"/>
                    </a:lnTo>
                    <a:lnTo>
                      <a:pt x="680" y="147"/>
                    </a:lnTo>
                    <a:lnTo>
                      <a:pt x="677" y="148"/>
                    </a:lnTo>
                    <a:lnTo>
                      <a:pt x="673" y="147"/>
                    </a:lnTo>
                    <a:lnTo>
                      <a:pt x="667" y="145"/>
                    </a:lnTo>
                    <a:lnTo>
                      <a:pt x="665" y="133"/>
                    </a:lnTo>
                    <a:lnTo>
                      <a:pt x="659" y="128"/>
                    </a:lnTo>
                    <a:lnTo>
                      <a:pt x="652" y="122"/>
                    </a:lnTo>
                    <a:lnTo>
                      <a:pt x="642" y="110"/>
                    </a:lnTo>
                    <a:lnTo>
                      <a:pt x="631" y="109"/>
                    </a:lnTo>
                    <a:lnTo>
                      <a:pt x="625" y="112"/>
                    </a:lnTo>
                    <a:lnTo>
                      <a:pt x="621" y="120"/>
                    </a:lnTo>
                    <a:lnTo>
                      <a:pt x="619" y="126"/>
                    </a:lnTo>
                    <a:lnTo>
                      <a:pt x="619" y="133"/>
                    </a:lnTo>
                    <a:lnTo>
                      <a:pt x="617" y="135"/>
                    </a:lnTo>
                    <a:lnTo>
                      <a:pt x="614" y="126"/>
                    </a:lnTo>
                    <a:lnTo>
                      <a:pt x="608" y="122"/>
                    </a:lnTo>
                    <a:lnTo>
                      <a:pt x="614" y="114"/>
                    </a:lnTo>
                    <a:lnTo>
                      <a:pt x="610" y="109"/>
                    </a:lnTo>
                    <a:lnTo>
                      <a:pt x="617" y="103"/>
                    </a:lnTo>
                    <a:lnTo>
                      <a:pt x="629" y="93"/>
                    </a:lnTo>
                    <a:lnTo>
                      <a:pt x="629" y="88"/>
                    </a:lnTo>
                    <a:lnTo>
                      <a:pt x="627" y="80"/>
                    </a:lnTo>
                    <a:lnTo>
                      <a:pt x="621" y="72"/>
                    </a:lnTo>
                    <a:lnTo>
                      <a:pt x="619" y="69"/>
                    </a:lnTo>
                    <a:lnTo>
                      <a:pt x="617" y="63"/>
                    </a:lnTo>
                    <a:lnTo>
                      <a:pt x="617" y="59"/>
                    </a:lnTo>
                    <a:lnTo>
                      <a:pt x="614" y="57"/>
                    </a:lnTo>
                    <a:lnTo>
                      <a:pt x="612" y="57"/>
                    </a:lnTo>
                    <a:lnTo>
                      <a:pt x="612" y="57"/>
                    </a:lnTo>
                    <a:lnTo>
                      <a:pt x="612" y="55"/>
                    </a:lnTo>
                    <a:lnTo>
                      <a:pt x="612" y="53"/>
                    </a:lnTo>
                    <a:lnTo>
                      <a:pt x="600" y="48"/>
                    </a:lnTo>
                    <a:lnTo>
                      <a:pt x="598" y="38"/>
                    </a:lnTo>
                    <a:lnTo>
                      <a:pt x="591" y="42"/>
                    </a:lnTo>
                    <a:lnTo>
                      <a:pt x="579" y="50"/>
                    </a:lnTo>
                    <a:lnTo>
                      <a:pt x="577" y="36"/>
                    </a:lnTo>
                    <a:lnTo>
                      <a:pt x="577" y="34"/>
                    </a:lnTo>
                    <a:lnTo>
                      <a:pt x="579" y="32"/>
                    </a:lnTo>
                    <a:lnTo>
                      <a:pt x="581" y="32"/>
                    </a:lnTo>
                    <a:lnTo>
                      <a:pt x="595" y="29"/>
                    </a:lnTo>
                    <a:lnTo>
                      <a:pt x="596" y="27"/>
                    </a:lnTo>
                    <a:lnTo>
                      <a:pt x="598" y="23"/>
                    </a:lnTo>
                    <a:lnTo>
                      <a:pt x="600" y="17"/>
                    </a:lnTo>
                    <a:lnTo>
                      <a:pt x="600" y="15"/>
                    </a:lnTo>
                    <a:lnTo>
                      <a:pt x="598" y="13"/>
                    </a:lnTo>
                    <a:lnTo>
                      <a:pt x="596" y="13"/>
                    </a:lnTo>
                    <a:lnTo>
                      <a:pt x="595" y="13"/>
                    </a:lnTo>
                    <a:lnTo>
                      <a:pt x="593" y="15"/>
                    </a:lnTo>
                    <a:lnTo>
                      <a:pt x="589" y="17"/>
                    </a:lnTo>
                    <a:lnTo>
                      <a:pt x="585" y="17"/>
                    </a:lnTo>
                    <a:lnTo>
                      <a:pt x="581" y="15"/>
                    </a:lnTo>
                    <a:lnTo>
                      <a:pt x="577" y="11"/>
                    </a:lnTo>
                    <a:lnTo>
                      <a:pt x="575" y="10"/>
                    </a:lnTo>
                    <a:lnTo>
                      <a:pt x="574" y="2"/>
                    </a:lnTo>
                    <a:lnTo>
                      <a:pt x="572" y="0"/>
                    </a:lnTo>
                    <a:lnTo>
                      <a:pt x="564" y="0"/>
                    </a:lnTo>
                    <a:lnTo>
                      <a:pt x="556" y="0"/>
                    </a:lnTo>
                    <a:lnTo>
                      <a:pt x="549" y="2"/>
                    </a:lnTo>
                    <a:lnTo>
                      <a:pt x="537" y="6"/>
                    </a:lnTo>
                    <a:lnTo>
                      <a:pt x="530" y="2"/>
                    </a:lnTo>
                    <a:lnTo>
                      <a:pt x="526" y="4"/>
                    </a:lnTo>
                    <a:lnTo>
                      <a:pt x="522" y="4"/>
                    </a:lnTo>
                    <a:lnTo>
                      <a:pt x="524" y="13"/>
                    </a:lnTo>
                    <a:lnTo>
                      <a:pt x="520" y="21"/>
                    </a:lnTo>
                    <a:lnTo>
                      <a:pt x="511" y="19"/>
                    </a:lnTo>
                    <a:lnTo>
                      <a:pt x="503" y="17"/>
                    </a:lnTo>
                    <a:lnTo>
                      <a:pt x="503" y="17"/>
                    </a:lnTo>
                    <a:lnTo>
                      <a:pt x="501" y="17"/>
                    </a:lnTo>
                    <a:lnTo>
                      <a:pt x="499" y="17"/>
                    </a:lnTo>
                    <a:lnTo>
                      <a:pt x="499" y="19"/>
                    </a:lnTo>
                    <a:lnTo>
                      <a:pt x="499" y="19"/>
                    </a:lnTo>
                    <a:lnTo>
                      <a:pt x="499" y="21"/>
                    </a:lnTo>
                    <a:lnTo>
                      <a:pt x="499" y="23"/>
                    </a:lnTo>
                    <a:lnTo>
                      <a:pt x="493" y="23"/>
                    </a:lnTo>
                    <a:lnTo>
                      <a:pt x="493" y="25"/>
                    </a:lnTo>
                    <a:lnTo>
                      <a:pt x="495" y="29"/>
                    </a:lnTo>
                    <a:lnTo>
                      <a:pt x="495" y="32"/>
                    </a:lnTo>
                    <a:lnTo>
                      <a:pt x="493" y="34"/>
                    </a:lnTo>
                    <a:lnTo>
                      <a:pt x="490" y="32"/>
                    </a:lnTo>
                    <a:lnTo>
                      <a:pt x="488" y="34"/>
                    </a:lnTo>
                    <a:lnTo>
                      <a:pt x="486" y="31"/>
                    </a:lnTo>
                    <a:lnTo>
                      <a:pt x="486" y="27"/>
                    </a:lnTo>
                    <a:lnTo>
                      <a:pt x="482" y="27"/>
                    </a:lnTo>
                    <a:lnTo>
                      <a:pt x="480" y="34"/>
                    </a:lnTo>
                    <a:lnTo>
                      <a:pt x="476" y="32"/>
                    </a:lnTo>
                    <a:lnTo>
                      <a:pt x="469" y="32"/>
                    </a:lnTo>
                    <a:lnTo>
                      <a:pt x="463" y="36"/>
                    </a:lnTo>
                    <a:lnTo>
                      <a:pt x="465" y="46"/>
                    </a:lnTo>
                    <a:lnTo>
                      <a:pt x="457" y="44"/>
                    </a:lnTo>
                    <a:lnTo>
                      <a:pt x="457" y="44"/>
                    </a:lnTo>
                    <a:lnTo>
                      <a:pt x="455" y="42"/>
                    </a:lnTo>
                    <a:lnTo>
                      <a:pt x="455" y="40"/>
                    </a:lnTo>
                    <a:lnTo>
                      <a:pt x="455" y="40"/>
                    </a:lnTo>
                    <a:lnTo>
                      <a:pt x="455" y="38"/>
                    </a:lnTo>
                    <a:lnTo>
                      <a:pt x="453" y="38"/>
                    </a:lnTo>
                    <a:lnTo>
                      <a:pt x="444" y="36"/>
                    </a:lnTo>
                    <a:lnTo>
                      <a:pt x="442" y="36"/>
                    </a:lnTo>
                    <a:lnTo>
                      <a:pt x="436" y="32"/>
                    </a:lnTo>
                    <a:lnTo>
                      <a:pt x="429" y="31"/>
                    </a:lnTo>
                    <a:lnTo>
                      <a:pt x="427" y="31"/>
                    </a:lnTo>
                    <a:lnTo>
                      <a:pt x="423" y="29"/>
                    </a:lnTo>
                    <a:lnTo>
                      <a:pt x="425" y="31"/>
                    </a:lnTo>
                    <a:lnTo>
                      <a:pt x="427" y="34"/>
                    </a:lnTo>
                    <a:lnTo>
                      <a:pt x="429" y="34"/>
                    </a:lnTo>
                    <a:lnTo>
                      <a:pt x="425" y="34"/>
                    </a:lnTo>
                    <a:lnTo>
                      <a:pt x="415" y="29"/>
                    </a:lnTo>
                    <a:lnTo>
                      <a:pt x="411" y="29"/>
                    </a:lnTo>
                    <a:lnTo>
                      <a:pt x="406" y="29"/>
                    </a:lnTo>
                    <a:lnTo>
                      <a:pt x="404" y="29"/>
                    </a:lnTo>
                    <a:lnTo>
                      <a:pt x="402" y="29"/>
                    </a:lnTo>
                    <a:lnTo>
                      <a:pt x="400" y="27"/>
                    </a:lnTo>
                    <a:lnTo>
                      <a:pt x="400" y="21"/>
                    </a:lnTo>
                    <a:lnTo>
                      <a:pt x="398" y="19"/>
                    </a:lnTo>
                    <a:lnTo>
                      <a:pt x="392" y="11"/>
                    </a:lnTo>
                    <a:lnTo>
                      <a:pt x="389" y="8"/>
                    </a:lnTo>
                    <a:lnTo>
                      <a:pt x="383" y="8"/>
                    </a:lnTo>
                    <a:lnTo>
                      <a:pt x="379" y="8"/>
                    </a:lnTo>
                    <a:lnTo>
                      <a:pt x="377" y="10"/>
                    </a:lnTo>
                    <a:lnTo>
                      <a:pt x="370" y="19"/>
                    </a:lnTo>
                    <a:lnTo>
                      <a:pt x="368" y="21"/>
                    </a:lnTo>
                    <a:lnTo>
                      <a:pt x="366" y="21"/>
                    </a:lnTo>
                    <a:lnTo>
                      <a:pt x="364" y="23"/>
                    </a:lnTo>
                    <a:lnTo>
                      <a:pt x="356" y="23"/>
                    </a:lnTo>
                    <a:lnTo>
                      <a:pt x="354" y="23"/>
                    </a:lnTo>
                    <a:lnTo>
                      <a:pt x="350" y="25"/>
                    </a:lnTo>
                    <a:lnTo>
                      <a:pt x="349" y="27"/>
                    </a:lnTo>
                    <a:lnTo>
                      <a:pt x="347" y="31"/>
                    </a:lnTo>
                    <a:lnTo>
                      <a:pt x="347" y="31"/>
                    </a:lnTo>
                    <a:lnTo>
                      <a:pt x="345" y="32"/>
                    </a:lnTo>
                    <a:lnTo>
                      <a:pt x="339" y="31"/>
                    </a:lnTo>
                    <a:lnTo>
                      <a:pt x="337" y="38"/>
                    </a:lnTo>
                    <a:lnTo>
                      <a:pt x="343" y="44"/>
                    </a:lnTo>
                    <a:lnTo>
                      <a:pt x="347" y="50"/>
                    </a:lnTo>
                    <a:lnTo>
                      <a:pt x="341" y="55"/>
                    </a:lnTo>
                    <a:lnTo>
                      <a:pt x="335" y="63"/>
                    </a:lnTo>
                    <a:lnTo>
                      <a:pt x="326" y="63"/>
                    </a:lnTo>
                    <a:lnTo>
                      <a:pt x="320" y="67"/>
                    </a:lnTo>
                    <a:lnTo>
                      <a:pt x="314" y="69"/>
                    </a:lnTo>
                    <a:lnTo>
                      <a:pt x="307" y="72"/>
                    </a:lnTo>
                    <a:lnTo>
                      <a:pt x="305" y="74"/>
                    </a:lnTo>
                    <a:lnTo>
                      <a:pt x="303" y="74"/>
                    </a:lnTo>
                    <a:lnTo>
                      <a:pt x="301" y="76"/>
                    </a:lnTo>
                    <a:lnTo>
                      <a:pt x="299" y="76"/>
                    </a:lnTo>
                    <a:lnTo>
                      <a:pt x="297" y="76"/>
                    </a:lnTo>
                    <a:lnTo>
                      <a:pt x="293" y="76"/>
                    </a:lnTo>
                    <a:lnTo>
                      <a:pt x="291" y="78"/>
                    </a:lnTo>
                    <a:lnTo>
                      <a:pt x="291" y="78"/>
                    </a:lnTo>
                    <a:lnTo>
                      <a:pt x="293" y="80"/>
                    </a:lnTo>
                    <a:lnTo>
                      <a:pt x="293" y="80"/>
                    </a:lnTo>
                    <a:lnTo>
                      <a:pt x="293" y="82"/>
                    </a:lnTo>
                    <a:lnTo>
                      <a:pt x="291" y="82"/>
                    </a:lnTo>
                    <a:lnTo>
                      <a:pt x="289" y="82"/>
                    </a:lnTo>
                    <a:lnTo>
                      <a:pt x="289" y="82"/>
                    </a:lnTo>
                    <a:lnTo>
                      <a:pt x="288" y="84"/>
                    </a:lnTo>
                    <a:lnTo>
                      <a:pt x="288" y="84"/>
                    </a:lnTo>
                    <a:lnTo>
                      <a:pt x="280" y="88"/>
                    </a:lnTo>
                    <a:lnTo>
                      <a:pt x="278" y="88"/>
                    </a:lnTo>
                    <a:lnTo>
                      <a:pt x="268" y="95"/>
                    </a:lnTo>
                    <a:lnTo>
                      <a:pt x="267" y="97"/>
                    </a:lnTo>
                    <a:lnTo>
                      <a:pt x="265" y="95"/>
                    </a:lnTo>
                    <a:lnTo>
                      <a:pt x="263" y="95"/>
                    </a:lnTo>
                    <a:lnTo>
                      <a:pt x="261" y="97"/>
                    </a:lnTo>
                    <a:lnTo>
                      <a:pt x="259" y="99"/>
                    </a:lnTo>
                    <a:lnTo>
                      <a:pt x="257" y="99"/>
                    </a:lnTo>
                    <a:lnTo>
                      <a:pt x="255" y="99"/>
                    </a:lnTo>
                    <a:lnTo>
                      <a:pt x="247" y="99"/>
                    </a:lnTo>
                    <a:lnTo>
                      <a:pt x="234" y="99"/>
                    </a:lnTo>
                    <a:lnTo>
                      <a:pt x="223" y="107"/>
                    </a:lnTo>
                    <a:lnTo>
                      <a:pt x="219" y="109"/>
                    </a:lnTo>
                    <a:lnTo>
                      <a:pt x="211" y="114"/>
                    </a:lnTo>
                    <a:lnTo>
                      <a:pt x="206" y="118"/>
                    </a:lnTo>
                    <a:lnTo>
                      <a:pt x="202" y="122"/>
                    </a:lnTo>
                    <a:lnTo>
                      <a:pt x="198" y="124"/>
                    </a:lnTo>
                    <a:lnTo>
                      <a:pt x="198" y="129"/>
                    </a:lnTo>
                    <a:lnTo>
                      <a:pt x="196" y="135"/>
                    </a:lnTo>
                    <a:lnTo>
                      <a:pt x="192" y="139"/>
                    </a:lnTo>
                    <a:lnTo>
                      <a:pt x="190" y="143"/>
                    </a:lnTo>
                    <a:lnTo>
                      <a:pt x="179" y="150"/>
                    </a:lnTo>
                    <a:lnTo>
                      <a:pt x="175" y="154"/>
                    </a:lnTo>
                    <a:lnTo>
                      <a:pt x="173" y="156"/>
                    </a:lnTo>
                    <a:lnTo>
                      <a:pt x="169" y="158"/>
                    </a:lnTo>
                    <a:lnTo>
                      <a:pt x="165" y="160"/>
                    </a:lnTo>
                    <a:lnTo>
                      <a:pt x="165" y="162"/>
                    </a:lnTo>
                    <a:lnTo>
                      <a:pt x="162" y="166"/>
                    </a:lnTo>
                    <a:lnTo>
                      <a:pt x="160" y="168"/>
                    </a:lnTo>
                    <a:lnTo>
                      <a:pt x="158" y="169"/>
                    </a:lnTo>
                    <a:lnTo>
                      <a:pt x="156" y="169"/>
                    </a:lnTo>
                    <a:lnTo>
                      <a:pt x="154" y="169"/>
                    </a:lnTo>
                    <a:lnTo>
                      <a:pt x="152" y="169"/>
                    </a:lnTo>
                    <a:lnTo>
                      <a:pt x="152" y="169"/>
                    </a:lnTo>
                    <a:lnTo>
                      <a:pt x="152" y="168"/>
                    </a:lnTo>
                    <a:lnTo>
                      <a:pt x="150" y="168"/>
                    </a:lnTo>
                    <a:lnTo>
                      <a:pt x="150" y="168"/>
                    </a:lnTo>
                    <a:lnTo>
                      <a:pt x="143" y="173"/>
                    </a:lnTo>
                    <a:lnTo>
                      <a:pt x="139" y="177"/>
                    </a:lnTo>
                    <a:lnTo>
                      <a:pt x="135" y="181"/>
                    </a:lnTo>
                    <a:lnTo>
                      <a:pt x="133" y="185"/>
                    </a:lnTo>
                    <a:lnTo>
                      <a:pt x="133" y="187"/>
                    </a:lnTo>
                    <a:lnTo>
                      <a:pt x="135" y="188"/>
                    </a:lnTo>
                    <a:lnTo>
                      <a:pt x="139" y="188"/>
                    </a:lnTo>
                    <a:lnTo>
                      <a:pt x="141" y="190"/>
                    </a:lnTo>
                    <a:lnTo>
                      <a:pt x="141" y="192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39" y="200"/>
                    </a:lnTo>
                    <a:lnTo>
                      <a:pt x="137" y="204"/>
                    </a:lnTo>
                    <a:lnTo>
                      <a:pt x="131" y="207"/>
                    </a:lnTo>
                    <a:lnTo>
                      <a:pt x="129" y="209"/>
                    </a:lnTo>
                    <a:lnTo>
                      <a:pt x="125" y="209"/>
                    </a:lnTo>
                    <a:lnTo>
                      <a:pt x="124" y="209"/>
                    </a:lnTo>
                    <a:lnTo>
                      <a:pt x="120" y="213"/>
                    </a:lnTo>
                    <a:lnTo>
                      <a:pt x="118" y="215"/>
                    </a:lnTo>
                    <a:lnTo>
                      <a:pt x="112" y="217"/>
                    </a:lnTo>
                    <a:lnTo>
                      <a:pt x="108" y="221"/>
                    </a:lnTo>
                    <a:lnTo>
                      <a:pt x="106" y="221"/>
                    </a:lnTo>
                    <a:lnTo>
                      <a:pt x="104" y="219"/>
                    </a:lnTo>
                    <a:lnTo>
                      <a:pt x="104" y="215"/>
                    </a:lnTo>
                    <a:lnTo>
                      <a:pt x="103" y="215"/>
                    </a:lnTo>
                    <a:lnTo>
                      <a:pt x="101" y="217"/>
                    </a:lnTo>
                    <a:lnTo>
                      <a:pt x="101" y="221"/>
                    </a:lnTo>
                    <a:lnTo>
                      <a:pt x="99" y="223"/>
                    </a:lnTo>
                    <a:lnTo>
                      <a:pt x="97" y="223"/>
                    </a:lnTo>
                    <a:lnTo>
                      <a:pt x="95" y="221"/>
                    </a:lnTo>
                    <a:lnTo>
                      <a:pt x="95" y="219"/>
                    </a:lnTo>
                    <a:lnTo>
                      <a:pt x="95" y="219"/>
                    </a:lnTo>
                    <a:lnTo>
                      <a:pt x="93" y="223"/>
                    </a:lnTo>
                    <a:lnTo>
                      <a:pt x="91" y="225"/>
                    </a:lnTo>
                    <a:lnTo>
                      <a:pt x="89" y="225"/>
                    </a:lnTo>
                    <a:lnTo>
                      <a:pt x="87" y="221"/>
                    </a:lnTo>
                    <a:lnTo>
                      <a:pt x="85" y="217"/>
                    </a:lnTo>
                    <a:lnTo>
                      <a:pt x="83" y="215"/>
                    </a:lnTo>
                    <a:lnTo>
                      <a:pt x="83" y="213"/>
                    </a:lnTo>
                    <a:lnTo>
                      <a:pt x="82" y="217"/>
                    </a:lnTo>
                    <a:lnTo>
                      <a:pt x="82" y="217"/>
                    </a:lnTo>
                    <a:lnTo>
                      <a:pt x="82" y="219"/>
                    </a:lnTo>
                    <a:lnTo>
                      <a:pt x="82" y="221"/>
                    </a:lnTo>
                    <a:lnTo>
                      <a:pt x="82" y="223"/>
                    </a:lnTo>
                    <a:lnTo>
                      <a:pt x="82" y="223"/>
                    </a:lnTo>
                    <a:lnTo>
                      <a:pt x="80" y="223"/>
                    </a:lnTo>
                    <a:lnTo>
                      <a:pt x="68" y="221"/>
                    </a:lnTo>
                    <a:lnTo>
                      <a:pt x="66" y="223"/>
                    </a:lnTo>
                    <a:lnTo>
                      <a:pt x="63" y="225"/>
                    </a:lnTo>
                    <a:lnTo>
                      <a:pt x="55" y="232"/>
                    </a:lnTo>
                    <a:lnTo>
                      <a:pt x="49" y="234"/>
                    </a:lnTo>
                    <a:lnTo>
                      <a:pt x="47" y="234"/>
                    </a:lnTo>
                    <a:lnTo>
                      <a:pt x="42" y="232"/>
                    </a:lnTo>
                    <a:lnTo>
                      <a:pt x="36" y="234"/>
                    </a:lnTo>
                    <a:lnTo>
                      <a:pt x="34" y="232"/>
                    </a:lnTo>
                    <a:lnTo>
                      <a:pt x="30" y="230"/>
                    </a:lnTo>
                    <a:lnTo>
                      <a:pt x="24" y="228"/>
                    </a:lnTo>
                    <a:lnTo>
                      <a:pt x="7" y="228"/>
                    </a:lnTo>
                    <a:lnTo>
                      <a:pt x="5" y="236"/>
                    </a:lnTo>
                    <a:lnTo>
                      <a:pt x="0" y="244"/>
                    </a:lnTo>
                    <a:lnTo>
                      <a:pt x="0" y="249"/>
                    </a:lnTo>
                    <a:lnTo>
                      <a:pt x="1" y="259"/>
                    </a:lnTo>
                    <a:lnTo>
                      <a:pt x="3" y="261"/>
                    </a:lnTo>
                    <a:lnTo>
                      <a:pt x="7" y="265"/>
                    </a:lnTo>
                    <a:lnTo>
                      <a:pt x="7" y="266"/>
                    </a:lnTo>
                    <a:lnTo>
                      <a:pt x="9" y="268"/>
                    </a:lnTo>
                    <a:lnTo>
                      <a:pt x="13" y="270"/>
                    </a:lnTo>
                    <a:lnTo>
                      <a:pt x="17" y="270"/>
                    </a:lnTo>
                    <a:lnTo>
                      <a:pt x="19" y="272"/>
                    </a:lnTo>
                    <a:lnTo>
                      <a:pt x="19" y="272"/>
                    </a:lnTo>
                    <a:lnTo>
                      <a:pt x="21" y="274"/>
                    </a:lnTo>
                    <a:lnTo>
                      <a:pt x="21" y="276"/>
                    </a:lnTo>
                    <a:lnTo>
                      <a:pt x="22" y="278"/>
                    </a:lnTo>
                    <a:lnTo>
                      <a:pt x="26" y="278"/>
                    </a:lnTo>
                    <a:lnTo>
                      <a:pt x="36" y="274"/>
                    </a:lnTo>
                    <a:lnTo>
                      <a:pt x="38" y="274"/>
                    </a:lnTo>
                    <a:lnTo>
                      <a:pt x="43" y="274"/>
                    </a:lnTo>
                    <a:lnTo>
                      <a:pt x="45" y="272"/>
                    </a:lnTo>
                    <a:lnTo>
                      <a:pt x="49" y="270"/>
                    </a:lnTo>
                    <a:lnTo>
                      <a:pt x="49" y="270"/>
                    </a:lnTo>
                    <a:lnTo>
                      <a:pt x="53" y="272"/>
                    </a:lnTo>
                    <a:lnTo>
                      <a:pt x="64" y="293"/>
                    </a:lnTo>
                    <a:lnTo>
                      <a:pt x="64" y="295"/>
                    </a:lnTo>
                    <a:lnTo>
                      <a:pt x="63" y="297"/>
                    </a:lnTo>
                    <a:lnTo>
                      <a:pt x="59" y="301"/>
                    </a:lnTo>
                    <a:lnTo>
                      <a:pt x="57" y="303"/>
                    </a:lnTo>
                    <a:lnTo>
                      <a:pt x="57" y="305"/>
                    </a:lnTo>
                    <a:lnTo>
                      <a:pt x="57" y="306"/>
                    </a:lnTo>
                    <a:lnTo>
                      <a:pt x="57" y="308"/>
                    </a:lnTo>
                    <a:lnTo>
                      <a:pt x="55" y="308"/>
                    </a:lnTo>
                    <a:lnTo>
                      <a:pt x="55" y="310"/>
                    </a:lnTo>
                    <a:lnTo>
                      <a:pt x="53" y="312"/>
                    </a:lnTo>
                    <a:lnTo>
                      <a:pt x="53" y="312"/>
                    </a:lnTo>
                    <a:lnTo>
                      <a:pt x="53" y="314"/>
                    </a:lnTo>
                    <a:lnTo>
                      <a:pt x="51" y="316"/>
                    </a:lnTo>
                    <a:lnTo>
                      <a:pt x="51" y="320"/>
                    </a:lnTo>
                    <a:lnTo>
                      <a:pt x="51" y="322"/>
                    </a:lnTo>
                    <a:lnTo>
                      <a:pt x="53" y="325"/>
                    </a:lnTo>
                    <a:lnTo>
                      <a:pt x="59" y="333"/>
                    </a:lnTo>
                    <a:lnTo>
                      <a:pt x="61" y="337"/>
                    </a:lnTo>
                    <a:lnTo>
                      <a:pt x="61" y="337"/>
                    </a:lnTo>
                    <a:lnTo>
                      <a:pt x="64" y="344"/>
                    </a:lnTo>
                    <a:lnTo>
                      <a:pt x="63" y="346"/>
                    </a:lnTo>
                    <a:lnTo>
                      <a:pt x="66" y="346"/>
                    </a:lnTo>
                    <a:lnTo>
                      <a:pt x="80" y="348"/>
                    </a:lnTo>
                    <a:lnTo>
                      <a:pt x="85" y="346"/>
                    </a:lnTo>
                    <a:lnTo>
                      <a:pt x="87" y="346"/>
                    </a:lnTo>
                    <a:lnTo>
                      <a:pt x="93" y="346"/>
                    </a:lnTo>
                    <a:lnTo>
                      <a:pt x="95" y="344"/>
                    </a:lnTo>
                    <a:lnTo>
                      <a:pt x="99" y="343"/>
                    </a:lnTo>
                    <a:lnTo>
                      <a:pt x="112" y="339"/>
                    </a:lnTo>
                    <a:lnTo>
                      <a:pt x="122" y="337"/>
                    </a:lnTo>
                    <a:lnTo>
                      <a:pt x="129" y="335"/>
                    </a:lnTo>
                    <a:lnTo>
                      <a:pt x="131" y="333"/>
                    </a:lnTo>
                    <a:lnTo>
                      <a:pt x="133" y="331"/>
                    </a:lnTo>
                    <a:lnTo>
                      <a:pt x="135" y="329"/>
                    </a:lnTo>
                    <a:lnTo>
                      <a:pt x="139" y="327"/>
                    </a:lnTo>
                    <a:lnTo>
                      <a:pt x="141" y="327"/>
                    </a:lnTo>
                    <a:lnTo>
                      <a:pt x="146" y="327"/>
                    </a:lnTo>
                    <a:lnTo>
                      <a:pt x="156" y="329"/>
                    </a:lnTo>
                    <a:lnTo>
                      <a:pt x="165" y="333"/>
                    </a:lnTo>
                    <a:lnTo>
                      <a:pt x="171" y="335"/>
                    </a:lnTo>
                    <a:lnTo>
                      <a:pt x="171" y="337"/>
                    </a:lnTo>
                    <a:lnTo>
                      <a:pt x="171" y="337"/>
                    </a:lnTo>
                    <a:lnTo>
                      <a:pt x="171" y="339"/>
                    </a:lnTo>
                    <a:lnTo>
                      <a:pt x="171" y="339"/>
                    </a:lnTo>
                    <a:lnTo>
                      <a:pt x="173" y="341"/>
                    </a:lnTo>
                    <a:lnTo>
                      <a:pt x="177" y="343"/>
                    </a:lnTo>
                    <a:lnTo>
                      <a:pt x="181" y="343"/>
                    </a:lnTo>
                    <a:lnTo>
                      <a:pt x="225" y="337"/>
                    </a:lnTo>
                    <a:lnTo>
                      <a:pt x="228" y="339"/>
                    </a:lnTo>
                    <a:lnTo>
                      <a:pt x="230" y="339"/>
                    </a:lnTo>
                    <a:lnTo>
                      <a:pt x="232" y="341"/>
                    </a:lnTo>
                    <a:lnTo>
                      <a:pt x="236" y="343"/>
                    </a:lnTo>
                    <a:lnTo>
                      <a:pt x="238" y="343"/>
                    </a:lnTo>
                    <a:lnTo>
                      <a:pt x="244" y="341"/>
                    </a:lnTo>
                    <a:lnTo>
                      <a:pt x="247" y="341"/>
                    </a:lnTo>
                    <a:lnTo>
                      <a:pt x="253" y="339"/>
                    </a:lnTo>
                    <a:lnTo>
                      <a:pt x="257" y="339"/>
                    </a:lnTo>
                    <a:lnTo>
                      <a:pt x="265" y="335"/>
                    </a:lnTo>
                    <a:lnTo>
                      <a:pt x="268" y="333"/>
                    </a:lnTo>
                    <a:lnTo>
                      <a:pt x="270" y="331"/>
                    </a:lnTo>
                    <a:lnTo>
                      <a:pt x="274" y="327"/>
                    </a:lnTo>
                    <a:lnTo>
                      <a:pt x="276" y="327"/>
                    </a:lnTo>
                    <a:lnTo>
                      <a:pt x="278" y="325"/>
                    </a:lnTo>
                    <a:lnTo>
                      <a:pt x="282" y="324"/>
                    </a:lnTo>
                    <a:lnTo>
                      <a:pt x="284" y="322"/>
                    </a:lnTo>
                    <a:lnTo>
                      <a:pt x="284" y="320"/>
                    </a:lnTo>
                    <a:lnTo>
                      <a:pt x="282" y="316"/>
                    </a:lnTo>
                    <a:lnTo>
                      <a:pt x="282" y="312"/>
                    </a:lnTo>
                    <a:lnTo>
                      <a:pt x="284" y="310"/>
                    </a:lnTo>
                    <a:lnTo>
                      <a:pt x="284" y="308"/>
                    </a:lnTo>
                    <a:lnTo>
                      <a:pt x="284" y="308"/>
                    </a:lnTo>
                    <a:lnTo>
                      <a:pt x="299" y="293"/>
                    </a:lnTo>
                    <a:lnTo>
                      <a:pt x="301" y="289"/>
                    </a:lnTo>
                    <a:lnTo>
                      <a:pt x="303" y="289"/>
                    </a:lnTo>
                    <a:lnTo>
                      <a:pt x="307" y="285"/>
                    </a:lnTo>
                    <a:lnTo>
                      <a:pt x="312" y="282"/>
                    </a:lnTo>
                    <a:lnTo>
                      <a:pt x="318" y="276"/>
                    </a:lnTo>
                    <a:lnTo>
                      <a:pt x="335" y="263"/>
                    </a:lnTo>
                    <a:lnTo>
                      <a:pt x="335" y="261"/>
                    </a:lnTo>
                    <a:lnTo>
                      <a:pt x="335" y="259"/>
                    </a:lnTo>
                    <a:lnTo>
                      <a:pt x="335" y="259"/>
                    </a:lnTo>
                    <a:lnTo>
                      <a:pt x="335" y="257"/>
                    </a:lnTo>
                    <a:lnTo>
                      <a:pt x="333" y="255"/>
                    </a:lnTo>
                    <a:lnTo>
                      <a:pt x="333" y="253"/>
                    </a:lnTo>
                    <a:lnTo>
                      <a:pt x="331" y="251"/>
                    </a:lnTo>
                    <a:lnTo>
                      <a:pt x="331" y="249"/>
                    </a:lnTo>
                    <a:lnTo>
                      <a:pt x="331" y="247"/>
                    </a:lnTo>
                    <a:lnTo>
                      <a:pt x="335" y="246"/>
                    </a:lnTo>
                    <a:lnTo>
                      <a:pt x="335" y="246"/>
                    </a:lnTo>
                    <a:lnTo>
                      <a:pt x="335" y="246"/>
                    </a:lnTo>
                    <a:lnTo>
                      <a:pt x="337" y="246"/>
                    </a:lnTo>
                    <a:lnTo>
                      <a:pt x="337" y="247"/>
                    </a:lnTo>
                    <a:lnTo>
                      <a:pt x="339" y="249"/>
                    </a:lnTo>
                    <a:lnTo>
                      <a:pt x="341" y="249"/>
                    </a:lnTo>
                    <a:lnTo>
                      <a:pt x="343" y="249"/>
                    </a:lnTo>
                    <a:lnTo>
                      <a:pt x="345" y="251"/>
                    </a:lnTo>
                    <a:lnTo>
                      <a:pt x="349" y="253"/>
                    </a:lnTo>
                    <a:lnTo>
                      <a:pt x="360" y="249"/>
                    </a:lnTo>
                    <a:lnTo>
                      <a:pt x="364" y="253"/>
                    </a:lnTo>
                    <a:lnTo>
                      <a:pt x="366" y="251"/>
                    </a:lnTo>
                    <a:lnTo>
                      <a:pt x="370" y="251"/>
                    </a:lnTo>
                    <a:lnTo>
                      <a:pt x="370" y="251"/>
                    </a:lnTo>
                    <a:lnTo>
                      <a:pt x="373" y="249"/>
                    </a:lnTo>
                    <a:lnTo>
                      <a:pt x="375" y="249"/>
                    </a:lnTo>
                    <a:lnTo>
                      <a:pt x="381" y="246"/>
                    </a:lnTo>
                    <a:lnTo>
                      <a:pt x="387" y="242"/>
                    </a:lnTo>
                    <a:lnTo>
                      <a:pt x="394" y="240"/>
                    </a:lnTo>
                    <a:lnTo>
                      <a:pt x="402" y="238"/>
                    </a:lnTo>
                    <a:lnTo>
                      <a:pt x="404" y="238"/>
                    </a:lnTo>
                    <a:lnTo>
                      <a:pt x="408" y="236"/>
                    </a:lnTo>
                    <a:lnTo>
                      <a:pt x="417" y="230"/>
                    </a:lnTo>
                    <a:lnTo>
                      <a:pt x="423" y="228"/>
                    </a:lnTo>
                    <a:lnTo>
                      <a:pt x="461" y="213"/>
                    </a:lnTo>
                    <a:lnTo>
                      <a:pt x="467" y="209"/>
                    </a:lnTo>
                    <a:lnTo>
                      <a:pt x="467" y="209"/>
                    </a:lnTo>
                    <a:lnTo>
                      <a:pt x="469" y="209"/>
                    </a:lnTo>
                    <a:lnTo>
                      <a:pt x="473" y="211"/>
                    </a:lnTo>
                    <a:lnTo>
                      <a:pt x="474" y="213"/>
                    </a:lnTo>
                    <a:lnTo>
                      <a:pt x="474" y="213"/>
                    </a:lnTo>
                    <a:lnTo>
                      <a:pt x="478" y="213"/>
                    </a:lnTo>
                    <a:lnTo>
                      <a:pt x="480" y="213"/>
                    </a:lnTo>
                    <a:lnTo>
                      <a:pt x="492" y="211"/>
                    </a:lnTo>
                    <a:lnTo>
                      <a:pt x="497" y="209"/>
                    </a:lnTo>
                    <a:lnTo>
                      <a:pt x="501" y="207"/>
                    </a:lnTo>
                    <a:lnTo>
                      <a:pt x="503" y="206"/>
                    </a:lnTo>
                    <a:lnTo>
                      <a:pt x="514" y="198"/>
                    </a:lnTo>
                    <a:lnTo>
                      <a:pt x="520" y="196"/>
                    </a:lnTo>
                    <a:lnTo>
                      <a:pt x="551" y="196"/>
                    </a:lnTo>
                    <a:lnTo>
                      <a:pt x="551" y="196"/>
                    </a:lnTo>
                    <a:lnTo>
                      <a:pt x="551" y="198"/>
                    </a:lnTo>
                    <a:lnTo>
                      <a:pt x="551" y="200"/>
                    </a:lnTo>
                    <a:lnTo>
                      <a:pt x="549" y="202"/>
                    </a:lnTo>
                    <a:lnTo>
                      <a:pt x="547" y="206"/>
                    </a:lnTo>
                    <a:lnTo>
                      <a:pt x="543" y="213"/>
                    </a:lnTo>
                    <a:lnTo>
                      <a:pt x="532" y="226"/>
                    </a:lnTo>
                    <a:lnTo>
                      <a:pt x="528" y="232"/>
                    </a:lnTo>
                    <a:lnTo>
                      <a:pt x="526" y="234"/>
                    </a:lnTo>
                    <a:lnTo>
                      <a:pt x="528" y="236"/>
                    </a:lnTo>
                    <a:lnTo>
                      <a:pt x="528" y="238"/>
                    </a:lnTo>
                    <a:lnTo>
                      <a:pt x="530" y="246"/>
                    </a:lnTo>
                    <a:lnTo>
                      <a:pt x="530" y="247"/>
                    </a:lnTo>
                    <a:lnTo>
                      <a:pt x="530" y="249"/>
                    </a:lnTo>
                    <a:lnTo>
                      <a:pt x="532" y="249"/>
                    </a:lnTo>
                    <a:lnTo>
                      <a:pt x="534" y="251"/>
                    </a:lnTo>
                    <a:lnTo>
                      <a:pt x="534" y="251"/>
                    </a:lnTo>
                    <a:lnTo>
                      <a:pt x="534" y="253"/>
                    </a:lnTo>
                    <a:lnTo>
                      <a:pt x="535" y="253"/>
                    </a:lnTo>
                    <a:lnTo>
                      <a:pt x="539" y="255"/>
                    </a:lnTo>
                    <a:lnTo>
                      <a:pt x="539" y="255"/>
                    </a:lnTo>
                    <a:lnTo>
                      <a:pt x="541" y="257"/>
                    </a:lnTo>
                    <a:lnTo>
                      <a:pt x="541" y="265"/>
                    </a:lnTo>
                    <a:lnTo>
                      <a:pt x="541" y="266"/>
                    </a:lnTo>
                    <a:lnTo>
                      <a:pt x="539" y="270"/>
                    </a:lnTo>
                    <a:lnTo>
                      <a:pt x="539" y="272"/>
                    </a:lnTo>
                    <a:lnTo>
                      <a:pt x="539" y="272"/>
                    </a:lnTo>
                    <a:lnTo>
                      <a:pt x="541" y="272"/>
                    </a:lnTo>
                    <a:lnTo>
                      <a:pt x="541" y="274"/>
                    </a:lnTo>
                    <a:lnTo>
                      <a:pt x="541" y="276"/>
                    </a:lnTo>
                    <a:lnTo>
                      <a:pt x="541" y="278"/>
                    </a:lnTo>
                    <a:lnTo>
                      <a:pt x="541" y="280"/>
                    </a:lnTo>
                    <a:lnTo>
                      <a:pt x="541" y="280"/>
                    </a:lnTo>
                    <a:lnTo>
                      <a:pt x="543" y="280"/>
                    </a:lnTo>
                    <a:lnTo>
                      <a:pt x="547" y="274"/>
                    </a:lnTo>
                    <a:lnTo>
                      <a:pt x="547" y="274"/>
                    </a:lnTo>
                    <a:lnTo>
                      <a:pt x="547" y="274"/>
                    </a:lnTo>
                    <a:lnTo>
                      <a:pt x="549" y="272"/>
                    </a:lnTo>
                    <a:lnTo>
                      <a:pt x="549" y="272"/>
                    </a:lnTo>
                    <a:lnTo>
                      <a:pt x="551" y="272"/>
                    </a:lnTo>
                    <a:lnTo>
                      <a:pt x="551" y="272"/>
                    </a:lnTo>
                    <a:lnTo>
                      <a:pt x="553" y="272"/>
                    </a:lnTo>
                    <a:lnTo>
                      <a:pt x="553" y="274"/>
                    </a:lnTo>
                    <a:lnTo>
                      <a:pt x="555" y="276"/>
                    </a:lnTo>
                    <a:lnTo>
                      <a:pt x="556" y="278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56" y="284"/>
                    </a:lnTo>
                    <a:lnTo>
                      <a:pt x="556" y="285"/>
                    </a:lnTo>
                    <a:lnTo>
                      <a:pt x="555" y="285"/>
                    </a:lnTo>
                    <a:lnTo>
                      <a:pt x="555" y="285"/>
                    </a:lnTo>
                    <a:lnTo>
                      <a:pt x="553" y="287"/>
                    </a:lnTo>
                    <a:lnTo>
                      <a:pt x="553" y="287"/>
                    </a:lnTo>
                    <a:lnTo>
                      <a:pt x="551" y="287"/>
                    </a:lnTo>
                    <a:lnTo>
                      <a:pt x="551" y="289"/>
                    </a:lnTo>
                    <a:lnTo>
                      <a:pt x="551" y="291"/>
                    </a:lnTo>
                    <a:lnTo>
                      <a:pt x="551" y="291"/>
                    </a:lnTo>
                    <a:lnTo>
                      <a:pt x="549" y="291"/>
                    </a:lnTo>
                    <a:lnTo>
                      <a:pt x="549" y="291"/>
                    </a:lnTo>
                    <a:lnTo>
                      <a:pt x="549" y="293"/>
                    </a:lnTo>
                    <a:lnTo>
                      <a:pt x="547" y="293"/>
                    </a:lnTo>
                    <a:lnTo>
                      <a:pt x="545" y="293"/>
                    </a:lnTo>
                    <a:lnTo>
                      <a:pt x="545" y="295"/>
                    </a:lnTo>
                    <a:lnTo>
                      <a:pt x="545" y="295"/>
                    </a:lnTo>
                    <a:lnTo>
                      <a:pt x="545" y="297"/>
                    </a:lnTo>
                    <a:lnTo>
                      <a:pt x="543" y="297"/>
                    </a:lnTo>
                    <a:lnTo>
                      <a:pt x="543" y="297"/>
                    </a:lnTo>
                    <a:lnTo>
                      <a:pt x="539" y="295"/>
                    </a:lnTo>
                    <a:lnTo>
                      <a:pt x="539" y="295"/>
                    </a:lnTo>
                    <a:lnTo>
                      <a:pt x="537" y="295"/>
                    </a:lnTo>
                    <a:lnTo>
                      <a:pt x="535" y="297"/>
                    </a:lnTo>
                    <a:lnTo>
                      <a:pt x="535" y="297"/>
                    </a:lnTo>
                    <a:lnTo>
                      <a:pt x="532" y="295"/>
                    </a:lnTo>
                    <a:lnTo>
                      <a:pt x="530" y="295"/>
                    </a:lnTo>
                    <a:lnTo>
                      <a:pt x="511" y="305"/>
                    </a:lnTo>
                    <a:lnTo>
                      <a:pt x="507" y="303"/>
                    </a:lnTo>
                    <a:lnTo>
                      <a:pt x="505" y="301"/>
                    </a:lnTo>
                    <a:lnTo>
                      <a:pt x="501" y="299"/>
                    </a:lnTo>
                    <a:lnTo>
                      <a:pt x="499" y="299"/>
                    </a:lnTo>
                    <a:lnTo>
                      <a:pt x="497" y="297"/>
                    </a:lnTo>
                    <a:lnTo>
                      <a:pt x="497" y="299"/>
                    </a:lnTo>
                    <a:lnTo>
                      <a:pt x="493" y="299"/>
                    </a:lnTo>
                    <a:lnTo>
                      <a:pt x="492" y="301"/>
                    </a:lnTo>
                    <a:lnTo>
                      <a:pt x="492" y="301"/>
                    </a:lnTo>
                    <a:lnTo>
                      <a:pt x="490" y="303"/>
                    </a:lnTo>
                    <a:lnTo>
                      <a:pt x="490" y="305"/>
                    </a:lnTo>
                    <a:lnTo>
                      <a:pt x="490" y="306"/>
                    </a:lnTo>
                    <a:lnTo>
                      <a:pt x="490" y="308"/>
                    </a:lnTo>
                    <a:lnTo>
                      <a:pt x="488" y="312"/>
                    </a:lnTo>
                    <a:lnTo>
                      <a:pt x="486" y="314"/>
                    </a:lnTo>
                    <a:lnTo>
                      <a:pt x="482" y="316"/>
                    </a:lnTo>
                    <a:lnTo>
                      <a:pt x="480" y="318"/>
                    </a:lnTo>
                    <a:lnTo>
                      <a:pt x="478" y="318"/>
                    </a:lnTo>
                    <a:lnTo>
                      <a:pt x="476" y="320"/>
                    </a:lnTo>
                    <a:lnTo>
                      <a:pt x="474" y="320"/>
                    </a:lnTo>
                    <a:lnTo>
                      <a:pt x="467" y="325"/>
                    </a:lnTo>
                    <a:lnTo>
                      <a:pt x="463" y="329"/>
                    </a:lnTo>
                    <a:lnTo>
                      <a:pt x="461" y="329"/>
                    </a:lnTo>
                    <a:lnTo>
                      <a:pt x="459" y="329"/>
                    </a:lnTo>
                    <a:lnTo>
                      <a:pt x="457" y="329"/>
                    </a:lnTo>
                    <a:lnTo>
                      <a:pt x="455" y="329"/>
                    </a:lnTo>
                    <a:lnTo>
                      <a:pt x="453" y="329"/>
                    </a:lnTo>
                    <a:lnTo>
                      <a:pt x="453" y="329"/>
                    </a:lnTo>
                    <a:lnTo>
                      <a:pt x="452" y="331"/>
                    </a:lnTo>
                    <a:lnTo>
                      <a:pt x="452" y="335"/>
                    </a:lnTo>
                    <a:lnTo>
                      <a:pt x="453" y="337"/>
                    </a:lnTo>
                    <a:lnTo>
                      <a:pt x="453" y="337"/>
                    </a:lnTo>
                    <a:lnTo>
                      <a:pt x="455" y="337"/>
                    </a:lnTo>
                    <a:lnTo>
                      <a:pt x="457" y="339"/>
                    </a:lnTo>
                    <a:lnTo>
                      <a:pt x="459" y="343"/>
                    </a:lnTo>
                    <a:lnTo>
                      <a:pt x="459" y="344"/>
                    </a:lnTo>
                    <a:lnTo>
                      <a:pt x="459" y="348"/>
                    </a:lnTo>
                    <a:lnTo>
                      <a:pt x="457" y="350"/>
                    </a:lnTo>
                    <a:lnTo>
                      <a:pt x="457" y="352"/>
                    </a:lnTo>
                    <a:lnTo>
                      <a:pt x="457" y="352"/>
                    </a:lnTo>
                    <a:lnTo>
                      <a:pt x="455" y="354"/>
                    </a:lnTo>
                    <a:lnTo>
                      <a:pt x="455" y="354"/>
                    </a:lnTo>
                    <a:lnTo>
                      <a:pt x="455" y="354"/>
                    </a:lnTo>
                    <a:lnTo>
                      <a:pt x="453" y="356"/>
                    </a:lnTo>
                    <a:lnTo>
                      <a:pt x="453" y="358"/>
                    </a:lnTo>
                    <a:lnTo>
                      <a:pt x="455" y="360"/>
                    </a:lnTo>
                    <a:lnTo>
                      <a:pt x="455" y="362"/>
                    </a:lnTo>
                    <a:lnTo>
                      <a:pt x="457" y="363"/>
                    </a:lnTo>
                    <a:lnTo>
                      <a:pt x="459" y="363"/>
                    </a:lnTo>
                    <a:lnTo>
                      <a:pt x="459" y="365"/>
                    </a:lnTo>
                    <a:lnTo>
                      <a:pt x="457" y="369"/>
                    </a:lnTo>
                    <a:lnTo>
                      <a:pt x="457" y="373"/>
                    </a:lnTo>
                    <a:lnTo>
                      <a:pt x="457" y="373"/>
                    </a:lnTo>
                    <a:lnTo>
                      <a:pt x="457" y="375"/>
                    </a:lnTo>
                    <a:lnTo>
                      <a:pt x="461" y="381"/>
                    </a:lnTo>
                    <a:lnTo>
                      <a:pt x="461" y="384"/>
                    </a:lnTo>
                    <a:lnTo>
                      <a:pt x="461" y="384"/>
                    </a:lnTo>
                    <a:lnTo>
                      <a:pt x="463" y="386"/>
                    </a:lnTo>
                    <a:lnTo>
                      <a:pt x="465" y="384"/>
                    </a:lnTo>
                    <a:lnTo>
                      <a:pt x="469" y="383"/>
                    </a:lnTo>
                    <a:lnTo>
                      <a:pt x="478" y="379"/>
                    </a:lnTo>
                    <a:lnTo>
                      <a:pt x="480" y="379"/>
                    </a:lnTo>
                    <a:lnTo>
                      <a:pt x="484" y="373"/>
                    </a:lnTo>
                    <a:lnTo>
                      <a:pt x="488" y="367"/>
                    </a:lnTo>
                    <a:lnTo>
                      <a:pt x="492" y="363"/>
                    </a:lnTo>
                    <a:lnTo>
                      <a:pt x="495" y="362"/>
                    </a:lnTo>
                    <a:lnTo>
                      <a:pt x="499" y="362"/>
                    </a:lnTo>
                    <a:lnTo>
                      <a:pt x="501" y="362"/>
                    </a:lnTo>
                    <a:lnTo>
                      <a:pt x="503" y="362"/>
                    </a:lnTo>
                    <a:lnTo>
                      <a:pt x="505" y="358"/>
                    </a:lnTo>
                    <a:lnTo>
                      <a:pt x="507" y="354"/>
                    </a:lnTo>
                    <a:lnTo>
                      <a:pt x="507" y="352"/>
                    </a:lnTo>
                    <a:lnTo>
                      <a:pt x="509" y="352"/>
                    </a:lnTo>
                    <a:lnTo>
                      <a:pt x="514" y="352"/>
                    </a:lnTo>
                    <a:lnTo>
                      <a:pt x="516" y="350"/>
                    </a:lnTo>
                    <a:lnTo>
                      <a:pt x="518" y="348"/>
                    </a:lnTo>
                    <a:lnTo>
                      <a:pt x="522" y="343"/>
                    </a:lnTo>
                    <a:lnTo>
                      <a:pt x="528" y="337"/>
                    </a:lnTo>
                    <a:lnTo>
                      <a:pt x="530" y="335"/>
                    </a:lnTo>
                    <a:lnTo>
                      <a:pt x="537" y="335"/>
                    </a:lnTo>
                    <a:lnTo>
                      <a:pt x="541" y="333"/>
                    </a:lnTo>
                    <a:lnTo>
                      <a:pt x="545" y="329"/>
                    </a:lnTo>
                    <a:lnTo>
                      <a:pt x="547" y="325"/>
                    </a:lnTo>
                    <a:lnTo>
                      <a:pt x="551" y="316"/>
                    </a:lnTo>
                    <a:lnTo>
                      <a:pt x="556" y="308"/>
                    </a:lnTo>
                    <a:lnTo>
                      <a:pt x="564" y="305"/>
                    </a:lnTo>
                    <a:lnTo>
                      <a:pt x="574" y="301"/>
                    </a:lnTo>
                    <a:lnTo>
                      <a:pt x="606" y="295"/>
                    </a:lnTo>
                    <a:lnTo>
                      <a:pt x="614" y="295"/>
                    </a:lnTo>
                    <a:lnTo>
                      <a:pt x="616" y="295"/>
                    </a:lnTo>
                    <a:lnTo>
                      <a:pt x="619" y="295"/>
                    </a:lnTo>
                    <a:lnTo>
                      <a:pt x="621" y="295"/>
                    </a:lnTo>
                    <a:lnTo>
                      <a:pt x="623" y="293"/>
                    </a:lnTo>
                    <a:lnTo>
                      <a:pt x="625" y="289"/>
                    </a:lnTo>
                    <a:lnTo>
                      <a:pt x="627" y="287"/>
                    </a:lnTo>
                    <a:lnTo>
                      <a:pt x="629" y="285"/>
                    </a:lnTo>
                    <a:lnTo>
                      <a:pt x="633" y="287"/>
                    </a:lnTo>
                    <a:lnTo>
                      <a:pt x="633" y="287"/>
                    </a:lnTo>
                    <a:lnTo>
                      <a:pt x="635" y="289"/>
                    </a:lnTo>
                    <a:lnTo>
                      <a:pt x="635" y="289"/>
                    </a:lnTo>
                    <a:lnTo>
                      <a:pt x="637" y="289"/>
                    </a:lnTo>
                    <a:lnTo>
                      <a:pt x="638" y="287"/>
                    </a:lnTo>
                    <a:lnTo>
                      <a:pt x="640" y="285"/>
                    </a:lnTo>
                    <a:lnTo>
                      <a:pt x="640" y="285"/>
                    </a:lnTo>
                    <a:lnTo>
                      <a:pt x="644" y="285"/>
                    </a:lnTo>
                    <a:lnTo>
                      <a:pt x="646" y="285"/>
                    </a:lnTo>
                    <a:lnTo>
                      <a:pt x="650" y="287"/>
                    </a:lnTo>
                    <a:lnTo>
                      <a:pt x="652" y="289"/>
                    </a:lnTo>
                    <a:lnTo>
                      <a:pt x="654" y="291"/>
                    </a:lnTo>
                    <a:lnTo>
                      <a:pt x="656" y="295"/>
                    </a:lnTo>
                    <a:lnTo>
                      <a:pt x="657" y="297"/>
                    </a:lnTo>
                    <a:lnTo>
                      <a:pt x="661" y="301"/>
                    </a:lnTo>
                    <a:lnTo>
                      <a:pt x="663" y="303"/>
                    </a:lnTo>
                    <a:lnTo>
                      <a:pt x="661" y="305"/>
                    </a:lnTo>
                    <a:lnTo>
                      <a:pt x="661" y="306"/>
                    </a:lnTo>
                    <a:lnTo>
                      <a:pt x="661" y="310"/>
                    </a:lnTo>
                    <a:lnTo>
                      <a:pt x="663" y="312"/>
                    </a:lnTo>
                    <a:lnTo>
                      <a:pt x="680" y="320"/>
                    </a:lnTo>
                    <a:lnTo>
                      <a:pt x="682" y="322"/>
                    </a:lnTo>
                    <a:lnTo>
                      <a:pt x="682" y="322"/>
                    </a:lnTo>
                    <a:lnTo>
                      <a:pt x="684" y="324"/>
                    </a:lnTo>
                    <a:lnTo>
                      <a:pt x="684" y="324"/>
                    </a:lnTo>
                    <a:lnTo>
                      <a:pt x="686" y="324"/>
                    </a:lnTo>
                    <a:lnTo>
                      <a:pt x="688" y="324"/>
                    </a:lnTo>
                    <a:lnTo>
                      <a:pt x="688" y="324"/>
                    </a:lnTo>
                    <a:lnTo>
                      <a:pt x="690" y="322"/>
                    </a:lnTo>
                    <a:lnTo>
                      <a:pt x="692" y="324"/>
                    </a:lnTo>
                    <a:lnTo>
                      <a:pt x="692" y="324"/>
                    </a:lnTo>
                    <a:lnTo>
                      <a:pt x="694" y="324"/>
                    </a:lnTo>
                    <a:lnTo>
                      <a:pt x="696" y="324"/>
                    </a:lnTo>
                    <a:lnTo>
                      <a:pt x="696" y="324"/>
                    </a:lnTo>
                    <a:lnTo>
                      <a:pt x="698" y="320"/>
                    </a:lnTo>
                    <a:lnTo>
                      <a:pt x="698" y="318"/>
                    </a:lnTo>
                    <a:lnTo>
                      <a:pt x="696" y="316"/>
                    </a:lnTo>
                    <a:lnTo>
                      <a:pt x="696" y="316"/>
                    </a:lnTo>
                    <a:lnTo>
                      <a:pt x="694" y="316"/>
                    </a:lnTo>
                    <a:lnTo>
                      <a:pt x="694" y="314"/>
                    </a:lnTo>
                    <a:lnTo>
                      <a:pt x="694" y="312"/>
                    </a:lnTo>
                    <a:lnTo>
                      <a:pt x="694" y="310"/>
                    </a:lnTo>
                    <a:lnTo>
                      <a:pt x="692" y="308"/>
                    </a:lnTo>
                    <a:lnTo>
                      <a:pt x="688" y="306"/>
                    </a:lnTo>
                    <a:lnTo>
                      <a:pt x="669" y="278"/>
                    </a:lnTo>
                    <a:lnTo>
                      <a:pt x="665" y="274"/>
                    </a:lnTo>
                    <a:lnTo>
                      <a:pt x="665" y="270"/>
                    </a:lnTo>
                    <a:lnTo>
                      <a:pt x="667" y="266"/>
                    </a:lnTo>
                    <a:lnTo>
                      <a:pt x="667" y="265"/>
                    </a:lnTo>
                    <a:lnTo>
                      <a:pt x="665" y="263"/>
                    </a:lnTo>
                    <a:lnTo>
                      <a:pt x="665" y="261"/>
                    </a:lnTo>
                    <a:lnTo>
                      <a:pt x="665" y="259"/>
                    </a:lnTo>
                    <a:lnTo>
                      <a:pt x="665" y="259"/>
                    </a:lnTo>
                    <a:lnTo>
                      <a:pt x="663" y="257"/>
                    </a:lnTo>
                    <a:lnTo>
                      <a:pt x="663" y="255"/>
                    </a:lnTo>
                    <a:lnTo>
                      <a:pt x="663" y="251"/>
                    </a:lnTo>
                    <a:lnTo>
                      <a:pt x="663" y="249"/>
                    </a:lnTo>
                    <a:lnTo>
                      <a:pt x="665" y="246"/>
                    </a:lnTo>
                    <a:lnTo>
                      <a:pt x="667" y="246"/>
                    </a:lnTo>
                    <a:lnTo>
                      <a:pt x="673" y="242"/>
                    </a:lnTo>
                    <a:lnTo>
                      <a:pt x="675" y="240"/>
                    </a:lnTo>
                    <a:lnTo>
                      <a:pt x="678" y="234"/>
                    </a:lnTo>
                    <a:lnTo>
                      <a:pt x="680" y="232"/>
                    </a:lnTo>
                    <a:lnTo>
                      <a:pt x="684" y="232"/>
                    </a:lnTo>
                    <a:lnTo>
                      <a:pt x="686" y="230"/>
                    </a:lnTo>
                    <a:lnTo>
                      <a:pt x="688" y="230"/>
                    </a:lnTo>
                    <a:lnTo>
                      <a:pt x="688" y="230"/>
                    </a:lnTo>
                    <a:lnTo>
                      <a:pt x="688" y="228"/>
                    </a:lnTo>
                    <a:lnTo>
                      <a:pt x="688" y="226"/>
                    </a:lnTo>
                    <a:lnTo>
                      <a:pt x="690" y="226"/>
                    </a:lnTo>
                    <a:lnTo>
                      <a:pt x="692" y="225"/>
                    </a:lnTo>
                    <a:lnTo>
                      <a:pt x="692" y="225"/>
                    </a:lnTo>
                    <a:lnTo>
                      <a:pt x="694" y="223"/>
                    </a:lnTo>
                    <a:lnTo>
                      <a:pt x="694" y="223"/>
                    </a:lnTo>
                    <a:lnTo>
                      <a:pt x="696" y="221"/>
                    </a:lnTo>
                    <a:lnTo>
                      <a:pt x="698" y="221"/>
                    </a:lnTo>
                    <a:lnTo>
                      <a:pt x="703" y="215"/>
                    </a:lnTo>
                    <a:lnTo>
                      <a:pt x="705" y="213"/>
                    </a:lnTo>
                    <a:lnTo>
                      <a:pt x="707" y="211"/>
                    </a:lnTo>
                    <a:lnTo>
                      <a:pt x="709" y="209"/>
                    </a:lnTo>
                    <a:lnTo>
                      <a:pt x="711" y="207"/>
                    </a:lnTo>
                    <a:lnTo>
                      <a:pt x="713" y="207"/>
                    </a:lnTo>
                    <a:lnTo>
                      <a:pt x="715" y="207"/>
                    </a:lnTo>
                    <a:lnTo>
                      <a:pt x="717" y="209"/>
                    </a:lnTo>
                    <a:lnTo>
                      <a:pt x="717" y="211"/>
                    </a:lnTo>
                    <a:lnTo>
                      <a:pt x="717" y="213"/>
                    </a:lnTo>
                    <a:lnTo>
                      <a:pt x="720" y="211"/>
                    </a:lnTo>
                    <a:lnTo>
                      <a:pt x="722" y="209"/>
                    </a:lnTo>
                    <a:lnTo>
                      <a:pt x="722" y="209"/>
                    </a:lnTo>
                    <a:lnTo>
                      <a:pt x="722" y="207"/>
                    </a:lnTo>
                    <a:lnTo>
                      <a:pt x="722" y="204"/>
                    </a:lnTo>
                    <a:lnTo>
                      <a:pt x="722" y="202"/>
                    </a:lnTo>
                    <a:lnTo>
                      <a:pt x="724" y="198"/>
                    </a:lnTo>
                    <a:lnTo>
                      <a:pt x="726" y="196"/>
                    </a:lnTo>
                    <a:lnTo>
                      <a:pt x="724" y="192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6" name="Freeform 38">
                <a:extLst>
                  <a:ext uri="{FF2B5EF4-FFF2-40B4-BE49-F238E27FC236}">
                    <a16:creationId xmlns:a16="http://schemas.microsoft.com/office/drawing/2014/main" id="{C367108B-04E6-4564-B6FE-E903ED9DCD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0819" y="5499574"/>
                <a:ext cx="1603375" cy="1350963"/>
              </a:xfrm>
              <a:custGeom>
                <a:avLst/>
                <a:gdLst>
                  <a:gd name="T0" fmla="*/ 983 w 1010"/>
                  <a:gd name="T1" fmla="*/ 12 h 851"/>
                  <a:gd name="T2" fmla="*/ 926 w 1010"/>
                  <a:gd name="T3" fmla="*/ 48 h 851"/>
                  <a:gd name="T4" fmla="*/ 881 w 1010"/>
                  <a:gd name="T5" fmla="*/ 31 h 851"/>
                  <a:gd name="T6" fmla="*/ 844 w 1010"/>
                  <a:gd name="T7" fmla="*/ 21 h 851"/>
                  <a:gd name="T8" fmla="*/ 837 w 1010"/>
                  <a:gd name="T9" fmla="*/ 38 h 851"/>
                  <a:gd name="T10" fmla="*/ 797 w 1010"/>
                  <a:gd name="T11" fmla="*/ 82 h 851"/>
                  <a:gd name="T12" fmla="*/ 757 w 1010"/>
                  <a:gd name="T13" fmla="*/ 109 h 851"/>
                  <a:gd name="T14" fmla="*/ 726 w 1010"/>
                  <a:gd name="T15" fmla="*/ 88 h 851"/>
                  <a:gd name="T16" fmla="*/ 703 w 1010"/>
                  <a:gd name="T17" fmla="*/ 145 h 851"/>
                  <a:gd name="T18" fmla="*/ 631 w 1010"/>
                  <a:gd name="T19" fmla="*/ 177 h 851"/>
                  <a:gd name="T20" fmla="*/ 602 w 1010"/>
                  <a:gd name="T21" fmla="*/ 210 h 851"/>
                  <a:gd name="T22" fmla="*/ 572 w 1010"/>
                  <a:gd name="T23" fmla="*/ 240 h 851"/>
                  <a:gd name="T24" fmla="*/ 526 w 1010"/>
                  <a:gd name="T25" fmla="*/ 257 h 851"/>
                  <a:gd name="T26" fmla="*/ 497 w 1010"/>
                  <a:gd name="T27" fmla="*/ 276 h 851"/>
                  <a:gd name="T28" fmla="*/ 471 w 1010"/>
                  <a:gd name="T29" fmla="*/ 276 h 851"/>
                  <a:gd name="T30" fmla="*/ 459 w 1010"/>
                  <a:gd name="T31" fmla="*/ 289 h 851"/>
                  <a:gd name="T32" fmla="*/ 486 w 1010"/>
                  <a:gd name="T33" fmla="*/ 312 h 851"/>
                  <a:gd name="T34" fmla="*/ 451 w 1010"/>
                  <a:gd name="T35" fmla="*/ 301 h 851"/>
                  <a:gd name="T36" fmla="*/ 417 w 1010"/>
                  <a:gd name="T37" fmla="*/ 289 h 851"/>
                  <a:gd name="T38" fmla="*/ 389 w 1010"/>
                  <a:gd name="T39" fmla="*/ 326 h 851"/>
                  <a:gd name="T40" fmla="*/ 314 w 1010"/>
                  <a:gd name="T41" fmla="*/ 352 h 851"/>
                  <a:gd name="T42" fmla="*/ 274 w 1010"/>
                  <a:gd name="T43" fmla="*/ 400 h 851"/>
                  <a:gd name="T44" fmla="*/ 234 w 1010"/>
                  <a:gd name="T45" fmla="*/ 404 h 851"/>
                  <a:gd name="T46" fmla="*/ 183 w 1010"/>
                  <a:gd name="T47" fmla="*/ 430 h 851"/>
                  <a:gd name="T48" fmla="*/ 139 w 1010"/>
                  <a:gd name="T49" fmla="*/ 432 h 851"/>
                  <a:gd name="T50" fmla="*/ 62 w 1010"/>
                  <a:gd name="T51" fmla="*/ 419 h 851"/>
                  <a:gd name="T52" fmla="*/ 30 w 1010"/>
                  <a:gd name="T53" fmla="*/ 478 h 851"/>
                  <a:gd name="T54" fmla="*/ 38 w 1010"/>
                  <a:gd name="T55" fmla="*/ 544 h 851"/>
                  <a:gd name="T56" fmla="*/ 13 w 1010"/>
                  <a:gd name="T57" fmla="*/ 556 h 851"/>
                  <a:gd name="T58" fmla="*/ 24 w 1010"/>
                  <a:gd name="T59" fmla="*/ 611 h 851"/>
                  <a:gd name="T60" fmla="*/ 41 w 1010"/>
                  <a:gd name="T61" fmla="*/ 643 h 851"/>
                  <a:gd name="T62" fmla="*/ 80 w 1010"/>
                  <a:gd name="T63" fmla="*/ 634 h 851"/>
                  <a:gd name="T64" fmla="*/ 76 w 1010"/>
                  <a:gd name="T65" fmla="*/ 659 h 851"/>
                  <a:gd name="T66" fmla="*/ 76 w 1010"/>
                  <a:gd name="T67" fmla="*/ 681 h 851"/>
                  <a:gd name="T68" fmla="*/ 26 w 1010"/>
                  <a:gd name="T69" fmla="*/ 651 h 851"/>
                  <a:gd name="T70" fmla="*/ 32 w 1010"/>
                  <a:gd name="T71" fmla="*/ 691 h 851"/>
                  <a:gd name="T72" fmla="*/ 51 w 1010"/>
                  <a:gd name="T73" fmla="*/ 697 h 851"/>
                  <a:gd name="T74" fmla="*/ 70 w 1010"/>
                  <a:gd name="T75" fmla="*/ 693 h 851"/>
                  <a:gd name="T76" fmla="*/ 112 w 1010"/>
                  <a:gd name="T77" fmla="*/ 702 h 851"/>
                  <a:gd name="T78" fmla="*/ 143 w 1010"/>
                  <a:gd name="T79" fmla="*/ 683 h 851"/>
                  <a:gd name="T80" fmla="*/ 171 w 1010"/>
                  <a:gd name="T81" fmla="*/ 697 h 851"/>
                  <a:gd name="T82" fmla="*/ 196 w 1010"/>
                  <a:gd name="T83" fmla="*/ 725 h 851"/>
                  <a:gd name="T84" fmla="*/ 211 w 1010"/>
                  <a:gd name="T85" fmla="*/ 761 h 851"/>
                  <a:gd name="T86" fmla="*/ 225 w 1010"/>
                  <a:gd name="T87" fmla="*/ 794 h 851"/>
                  <a:gd name="T88" fmla="*/ 198 w 1010"/>
                  <a:gd name="T89" fmla="*/ 820 h 851"/>
                  <a:gd name="T90" fmla="*/ 225 w 1010"/>
                  <a:gd name="T91" fmla="*/ 837 h 851"/>
                  <a:gd name="T92" fmla="*/ 278 w 1010"/>
                  <a:gd name="T93" fmla="*/ 792 h 851"/>
                  <a:gd name="T94" fmla="*/ 339 w 1010"/>
                  <a:gd name="T95" fmla="*/ 771 h 851"/>
                  <a:gd name="T96" fmla="*/ 383 w 1010"/>
                  <a:gd name="T97" fmla="*/ 769 h 851"/>
                  <a:gd name="T98" fmla="*/ 419 w 1010"/>
                  <a:gd name="T99" fmla="*/ 737 h 851"/>
                  <a:gd name="T100" fmla="*/ 423 w 1010"/>
                  <a:gd name="T101" fmla="*/ 714 h 851"/>
                  <a:gd name="T102" fmla="*/ 417 w 1010"/>
                  <a:gd name="T103" fmla="*/ 645 h 851"/>
                  <a:gd name="T104" fmla="*/ 417 w 1010"/>
                  <a:gd name="T105" fmla="*/ 533 h 851"/>
                  <a:gd name="T106" fmla="*/ 495 w 1010"/>
                  <a:gd name="T107" fmla="*/ 426 h 851"/>
                  <a:gd name="T108" fmla="*/ 537 w 1010"/>
                  <a:gd name="T109" fmla="*/ 440 h 851"/>
                  <a:gd name="T110" fmla="*/ 604 w 1010"/>
                  <a:gd name="T111" fmla="*/ 369 h 851"/>
                  <a:gd name="T112" fmla="*/ 697 w 1010"/>
                  <a:gd name="T113" fmla="*/ 335 h 851"/>
                  <a:gd name="T114" fmla="*/ 709 w 1010"/>
                  <a:gd name="T115" fmla="*/ 270 h 851"/>
                  <a:gd name="T116" fmla="*/ 818 w 1010"/>
                  <a:gd name="T117" fmla="*/ 192 h 851"/>
                  <a:gd name="T118" fmla="*/ 922 w 1010"/>
                  <a:gd name="T119" fmla="*/ 118 h 851"/>
                  <a:gd name="T120" fmla="*/ 997 w 1010"/>
                  <a:gd name="T121" fmla="*/ 29 h 851"/>
                  <a:gd name="T122" fmla="*/ 690 w 1010"/>
                  <a:gd name="T123" fmla="*/ 322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10" h="851">
                    <a:moveTo>
                      <a:pt x="1010" y="8"/>
                    </a:moveTo>
                    <a:lnTo>
                      <a:pt x="1008" y="8"/>
                    </a:lnTo>
                    <a:lnTo>
                      <a:pt x="1008" y="8"/>
                    </a:lnTo>
                    <a:lnTo>
                      <a:pt x="1008" y="8"/>
                    </a:lnTo>
                    <a:lnTo>
                      <a:pt x="1004" y="12"/>
                    </a:lnTo>
                    <a:lnTo>
                      <a:pt x="1004" y="10"/>
                    </a:lnTo>
                    <a:lnTo>
                      <a:pt x="1003" y="8"/>
                    </a:lnTo>
                    <a:lnTo>
                      <a:pt x="1003" y="8"/>
                    </a:lnTo>
                    <a:lnTo>
                      <a:pt x="1003" y="6"/>
                    </a:lnTo>
                    <a:lnTo>
                      <a:pt x="1004" y="4"/>
                    </a:lnTo>
                    <a:lnTo>
                      <a:pt x="1004" y="2"/>
                    </a:lnTo>
                    <a:lnTo>
                      <a:pt x="1004" y="2"/>
                    </a:lnTo>
                    <a:lnTo>
                      <a:pt x="1006" y="2"/>
                    </a:lnTo>
                    <a:lnTo>
                      <a:pt x="1008" y="4"/>
                    </a:lnTo>
                    <a:lnTo>
                      <a:pt x="1010" y="6"/>
                    </a:lnTo>
                    <a:lnTo>
                      <a:pt x="1010" y="6"/>
                    </a:lnTo>
                    <a:lnTo>
                      <a:pt x="1010" y="6"/>
                    </a:lnTo>
                    <a:lnTo>
                      <a:pt x="1010" y="2"/>
                    </a:lnTo>
                    <a:lnTo>
                      <a:pt x="1008" y="2"/>
                    </a:lnTo>
                    <a:lnTo>
                      <a:pt x="1008" y="0"/>
                    </a:lnTo>
                    <a:lnTo>
                      <a:pt x="1006" y="0"/>
                    </a:lnTo>
                    <a:lnTo>
                      <a:pt x="1006" y="0"/>
                    </a:lnTo>
                    <a:lnTo>
                      <a:pt x="1001" y="0"/>
                    </a:lnTo>
                    <a:lnTo>
                      <a:pt x="999" y="0"/>
                    </a:lnTo>
                    <a:lnTo>
                      <a:pt x="999" y="0"/>
                    </a:lnTo>
                    <a:lnTo>
                      <a:pt x="999" y="0"/>
                    </a:lnTo>
                    <a:lnTo>
                      <a:pt x="999" y="2"/>
                    </a:lnTo>
                    <a:lnTo>
                      <a:pt x="999" y="2"/>
                    </a:lnTo>
                    <a:lnTo>
                      <a:pt x="999" y="4"/>
                    </a:lnTo>
                    <a:lnTo>
                      <a:pt x="999" y="4"/>
                    </a:lnTo>
                    <a:lnTo>
                      <a:pt x="999" y="6"/>
                    </a:lnTo>
                    <a:lnTo>
                      <a:pt x="999" y="8"/>
                    </a:lnTo>
                    <a:lnTo>
                      <a:pt x="997" y="10"/>
                    </a:lnTo>
                    <a:lnTo>
                      <a:pt x="995" y="10"/>
                    </a:lnTo>
                    <a:lnTo>
                      <a:pt x="995" y="8"/>
                    </a:lnTo>
                    <a:lnTo>
                      <a:pt x="995" y="8"/>
                    </a:lnTo>
                    <a:lnTo>
                      <a:pt x="993" y="8"/>
                    </a:lnTo>
                    <a:lnTo>
                      <a:pt x="983" y="12"/>
                    </a:lnTo>
                    <a:lnTo>
                      <a:pt x="982" y="14"/>
                    </a:lnTo>
                    <a:lnTo>
                      <a:pt x="978" y="17"/>
                    </a:lnTo>
                    <a:lnTo>
                      <a:pt x="978" y="17"/>
                    </a:lnTo>
                    <a:lnTo>
                      <a:pt x="976" y="17"/>
                    </a:lnTo>
                    <a:lnTo>
                      <a:pt x="974" y="17"/>
                    </a:lnTo>
                    <a:lnTo>
                      <a:pt x="972" y="17"/>
                    </a:lnTo>
                    <a:lnTo>
                      <a:pt x="972" y="17"/>
                    </a:lnTo>
                    <a:lnTo>
                      <a:pt x="970" y="17"/>
                    </a:lnTo>
                    <a:lnTo>
                      <a:pt x="972" y="19"/>
                    </a:lnTo>
                    <a:lnTo>
                      <a:pt x="972" y="19"/>
                    </a:lnTo>
                    <a:lnTo>
                      <a:pt x="972" y="21"/>
                    </a:lnTo>
                    <a:lnTo>
                      <a:pt x="972" y="21"/>
                    </a:lnTo>
                    <a:lnTo>
                      <a:pt x="970" y="23"/>
                    </a:lnTo>
                    <a:lnTo>
                      <a:pt x="970" y="23"/>
                    </a:lnTo>
                    <a:lnTo>
                      <a:pt x="970" y="25"/>
                    </a:lnTo>
                    <a:lnTo>
                      <a:pt x="970" y="25"/>
                    </a:lnTo>
                    <a:lnTo>
                      <a:pt x="970" y="25"/>
                    </a:lnTo>
                    <a:lnTo>
                      <a:pt x="972" y="27"/>
                    </a:lnTo>
                    <a:lnTo>
                      <a:pt x="970" y="27"/>
                    </a:lnTo>
                    <a:lnTo>
                      <a:pt x="970" y="29"/>
                    </a:lnTo>
                    <a:lnTo>
                      <a:pt x="966" y="34"/>
                    </a:lnTo>
                    <a:lnTo>
                      <a:pt x="964" y="34"/>
                    </a:lnTo>
                    <a:lnTo>
                      <a:pt x="964" y="34"/>
                    </a:lnTo>
                    <a:lnTo>
                      <a:pt x="963" y="34"/>
                    </a:lnTo>
                    <a:lnTo>
                      <a:pt x="961" y="34"/>
                    </a:lnTo>
                    <a:lnTo>
                      <a:pt x="961" y="34"/>
                    </a:lnTo>
                    <a:lnTo>
                      <a:pt x="961" y="38"/>
                    </a:lnTo>
                    <a:lnTo>
                      <a:pt x="959" y="40"/>
                    </a:lnTo>
                    <a:lnTo>
                      <a:pt x="957" y="44"/>
                    </a:lnTo>
                    <a:lnTo>
                      <a:pt x="955" y="46"/>
                    </a:lnTo>
                    <a:lnTo>
                      <a:pt x="953" y="46"/>
                    </a:lnTo>
                    <a:lnTo>
                      <a:pt x="943" y="46"/>
                    </a:lnTo>
                    <a:lnTo>
                      <a:pt x="936" y="50"/>
                    </a:lnTo>
                    <a:lnTo>
                      <a:pt x="932" y="50"/>
                    </a:lnTo>
                    <a:lnTo>
                      <a:pt x="932" y="50"/>
                    </a:lnTo>
                    <a:lnTo>
                      <a:pt x="930" y="48"/>
                    </a:lnTo>
                    <a:lnTo>
                      <a:pt x="928" y="48"/>
                    </a:lnTo>
                    <a:lnTo>
                      <a:pt x="926" y="48"/>
                    </a:lnTo>
                    <a:lnTo>
                      <a:pt x="924" y="46"/>
                    </a:lnTo>
                    <a:lnTo>
                      <a:pt x="922" y="46"/>
                    </a:lnTo>
                    <a:lnTo>
                      <a:pt x="921" y="46"/>
                    </a:lnTo>
                    <a:lnTo>
                      <a:pt x="919" y="46"/>
                    </a:lnTo>
                    <a:lnTo>
                      <a:pt x="913" y="46"/>
                    </a:lnTo>
                    <a:lnTo>
                      <a:pt x="905" y="46"/>
                    </a:lnTo>
                    <a:lnTo>
                      <a:pt x="900" y="46"/>
                    </a:lnTo>
                    <a:lnTo>
                      <a:pt x="900" y="46"/>
                    </a:lnTo>
                    <a:lnTo>
                      <a:pt x="898" y="46"/>
                    </a:lnTo>
                    <a:lnTo>
                      <a:pt x="898" y="46"/>
                    </a:lnTo>
                    <a:lnTo>
                      <a:pt x="898" y="44"/>
                    </a:lnTo>
                    <a:lnTo>
                      <a:pt x="898" y="44"/>
                    </a:lnTo>
                    <a:lnTo>
                      <a:pt x="896" y="42"/>
                    </a:lnTo>
                    <a:lnTo>
                      <a:pt x="896" y="42"/>
                    </a:lnTo>
                    <a:lnTo>
                      <a:pt x="896" y="40"/>
                    </a:lnTo>
                    <a:lnTo>
                      <a:pt x="894" y="40"/>
                    </a:lnTo>
                    <a:lnTo>
                      <a:pt x="894" y="40"/>
                    </a:lnTo>
                    <a:lnTo>
                      <a:pt x="894" y="38"/>
                    </a:lnTo>
                    <a:lnTo>
                      <a:pt x="892" y="34"/>
                    </a:lnTo>
                    <a:lnTo>
                      <a:pt x="890" y="33"/>
                    </a:lnTo>
                    <a:lnTo>
                      <a:pt x="890" y="31"/>
                    </a:lnTo>
                    <a:lnTo>
                      <a:pt x="890" y="27"/>
                    </a:lnTo>
                    <a:lnTo>
                      <a:pt x="888" y="21"/>
                    </a:lnTo>
                    <a:lnTo>
                      <a:pt x="884" y="19"/>
                    </a:lnTo>
                    <a:lnTo>
                      <a:pt x="884" y="19"/>
                    </a:lnTo>
                    <a:lnTo>
                      <a:pt x="882" y="19"/>
                    </a:lnTo>
                    <a:lnTo>
                      <a:pt x="882" y="21"/>
                    </a:lnTo>
                    <a:lnTo>
                      <a:pt x="881" y="21"/>
                    </a:lnTo>
                    <a:lnTo>
                      <a:pt x="881" y="21"/>
                    </a:lnTo>
                    <a:lnTo>
                      <a:pt x="881" y="21"/>
                    </a:lnTo>
                    <a:lnTo>
                      <a:pt x="881" y="23"/>
                    </a:lnTo>
                    <a:lnTo>
                      <a:pt x="881" y="23"/>
                    </a:lnTo>
                    <a:lnTo>
                      <a:pt x="881" y="25"/>
                    </a:lnTo>
                    <a:lnTo>
                      <a:pt x="881" y="25"/>
                    </a:lnTo>
                    <a:lnTo>
                      <a:pt x="881" y="27"/>
                    </a:lnTo>
                    <a:lnTo>
                      <a:pt x="881" y="29"/>
                    </a:lnTo>
                    <a:lnTo>
                      <a:pt x="881" y="29"/>
                    </a:lnTo>
                    <a:lnTo>
                      <a:pt x="881" y="31"/>
                    </a:lnTo>
                    <a:lnTo>
                      <a:pt x="881" y="31"/>
                    </a:lnTo>
                    <a:lnTo>
                      <a:pt x="879" y="31"/>
                    </a:lnTo>
                    <a:lnTo>
                      <a:pt x="879" y="29"/>
                    </a:lnTo>
                    <a:lnTo>
                      <a:pt x="875" y="21"/>
                    </a:lnTo>
                    <a:lnTo>
                      <a:pt x="875" y="19"/>
                    </a:lnTo>
                    <a:lnTo>
                      <a:pt x="873" y="17"/>
                    </a:lnTo>
                    <a:lnTo>
                      <a:pt x="867" y="12"/>
                    </a:lnTo>
                    <a:lnTo>
                      <a:pt x="867" y="10"/>
                    </a:lnTo>
                    <a:lnTo>
                      <a:pt x="865" y="6"/>
                    </a:lnTo>
                    <a:lnTo>
                      <a:pt x="863" y="4"/>
                    </a:lnTo>
                    <a:lnTo>
                      <a:pt x="863" y="4"/>
                    </a:lnTo>
                    <a:lnTo>
                      <a:pt x="861" y="4"/>
                    </a:lnTo>
                    <a:lnTo>
                      <a:pt x="861" y="6"/>
                    </a:lnTo>
                    <a:lnTo>
                      <a:pt x="861" y="8"/>
                    </a:lnTo>
                    <a:lnTo>
                      <a:pt x="861" y="10"/>
                    </a:lnTo>
                    <a:lnTo>
                      <a:pt x="860" y="10"/>
                    </a:lnTo>
                    <a:lnTo>
                      <a:pt x="860" y="12"/>
                    </a:lnTo>
                    <a:lnTo>
                      <a:pt x="856" y="12"/>
                    </a:lnTo>
                    <a:lnTo>
                      <a:pt x="856" y="14"/>
                    </a:lnTo>
                    <a:lnTo>
                      <a:pt x="854" y="14"/>
                    </a:lnTo>
                    <a:lnTo>
                      <a:pt x="854" y="17"/>
                    </a:lnTo>
                    <a:lnTo>
                      <a:pt x="852" y="19"/>
                    </a:lnTo>
                    <a:lnTo>
                      <a:pt x="852" y="19"/>
                    </a:lnTo>
                    <a:lnTo>
                      <a:pt x="850" y="19"/>
                    </a:lnTo>
                    <a:lnTo>
                      <a:pt x="850" y="19"/>
                    </a:lnTo>
                    <a:lnTo>
                      <a:pt x="850" y="19"/>
                    </a:lnTo>
                    <a:lnTo>
                      <a:pt x="848" y="15"/>
                    </a:lnTo>
                    <a:lnTo>
                      <a:pt x="848" y="14"/>
                    </a:lnTo>
                    <a:lnTo>
                      <a:pt x="848" y="14"/>
                    </a:lnTo>
                    <a:lnTo>
                      <a:pt x="846" y="12"/>
                    </a:lnTo>
                    <a:lnTo>
                      <a:pt x="844" y="12"/>
                    </a:lnTo>
                    <a:lnTo>
                      <a:pt x="844" y="12"/>
                    </a:lnTo>
                    <a:lnTo>
                      <a:pt x="844" y="14"/>
                    </a:lnTo>
                    <a:lnTo>
                      <a:pt x="846" y="17"/>
                    </a:lnTo>
                    <a:lnTo>
                      <a:pt x="846" y="19"/>
                    </a:lnTo>
                    <a:lnTo>
                      <a:pt x="844" y="19"/>
                    </a:lnTo>
                    <a:lnTo>
                      <a:pt x="844" y="21"/>
                    </a:lnTo>
                    <a:lnTo>
                      <a:pt x="844" y="21"/>
                    </a:lnTo>
                    <a:lnTo>
                      <a:pt x="842" y="21"/>
                    </a:lnTo>
                    <a:lnTo>
                      <a:pt x="842" y="21"/>
                    </a:lnTo>
                    <a:lnTo>
                      <a:pt x="844" y="21"/>
                    </a:lnTo>
                    <a:lnTo>
                      <a:pt x="844" y="23"/>
                    </a:lnTo>
                    <a:lnTo>
                      <a:pt x="844" y="25"/>
                    </a:lnTo>
                    <a:lnTo>
                      <a:pt x="844" y="25"/>
                    </a:lnTo>
                    <a:lnTo>
                      <a:pt x="842" y="27"/>
                    </a:lnTo>
                    <a:lnTo>
                      <a:pt x="840" y="25"/>
                    </a:lnTo>
                    <a:lnTo>
                      <a:pt x="837" y="23"/>
                    </a:lnTo>
                    <a:lnTo>
                      <a:pt x="837" y="23"/>
                    </a:lnTo>
                    <a:lnTo>
                      <a:pt x="833" y="21"/>
                    </a:lnTo>
                    <a:lnTo>
                      <a:pt x="831" y="21"/>
                    </a:lnTo>
                    <a:lnTo>
                      <a:pt x="831" y="21"/>
                    </a:lnTo>
                    <a:lnTo>
                      <a:pt x="829" y="21"/>
                    </a:lnTo>
                    <a:lnTo>
                      <a:pt x="829" y="21"/>
                    </a:lnTo>
                    <a:lnTo>
                      <a:pt x="827" y="21"/>
                    </a:lnTo>
                    <a:lnTo>
                      <a:pt x="827" y="21"/>
                    </a:lnTo>
                    <a:lnTo>
                      <a:pt x="825" y="23"/>
                    </a:lnTo>
                    <a:lnTo>
                      <a:pt x="825" y="23"/>
                    </a:lnTo>
                    <a:lnTo>
                      <a:pt x="825" y="25"/>
                    </a:lnTo>
                    <a:lnTo>
                      <a:pt x="825" y="25"/>
                    </a:lnTo>
                    <a:lnTo>
                      <a:pt x="825" y="25"/>
                    </a:lnTo>
                    <a:lnTo>
                      <a:pt x="827" y="27"/>
                    </a:lnTo>
                    <a:lnTo>
                      <a:pt x="827" y="27"/>
                    </a:lnTo>
                    <a:lnTo>
                      <a:pt x="827" y="29"/>
                    </a:lnTo>
                    <a:lnTo>
                      <a:pt x="827" y="31"/>
                    </a:lnTo>
                    <a:lnTo>
                      <a:pt x="831" y="34"/>
                    </a:lnTo>
                    <a:lnTo>
                      <a:pt x="831" y="34"/>
                    </a:lnTo>
                    <a:lnTo>
                      <a:pt x="831" y="34"/>
                    </a:lnTo>
                    <a:lnTo>
                      <a:pt x="833" y="34"/>
                    </a:lnTo>
                    <a:lnTo>
                      <a:pt x="833" y="34"/>
                    </a:lnTo>
                    <a:lnTo>
                      <a:pt x="833" y="34"/>
                    </a:lnTo>
                    <a:lnTo>
                      <a:pt x="835" y="34"/>
                    </a:lnTo>
                    <a:lnTo>
                      <a:pt x="835" y="36"/>
                    </a:lnTo>
                    <a:lnTo>
                      <a:pt x="835" y="36"/>
                    </a:lnTo>
                    <a:lnTo>
                      <a:pt x="835" y="38"/>
                    </a:lnTo>
                    <a:lnTo>
                      <a:pt x="837" y="38"/>
                    </a:lnTo>
                    <a:lnTo>
                      <a:pt x="837" y="38"/>
                    </a:lnTo>
                    <a:lnTo>
                      <a:pt x="837" y="38"/>
                    </a:lnTo>
                    <a:lnTo>
                      <a:pt x="837" y="40"/>
                    </a:lnTo>
                    <a:lnTo>
                      <a:pt x="835" y="42"/>
                    </a:lnTo>
                    <a:lnTo>
                      <a:pt x="833" y="42"/>
                    </a:lnTo>
                    <a:lnTo>
                      <a:pt x="831" y="44"/>
                    </a:lnTo>
                    <a:lnTo>
                      <a:pt x="829" y="44"/>
                    </a:lnTo>
                    <a:lnTo>
                      <a:pt x="825" y="48"/>
                    </a:lnTo>
                    <a:lnTo>
                      <a:pt x="821" y="50"/>
                    </a:lnTo>
                    <a:lnTo>
                      <a:pt x="819" y="52"/>
                    </a:lnTo>
                    <a:lnTo>
                      <a:pt x="812" y="55"/>
                    </a:lnTo>
                    <a:lnTo>
                      <a:pt x="812" y="55"/>
                    </a:lnTo>
                    <a:lnTo>
                      <a:pt x="810" y="53"/>
                    </a:lnTo>
                    <a:lnTo>
                      <a:pt x="808" y="53"/>
                    </a:lnTo>
                    <a:lnTo>
                      <a:pt x="808" y="52"/>
                    </a:lnTo>
                    <a:lnTo>
                      <a:pt x="806" y="52"/>
                    </a:lnTo>
                    <a:lnTo>
                      <a:pt x="804" y="52"/>
                    </a:lnTo>
                    <a:lnTo>
                      <a:pt x="802" y="53"/>
                    </a:lnTo>
                    <a:lnTo>
                      <a:pt x="800" y="55"/>
                    </a:lnTo>
                    <a:lnTo>
                      <a:pt x="799" y="57"/>
                    </a:lnTo>
                    <a:lnTo>
                      <a:pt x="797" y="61"/>
                    </a:lnTo>
                    <a:lnTo>
                      <a:pt x="795" y="63"/>
                    </a:lnTo>
                    <a:lnTo>
                      <a:pt x="793" y="65"/>
                    </a:lnTo>
                    <a:lnTo>
                      <a:pt x="791" y="69"/>
                    </a:lnTo>
                    <a:lnTo>
                      <a:pt x="791" y="69"/>
                    </a:lnTo>
                    <a:lnTo>
                      <a:pt x="791" y="71"/>
                    </a:lnTo>
                    <a:lnTo>
                      <a:pt x="791" y="71"/>
                    </a:lnTo>
                    <a:lnTo>
                      <a:pt x="791" y="73"/>
                    </a:lnTo>
                    <a:lnTo>
                      <a:pt x="789" y="74"/>
                    </a:lnTo>
                    <a:lnTo>
                      <a:pt x="789" y="74"/>
                    </a:lnTo>
                    <a:lnTo>
                      <a:pt x="789" y="76"/>
                    </a:lnTo>
                    <a:lnTo>
                      <a:pt x="791" y="78"/>
                    </a:lnTo>
                    <a:lnTo>
                      <a:pt x="793" y="80"/>
                    </a:lnTo>
                    <a:lnTo>
                      <a:pt x="793" y="82"/>
                    </a:lnTo>
                    <a:lnTo>
                      <a:pt x="793" y="82"/>
                    </a:lnTo>
                    <a:lnTo>
                      <a:pt x="797" y="82"/>
                    </a:lnTo>
                    <a:lnTo>
                      <a:pt x="797" y="82"/>
                    </a:lnTo>
                    <a:lnTo>
                      <a:pt x="797" y="82"/>
                    </a:lnTo>
                    <a:lnTo>
                      <a:pt x="797" y="82"/>
                    </a:lnTo>
                    <a:lnTo>
                      <a:pt x="797" y="84"/>
                    </a:lnTo>
                    <a:lnTo>
                      <a:pt x="791" y="92"/>
                    </a:lnTo>
                    <a:lnTo>
                      <a:pt x="791" y="92"/>
                    </a:lnTo>
                    <a:lnTo>
                      <a:pt x="791" y="93"/>
                    </a:lnTo>
                    <a:lnTo>
                      <a:pt x="791" y="95"/>
                    </a:lnTo>
                    <a:lnTo>
                      <a:pt x="793" y="95"/>
                    </a:lnTo>
                    <a:lnTo>
                      <a:pt x="793" y="97"/>
                    </a:lnTo>
                    <a:lnTo>
                      <a:pt x="793" y="97"/>
                    </a:lnTo>
                    <a:lnTo>
                      <a:pt x="793" y="101"/>
                    </a:lnTo>
                    <a:lnTo>
                      <a:pt x="791" y="103"/>
                    </a:lnTo>
                    <a:lnTo>
                      <a:pt x="789" y="103"/>
                    </a:lnTo>
                    <a:lnTo>
                      <a:pt x="787" y="103"/>
                    </a:lnTo>
                    <a:lnTo>
                      <a:pt x="787" y="103"/>
                    </a:lnTo>
                    <a:lnTo>
                      <a:pt x="785" y="103"/>
                    </a:lnTo>
                    <a:lnTo>
                      <a:pt x="781" y="107"/>
                    </a:lnTo>
                    <a:lnTo>
                      <a:pt x="779" y="107"/>
                    </a:lnTo>
                    <a:lnTo>
                      <a:pt x="776" y="107"/>
                    </a:lnTo>
                    <a:lnTo>
                      <a:pt x="774" y="107"/>
                    </a:lnTo>
                    <a:lnTo>
                      <a:pt x="774" y="105"/>
                    </a:lnTo>
                    <a:lnTo>
                      <a:pt x="772" y="105"/>
                    </a:lnTo>
                    <a:lnTo>
                      <a:pt x="772" y="103"/>
                    </a:lnTo>
                    <a:lnTo>
                      <a:pt x="774" y="101"/>
                    </a:lnTo>
                    <a:lnTo>
                      <a:pt x="772" y="99"/>
                    </a:lnTo>
                    <a:lnTo>
                      <a:pt x="772" y="99"/>
                    </a:lnTo>
                    <a:lnTo>
                      <a:pt x="770" y="99"/>
                    </a:lnTo>
                    <a:lnTo>
                      <a:pt x="768" y="99"/>
                    </a:lnTo>
                    <a:lnTo>
                      <a:pt x="766" y="97"/>
                    </a:lnTo>
                    <a:lnTo>
                      <a:pt x="766" y="97"/>
                    </a:lnTo>
                    <a:lnTo>
                      <a:pt x="764" y="95"/>
                    </a:lnTo>
                    <a:lnTo>
                      <a:pt x="760" y="97"/>
                    </a:lnTo>
                    <a:lnTo>
                      <a:pt x="760" y="97"/>
                    </a:lnTo>
                    <a:lnTo>
                      <a:pt x="758" y="97"/>
                    </a:lnTo>
                    <a:lnTo>
                      <a:pt x="760" y="99"/>
                    </a:lnTo>
                    <a:lnTo>
                      <a:pt x="760" y="103"/>
                    </a:lnTo>
                    <a:lnTo>
                      <a:pt x="760" y="105"/>
                    </a:lnTo>
                    <a:lnTo>
                      <a:pt x="760" y="107"/>
                    </a:lnTo>
                    <a:lnTo>
                      <a:pt x="758" y="107"/>
                    </a:lnTo>
                    <a:lnTo>
                      <a:pt x="757" y="109"/>
                    </a:lnTo>
                    <a:lnTo>
                      <a:pt x="753" y="111"/>
                    </a:lnTo>
                    <a:lnTo>
                      <a:pt x="749" y="112"/>
                    </a:lnTo>
                    <a:lnTo>
                      <a:pt x="747" y="114"/>
                    </a:lnTo>
                    <a:lnTo>
                      <a:pt x="745" y="114"/>
                    </a:lnTo>
                    <a:lnTo>
                      <a:pt x="745" y="116"/>
                    </a:lnTo>
                    <a:lnTo>
                      <a:pt x="745" y="116"/>
                    </a:lnTo>
                    <a:lnTo>
                      <a:pt x="743" y="120"/>
                    </a:lnTo>
                    <a:lnTo>
                      <a:pt x="743" y="122"/>
                    </a:lnTo>
                    <a:lnTo>
                      <a:pt x="741" y="122"/>
                    </a:lnTo>
                    <a:lnTo>
                      <a:pt x="741" y="122"/>
                    </a:lnTo>
                    <a:lnTo>
                      <a:pt x="739" y="122"/>
                    </a:lnTo>
                    <a:lnTo>
                      <a:pt x="739" y="122"/>
                    </a:lnTo>
                    <a:lnTo>
                      <a:pt x="737" y="122"/>
                    </a:lnTo>
                    <a:lnTo>
                      <a:pt x="736" y="122"/>
                    </a:lnTo>
                    <a:lnTo>
                      <a:pt x="736" y="120"/>
                    </a:lnTo>
                    <a:lnTo>
                      <a:pt x="734" y="120"/>
                    </a:lnTo>
                    <a:lnTo>
                      <a:pt x="734" y="118"/>
                    </a:lnTo>
                    <a:lnTo>
                      <a:pt x="734" y="118"/>
                    </a:lnTo>
                    <a:lnTo>
                      <a:pt x="734" y="116"/>
                    </a:lnTo>
                    <a:lnTo>
                      <a:pt x="736" y="112"/>
                    </a:lnTo>
                    <a:lnTo>
                      <a:pt x="736" y="111"/>
                    </a:lnTo>
                    <a:lnTo>
                      <a:pt x="736" y="111"/>
                    </a:lnTo>
                    <a:lnTo>
                      <a:pt x="736" y="109"/>
                    </a:lnTo>
                    <a:lnTo>
                      <a:pt x="736" y="109"/>
                    </a:lnTo>
                    <a:lnTo>
                      <a:pt x="736" y="107"/>
                    </a:lnTo>
                    <a:lnTo>
                      <a:pt x="734" y="107"/>
                    </a:lnTo>
                    <a:lnTo>
                      <a:pt x="728" y="101"/>
                    </a:lnTo>
                    <a:lnTo>
                      <a:pt x="726" y="99"/>
                    </a:lnTo>
                    <a:lnTo>
                      <a:pt x="726" y="97"/>
                    </a:lnTo>
                    <a:lnTo>
                      <a:pt x="726" y="95"/>
                    </a:lnTo>
                    <a:lnTo>
                      <a:pt x="726" y="93"/>
                    </a:lnTo>
                    <a:lnTo>
                      <a:pt x="726" y="92"/>
                    </a:lnTo>
                    <a:lnTo>
                      <a:pt x="726" y="92"/>
                    </a:lnTo>
                    <a:lnTo>
                      <a:pt x="726" y="90"/>
                    </a:lnTo>
                    <a:lnTo>
                      <a:pt x="724" y="90"/>
                    </a:lnTo>
                    <a:lnTo>
                      <a:pt x="724" y="90"/>
                    </a:lnTo>
                    <a:lnTo>
                      <a:pt x="726" y="88"/>
                    </a:lnTo>
                    <a:lnTo>
                      <a:pt x="726" y="88"/>
                    </a:lnTo>
                    <a:lnTo>
                      <a:pt x="724" y="86"/>
                    </a:lnTo>
                    <a:lnTo>
                      <a:pt x="724" y="86"/>
                    </a:lnTo>
                    <a:lnTo>
                      <a:pt x="722" y="86"/>
                    </a:lnTo>
                    <a:lnTo>
                      <a:pt x="722" y="86"/>
                    </a:lnTo>
                    <a:lnTo>
                      <a:pt x="720" y="84"/>
                    </a:lnTo>
                    <a:lnTo>
                      <a:pt x="718" y="84"/>
                    </a:lnTo>
                    <a:lnTo>
                      <a:pt x="717" y="84"/>
                    </a:lnTo>
                    <a:lnTo>
                      <a:pt x="715" y="86"/>
                    </a:lnTo>
                    <a:lnTo>
                      <a:pt x="715" y="90"/>
                    </a:lnTo>
                    <a:lnTo>
                      <a:pt x="713" y="92"/>
                    </a:lnTo>
                    <a:lnTo>
                      <a:pt x="709" y="97"/>
                    </a:lnTo>
                    <a:lnTo>
                      <a:pt x="709" y="97"/>
                    </a:lnTo>
                    <a:lnTo>
                      <a:pt x="707" y="99"/>
                    </a:lnTo>
                    <a:lnTo>
                      <a:pt x="709" y="101"/>
                    </a:lnTo>
                    <a:lnTo>
                      <a:pt x="709" y="103"/>
                    </a:lnTo>
                    <a:lnTo>
                      <a:pt x="707" y="105"/>
                    </a:lnTo>
                    <a:lnTo>
                      <a:pt x="705" y="109"/>
                    </a:lnTo>
                    <a:lnTo>
                      <a:pt x="705" y="111"/>
                    </a:lnTo>
                    <a:lnTo>
                      <a:pt x="705" y="111"/>
                    </a:lnTo>
                    <a:lnTo>
                      <a:pt x="707" y="112"/>
                    </a:lnTo>
                    <a:lnTo>
                      <a:pt x="707" y="114"/>
                    </a:lnTo>
                    <a:lnTo>
                      <a:pt x="707" y="116"/>
                    </a:lnTo>
                    <a:lnTo>
                      <a:pt x="705" y="118"/>
                    </a:lnTo>
                    <a:lnTo>
                      <a:pt x="701" y="124"/>
                    </a:lnTo>
                    <a:lnTo>
                      <a:pt x="701" y="126"/>
                    </a:lnTo>
                    <a:lnTo>
                      <a:pt x="701" y="128"/>
                    </a:lnTo>
                    <a:lnTo>
                      <a:pt x="701" y="128"/>
                    </a:lnTo>
                    <a:lnTo>
                      <a:pt x="701" y="130"/>
                    </a:lnTo>
                    <a:lnTo>
                      <a:pt x="705" y="133"/>
                    </a:lnTo>
                    <a:lnTo>
                      <a:pt x="707" y="133"/>
                    </a:lnTo>
                    <a:lnTo>
                      <a:pt x="707" y="135"/>
                    </a:lnTo>
                    <a:lnTo>
                      <a:pt x="707" y="135"/>
                    </a:lnTo>
                    <a:lnTo>
                      <a:pt x="705" y="137"/>
                    </a:lnTo>
                    <a:lnTo>
                      <a:pt x="703" y="137"/>
                    </a:lnTo>
                    <a:lnTo>
                      <a:pt x="703" y="139"/>
                    </a:lnTo>
                    <a:lnTo>
                      <a:pt x="703" y="139"/>
                    </a:lnTo>
                    <a:lnTo>
                      <a:pt x="703" y="143"/>
                    </a:lnTo>
                    <a:lnTo>
                      <a:pt x="703" y="145"/>
                    </a:lnTo>
                    <a:lnTo>
                      <a:pt x="703" y="147"/>
                    </a:lnTo>
                    <a:lnTo>
                      <a:pt x="703" y="147"/>
                    </a:lnTo>
                    <a:lnTo>
                      <a:pt x="701" y="147"/>
                    </a:lnTo>
                    <a:lnTo>
                      <a:pt x="697" y="147"/>
                    </a:lnTo>
                    <a:lnTo>
                      <a:pt x="696" y="149"/>
                    </a:lnTo>
                    <a:lnTo>
                      <a:pt x="696" y="149"/>
                    </a:lnTo>
                    <a:lnTo>
                      <a:pt x="694" y="151"/>
                    </a:lnTo>
                    <a:lnTo>
                      <a:pt x="694" y="152"/>
                    </a:lnTo>
                    <a:lnTo>
                      <a:pt x="694" y="154"/>
                    </a:lnTo>
                    <a:lnTo>
                      <a:pt x="692" y="154"/>
                    </a:lnTo>
                    <a:lnTo>
                      <a:pt x="690" y="154"/>
                    </a:lnTo>
                    <a:lnTo>
                      <a:pt x="690" y="152"/>
                    </a:lnTo>
                    <a:lnTo>
                      <a:pt x="688" y="152"/>
                    </a:lnTo>
                    <a:lnTo>
                      <a:pt x="688" y="152"/>
                    </a:lnTo>
                    <a:lnTo>
                      <a:pt x="686" y="152"/>
                    </a:lnTo>
                    <a:lnTo>
                      <a:pt x="684" y="152"/>
                    </a:lnTo>
                    <a:lnTo>
                      <a:pt x="684" y="152"/>
                    </a:lnTo>
                    <a:lnTo>
                      <a:pt x="682" y="151"/>
                    </a:lnTo>
                    <a:lnTo>
                      <a:pt x="680" y="149"/>
                    </a:lnTo>
                    <a:lnTo>
                      <a:pt x="678" y="149"/>
                    </a:lnTo>
                    <a:lnTo>
                      <a:pt x="673" y="147"/>
                    </a:lnTo>
                    <a:lnTo>
                      <a:pt x="667" y="147"/>
                    </a:lnTo>
                    <a:lnTo>
                      <a:pt x="661" y="152"/>
                    </a:lnTo>
                    <a:lnTo>
                      <a:pt x="655" y="152"/>
                    </a:lnTo>
                    <a:lnTo>
                      <a:pt x="652" y="152"/>
                    </a:lnTo>
                    <a:lnTo>
                      <a:pt x="640" y="162"/>
                    </a:lnTo>
                    <a:lnTo>
                      <a:pt x="631" y="166"/>
                    </a:lnTo>
                    <a:lnTo>
                      <a:pt x="631" y="166"/>
                    </a:lnTo>
                    <a:lnTo>
                      <a:pt x="633" y="168"/>
                    </a:lnTo>
                    <a:lnTo>
                      <a:pt x="633" y="170"/>
                    </a:lnTo>
                    <a:lnTo>
                      <a:pt x="635" y="170"/>
                    </a:lnTo>
                    <a:lnTo>
                      <a:pt x="635" y="171"/>
                    </a:lnTo>
                    <a:lnTo>
                      <a:pt x="636" y="173"/>
                    </a:lnTo>
                    <a:lnTo>
                      <a:pt x="636" y="173"/>
                    </a:lnTo>
                    <a:lnTo>
                      <a:pt x="635" y="173"/>
                    </a:lnTo>
                    <a:lnTo>
                      <a:pt x="635" y="175"/>
                    </a:lnTo>
                    <a:lnTo>
                      <a:pt x="633" y="175"/>
                    </a:lnTo>
                    <a:lnTo>
                      <a:pt x="631" y="177"/>
                    </a:lnTo>
                    <a:lnTo>
                      <a:pt x="629" y="177"/>
                    </a:lnTo>
                    <a:lnTo>
                      <a:pt x="627" y="177"/>
                    </a:lnTo>
                    <a:lnTo>
                      <a:pt x="627" y="177"/>
                    </a:lnTo>
                    <a:lnTo>
                      <a:pt x="625" y="179"/>
                    </a:lnTo>
                    <a:lnTo>
                      <a:pt x="625" y="179"/>
                    </a:lnTo>
                    <a:lnTo>
                      <a:pt x="623" y="181"/>
                    </a:lnTo>
                    <a:lnTo>
                      <a:pt x="623" y="183"/>
                    </a:lnTo>
                    <a:lnTo>
                      <a:pt x="621" y="183"/>
                    </a:lnTo>
                    <a:lnTo>
                      <a:pt x="621" y="183"/>
                    </a:lnTo>
                    <a:lnTo>
                      <a:pt x="617" y="185"/>
                    </a:lnTo>
                    <a:lnTo>
                      <a:pt x="617" y="185"/>
                    </a:lnTo>
                    <a:lnTo>
                      <a:pt x="614" y="185"/>
                    </a:lnTo>
                    <a:lnTo>
                      <a:pt x="614" y="185"/>
                    </a:lnTo>
                    <a:lnTo>
                      <a:pt x="614" y="187"/>
                    </a:lnTo>
                    <a:lnTo>
                      <a:pt x="612" y="187"/>
                    </a:lnTo>
                    <a:lnTo>
                      <a:pt x="610" y="189"/>
                    </a:lnTo>
                    <a:lnTo>
                      <a:pt x="608" y="189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8" y="192"/>
                    </a:lnTo>
                    <a:lnTo>
                      <a:pt x="608" y="194"/>
                    </a:lnTo>
                    <a:lnTo>
                      <a:pt x="608" y="194"/>
                    </a:lnTo>
                    <a:lnTo>
                      <a:pt x="606" y="196"/>
                    </a:lnTo>
                    <a:lnTo>
                      <a:pt x="606" y="196"/>
                    </a:lnTo>
                    <a:lnTo>
                      <a:pt x="604" y="198"/>
                    </a:lnTo>
                    <a:lnTo>
                      <a:pt x="604" y="200"/>
                    </a:lnTo>
                    <a:lnTo>
                      <a:pt x="604" y="202"/>
                    </a:lnTo>
                    <a:lnTo>
                      <a:pt x="602" y="204"/>
                    </a:lnTo>
                    <a:lnTo>
                      <a:pt x="600" y="204"/>
                    </a:lnTo>
                    <a:lnTo>
                      <a:pt x="600" y="206"/>
                    </a:lnTo>
                    <a:lnTo>
                      <a:pt x="600" y="206"/>
                    </a:lnTo>
                    <a:lnTo>
                      <a:pt x="600" y="206"/>
                    </a:lnTo>
                    <a:lnTo>
                      <a:pt x="598" y="208"/>
                    </a:lnTo>
                    <a:lnTo>
                      <a:pt x="600" y="208"/>
                    </a:lnTo>
                    <a:lnTo>
                      <a:pt x="602" y="210"/>
                    </a:lnTo>
                    <a:lnTo>
                      <a:pt x="602" y="210"/>
                    </a:lnTo>
                    <a:lnTo>
                      <a:pt x="602" y="210"/>
                    </a:lnTo>
                    <a:lnTo>
                      <a:pt x="602" y="210"/>
                    </a:lnTo>
                    <a:lnTo>
                      <a:pt x="600" y="211"/>
                    </a:lnTo>
                    <a:lnTo>
                      <a:pt x="600" y="211"/>
                    </a:lnTo>
                    <a:lnTo>
                      <a:pt x="598" y="213"/>
                    </a:lnTo>
                    <a:lnTo>
                      <a:pt x="598" y="215"/>
                    </a:lnTo>
                    <a:lnTo>
                      <a:pt x="598" y="217"/>
                    </a:lnTo>
                    <a:lnTo>
                      <a:pt x="598" y="219"/>
                    </a:lnTo>
                    <a:lnTo>
                      <a:pt x="598" y="221"/>
                    </a:lnTo>
                    <a:lnTo>
                      <a:pt x="598" y="221"/>
                    </a:lnTo>
                    <a:lnTo>
                      <a:pt x="598" y="223"/>
                    </a:lnTo>
                    <a:lnTo>
                      <a:pt x="598" y="225"/>
                    </a:lnTo>
                    <a:lnTo>
                      <a:pt x="598" y="225"/>
                    </a:lnTo>
                    <a:lnTo>
                      <a:pt x="598" y="225"/>
                    </a:lnTo>
                    <a:lnTo>
                      <a:pt x="596" y="229"/>
                    </a:lnTo>
                    <a:lnTo>
                      <a:pt x="594" y="229"/>
                    </a:lnTo>
                    <a:lnTo>
                      <a:pt x="593" y="230"/>
                    </a:lnTo>
                    <a:lnTo>
                      <a:pt x="593" y="232"/>
                    </a:lnTo>
                    <a:lnTo>
                      <a:pt x="593" y="232"/>
                    </a:lnTo>
                    <a:lnTo>
                      <a:pt x="591" y="234"/>
                    </a:lnTo>
                    <a:lnTo>
                      <a:pt x="591" y="234"/>
                    </a:lnTo>
                    <a:lnTo>
                      <a:pt x="589" y="236"/>
                    </a:lnTo>
                    <a:lnTo>
                      <a:pt x="589" y="236"/>
                    </a:lnTo>
                    <a:lnTo>
                      <a:pt x="589" y="236"/>
                    </a:lnTo>
                    <a:lnTo>
                      <a:pt x="587" y="236"/>
                    </a:lnTo>
                    <a:lnTo>
                      <a:pt x="585" y="238"/>
                    </a:lnTo>
                    <a:lnTo>
                      <a:pt x="583" y="238"/>
                    </a:lnTo>
                    <a:lnTo>
                      <a:pt x="583" y="238"/>
                    </a:lnTo>
                    <a:lnTo>
                      <a:pt x="581" y="236"/>
                    </a:lnTo>
                    <a:lnTo>
                      <a:pt x="579" y="236"/>
                    </a:lnTo>
                    <a:lnTo>
                      <a:pt x="579" y="234"/>
                    </a:lnTo>
                    <a:lnTo>
                      <a:pt x="579" y="234"/>
                    </a:lnTo>
                    <a:lnTo>
                      <a:pt x="579" y="232"/>
                    </a:lnTo>
                    <a:lnTo>
                      <a:pt x="577" y="232"/>
                    </a:lnTo>
                    <a:lnTo>
                      <a:pt x="577" y="232"/>
                    </a:lnTo>
                    <a:lnTo>
                      <a:pt x="577" y="234"/>
                    </a:lnTo>
                    <a:lnTo>
                      <a:pt x="575" y="234"/>
                    </a:lnTo>
                    <a:lnTo>
                      <a:pt x="573" y="238"/>
                    </a:lnTo>
                    <a:lnTo>
                      <a:pt x="573" y="238"/>
                    </a:lnTo>
                    <a:lnTo>
                      <a:pt x="572" y="240"/>
                    </a:lnTo>
                    <a:lnTo>
                      <a:pt x="572" y="242"/>
                    </a:lnTo>
                    <a:lnTo>
                      <a:pt x="570" y="242"/>
                    </a:lnTo>
                    <a:lnTo>
                      <a:pt x="570" y="242"/>
                    </a:lnTo>
                    <a:lnTo>
                      <a:pt x="568" y="242"/>
                    </a:lnTo>
                    <a:lnTo>
                      <a:pt x="566" y="242"/>
                    </a:lnTo>
                    <a:lnTo>
                      <a:pt x="564" y="242"/>
                    </a:lnTo>
                    <a:lnTo>
                      <a:pt x="560" y="242"/>
                    </a:lnTo>
                    <a:lnTo>
                      <a:pt x="558" y="242"/>
                    </a:lnTo>
                    <a:lnTo>
                      <a:pt x="558" y="244"/>
                    </a:lnTo>
                    <a:lnTo>
                      <a:pt x="558" y="244"/>
                    </a:lnTo>
                    <a:lnTo>
                      <a:pt x="558" y="246"/>
                    </a:lnTo>
                    <a:lnTo>
                      <a:pt x="558" y="249"/>
                    </a:lnTo>
                    <a:lnTo>
                      <a:pt x="558" y="249"/>
                    </a:lnTo>
                    <a:lnTo>
                      <a:pt x="558" y="251"/>
                    </a:lnTo>
                    <a:lnTo>
                      <a:pt x="556" y="253"/>
                    </a:lnTo>
                    <a:lnTo>
                      <a:pt x="556" y="253"/>
                    </a:lnTo>
                    <a:lnTo>
                      <a:pt x="554" y="253"/>
                    </a:lnTo>
                    <a:lnTo>
                      <a:pt x="551" y="255"/>
                    </a:lnTo>
                    <a:lnTo>
                      <a:pt x="547" y="257"/>
                    </a:lnTo>
                    <a:lnTo>
                      <a:pt x="543" y="257"/>
                    </a:lnTo>
                    <a:lnTo>
                      <a:pt x="543" y="257"/>
                    </a:lnTo>
                    <a:lnTo>
                      <a:pt x="541" y="257"/>
                    </a:lnTo>
                    <a:lnTo>
                      <a:pt x="541" y="257"/>
                    </a:lnTo>
                    <a:lnTo>
                      <a:pt x="541" y="259"/>
                    </a:lnTo>
                    <a:lnTo>
                      <a:pt x="541" y="259"/>
                    </a:lnTo>
                    <a:lnTo>
                      <a:pt x="539" y="259"/>
                    </a:lnTo>
                    <a:lnTo>
                      <a:pt x="539" y="259"/>
                    </a:lnTo>
                    <a:lnTo>
                      <a:pt x="537" y="261"/>
                    </a:lnTo>
                    <a:lnTo>
                      <a:pt x="535" y="261"/>
                    </a:lnTo>
                    <a:lnTo>
                      <a:pt x="535" y="261"/>
                    </a:lnTo>
                    <a:lnTo>
                      <a:pt x="533" y="261"/>
                    </a:lnTo>
                    <a:lnTo>
                      <a:pt x="532" y="261"/>
                    </a:lnTo>
                    <a:lnTo>
                      <a:pt x="530" y="259"/>
                    </a:lnTo>
                    <a:lnTo>
                      <a:pt x="530" y="259"/>
                    </a:lnTo>
                    <a:lnTo>
                      <a:pt x="528" y="259"/>
                    </a:lnTo>
                    <a:lnTo>
                      <a:pt x="528" y="257"/>
                    </a:lnTo>
                    <a:lnTo>
                      <a:pt x="526" y="257"/>
                    </a:lnTo>
                    <a:lnTo>
                      <a:pt x="526" y="257"/>
                    </a:lnTo>
                    <a:lnTo>
                      <a:pt x="524" y="257"/>
                    </a:lnTo>
                    <a:lnTo>
                      <a:pt x="524" y="259"/>
                    </a:lnTo>
                    <a:lnTo>
                      <a:pt x="524" y="261"/>
                    </a:lnTo>
                    <a:lnTo>
                      <a:pt x="524" y="261"/>
                    </a:lnTo>
                    <a:lnTo>
                      <a:pt x="526" y="261"/>
                    </a:lnTo>
                    <a:lnTo>
                      <a:pt x="526" y="263"/>
                    </a:lnTo>
                    <a:lnTo>
                      <a:pt x="526" y="263"/>
                    </a:lnTo>
                    <a:lnTo>
                      <a:pt x="526" y="265"/>
                    </a:lnTo>
                    <a:lnTo>
                      <a:pt x="526" y="265"/>
                    </a:lnTo>
                    <a:lnTo>
                      <a:pt x="524" y="265"/>
                    </a:lnTo>
                    <a:lnTo>
                      <a:pt x="524" y="267"/>
                    </a:lnTo>
                    <a:lnTo>
                      <a:pt x="524" y="267"/>
                    </a:lnTo>
                    <a:lnTo>
                      <a:pt x="522" y="267"/>
                    </a:lnTo>
                    <a:lnTo>
                      <a:pt x="520" y="265"/>
                    </a:lnTo>
                    <a:lnTo>
                      <a:pt x="520" y="265"/>
                    </a:lnTo>
                    <a:lnTo>
                      <a:pt x="520" y="268"/>
                    </a:lnTo>
                    <a:lnTo>
                      <a:pt x="518" y="268"/>
                    </a:lnTo>
                    <a:lnTo>
                      <a:pt x="518" y="270"/>
                    </a:lnTo>
                    <a:lnTo>
                      <a:pt x="518" y="272"/>
                    </a:lnTo>
                    <a:lnTo>
                      <a:pt x="518" y="272"/>
                    </a:lnTo>
                    <a:lnTo>
                      <a:pt x="518" y="274"/>
                    </a:lnTo>
                    <a:lnTo>
                      <a:pt x="518" y="276"/>
                    </a:lnTo>
                    <a:lnTo>
                      <a:pt x="518" y="278"/>
                    </a:lnTo>
                    <a:lnTo>
                      <a:pt x="518" y="278"/>
                    </a:lnTo>
                    <a:lnTo>
                      <a:pt x="518" y="280"/>
                    </a:lnTo>
                    <a:lnTo>
                      <a:pt x="516" y="280"/>
                    </a:lnTo>
                    <a:lnTo>
                      <a:pt x="514" y="282"/>
                    </a:lnTo>
                    <a:lnTo>
                      <a:pt x="514" y="280"/>
                    </a:lnTo>
                    <a:lnTo>
                      <a:pt x="514" y="280"/>
                    </a:lnTo>
                    <a:lnTo>
                      <a:pt x="511" y="278"/>
                    </a:lnTo>
                    <a:lnTo>
                      <a:pt x="511" y="278"/>
                    </a:lnTo>
                    <a:lnTo>
                      <a:pt x="509" y="278"/>
                    </a:lnTo>
                    <a:lnTo>
                      <a:pt x="509" y="278"/>
                    </a:lnTo>
                    <a:lnTo>
                      <a:pt x="507" y="278"/>
                    </a:lnTo>
                    <a:lnTo>
                      <a:pt x="505" y="278"/>
                    </a:lnTo>
                    <a:lnTo>
                      <a:pt x="501" y="276"/>
                    </a:lnTo>
                    <a:lnTo>
                      <a:pt x="499" y="276"/>
                    </a:lnTo>
                    <a:lnTo>
                      <a:pt x="497" y="276"/>
                    </a:lnTo>
                    <a:lnTo>
                      <a:pt x="497" y="276"/>
                    </a:lnTo>
                    <a:lnTo>
                      <a:pt x="495" y="276"/>
                    </a:lnTo>
                    <a:lnTo>
                      <a:pt x="495" y="276"/>
                    </a:lnTo>
                    <a:lnTo>
                      <a:pt x="495" y="276"/>
                    </a:lnTo>
                    <a:lnTo>
                      <a:pt x="493" y="276"/>
                    </a:lnTo>
                    <a:lnTo>
                      <a:pt x="491" y="278"/>
                    </a:lnTo>
                    <a:lnTo>
                      <a:pt x="491" y="278"/>
                    </a:lnTo>
                    <a:lnTo>
                      <a:pt x="490" y="276"/>
                    </a:lnTo>
                    <a:lnTo>
                      <a:pt x="491" y="276"/>
                    </a:lnTo>
                    <a:lnTo>
                      <a:pt x="491" y="274"/>
                    </a:lnTo>
                    <a:lnTo>
                      <a:pt x="491" y="274"/>
                    </a:lnTo>
                    <a:lnTo>
                      <a:pt x="493" y="274"/>
                    </a:lnTo>
                    <a:lnTo>
                      <a:pt x="493" y="272"/>
                    </a:lnTo>
                    <a:lnTo>
                      <a:pt x="491" y="272"/>
                    </a:lnTo>
                    <a:lnTo>
                      <a:pt x="490" y="272"/>
                    </a:lnTo>
                    <a:lnTo>
                      <a:pt x="490" y="270"/>
                    </a:lnTo>
                    <a:lnTo>
                      <a:pt x="490" y="270"/>
                    </a:lnTo>
                    <a:lnTo>
                      <a:pt x="490" y="270"/>
                    </a:lnTo>
                    <a:lnTo>
                      <a:pt x="488" y="268"/>
                    </a:lnTo>
                    <a:lnTo>
                      <a:pt x="488" y="268"/>
                    </a:lnTo>
                    <a:lnTo>
                      <a:pt x="486" y="268"/>
                    </a:lnTo>
                    <a:lnTo>
                      <a:pt x="486" y="268"/>
                    </a:lnTo>
                    <a:lnTo>
                      <a:pt x="484" y="267"/>
                    </a:lnTo>
                    <a:lnTo>
                      <a:pt x="482" y="267"/>
                    </a:lnTo>
                    <a:lnTo>
                      <a:pt x="480" y="267"/>
                    </a:lnTo>
                    <a:lnTo>
                      <a:pt x="480" y="268"/>
                    </a:lnTo>
                    <a:lnTo>
                      <a:pt x="478" y="268"/>
                    </a:lnTo>
                    <a:lnTo>
                      <a:pt x="478" y="268"/>
                    </a:lnTo>
                    <a:lnTo>
                      <a:pt x="476" y="268"/>
                    </a:lnTo>
                    <a:lnTo>
                      <a:pt x="476" y="270"/>
                    </a:lnTo>
                    <a:lnTo>
                      <a:pt x="474" y="270"/>
                    </a:lnTo>
                    <a:lnTo>
                      <a:pt x="472" y="270"/>
                    </a:lnTo>
                    <a:lnTo>
                      <a:pt x="472" y="270"/>
                    </a:lnTo>
                    <a:lnTo>
                      <a:pt x="472" y="272"/>
                    </a:lnTo>
                    <a:lnTo>
                      <a:pt x="472" y="272"/>
                    </a:lnTo>
                    <a:lnTo>
                      <a:pt x="472" y="274"/>
                    </a:lnTo>
                    <a:lnTo>
                      <a:pt x="471" y="276"/>
                    </a:lnTo>
                    <a:lnTo>
                      <a:pt x="471" y="276"/>
                    </a:lnTo>
                    <a:lnTo>
                      <a:pt x="471" y="278"/>
                    </a:lnTo>
                    <a:lnTo>
                      <a:pt x="471" y="278"/>
                    </a:lnTo>
                    <a:lnTo>
                      <a:pt x="471" y="280"/>
                    </a:lnTo>
                    <a:lnTo>
                      <a:pt x="469" y="280"/>
                    </a:lnTo>
                    <a:lnTo>
                      <a:pt x="467" y="280"/>
                    </a:lnTo>
                    <a:lnTo>
                      <a:pt x="467" y="282"/>
                    </a:lnTo>
                    <a:lnTo>
                      <a:pt x="465" y="282"/>
                    </a:lnTo>
                    <a:lnTo>
                      <a:pt x="463" y="282"/>
                    </a:lnTo>
                    <a:lnTo>
                      <a:pt x="463" y="280"/>
                    </a:lnTo>
                    <a:lnTo>
                      <a:pt x="463" y="278"/>
                    </a:lnTo>
                    <a:lnTo>
                      <a:pt x="461" y="278"/>
                    </a:lnTo>
                    <a:lnTo>
                      <a:pt x="461" y="276"/>
                    </a:lnTo>
                    <a:lnTo>
                      <a:pt x="461" y="276"/>
                    </a:lnTo>
                    <a:lnTo>
                      <a:pt x="461" y="274"/>
                    </a:lnTo>
                    <a:lnTo>
                      <a:pt x="461" y="274"/>
                    </a:lnTo>
                    <a:lnTo>
                      <a:pt x="459" y="274"/>
                    </a:lnTo>
                    <a:lnTo>
                      <a:pt x="459" y="274"/>
                    </a:lnTo>
                    <a:lnTo>
                      <a:pt x="459" y="276"/>
                    </a:lnTo>
                    <a:lnTo>
                      <a:pt x="457" y="276"/>
                    </a:lnTo>
                    <a:lnTo>
                      <a:pt x="457" y="276"/>
                    </a:lnTo>
                    <a:lnTo>
                      <a:pt x="457" y="278"/>
                    </a:lnTo>
                    <a:lnTo>
                      <a:pt x="457" y="278"/>
                    </a:lnTo>
                    <a:lnTo>
                      <a:pt x="457" y="280"/>
                    </a:lnTo>
                    <a:lnTo>
                      <a:pt x="457" y="280"/>
                    </a:lnTo>
                    <a:lnTo>
                      <a:pt x="457" y="282"/>
                    </a:lnTo>
                    <a:lnTo>
                      <a:pt x="459" y="282"/>
                    </a:lnTo>
                    <a:lnTo>
                      <a:pt x="459" y="282"/>
                    </a:lnTo>
                    <a:lnTo>
                      <a:pt x="459" y="284"/>
                    </a:lnTo>
                    <a:lnTo>
                      <a:pt x="459" y="284"/>
                    </a:lnTo>
                    <a:lnTo>
                      <a:pt x="459" y="284"/>
                    </a:lnTo>
                    <a:lnTo>
                      <a:pt x="457" y="286"/>
                    </a:lnTo>
                    <a:lnTo>
                      <a:pt x="457" y="286"/>
                    </a:lnTo>
                    <a:lnTo>
                      <a:pt x="457" y="286"/>
                    </a:lnTo>
                    <a:lnTo>
                      <a:pt x="457" y="286"/>
                    </a:lnTo>
                    <a:lnTo>
                      <a:pt x="455" y="288"/>
                    </a:lnTo>
                    <a:lnTo>
                      <a:pt x="455" y="288"/>
                    </a:lnTo>
                    <a:lnTo>
                      <a:pt x="455" y="288"/>
                    </a:lnTo>
                    <a:lnTo>
                      <a:pt x="459" y="289"/>
                    </a:lnTo>
                    <a:lnTo>
                      <a:pt x="461" y="289"/>
                    </a:lnTo>
                    <a:lnTo>
                      <a:pt x="463" y="289"/>
                    </a:lnTo>
                    <a:lnTo>
                      <a:pt x="467" y="291"/>
                    </a:lnTo>
                    <a:lnTo>
                      <a:pt x="467" y="293"/>
                    </a:lnTo>
                    <a:lnTo>
                      <a:pt x="469" y="293"/>
                    </a:lnTo>
                    <a:lnTo>
                      <a:pt x="471" y="293"/>
                    </a:lnTo>
                    <a:lnTo>
                      <a:pt x="471" y="295"/>
                    </a:lnTo>
                    <a:lnTo>
                      <a:pt x="472" y="295"/>
                    </a:lnTo>
                    <a:lnTo>
                      <a:pt x="472" y="293"/>
                    </a:lnTo>
                    <a:lnTo>
                      <a:pt x="472" y="293"/>
                    </a:lnTo>
                    <a:lnTo>
                      <a:pt x="472" y="291"/>
                    </a:lnTo>
                    <a:lnTo>
                      <a:pt x="474" y="291"/>
                    </a:lnTo>
                    <a:lnTo>
                      <a:pt x="476" y="293"/>
                    </a:lnTo>
                    <a:lnTo>
                      <a:pt x="478" y="291"/>
                    </a:lnTo>
                    <a:lnTo>
                      <a:pt x="482" y="293"/>
                    </a:lnTo>
                    <a:lnTo>
                      <a:pt x="484" y="293"/>
                    </a:lnTo>
                    <a:lnTo>
                      <a:pt x="484" y="295"/>
                    </a:lnTo>
                    <a:lnTo>
                      <a:pt x="484" y="295"/>
                    </a:lnTo>
                    <a:lnTo>
                      <a:pt x="484" y="297"/>
                    </a:lnTo>
                    <a:lnTo>
                      <a:pt x="484" y="297"/>
                    </a:lnTo>
                    <a:lnTo>
                      <a:pt x="484" y="297"/>
                    </a:lnTo>
                    <a:lnTo>
                      <a:pt x="484" y="297"/>
                    </a:lnTo>
                    <a:lnTo>
                      <a:pt x="484" y="299"/>
                    </a:lnTo>
                    <a:lnTo>
                      <a:pt x="484" y="299"/>
                    </a:lnTo>
                    <a:lnTo>
                      <a:pt x="484" y="301"/>
                    </a:lnTo>
                    <a:lnTo>
                      <a:pt x="484" y="301"/>
                    </a:lnTo>
                    <a:lnTo>
                      <a:pt x="482" y="301"/>
                    </a:lnTo>
                    <a:lnTo>
                      <a:pt x="482" y="305"/>
                    </a:lnTo>
                    <a:lnTo>
                      <a:pt x="482" y="305"/>
                    </a:lnTo>
                    <a:lnTo>
                      <a:pt x="482" y="307"/>
                    </a:lnTo>
                    <a:lnTo>
                      <a:pt x="480" y="307"/>
                    </a:lnTo>
                    <a:lnTo>
                      <a:pt x="480" y="308"/>
                    </a:lnTo>
                    <a:lnTo>
                      <a:pt x="482" y="308"/>
                    </a:lnTo>
                    <a:lnTo>
                      <a:pt x="482" y="308"/>
                    </a:lnTo>
                    <a:lnTo>
                      <a:pt x="482" y="308"/>
                    </a:lnTo>
                    <a:lnTo>
                      <a:pt x="484" y="310"/>
                    </a:lnTo>
                    <a:lnTo>
                      <a:pt x="486" y="310"/>
                    </a:lnTo>
                    <a:lnTo>
                      <a:pt x="486" y="312"/>
                    </a:lnTo>
                    <a:lnTo>
                      <a:pt x="486" y="312"/>
                    </a:lnTo>
                    <a:lnTo>
                      <a:pt x="486" y="312"/>
                    </a:lnTo>
                    <a:lnTo>
                      <a:pt x="482" y="314"/>
                    </a:lnTo>
                    <a:lnTo>
                      <a:pt x="482" y="316"/>
                    </a:lnTo>
                    <a:lnTo>
                      <a:pt x="480" y="314"/>
                    </a:lnTo>
                    <a:lnTo>
                      <a:pt x="476" y="314"/>
                    </a:lnTo>
                    <a:lnTo>
                      <a:pt x="476" y="314"/>
                    </a:lnTo>
                    <a:lnTo>
                      <a:pt x="474" y="314"/>
                    </a:lnTo>
                    <a:lnTo>
                      <a:pt x="472" y="314"/>
                    </a:lnTo>
                    <a:lnTo>
                      <a:pt x="471" y="312"/>
                    </a:lnTo>
                    <a:lnTo>
                      <a:pt x="471" y="312"/>
                    </a:lnTo>
                    <a:lnTo>
                      <a:pt x="471" y="312"/>
                    </a:lnTo>
                    <a:lnTo>
                      <a:pt x="469" y="312"/>
                    </a:lnTo>
                    <a:lnTo>
                      <a:pt x="469" y="310"/>
                    </a:lnTo>
                    <a:lnTo>
                      <a:pt x="467" y="308"/>
                    </a:lnTo>
                    <a:lnTo>
                      <a:pt x="467" y="308"/>
                    </a:lnTo>
                    <a:lnTo>
                      <a:pt x="465" y="307"/>
                    </a:lnTo>
                    <a:lnTo>
                      <a:pt x="465" y="307"/>
                    </a:lnTo>
                    <a:lnTo>
                      <a:pt x="463" y="307"/>
                    </a:lnTo>
                    <a:lnTo>
                      <a:pt x="463" y="307"/>
                    </a:lnTo>
                    <a:lnTo>
                      <a:pt x="463" y="305"/>
                    </a:lnTo>
                    <a:lnTo>
                      <a:pt x="461" y="305"/>
                    </a:lnTo>
                    <a:lnTo>
                      <a:pt x="461" y="307"/>
                    </a:lnTo>
                    <a:lnTo>
                      <a:pt x="461" y="307"/>
                    </a:lnTo>
                    <a:lnTo>
                      <a:pt x="461" y="307"/>
                    </a:lnTo>
                    <a:lnTo>
                      <a:pt x="459" y="308"/>
                    </a:lnTo>
                    <a:lnTo>
                      <a:pt x="457" y="308"/>
                    </a:lnTo>
                    <a:lnTo>
                      <a:pt x="457" y="308"/>
                    </a:lnTo>
                    <a:lnTo>
                      <a:pt x="457" y="308"/>
                    </a:lnTo>
                    <a:lnTo>
                      <a:pt x="457" y="307"/>
                    </a:lnTo>
                    <a:lnTo>
                      <a:pt x="457" y="305"/>
                    </a:lnTo>
                    <a:lnTo>
                      <a:pt x="455" y="305"/>
                    </a:lnTo>
                    <a:lnTo>
                      <a:pt x="455" y="303"/>
                    </a:lnTo>
                    <a:lnTo>
                      <a:pt x="455" y="303"/>
                    </a:lnTo>
                    <a:lnTo>
                      <a:pt x="453" y="303"/>
                    </a:lnTo>
                    <a:lnTo>
                      <a:pt x="453" y="301"/>
                    </a:lnTo>
                    <a:lnTo>
                      <a:pt x="451" y="301"/>
                    </a:lnTo>
                    <a:lnTo>
                      <a:pt x="451" y="301"/>
                    </a:lnTo>
                    <a:lnTo>
                      <a:pt x="451" y="301"/>
                    </a:lnTo>
                    <a:lnTo>
                      <a:pt x="450" y="299"/>
                    </a:lnTo>
                    <a:lnTo>
                      <a:pt x="450" y="299"/>
                    </a:lnTo>
                    <a:lnTo>
                      <a:pt x="450" y="295"/>
                    </a:lnTo>
                    <a:lnTo>
                      <a:pt x="450" y="295"/>
                    </a:lnTo>
                    <a:lnTo>
                      <a:pt x="450" y="295"/>
                    </a:lnTo>
                    <a:lnTo>
                      <a:pt x="450" y="291"/>
                    </a:lnTo>
                    <a:lnTo>
                      <a:pt x="448" y="289"/>
                    </a:lnTo>
                    <a:lnTo>
                      <a:pt x="448" y="288"/>
                    </a:lnTo>
                    <a:lnTo>
                      <a:pt x="446" y="286"/>
                    </a:lnTo>
                    <a:lnTo>
                      <a:pt x="444" y="284"/>
                    </a:lnTo>
                    <a:lnTo>
                      <a:pt x="442" y="284"/>
                    </a:lnTo>
                    <a:lnTo>
                      <a:pt x="440" y="284"/>
                    </a:lnTo>
                    <a:lnTo>
                      <a:pt x="440" y="284"/>
                    </a:lnTo>
                    <a:lnTo>
                      <a:pt x="440" y="284"/>
                    </a:lnTo>
                    <a:lnTo>
                      <a:pt x="438" y="282"/>
                    </a:lnTo>
                    <a:lnTo>
                      <a:pt x="438" y="282"/>
                    </a:lnTo>
                    <a:lnTo>
                      <a:pt x="436" y="282"/>
                    </a:lnTo>
                    <a:lnTo>
                      <a:pt x="434" y="282"/>
                    </a:lnTo>
                    <a:lnTo>
                      <a:pt x="436" y="282"/>
                    </a:lnTo>
                    <a:lnTo>
                      <a:pt x="434" y="278"/>
                    </a:lnTo>
                    <a:lnTo>
                      <a:pt x="434" y="278"/>
                    </a:lnTo>
                    <a:lnTo>
                      <a:pt x="432" y="280"/>
                    </a:lnTo>
                    <a:lnTo>
                      <a:pt x="432" y="282"/>
                    </a:lnTo>
                    <a:lnTo>
                      <a:pt x="429" y="284"/>
                    </a:lnTo>
                    <a:lnTo>
                      <a:pt x="429" y="284"/>
                    </a:lnTo>
                    <a:lnTo>
                      <a:pt x="429" y="286"/>
                    </a:lnTo>
                    <a:lnTo>
                      <a:pt x="427" y="286"/>
                    </a:lnTo>
                    <a:lnTo>
                      <a:pt x="427" y="286"/>
                    </a:lnTo>
                    <a:lnTo>
                      <a:pt x="427" y="286"/>
                    </a:lnTo>
                    <a:lnTo>
                      <a:pt x="425" y="286"/>
                    </a:lnTo>
                    <a:lnTo>
                      <a:pt x="425" y="288"/>
                    </a:lnTo>
                    <a:lnTo>
                      <a:pt x="425" y="288"/>
                    </a:lnTo>
                    <a:lnTo>
                      <a:pt x="423" y="286"/>
                    </a:lnTo>
                    <a:lnTo>
                      <a:pt x="421" y="286"/>
                    </a:lnTo>
                    <a:lnTo>
                      <a:pt x="421" y="288"/>
                    </a:lnTo>
                    <a:lnTo>
                      <a:pt x="421" y="289"/>
                    </a:lnTo>
                    <a:lnTo>
                      <a:pt x="417" y="289"/>
                    </a:lnTo>
                    <a:lnTo>
                      <a:pt x="415" y="293"/>
                    </a:lnTo>
                    <a:lnTo>
                      <a:pt x="413" y="293"/>
                    </a:lnTo>
                    <a:lnTo>
                      <a:pt x="413" y="295"/>
                    </a:lnTo>
                    <a:lnTo>
                      <a:pt x="411" y="297"/>
                    </a:lnTo>
                    <a:lnTo>
                      <a:pt x="411" y="299"/>
                    </a:lnTo>
                    <a:lnTo>
                      <a:pt x="409" y="301"/>
                    </a:lnTo>
                    <a:lnTo>
                      <a:pt x="409" y="303"/>
                    </a:lnTo>
                    <a:lnTo>
                      <a:pt x="409" y="303"/>
                    </a:lnTo>
                    <a:lnTo>
                      <a:pt x="413" y="303"/>
                    </a:lnTo>
                    <a:lnTo>
                      <a:pt x="415" y="303"/>
                    </a:lnTo>
                    <a:lnTo>
                      <a:pt x="415" y="305"/>
                    </a:lnTo>
                    <a:lnTo>
                      <a:pt x="415" y="305"/>
                    </a:lnTo>
                    <a:lnTo>
                      <a:pt x="415" y="307"/>
                    </a:lnTo>
                    <a:lnTo>
                      <a:pt x="415" y="307"/>
                    </a:lnTo>
                    <a:lnTo>
                      <a:pt x="419" y="308"/>
                    </a:lnTo>
                    <a:lnTo>
                      <a:pt x="419" y="310"/>
                    </a:lnTo>
                    <a:lnTo>
                      <a:pt x="417" y="312"/>
                    </a:lnTo>
                    <a:lnTo>
                      <a:pt x="417" y="314"/>
                    </a:lnTo>
                    <a:lnTo>
                      <a:pt x="417" y="318"/>
                    </a:lnTo>
                    <a:lnTo>
                      <a:pt x="415" y="318"/>
                    </a:lnTo>
                    <a:lnTo>
                      <a:pt x="415" y="320"/>
                    </a:lnTo>
                    <a:lnTo>
                      <a:pt x="413" y="322"/>
                    </a:lnTo>
                    <a:lnTo>
                      <a:pt x="413" y="322"/>
                    </a:lnTo>
                    <a:lnTo>
                      <a:pt x="411" y="324"/>
                    </a:lnTo>
                    <a:lnTo>
                      <a:pt x="409" y="324"/>
                    </a:lnTo>
                    <a:lnTo>
                      <a:pt x="409" y="324"/>
                    </a:lnTo>
                    <a:lnTo>
                      <a:pt x="408" y="329"/>
                    </a:lnTo>
                    <a:lnTo>
                      <a:pt x="406" y="331"/>
                    </a:lnTo>
                    <a:lnTo>
                      <a:pt x="404" y="333"/>
                    </a:lnTo>
                    <a:lnTo>
                      <a:pt x="402" y="333"/>
                    </a:lnTo>
                    <a:lnTo>
                      <a:pt x="400" y="333"/>
                    </a:lnTo>
                    <a:lnTo>
                      <a:pt x="398" y="331"/>
                    </a:lnTo>
                    <a:lnTo>
                      <a:pt x="396" y="329"/>
                    </a:lnTo>
                    <a:lnTo>
                      <a:pt x="396" y="327"/>
                    </a:lnTo>
                    <a:lnTo>
                      <a:pt x="394" y="326"/>
                    </a:lnTo>
                    <a:lnTo>
                      <a:pt x="394" y="324"/>
                    </a:lnTo>
                    <a:lnTo>
                      <a:pt x="390" y="324"/>
                    </a:lnTo>
                    <a:lnTo>
                      <a:pt x="389" y="326"/>
                    </a:lnTo>
                    <a:lnTo>
                      <a:pt x="387" y="326"/>
                    </a:lnTo>
                    <a:lnTo>
                      <a:pt x="383" y="320"/>
                    </a:lnTo>
                    <a:lnTo>
                      <a:pt x="383" y="320"/>
                    </a:lnTo>
                    <a:lnTo>
                      <a:pt x="381" y="320"/>
                    </a:lnTo>
                    <a:lnTo>
                      <a:pt x="379" y="322"/>
                    </a:lnTo>
                    <a:lnTo>
                      <a:pt x="377" y="324"/>
                    </a:lnTo>
                    <a:lnTo>
                      <a:pt x="375" y="324"/>
                    </a:lnTo>
                    <a:lnTo>
                      <a:pt x="371" y="326"/>
                    </a:lnTo>
                    <a:lnTo>
                      <a:pt x="369" y="326"/>
                    </a:lnTo>
                    <a:lnTo>
                      <a:pt x="368" y="327"/>
                    </a:lnTo>
                    <a:lnTo>
                      <a:pt x="366" y="329"/>
                    </a:lnTo>
                    <a:lnTo>
                      <a:pt x="364" y="329"/>
                    </a:lnTo>
                    <a:lnTo>
                      <a:pt x="362" y="327"/>
                    </a:lnTo>
                    <a:lnTo>
                      <a:pt x="360" y="327"/>
                    </a:lnTo>
                    <a:lnTo>
                      <a:pt x="358" y="329"/>
                    </a:lnTo>
                    <a:lnTo>
                      <a:pt x="358" y="331"/>
                    </a:lnTo>
                    <a:lnTo>
                      <a:pt x="356" y="331"/>
                    </a:lnTo>
                    <a:lnTo>
                      <a:pt x="354" y="331"/>
                    </a:lnTo>
                    <a:lnTo>
                      <a:pt x="352" y="333"/>
                    </a:lnTo>
                    <a:lnTo>
                      <a:pt x="350" y="331"/>
                    </a:lnTo>
                    <a:lnTo>
                      <a:pt x="348" y="333"/>
                    </a:lnTo>
                    <a:lnTo>
                      <a:pt x="345" y="335"/>
                    </a:lnTo>
                    <a:lnTo>
                      <a:pt x="341" y="335"/>
                    </a:lnTo>
                    <a:lnTo>
                      <a:pt x="341" y="337"/>
                    </a:lnTo>
                    <a:lnTo>
                      <a:pt x="339" y="339"/>
                    </a:lnTo>
                    <a:lnTo>
                      <a:pt x="339" y="339"/>
                    </a:lnTo>
                    <a:lnTo>
                      <a:pt x="335" y="339"/>
                    </a:lnTo>
                    <a:lnTo>
                      <a:pt x="329" y="339"/>
                    </a:lnTo>
                    <a:lnTo>
                      <a:pt x="328" y="339"/>
                    </a:lnTo>
                    <a:lnTo>
                      <a:pt x="326" y="339"/>
                    </a:lnTo>
                    <a:lnTo>
                      <a:pt x="322" y="341"/>
                    </a:lnTo>
                    <a:lnTo>
                      <a:pt x="320" y="341"/>
                    </a:lnTo>
                    <a:lnTo>
                      <a:pt x="318" y="341"/>
                    </a:lnTo>
                    <a:lnTo>
                      <a:pt x="318" y="343"/>
                    </a:lnTo>
                    <a:lnTo>
                      <a:pt x="314" y="346"/>
                    </a:lnTo>
                    <a:lnTo>
                      <a:pt x="314" y="348"/>
                    </a:lnTo>
                    <a:lnTo>
                      <a:pt x="314" y="350"/>
                    </a:lnTo>
                    <a:lnTo>
                      <a:pt x="314" y="352"/>
                    </a:lnTo>
                    <a:lnTo>
                      <a:pt x="314" y="354"/>
                    </a:lnTo>
                    <a:lnTo>
                      <a:pt x="314" y="354"/>
                    </a:lnTo>
                    <a:lnTo>
                      <a:pt x="314" y="356"/>
                    </a:lnTo>
                    <a:lnTo>
                      <a:pt x="312" y="358"/>
                    </a:lnTo>
                    <a:lnTo>
                      <a:pt x="312" y="360"/>
                    </a:lnTo>
                    <a:lnTo>
                      <a:pt x="312" y="364"/>
                    </a:lnTo>
                    <a:lnTo>
                      <a:pt x="312" y="366"/>
                    </a:lnTo>
                    <a:lnTo>
                      <a:pt x="312" y="367"/>
                    </a:lnTo>
                    <a:lnTo>
                      <a:pt x="314" y="369"/>
                    </a:lnTo>
                    <a:lnTo>
                      <a:pt x="314" y="371"/>
                    </a:lnTo>
                    <a:lnTo>
                      <a:pt x="314" y="375"/>
                    </a:lnTo>
                    <a:lnTo>
                      <a:pt x="314" y="383"/>
                    </a:lnTo>
                    <a:lnTo>
                      <a:pt x="312" y="385"/>
                    </a:lnTo>
                    <a:lnTo>
                      <a:pt x="310" y="385"/>
                    </a:lnTo>
                    <a:lnTo>
                      <a:pt x="308" y="386"/>
                    </a:lnTo>
                    <a:lnTo>
                      <a:pt x="307" y="386"/>
                    </a:lnTo>
                    <a:lnTo>
                      <a:pt x="307" y="386"/>
                    </a:lnTo>
                    <a:lnTo>
                      <a:pt x="305" y="386"/>
                    </a:lnTo>
                    <a:lnTo>
                      <a:pt x="303" y="385"/>
                    </a:lnTo>
                    <a:lnTo>
                      <a:pt x="303" y="385"/>
                    </a:lnTo>
                    <a:lnTo>
                      <a:pt x="301" y="385"/>
                    </a:lnTo>
                    <a:lnTo>
                      <a:pt x="293" y="385"/>
                    </a:lnTo>
                    <a:lnTo>
                      <a:pt x="291" y="383"/>
                    </a:lnTo>
                    <a:lnTo>
                      <a:pt x="291" y="383"/>
                    </a:lnTo>
                    <a:lnTo>
                      <a:pt x="289" y="383"/>
                    </a:lnTo>
                    <a:lnTo>
                      <a:pt x="287" y="383"/>
                    </a:lnTo>
                    <a:lnTo>
                      <a:pt x="286" y="383"/>
                    </a:lnTo>
                    <a:lnTo>
                      <a:pt x="284" y="385"/>
                    </a:lnTo>
                    <a:lnTo>
                      <a:pt x="282" y="386"/>
                    </a:lnTo>
                    <a:lnTo>
                      <a:pt x="280" y="386"/>
                    </a:lnTo>
                    <a:lnTo>
                      <a:pt x="278" y="388"/>
                    </a:lnTo>
                    <a:lnTo>
                      <a:pt x="276" y="388"/>
                    </a:lnTo>
                    <a:lnTo>
                      <a:pt x="274" y="390"/>
                    </a:lnTo>
                    <a:lnTo>
                      <a:pt x="274" y="390"/>
                    </a:lnTo>
                    <a:lnTo>
                      <a:pt x="274" y="394"/>
                    </a:lnTo>
                    <a:lnTo>
                      <a:pt x="276" y="398"/>
                    </a:lnTo>
                    <a:lnTo>
                      <a:pt x="276" y="400"/>
                    </a:lnTo>
                    <a:lnTo>
                      <a:pt x="274" y="400"/>
                    </a:lnTo>
                    <a:lnTo>
                      <a:pt x="274" y="400"/>
                    </a:lnTo>
                    <a:lnTo>
                      <a:pt x="274" y="402"/>
                    </a:lnTo>
                    <a:lnTo>
                      <a:pt x="272" y="402"/>
                    </a:lnTo>
                    <a:lnTo>
                      <a:pt x="272" y="402"/>
                    </a:lnTo>
                    <a:lnTo>
                      <a:pt x="268" y="400"/>
                    </a:lnTo>
                    <a:lnTo>
                      <a:pt x="268" y="400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8" y="394"/>
                    </a:lnTo>
                    <a:lnTo>
                      <a:pt x="266" y="394"/>
                    </a:lnTo>
                    <a:lnTo>
                      <a:pt x="266" y="394"/>
                    </a:lnTo>
                    <a:lnTo>
                      <a:pt x="265" y="394"/>
                    </a:lnTo>
                    <a:lnTo>
                      <a:pt x="265" y="396"/>
                    </a:lnTo>
                    <a:lnTo>
                      <a:pt x="265" y="396"/>
                    </a:lnTo>
                    <a:lnTo>
                      <a:pt x="265" y="398"/>
                    </a:lnTo>
                    <a:lnTo>
                      <a:pt x="265" y="400"/>
                    </a:lnTo>
                    <a:lnTo>
                      <a:pt x="265" y="400"/>
                    </a:lnTo>
                    <a:lnTo>
                      <a:pt x="265" y="402"/>
                    </a:lnTo>
                    <a:lnTo>
                      <a:pt x="265" y="402"/>
                    </a:lnTo>
                    <a:lnTo>
                      <a:pt x="265" y="404"/>
                    </a:lnTo>
                    <a:lnTo>
                      <a:pt x="263" y="407"/>
                    </a:lnTo>
                    <a:lnTo>
                      <a:pt x="263" y="407"/>
                    </a:lnTo>
                    <a:lnTo>
                      <a:pt x="261" y="409"/>
                    </a:lnTo>
                    <a:lnTo>
                      <a:pt x="259" y="411"/>
                    </a:lnTo>
                    <a:lnTo>
                      <a:pt x="257" y="411"/>
                    </a:lnTo>
                    <a:lnTo>
                      <a:pt x="255" y="411"/>
                    </a:lnTo>
                    <a:lnTo>
                      <a:pt x="253" y="411"/>
                    </a:lnTo>
                    <a:lnTo>
                      <a:pt x="251" y="411"/>
                    </a:lnTo>
                    <a:lnTo>
                      <a:pt x="249" y="411"/>
                    </a:lnTo>
                    <a:lnTo>
                      <a:pt x="246" y="409"/>
                    </a:lnTo>
                    <a:lnTo>
                      <a:pt x="244" y="409"/>
                    </a:lnTo>
                    <a:lnTo>
                      <a:pt x="244" y="407"/>
                    </a:lnTo>
                    <a:lnTo>
                      <a:pt x="242" y="405"/>
                    </a:lnTo>
                    <a:lnTo>
                      <a:pt x="242" y="404"/>
                    </a:lnTo>
                    <a:lnTo>
                      <a:pt x="240" y="404"/>
                    </a:lnTo>
                    <a:lnTo>
                      <a:pt x="238" y="402"/>
                    </a:lnTo>
                    <a:lnTo>
                      <a:pt x="236" y="402"/>
                    </a:lnTo>
                    <a:lnTo>
                      <a:pt x="234" y="404"/>
                    </a:lnTo>
                    <a:lnTo>
                      <a:pt x="232" y="405"/>
                    </a:lnTo>
                    <a:lnTo>
                      <a:pt x="230" y="407"/>
                    </a:lnTo>
                    <a:lnTo>
                      <a:pt x="230" y="407"/>
                    </a:lnTo>
                    <a:lnTo>
                      <a:pt x="228" y="407"/>
                    </a:lnTo>
                    <a:lnTo>
                      <a:pt x="226" y="407"/>
                    </a:lnTo>
                    <a:lnTo>
                      <a:pt x="225" y="405"/>
                    </a:lnTo>
                    <a:lnTo>
                      <a:pt x="223" y="405"/>
                    </a:lnTo>
                    <a:lnTo>
                      <a:pt x="217" y="404"/>
                    </a:lnTo>
                    <a:lnTo>
                      <a:pt x="213" y="404"/>
                    </a:lnTo>
                    <a:lnTo>
                      <a:pt x="211" y="404"/>
                    </a:lnTo>
                    <a:lnTo>
                      <a:pt x="207" y="405"/>
                    </a:lnTo>
                    <a:lnTo>
                      <a:pt x="205" y="407"/>
                    </a:lnTo>
                    <a:lnTo>
                      <a:pt x="204" y="407"/>
                    </a:lnTo>
                    <a:lnTo>
                      <a:pt x="202" y="407"/>
                    </a:lnTo>
                    <a:lnTo>
                      <a:pt x="202" y="409"/>
                    </a:lnTo>
                    <a:lnTo>
                      <a:pt x="200" y="409"/>
                    </a:lnTo>
                    <a:lnTo>
                      <a:pt x="200" y="411"/>
                    </a:lnTo>
                    <a:lnTo>
                      <a:pt x="196" y="411"/>
                    </a:lnTo>
                    <a:lnTo>
                      <a:pt x="196" y="411"/>
                    </a:lnTo>
                    <a:lnTo>
                      <a:pt x="194" y="411"/>
                    </a:lnTo>
                    <a:lnTo>
                      <a:pt x="192" y="411"/>
                    </a:lnTo>
                    <a:lnTo>
                      <a:pt x="192" y="411"/>
                    </a:lnTo>
                    <a:lnTo>
                      <a:pt x="192" y="415"/>
                    </a:lnTo>
                    <a:lnTo>
                      <a:pt x="192" y="415"/>
                    </a:lnTo>
                    <a:lnTo>
                      <a:pt x="192" y="417"/>
                    </a:lnTo>
                    <a:lnTo>
                      <a:pt x="192" y="419"/>
                    </a:lnTo>
                    <a:lnTo>
                      <a:pt x="190" y="419"/>
                    </a:lnTo>
                    <a:lnTo>
                      <a:pt x="190" y="421"/>
                    </a:lnTo>
                    <a:lnTo>
                      <a:pt x="190" y="423"/>
                    </a:lnTo>
                    <a:lnTo>
                      <a:pt x="190" y="423"/>
                    </a:lnTo>
                    <a:lnTo>
                      <a:pt x="190" y="425"/>
                    </a:lnTo>
                    <a:lnTo>
                      <a:pt x="188" y="425"/>
                    </a:lnTo>
                    <a:lnTo>
                      <a:pt x="186" y="426"/>
                    </a:lnTo>
                    <a:lnTo>
                      <a:pt x="184" y="426"/>
                    </a:lnTo>
                    <a:lnTo>
                      <a:pt x="183" y="428"/>
                    </a:lnTo>
                    <a:lnTo>
                      <a:pt x="183" y="428"/>
                    </a:lnTo>
                    <a:lnTo>
                      <a:pt x="183" y="430"/>
                    </a:lnTo>
                    <a:lnTo>
                      <a:pt x="183" y="430"/>
                    </a:lnTo>
                    <a:lnTo>
                      <a:pt x="181" y="432"/>
                    </a:lnTo>
                    <a:lnTo>
                      <a:pt x="181" y="432"/>
                    </a:lnTo>
                    <a:lnTo>
                      <a:pt x="181" y="434"/>
                    </a:lnTo>
                    <a:lnTo>
                      <a:pt x="181" y="434"/>
                    </a:lnTo>
                    <a:lnTo>
                      <a:pt x="179" y="434"/>
                    </a:lnTo>
                    <a:lnTo>
                      <a:pt x="179" y="434"/>
                    </a:lnTo>
                    <a:lnTo>
                      <a:pt x="177" y="434"/>
                    </a:lnTo>
                    <a:lnTo>
                      <a:pt x="175" y="434"/>
                    </a:lnTo>
                    <a:lnTo>
                      <a:pt x="175" y="436"/>
                    </a:lnTo>
                    <a:lnTo>
                      <a:pt x="175" y="438"/>
                    </a:lnTo>
                    <a:lnTo>
                      <a:pt x="173" y="438"/>
                    </a:lnTo>
                    <a:lnTo>
                      <a:pt x="173" y="438"/>
                    </a:lnTo>
                    <a:lnTo>
                      <a:pt x="167" y="436"/>
                    </a:lnTo>
                    <a:lnTo>
                      <a:pt x="167" y="434"/>
                    </a:lnTo>
                    <a:lnTo>
                      <a:pt x="165" y="432"/>
                    </a:lnTo>
                    <a:lnTo>
                      <a:pt x="165" y="432"/>
                    </a:lnTo>
                    <a:lnTo>
                      <a:pt x="165" y="428"/>
                    </a:lnTo>
                    <a:lnTo>
                      <a:pt x="164" y="428"/>
                    </a:lnTo>
                    <a:lnTo>
                      <a:pt x="164" y="428"/>
                    </a:lnTo>
                    <a:lnTo>
                      <a:pt x="164" y="428"/>
                    </a:lnTo>
                    <a:lnTo>
                      <a:pt x="162" y="428"/>
                    </a:lnTo>
                    <a:lnTo>
                      <a:pt x="162" y="430"/>
                    </a:lnTo>
                    <a:lnTo>
                      <a:pt x="160" y="432"/>
                    </a:lnTo>
                    <a:lnTo>
                      <a:pt x="160" y="434"/>
                    </a:lnTo>
                    <a:lnTo>
                      <a:pt x="160" y="432"/>
                    </a:lnTo>
                    <a:lnTo>
                      <a:pt x="156" y="432"/>
                    </a:lnTo>
                    <a:lnTo>
                      <a:pt x="156" y="430"/>
                    </a:lnTo>
                    <a:lnTo>
                      <a:pt x="152" y="430"/>
                    </a:lnTo>
                    <a:lnTo>
                      <a:pt x="150" y="430"/>
                    </a:lnTo>
                    <a:lnTo>
                      <a:pt x="148" y="430"/>
                    </a:lnTo>
                    <a:lnTo>
                      <a:pt x="146" y="428"/>
                    </a:lnTo>
                    <a:lnTo>
                      <a:pt x="144" y="428"/>
                    </a:lnTo>
                    <a:lnTo>
                      <a:pt x="143" y="428"/>
                    </a:lnTo>
                    <a:lnTo>
                      <a:pt x="143" y="430"/>
                    </a:lnTo>
                    <a:lnTo>
                      <a:pt x="141" y="432"/>
                    </a:lnTo>
                    <a:lnTo>
                      <a:pt x="139" y="432"/>
                    </a:lnTo>
                    <a:lnTo>
                      <a:pt x="139" y="430"/>
                    </a:lnTo>
                    <a:lnTo>
                      <a:pt x="139" y="432"/>
                    </a:lnTo>
                    <a:lnTo>
                      <a:pt x="137" y="432"/>
                    </a:lnTo>
                    <a:lnTo>
                      <a:pt x="135" y="432"/>
                    </a:lnTo>
                    <a:lnTo>
                      <a:pt x="135" y="432"/>
                    </a:lnTo>
                    <a:lnTo>
                      <a:pt x="133" y="432"/>
                    </a:lnTo>
                    <a:lnTo>
                      <a:pt x="131" y="432"/>
                    </a:lnTo>
                    <a:lnTo>
                      <a:pt x="131" y="432"/>
                    </a:lnTo>
                    <a:lnTo>
                      <a:pt x="129" y="430"/>
                    </a:lnTo>
                    <a:lnTo>
                      <a:pt x="129" y="430"/>
                    </a:lnTo>
                    <a:lnTo>
                      <a:pt x="127" y="430"/>
                    </a:lnTo>
                    <a:lnTo>
                      <a:pt x="125" y="430"/>
                    </a:lnTo>
                    <a:lnTo>
                      <a:pt x="125" y="430"/>
                    </a:lnTo>
                    <a:lnTo>
                      <a:pt x="123" y="430"/>
                    </a:lnTo>
                    <a:lnTo>
                      <a:pt x="123" y="430"/>
                    </a:lnTo>
                    <a:lnTo>
                      <a:pt x="122" y="430"/>
                    </a:lnTo>
                    <a:lnTo>
                      <a:pt x="122" y="430"/>
                    </a:lnTo>
                    <a:lnTo>
                      <a:pt x="120" y="432"/>
                    </a:lnTo>
                    <a:lnTo>
                      <a:pt x="118" y="430"/>
                    </a:lnTo>
                    <a:lnTo>
                      <a:pt x="116" y="430"/>
                    </a:lnTo>
                    <a:lnTo>
                      <a:pt x="114" y="430"/>
                    </a:lnTo>
                    <a:lnTo>
                      <a:pt x="114" y="428"/>
                    </a:lnTo>
                    <a:lnTo>
                      <a:pt x="112" y="428"/>
                    </a:lnTo>
                    <a:lnTo>
                      <a:pt x="112" y="426"/>
                    </a:lnTo>
                    <a:lnTo>
                      <a:pt x="112" y="426"/>
                    </a:lnTo>
                    <a:lnTo>
                      <a:pt x="110" y="426"/>
                    </a:lnTo>
                    <a:lnTo>
                      <a:pt x="110" y="426"/>
                    </a:lnTo>
                    <a:lnTo>
                      <a:pt x="108" y="426"/>
                    </a:lnTo>
                    <a:lnTo>
                      <a:pt x="106" y="426"/>
                    </a:lnTo>
                    <a:lnTo>
                      <a:pt x="104" y="426"/>
                    </a:lnTo>
                    <a:lnTo>
                      <a:pt x="101" y="426"/>
                    </a:lnTo>
                    <a:lnTo>
                      <a:pt x="95" y="425"/>
                    </a:lnTo>
                    <a:lnTo>
                      <a:pt x="91" y="421"/>
                    </a:lnTo>
                    <a:lnTo>
                      <a:pt x="89" y="421"/>
                    </a:lnTo>
                    <a:lnTo>
                      <a:pt x="87" y="421"/>
                    </a:lnTo>
                    <a:lnTo>
                      <a:pt x="72" y="421"/>
                    </a:lnTo>
                    <a:lnTo>
                      <a:pt x="68" y="421"/>
                    </a:lnTo>
                    <a:lnTo>
                      <a:pt x="66" y="419"/>
                    </a:lnTo>
                    <a:lnTo>
                      <a:pt x="64" y="419"/>
                    </a:lnTo>
                    <a:lnTo>
                      <a:pt x="62" y="419"/>
                    </a:lnTo>
                    <a:lnTo>
                      <a:pt x="55" y="419"/>
                    </a:lnTo>
                    <a:lnTo>
                      <a:pt x="53" y="421"/>
                    </a:lnTo>
                    <a:lnTo>
                      <a:pt x="43" y="425"/>
                    </a:lnTo>
                    <a:lnTo>
                      <a:pt x="38" y="432"/>
                    </a:lnTo>
                    <a:lnTo>
                      <a:pt x="40" y="434"/>
                    </a:lnTo>
                    <a:lnTo>
                      <a:pt x="38" y="434"/>
                    </a:lnTo>
                    <a:lnTo>
                      <a:pt x="38" y="438"/>
                    </a:lnTo>
                    <a:lnTo>
                      <a:pt x="38" y="444"/>
                    </a:lnTo>
                    <a:lnTo>
                      <a:pt x="38" y="445"/>
                    </a:lnTo>
                    <a:lnTo>
                      <a:pt x="38" y="447"/>
                    </a:lnTo>
                    <a:lnTo>
                      <a:pt x="40" y="447"/>
                    </a:lnTo>
                    <a:lnTo>
                      <a:pt x="40" y="447"/>
                    </a:lnTo>
                    <a:lnTo>
                      <a:pt x="40" y="449"/>
                    </a:lnTo>
                    <a:lnTo>
                      <a:pt x="41" y="449"/>
                    </a:lnTo>
                    <a:lnTo>
                      <a:pt x="41" y="453"/>
                    </a:lnTo>
                    <a:lnTo>
                      <a:pt x="43" y="455"/>
                    </a:lnTo>
                    <a:lnTo>
                      <a:pt x="45" y="459"/>
                    </a:lnTo>
                    <a:lnTo>
                      <a:pt x="45" y="459"/>
                    </a:lnTo>
                    <a:lnTo>
                      <a:pt x="43" y="461"/>
                    </a:lnTo>
                    <a:lnTo>
                      <a:pt x="43" y="459"/>
                    </a:lnTo>
                    <a:lnTo>
                      <a:pt x="41" y="459"/>
                    </a:lnTo>
                    <a:lnTo>
                      <a:pt x="40" y="459"/>
                    </a:lnTo>
                    <a:lnTo>
                      <a:pt x="40" y="459"/>
                    </a:lnTo>
                    <a:lnTo>
                      <a:pt x="38" y="459"/>
                    </a:lnTo>
                    <a:lnTo>
                      <a:pt x="38" y="461"/>
                    </a:lnTo>
                    <a:lnTo>
                      <a:pt x="36" y="461"/>
                    </a:lnTo>
                    <a:lnTo>
                      <a:pt x="34" y="463"/>
                    </a:lnTo>
                    <a:lnTo>
                      <a:pt x="34" y="464"/>
                    </a:lnTo>
                    <a:lnTo>
                      <a:pt x="34" y="464"/>
                    </a:lnTo>
                    <a:lnTo>
                      <a:pt x="34" y="464"/>
                    </a:lnTo>
                    <a:lnTo>
                      <a:pt x="36" y="470"/>
                    </a:lnTo>
                    <a:lnTo>
                      <a:pt x="36" y="476"/>
                    </a:lnTo>
                    <a:lnTo>
                      <a:pt x="36" y="478"/>
                    </a:lnTo>
                    <a:lnTo>
                      <a:pt x="36" y="480"/>
                    </a:lnTo>
                    <a:lnTo>
                      <a:pt x="34" y="480"/>
                    </a:lnTo>
                    <a:lnTo>
                      <a:pt x="34" y="480"/>
                    </a:lnTo>
                    <a:lnTo>
                      <a:pt x="32" y="478"/>
                    </a:lnTo>
                    <a:lnTo>
                      <a:pt x="30" y="478"/>
                    </a:lnTo>
                    <a:lnTo>
                      <a:pt x="30" y="478"/>
                    </a:lnTo>
                    <a:lnTo>
                      <a:pt x="30" y="480"/>
                    </a:lnTo>
                    <a:lnTo>
                      <a:pt x="30" y="480"/>
                    </a:lnTo>
                    <a:lnTo>
                      <a:pt x="30" y="480"/>
                    </a:lnTo>
                    <a:lnTo>
                      <a:pt x="32" y="482"/>
                    </a:lnTo>
                    <a:lnTo>
                      <a:pt x="32" y="485"/>
                    </a:lnTo>
                    <a:lnTo>
                      <a:pt x="34" y="485"/>
                    </a:lnTo>
                    <a:lnTo>
                      <a:pt x="34" y="487"/>
                    </a:lnTo>
                    <a:lnTo>
                      <a:pt x="34" y="487"/>
                    </a:lnTo>
                    <a:lnTo>
                      <a:pt x="36" y="489"/>
                    </a:lnTo>
                    <a:lnTo>
                      <a:pt x="36" y="491"/>
                    </a:lnTo>
                    <a:lnTo>
                      <a:pt x="38" y="497"/>
                    </a:lnTo>
                    <a:lnTo>
                      <a:pt x="38" y="499"/>
                    </a:lnTo>
                    <a:lnTo>
                      <a:pt x="38" y="501"/>
                    </a:lnTo>
                    <a:lnTo>
                      <a:pt x="40" y="501"/>
                    </a:lnTo>
                    <a:lnTo>
                      <a:pt x="43" y="501"/>
                    </a:lnTo>
                    <a:lnTo>
                      <a:pt x="45" y="503"/>
                    </a:lnTo>
                    <a:lnTo>
                      <a:pt x="45" y="503"/>
                    </a:lnTo>
                    <a:lnTo>
                      <a:pt x="47" y="504"/>
                    </a:lnTo>
                    <a:lnTo>
                      <a:pt x="49" y="514"/>
                    </a:lnTo>
                    <a:lnTo>
                      <a:pt x="51" y="520"/>
                    </a:lnTo>
                    <a:lnTo>
                      <a:pt x="51" y="522"/>
                    </a:lnTo>
                    <a:lnTo>
                      <a:pt x="51" y="525"/>
                    </a:lnTo>
                    <a:lnTo>
                      <a:pt x="51" y="527"/>
                    </a:lnTo>
                    <a:lnTo>
                      <a:pt x="51" y="527"/>
                    </a:lnTo>
                    <a:lnTo>
                      <a:pt x="49" y="529"/>
                    </a:lnTo>
                    <a:lnTo>
                      <a:pt x="49" y="529"/>
                    </a:lnTo>
                    <a:lnTo>
                      <a:pt x="49" y="531"/>
                    </a:lnTo>
                    <a:lnTo>
                      <a:pt x="47" y="533"/>
                    </a:lnTo>
                    <a:lnTo>
                      <a:pt x="47" y="533"/>
                    </a:lnTo>
                    <a:lnTo>
                      <a:pt x="45" y="537"/>
                    </a:lnTo>
                    <a:lnTo>
                      <a:pt x="45" y="539"/>
                    </a:lnTo>
                    <a:lnTo>
                      <a:pt x="45" y="541"/>
                    </a:lnTo>
                    <a:lnTo>
                      <a:pt x="41" y="542"/>
                    </a:lnTo>
                    <a:lnTo>
                      <a:pt x="41" y="544"/>
                    </a:lnTo>
                    <a:lnTo>
                      <a:pt x="40" y="544"/>
                    </a:lnTo>
                    <a:lnTo>
                      <a:pt x="40" y="544"/>
                    </a:lnTo>
                    <a:lnTo>
                      <a:pt x="38" y="544"/>
                    </a:lnTo>
                    <a:lnTo>
                      <a:pt x="38" y="542"/>
                    </a:lnTo>
                    <a:lnTo>
                      <a:pt x="36" y="542"/>
                    </a:lnTo>
                    <a:lnTo>
                      <a:pt x="36" y="541"/>
                    </a:lnTo>
                    <a:lnTo>
                      <a:pt x="36" y="541"/>
                    </a:lnTo>
                    <a:lnTo>
                      <a:pt x="34" y="541"/>
                    </a:lnTo>
                    <a:lnTo>
                      <a:pt x="34" y="541"/>
                    </a:lnTo>
                    <a:lnTo>
                      <a:pt x="32" y="541"/>
                    </a:lnTo>
                    <a:lnTo>
                      <a:pt x="30" y="541"/>
                    </a:lnTo>
                    <a:lnTo>
                      <a:pt x="28" y="542"/>
                    </a:lnTo>
                    <a:lnTo>
                      <a:pt x="28" y="542"/>
                    </a:lnTo>
                    <a:lnTo>
                      <a:pt x="26" y="542"/>
                    </a:lnTo>
                    <a:lnTo>
                      <a:pt x="24" y="541"/>
                    </a:lnTo>
                    <a:lnTo>
                      <a:pt x="22" y="541"/>
                    </a:lnTo>
                    <a:lnTo>
                      <a:pt x="19" y="541"/>
                    </a:lnTo>
                    <a:lnTo>
                      <a:pt x="17" y="539"/>
                    </a:lnTo>
                    <a:lnTo>
                      <a:pt x="7" y="533"/>
                    </a:lnTo>
                    <a:lnTo>
                      <a:pt x="5" y="533"/>
                    </a:lnTo>
                    <a:lnTo>
                      <a:pt x="3" y="537"/>
                    </a:lnTo>
                    <a:lnTo>
                      <a:pt x="1" y="539"/>
                    </a:lnTo>
                    <a:lnTo>
                      <a:pt x="1" y="541"/>
                    </a:lnTo>
                    <a:lnTo>
                      <a:pt x="1" y="542"/>
                    </a:lnTo>
                    <a:lnTo>
                      <a:pt x="1" y="542"/>
                    </a:lnTo>
                    <a:lnTo>
                      <a:pt x="1" y="544"/>
                    </a:lnTo>
                    <a:lnTo>
                      <a:pt x="0" y="544"/>
                    </a:lnTo>
                    <a:lnTo>
                      <a:pt x="0" y="546"/>
                    </a:lnTo>
                    <a:lnTo>
                      <a:pt x="0" y="546"/>
                    </a:lnTo>
                    <a:lnTo>
                      <a:pt x="0" y="546"/>
                    </a:lnTo>
                    <a:lnTo>
                      <a:pt x="0" y="548"/>
                    </a:lnTo>
                    <a:lnTo>
                      <a:pt x="3" y="548"/>
                    </a:lnTo>
                    <a:lnTo>
                      <a:pt x="5" y="548"/>
                    </a:lnTo>
                    <a:lnTo>
                      <a:pt x="7" y="550"/>
                    </a:lnTo>
                    <a:lnTo>
                      <a:pt x="7" y="550"/>
                    </a:lnTo>
                    <a:lnTo>
                      <a:pt x="9" y="550"/>
                    </a:lnTo>
                    <a:lnTo>
                      <a:pt x="9" y="550"/>
                    </a:lnTo>
                    <a:lnTo>
                      <a:pt x="11" y="552"/>
                    </a:lnTo>
                    <a:lnTo>
                      <a:pt x="11" y="552"/>
                    </a:lnTo>
                    <a:lnTo>
                      <a:pt x="13" y="554"/>
                    </a:lnTo>
                    <a:lnTo>
                      <a:pt x="13" y="556"/>
                    </a:lnTo>
                    <a:lnTo>
                      <a:pt x="11" y="558"/>
                    </a:lnTo>
                    <a:lnTo>
                      <a:pt x="11" y="560"/>
                    </a:lnTo>
                    <a:lnTo>
                      <a:pt x="11" y="563"/>
                    </a:lnTo>
                    <a:lnTo>
                      <a:pt x="9" y="571"/>
                    </a:lnTo>
                    <a:lnTo>
                      <a:pt x="9" y="573"/>
                    </a:lnTo>
                    <a:lnTo>
                      <a:pt x="9" y="573"/>
                    </a:lnTo>
                    <a:lnTo>
                      <a:pt x="7" y="573"/>
                    </a:lnTo>
                    <a:lnTo>
                      <a:pt x="5" y="573"/>
                    </a:lnTo>
                    <a:lnTo>
                      <a:pt x="5" y="575"/>
                    </a:lnTo>
                    <a:lnTo>
                      <a:pt x="5" y="575"/>
                    </a:lnTo>
                    <a:lnTo>
                      <a:pt x="5" y="579"/>
                    </a:lnTo>
                    <a:lnTo>
                      <a:pt x="5" y="581"/>
                    </a:lnTo>
                    <a:lnTo>
                      <a:pt x="5" y="582"/>
                    </a:lnTo>
                    <a:lnTo>
                      <a:pt x="3" y="584"/>
                    </a:lnTo>
                    <a:lnTo>
                      <a:pt x="1" y="588"/>
                    </a:lnTo>
                    <a:lnTo>
                      <a:pt x="1" y="590"/>
                    </a:lnTo>
                    <a:lnTo>
                      <a:pt x="1" y="592"/>
                    </a:lnTo>
                    <a:lnTo>
                      <a:pt x="1" y="596"/>
                    </a:lnTo>
                    <a:lnTo>
                      <a:pt x="3" y="601"/>
                    </a:lnTo>
                    <a:lnTo>
                      <a:pt x="3" y="601"/>
                    </a:lnTo>
                    <a:lnTo>
                      <a:pt x="5" y="601"/>
                    </a:lnTo>
                    <a:lnTo>
                      <a:pt x="7" y="603"/>
                    </a:lnTo>
                    <a:lnTo>
                      <a:pt x="7" y="603"/>
                    </a:lnTo>
                    <a:lnTo>
                      <a:pt x="9" y="603"/>
                    </a:lnTo>
                    <a:lnTo>
                      <a:pt x="9" y="605"/>
                    </a:lnTo>
                    <a:lnTo>
                      <a:pt x="9" y="607"/>
                    </a:lnTo>
                    <a:lnTo>
                      <a:pt x="11" y="609"/>
                    </a:lnTo>
                    <a:lnTo>
                      <a:pt x="13" y="611"/>
                    </a:lnTo>
                    <a:lnTo>
                      <a:pt x="13" y="611"/>
                    </a:lnTo>
                    <a:lnTo>
                      <a:pt x="13" y="613"/>
                    </a:lnTo>
                    <a:lnTo>
                      <a:pt x="13" y="613"/>
                    </a:lnTo>
                    <a:lnTo>
                      <a:pt x="15" y="613"/>
                    </a:lnTo>
                    <a:lnTo>
                      <a:pt x="17" y="611"/>
                    </a:lnTo>
                    <a:lnTo>
                      <a:pt x="17" y="611"/>
                    </a:lnTo>
                    <a:lnTo>
                      <a:pt x="19" y="611"/>
                    </a:lnTo>
                    <a:lnTo>
                      <a:pt x="20" y="611"/>
                    </a:lnTo>
                    <a:lnTo>
                      <a:pt x="22" y="611"/>
                    </a:lnTo>
                    <a:lnTo>
                      <a:pt x="24" y="611"/>
                    </a:lnTo>
                    <a:lnTo>
                      <a:pt x="24" y="613"/>
                    </a:lnTo>
                    <a:lnTo>
                      <a:pt x="26" y="613"/>
                    </a:lnTo>
                    <a:lnTo>
                      <a:pt x="26" y="615"/>
                    </a:lnTo>
                    <a:lnTo>
                      <a:pt x="26" y="617"/>
                    </a:lnTo>
                    <a:lnTo>
                      <a:pt x="26" y="617"/>
                    </a:lnTo>
                    <a:lnTo>
                      <a:pt x="24" y="619"/>
                    </a:lnTo>
                    <a:lnTo>
                      <a:pt x="24" y="619"/>
                    </a:lnTo>
                    <a:lnTo>
                      <a:pt x="22" y="620"/>
                    </a:lnTo>
                    <a:lnTo>
                      <a:pt x="22" y="620"/>
                    </a:lnTo>
                    <a:lnTo>
                      <a:pt x="22" y="620"/>
                    </a:lnTo>
                    <a:lnTo>
                      <a:pt x="20" y="622"/>
                    </a:lnTo>
                    <a:lnTo>
                      <a:pt x="20" y="620"/>
                    </a:lnTo>
                    <a:lnTo>
                      <a:pt x="20" y="620"/>
                    </a:lnTo>
                    <a:lnTo>
                      <a:pt x="19" y="620"/>
                    </a:lnTo>
                    <a:lnTo>
                      <a:pt x="19" y="622"/>
                    </a:lnTo>
                    <a:lnTo>
                      <a:pt x="19" y="622"/>
                    </a:lnTo>
                    <a:lnTo>
                      <a:pt x="17" y="622"/>
                    </a:lnTo>
                    <a:lnTo>
                      <a:pt x="17" y="624"/>
                    </a:lnTo>
                    <a:lnTo>
                      <a:pt x="17" y="624"/>
                    </a:lnTo>
                    <a:lnTo>
                      <a:pt x="17" y="626"/>
                    </a:lnTo>
                    <a:lnTo>
                      <a:pt x="17" y="628"/>
                    </a:lnTo>
                    <a:lnTo>
                      <a:pt x="17" y="630"/>
                    </a:lnTo>
                    <a:lnTo>
                      <a:pt x="19" y="630"/>
                    </a:lnTo>
                    <a:lnTo>
                      <a:pt x="19" y="632"/>
                    </a:lnTo>
                    <a:lnTo>
                      <a:pt x="20" y="632"/>
                    </a:lnTo>
                    <a:lnTo>
                      <a:pt x="24" y="634"/>
                    </a:lnTo>
                    <a:lnTo>
                      <a:pt x="24" y="634"/>
                    </a:lnTo>
                    <a:lnTo>
                      <a:pt x="24" y="636"/>
                    </a:lnTo>
                    <a:lnTo>
                      <a:pt x="24" y="636"/>
                    </a:lnTo>
                    <a:lnTo>
                      <a:pt x="24" y="638"/>
                    </a:lnTo>
                    <a:lnTo>
                      <a:pt x="22" y="638"/>
                    </a:lnTo>
                    <a:lnTo>
                      <a:pt x="22" y="640"/>
                    </a:lnTo>
                    <a:lnTo>
                      <a:pt x="22" y="641"/>
                    </a:lnTo>
                    <a:lnTo>
                      <a:pt x="30" y="641"/>
                    </a:lnTo>
                    <a:lnTo>
                      <a:pt x="34" y="643"/>
                    </a:lnTo>
                    <a:lnTo>
                      <a:pt x="38" y="643"/>
                    </a:lnTo>
                    <a:lnTo>
                      <a:pt x="40" y="643"/>
                    </a:lnTo>
                    <a:lnTo>
                      <a:pt x="41" y="643"/>
                    </a:lnTo>
                    <a:lnTo>
                      <a:pt x="43" y="643"/>
                    </a:lnTo>
                    <a:lnTo>
                      <a:pt x="43" y="643"/>
                    </a:lnTo>
                    <a:lnTo>
                      <a:pt x="45" y="643"/>
                    </a:lnTo>
                    <a:lnTo>
                      <a:pt x="45" y="641"/>
                    </a:lnTo>
                    <a:lnTo>
                      <a:pt x="45" y="638"/>
                    </a:lnTo>
                    <a:lnTo>
                      <a:pt x="45" y="638"/>
                    </a:lnTo>
                    <a:lnTo>
                      <a:pt x="45" y="636"/>
                    </a:lnTo>
                    <a:lnTo>
                      <a:pt x="47" y="634"/>
                    </a:lnTo>
                    <a:lnTo>
                      <a:pt x="49" y="632"/>
                    </a:lnTo>
                    <a:lnTo>
                      <a:pt x="49" y="630"/>
                    </a:lnTo>
                    <a:lnTo>
                      <a:pt x="51" y="630"/>
                    </a:lnTo>
                    <a:lnTo>
                      <a:pt x="53" y="630"/>
                    </a:lnTo>
                    <a:lnTo>
                      <a:pt x="55" y="632"/>
                    </a:lnTo>
                    <a:lnTo>
                      <a:pt x="55" y="632"/>
                    </a:lnTo>
                    <a:lnTo>
                      <a:pt x="57" y="632"/>
                    </a:lnTo>
                    <a:lnTo>
                      <a:pt x="61" y="632"/>
                    </a:lnTo>
                    <a:lnTo>
                      <a:pt x="64" y="632"/>
                    </a:lnTo>
                    <a:lnTo>
                      <a:pt x="66" y="630"/>
                    </a:lnTo>
                    <a:lnTo>
                      <a:pt x="66" y="630"/>
                    </a:lnTo>
                    <a:lnTo>
                      <a:pt x="66" y="632"/>
                    </a:lnTo>
                    <a:lnTo>
                      <a:pt x="68" y="632"/>
                    </a:lnTo>
                    <a:lnTo>
                      <a:pt x="68" y="634"/>
                    </a:lnTo>
                    <a:lnTo>
                      <a:pt x="68" y="634"/>
                    </a:lnTo>
                    <a:lnTo>
                      <a:pt x="68" y="636"/>
                    </a:lnTo>
                    <a:lnTo>
                      <a:pt x="70" y="636"/>
                    </a:lnTo>
                    <a:lnTo>
                      <a:pt x="72" y="636"/>
                    </a:lnTo>
                    <a:lnTo>
                      <a:pt x="74" y="638"/>
                    </a:lnTo>
                    <a:lnTo>
                      <a:pt x="76" y="638"/>
                    </a:lnTo>
                    <a:lnTo>
                      <a:pt x="78" y="641"/>
                    </a:lnTo>
                    <a:lnTo>
                      <a:pt x="80" y="641"/>
                    </a:lnTo>
                    <a:lnTo>
                      <a:pt x="80" y="643"/>
                    </a:lnTo>
                    <a:lnTo>
                      <a:pt x="82" y="643"/>
                    </a:lnTo>
                    <a:lnTo>
                      <a:pt x="83" y="643"/>
                    </a:lnTo>
                    <a:lnTo>
                      <a:pt x="83" y="641"/>
                    </a:lnTo>
                    <a:lnTo>
                      <a:pt x="83" y="640"/>
                    </a:lnTo>
                    <a:lnTo>
                      <a:pt x="80" y="638"/>
                    </a:lnTo>
                    <a:lnTo>
                      <a:pt x="80" y="636"/>
                    </a:lnTo>
                    <a:lnTo>
                      <a:pt x="80" y="634"/>
                    </a:lnTo>
                    <a:lnTo>
                      <a:pt x="80" y="634"/>
                    </a:lnTo>
                    <a:lnTo>
                      <a:pt x="80" y="632"/>
                    </a:lnTo>
                    <a:lnTo>
                      <a:pt x="80" y="632"/>
                    </a:lnTo>
                    <a:lnTo>
                      <a:pt x="82" y="630"/>
                    </a:lnTo>
                    <a:lnTo>
                      <a:pt x="82" y="630"/>
                    </a:lnTo>
                    <a:lnTo>
                      <a:pt x="83" y="630"/>
                    </a:lnTo>
                    <a:lnTo>
                      <a:pt x="85" y="632"/>
                    </a:lnTo>
                    <a:lnTo>
                      <a:pt x="85" y="632"/>
                    </a:lnTo>
                    <a:lnTo>
                      <a:pt x="85" y="632"/>
                    </a:lnTo>
                    <a:lnTo>
                      <a:pt x="85" y="634"/>
                    </a:lnTo>
                    <a:lnTo>
                      <a:pt x="87" y="634"/>
                    </a:lnTo>
                    <a:lnTo>
                      <a:pt x="87" y="636"/>
                    </a:lnTo>
                    <a:lnTo>
                      <a:pt x="87" y="636"/>
                    </a:lnTo>
                    <a:lnTo>
                      <a:pt x="87" y="636"/>
                    </a:lnTo>
                    <a:lnTo>
                      <a:pt x="91" y="636"/>
                    </a:lnTo>
                    <a:lnTo>
                      <a:pt x="93" y="636"/>
                    </a:lnTo>
                    <a:lnTo>
                      <a:pt x="93" y="638"/>
                    </a:lnTo>
                    <a:lnTo>
                      <a:pt x="93" y="638"/>
                    </a:lnTo>
                    <a:lnTo>
                      <a:pt x="91" y="641"/>
                    </a:lnTo>
                    <a:lnTo>
                      <a:pt x="91" y="641"/>
                    </a:lnTo>
                    <a:lnTo>
                      <a:pt x="91" y="643"/>
                    </a:lnTo>
                    <a:lnTo>
                      <a:pt x="91" y="645"/>
                    </a:lnTo>
                    <a:lnTo>
                      <a:pt x="93" y="647"/>
                    </a:lnTo>
                    <a:lnTo>
                      <a:pt x="93" y="649"/>
                    </a:lnTo>
                    <a:lnTo>
                      <a:pt x="93" y="649"/>
                    </a:lnTo>
                    <a:lnTo>
                      <a:pt x="93" y="649"/>
                    </a:lnTo>
                    <a:lnTo>
                      <a:pt x="93" y="651"/>
                    </a:lnTo>
                    <a:lnTo>
                      <a:pt x="91" y="651"/>
                    </a:lnTo>
                    <a:lnTo>
                      <a:pt x="89" y="651"/>
                    </a:lnTo>
                    <a:lnTo>
                      <a:pt x="83" y="651"/>
                    </a:lnTo>
                    <a:lnTo>
                      <a:pt x="82" y="653"/>
                    </a:lnTo>
                    <a:lnTo>
                      <a:pt x="82" y="653"/>
                    </a:lnTo>
                    <a:lnTo>
                      <a:pt x="80" y="653"/>
                    </a:lnTo>
                    <a:lnTo>
                      <a:pt x="78" y="655"/>
                    </a:lnTo>
                    <a:lnTo>
                      <a:pt x="76" y="657"/>
                    </a:lnTo>
                    <a:lnTo>
                      <a:pt x="76" y="659"/>
                    </a:lnTo>
                    <a:lnTo>
                      <a:pt x="76" y="659"/>
                    </a:lnTo>
                    <a:lnTo>
                      <a:pt x="76" y="659"/>
                    </a:lnTo>
                    <a:lnTo>
                      <a:pt x="76" y="659"/>
                    </a:lnTo>
                    <a:lnTo>
                      <a:pt x="78" y="659"/>
                    </a:lnTo>
                    <a:lnTo>
                      <a:pt x="80" y="660"/>
                    </a:lnTo>
                    <a:lnTo>
                      <a:pt x="80" y="660"/>
                    </a:lnTo>
                    <a:lnTo>
                      <a:pt x="80" y="660"/>
                    </a:lnTo>
                    <a:lnTo>
                      <a:pt x="80" y="662"/>
                    </a:lnTo>
                    <a:lnTo>
                      <a:pt x="76" y="666"/>
                    </a:lnTo>
                    <a:lnTo>
                      <a:pt x="76" y="666"/>
                    </a:lnTo>
                    <a:lnTo>
                      <a:pt x="76" y="668"/>
                    </a:lnTo>
                    <a:lnTo>
                      <a:pt x="76" y="668"/>
                    </a:lnTo>
                    <a:lnTo>
                      <a:pt x="76" y="668"/>
                    </a:lnTo>
                    <a:lnTo>
                      <a:pt x="78" y="670"/>
                    </a:lnTo>
                    <a:lnTo>
                      <a:pt x="78" y="672"/>
                    </a:lnTo>
                    <a:lnTo>
                      <a:pt x="78" y="674"/>
                    </a:lnTo>
                    <a:lnTo>
                      <a:pt x="80" y="674"/>
                    </a:lnTo>
                    <a:lnTo>
                      <a:pt x="80" y="676"/>
                    </a:lnTo>
                    <a:lnTo>
                      <a:pt x="80" y="676"/>
                    </a:lnTo>
                    <a:lnTo>
                      <a:pt x="82" y="676"/>
                    </a:lnTo>
                    <a:lnTo>
                      <a:pt x="82" y="678"/>
                    </a:lnTo>
                    <a:lnTo>
                      <a:pt x="83" y="678"/>
                    </a:lnTo>
                    <a:lnTo>
                      <a:pt x="83" y="679"/>
                    </a:lnTo>
                    <a:lnTo>
                      <a:pt x="83" y="681"/>
                    </a:lnTo>
                    <a:lnTo>
                      <a:pt x="83" y="681"/>
                    </a:lnTo>
                    <a:lnTo>
                      <a:pt x="83" y="683"/>
                    </a:lnTo>
                    <a:lnTo>
                      <a:pt x="83" y="685"/>
                    </a:lnTo>
                    <a:lnTo>
                      <a:pt x="85" y="687"/>
                    </a:lnTo>
                    <a:lnTo>
                      <a:pt x="85" y="687"/>
                    </a:lnTo>
                    <a:lnTo>
                      <a:pt x="83" y="687"/>
                    </a:lnTo>
                    <a:lnTo>
                      <a:pt x="83" y="689"/>
                    </a:lnTo>
                    <a:lnTo>
                      <a:pt x="82" y="687"/>
                    </a:lnTo>
                    <a:lnTo>
                      <a:pt x="80" y="687"/>
                    </a:lnTo>
                    <a:lnTo>
                      <a:pt x="78" y="687"/>
                    </a:lnTo>
                    <a:lnTo>
                      <a:pt x="76" y="685"/>
                    </a:lnTo>
                    <a:lnTo>
                      <a:pt x="76" y="685"/>
                    </a:lnTo>
                    <a:lnTo>
                      <a:pt x="76" y="683"/>
                    </a:lnTo>
                    <a:lnTo>
                      <a:pt x="76" y="683"/>
                    </a:lnTo>
                    <a:lnTo>
                      <a:pt x="76" y="681"/>
                    </a:lnTo>
                    <a:lnTo>
                      <a:pt x="76" y="681"/>
                    </a:lnTo>
                    <a:lnTo>
                      <a:pt x="74" y="678"/>
                    </a:lnTo>
                    <a:lnTo>
                      <a:pt x="72" y="674"/>
                    </a:lnTo>
                    <a:lnTo>
                      <a:pt x="72" y="674"/>
                    </a:lnTo>
                    <a:lnTo>
                      <a:pt x="70" y="672"/>
                    </a:lnTo>
                    <a:lnTo>
                      <a:pt x="70" y="672"/>
                    </a:lnTo>
                    <a:lnTo>
                      <a:pt x="68" y="672"/>
                    </a:lnTo>
                    <a:lnTo>
                      <a:pt x="68" y="672"/>
                    </a:lnTo>
                    <a:lnTo>
                      <a:pt x="66" y="672"/>
                    </a:lnTo>
                    <a:lnTo>
                      <a:pt x="66" y="672"/>
                    </a:lnTo>
                    <a:lnTo>
                      <a:pt x="64" y="672"/>
                    </a:lnTo>
                    <a:lnTo>
                      <a:pt x="57" y="674"/>
                    </a:lnTo>
                    <a:lnTo>
                      <a:pt x="55" y="674"/>
                    </a:lnTo>
                    <a:lnTo>
                      <a:pt x="51" y="674"/>
                    </a:lnTo>
                    <a:lnTo>
                      <a:pt x="49" y="674"/>
                    </a:lnTo>
                    <a:lnTo>
                      <a:pt x="49" y="674"/>
                    </a:lnTo>
                    <a:lnTo>
                      <a:pt x="47" y="672"/>
                    </a:lnTo>
                    <a:lnTo>
                      <a:pt x="47" y="672"/>
                    </a:lnTo>
                    <a:lnTo>
                      <a:pt x="45" y="670"/>
                    </a:lnTo>
                    <a:lnTo>
                      <a:pt x="45" y="670"/>
                    </a:lnTo>
                    <a:lnTo>
                      <a:pt x="43" y="670"/>
                    </a:lnTo>
                    <a:lnTo>
                      <a:pt x="43" y="668"/>
                    </a:lnTo>
                    <a:lnTo>
                      <a:pt x="40" y="668"/>
                    </a:lnTo>
                    <a:lnTo>
                      <a:pt x="38" y="668"/>
                    </a:lnTo>
                    <a:lnTo>
                      <a:pt x="36" y="666"/>
                    </a:lnTo>
                    <a:lnTo>
                      <a:pt x="34" y="666"/>
                    </a:lnTo>
                    <a:lnTo>
                      <a:pt x="34" y="666"/>
                    </a:lnTo>
                    <a:lnTo>
                      <a:pt x="34" y="664"/>
                    </a:lnTo>
                    <a:lnTo>
                      <a:pt x="32" y="662"/>
                    </a:lnTo>
                    <a:lnTo>
                      <a:pt x="32" y="660"/>
                    </a:lnTo>
                    <a:lnTo>
                      <a:pt x="32" y="655"/>
                    </a:lnTo>
                    <a:lnTo>
                      <a:pt x="30" y="653"/>
                    </a:lnTo>
                    <a:lnTo>
                      <a:pt x="30" y="653"/>
                    </a:lnTo>
                    <a:lnTo>
                      <a:pt x="30" y="651"/>
                    </a:lnTo>
                    <a:lnTo>
                      <a:pt x="30" y="653"/>
                    </a:lnTo>
                    <a:lnTo>
                      <a:pt x="28" y="653"/>
                    </a:lnTo>
                    <a:lnTo>
                      <a:pt x="28" y="653"/>
                    </a:lnTo>
                    <a:lnTo>
                      <a:pt x="28" y="651"/>
                    </a:lnTo>
                    <a:lnTo>
                      <a:pt x="26" y="651"/>
                    </a:lnTo>
                    <a:lnTo>
                      <a:pt x="24" y="649"/>
                    </a:lnTo>
                    <a:lnTo>
                      <a:pt x="24" y="649"/>
                    </a:lnTo>
                    <a:lnTo>
                      <a:pt x="24" y="649"/>
                    </a:lnTo>
                    <a:lnTo>
                      <a:pt x="22" y="651"/>
                    </a:lnTo>
                    <a:lnTo>
                      <a:pt x="22" y="651"/>
                    </a:lnTo>
                    <a:lnTo>
                      <a:pt x="22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19" y="653"/>
                    </a:lnTo>
                    <a:lnTo>
                      <a:pt x="19" y="655"/>
                    </a:lnTo>
                    <a:lnTo>
                      <a:pt x="19" y="655"/>
                    </a:lnTo>
                    <a:lnTo>
                      <a:pt x="19" y="657"/>
                    </a:lnTo>
                    <a:lnTo>
                      <a:pt x="26" y="664"/>
                    </a:lnTo>
                    <a:lnTo>
                      <a:pt x="26" y="666"/>
                    </a:lnTo>
                    <a:lnTo>
                      <a:pt x="26" y="666"/>
                    </a:lnTo>
                    <a:lnTo>
                      <a:pt x="26" y="666"/>
                    </a:lnTo>
                    <a:lnTo>
                      <a:pt x="26" y="668"/>
                    </a:lnTo>
                    <a:lnTo>
                      <a:pt x="26" y="668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26" y="674"/>
                    </a:lnTo>
                    <a:lnTo>
                      <a:pt x="28" y="674"/>
                    </a:lnTo>
                    <a:lnTo>
                      <a:pt x="28" y="674"/>
                    </a:lnTo>
                    <a:lnTo>
                      <a:pt x="30" y="676"/>
                    </a:lnTo>
                    <a:lnTo>
                      <a:pt x="32" y="679"/>
                    </a:lnTo>
                    <a:lnTo>
                      <a:pt x="32" y="681"/>
                    </a:lnTo>
                    <a:lnTo>
                      <a:pt x="34" y="683"/>
                    </a:lnTo>
                    <a:lnTo>
                      <a:pt x="36" y="683"/>
                    </a:lnTo>
                    <a:lnTo>
                      <a:pt x="36" y="685"/>
                    </a:lnTo>
                    <a:lnTo>
                      <a:pt x="36" y="687"/>
                    </a:lnTo>
                    <a:lnTo>
                      <a:pt x="36" y="687"/>
                    </a:lnTo>
                    <a:lnTo>
                      <a:pt x="34" y="687"/>
                    </a:lnTo>
                    <a:lnTo>
                      <a:pt x="34" y="687"/>
                    </a:lnTo>
                    <a:lnTo>
                      <a:pt x="34" y="689"/>
                    </a:lnTo>
                    <a:lnTo>
                      <a:pt x="34" y="689"/>
                    </a:lnTo>
                    <a:lnTo>
                      <a:pt x="32" y="691"/>
                    </a:lnTo>
                    <a:lnTo>
                      <a:pt x="32" y="691"/>
                    </a:lnTo>
                    <a:lnTo>
                      <a:pt x="32" y="691"/>
                    </a:lnTo>
                    <a:lnTo>
                      <a:pt x="32" y="693"/>
                    </a:lnTo>
                    <a:lnTo>
                      <a:pt x="30" y="695"/>
                    </a:lnTo>
                    <a:lnTo>
                      <a:pt x="28" y="695"/>
                    </a:lnTo>
                    <a:lnTo>
                      <a:pt x="28" y="697"/>
                    </a:lnTo>
                    <a:lnTo>
                      <a:pt x="28" y="698"/>
                    </a:lnTo>
                    <a:lnTo>
                      <a:pt x="30" y="702"/>
                    </a:lnTo>
                    <a:lnTo>
                      <a:pt x="30" y="704"/>
                    </a:lnTo>
                    <a:lnTo>
                      <a:pt x="30" y="706"/>
                    </a:lnTo>
                    <a:lnTo>
                      <a:pt x="32" y="706"/>
                    </a:lnTo>
                    <a:lnTo>
                      <a:pt x="32" y="706"/>
                    </a:lnTo>
                    <a:lnTo>
                      <a:pt x="32" y="704"/>
                    </a:lnTo>
                    <a:lnTo>
                      <a:pt x="32" y="704"/>
                    </a:lnTo>
                    <a:lnTo>
                      <a:pt x="34" y="702"/>
                    </a:lnTo>
                    <a:lnTo>
                      <a:pt x="34" y="702"/>
                    </a:lnTo>
                    <a:lnTo>
                      <a:pt x="34" y="702"/>
                    </a:lnTo>
                    <a:lnTo>
                      <a:pt x="34" y="702"/>
                    </a:lnTo>
                    <a:lnTo>
                      <a:pt x="34" y="702"/>
                    </a:lnTo>
                    <a:lnTo>
                      <a:pt x="36" y="702"/>
                    </a:lnTo>
                    <a:lnTo>
                      <a:pt x="36" y="704"/>
                    </a:lnTo>
                    <a:lnTo>
                      <a:pt x="38" y="706"/>
                    </a:lnTo>
                    <a:lnTo>
                      <a:pt x="38" y="706"/>
                    </a:lnTo>
                    <a:lnTo>
                      <a:pt x="40" y="706"/>
                    </a:lnTo>
                    <a:lnTo>
                      <a:pt x="40" y="706"/>
                    </a:lnTo>
                    <a:lnTo>
                      <a:pt x="41" y="706"/>
                    </a:lnTo>
                    <a:lnTo>
                      <a:pt x="41" y="704"/>
                    </a:lnTo>
                    <a:lnTo>
                      <a:pt x="41" y="704"/>
                    </a:lnTo>
                    <a:lnTo>
                      <a:pt x="41" y="704"/>
                    </a:lnTo>
                    <a:lnTo>
                      <a:pt x="43" y="704"/>
                    </a:lnTo>
                    <a:lnTo>
                      <a:pt x="45" y="704"/>
                    </a:lnTo>
                    <a:lnTo>
                      <a:pt x="47" y="704"/>
                    </a:lnTo>
                    <a:lnTo>
                      <a:pt x="47" y="704"/>
                    </a:lnTo>
                    <a:lnTo>
                      <a:pt x="49" y="704"/>
                    </a:lnTo>
                    <a:lnTo>
                      <a:pt x="51" y="704"/>
                    </a:lnTo>
                    <a:lnTo>
                      <a:pt x="51" y="702"/>
                    </a:lnTo>
                    <a:lnTo>
                      <a:pt x="51" y="702"/>
                    </a:lnTo>
                    <a:lnTo>
                      <a:pt x="51" y="700"/>
                    </a:lnTo>
                    <a:lnTo>
                      <a:pt x="51" y="698"/>
                    </a:lnTo>
                    <a:lnTo>
                      <a:pt x="51" y="697"/>
                    </a:lnTo>
                    <a:lnTo>
                      <a:pt x="51" y="697"/>
                    </a:lnTo>
                    <a:lnTo>
                      <a:pt x="49" y="695"/>
                    </a:lnTo>
                    <a:lnTo>
                      <a:pt x="49" y="695"/>
                    </a:lnTo>
                    <a:lnTo>
                      <a:pt x="47" y="695"/>
                    </a:lnTo>
                    <a:lnTo>
                      <a:pt x="47" y="693"/>
                    </a:lnTo>
                    <a:lnTo>
                      <a:pt x="47" y="693"/>
                    </a:lnTo>
                    <a:lnTo>
                      <a:pt x="47" y="693"/>
                    </a:lnTo>
                    <a:lnTo>
                      <a:pt x="47" y="691"/>
                    </a:lnTo>
                    <a:lnTo>
                      <a:pt x="49" y="691"/>
                    </a:lnTo>
                    <a:lnTo>
                      <a:pt x="49" y="691"/>
                    </a:lnTo>
                    <a:lnTo>
                      <a:pt x="51" y="691"/>
                    </a:lnTo>
                    <a:lnTo>
                      <a:pt x="51" y="689"/>
                    </a:lnTo>
                    <a:lnTo>
                      <a:pt x="51" y="689"/>
                    </a:lnTo>
                    <a:lnTo>
                      <a:pt x="51" y="689"/>
                    </a:lnTo>
                    <a:lnTo>
                      <a:pt x="51" y="689"/>
                    </a:lnTo>
                    <a:lnTo>
                      <a:pt x="51" y="687"/>
                    </a:lnTo>
                    <a:lnTo>
                      <a:pt x="51" y="687"/>
                    </a:lnTo>
                    <a:lnTo>
                      <a:pt x="51" y="687"/>
                    </a:lnTo>
                    <a:lnTo>
                      <a:pt x="51" y="685"/>
                    </a:lnTo>
                    <a:lnTo>
                      <a:pt x="53" y="685"/>
                    </a:lnTo>
                    <a:lnTo>
                      <a:pt x="53" y="685"/>
                    </a:lnTo>
                    <a:lnTo>
                      <a:pt x="53" y="687"/>
                    </a:lnTo>
                    <a:lnTo>
                      <a:pt x="53" y="687"/>
                    </a:lnTo>
                    <a:lnTo>
                      <a:pt x="53" y="689"/>
                    </a:lnTo>
                    <a:lnTo>
                      <a:pt x="53" y="689"/>
                    </a:lnTo>
                    <a:lnTo>
                      <a:pt x="55" y="691"/>
                    </a:lnTo>
                    <a:lnTo>
                      <a:pt x="55" y="691"/>
                    </a:lnTo>
                    <a:lnTo>
                      <a:pt x="57" y="689"/>
                    </a:lnTo>
                    <a:lnTo>
                      <a:pt x="59" y="687"/>
                    </a:lnTo>
                    <a:lnTo>
                      <a:pt x="59" y="687"/>
                    </a:lnTo>
                    <a:lnTo>
                      <a:pt x="61" y="689"/>
                    </a:lnTo>
                    <a:lnTo>
                      <a:pt x="62" y="691"/>
                    </a:lnTo>
                    <a:lnTo>
                      <a:pt x="62" y="691"/>
                    </a:lnTo>
                    <a:lnTo>
                      <a:pt x="66" y="691"/>
                    </a:lnTo>
                    <a:lnTo>
                      <a:pt x="66" y="691"/>
                    </a:lnTo>
                    <a:lnTo>
                      <a:pt x="68" y="693"/>
                    </a:lnTo>
                    <a:lnTo>
                      <a:pt x="70" y="693"/>
                    </a:lnTo>
                    <a:lnTo>
                      <a:pt x="70" y="693"/>
                    </a:lnTo>
                    <a:lnTo>
                      <a:pt x="72" y="693"/>
                    </a:lnTo>
                    <a:lnTo>
                      <a:pt x="74" y="693"/>
                    </a:lnTo>
                    <a:lnTo>
                      <a:pt x="74" y="693"/>
                    </a:lnTo>
                    <a:lnTo>
                      <a:pt x="76" y="693"/>
                    </a:lnTo>
                    <a:lnTo>
                      <a:pt x="80" y="695"/>
                    </a:lnTo>
                    <a:lnTo>
                      <a:pt x="83" y="695"/>
                    </a:lnTo>
                    <a:lnTo>
                      <a:pt x="83" y="695"/>
                    </a:lnTo>
                    <a:lnTo>
                      <a:pt x="83" y="695"/>
                    </a:lnTo>
                    <a:lnTo>
                      <a:pt x="83" y="697"/>
                    </a:lnTo>
                    <a:lnTo>
                      <a:pt x="83" y="697"/>
                    </a:lnTo>
                    <a:lnTo>
                      <a:pt x="85" y="698"/>
                    </a:lnTo>
                    <a:lnTo>
                      <a:pt x="87" y="698"/>
                    </a:lnTo>
                    <a:lnTo>
                      <a:pt x="87" y="700"/>
                    </a:lnTo>
                    <a:lnTo>
                      <a:pt x="87" y="702"/>
                    </a:lnTo>
                    <a:lnTo>
                      <a:pt x="89" y="702"/>
                    </a:lnTo>
                    <a:lnTo>
                      <a:pt x="89" y="706"/>
                    </a:lnTo>
                    <a:lnTo>
                      <a:pt x="89" y="706"/>
                    </a:lnTo>
                    <a:lnTo>
                      <a:pt x="89" y="710"/>
                    </a:lnTo>
                    <a:lnTo>
                      <a:pt x="89" y="712"/>
                    </a:lnTo>
                    <a:lnTo>
                      <a:pt x="91" y="712"/>
                    </a:lnTo>
                    <a:lnTo>
                      <a:pt x="91" y="714"/>
                    </a:lnTo>
                    <a:lnTo>
                      <a:pt x="93" y="712"/>
                    </a:lnTo>
                    <a:lnTo>
                      <a:pt x="93" y="712"/>
                    </a:lnTo>
                    <a:lnTo>
                      <a:pt x="95" y="712"/>
                    </a:lnTo>
                    <a:lnTo>
                      <a:pt x="97" y="712"/>
                    </a:lnTo>
                    <a:lnTo>
                      <a:pt x="97" y="712"/>
                    </a:lnTo>
                    <a:lnTo>
                      <a:pt x="101" y="710"/>
                    </a:lnTo>
                    <a:lnTo>
                      <a:pt x="104" y="708"/>
                    </a:lnTo>
                    <a:lnTo>
                      <a:pt x="104" y="708"/>
                    </a:lnTo>
                    <a:lnTo>
                      <a:pt x="108" y="708"/>
                    </a:lnTo>
                    <a:lnTo>
                      <a:pt x="108" y="708"/>
                    </a:lnTo>
                    <a:lnTo>
                      <a:pt x="108" y="708"/>
                    </a:lnTo>
                    <a:lnTo>
                      <a:pt x="108" y="706"/>
                    </a:lnTo>
                    <a:lnTo>
                      <a:pt x="108" y="704"/>
                    </a:lnTo>
                    <a:lnTo>
                      <a:pt x="108" y="704"/>
                    </a:lnTo>
                    <a:lnTo>
                      <a:pt x="110" y="704"/>
                    </a:lnTo>
                    <a:lnTo>
                      <a:pt x="110" y="702"/>
                    </a:lnTo>
                    <a:lnTo>
                      <a:pt x="112" y="702"/>
                    </a:lnTo>
                    <a:lnTo>
                      <a:pt x="112" y="702"/>
                    </a:lnTo>
                    <a:lnTo>
                      <a:pt x="114" y="702"/>
                    </a:lnTo>
                    <a:lnTo>
                      <a:pt x="116" y="702"/>
                    </a:lnTo>
                    <a:lnTo>
                      <a:pt x="116" y="704"/>
                    </a:lnTo>
                    <a:lnTo>
                      <a:pt x="116" y="704"/>
                    </a:lnTo>
                    <a:lnTo>
                      <a:pt x="118" y="704"/>
                    </a:lnTo>
                    <a:lnTo>
                      <a:pt x="118" y="704"/>
                    </a:lnTo>
                    <a:lnTo>
                      <a:pt x="120" y="704"/>
                    </a:lnTo>
                    <a:lnTo>
                      <a:pt x="120" y="702"/>
                    </a:lnTo>
                    <a:lnTo>
                      <a:pt x="120" y="700"/>
                    </a:lnTo>
                    <a:lnTo>
                      <a:pt x="120" y="700"/>
                    </a:lnTo>
                    <a:lnTo>
                      <a:pt x="122" y="698"/>
                    </a:lnTo>
                    <a:lnTo>
                      <a:pt x="122" y="698"/>
                    </a:lnTo>
                    <a:lnTo>
                      <a:pt x="125" y="698"/>
                    </a:lnTo>
                    <a:lnTo>
                      <a:pt x="125" y="697"/>
                    </a:lnTo>
                    <a:lnTo>
                      <a:pt x="127" y="697"/>
                    </a:lnTo>
                    <a:lnTo>
                      <a:pt x="127" y="695"/>
                    </a:lnTo>
                    <a:lnTo>
                      <a:pt x="129" y="695"/>
                    </a:lnTo>
                    <a:lnTo>
                      <a:pt x="131" y="693"/>
                    </a:lnTo>
                    <a:lnTo>
                      <a:pt x="133" y="691"/>
                    </a:lnTo>
                    <a:lnTo>
                      <a:pt x="133" y="691"/>
                    </a:lnTo>
                    <a:lnTo>
                      <a:pt x="133" y="689"/>
                    </a:lnTo>
                    <a:lnTo>
                      <a:pt x="133" y="689"/>
                    </a:lnTo>
                    <a:lnTo>
                      <a:pt x="133" y="689"/>
                    </a:lnTo>
                    <a:lnTo>
                      <a:pt x="133" y="687"/>
                    </a:lnTo>
                    <a:lnTo>
                      <a:pt x="131" y="687"/>
                    </a:lnTo>
                    <a:lnTo>
                      <a:pt x="131" y="685"/>
                    </a:lnTo>
                    <a:lnTo>
                      <a:pt x="131" y="685"/>
                    </a:lnTo>
                    <a:lnTo>
                      <a:pt x="131" y="683"/>
                    </a:lnTo>
                    <a:lnTo>
                      <a:pt x="131" y="683"/>
                    </a:lnTo>
                    <a:lnTo>
                      <a:pt x="133" y="681"/>
                    </a:lnTo>
                    <a:lnTo>
                      <a:pt x="133" y="681"/>
                    </a:lnTo>
                    <a:lnTo>
                      <a:pt x="135" y="681"/>
                    </a:lnTo>
                    <a:lnTo>
                      <a:pt x="137" y="683"/>
                    </a:lnTo>
                    <a:lnTo>
                      <a:pt x="139" y="683"/>
                    </a:lnTo>
                    <a:lnTo>
                      <a:pt x="141" y="683"/>
                    </a:lnTo>
                    <a:lnTo>
                      <a:pt x="141" y="683"/>
                    </a:lnTo>
                    <a:lnTo>
                      <a:pt x="143" y="683"/>
                    </a:lnTo>
                    <a:lnTo>
                      <a:pt x="143" y="685"/>
                    </a:lnTo>
                    <a:lnTo>
                      <a:pt x="144" y="685"/>
                    </a:lnTo>
                    <a:lnTo>
                      <a:pt x="146" y="685"/>
                    </a:lnTo>
                    <a:lnTo>
                      <a:pt x="146" y="683"/>
                    </a:lnTo>
                    <a:lnTo>
                      <a:pt x="148" y="683"/>
                    </a:lnTo>
                    <a:lnTo>
                      <a:pt x="148" y="681"/>
                    </a:lnTo>
                    <a:lnTo>
                      <a:pt x="148" y="681"/>
                    </a:lnTo>
                    <a:lnTo>
                      <a:pt x="148" y="679"/>
                    </a:lnTo>
                    <a:lnTo>
                      <a:pt x="150" y="679"/>
                    </a:lnTo>
                    <a:lnTo>
                      <a:pt x="152" y="679"/>
                    </a:lnTo>
                    <a:lnTo>
                      <a:pt x="152" y="679"/>
                    </a:lnTo>
                    <a:lnTo>
                      <a:pt x="152" y="679"/>
                    </a:lnTo>
                    <a:lnTo>
                      <a:pt x="152" y="679"/>
                    </a:lnTo>
                    <a:lnTo>
                      <a:pt x="152" y="681"/>
                    </a:lnTo>
                    <a:lnTo>
                      <a:pt x="152" y="685"/>
                    </a:lnTo>
                    <a:lnTo>
                      <a:pt x="152" y="685"/>
                    </a:lnTo>
                    <a:lnTo>
                      <a:pt x="152" y="685"/>
                    </a:lnTo>
                    <a:lnTo>
                      <a:pt x="152" y="685"/>
                    </a:lnTo>
                    <a:lnTo>
                      <a:pt x="148" y="687"/>
                    </a:lnTo>
                    <a:lnTo>
                      <a:pt x="148" y="689"/>
                    </a:lnTo>
                    <a:lnTo>
                      <a:pt x="148" y="689"/>
                    </a:lnTo>
                    <a:lnTo>
                      <a:pt x="148" y="691"/>
                    </a:lnTo>
                    <a:lnTo>
                      <a:pt x="148" y="693"/>
                    </a:lnTo>
                    <a:lnTo>
                      <a:pt x="148" y="695"/>
                    </a:lnTo>
                    <a:lnTo>
                      <a:pt x="150" y="695"/>
                    </a:lnTo>
                    <a:lnTo>
                      <a:pt x="150" y="697"/>
                    </a:lnTo>
                    <a:lnTo>
                      <a:pt x="150" y="695"/>
                    </a:lnTo>
                    <a:lnTo>
                      <a:pt x="152" y="695"/>
                    </a:lnTo>
                    <a:lnTo>
                      <a:pt x="154" y="693"/>
                    </a:lnTo>
                    <a:lnTo>
                      <a:pt x="154" y="691"/>
                    </a:lnTo>
                    <a:lnTo>
                      <a:pt x="156" y="691"/>
                    </a:lnTo>
                    <a:lnTo>
                      <a:pt x="158" y="691"/>
                    </a:lnTo>
                    <a:lnTo>
                      <a:pt x="160" y="691"/>
                    </a:lnTo>
                    <a:lnTo>
                      <a:pt x="160" y="691"/>
                    </a:lnTo>
                    <a:lnTo>
                      <a:pt x="160" y="691"/>
                    </a:lnTo>
                    <a:lnTo>
                      <a:pt x="164" y="689"/>
                    </a:lnTo>
                    <a:lnTo>
                      <a:pt x="169" y="693"/>
                    </a:lnTo>
                    <a:lnTo>
                      <a:pt x="171" y="697"/>
                    </a:lnTo>
                    <a:lnTo>
                      <a:pt x="171" y="698"/>
                    </a:lnTo>
                    <a:lnTo>
                      <a:pt x="171" y="700"/>
                    </a:lnTo>
                    <a:lnTo>
                      <a:pt x="171" y="702"/>
                    </a:lnTo>
                    <a:lnTo>
                      <a:pt x="171" y="704"/>
                    </a:lnTo>
                    <a:lnTo>
                      <a:pt x="169" y="706"/>
                    </a:lnTo>
                    <a:lnTo>
                      <a:pt x="171" y="706"/>
                    </a:lnTo>
                    <a:lnTo>
                      <a:pt x="171" y="708"/>
                    </a:lnTo>
                    <a:lnTo>
                      <a:pt x="173" y="710"/>
                    </a:lnTo>
                    <a:lnTo>
                      <a:pt x="173" y="712"/>
                    </a:lnTo>
                    <a:lnTo>
                      <a:pt x="173" y="712"/>
                    </a:lnTo>
                    <a:lnTo>
                      <a:pt x="173" y="714"/>
                    </a:lnTo>
                    <a:lnTo>
                      <a:pt x="171" y="714"/>
                    </a:lnTo>
                    <a:lnTo>
                      <a:pt x="171" y="714"/>
                    </a:lnTo>
                    <a:lnTo>
                      <a:pt x="169" y="714"/>
                    </a:lnTo>
                    <a:lnTo>
                      <a:pt x="167" y="714"/>
                    </a:lnTo>
                    <a:lnTo>
                      <a:pt x="167" y="714"/>
                    </a:lnTo>
                    <a:lnTo>
                      <a:pt x="167" y="716"/>
                    </a:lnTo>
                    <a:lnTo>
                      <a:pt x="167" y="716"/>
                    </a:lnTo>
                    <a:lnTo>
                      <a:pt x="169" y="718"/>
                    </a:lnTo>
                    <a:lnTo>
                      <a:pt x="169" y="719"/>
                    </a:lnTo>
                    <a:lnTo>
                      <a:pt x="171" y="719"/>
                    </a:lnTo>
                    <a:lnTo>
                      <a:pt x="173" y="718"/>
                    </a:lnTo>
                    <a:lnTo>
                      <a:pt x="173" y="718"/>
                    </a:lnTo>
                    <a:lnTo>
                      <a:pt x="175" y="718"/>
                    </a:lnTo>
                    <a:lnTo>
                      <a:pt x="175" y="718"/>
                    </a:lnTo>
                    <a:lnTo>
                      <a:pt x="177" y="719"/>
                    </a:lnTo>
                    <a:lnTo>
                      <a:pt x="181" y="723"/>
                    </a:lnTo>
                    <a:lnTo>
                      <a:pt x="183" y="725"/>
                    </a:lnTo>
                    <a:lnTo>
                      <a:pt x="183" y="725"/>
                    </a:lnTo>
                    <a:lnTo>
                      <a:pt x="183" y="725"/>
                    </a:lnTo>
                    <a:lnTo>
                      <a:pt x="184" y="725"/>
                    </a:lnTo>
                    <a:lnTo>
                      <a:pt x="186" y="725"/>
                    </a:lnTo>
                    <a:lnTo>
                      <a:pt x="188" y="727"/>
                    </a:lnTo>
                    <a:lnTo>
                      <a:pt x="192" y="727"/>
                    </a:lnTo>
                    <a:lnTo>
                      <a:pt x="192" y="727"/>
                    </a:lnTo>
                    <a:lnTo>
                      <a:pt x="194" y="727"/>
                    </a:lnTo>
                    <a:lnTo>
                      <a:pt x="194" y="727"/>
                    </a:lnTo>
                    <a:lnTo>
                      <a:pt x="196" y="725"/>
                    </a:lnTo>
                    <a:lnTo>
                      <a:pt x="198" y="725"/>
                    </a:lnTo>
                    <a:lnTo>
                      <a:pt x="198" y="725"/>
                    </a:lnTo>
                    <a:lnTo>
                      <a:pt x="198" y="725"/>
                    </a:lnTo>
                    <a:lnTo>
                      <a:pt x="200" y="727"/>
                    </a:lnTo>
                    <a:lnTo>
                      <a:pt x="202" y="727"/>
                    </a:lnTo>
                    <a:lnTo>
                      <a:pt x="202" y="727"/>
                    </a:lnTo>
                    <a:lnTo>
                      <a:pt x="202" y="727"/>
                    </a:lnTo>
                    <a:lnTo>
                      <a:pt x="204" y="727"/>
                    </a:lnTo>
                    <a:lnTo>
                      <a:pt x="205" y="727"/>
                    </a:lnTo>
                    <a:lnTo>
                      <a:pt x="205" y="727"/>
                    </a:lnTo>
                    <a:lnTo>
                      <a:pt x="207" y="727"/>
                    </a:lnTo>
                    <a:lnTo>
                      <a:pt x="207" y="729"/>
                    </a:lnTo>
                    <a:lnTo>
                      <a:pt x="207" y="729"/>
                    </a:lnTo>
                    <a:lnTo>
                      <a:pt x="205" y="731"/>
                    </a:lnTo>
                    <a:lnTo>
                      <a:pt x="205" y="733"/>
                    </a:lnTo>
                    <a:lnTo>
                      <a:pt x="205" y="735"/>
                    </a:lnTo>
                    <a:lnTo>
                      <a:pt x="205" y="738"/>
                    </a:lnTo>
                    <a:lnTo>
                      <a:pt x="205" y="738"/>
                    </a:lnTo>
                    <a:lnTo>
                      <a:pt x="205" y="740"/>
                    </a:lnTo>
                    <a:lnTo>
                      <a:pt x="205" y="740"/>
                    </a:lnTo>
                    <a:lnTo>
                      <a:pt x="205" y="742"/>
                    </a:lnTo>
                    <a:lnTo>
                      <a:pt x="205" y="744"/>
                    </a:lnTo>
                    <a:lnTo>
                      <a:pt x="205" y="750"/>
                    </a:lnTo>
                    <a:lnTo>
                      <a:pt x="205" y="750"/>
                    </a:lnTo>
                    <a:lnTo>
                      <a:pt x="205" y="752"/>
                    </a:lnTo>
                    <a:lnTo>
                      <a:pt x="204" y="752"/>
                    </a:lnTo>
                    <a:lnTo>
                      <a:pt x="204" y="752"/>
                    </a:lnTo>
                    <a:lnTo>
                      <a:pt x="204" y="754"/>
                    </a:lnTo>
                    <a:lnTo>
                      <a:pt x="204" y="754"/>
                    </a:lnTo>
                    <a:lnTo>
                      <a:pt x="204" y="756"/>
                    </a:lnTo>
                    <a:lnTo>
                      <a:pt x="205" y="756"/>
                    </a:lnTo>
                    <a:lnTo>
                      <a:pt x="205" y="757"/>
                    </a:lnTo>
                    <a:lnTo>
                      <a:pt x="207" y="757"/>
                    </a:lnTo>
                    <a:lnTo>
                      <a:pt x="207" y="759"/>
                    </a:lnTo>
                    <a:lnTo>
                      <a:pt x="207" y="761"/>
                    </a:lnTo>
                    <a:lnTo>
                      <a:pt x="209" y="761"/>
                    </a:lnTo>
                    <a:lnTo>
                      <a:pt x="209" y="761"/>
                    </a:lnTo>
                    <a:lnTo>
                      <a:pt x="211" y="761"/>
                    </a:lnTo>
                    <a:lnTo>
                      <a:pt x="211" y="761"/>
                    </a:lnTo>
                    <a:lnTo>
                      <a:pt x="213" y="761"/>
                    </a:lnTo>
                    <a:lnTo>
                      <a:pt x="213" y="761"/>
                    </a:lnTo>
                    <a:lnTo>
                      <a:pt x="215" y="761"/>
                    </a:lnTo>
                    <a:lnTo>
                      <a:pt x="215" y="763"/>
                    </a:lnTo>
                    <a:lnTo>
                      <a:pt x="215" y="763"/>
                    </a:lnTo>
                    <a:lnTo>
                      <a:pt x="217" y="761"/>
                    </a:lnTo>
                    <a:lnTo>
                      <a:pt x="217" y="761"/>
                    </a:lnTo>
                    <a:lnTo>
                      <a:pt x="219" y="763"/>
                    </a:lnTo>
                    <a:lnTo>
                      <a:pt x="223" y="767"/>
                    </a:lnTo>
                    <a:lnTo>
                      <a:pt x="225" y="767"/>
                    </a:lnTo>
                    <a:lnTo>
                      <a:pt x="225" y="767"/>
                    </a:lnTo>
                    <a:lnTo>
                      <a:pt x="225" y="767"/>
                    </a:lnTo>
                    <a:lnTo>
                      <a:pt x="226" y="767"/>
                    </a:lnTo>
                    <a:lnTo>
                      <a:pt x="226" y="767"/>
                    </a:lnTo>
                    <a:lnTo>
                      <a:pt x="228" y="765"/>
                    </a:lnTo>
                    <a:lnTo>
                      <a:pt x="228" y="763"/>
                    </a:lnTo>
                    <a:lnTo>
                      <a:pt x="230" y="765"/>
                    </a:lnTo>
                    <a:lnTo>
                      <a:pt x="230" y="765"/>
                    </a:lnTo>
                    <a:lnTo>
                      <a:pt x="230" y="765"/>
                    </a:lnTo>
                    <a:lnTo>
                      <a:pt x="230" y="767"/>
                    </a:lnTo>
                    <a:lnTo>
                      <a:pt x="230" y="769"/>
                    </a:lnTo>
                    <a:lnTo>
                      <a:pt x="230" y="769"/>
                    </a:lnTo>
                    <a:lnTo>
                      <a:pt x="230" y="773"/>
                    </a:lnTo>
                    <a:lnTo>
                      <a:pt x="230" y="773"/>
                    </a:lnTo>
                    <a:lnTo>
                      <a:pt x="230" y="775"/>
                    </a:lnTo>
                    <a:lnTo>
                      <a:pt x="230" y="775"/>
                    </a:lnTo>
                    <a:lnTo>
                      <a:pt x="230" y="775"/>
                    </a:lnTo>
                    <a:lnTo>
                      <a:pt x="230" y="776"/>
                    </a:lnTo>
                    <a:lnTo>
                      <a:pt x="230" y="778"/>
                    </a:lnTo>
                    <a:lnTo>
                      <a:pt x="228" y="780"/>
                    </a:lnTo>
                    <a:lnTo>
                      <a:pt x="228" y="782"/>
                    </a:lnTo>
                    <a:lnTo>
                      <a:pt x="226" y="784"/>
                    </a:lnTo>
                    <a:lnTo>
                      <a:pt x="225" y="784"/>
                    </a:lnTo>
                    <a:lnTo>
                      <a:pt x="225" y="786"/>
                    </a:lnTo>
                    <a:lnTo>
                      <a:pt x="225" y="790"/>
                    </a:lnTo>
                    <a:lnTo>
                      <a:pt x="225" y="792"/>
                    </a:lnTo>
                    <a:lnTo>
                      <a:pt x="225" y="794"/>
                    </a:lnTo>
                    <a:lnTo>
                      <a:pt x="223" y="794"/>
                    </a:lnTo>
                    <a:lnTo>
                      <a:pt x="223" y="796"/>
                    </a:lnTo>
                    <a:lnTo>
                      <a:pt x="219" y="796"/>
                    </a:lnTo>
                    <a:lnTo>
                      <a:pt x="219" y="797"/>
                    </a:lnTo>
                    <a:lnTo>
                      <a:pt x="219" y="797"/>
                    </a:lnTo>
                    <a:lnTo>
                      <a:pt x="217" y="799"/>
                    </a:lnTo>
                    <a:lnTo>
                      <a:pt x="217" y="801"/>
                    </a:lnTo>
                    <a:lnTo>
                      <a:pt x="217" y="803"/>
                    </a:lnTo>
                    <a:lnTo>
                      <a:pt x="217" y="803"/>
                    </a:lnTo>
                    <a:lnTo>
                      <a:pt x="215" y="805"/>
                    </a:lnTo>
                    <a:lnTo>
                      <a:pt x="211" y="809"/>
                    </a:lnTo>
                    <a:lnTo>
                      <a:pt x="211" y="811"/>
                    </a:lnTo>
                    <a:lnTo>
                      <a:pt x="211" y="811"/>
                    </a:lnTo>
                    <a:lnTo>
                      <a:pt x="211" y="813"/>
                    </a:lnTo>
                    <a:lnTo>
                      <a:pt x="213" y="813"/>
                    </a:lnTo>
                    <a:lnTo>
                      <a:pt x="215" y="813"/>
                    </a:lnTo>
                    <a:lnTo>
                      <a:pt x="217" y="815"/>
                    </a:lnTo>
                    <a:lnTo>
                      <a:pt x="219" y="816"/>
                    </a:lnTo>
                    <a:lnTo>
                      <a:pt x="219" y="818"/>
                    </a:lnTo>
                    <a:lnTo>
                      <a:pt x="219" y="820"/>
                    </a:lnTo>
                    <a:lnTo>
                      <a:pt x="217" y="820"/>
                    </a:lnTo>
                    <a:lnTo>
                      <a:pt x="217" y="820"/>
                    </a:lnTo>
                    <a:lnTo>
                      <a:pt x="215" y="820"/>
                    </a:lnTo>
                    <a:lnTo>
                      <a:pt x="207" y="815"/>
                    </a:lnTo>
                    <a:lnTo>
                      <a:pt x="205" y="815"/>
                    </a:lnTo>
                    <a:lnTo>
                      <a:pt x="205" y="813"/>
                    </a:lnTo>
                    <a:lnTo>
                      <a:pt x="205" y="813"/>
                    </a:lnTo>
                    <a:lnTo>
                      <a:pt x="204" y="813"/>
                    </a:lnTo>
                    <a:lnTo>
                      <a:pt x="204" y="815"/>
                    </a:lnTo>
                    <a:lnTo>
                      <a:pt x="204" y="815"/>
                    </a:lnTo>
                    <a:lnTo>
                      <a:pt x="202" y="816"/>
                    </a:lnTo>
                    <a:lnTo>
                      <a:pt x="202" y="818"/>
                    </a:lnTo>
                    <a:lnTo>
                      <a:pt x="202" y="820"/>
                    </a:lnTo>
                    <a:lnTo>
                      <a:pt x="202" y="820"/>
                    </a:lnTo>
                    <a:lnTo>
                      <a:pt x="200" y="820"/>
                    </a:lnTo>
                    <a:lnTo>
                      <a:pt x="200" y="820"/>
                    </a:lnTo>
                    <a:lnTo>
                      <a:pt x="200" y="820"/>
                    </a:lnTo>
                    <a:lnTo>
                      <a:pt x="198" y="820"/>
                    </a:lnTo>
                    <a:lnTo>
                      <a:pt x="198" y="820"/>
                    </a:lnTo>
                    <a:lnTo>
                      <a:pt x="196" y="822"/>
                    </a:lnTo>
                    <a:lnTo>
                      <a:pt x="196" y="822"/>
                    </a:lnTo>
                    <a:lnTo>
                      <a:pt x="196" y="822"/>
                    </a:lnTo>
                    <a:lnTo>
                      <a:pt x="196" y="822"/>
                    </a:lnTo>
                    <a:lnTo>
                      <a:pt x="194" y="822"/>
                    </a:lnTo>
                    <a:lnTo>
                      <a:pt x="194" y="822"/>
                    </a:lnTo>
                    <a:lnTo>
                      <a:pt x="192" y="820"/>
                    </a:lnTo>
                    <a:lnTo>
                      <a:pt x="192" y="820"/>
                    </a:lnTo>
                    <a:lnTo>
                      <a:pt x="190" y="822"/>
                    </a:lnTo>
                    <a:lnTo>
                      <a:pt x="190" y="822"/>
                    </a:lnTo>
                    <a:lnTo>
                      <a:pt x="190" y="822"/>
                    </a:lnTo>
                    <a:lnTo>
                      <a:pt x="190" y="822"/>
                    </a:lnTo>
                    <a:lnTo>
                      <a:pt x="190" y="824"/>
                    </a:lnTo>
                    <a:lnTo>
                      <a:pt x="190" y="828"/>
                    </a:lnTo>
                    <a:lnTo>
                      <a:pt x="190" y="830"/>
                    </a:lnTo>
                    <a:lnTo>
                      <a:pt x="190" y="832"/>
                    </a:lnTo>
                    <a:lnTo>
                      <a:pt x="190" y="832"/>
                    </a:lnTo>
                    <a:lnTo>
                      <a:pt x="188" y="834"/>
                    </a:lnTo>
                    <a:lnTo>
                      <a:pt x="194" y="841"/>
                    </a:lnTo>
                    <a:lnTo>
                      <a:pt x="198" y="845"/>
                    </a:lnTo>
                    <a:lnTo>
                      <a:pt x="204" y="849"/>
                    </a:lnTo>
                    <a:lnTo>
                      <a:pt x="207" y="849"/>
                    </a:lnTo>
                    <a:lnTo>
                      <a:pt x="209" y="851"/>
                    </a:lnTo>
                    <a:lnTo>
                      <a:pt x="209" y="851"/>
                    </a:lnTo>
                    <a:lnTo>
                      <a:pt x="213" y="851"/>
                    </a:lnTo>
                    <a:lnTo>
                      <a:pt x="213" y="849"/>
                    </a:lnTo>
                    <a:lnTo>
                      <a:pt x="215" y="849"/>
                    </a:lnTo>
                    <a:lnTo>
                      <a:pt x="215" y="849"/>
                    </a:lnTo>
                    <a:lnTo>
                      <a:pt x="221" y="843"/>
                    </a:lnTo>
                    <a:lnTo>
                      <a:pt x="223" y="841"/>
                    </a:lnTo>
                    <a:lnTo>
                      <a:pt x="223" y="839"/>
                    </a:lnTo>
                    <a:lnTo>
                      <a:pt x="223" y="837"/>
                    </a:lnTo>
                    <a:lnTo>
                      <a:pt x="223" y="835"/>
                    </a:lnTo>
                    <a:lnTo>
                      <a:pt x="223" y="835"/>
                    </a:lnTo>
                    <a:lnTo>
                      <a:pt x="223" y="835"/>
                    </a:lnTo>
                    <a:lnTo>
                      <a:pt x="225" y="835"/>
                    </a:lnTo>
                    <a:lnTo>
                      <a:pt x="225" y="837"/>
                    </a:lnTo>
                    <a:lnTo>
                      <a:pt x="226" y="837"/>
                    </a:lnTo>
                    <a:lnTo>
                      <a:pt x="226" y="837"/>
                    </a:lnTo>
                    <a:lnTo>
                      <a:pt x="232" y="834"/>
                    </a:lnTo>
                    <a:lnTo>
                      <a:pt x="232" y="832"/>
                    </a:lnTo>
                    <a:lnTo>
                      <a:pt x="232" y="832"/>
                    </a:lnTo>
                    <a:lnTo>
                      <a:pt x="236" y="822"/>
                    </a:lnTo>
                    <a:lnTo>
                      <a:pt x="238" y="813"/>
                    </a:lnTo>
                    <a:lnTo>
                      <a:pt x="240" y="811"/>
                    </a:lnTo>
                    <a:lnTo>
                      <a:pt x="240" y="811"/>
                    </a:lnTo>
                    <a:lnTo>
                      <a:pt x="240" y="807"/>
                    </a:lnTo>
                    <a:lnTo>
                      <a:pt x="240" y="805"/>
                    </a:lnTo>
                    <a:lnTo>
                      <a:pt x="240" y="803"/>
                    </a:lnTo>
                    <a:lnTo>
                      <a:pt x="242" y="801"/>
                    </a:lnTo>
                    <a:lnTo>
                      <a:pt x="244" y="801"/>
                    </a:lnTo>
                    <a:lnTo>
                      <a:pt x="244" y="801"/>
                    </a:lnTo>
                    <a:lnTo>
                      <a:pt x="246" y="801"/>
                    </a:lnTo>
                    <a:lnTo>
                      <a:pt x="247" y="799"/>
                    </a:lnTo>
                    <a:lnTo>
                      <a:pt x="247" y="799"/>
                    </a:lnTo>
                    <a:lnTo>
                      <a:pt x="249" y="797"/>
                    </a:lnTo>
                    <a:lnTo>
                      <a:pt x="249" y="796"/>
                    </a:lnTo>
                    <a:lnTo>
                      <a:pt x="251" y="796"/>
                    </a:lnTo>
                    <a:lnTo>
                      <a:pt x="251" y="796"/>
                    </a:lnTo>
                    <a:lnTo>
                      <a:pt x="257" y="794"/>
                    </a:lnTo>
                    <a:lnTo>
                      <a:pt x="261" y="794"/>
                    </a:lnTo>
                    <a:lnTo>
                      <a:pt x="263" y="794"/>
                    </a:lnTo>
                    <a:lnTo>
                      <a:pt x="268" y="792"/>
                    </a:lnTo>
                    <a:lnTo>
                      <a:pt x="268" y="794"/>
                    </a:lnTo>
                    <a:lnTo>
                      <a:pt x="270" y="794"/>
                    </a:lnTo>
                    <a:lnTo>
                      <a:pt x="270" y="796"/>
                    </a:lnTo>
                    <a:lnTo>
                      <a:pt x="270" y="797"/>
                    </a:lnTo>
                    <a:lnTo>
                      <a:pt x="272" y="797"/>
                    </a:lnTo>
                    <a:lnTo>
                      <a:pt x="272" y="797"/>
                    </a:lnTo>
                    <a:lnTo>
                      <a:pt x="274" y="797"/>
                    </a:lnTo>
                    <a:lnTo>
                      <a:pt x="276" y="796"/>
                    </a:lnTo>
                    <a:lnTo>
                      <a:pt x="276" y="796"/>
                    </a:lnTo>
                    <a:lnTo>
                      <a:pt x="276" y="794"/>
                    </a:lnTo>
                    <a:lnTo>
                      <a:pt x="276" y="792"/>
                    </a:lnTo>
                    <a:lnTo>
                      <a:pt x="278" y="792"/>
                    </a:lnTo>
                    <a:lnTo>
                      <a:pt x="278" y="790"/>
                    </a:lnTo>
                    <a:lnTo>
                      <a:pt x="280" y="790"/>
                    </a:lnTo>
                    <a:lnTo>
                      <a:pt x="284" y="792"/>
                    </a:lnTo>
                    <a:lnTo>
                      <a:pt x="284" y="792"/>
                    </a:lnTo>
                    <a:lnTo>
                      <a:pt x="286" y="792"/>
                    </a:lnTo>
                    <a:lnTo>
                      <a:pt x="286" y="792"/>
                    </a:lnTo>
                    <a:lnTo>
                      <a:pt x="286" y="794"/>
                    </a:lnTo>
                    <a:lnTo>
                      <a:pt x="286" y="796"/>
                    </a:lnTo>
                    <a:lnTo>
                      <a:pt x="287" y="796"/>
                    </a:lnTo>
                    <a:lnTo>
                      <a:pt x="287" y="796"/>
                    </a:lnTo>
                    <a:lnTo>
                      <a:pt x="291" y="796"/>
                    </a:lnTo>
                    <a:lnTo>
                      <a:pt x="293" y="797"/>
                    </a:lnTo>
                    <a:lnTo>
                      <a:pt x="293" y="797"/>
                    </a:lnTo>
                    <a:lnTo>
                      <a:pt x="295" y="797"/>
                    </a:lnTo>
                    <a:lnTo>
                      <a:pt x="297" y="797"/>
                    </a:lnTo>
                    <a:lnTo>
                      <a:pt x="299" y="797"/>
                    </a:lnTo>
                    <a:lnTo>
                      <a:pt x="305" y="797"/>
                    </a:lnTo>
                    <a:lnTo>
                      <a:pt x="305" y="797"/>
                    </a:lnTo>
                    <a:lnTo>
                      <a:pt x="307" y="796"/>
                    </a:lnTo>
                    <a:lnTo>
                      <a:pt x="308" y="796"/>
                    </a:lnTo>
                    <a:lnTo>
                      <a:pt x="310" y="792"/>
                    </a:lnTo>
                    <a:lnTo>
                      <a:pt x="316" y="784"/>
                    </a:lnTo>
                    <a:lnTo>
                      <a:pt x="316" y="784"/>
                    </a:lnTo>
                    <a:lnTo>
                      <a:pt x="318" y="784"/>
                    </a:lnTo>
                    <a:lnTo>
                      <a:pt x="320" y="784"/>
                    </a:lnTo>
                    <a:lnTo>
                      <a:pt x="322" y="784"/>
                    </a:lnTo>
                    <a:lnTo>
                      <a:pt x="322" y="786"/>
                    </a:lnTo>
                    <a:lnTo>
                      <a:pt x="324" y="786"/>
                    </a:lnTo>
                    <a:lnTo>
                      <a:pt x="326" y="786"/>
                    </a:lnTo>
                    <a:lnTo>
                      <a:pt x="326" y="784"/>
                    </a:lnTo>
                    <a:lnTo>
                      <a:pt x="329" y="780"/>
                    </a:lnTo>
                    <a:lnTo>
                      <a:pt x="331" y="778"/>
                    </a:lnTo>
                    <a:lnTo>
                      <a:pt x="333" y="776"/>
                    </a:lnTo>
                    <a:lnTo>
                      <a:pt x="333" y="776"/>
                    </a:lnTo>
                    <a:lnTo>
                      <a:pt x="337" y="775"/>
                    </a:lnTo>
                    <a:lnTo>
                      <a:pt x="339" y="773"/>
                    </a:lnTo>
                    <a:lnTo>
                      <a:pt x="339" y="771"/>
                    </a:lnTo>
                    <a:lnTo>
                      <a:pt x="339" y="771"/>
                    </a:lnTo>
                    <a:lnTo>
                      <a:pt x="339" y="769"/>
                    </a:lnTo>
                    <a:lnTo>
                      <a:pt x="339" y="769"/>
                    </a:lnTo>
                    <a:lnTo>
                      <a:pt x="339" y="765"/>
                    </a:lnTo>
                    <a:lnTo>
                      <a:pt x="341" y="765"/>
                    </a:lnTo>
                    <a:lnTo>
                      <a:pt x="341" y="763"/>
                    </a:lnTo>
                    <a:lnTo>
                      <a:pt x="341" y="761"/>
                    </a:lnTo>
                    <a:lnTo>
                      <a:pt x="341" y="761"/>
                    </a:lnTo>
                    <a:lnTo>
                      <a:pt x="341" y="759"/>
                    </a:lnTo>
                    <a:lnTo>
                      <a:pt x="345" y="759"/>
                    </a:lnTo>
                    <a:lnTo>
                      <a:pt x="347" y="759"/>
                    </a:lnTo>
                    <a:lnTo>
                      <a:pt x="348" y="759"/>
                    </a:lnTo>
                    <a:lnTo>
                      <a:pt x="350" y="759"/>
                    </a:lnTo>
                    <a:lnTo>
                      <a:pt x="352" y="759"/>
                    </a:lnTo>
                    <a:lnTo>
                      <a:pt x="354" y="761"/>
                    </a:lnTo>
                    <a:lnTo>
                      <a:pt x="354" y="763"/>
                    </a:lnTo>
                    <a:lnTo>
                      <a:pt x="356" y="765"/>
                    </a:lnTo>
                    <a:lnTo>
                      <a:pt x="356" y="767"/>
                    </a:lnTo>
                    <a:lnTo>
                      <a:pt x="358" y="767"/>
                    </a:lnTo>
                    <a:lnTo>
                      <a:pt x="360" y="767"/>
                    </a:lnTo>
                    <a:lnTo>
                      <a:pt x="369" y="765"/>
                    </a:lnTo>
                    <a:lnTo>
                      <a:pt x="371" y="765"/>
                    </a:lnTo>
                    <a:lnTo>
                      <a:pt x="371" y="767"/>
                    </a:lnTo>
                    <a:lnTo>
                      <a:pt x="371" y="769"/>
                    </a:lnTo>
                    <a:lnTo>
                      <a:pt x="371" y="769"/>
                    </a:lnTo>
                    <a:lnTo>
                      <a:pt x="371" y="771"/>
                    </a:lnTo>
                    <a:lnTo>
                      <a:pt x="371" y="771"/>
                    </a:lnTo>
                    <a:lnTo>
                      <a:pt x="373" y="773"/>
                    </a:lnTo>
                    <a:lnTo>
                      <a:pt x="375" y="775"/>
                    </a:lnTo>
                    <a:lnTo>
                      <a:pt x="377" y="775"/>
                    </a:lnTo>
                    <a:lnTo>
                      <a:pt x="381" y="775"/>
                    </a:lnTo>
                    <a:lnTo>
                      <a:pt x="381" y="775"/>
                    </a:lnTo>
                    <a:lnTo>
                      <a:pt x="383" y="775"/>
                    </a:lnTo>
                    <a:lnTo>
                      <a:pt x="383" y="775"/>
                    </a:lnTo>
                    <a:lnTo>
                      <a:pt x="385" y="773"/>
                    </a:lnTo>
                    <a:lnTo>
                      <a:pt x="385" y="771"/>
                    </a:lnTo>
                    <a:lnTo>
                      <a:pt x="385" y="771"/>
                    </a:lnTo>
                    <a:lnTo>
                      <a:pt x="383" y="771"/>
                    </a:lnTo>
                    <a:lnTo>
                      <a:pt x="383" y="769"/>
                    </a:lnTo>
                    <a:lnTo>
                      <a:pt x="381" y="769"/>
                    </a:lnTo>
                    <a:lnTo>
                      <a:pt x="381" y="769"/>
                    </a:lnTo>
                    <a:lnTo>
                      <a:pt x="381" y="769"/>
                    </a:lnTo>
                    <a:lnTo>
                      <a:pt x="379" y="767"/>
                    </a:lnTo>
                    <a:lnTo>
                      <a:pt x="379" y="767"/>
                    </a:lnTo>
                    <a:lnTo>
                      <a:pt x="381" y="765"/>
                    </a:lnTo>
                    <a:lnTo>
                      <a:pt x="381" y="765"/>
                    </a:lnTo>
                    <a:lnTo>
                      <a:pt x="383" y="765"/>
                    </a:lnTo>
                    <a:lnTo>
                      <a:pt x="383" y="765"/>
                    </a:lnTo>
                    <a:lnTo>
                      <a:pt x="385" y="765"/>
                    </a:lnTo>
                    <a:lnTo>
                      <a:pt x="389" y="765"/>
                    </a:lnTo>
                    <a:lnTo>
                      <a:pt x="394" y="761"/>
                    </a:lnTo>
                    <a:lnTo>
                      <a:pt x="406" y="756"/>
                    </a:lnTo>
                    <a:lnTo>
                      <a:pt x="406" y="754"/>
                    </a:lnTo>
                    <a:lnTo>
                      <a:pt x="406" y="754"/>
                    </a:lnTo>
                    <a:lnTo>
                      <a:pt x="406" y="752"/>
                    </a:lnTo>
                    <a:lnTo>
                      <a:pt x="406" y="752"/>
                    </a:lnTo>
                    <a:lnTo>
                      <a:pt x="406" y="750"/>
                    </a:lnTo>
                    <a:lnTo>
                      <a:pt x="406" y="750"/>
                    </a:lnTo>
                    <a:lnTo>
                      <a:pt x="408" y="748"/>
                    </a:lnTo>
                    <a:lnTo>
                      <a:pt x="409" y="746"/>
                    </a:lnTo>
                    <a:lnTo>
                      <a:pt x="411" y="744"/>
                    </a:lnTo>
                    <a:lnTo>
                      <a:pt x="413" y="742"/>
                    </a:lnTo>
                    <a:lnTo>
                      <a:pt x="415" y="742"/>
                    </a:lnTo>
                    <a:lnTo>
                      <a:pt x="417" y="742"/>
                    </a:lnTo>
                    <a:lnTo>
                      <a:pt x="417" y="740"/>
                    </a:lnTo>
                    <a:lnTo>
                      <a:pt x="417" y="740"/>
                    </a:lnTo>
                    <a:lnTo>
                      <a:pt x="417" y="738"/>
                    </a:lnTo>
                    <a:lnTo>
                      <a:pt x="417" y="738"/>
                    </a:lnTo>
                    <a:lnTo>
                      <a:pt x="415" y="738"/>
                    </a:lnTo>
                    <a:lnTo>
                      <a:pt x="415" y="737"/>
                    </a:lnTo>
                    <a:lnTo>
                      <a:pt x="415" y="737"/>
                    </a:lnTo>
                    <a:lnTo>
                      <a:pt x="413" y="735"/>
                    </a:lnTo>
                    <a:lnTo>
                      <a:pt x="415" y="735"/>
                    </a:lnTo>
                    <a:lnTo>
                      <a:pt x="415" y="735"/>
                    </a:lnTo>
                    <a:lnTo>
                      <a:pt x="415" y="735"/>
                    </a:lnTo>
                    <a:lnTo>
                      <a:pt x="417" y="735"/>
                    </a:lnTo>
                    <a:lnTo>
                      <a:pt x="419" y="737"/>
                    </a:lnTo>
                    <a:lnTo>
                      <a:pt x="421" y="737"/>
                    </a:lnTo>
                    <a:lnTo>
                      <a:pt x="425" y="737"/>
                    </a:lnTo>
                    <a:lnTo>
                      <a:pt x="425" y="737"/>
                    </a:lnTo>
                    <a:lnTo>
                      <a:pt x="425" y="738"/>
                    </a:lnTo>
                    <a:lnTo>
                      <a:pt x="425" y="738"/>
                    </a:lnTo>
                    <a:lnTo>
                      <a:pt x="425" y="740"/>
                    </a:lnTo>
                    <a:lnTo>
                      <a:pt x="423" y="740"/>
                    </a:lnTo>
                    <a:lnTo>
                      <a:pt x="423" y="742"/>
                    </a:lnTo>
                    <a:lnTo>
                      <a:pt x="423" y="742"/>
                    </a:lnTo>
                    <a:lnTo>
                      <a:pt x="423" y="742"/>
                    </a:lnTo>
                    <a:lnTo>
                      <a:pt x="423" y="744"/>
                    </a:lnTo>
                    <a:lnTo>
                      <a:pt x="425" y="744"/>
                    </a:lnTo>
                    <a:lnTo>
                      <a:pt x="429" y="744"/>
                    </a:lnTo>
                    <a:lnTo>
                      <a:pt x="430" y="744"/>
                    </a:lnTo>
                    <a:lnTo>
                      <a:pt x="436" y="744"/>
                    </a:lnTo>
                    <a:lnTo>
                      <a:pt x="438" y="744"/>
                    </a:lnTo>
                    <a:lnTo>
                      <a:pt x="444" y="742"/>
                    </a:lnTo>
                    <a:lnTo>
                      <a:pt x="444" y="742"/>
                    </a:lnTo>
                    <a:lnTo>
                      <a:pt x="444" y="742"/>
                    </a:lnTo>
                    <a:lnTo>
                      <a:pt x="444" y="742"/>
                    </a:lnTo>
                    <a:lnTo>
                      <a:pt x="442" y="742"/>
                    </a:lnTo>
                    <a:lnTo>
                      <a:pt x="442" y="742"/>
                    </a:lnTo>
                    <a:lnTo>
                      <a:pt x="440" y="740"/>
                    </a:lnTo>
                    <a:lnTo>
                      <a:pt x="440" y="740"/>
                    </a:lnTo>
                    <a:lnTo>
                      <a:pt x="438" y="740"/>
                    </a:lnTo>
                    <a:lnTo>
                      <a:pt x="432" y="740"/>
                    </a:lnTo>
                    <a:lnTo>
                      <a:pt x="430" y="738"/>
                    </a:lnTo>
                    <a:lnTo>
                      <a:pt x="427" y="738"/>
                    </a:lnTo>
                    <a:lnTo>
                      <a:pt x="425" y="738"/>
                    </a:lnTo>
                    <a:lnTo>
                      <a:pt x="425" y="737"/>
                    </a:lnTo>
                    <a:lnTo>
                      <a:pt x="423" y="733"/>
                    </a:lnTo>
                    <a:lnTo>
                      <a:pt x="419" y="729"/>
                    </a:lnTo>
                    <a:lnTo>
                      <a:pt x="417" y="727"/>
                    </a:lnTo>
                    <a:lnTo>
                      <a:pt x="417" y="723"/>
                    </a:lnTo>
                    <a:lnTo>
                      <a:pt x="421" y="719"/>
                    </a:lnTo>
                    <a:lnTo>
                      <a:pt x="423" y="718"/>
                    </a:lnTo>
                    <a:lnTo>
                      <a:pt x="423" y="716"/>
                    </a:lnTo>
                    <a:lnTo>
                      <a:pt x="423" y="714"/>
                    </a:lnTo>
                    <a:lnTo>
                      <a:pt x="423" y="714"/>
                    </a:lnTo>
                    <a:lnTo>
                      <a:pt x="425" y="716"/>
                    </a:lnTo>
                    <a:lnTo>
                      <a:pt x="425" y="716"/>
                    </a:lnTo>
                    <a:lnTo>
                      <a:pt x="427" y="718"/>
                    </a:lnTo>
                    <a:lnTo>
                      <a:pt x="425" y="721"/>
                    </a:lnTo>
                    <a:lnTo>
                      <a:pt x="427" y="721"/>
                    </a:lnTo>
                    <a:lnTo>
                      <a:pt x="429" y="723"/>
                    </a:lnTo>
                    <a:lnTo>
                      <a:pt x="429" y="719"/>
                    </a:lnTo>
                    <a:lnTo>
                      <a:pt x="429" y="708"/>
                    </a:lnTo>
                    <a:lnTo>
                      <a:pt x="430" y="710"/>
                    </a:lnTo>
                    <a:lnTo>
                      <a:pt x="434" y="716"/>
                    </a:lnTo>
                    <a:lnTo>
                      <a:pt x="436" y="719"/>
                    </a:lnTo>
                    <a:lnTo>
                      <a:pt x="442" y="727"/>
                    </a:lnTo>
                    <a:lnTo>
                      <a:pt x="446" y="737"/>
                    </a:lnTo>
                    <a:lnTo>
                      <a:pt x="446" y="737"/>
                    </a:lnTo>
                    <a:lnTo>
                      <a:pt x="446" y="735"/>
                    </a:lnTo>
                    <a:lnTo>
                      <a:pt x="448" y="735"/>
                    </a:lnTo>
                    <a:lnTo>
                      <a:pt x="448" y="735"/>
                    </a:lnTo>
                    <a:lnTo>
                      <a:pt x="444" y="727"/>
                    </a:lnTo>
                    <a:lnTo>
                      <a:pt x="440" y="718"/>
                    </a:lnTo>
                    <a:lnTo>
                      <a:pt x="440" y="716"/>
                    </a:lnTo>
                    <a:lnTo>
                      <a:pt x="438" y="714"/>
                    </a:lnTo>
                    <a:lnTo>
                      <a:pt x="440" y="710"/>
                    </a:lnTo>
                    <a:lnTo>
                      <a:pt x="442" y="706"/>
                    </a:lnTo>
                    <a:lnTo>
                      <a:pt x="442" y="700"/>
                    </a:lnTo>
                    <a:lnTo>
                      <a:pt x="440" y="695"/>
                    </a:lnTo>
                    <a:lnTo>
                      <a:pt x="430" y="676"/>
                    </a:lnTo>
                    <a:lnTo>
                      <a:pt x="429" y="670"/>
                    </a:lnTo>
                    <a:lnTo>
                      <a:pt x="427" y="655"/>
                    </a:lnTo>
                    <a:lnTo>
                      <a:pt x="427" y="649"/>
                    </a:lnTo>
                    <a:lnTo>
                      <a:pt x="429" y="645"/>
                    </a:lnTo>
                    <a:lnTo>
                      <a:pt x="427" y="643"/>
                    </a:lnTo>
                    <a:lnTo>
                      <a:pt x="425" y="643"/>
                    </a:lnTo>
                    <a:lnTo>
                      <a:pt x="423" y="645"/>
                    </a:lnTo>
                    <a:lnTo>
                      <a:pt x="419" y="647"/>
                    </a:lnTo>
                    <a:lnTo>
                      <a:pt x="417" y="649"/>
                    </a:lnTo>
                    <a:lnTo>
                      <a:pt x="417" y="647"/>
                    </a:lnTo>
                    <a:lnTo>
                      <a:pt x="417" y="645"/>
                    </a:lnTo>
                    <a:lnTo>
                      <a:pt x="419" y="645"/>
                    </a:lnTo>
                    <a:lnTo>
                      <a:pt x="419" y="643"/>
                    </a:lnTo>
                    <a:lnTo>
                      <a:pt x="421" y="641"/>
                    </a:lnTo>
                    <a:lnTo>
                      <a:pt x="423" y="641"/>
                    </a:lnTo>
                    <a:lnTo>
                      <a:pt x="427" y="641"/>
                    </a:lnTo>
                    <a:lnTo>
                      <a:pt x="429" y="640"/>
                    </a:lnTo>
                    <a:lnTo>
                      <a:pt x="430" y="632"/>
                    </a:lnTo>
                    <a:lnTo>
                      <a:pt x="432" y="630"/>
                    </a:lnTo>
                    <a:lnTo>
                      <a:pt x="432" y="624"/>
                    </a:lnTo>
                    <a:lnTo>
                      <a:pt x="432" y="613"/>
                    </a:lnTo>
                    <a:lnTo>
                      <a:pt x="434" y="605"/>
                    </a:lnTo>
                    <a:lnTo>
                      <a:pt x="434" y="603"/>
                    </a:lnTo>
                    <a:lnTo>
                      <a:pt x="434" y="603"/>
                    </a:lnTo>
                    <a:lnTo>
                      <a:pt x="436" y="601"/>
                    </a:lnTo>
                    <a:lnTo>
                      <a:pt x="436" y="601"/>
                    </a:lnTo>
                    <a:lnTo>
                      <a:pt x="434" y="600"/>
                    </a:lnTo>
                    <a:lnTo>
                      <a:pt x="434" y="600"/>
                    </a:lnTo>
                    <a:lnTo>
                      <a:pt x="430" y="601"/>
                    </a:lnTo>
                    <a:lnTo>
                      <a:pt x="429" y="601"/>
                    </a:lnTo>
                    <a:lnTo>
                      <a:pt x="429" y="600"/>
                    </a:lnTo>
                    <a:lnTo>
                      <a:pt x="430" y="600"/>
                    </a:lnTo>
                    <a:lnTo>
                      <a:pt x="432" y="598"/>
                    </a:lnTo>
                    <a:lnTo>
                      <a:pt x="432" y="598"/>
                    </a:lnTo>
                    <a:lnTo>
                      <a:pt x="432" y="596"/>
                    </a:lnTo>
                    <a:lnTo>
                      <a:pt x="432" y="594"/>
                    </a:lnTo>
                    <a:lnTo>
                      <a:pt x="432" y="592"/>
                    </a:lnTo>
                    <a:lnTo>
                      <a:pt x="430" y="588"/>
                    </a:lnTo>
                    <a:lnTo>
                      <a:pt x="430" y="586"/>
                    </a:lnTo>
                    <a:lnTo>
                      <a:pt x="427" y="584"/>
                    </a:lnTo>
                    <a:lnTo>
                      <a:pt x="425" y="584"/>
                    </a:lnTo>
                    <a:lnTo>
                      <a:pt x="425" y="582"/>
                    </a:lnTo>
                    <a:lnTo>
                      <a:pt x="425" y="582"/>
                    </a:lnTo>
                    <a:lnTo>
                      <a:pt x="425" y="575"/>
                    </a:lnTo>
                    <a:lnTo>
                      <a:pt x="419" y="556"/>
                    </a:lnTo>
                    <a:lnTo>
                      <a:pt x="419" y="552"/>
                    </a:lnTo>
                    <a:lnTo>
                      <a:pt x="419" y="548"/>
                    </a:lnTo>
                    <a:lnTo>
                      <a:pt x="417" y="542"/>
                    </a:lnTo>
                    <a:lnTo>
                      <a:pt x="417" y="533"/>
                    </a:lnTo>
                    <a:lnTo>
                      <a:pt x="421" y="518"/>
                    </a:lnTo>
                    <a:lnTo>
                      <a:pt x="423" y="506"/>
                    </a:lnTo>
                    <a:lnTo>
                      <a:pt x="423" y="504"/>
                    </a:lnTo>
                    <a:lnTo>
                      <a:pt x="427" y="497"/>
                    </a:lnTo>
                    <a:lnTo>
                      <a:pt x="427" y="495"/>
                    </a:lnTo>
                    <a:lnTo>
                      <a:pt x="429" y="491"/>
                    </a:lnTo>
                    <a:lnTo>
                      <a:pt x="432" y="487"/>
                    </a:lnTo>
                    <a:lnTo>
                      <a:pt x="434" y="485"/>
                    </a:lnTo>
                    <a:lnTo>
                      <a:pt x="436" y="482"/>
                    </a:lnTo>
                    <a:lnTo>
                      <a:pt x="436" y="480"/>
                    </a:lnTo>
                    <a:lnTo>
                      <a:pt x="436" y="480"/>
                    </a:lnTo>
                    <a:lnTo>
                      <a:pt x="436" y="478"/>
                    </a:lnTo>
                    <a:lnTo>
                      <a:pt x="438" y="474"/>
                    </a:lnTo>
                    <a:lnTo>
                      <a:pt x="438" y="470"/>
                    </a:lnTo>
                    <a:lnTo>
                      <a:pt x="444" y="457"/>
                    </a:lnTo>
                    <a:lnTo>
                      <a:pt x="446" y="453"/>
                    </a:lnTo>
                    <a:lnTo>
                      <a:pt x="455" y="444"/>
                    </a:lnTo>
                    <a:lnTo>
                      <a:pt x="459" y="442"/>
                    </a:lnTo>
                    <a:lnTo>
                      <a:pt x="465" y="440"/>
                    </a:lnTo>
                    <a:lnTo>
                      <a:pt x="467" y="440"/>
                    </a:lnTo>
                    <a:lnTo>
                      <a:pt x="469" y="438"/>
                    </a:lnTo>
                    <a:lnTo>
                      <a:pt x="469" y="436"/>
                    </a:lnTo>
                    <a:lnTo>
                      <a:pt x="471" y="436"/>
                    </a:lnTo>
                    <a:lnTo>
                      <a:pt x="471" y="436"/>
                    </a:lnTo>
                    <a:lnTo>
                      <a:pt x="472" y="436"/>
                    </a:lnTo>
                    <a:lnTo>
                      <a:pt x="476" y="434"/>
                    </a:lnTo>
                    <a:lnTo>
                      <a:pt x="478" y="432"/>
                    </a:lnTo>
                    <a:lnTo>
                      <a:pt x="480" y="430"/>
                    </a:lnTo>
                    <a:lnTo>
                      <a:pt x="480" y="430"/>
                    </a:lnTo>
                    <a:lnTo>
                      <a:pt x="482" y="432"/>
                    </a:lnTo>
                    <a:lnTo>
                      <a:pt x="484" y="432"/>
                    </a:lnTo>
                    <a:lnTo>
                      <a:pt x="486" y="430"/>
                    </a:lnTo>
                    <a:lnTo>
                      <a:pt x="488" y="430"/>
                    </a:lnTo>
                    <a:lnTo>
                      <a:pt x="493" y="428"/>
                    </a:lnTo>
                    <a:lnTo>
                      <a:pt x="493" y="428"/>
                    </a:lnTo>
                    <a:lnTo>
                      <a:pt x="493" y="428"/>
                    </a:lnTo>
                    <a:lnTo>
                      <a:pt x="495" y="426"/>
                    </a:lnTo>
                    <a:lnTo>
                      <a:pt x="495" y="426"/>
                    </a:lnTo>
                    <a:lnTo>
                      <a:pt x="495" y="428"/>
                    </a:lnTo>
                    <a:lnTo>
                      <a:pt x="497" y="428"/>
                    </a:lnTo>
                    <a:lnTo>
                      <a:pt x="503" y="428"/>
                    </a:lnTo>
                    <a:lnTo>
                      <a:pt x="507" y="428"/>
                    </a:lnTo>
                    <a:lnTo>
                      <a:pt x="509" y="430"/>
                    </a:lnTo>
                    <a:lnTo>
                      <a:pt x="511" y="436"/>
                    </a:lnTo>
                    <a:lnTo>
                      <a:pt x="512" y="440"/>
                    </a:lnTo>
                    <a:lnTo>
                      <a:pt x="512" y="451"/>
                    </a:lnTo>
                    <a:lnTo>
                      <a:pt x="514" y="451"/>
                    </a:lnTo>
                    <a:lnTo>
                      <a:pt x="514" y="447"/>
                    </a:lnTo>
                    <a:lnTo>
                      <a:pt x="518" y="438"/>
                    </a:lnTo>
                    <a:lnTo>
                      <a:pt x="522" y="428"/>
                    </a:lnTo>
                    <a:lnTo>
                      <a:pt x="524" y="423"/>
                    </a:lnTo>
                    <a:lnTo>
                      <a:pt x="522" y="417"/>
                    </a:lnTo>
                    <a:lnTo>
                      <a:pt x="520" y="413"/>
                    </a:lnTo>
                    <a:lnTo>
                      <a:pt x="522" y="413"/>
                    </a:lnTo>
                    <a:lnTo>
                      <a:pt x="522" y="413"/>
                    </a:lnTo>
                    <a:lnTo>
                      <a:pt x="522" y="415"/>
                    </a:lnTo>
                    <a:lnTo>
                      <a:pt x="524" y="413"/>
                    </a:lnTo>
                    <a:lnTo>
                      <a:pt x="522" y="411"/>
                    </a:lnTo>
                    <a:lnTo>
                      <a:pt x="524" y="411"/>
                    </a:lnTo>
                    <a:lnTo>
                      <a:pt x="524" y="415"/>
                    </a:lnTo>
                    <a:lnTo>
                      <a:pt x="524" y="417"/>
                    </a:lnTo>
                    <a:lnTo>
                      <a:pt x="524" y="419"/>
                    </a:lnTo>
                    <a:lnTo>
                      <a:pt x="524" y="428"/>
                    </a:lnTo>
                    <a:lnTo>
                      <a:pt x="524" y="432"/>
                    </a:lnTo>
                    <a:lnTo>
                      <a:pt x="524" y="434"/>
                    </a:lnTo>
                    <a:lnTo>
                      <a:pt x="526" y="436"/>
                    </a:lnTo>
                    <a:lnTo>
                      <a:pt x="528" y="436"/>
                    </a:lnTo>
                    <a:lnTo>
                      <a:pt x="530" y="438"/>
                    </a:lnTo>
                    <a:lnTo>
                      <a:pt x="533" y="440"/>
                    </a:lnTo>
                    <a:lnTo>
                      <a:pt x="535" y="442"/>
                    </a:lnTo>
                    <a:lnTo>
                      <a:pt x="535" y="444"/>
                    </a:lnTo>
                    <a:lnTo>
                      <a:pt x="537" y="444"/>
                    </a:lnTo>
                    <a:lnTo>
                      <a:pt x="537" y="444"/>
                    </a:lnTo>
                    <a:lnTo>
                      <a:pt x="539" y="444"/>
                    </a:lnTo>
                    <a:lnTo>
                      <a:pt x="539" y="442"/>
                    </a:lnTo>
                    <a:lnTo>
                      <a:pt x="537" y="440"/>
                    </a:lnTo>
                    <a:lnTo>
                      <a:pt x="537" y="438"/>
                    </a:lnTo>
                    <a:lnTo>
                      <a:pt x="537" y="438"/>
                    </a:lnTo>
                    <a:lnTo>
                      <a:pt x="535" y="436"/>
                    </a:lnTo>
                    <a:lnTo>
                      <a:pt x="535" y="434"/>
                    </a:lnTo>
                    <a:lnTo>
                      <a:pt x="539" y="430"/>
                    </a:lnTo>
                    <a:lnTo>
                      <a:pt x="541" y="428"/>
                    </a:lnTo>
                    <a:lnTo>
                      <a:pt x="547" y="425"/>
                    </a:lnTo>
                    <a:lnTo>
                      <a:pt x="553" y="419"/>
                    </a:lnTo>
                    <a:lnTo>
                      <a:pt x="554" y="419"/>
                    </a:lnTo>
                    <a:lnTo>
                      <a:pt x="556" y="417"/>
                    </a:lnTo>
                    <a:lnTo>
                      <a:pt x="556" y="409"/>
                    </a:lnTo>
                    <a:lnTo>
                      <a:pt x="556" y="407"/>
                    </a:lnTo>
                    <a:lnTo>
                      <a:pt x="558" y="404"/>
                    </a:lnTo>
                    <a:lnTo>
                      <a:pt x="560" y="396"/>
                    </a:lnTo>
                    <a:lnTo>
                      <a:pt x="564" y="388"/>
                    </a:lnTo>
                    <a:lnTo>
                      <a:pt x="566" y="383"/>
                    </a:lnTo>
                    <a:lnTo>
                      <a:pt x="568" y="379"/>
                    </a:lnTo>
                    <a:lnTo>
                      <a:pt x="568" y="377"/>
                    </a:lnTo>
                    <a:lnTo>
                      <a:pt x="568" y="375"/>
                    </a:lnTo>
                    <a:lnTo>
                      <a:pt x="568" y="375"/>
                    </a:lnTo>
                    <a:lnTo>
                      <a:pt x="568" y="373"/>
                    </a:lnTo>
                    <a:lnTo>
                      <a:pt x="568" y="371"/>
                    </a:lnTo>
                    <a:lnTo>
                      <a:pt x="575" y="367"/>
                    </a:lnTo>
                    <a:lnTo>
                      <a:pt x="577" y="367"/>
                    </a:lnTo>
                    <a:lnTo>
                      <a:pt x="579" y="366"/>
                    </a:lnTo>
                    <a:lnTo>
                      <a:pt x="581" y="366"/>
                    </a:lnTo>
                    <a:lnTo>
                      <a:pt x="583" y="367"/>
                    </a:lnTo>
                    <a:lnTo>
                      <a:pt x="585" y="366"/>
                    </a:lnTo>
                    <a:lnTo>
                      <a:pt x="587" y="366"/>
                    </a:lnTo>
                    <a:lnTo>
                      <a:pt x="587" y="366"/>
                    </a:lnTo>
                    <a:lnTo>
                      <a:pt x="589" y="366"/>
                    </a:lnTo>
                    <a:lnTo>
                      <a:pt x="591" y="367"/>
                    </a:lnTo>
                    <a:lnTo>
                      <a:pt x="589" y="367"/>
                    </a:lnTo>
                    <a:lnTo>
                      <a:pt x="589" y="369"/>
                    </a:lnTo>
                    <a:lnTo>
                      <a:pt x="589" y="371"/>
                    </a:lnTo>
                    <a:lnTo>
                      <a:pt x="596" y="367"/>
                    </a:lnTo>
                    <a:lnTo>
                      <a:pt x="598" y="367"/>
                    </a:lnTo>
                    <a:lnTo>
                      <a:pt x="604" y="369"/>
                    </a:lnTo>
                    <a:lnTo>
                      <a:pt x="606" y="369"/>
                    </a:lnTo>
                    <a:lnTo>
                      <a:pt x="604" y="366"/>
                    </a:lnTo>
                    <a:lnTo>
                      <a:pt x="606" y="366"/>
                    </a:lnTo>
                    <a:lnTo>
                      <a:pt x="608" y="367"/>
                    </a:lnTo>
                    <a:lnTo>
                      <a:pt x="608" y="367"/>
                    </a:lnTo>
                    <a:lnTo>
                      <a:pt x="608" y="369"/>
                    </a:lnTo>
                    <a:lnTo>
                      <a:pt x="610" y="369"/>
                    </a:lnTo>
                    <a:lnTo>
                      <a:pt x="614" y="371"/>
                    </a:lnTo>
                    <a:lnTo>
                      <a:pt x="615" y="371"/>
                    </a:lnTo>
                    <a:lnTo>
                      <a:pt x="619" y="371"/>
                    </a:lnTo>
                    <a:lnTo>
                      <a:pt x="621" y="371"/>
                    </a:lnTo>
                    <a:lnTo>
                      <a:pt x="623" y="373"/>
                    </a:lnTo>
                    <a:lnTo>
                      <a:pt x="625" y="375"/>
                    </a:lnTo>
                    <a:lnTo>
                      <a:pt x="627" y="375"/>
                    </a:lnTo>
                    <a:lnTo>
                      <a:pt x="633" y="373"/>
                    </a:lnTo>
                    <a:lnTo>
                      <a:pt x="635" y="371"/>
                    </a:lnTo>
                    <a:lnTo>
                      <a:pt x="644" y="366"/>
                    </a:lnTo>
                    <a:lnTo>
                      <a:pt x="646" y="366"/>
                    </a:lnTo>
                    <a:lnTo>
                      <a:pt x="650" y="364"/>
                    </a:lnTo>
                    <a:lnTo>
                      <a:pt x="654" y="364"/>
                    </a:lnTo>
                    <a:lnTo>
                      <a:pt x="655" y="364"/>
                    </a:lnTo>
                    <a:lnTo>
                      <a:pt x="655" y="362"/>
                    </a:lnTo>
                    <a:lnTo>
                      <a:pt x="657" y="362"/>
                    </a:lnTo>
                    <a:lnTo>
                      <a:pt x="659" y="362"/>
                    </a:lnTo>
                    <a:lnTo>
                      <a:pt x="661" y="362"/>
                    </a:lnTo>
                    <a:lnTo>
                      <a:pt x="663" y="360"/>
                    </a:lnTo>
                    <a:lnTo>
                      <a:pt x="665" y="358"/>
                    </a:lnTo>
                    <a:lnTo>
                      <a:pt x="667" y="356"/>
                    </a:lnTo>
                    <a:lnTo>
                      <a:pt x="671" y="356"/>
                    </a:lnTo>
                    <a:lnTo>
                      <a:pt x="673" y="356"/>
                    </a:lnTo>
                    <a:lnTo>
                      <a:pt x="676" y="352"/>
                    </a:lnTo>
                    <a:lnTo>
                      <a:pt x="684" y="350"/>
                    </a:lnTo>
                    <a:lnTo>
                      <a:pt x="686" y="348"/>
                    </a:lnTo>
                    <a:lnTo>
                      <a:pt x="688" y="348"/>
                    </a:lnTo>
                    <a:lnTo>
                      <a:pt x="694" y="341"/>
                    </a:lnTo>
                    <a:lnTo>
                      <a:pt x="699" y="339"/>
                    </a:lnTo>
                    <a:lnTo>
                      <a:pt x="699" y="337"/>
                    </a:lnTo>
                    <a:lnTo>
                      <a:pt x="697" y="335"/>
                    </a:lnTo>
                    <a:lnTo>
                      <a:pt x="697" y="333"/>
                    </a:lnTo>
                    <a:lnTo>
                      <a:pt x="697" y="333"/>
                    </a:lnTo>
                    <a:lnTo>
                      <a:pt x="697" y="333"/>
                    </a:lnTo>
                    <a:lnTo>
                      <a:pt x="699" y="335"/>
                    </a:lnTo>
                    <a:lnTo>
                      <a:pt x="699" y="335"/>
                    </a:lnTo>
                    <a:lnTo>
                      <a:pt x="701" y="335"/>
                    </a:lnTo>
                    <a:lnTo>
                      <a:pt x="701" y="335"/>
                    </a:lnTo>
                    <a:lnTo>
                      <a:pt x="701" y="333"/>
                    </a:lnTo>
                    <a:lnTo>
                      <a:pt x="701" y="333"/>
                    </a:lnTo>
                    <a:lnTo>
                      <a:pt x="703" y="326"/>
                    </a:lnTo>
                    <a:lnTo>
                      <a:pt x="705" y="324"/>
                    </a:lnTo>
                    <a:lnTo>
                      <a:pt x="705" y="316"/>
                    </a:lnTo>
                    <a:lnTo>
                      <a:pt x="707" y="308"/>
                    </a:lnTo>
                    <a:lnTo>
                      <a:pt x="707" y="303"/>
                    </a:lnTo>
                    <a:lnTo>
                      <a:pt x="707" y="297"/>
                    </a:lnTo>
                    <a:lnTo>
                      <a:pt x="707" y="293"/>
                    </a:lnTo>
                    <a:lnTo>
                      <a:pt x="705" y="289"/>
                    </a:lnTo>
                    <a:lnTo>
                      <a:pt x="707" y="293"/>
                    </a:lnTo>
                    <a:lnTo>
                      <a:pt x="707" y="299"/>
                    </a:lnTo>
                    <a:lnTo>
                      <a:pt x="707" y="303"/>
                    </a:lnTo>
                    <a:lnTo>
                      <a:pt x="705" y="305"/>
                    </a:lnTo>
                    <a:lnTo>
                      <a:pt x="703" y="303"/>
                    </a:lnTo>
                    <a:lnTo>
                      <a:pt x="703" y="303"/>
                    </a:lnTo>
                    <a:lnTo>
                      <a:pt x="703" y="305"/>
                    </a:lnTo>
                    <a:lnTo>
                      <a:pt x="701" y="305"/>
                    </a:lnTo>
                    <a:lnTo>
                      <a:pt x="701" y="305"/>
                    </a:lnTo>
                    <a:lnTo>
                      <a:pt x="699" y="305"/>
                    </a:lnTo>
                    <a:lnTo>
                      <a:pt x="699" y="303"/>
                    </a:lnTo>
                    <a:lnTo>
                      <a:pt x="699" y="303"/>
                    </a:lnTo>
                    <a:lnTo>
                      <a:pt x="696" y="301"/>
                    </a:lnTo>
                    <a:lnTo>
                      <a:pt x="694" y="299"/>
                    </a:lnTo>
                    <a:lnTo>
                      <a:pt x="694" y="297"/>
                    </a:lnTo>
                    <a:lnTo>
                      <a:pt x="694" y="293"/>
                    </a:lnTo>
                    <a:lnTo>
                      <a:pt x="697" y="284"/>
                    </a:lnTo>
                    <a:lnTo>
                      <a:pt x="699" y="280"/>
                    </a:lnTo>
                    <a:lnTo>
                      <a:pt x="701" y="278"/>
                    </a:lnTo>
                    <a:lnTo>
                      <a:pt x="705" y="274"/>
                    </a:lnTo>
                    <a:lnTo>
                      <a:pt x="709" y="270"/>
                    </a:lnTo>
                    <a:lnTo>
                      <a:pt x="711" y="268"/>
                    </a:lnTo>
                    <a:lnTo>
                      <a:pt x="715" y="267"/>
                    </a:lnTo>
                    <a:lnTo>
                      <a:pt x="717" y="265"/>
                    </a:lnTo>
                    <a:lnTo>
                      <a:pt x="718" y="261"/>
                    </a:lnTo>
                    <a:lnTo>
                      <a:pt x="720" y="257"/>
                    </a:lnTo>
                    <a:lnTo>
                      <a:pt x="751" y="238"/>
                    </a:lnTo>
                    <a:lnTo>
                      <a:pt x="757" y="238"/>
                    </a:lnTo>
                    <a:lnTo>
                      <a:pt x="762" y="234"/>
                    </a:lnTo>
                    <a:lnTo>
                      <a:pt x="766" y="232"/>
                    </a:lnTo>
                    <a:lnTo>
                      <a:pt x="768" y="232"/>
                    </a:lnTo>
                    <a:lnTo>
                      <a:pt x="770" y="230"/>
                    </a:lnTo>
                    <a:lnTo>
                      <a:pt x="772" y="229"/>
                    </a:lnTo>
                    <a:lnTo>
                      <a:pt x="774" y="230"/>
                    </a:lnTo>
                    <a:lnTo>
                      <a:pt x="774" y="230"/>
                    </a:lnTo>
                    <a:lnTo>
                      <a:pt x="779" y="227"/>
                    </a:lnTo>
                    <a:lnTo>
                      <a:pt x="781" y="227"/>
                    </a:lnTo>
                    <a:lnTo>
                      <a:pt x="783" y="225"/>
                    </a:lnTo>
                    <a:lnTo>
                      <a:pt x="783" y="225"/>
                    </a:lnTo>
                    <a:lnTo>
                      <a:pt x="787" y="223"/>
                    </a:lnTo>
                    <a:lnTo>
                      <a:pt x="789" y="219"/>
                    </a:lnTo>
                    <a:lnTo>
                      <a:pt x="793" y="217"/>
                    </a:lnTo>
                    <a:lnTo>
                      <a:pt x="799" y="215"/>
                    </a:lnTo>
                    <a:lnTo>
                      <a:pt x="808" y="211"/>
                    </a:lnTo>
                    <a:lnTo>
                      <a:pt x="812" y="210"/>
                    </a:lnTo>
                    <a:lnTo>
                      <a:pt x="814" y="208"/>
                    </a:lnTo>
                    <a:lnTo>
                      <a:pt x="816" y="208"/>
                    </a:lnTo>
                    <a:lnTo>
                      <a:pt x="818" y="206"/>
                    </a:lnTo>
                    <a:lnTo>
                      <a:pt x="816" y="204"/>
                    </a:lnTo>
                    <a:lnTo>
                      <a:pt x="814" y="202"/>
                    </a:lnTo>
                    <a:lnTo>
                      <a:pt x="818" y="202"/>
                    </a:lnTo>
                    <a:lnTo>
                      <a:pt x="819" y="200"/>
                    </a:lnTo>
                    <a:lnTo>
                      <a:pt x="821" y="200"/>
                    </a:lnTo>
                    <a:lnTo>
                      <a:pt x="823" y="198"/>
                    </a:lnTo>
                    <a:lnTo>
                      <a:pt x="825" y="198"/>
                    </a:lnTo>
                    <a:lnTo>
                      <a:pt x="825" y="196"/>
                    </a:lnTo>
                    <a:lnTo>
                      <a:pt x="823" y="196"/>
                    </a:lnTo>
                    <a:lnTo>
                      <a:pt x="821" y="194"/>
                    </a:lnTo>
                    <a:lnTo>
                      <a:pt x="818" y="192"/>
                    </a:lnTo>
                    <a:lnTo>
                      <a:pt x="818" y="192"/>
                    </a:lnTo>
                    <a:lnTo>
                      <a:pt x="818" y="190"/>
                    </a:lnTo>
                    <a:lnTo>
                      <a:pt x="821" y="190"/>
                    </a:lnTo>
                    <a:lnTo>
                      <a:pt x="821" y="190"/>
                    </a:lnTo>
                    <a:lnTo>
                      <a:pt x="821" y="192"/>
                    </a:lnTo>
                    <a:lnTo>
                      <a:pt x="823" y="192"/>
                    </a:lnTo>
                    <a:lnTo>
                      <a:pt x="823" y="192"/>
                    </a:lnTo>
                    <a:lnTo>
                      <a:pt x="823" y="192"/>
                    </a:lnTo>
                    <a:lnTo>
                      <a:pt x="823" y="194"/>
                    </a:lnTo>
                    <a:lnTo>
                      <a:pt x="823" y="194"/>
                    </a:lnTo>
                    <a:lnTo>
                      <a:pt x="825" y="194"/>
                    </a:lnTo>
                    <a:lnTo>
                      <a:pt x="825" y="194"/>
                    </a:lnTo>
                    <a:lnTo>
                      <a:pt x="827" y="192"/>
                    </a:lnTo>
                    <a:lnTo>
                      <a:pt x="827" y="192"/>
                    </a:lnTo>
                    <a:lnTo>
                      <a:pt x="829" y="190"/>
                    </a:lnTo>
                    <a:lnTo>
                      <a:pt x="837" y="181"/>
                    </a:lnTo>
                    <a:lnTo>
                      <a:pt x="839" y="179"/>
                    </a:lnTo>
                    <a:lnTo>
                      <a:pt x="840" y="173"/>
                    </a:lnTo>
                    <a:lnTo>
                      <a:pt x="840" y="171"/>
                    </a:lnTo>
                    <a:lnTo>
                      <a:pt x="844" y="170"/>
                    </a:lnTo>
                    <a:lnTo>
                      <a:pt x="844" y="168"/>
                    </a:lnTo>
                    <a:lnTo>
                      <a:pt x="842" y="166"/>
                    </a:lnTo>
                    <a:lnTo>
                      <a:pt x="844" y="164"/>
                    </a:lnTo>
                    <a:lnTo>
                      <a:pt x="844" y="166"/>
                    </a:lnTo>
                    <a:lnTo>
                      <a:pt x="846" y="166"/>
                    </a:lnTo>
                    <a:lnTo>
                      <a:pt x="846" y="166"/>
                    </a:lnTo>
                    <a:lnTo>
                      <a:pt x="848" y="164"/>
                    </a:lnTo>
                    <a:lnTo>
                      <a:pt x="854" y="160"/>
                    </a:lnTo>
                    <a:lnTo>
                      <a:pt x="854" y="160"/>
                    </a:lnTo>
                    <a:lnTo>
                      <a:pt x="854" y="158"/>
                    </a:lnTo>
                    <a:lnTo>
                      <a:pt x="858" y="156"/>
                    </a:lnTo>
                    <a:lnTo>
                      <a:pt x="858" y="156"/>
                    </a:lnTo>
                    <a:lnTo>
                      <a:pt x="858" y="154"/>
                    </a:lnTo>
                    <a:lnTo>
                      <a:pt x="860" y="152"/>
                    </a:lnTo>
                    <a:lnTo>
                      <a:pt x="860" y="151"/>
                    </a:lnTo>
                    <a:lnTo>
                      <a:pt x="863" y="147"/>
                    </a:lnTo>
                    <a:lnTo>
                      <a:pt x="884" y="135"/>
                    </a:lnTo>
                    <a:lnTo>
                      <a:pt x="922" y="118"/>
                    </a:lnTo>
                    <a:lnTo>
                      <a:pt x="926" y="114"/>
                    </a:lnTo>
                    <a:lnTo>
                      <a:pt x="928" y="109"/>
                    </a:lnTo>
                    <a:lnTo>
                      <a:pt x="928" y="109"/>
                    </a:lnTo>
                    <a:lnTo>
                      <a:pt x="930" y="107"/>
                    </a:lnTo>
                    <a:lnTo>
                      <a:pt x="930" y="105"/>
                    </a:lnTo>
                    <a:lnTo>
                      <a:pt x="930" y="103"/>
                    </a:lnTo>
                    <a:lnTo>
                      <a:pt x="932" y="103"/>
                    </a:lnTo>
                    <a:lnTo>
                      <a:pt x="934" y="101"/>
                    </a:lnTo>
                    <a:lnTo>
                      <a:pt x="936" y="97"/>
                    </a:lnTo>
                    <a:lnTo>
                      <a:pt x="942" y="93"/>
                    </a:lnTo>
                    <a:lnTo>
                      <a:pt x="943" y="92"/>
                    </a:lnTo>
                    <a:lnTo>
                      <a:pt x="949" y="86"/>
                    </a:lnTo>
                    <a:lnTo>
                      <a:pt x="955" y="82"/>
                    </a:lnTo>
                    <a:lnTo>
                      <a:pt x="957" y="80"/>
                    </a:lnTo>
                    <a:lnTo>
                      <a:pt x="953" y="82"/>
                    </a:lnTo>
                    <a:lnTo>
                      <a:pt x="949" y="86"/>
                    </a:lnTo>
                    <a:lnTo>
                      <a:pt x="947" y="88"/>
                    </a:lnTo>
                    <a:lnTo>
                      <a:pt x="943" y="88"/>
                    </a:lnTo>
                    <a:lnTo>
                      <a:pt x="942" y="86"/>
                    </a:lnTo>
                    <a:lnTo>
                      <a:pt x="943" y="84"/>
                    </a:lnTo>
                    <a:lnTo>
                      <a:pt x="943" y="84"/>
                    </a:lnTo>
                    <a:lnTo>
                      <a:pt x="947" y="84"/>
                    </a:lnTo>
                    <a:lnTo>
                      <a:pt x="947" y="84"/>
                    </a:lnTo>
                    <a:lnTo>
                      <a:pt x="949" y="84"/>
                    </a:lnTo>
                    <a:lnTo>
                      <a:pt x="951" y="82"/>
                    </a:lnTo>
                    <a:lnTo>
                      <a:pt x="951" y="80"/>
                    </a:lnTo>
                    <a:lnTo>
                      <a:pt x="955" y="80"/>
                    </a:lnTo>
                    <a:lnTo>
                      <a:pt x="957" y="78"/>
                    </a:lnTo>
                    <a:lnTo>
                      <a:pt x="959" y="74"/>
                    </a:lnTo>
                    <a:lnTo>
                      <a:pt x="966" y="69"/>
                    </a:lnTo>
                    <a:lnTo>
                      <a:pt x="966" y="69"/>
                    </a:lnTo>
                    <a:lnTo>
                      <a:pt x="966" y="65"/>
                    </a:lnTo>
                    <a:lnTo>
                      <a:pt x="968" y="63"/>
                    </a:lnTo>
                    <a:lnTo>
                      <a:pt x="980" y="52"/>
                    </a:lnTo>
                    <a:lnTo>
                      <a:pt x="982" y="48"/>
                    </a:lnTo>
                    <a:lnTo>
                      <a:pt x="991" y="33"/>
                    </a:lnTo>
                    <a:lnTo>
                      <a:pt x="995" y="31"/>
                    </a:lnTo>
                    <a:lnTo>
                      <a:pt x="997" y="29"/>
                    </a:lnTo>
                    <a:lnTo>
                      <a:pt x="1001" y="25"/>
                    </a:lnTo>
                    <a:lnTo>
                      <a:pt x="1004" y="17"/>
                    </a:lnTo>
                    <a:lnTo>
                      <a:pt x="1006" y="14"/>
                    </a:lnTo>
                    <a:lnTo>
                      <a:pt x="1010" y="10"/>
                    </a:lnTo>
                    <a:lnTo>
                      <a:pt x="1010" y="8"/>
                    </a:lnTo>
                    <a:lnTo>
                      <a:pt x="1010" y="8"/>
                    </a:lnTo>
                    <a:close/>
                    <a:moveTo>
                      <a:pt x="694" y="322"/>
                    </a:moveTo>
                    <a:lnTo>
                      <a:pt x="696" y="320"/>
                    </a:lnTo>
                    <a:lnTo>
                      <a:pt x="697" y="320"/>
                    </a:lnTo>
                    <a:lnTo>
                      <a:pt x="697" y="318"/>
                    </a:lnTo>
                    <a:lnTo>
                      <a:pt x="697" y="318"/>
                    </a:lnTo>
                    <a:lnTo>
                      <a:pt x="699" y="318"/>
                    </a:lnTo>
                    <a:lnTo>
                      <a:pt x="699" y="318"/>
                    </a:lnTo>
                    <a:lnTo>
                      <a:pt x="699" y="320"/>
                    </a:lnTo>
                    <a:lnTo>
                      <a:pt x="699" y="322"/>
                    </a:lnTo>
                    <a:lnTo>
                      <a:pt x="699" y="322"/>
                    </a:lnTo>
                    <a:lnTo>
                      <a:pt x="697" y="322"/>
                    </a:lnTo>
                    <a:lnTo>
                      <a:pt x="696" y="322"/>
                    </a:lnTo>
                    <a:lnTo>
                      <a:pt x="696" y="322"/>
                    </a:lnTo>
                    <a:lnTo>
                      <a:pt x="696" y="324"/>
                    </a:lnTo>
                    <a:lnTo>
                      <a:pt x="697" y="324"/>
                    </a:lnTo>
                    <a:lnTo>
                      <a:pt x="696" y="324"/>
                    </a:lnTo>
                    <a:lnTo>
                      <a:pt x="694" y="326"/>
                    </a:lnTo>
                    <a:lnTo>
                      <a:pt x="694" y="324"/>
                    </a:lnTo>
                    <a:lnTo>
                      <a:pt x="690" y="324"/>
                    </a:lnTo>
                    <a:lnTo>
                      <a:pt x="686" y="322"/>
                    </a:lnTo>
                    <a:lnTo>
                      <a:pt x="686" y="322"/>
                    </a:lnTo>
                    <a:lnTo>
                      <a:pt x="684" y="322"/>
                    </a:lnTo>
                    <a:lnTo>
                      <a:pt x="684" y="320"/>
                    </a:lnTo>
                    <a:lnTo>
                      <a:pt x="684" y="320"/>
                    </a:lnTo>
                    <a:lnTo>
                      <a:pt x="686" y="320"/>
                    </a:lnTo>
                    <a:lnTo>
                      <a:pt x="686" y="318"/>
                    </a:lnTo>
                    <a:lnTo>
                      <a:pt x="688" y="318"/>
                    </a:lnTo>
                    <a:lnTo>
                      <a:pt x="688" y="318"/>
                    </a:lnTo>
                    <a:lnTo>
                      <a:pt x="690" y="316"/>
                    </a:lnTo>
                    <a:lnTo>
                      <a:pt x="688" y="320"/>
                    </a:lnTo>
                    <a:lnTo>
                      <a:pt x="688" y="320"/>
                    </a:lnTo>
                    <a:lnTo>
                      <a:pt x="690" y="322"/>
                    </a:lnTo>
                    <a:lnTo>
                      <a:pt x="694" y="322"/>
                    </a:lnTo>
                    <a:close/>
                    <a:moveTo>
                      <a:pt x="532" y="442"/>
                    </a:moveTo>
                    <a:lnTo>
                      <a:pt x="528" y="438"/>
                    </a:lnTo>
                    <a:lnTo>
                      <a:pt x="522" y="434"/>
                    </a:lnTo>
                    <a:lnTo>
                      <a:pt x="520" y="436"/>
                    </a:lnTo>
                    <a:lnTo>
                      <a:pt x="520" y="440"/>
                    </a:lnTo>
                    <a:lnTo>
                      <a:pt x="526" y="447"/>
                    </a:lnTo>
                    <a:lnTo>
                      <a:pt x="530" y="449"/>
                    </a:lnTo>
                    <a:lnTo>
                      <a:pt x="530" y="449"/>
                    </a:lnTo>
                    <a:lnTo>
                      <a:pt x="533" y="447"/>
                    </a:lnTo>
                    <a:lnTo>
                      <a:pt x="533" y="445"/>
                    </a:lnTo>
                    <a:lnTo>
                      <a:pt x="535" y="445"/>
                    </a:lnTo>
                    <a:lnTo>
                      <a:pt x="533" y="444"/>
                    </a:lnTo>
                    <a:lnTo>
                      <a:pt x="532" y="442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7" name="Freeform 39">
                <a:extLst>
                  <a:ext uri="{FF2B5EF4-FFF2-40B4-BE49-F238E27FC236}">
                    <a16:creationId xmlns:a16="http://schemas.microsoft.com/office/drawing/2014/main" id="{5C0830C0-8292-47A8-9A31-081724974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8332" y="3270724"/>
                <a:ext cx="1152525" cy="568325"/>
              </a:xfrm>
              <a:custGeom>
                <a:avLst/>
                <a:gdLst>
                  <a:gd name="T0" fmla="*/ 600 w 726"/>
                  <a:gd name="T1" fmla="*/ 15 h 358"/>
                  <a:gd name="T2" fmla="*/ 577 w 726"/>
                  <a:gd name="T3" fmla="*/ 34 h 358"/>
                  <a:gd name="T4" fmla="*/ 612 w 726"/>
                  <a:gd name="T5" fmla="*/ 55 h 358"/>
                  <a:gd name="T6" fmla="*/ 621 w 726"/>
                  <a:gd name="T7" fmla="*/ 72 h 358"/>
                  <a:gd name="T8" fmla="*/ 608 w 726"/>
                  <a:gd name="T9" fmla="*/ 122 h 358"/>
                  <a:gd name="T10" fmla="*/ 631 w 726"/>
                  <a:gd name="T11" fmla="*/ 109 h 358"/>
                  <a:gd name="T12" fmla="*/ 677 w 726"/>
                  <a:gd name="T13" fmla="*/ 148 h 358"/>
                  <a:gd name="T14" fmla="*/ 705 w 726"/>
                  <a:gd name="T15" fmla="*/ 150 h 358"/>
                  <a:gd name="T16" fmla="*/ 719 w 726"/>
                  <a:gd name="T17" fmla="*/ 177 h 358"/>
                  <a:gd name="T18" fmla="*/ 722 w 726"/>
                  <a:gd name="T19" fmla="*/ 204 h 358"/>
                  <a:gd name="T20" fmla="*/ 717 w 726"/>
                  <a:gd name="T21" fmla="*/ 209 h 358"/>
                  <a:gd name="T22" fmla="*/ 703 w 726"/>
                  <a:gd name="T23" fmla="*/ 215 h 358"/>
                  <a:gd name="T24" fmla="*/ 690 w 726"/>
                  <a:gd name="T25" fmla="*/ 226 h 358"/>
                  <a:gd name="T26" fmla="*/ 684 w 726"/>
                  <a:gd name="T27" fmla="*/ 230 h 358"/>
                  <a:gd name="T28" fmla="*/ 644 w 726"/>
                  <a:gd name="T29" fmla="*/ 202 h 358"/>
                  <a:gd name="T30" fmla="*/ 606 w 726"/>
                  <a:gd name="T31" fmla="*/ 171 h 358"/>
                  <a:gd name="T32" fmla="*/ 577 w 726"/>
                  <a:gd name="T33" fmla="*/ 164 h 358"/>
                  <a:gd name="T34" fmla="*/ 535 w 726"/>
                  <a:gd name="T35" fmla="*/ 158 h 358"/>
                  <a:gd name="T36" fmla="*/ 463 w 726"/>
                  <a:gd name="T37" fmla="*/ 196 h 358"/>
                  <a:gd name="T38" fmla="*/ 417 w 726"/>
                  <a:gd name="T39" fmla="*/ 230 h 358"/>
                  <a:gd name="T40" fmla="*/ 370 w 726"/>
                  <a:gd name="T41" fmla="*/ 251 h 358"/>
                  <a:gd name="T42" fmla="*/ 322 w 726"/>
                  <a:gd name="T43" fmla="*/ 272 h 358"/>
                  <a:gd name="T44" fmla="*/ 295 w 726"/>
                  <a:gd name="T45" fmla="*/ 297 h 358"/>
                  <a:gd name="T46" fmla="*/ 274 w 726"/>
                  <a:gd name="T47" fmla="*/ 333 h 358"/>
                  <a:gd name="T48" fmla="*/ 215 w 726"/>
                  <a:gd name="T49" fmla="*/ 350 h 358"/>
                  <a:gd name="T50" fmla="*/ 141 w 726"/>
                  <a:gd name="T51" fmla="*/ 346 h 358"/>
                  <a:gd name="T52" fmla="*/ 78 w 726"/>
                  <a:gd name="T53" fmla="*/ 356 h 358"/>
                  <a:gd name="T54" fmla="*/ 61 w 726"/>
                  <a:gd name="T55" fmla="*/ 337 h 358"/>
                  <a:gd name="T56" fmla="*/ 53 w 726"/>
                  <a:gd name="T57" fmla="*/ 312 h 358"/>
                  <a:gd name="T58" fmla="*/ 57 w 726"/>
                  <a:gd name="T59" fmla="*/ 303 h 358"/>
                  <a:gd name="T60" fmla="*/ 49 w 726"/>
                  <a:gd name="T61" fmla="*/ 270 h 358"/>
                  <a:gd name="T62" fmla="*/ 21 w 726"/>
                  <a:gd name="T63" fmla="*/ 276 h 358"/>
                  <a:gd name="T64" fmla="*/ 7 w 726"/>
                  <a:gd name="T65" fmla="*/ 266 h 358"/>
                  <a:gd name="T66" fmla="*/ 7 w 726"/>
                  <a:gd name="T67" fmla="*/ 228 h 358"/>
                  <a:gd name="T68" fmla="*/ 49 w 726"/>
                  <a:gd name="T69" fmla="*/ 234 h 358"/>
                  <a:gd name="T70" fmla="*/ 82 w 726"/>
                  <a:gd name="T71" fmla="*/ 223 h 358"/>
                  <a:gd name="T72" fmla="*/ 85 w 726"/>
                  <a:gd name="T73" fmla="*/ 217 h 358"/>
                  <a:gd name="T74" fmla="*/ 95 w 726"/>
                  <a:gd name="T75" fmla="*/ 221 h 358"/>
                  <a:gd name="T76" fmla="*/ 104 w 726"/>
                  <a:gd name="T77" fmla="*/ 219 h 358"/>
                  <a:gd name="T78" fmla="*/ 125 w 726"/>
                  <a:gd name="T79" fmla="*/ 209 h 358"/>
                  <a:gd name="T80" fmla="*/ 139 w 726"/>
                  <a:gd name="T81" fmla="*/ 196 h 358"/>
                  <a:gd name="T82" fmla="*/ 133 w 726"/>
                  <a:gd name="T83" fmla="*/ 185 h 358"/>
                  <a:gd name="T84" fmla="*/ 152 w 726"/>
                  <a:gd name="T85" fmla="*/ 169 h 358"/>
                  <a:gd name="T86" fmla="*/ 165 w 726"/>
                  <a:gd name="T87" fmla="*/ 162 h 358"/>
                  <a:gd name="T88" fmla="*/ 192 w 726"/>
                  <a:gd name="T89" fmla="*/ 139 h 358"/>
                  <a:gd name="T90" fmla="*/ 219 w 726"/>
                  <a:gd name="T91" fmla="*/ 109 h 358"/>
                  <a:gd name="T92" fmla="*/ 261 w 726"/>
                  <a:gd name="T93" fmla="*/ 97 h 358"/>
                  <a:gd name="T94" fmla="*/ 288 w 726"/>
                  <a:gd name="T95" fmla="*/ 84 h 358"/>
                  <a:gd name="T96" fmla="*/ 293 w 726"/>
                  <a:gd name="T97" fmla="*/ 80 h 358"/>
                  <a:gd name="T98" fmla="*/ 303 w 726"/>
                  <a:gd name="T99" fmla="*/ 74 h 358"/>
                  <a:gd name="T100" fmla="*/ 341 w 726"/>
                  <a:gd name="T101" fmla="*/ 55 h 358"/>
                  <a:gd name="T102" fmla="*/ 347 w 726"/>
                  <a:gd name="T103" fmla="*/ 31 h 358"/>
                  <a:gd name="T104" fmla="*/ 368 w 726"/>
                  <a:gd name="T105" fmla="*/ 21 h 358"/>
                  <a:gd name="T106" fmla="*/ 398 w 726"/>
                  <a:gd name="T107" fmla="*/ 19 h 358"/>
                  <a:gd name="T108" fmla="*/ 415 w 726"/>
                  <a:gd name="T109" fmla="*/ 29 h 358"/>
                  <a:gd name="T110" fmla="*/ 429 w 726"/>
                  <a:gd name="T111" fmla="*/ 31 h 358"/>
                  <a:gd name="T112" fmla="*/ 455 w 726"/>
                  <a:gd name="T113" fmla="*/ 40 h 358"/>
                  <a:gd name="T114" fmla="*/ 476 w 726"/>
                  <a:gd name="T115" fmla="*/ 32 h 358"/>
                  <a:gd name="T116" fmla="*/ 493 w 726"/>
                  <a:gd name="T117" fmla="*/ 34 h 358"/>
                  <a:gd name="T118" fmla="*/ 499 w 726"/>
                  <a:gd name="T119" fmla="*/ 19 h 358"/>
                  <a:gd name="T120" fmla="*/ 520 w 726"/>
                  <a:gd name="T121" fmla="*/ 21 h 358"/>
                  <a:gd name="T122" fmla="*/ 556 w 726"/>
                  <a:gd name="T123" fmla="*/ 0 h 358"/>
                  <a:gd name="T124" fmla="*/ 585 w 726"/>
                  <a:gd name="T125" fmla="*/ 17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6" h="358">
                    <a:moveTo>
                      <a:pt x="585" y="17"/>
                    </a:moveTo>
                    <a:lnTo>
                      <a:pt x="589" y="17"/>
                    </a:lnTo>
                    <a:lnTo>
                      <a:pt x="593" y="15"/>
                    </a:lnTo>
                    <a:lnTo>
                      <a:pt x="595" y="13"/>
                    </a:lnTo>
                    <a:lnTo>
                      <a:pt x="596" y="13"/>
                    </a:lnTo>
                    <a:lnTo>
                      <a:pt x="598" y="13"/>
                    </a:lnTo>
                    <a:lnTo>
                      <a:pt x="600" y="15"/>
                    </a:lnTo>
                    <a:lnTo>
                      <a:pt x="600" y="17"/>
                    </a:lnTo>
                    <a:lnTo>
                      <a:pt x="598" y="23"/>
                    </a:lnTo>
                    <a:lnTo>
                      <a:pt x="596" y="27"/>
                    </a:lnTo>
                    <a:lnTo>
                      <a:pt x="595" y="29"/>
                    </a:lnTo>
                    <a:lnTo>
                      <a:pt x="581" y="32"/>
                    </a:lnTo>
                    <a:lnTo>
                      <a:pt x="579" y="32"/>
                    </a:lnTo>
                    <a:lnTo>
                      <a:pt x="577" y="34"/>
                    </a:lnTo>
                    <a:lnTo>
                      <a:pt x="577" y="36"/>
                    </a:lnTo>
                    <a:lnTo>
                      <a:pt x="579" y="50"/>
                    </a:lnTo>
                    <a:lnTo>
                      <a:pt x="591" y="42"/>
                    </a:lnTo>
                    <a:lnTo>
                      <a:pt x="598" y="38"/>
                    </a:lnTo>
                    <a:lnTo>
                      <a:pt x="600" y="48"/>
                    </a:lnTo>
                    <a:lnTo>
                      <a:pt x="612" y="53"/>
                    </a:lnTo>
                    <a:lnTo>
                      <a:pt x="612" y="55"/>
                    </a:lnTo>
                    <a:lnTo>
                      <a:pt x="612" y="57"/>
                    </a:lnTo>
                    <a:lnTo>
                      <a:pt x="612" y="57"/>
                    </a:lnTo>
                    <a:lnTo>
                      <a:pt x="614" y="57"/>
                    </a:lnTo>
                    <a:lnTo>
                      <a:pt x="617" y="59"/>
                    </a:lnTo>
                    <a:lnTo>
                      <a:pt x="617" y="63"/>
                    </a:lnTo>
                    <a:lnTo>
                      <a:pt x="619" y="69"/>
                    </a:lnTo>
                    <a:lnTo>
                      <a:pt x="621" y="72"/>
                    </a:lnTo>
                    <a:lnTo>
                      <a:pt x="627" y="80"/>
                    </a:lnTo>
                    <a:lnTo>
                      <a:pt x="629" y="88"/>
                    </a:lnTo>
                    <a:lnTo>
                      <a:pt x="629" y="93"/>
                    </a:lnTo>
                    <a:lnTo>
                      <a:pt x="617" y="103"/>
                    </a:lnTo>
                    <a:lnTo>
                      <a:pt x="610" y="109"/>
                    </a:lnTo>
                    <a:lnTo>
                      <a:pt x="614" y="114"/>
                    </a:lnTo>
                    <a:lnTo>
                      <a:pt x="608" y="122"/>
                    </a:lnTo>
                    <a:lnTo>
                      <a:pt x="614" y="126"/>
                    </a:lnTo>
                    <a:lnTo>
                      <a:pt x="617" y="135"/>
                    </a:lnTo>
                    <a:lnTo>
                      <a:pt x="619" y="133"/>
                    </a:lnTo>
                    <a:lnTo>
                      <a:pt x="619" y="126"/>
                    </a:lnTo>
                    <a:lnTo>
                      <a:pt x="621" y="120"/>
                    </a:lnTo>
                    <a:lnTo>
                      <a:pt x="625" y="112"/>
                    </a:lnTo>
                    <a:lnTo>
                      <a:pt x="631" y="109"/>
                    </a:lnTo>
                    <a:lnTo>
                      <a:pt x="642" y="110"/>
                    </a:lnTo>
                    <a:lnTo>
                      <a:pt x="652" y="122"/>
                    </a:lnTo>
                    <a:lnTo>
                      <a:pt x="659" y="128"/>
                    </a:lnTo>
                    <a:lnTo>
                      <a:pt x="665" y="133"/>
                    </a:lnTo>
                    <a:lnTo>
                      <a:pt x="667" y="145"/>
                    </a:lnTo>
                    <a:lnTo>
                      <a:pt x="673" y="147"/>
                    </a:lnTo>
                    <a:lnTo>
                      <a:pt x="677" y="148"/>
                    </a:lnTo>
                    <a:lnTo>
                      <a:pt x="680" y="147"/>
                    </a:lnTo>
                    <a:lnTo>
                      <a:pt x="684" y="145"/>
                    </a:lnTo>
                    <a:lnTo>
                      <a:pt x="690" y="141"/>
                    </a:lnTo>
                    <a:lnTo>
                      <a:pt x="696" y="143"/>
                    </a:lnTo>
                    <a:lnTo>
                      <a:pt x="703" y="150"/>
                    </a:lnTo>
                    <a:lnTo>
                      <a:pt x="705" y="150"/>
                    </a:lnTo>
                    <a:lnTo>
                      <a:pt x="705" y="150"/>
                    </a:lnTo>
                    <a:lnTo>
                      <a:pt x="707" y="150"/>
                    </a:lnTo>
                    <a:lnTo>
                      <a:pt x="707" y="154"/>
                    </a:lnTo>
                    <a:lnTo>
                      <a:pt x="709" y="156"/>
                    </a:lnTo>
                    <a:lnTo>
                      <a:pt x="717" y="162"/>
                    </a:lnTo>
                    <a:lnTo>
                      <a:pt x="720" y="164"/>
                    </a:lnTo>
                    <a:lnTo>
                      <a:pt x="722" y="168"/>
                    </a:lnTo>
                    <a:lnTo>
                      <a:pt x="719" y="177"/>
                    </a:lnTo>
                    <a:lnTo>
                      <a:pt x="717" y="181"/>
                    </a:lnTo>
                    <a:lnTo>
                      <a:pt x="719" y="185"/>
                    </a:lnTo>
                    <a:lnTo>
                      <a:pt x="724" y="192"/>
                    </a:lnTo>
                    <a:lnTo>
                      <a:pt x="726" y="196"/>
                    </a:lnTo>
                    <a:lnTo>
                      <a:pt x="724" y="198"/>
                    </a:lnTo>
                    <a:lnTo>
                      <a:pt x="722" y="202"/>
                    </a:lnTo>
                    <a:lnTo>
                      <a:pt x="722" y="204"/>
                    </a:lnTo>
                    <a:lnTo>
                      <a:pt x="722" y="207"/>
                    </a:lnTo>
                    <a:lnTo>
                      <a:pt x="722" y="209"/>
                    </a:lnTo>
                    <a:lnTo>
                      <a:pt x="722" y="209"/>
                    </a:lnTo>
                    <a:lnTo>
                      <a:pt x="720" y="211"/>
                    </a:lnTo>
                    <a:lnTo>
                      <a:pt x="717" y="213"/>
                    </a:lnTo>
                    <a:lnTo>
                      <a:pt x="717" y="211"/>
                    </a:lnTo>
                    <a:lnTo>
                      <a:pt x="717" y="209"/>
                    </a:lnTo>
                    <a:lnTo>
                      <a:pt x="715" y="207"/>
                    </a:lnTo>
                    <a:lnTo>
                      <a:pt x="713" y="207"/>
                    </a:lnTo>
                    <a:lnTo>
                      <a:pt x="711" y="207"/>
                    </a:lnTo>
                    <a:lnTo>
                      <a:pt x="709" y="209"/>
                    </a:lnTo>
                    <a:lnTo>
                      <a:pt x="707" y="211"/>
                    </a:lnTo>
                    <a:lnTo>
                      <a:pt x="705" y="213"/>
                    </a:lnTo>
                    <a:lnTo>
                      <a:pt x="703" y="215"/>
                    </a:lnTo>
                    <a:lnTo>
                      <a:pt x="698" y="221"/>
                    </a:lnTo>
                    <a:lnTo>
                      <a:pt x="696" y="221"/>
                    </a:lnTo>
                    <a:lnTo>
                      <a:pt x="694" y="223"/>
                    </a:lnTo>
                    <a:lnTo>
                      <a:pt x="694" y="223"/>
                    </a:lnTo>
                    <a:lnTo>
                      <a:pt x="692" y="225"/>
                    </a:lnTo>
                    <a:lnTo>
                      <a:pt x="692" y="225"/>
                    </a:lnTo>
                    <a:lnTo>
                      <a:pt x="690" y="226"/>
                    </a:lnTo>
                    <a:lnTo>
                      <a:pt x="688" y="226"/>
                    </a:lnTo>
                    <a:lnTo>
                      <a:pt x="688" y="228"/>
                    </a:lnTo>
                    <a:lnTo>
                      <a:pt x="688" y="230"/>
                    </a:lnTo>
                    <a:lnTo>
                      <a:pt x="688" y="230"/>
                    </a:lnTo>
                    <a:lnTo>
                      <a:pt x="686" y="230"/>
                    </a:lnTo>
                    <a:lnTo>
                      <a:pt x="684" y="232"/>
                    </a:lnTo>
                    <a:lnTo>
                      <a:pt x="684" y="230"/>
                    </a:lnTo>
                    <a:lnTo>
                      <a:pt x="684" y="225"/>
                    </a:lnTo>
                    <a:lnTo>
                      <a:pt x="675" y="221"/>
                    </a:lnTo>
                    <a:lnTo>
                      <a:pt x="675" y="217"/>
                    </a:lnTo>
                    <a:lnTo>
                      <a:pt x="663" y="211"/>
                    </a:lnTo>
                    <a:lnTo>
                      <a:pt x="654" y="209"/>
                    </a:lnTo>
                    <a:lnTo>
                      <a:pt x="650" y="204"/>
                    </a:lnTo>
                    <a:lnTo>
                      <a:pt x="644" y="202"/>
                    </a:lnTo>
                    <a:lnTo>
                      <a:pt x="637" y="202"/>
                    </a:lnTo>
                    <a:lnTo>
                      <a:pt x="633" y="196"/>
                    </a:lnTo>
                    <a:lnTo>
                      <a:pt x="627" y="188"/>
                    </a:lnTo>
                    <a:lnTo>
                      <a:pt x="621" y="187"/>
                    </a:lnTo>
                    <a:lnTo>
                      <a:pt x="617" y="183"/>
                    </a:lnTo>
                    <a:lnTo>
                      <a:pt x="610" y="175"/>
                    </a:lnTo>
                    <a:lnTo>
                      <a:pt x="606" y="171"/>
                    </a:lnTo>
                    <a:lnTo>
                      <a:pt x="602" y="173"/>
                    </a:lnTo>
                    <a:lnTo>
                      <a:pt x="600" y="177"/>
                    </a:lnTo>
                    <a:lnTo>
                      <a:pt x="596" y="179"/>
                    </a:lnTo>
                    <a:lnTo>
                      <a:pt x="589" y="175"/>
                    </a:lnTo>
                    <a:lnTo>
                      <a:pt x="587" y="168"/>
                    </a:lnTo>
                    <a:lnTo>
                      <a:pt x="583" y="166"/>
                    </a:lnTo>
                    <a:lnTo>
                      <a:pt x="577" y="164"/>
                    </a:lnTo>
                    <a:lnTo>
                      <a:pt x="572" y="168"/>
                    </a:lnTo>
                    <a:lnTo>
                      <a:pt x="562" y="168"/>
                    </a:lnTo>
                    <a:lnTo>
                      <a:pt x="553" y="171"/>
                    </a:lnTo>
                    <a:lnTo>
                      <a:pt x="547" y="169"/>
                    </a:lnTo>
                    <a:lnTo>
                      <a:pt x="539" y="164"/>
                    </a:lnTo>
                    <a:lnTo>
                      <a:pt x="537" y="160"/>
                    </a:lnTo>
                    <a:lnTo>
                      <a:pt x="535" y="158"/>
                    </a:lnTo>
                    <a:lnTo>
                      <a:pt x="528" y="158"/>
                    </a:lnTo>
                    <a:lnTo>
                      <a:pt x="511" y="166"/>
                    </a:lnTo>
                    <a:lnTo>
                      <a:pt x="490" y="175"/>
                    </a:lnTo>
                    <a:lnTo>
                      <a:pt x="476" y="179"/>
                    </a:lnTo>
                    <a:lnTo>
                      <a:pt x="465" y="185"/>
                    </a:lnTo>
                    <a:lnTo>
                      <a:pt x="463" y="190"/>
                    </a:lnTo>
                    <a:lnTo>
                      <a:pt x="463" y="196"/>
                    </a:lnTo>
                    <a:lnTo>
                      <a:pt x="461" y="204"/>
                    </a:lnTo>
                    <a:lnTo>
                      <a:pt x="459" y="207"/>
                    </a:lnTo>
                    <a:lnTo>
                      <a:pt x="448" y="213"/>
                    </a:lnTo>
                    <a:lnTo>
                      <a:pt x="440" y="219"/>
                    </a:lnTo>
                    <a:lnTo>
                      <a:pt x="431" y="223"/>
                    </a:lnTo>
                    <a:lnTo>
                      <a:pt x="423" y="226"/>
                    </a:lnTo>
                    <a:lnTo>
                      <a:pt x="417" y="230"/>
                    </a:lnTo>
                    <a:lnTo>
                      <a:pt x="415" y="232"/>
                    </a:lnTo>
                    <a:lnTo>
                      <a:pt x="408" y="236"/>
                    </a:lnTo>
                    <a:lnTo>
                      <a:pt x="402" y="238"/>
                    </a:lnTo>
                    <a:lnTo>
                      <a:pt x="402" y="238"/>
                    </a:lnTo>
                    <a:lnTo>
                      <a:pt x="391" y="244"/>
                    </a:lnTo>
                    <a:lnTo>
                      <a:pt x="375" y="249"/>
                    </a:lnTo>
                    <a:lnTo>
                      <a:pt x="370" y="251"/>
                    </a:lnTo>
                    <a:lnTo>
                      <a:pt x="364" y="253"/>
                    </a:lnTo>
                    <a:lnTo>
                      <a:pt x="356" y="253"/>
                    </a:lnTo>
                    <a:lnTo>
                      <a:pt x="345" y="257"/>
                    </a:lnTo>
                    <a:lnTo>
                      <a:pt x="335" y="259"/>
                    </a:lnTo>
                    <a:lnTo>
                      <a:pt x="335" y="259"/>
                    </a:lnTo>
                    <a:lnTo>
                      <a:pt x="329" y="259"/>
                    </a:lnTo>
                    <a:lnTo>
                      <a:pt x="322" y="272"/>
                    </a:lnTo>
                    <a:lnTo>
                      <a:pt x="318" y="276"/>
                    </a:lnTo>
                    <a:lnTo>
                      <a:pt x="316" y="280"/>
                    </a:lnTo>
                    <a:lnTo>
                      <a:pt x="309" y="285"/>
                    </a:lnTo>
                    <a:lnTo>
                      <a:pt x="303" y="289"/>
                    </a:lnTo>
                    <a:lnTo>
                      <a:pt x="301" y="289"/>
                    </a:lnTo>
                    <a:lnTo>
                      <a:pt x="299" y="293"/>
                    </a:lnTo>
                    <a:lnTo>
                      <a:pt x="295" y="297"/>
                    </a:lnTo>
                    <a:lnTo>
                      <a:pt x="291" y="303"/>
                    </a:lnTo>
                    <a:lnTo>
                      <a:pt x="286" y="308"/>
                    </a:lnTo>
                    <a:lnTo>
                      <a:pt x="284" y="308"/>
                    </a:lnTo>
                    <a:lnTo>
                      <a:pt x="280" y="312"/>
                    </a:lnTo>
                    <a:lnTo>
                      <a:pt x="276" y="320"/>
                    </a:lnTo>
                    <a:lnTo>
                      <a:pt x="276" y="327"/>
                    </a:lnTo>
                    <a:lnTo>
                      <a:pt x="274" y="333"/>
                    </a:lnTo>
                    <a:lnTo>
                      <a:pt x="268" y="339"/>
                    </a:lnTo>
                    <a:lnTo>
                      <a:pt x="261" y="341"/>
                    </a:lnTo>
                    <a:lnTo>
                      <a:pt x="253" y="346"/>
                    </a:lnTo>
                    <a:lnTo>
                      <a:pt x="244" y="346"/>
                    </a:lnTo>
                    <a:lnTo>
                      <a:pt x="232" y="348"/>
                    </a:lnTo>
                    <a:lnTo>
                      <a:pt x="225" y="352"/>
                    </a:lnTo>
                    <a:lnTo>
                      <a:pt x="215" y="350"/>
                    </a:lnTo>
                    <a:lnTo>
                      <a:pt x="204" y="354"/>
                    </a:lnTo>
                    <a:lnTo>
                      <a:pt x="192" y="356"/>
                    </a:lnTo>
                    <a:lnTo>
                      <a:pt x="173" y="354"/>
                    </a:lnTo>
                    <a:lnTo>
                      <a:pt x="165" y="352"/>
                    </a:lnTo>
                    <a:lnTo>
                      <a:pt x="158" y="352"/>
                    </a:lnTo>
                    <a:lnTo>
                      <a:pt x="150" y="352"/>
                    </a:lnTo>
                    <a:lnTo>
                      <a:pt x="141" y="346"/>
                    </a:lnTo>
                    <a:lnTo>
                      <a:pt x="133" y="341"/>
                    </a:lnTo>
                    <a:lnTo>
                      <a:pt x="125" y="341"/>
                    </a:lnTo>
                    <a:lnTo>
                      <a:pt x="118" y="344"/>
                    </a:lnTo>
                    <a:lnTo>
                      <a:pt x="110" y="350"/>
                    </a:lnTo>
                    <a:lnTo>
                      <a:pt x="101" y="352"/>
                    </a:lnTo>
                    <a:lnTo>
                      <a:pt x="85" y="354"/>
                    </a:lnTo>
                    <a:lnTo>
                      <a:pt x="78" y="356"/>
                    </a:lnTo>
                    <a:lnTo>
                      <a:pt x="70" y="358"/>
                    </a:lnTo>
                    <a:lnTo>
                      <a:pt x="57" y="356"/>
                    </a:lnTo>
                    <a:lnTo>
                      <a:pt x="63" y="352"/>
                    </a:lnTo>
                    <a:lnTo>
                      <a:pt x="63" y="346"/>
                    </a:lnTo>
                    <a:lnTo>
                      <a:pt x="64" y="344"/>
                    </a:lnTo>
                    <a:lnTo>
                      <a:pt x="61" y="337"/>
                    </a:lnTo>
                    <a:lnTo>
                      <a:pt x="61" y="337"/>
                    </a:lnTo>
                    <a:lnTo>
                      <a:pt x="59" y="333"/>
                    </a:lnTo>
                    <a:lnTo>
                      <a:pt x="53" y="325"/>
                    </a:lnTo>
                    <a:lnTo>
                      <a:pt x="51" y="322"/>
                    </a:lnTo>
                    <a:lnTo>
                      <a:pt x="51" y="320"/>
                    </a:lnTo>
                    <a:lnTo>
                      <a:pt x="51" y="316"/>
                    </a:lnTo>
                    <a:lnTo>
                      <a:pt x="53" y="314"/>
                    </a:lnTo>
                    <a:lnTo>
                      <a:pt x="53" y="312"/>
                    </a:lnTo>
                    <a:lnTo>
                      <a:pt x="53" y="312"/>
                    </a:lnTo>
                    <a:lnTo>
                      <a:pt x="55" y="310"/>
                    </a:lnTo>
                    <a:lnTo>
                      <a:pt x="55" y="308"/>
                    </a:lnTo>
                    <a:lnTo>
                      <a:pt x="57" y="308"/>
                    </a:lnTo>
                    <a:lnTo>
                      <a:pt x="57" y="306"/>
                    </a:lnTo>
                    <a:lnTo>
                      <a:pt x="57" y="305"/>
                    </a:lnTo>
                    <a:lnTo>
                      <a:pt x="57" y="303"/>
                    </a:lnTo>
                    <a:lnTo>
                      <a:pt x="59" y="301"/>
                    </a:lnTo>
                    <a:lnTo>
                      <a:pt x="63" y="297"/>
                    </a:lnTo>
                    <a:lnTo>
                      <a:pt x="64" y="295"/>
                    </a:lnTo>
                    <a:lnTo>
                      <a:pt x="64" y="293"/>
                    </a:lnTo>
                    <a:lnTo>
                      <a:pt x="53" y="272"/>
                    </a:lnTo>
                    <a:lnTo>
                      <a:pt x="49" y="270"/>
                    </a:lnTo>
                    <a:lnTo>
                      <a:pt x="49" y="270"/>
                    </a:lnTo>
                    <a:lnTo>
                      <a:pt x="45" y="272"/>
                    </a:lnTo>
                    <a:lnTo>
                      <a:pt x="43" y="274"/>
                    </a:lnTo>
                    <a:lnTo>
                      <a:pt x="38" y="274"/>
                    </a:lnTo>
                    <a:lnTo>
                      <a:pt x="36" y="274"/>
                    </a:lnTo>
                    <a:lnTo>
                      <a:pt x="26" y="278"/>
                    </a:lnTo>
                    <a:lnTo>
                      <a:pt x="22" y="278"/>
                    </a:lnTo>
                    <a:lnTo>
                      <a:pt x="21" y="276"/>
                    </a:lnTo>
                    <a:lnTo>
                      <a:pt x="21" y="274"/>
                    </a:lnTo>
                    <a:lnTo>
                      <a:pt x="19" y="272"/>
                    </a:lnTo>
                    <a:lnTo>
                      <a:pt x="19" y="272"/>
                    </a:lnTo>
                    <a:lnTo>
                      <a:pt x="17" y="270"/>
                    </a:lnTo>
                    <a:lnTo>
                      <a:pt x="13" y="270"/>
                    </a:lnTo>
                    <a:lnTo>
                      <a:pt x="9" y="268"/>
                    </a:lnTo>
                    <a:lnTo>
                      <a:pt x="7" y="266"/>
                    </a:lnTo>
                    <a:lnTo>
                      <a:pt x="7" y="265"/>
                    </a:lnTo>
                    <a:lnTo>
                      <a:pt x="3" y="261"/>
                    </a:lnTo>
                    <a:lnTo>
                      <a:pt x="1" y="259"/>
                    </a:lnTo>
                    <a:lnTo>
                      <a:pt x="0" y="249"/>
                    </a:lnTo>
                    <a:lnTo>
                      <a:pt x="0" y="244"/>
                    </a:lnTo>
                    <a:lnTo>
                      <a:pt x="5" y="236"/>
                    </a:lnTo>
                    <a:lnTo>
                      <a:pt x="7" y="228"/>
                    </a:lnTo>
                    <a:lnTo>
                      <a:pt x="24" y="228"/>
                    </a:lnTo>
                    <a:lnTo>
                      <a:pt x="30" y="230"/>
                    </a:lnTo>
                    <a:lnTo>
                      <a:pt x="34" y="232"/>
                    </a:lnTo>
                    <a:lnTo>
                      <a:pt x="36" y="234"/>
                    </a:lnTo>
                    <a:lnTo>
                      <a:pt x="42" y="232"/>
                    </a:lnTo>
                    <a:lnTo>
                      <a:pt x="47" y="234"/>
                    </a:lnTo>
                    <a:lnTo>
                      <a:pt x="49" y="234"/>
                    </a:lnTo>
                    <a:lnTo>
                      <a:pt x="55" y="232"/>
                    </a:lnTo>
                    <a:lnTo>
                      <a:pt x="63" y="225"/>
                    </a:lnTo>
                    <a:lnTo>
                      <a:pt x="66" y="223"/>
                    </a:lnTo>
                    <a:lnTo>
                      <a:pt x="68" y="221"/>
                    </a:lnTo>
                    <a:lnTo>
                      <a:pt x="80" y="223"/>
                    </a:lnTo>
                    <a:lnTo>
                      <a:pt x="82" y="223"/>
                    </a:lnTo>
                    <a:lnTo>
                      <a:pt x="82" y="223"/>
                    </a:lnTo>
                    <a:lnTo>
                      <a:pt x="82" y="221"/>
                    </a:lnTo>
                    <a:lnTo>
                      <a:pt x="82" y="219"/>
                    </a:lnTo>
                    <a:lnTo>
                      <a:pt x="82" y="217"/>
                    </a:lnTo>
                    <a:lnTo>
                      <a:pt x="82" y="217"/>
                    </a:lnTo>
                    <a:lnTo>
                      <a:pt x="83" y="213"/>
                    </a:lnTo>
                    <a:lnTo>
                      <a:pt x="83" y="215"/>
                    </a:lnTo>
                    <a:lnTo>
                      <a:pt x="85" y="217"/>
                    </a:lnTo>
                    <a:lnTo>
                      <a:pt x="87" y="221"/>
                    </a:lnTo>
                    <a:lnTo>
                      <a:pt x="89" y="225"/>
                    </a:lnTo>
                    <a:lnTo>
                      <a:pt x="91" y="225"/>
                    </a:lnTo>
                    <a:lnTo>
                      <a:pt x="93" y="223"/>
                    </a:lnTo>
                    <a:lnTo>
                      <a:pt x="95" y="219"/>
                    </a:lnTo>
                    <a:lnTo>
                      <a:pt x="95" y="219"/>
                    </a:lnTo>
                    <a:lnTo>
                      <a:pt x="95" y="221"/>
                    </a:lnTo>
                    <a:lnTo>
                      <a:pt x="97" y="223"/>
                    </a:lnTo>
                    <a:lnTo>
                      <a:pt x="99" y="223"/>
                    </a:lnTo>
                    <a:lnTo>
                      <a:pt x="101" y="221"/>
                    </a:lnTo>
                    <a:lnTo>
                      <a:pt x="101" y="217"/>
                    </a:lnTo>
                    <a:lnTo>
                      <a:pt x="103" y="215"/>
                    </a:lnTo>
                    <a:lnTo>
                      <a:pt x="104" y="215"/>
                    </a:lnTo>
                    <a:lnTo>
                      <a:pt x="104" y="219"/>
                    </a:lnTo>
                    <a:lnTo>
                      <a:pt x="106" y="221"/>
                    </a:lnTo>
                    <a:lnTo>
                      <a:pt x="108" y="221"/>
                    </a:lnTo>
                    <a:lnTo>
                      <a:pt x="112" y="217"/>
                    </a:lnTo>
                    <a:lnTo>
                      <a:pt x="118" y="215"/>
                    </a:lnTo>
                    <a:lnTo>
                      <a:pt x="120" y="213"/>
                    </a:lnTo>
                    <a:lnTo>
                      <a:pt x="124" y="209"/>
                    </a:lnTo>
                    <a:lnTo>
                      <a:pt x="125" y="209"/>
                    </a:lnTo>
                    <a:lnTo>
                      <a:pt x="129" y="209"/>
                    </a:lnTo>
                    <a:lnTo>
                      <a:pt x="131" y="207"/>
                    </a:lnTo>
                    <a:lnTo>
                      <a:pt x="137" y="204"/>
                    </a:lnTo>
                    <a:lnTo>
                      <a:pt x="139" y="200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41" y="192"/>
                    </a:lnTo>
                    <a:lnTo>
                      <a:pt x="141" y="190"/>
                    </a:lnTo>
                    <a:lnTo>
                      <a:pt x="139" y="188"/>
                    </a:lnTo>
                    <a:lnTo>
                      <a:pt x="135" y="188"/>
                    </a:lnTo>
                    <a:lnTo>
                      <a:pt x="133" y="187"/>
                    </a:lnTo>
                    <a:lnTo>
                      <a:pt x="133" y="185"/>
                    </a:lnTo>
                    <a:lnTo>
                      <a:pt x="135" y="181"/>
                    </a:lnTo>
                    <a:lnTo>
                      <a:pt x="139" y="177"/>
                    </a:lnTo>
                    <a:lnTo>
                      <a:pt x="143" y="173"/>
                    </a:lnTo>
                    <a:lnTo>
                      <a:pt x="150" y="168"/>
                    </a:lnTo>
                    <a:lnTo>
                      <a:pt x="150" y="168"/>
                    </a:lnTo>
                    <a:lnTo>
                      <a:pt x="152" y="168"/>
                    </a:lnTo>
                    <a:lnTo>
                      <a:pt x="152" y="169"/>
                    </a:lnTo>
                    <a:lnTo>
                      <a:pt x="152" y="169"/>
                    </a:lnTo>
                    <a:lnTo>
                      <a:pt x="154" y="169"/>
                    </a:lnTo>
                    <a:lnTo>
                      <a:pt x="156" y="169"/>
                    </a:lnTo>
                    <a:lnTo>
                      <a:pt x="158" y="169"/>
                    </a:lnTo>
                    <a:lnTo>
                      <a:pt x="160" y="168"/>
                    </a:lnTo>
                    <a:lnTo>
                      <a:pt x="162" y="166"/>
                    </a:lnTo>
                    <a:lnTo>
                      <a:pt x="165" y="162"/>
                    </a:lnTo>
                    <a:lnTo>
                      <a:pt x="165" y="160"/>
                    </a:lnTo>
                    <a:lnTo>
                      <a:pt x="169" y="158"/>
                    </a:lnTo>
                    <a:lnTo>
                      <a:pt x="173" y="156"/>
                    </a:lnTo>
                    <a:lnTo>
                      <a:pt x="175" y="154"/>
                    </a:lnTo>
                    <a:lnTo>
                      <a:pt x="179" y="150"/>
                    </a:lnTo>
                    <a:lnTo>
                      <a:pt x="190" y="143"/>
                    </a:lnTo>
                    <a:lnTo>
                      <a:pt x="192" y="139"/>
                    </a:lnTo>
                    <a:lnTo>
                      <a:pt x="196" y="135"/>
                    </a:lnTo>
                    <a:lnTo>
                      <a:pt x="198" y="129"/>
                    </a:lnTo>
                    <a:lnTo>
                      <a:pt x="198" y="124"/>
                    </a:lnTo>
                    <a:lnTo>
                      <a:pt x="202" y="122"/>
                    </a:lnTo>
                    <a:lnTo>
                      <a:pt x="206" y="118"/>
                    </a:lnTo>
                    <a:lnTo>
                      <a:pt x="211" y="114"/>
                    </a:lnTo>
                    <a:lnTo>
                      <a:pt x="219" y="109"/>
                    </a:lnTo>
                    <a:lnTo>
                      <a:pt x="223" y="107"/>
                    </a:lnTo>
                    <a:lnTo>
                      <a:pt x="234" y="99"/>
                    </a:lnTo>
                    <a:lnTo>
                      <a:pt x="247" y="99"/>
                    </a:lnTo>
                    <a:lnTo>
                      <a:pt x="255" y="99"/>
                    </a:lnTo>
                    <a:lnTo>
                      <a:pt x="257" y="99"/>
                    </a:lnTo>
                    <a:lnTo>
                      <a:pt x="259" y="99"/>
                    </a:lnTo>
                    <a:lnTo>
                      <a:pt x="261" y="97"/>
                    </a:lnTo>
                    <a:lnTo>
                      <a:pt x="263" y="95"/>
                    </a:lnTo>
                    <a:lnTo>
                      <a:pt x="265" y="95"/>
                    </a:lnTo>
                    <a:lnTo>
                      <a:pt x="267" y="97"/>
                    </a:lnTo>
                    <a:lnTo>
                      <a:pt x="268" y="95"/>
                    </a:lnTo>
                    <a:lnTo>
                      <a:pt x="278" y="88"/>
                    </a:lnTo>
                    <a:lnTo>
                      <a:pt x="280" y="88"/>
                    </a:lnTo>
                    <a:lnTo>
                      <a:pt x="288" y="84"/>
                    </a:lnTo>
                    <a:lnTo>
                      <a:pt x="288" y="84"/>
                    </a:lnTo>
                    <a:lnTo>
                      <a:pt x="289" y="82"/>
                    </a:lnTo>
                    <a:lnTo>
                      <a:pt x="289" y="82"/>
                    </a:lnTo>
                    <a:lnTo>
                      <a:pt x="291" y="82"/>
                    </a:lnTo>
                    <a:lnTo>
                      <a:pt x="293" y="82"/>
                    </a:lnTo>
                    <a:lnTo>
                      <a:pt x="293" y="80"/>
                    </a:lnTo>
                    <a:lnTo>
                      <a:pt x="293" y="80"/>
                    </a:lnTo>
                    <a:lnTo>
                      <a:pt x="291" y="78"/>
                    </a:lnTo>
                    <a:lnTo>
                      <a:pt x="291" y="78"/>
                    </a:lnTo>
                    <a:lnTo>
                      <a:pt x="293" y="76"/>
                    </a:lnTo>
                    <a:lnTo>
                      <a:pt x="297" y="76"/>
                    </a:lnTo>
                    <a:lnTo>
                      <a:pt x="299" y="76"/>
                    </a:lnTo>
                    <a:lnTo>
                      <a:pt x="301" y="76"/>
                    </a:lnTo>
                    <a:lnTo>
                      <a:pt x="303" y="74"/>
                    </a:lnTo>
                    <a:lnTo>
                      <a:pt x="305" y="74"/>
                    </a:lnTo>
                    <a:lnTo>
                      <a:pt x="307" y="72"/>
                    </a:lnTo>
                    <a:lnTo>
                      <a:pt x="314" y="69"/>
                    </a:lnTo>
                    <a:lnTo>
                      <a:pt x="320" y="67"/>
                    </a:lnTo>
                    <a:lnTo>
                      <a:pt x="326" y="63"/>
                    </a:lnTo>
                    <a:lnTo>
                      <a:pt x="335" y="63"/>
                    </a:lnTo>
                    <a:lnTo>
                      <a:pt x="341" y="55"/>
                    </a:lnTo>
                    <a:lnTo>
                      <a:pt x="347" y="50"/>
                    </a:lnTo>
                    <a:lnTo>
                      <a:pt x="343" y="44"/>
                    </a:lnTo>
                    <a:lnTo>
                      <a:pt x="337" y="38"/>
                    </a:lnTo>
                    <a:lnTo>
                      <a:pt x="339" y="31"/>
                    </a:lnTo>
                    <a:lnTo>
                      <a:pt x="345" y="32"/>
                    </a:lnTo>
                    <a:lnTo>
                      <a:pt x="347" y="31"/>
                    </a:lnTo>
                    <a:lnTo>
                      <a:pt x="347" y="31"/>
                    </a:lnTo>
                    <a:lnTo>
                      <a:pt x="349" y="27"/>
                    </a:lnTo>
                    <a:lnTo>
                      <a:pt x="350" y="25"/>
                    </a:lnTo>
                    <a:lnTo>
                      <a:pt x="354" y="23"/>
                    </a:lnTo>
                    <a:lnTo>
                      <a:pt x="356" y="23"/>
                    </a:lnTo>
                    <a:lnTo>
                      <a:pt x="364" y="23"/>
                    </a:lnTo>
                    <a:lnTo>
                      <a:pt x="366" y="21"/>
                    </a:lnTo>
                    <a:lnTo>
                      <a:pt x="368" y="21"/>
                    </a:lnTo>
                    <a:lnTo>
                      <a:pt x="370" y="19"/>
                    </a:lnTo>
                    <a:lnTo>
                      <a:pt x="377" y="10"/>
                    </a:lnTo>
                    <a:lnTo>
                      <a:pt x="379" y="8"/>
                    </a:lnTo>
                    <a:lnTo>
                      <a:pt x="383" y="8"/>
                    </a:lnTo>
                    <a:lnTo>
                      <a:pt x="389" y="8"/>
                    </a:lnTo>
                    <a:lnTo>
                      <a:pt x="392" y="11"/>
                    </a:lnTo>
                    <a:lnTo>
                      <a:pt x="398" y="19"/>
                    </a:lnTo>
                    <a:lnTo>
                      <a:pt x="400" y="21"/>
                    </a:lnTo>
                    <a:lnTo>
                      <a:pt x="400" y="27"/>
                    </a:lnTo>
                    <a:lnTo>
                      <a:pt x="402" y="29"/>
                    </a:lnTo>
                    <a:lnTo>
                      <a:pt x="404" y="29"/>
                    </a:lnTo>
                    <a:lnTo>
                      <a:pt x="406" y="29"/>
                    </a:lnTo>
                    <a:lnTo>
                      <a:pt x="411" y="29"/>
                    </a:lnTo>
                    <a:lnTo>
                      <a:pt x="415" y="29"/>
                    </a:lnTo>
                    <a:lnTo>
                      <a:pt x="425" y="34"/>
                    </a:lnTo>
                    <a:lnTo>
                      <a:pt x="429" y="34"/>
                    </a:lnTo>
                    <a:lnTo>
                      <a:pt x="427" y="34"/>
                    </a:lnTo>
                    <a:lnTo>
                      <a:pt x="425" y="31"/>
                    </a:lnTo>
                    <a:lnTo>
                      <a:pt x="423" y="29"/>
                    </a:lnTo>
                    <a:lnTo>
                      <a:pt x="427" y="31"/>
                    </a:lnTo>
                    <a:lnTo>
                      <a:pt x="429" y="31"/>
                    </a:lnTo>
                    <a:lnTo>
                      <a:pt x="436" y="32"/>
                    </a:lnTo>
                    <a:lnTo>
                      <a:pt x="442" y="36"/>
                    </a:lnTo>
                    <a:lnTo>
                      <a:pt x="444" y="36"/>
                    </a:lnTo>
                    <a:lnTo>
                      <a:pt x="453" y="38"/>
                    </a:lnTo>
                    <a:lnTo>
                      <a:pt x="455" y="38"/>
                    </a:lnTo>
                    <a:lnTo>
                      <a:pt x="455" y="40"/>
                    </a:lnTo>
                    <a:lnTo>
                      <a:pt x="455" y="40"/>
                    </a:lnTo>
                    <a:lnTo>
                      <a:pt x="455" y="42"/>
                    </a:lnTo>
                    <a:lnTo>
                      <a:pt x="457" y="44"/>
                    </a:lnTo>
                    <a:lnTo>
                      <a:pt x="457" y="44"/>
                    </a:lnTo>
                    <a:lnTo>
                      <a:pt x="465" y="46"/>
                    </a:lnTo>
                    <a:lnTo>
                      <a:pt x="463" y="36"/>
                    </a:lnTo>
                    <a:lnTo>
                      <a:pt x="469" y="32"/>
                    </a:lnTo>
                    <a:lnTo>
                      <a:pt x="476" y="32"/>
                    </a:lnTo>
                    <a:lnTo>
                      <a:pt x="480" y="34"/>
                    </a:lnTo>
                    <a:lnTo>
                      <a:pt x="482" y="27"/>
                    </a:lnTo>
                    <a:lnTo>
                      <a:pt x="486" y="27"/>
                    </a:lnTo>
                    <a:lnTo>
                      <a:pt x="486" y="31"/>
                    </a:lnTo>
                    <a:lnTo>
                      <a:pt x="488" y="34"/>
                    </a:lnTo>
                    <a:lnTo>
                      <a:pt x="490" y="32"/>
                    </a:lnTo>
                    <a:lnTo>
                      <a:pt x="493" y="34"/>
                    </a:lnTo>
                    <a:lnTo>
                      <a:pt x="495" y="32"/>
                    </a:lnTo>
                    <a:lnTo>
                      <a:pt x="495" y="29"/>
                    </a:lnTo>
                    <a:lnTo>
                      <a:pt x="493" y="25"/>
                    </a:lnTo>
                    <a:lnTo>
                      <a:pt x="493" y="23"/>
                    </a:lnTo>
                    <a:lnTo>
                      <a:pt x="499" y="23"/>
                    </a:lnTo>
                    <a:lnTo>
                      <a:pt x="499" y="21"/>
                    </a:lnTo>
                    <a:lnTo>
                      <a:pt x="499" y="19"/>
                    </a:lnTo>
                    <a:lnTo>
                      <a:pt x="499" y="19"/>
                    </a:lnTo>
                    <a:lnTo>
                      <a:pt x="499" y="17"/>
                    </a:lnTo>
                    <a:lnTo>
                      <a:pt x="501" y="17"/>
                    </a:lnTo>
                    <a:lnTo>
                      <a:pt x="503" y="17"/>
                    </a:lnTo>
                    <a:lnTo>
                      <a:pt x="503" y="17"/>
                    </a:lnTo>
                    <a:lnTo>
                      <a:pt x="511" y="19"/>
                    </a:lnTo>
                    <a:lnTo>
                      <a:pt x="520" y="21"/>
                    </a:lnTo>
                    <a:lnTo>
                      <a:pt x="524" y="13"/>
                    </a:lnTo>
                    <a:lnTo>
                      <a:pt x="522" y="4"/>
                    </a:lnTo>
                    <a:lnTo>
                      <a:pt x="526" y="4"/>
                    </a:lnTo>
                    <a:lnTo>
                      <a:pt x="530" y="2"/>
                    </a:lnTo>
                    <a:lnTo>
                      <a:pt x="537" y="6"/>
                    </a:lnTo>
                    <a:lnTo>
                      <a:pt x="549" y="2"/>
                    </a:lnTo>
                    <a:lnTo>
                      <a:pt x="556" y="0"/>
                    </a:lnTo>
                    <a:lnTo>
                      <a:pt x="564" y="0"/>
                    </a:lnTo>
                    <a:lnTo>
                      <a:pt x="572" y="0"/>
                    </a:lnTo>
                    <a:lnTo>
                      <a:pt x="574" y="2"/>
                    </a:lnTo>
                    <a:lnTo>
                      <a:pt x="575" y="10"/>
                    </a:lnTo>
                    <a:lnTo>
                      <a:pt x="577" y="11"/>
                    </a:lnTo>
                    <a:lnTo>
                      <a:pt x="581" y="15"/>
                    </a:lnTo>
                    <a:lnTo>
                      <a:pt x="585" y="17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8" name="Freeform 40">
                <a:extLst>
                  <a:ext uri="{FF2B5EF4-FFF2-40B4-BE49-F238E27FC236}">
                    <a16:creationId xmlns:a16="http://schemas.microsoft.com/office/drawing/2014/main" id="{4EF8AE39-CCDB-4D40-A8B4-A4D2BE912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2307" y="2373786"/>
                <a:ext cx="80963" cy="171450"/>
              </a:xfrm>
              <a:custGeom>
                <a:avLst/>
                <a:gdLst>
                  <a:gd name="T0" fmla="*/ 23 w 51"/>
                  <a:gd name="T1" fmla="*/ 108 h 108"/>
                  <a:gd name="T2" fmla="*/ 21 w 51"/>
                  <a:gd name="T3" fmla="*/ 108 h 108"/>
                  <a:gd name="T4" fmla="*/ 17 w 51"/>
                  <a:gd name="T5" fmla="*/ 107 h 108"/>
                  <a:gd name="T6" fmla="*/ 15 w 51"/>
                  <a:gd name="T7" fmla="*/ 107 h 108"/>
                  <a:gd name="T8" fmla="*/ 15 w 51"/>
                  <a:gd name="T9" fmla="*/ 95 h 108"/>
                  <a:gd name="T10" fmla="*/ 15 w 51"/>
                  <a:gd name="T11" fmla="*/ 89 h 108"/>
                  <a:gd name="T12" fmla="*/ 17 w 51"/>
                  <a:gd name="T13" fmla="*/ 84 h 108"/>
                  <a:gd name="T14" fmla="*/ 19 w 51"/>
                  <a:gd name="T15" fmla="*/ 78 h 108"/>
                  <a:gd name="T16" fmla="*/ 17 w 51"/>
                  <a:gd name="T17" fmla="*/ 70 h 108"/>
                  <a:gd name="T18" fmla="*/ 17 w 51"/>
                  <a:gd name="T19" fmla="*/ 65 h 108"/>
                  <a:gd name="T20" fmla="*/ 10 w 51"/>
                  <a:gd name="T21" fmla="*/ 59 h 108"/>
                  <a:gd name="T22" fmla="*/ 17 w 51"/>
                  <a:gd name="T23" fmla="*/ 51 h 108"/>
                  <a:gd name="T24" fmla="*/ 17 w 51"/>
                  <a:gd name="T25" fmla="*/ 46 h 108"/>
                  <a:gd name="T26" fmla="*/ 10 w 51"/>
                  <a:gd name="T27" fmla="*/ 36 h 108"/>
                  <a:gd name="T28" fmla="*/ 10 w 51"/>
                  <a:gd name="T29" fmla="*/ 34 h 108"/>
                  <a:gd name="T30" fmla="*/ 2 w 51"/>
                  <a:gd name="T31" fmla="*/ 32 h 108"/>
                  <a:gd name="T32" fmla="*/ 0 w 51"/>
                  <a:gd name="T33" fmla="*/ 25 h 108"/>
                  <a:gd name="T34" fmla="*/ 2 w 51"/>
                  <a:gd name="T35" fmla="*/ 19 h 108"/>
                  <a:gd name="T36" fmla="*/ 6 w 51"/>
                  <a:gd name="T37" fmla="*/ 15 h 108"/>
                  <a:gd name="T38" fmla="*/ 6 w 51"/>
                  <a:gd name="T39" fmla="*/ 10 h 108"/>
                  <a:gd name="T40" fmla="*/ 4 w 51"/>
                  <a:gd name="T41" fmla="*/ 0 h 108"/>
                  <a:gd name="T42" fmla="*/ 8 w 51"/>
                  <a:gd name="T43" fmla="*/ 0 h 108"/>
                  <a:gd name="T44" fmla="*/ 17 w 51"/>
                  <a:gd name="T45" fmla="*/ 4 h 108"/>
                  <a:gd name="T46" fmla="*/ 21 w 51"/>
                  <a:gd name="T47" fmla="*/ 6 h 108"/>
                  <a:gd name="T48" fmla="*/ 32 w 51"/>
                  <a:gd name="T49" fmla="*/ 6 h 108"/>
                  <a:gd name="T50" fmla="*/ 36 w 51"/>
                  <a:gd name="T51" fmla="*/ 10 h 108"/>
                  <a:gd name="T52" fmla="*/ 36 w 51"/>
                  <a:gd name="T53" fmla="*/ 13 h 108"/>
                  <a:gd name="T54" fmla="*/ 34 w 51"/>
                  <a:gd name="T55" fmla="*/ 17 h 108"/>
                  <a:gd name="T56" fmla="*/ 32 w 51"/>
                  <a:gd name="T57" fmla="*/ 21 h 108"/>
                  <a:gd name="T58" fmla="*/ 31 w 51"/>
                  <a:gd name="T59" fmla="*/ 23 h 108"/>
                  <a:gd name="T60" fmla="*/ 31 w 51"/>
                  <a:gd name="T61" fmla="*/ 30 h 108"/>
                  <a:gd name="T62" fmla="*/ 31 w 51"/>
                  <a:gd name="T63" fmla="*/ 34 h 108"/>
                  <a:gd name="T64" fmla="*/ 31 w 51"/>
                  <a:gd name="T65" fmla="*/ 40 h 108"/>
                  <a:gd name="T66" fmla="*/ 32 w 51"/>
                  <a:gd name="T67" fmla="*/ 44 h 108"/>
                  <a:gd name="T68" fmla="*/ 40 w 51"/>
                  <a:gd name="T69" fmla="*/ 49 h 108"/>
                  <a:gd name="T70" fmla="*/ 42 w 51"/>
                  <a:gd name="T71" fmla="*/ 55 h 108"/>
                  <a:gd name="T72" fmla="*/ 44 w 51"/>
                  <a:gd name="T73" fmla="*/ 59 h 108"/>
                  <a:gd name="T74" fmla="*/ 44 w 51"/>
                  <a:gd name="T75" fmla="*/ 63 h 108"/>
                  <a:gd name="T76" fmla="*/ 48 w 51"/>
                  <a:gd name="T77" fmla="*/ 68 h 108"/>
                  <a:gd name="T78" fmla="*/ 51 w 51"/>
                  <a:gd name="T79" fmla="*/ 70 h 108"/>
                  <a:gd name="T80" fmla="*/ 51 w 51"/>
                  <a:gd name="T81" fmla="*/ 76 h 108"/>
                  <a:gd name="T82" fmla="*/ 50 w 51"/>
                  <a:gd name="T83" fmla="*/ 82 h 108"/>
                  <a:gd name="T84" fmla="*/ 48 w 51"/>
                  <a:gd name="T85" fmla="*/ 86 h 108"/>
                  <a:gd name="T86" fmla="*/ 42 w 51"/>
                  <a:gd name="T87" fmla="*/ 93 h 108"/>
                  <a:gd name="T88" fmla="*/ 31 w 51"/>
                  <a:gd name="T89" fmla="*/ 103 h 108"/>
                  <a:gd name="T90" fmla="*/ 25 w 51"/>
                  <a:gd name="T91" fmla="*/ 108 h 108"/>
                  <a:gd name="T92" fmla="*/ 23 w 51"/>
                  <a:gd name="T93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1" h="108">
                    <a:moveTo>
                      <a:pt x="23" y="108"/>
                    </a:moveTo>
                    <a:lnTo>
                      <a:pt x="21" y="108"/>
                    </a:lnTo>
                    <a:lnTo>
                      <a:pt x="17" y="107"/>
                    </a:lnTo>
                    <a:lnTo>
                      <a:pt x="15" y="107"/>
                    </a:lnTo>
                    <a:lnTo>
                      <a:pt x="15" y="95"/>
                    </a:lnTo>
                    <a:lnTo>
                      <a:pt x="15" y="89"/>
                    </a:lnTo>
                    <a:lnTo>
                      <a:pt x="17" y="84"/>
                    </a:lnTo>
                    <a:lnTo>
                      <a:pt x="19" y="78"/>
                    </a:lnTo>
                    <a:lnTo>
                      <a:pt x="17" y="70"/>
                    </a:lnTo>
                    <a:lnTo>
                      <a:pt x="17" y="65"/>
                    </a:lnTo>
                    <a:lnTo>
                      <a:pt x="10" y="59"/>
                    </a:lnTo>
                    <a:lnTo>
                      <a:pt x="17" y="51"/>
                    </a:lnTo>
                    <a:lnTo>
                      <a:pt x="17" y="4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2" y="32"/>
                    </a:lnTo>
                    <a:lnTo>
                      <a:pt x="0" y="25"/>
                    </a:lnTo>
                    <a:lnTo>
                      <a:pt x="2" y="19"/>
                    </a:lnTo>
                    <a:lnTo>
                      <a:pt x="6" y="15"/>
                    </a:lnTo>
                    <a:lnTo>
                      <a:pt x="6" y="1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7" y="4"/>
                    </a:lnTo>
                    <a:lnTo>
                      <a:pt x="21" y="6"/>
                    </a:lnTo>
                    <a:lnTo>
                      <a:pt x="32" y="6"/>
                    </a:lnTo>
                    <a:lnTo>
                      <a:pt x="36" y="10"/>
                    </a:lnTo>
                    <a:lnTo>
                      <a:pt x="36" y="13"/>
                    </a:lnTo>
                    <a:lnTo>
                      <a:pt x="34" y="17"/>
                    </a:lnTo>
                    <a:lnTo>
                      <a:pt x="32" y="21"/>
                    </a:lnTo>
                    <a:lnTo>
                      <a:pt x="31" y="23"/>
                    </a:lnTo>
                    <a:lnTo>
                      <a:pt x="31" y="30"/>
                    </a:lnTo>
                    <a:lnTo>
                      <a:pt x="31" y="34"/>
                    </a:lnTo>
                    <a:lnTo>
                      <a:pt x="31" y="40"/>
                    </a:lnTo>
                    <a:lnTo>
                      <a:pt x="32" y="44"/>
                    </a:lnTo>
                    <a:lnTo>
                      <a:pt x="40" y="49"/>
                    </a:lnTo>
                    <a:lnTo>
                      <a:pt x="42" y="55"/>
                    </a:lnTo>
                    <a:lnTo>
                      <a:pt x="44" y="59"/>
                    </a:lnTo>
                    <a:lnTo>
                      <a:pt x="44" y="63"/>
                    </a:lnTo>
                    <a:lnTo>
                      <a:pt x="48" y="68"/>
                    </a:lnTo>
                    <a:lnTo>
                      <a:pt x="51" y="70"/>
                    </a:lnTo>
                    <a:lnTo>
                      <a:pt x="51" y="76"/>
                    </a:lnTo>
                    <a:lnTo>
                      <a:pt x="50" y="82"/>
                    </a:lnTo>
                    <a:lnTo>
                      <a:pt x="48" y="86"/>
                    </a:lnTo>
                    <a:lnTo>
                      <a:pt x="42" y="93"/>
                    </a:lnTo>
                    <a:lnTo>
                      <a:pt x="31" y="103"/>
                    </a:lnTo>
                    <a:lnTo>
                      <a:pt x="25" y="108"/>
                    </a:lnTo>
                    <a:lnTo>
                      <a:pt x="23" y="108"/>
                    </a:lnTo>
                    <a:close/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9" name="Freeform 41">
                <a:extLst>
                  <a:ext uri="{FF2B5EF4-FFF2-40B4-BE49-F238E27FC236}">
                    <a16:creationId xmlns:a16="http://schemas.microsoft.com/office/drawing/2014/main" id="{D3B8FED1-69A7-4A01-BDA3-1FCE8D1DB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2307" y="2373786"/>
                <a:ext cx="80963" cy="171450"/>
              </a:xfrm>
              <a:custGeom>
                <a:avLst/>
                <a:gdLst>
                  <a:gd name="T0" fmla="*/ 23 w 51"/>
                  <a:gd name="T1" fmla="*/ 108 h 108"/>
                  <a:gd name="T2" fmla="*/ 21 w 51"/>
                  <a:gd name="T3" fmla="*/ 108 h 108"/>
                  <a:gd name="T4" fmla="*/ 17 w 51"/>
                  <a:gd name="T5" fmla="*/ 107 h 108"/>
                  <a:gd name="T6" fmla="*/ 15 w 51"/>
                  <a:gd name="T7" fmla="*/ 107 h 108"/>
                  <a:gd name="T8" fmla="*/ 15 w 51"/>
                  <a:gd name="T9" fmla="*/ 95 h 108"/>
                  <a:gd name="T10" fmla="*/ 15 w 51"/>
                  <a:gd name="T11" fmla="*/ 89 h 108"/>
                  <a:gd name="T12" fmla="*/ 17 w 51"/>
                  <a:gd name="T13" fmla="*/ 84 h 108"/>
                  <a:gd name="T14" fmla="*/ 19 w 51"/>
                  <a:gd name="T15" fmla="*/ 78 h 108"/>
                  <a:gd name="T16" fmla="*/ 17 w 51"/>
                  <a:gd name="T17" fmla="*/ 70 h 108"/>
                  <a:gd name="T18" fmla="*/ 17 w 51"/>
                  <a:gd name="T19" fmla="*/ 65 h 108"/>
                  <a:gd name="T20" fmla="*/ 10 w 51"/>
                  <a:gd name="T21" fmla="*/ 59 h 108"/>
                  <a:gd name="T22" fmla="*/ 17 w 51"/>
                  <a:gd name="T23" fmla="*/ 51 h 108"/>
                  <a:gd name="T24" fmla="*/ 17 w 51"/>
                  <a:gd name="T25" fmla="*/ 46 h 108"/>
                  <a:gd name="T26" fmla="*/ 10 w 51"/>
                  <a:gd name="T27" fmla="*/ 36 h 108"/>
                  <a:gd name="T28" fmla="*/ 10 w 51"/>
                  <a:gd name="T29" fmla="*/ 34 h 108"/>
                  <a:gd name="T30" fmla="*/ 2 w 51"/>
                  <a:gd name="T31" fmla="*/ 32 h 108"/>
                  <a:gd name="T32" fmla="*/ 0 w 51"/>
                  <a:gd name="T33" fmla="*/ 25 h 108"/>
                  <a:gd name="T34" fmla="*/ 2 w 51"/>
                  <a:gd name="T35" fmla="*/ 19 h 108"/>
                  <a:gd name="T36" fmla="*/ 6 w 51"/>
                  <a:gd name="T37" fmla="*/ 15 h 108"/>
                  <a:gd name="T38" fmla="*/ 6 w 51"/>
                  <a:gd name="T39" fmla="*/ 10 h 108"/>
                  <a:gd name="T40" fmla="*/ 4 w 51"/>
                  <a:gd name="T41" fmla="*/ 0 h 108"/>
                  <a:gd name="T42" fmla="*/ 8 w 51"/>
                  <a:gd name="T43" fmla="*/ 0 h 108"/>
                  <a:gd name="T44" fmla="*/ 17 w 51"/>
                  <a:gd name="T45" fmla="*/ 4 h 108"/>
                  <a:gd name="T46" fmla="*/ 21 w 51"/>
                  <a:gd name="T47" fmla="*/ 6 h 108"/>
                  <a:gd name="T48" fmla="*/ 32 w 51"/>
                  <a:gd name="T49" fmla="*/ 6 h 108"/>
                  <a:gd name="T50" fmla="*/ 36 w 51"/>
                  <a:gd name="T51" fmla="*/ 10 h 108"/>
                  <a:gd name="T52" fmla="*/ 36 w 51"/>
                  <a:gd name="T53" fmla="*/ 13 h 108"/>
                  <a:gd name="T54" fmla="*/ 34 w 51"/>
                  <a:gd name="T55" fmla="*/ 17 h 108"/>
                  <a:gd name="T56" fmla="*/ 32 w 51"/>
                  <a:gd name="T57" fmla="*/ 21 h 108"/>
                  <a:gd name="T58" fmla="*/ 31 w 51"/>
                  <a:gd name="T59" fmla="*/ 23 h 108"/>
                  <a:gd name="T60" fmla="*/ 31 w 51"/>
                  <a:gd name="T61" fmla="*/ 30 h 108"/>
                  <a:gd name="T62" fmla="*/ 31 w 51"/>
                  <a:gd name="T63" fmla="*/ 34 h 108"/>
                  <a:gd name="T64" fmla="*/ 31 w 51"/>
                  <a:gd name="T65" fmla="*/ 40 h 108"/>
                  <a:gd name="T66" fmla="*/ 32 w 51"/>
                  <a:gd name="T67" fmla="*/ 44 h 108"/>
                  <a:gd name="T68" fmla="*/ 40 w 51"/>
                  <a:gd name="T69" fmla="*/ 49 h 108"/>
                  <a:gd name="T70" fmla="*/ 42 w 51"/>
                  <a:gd name="T71" fmla="*/ 55 h 108"/>
                  <a:gd name="T72" fmla="*/ 44 w 51"/>
                  <a:gd name="T73" fmla="*/ 59 h 108"/>
                  <a:gd name="T74" fmla="*/ 44 w 51"/>
                  <a:gd name="T75" fmla="*/ 63 h 108"/>
                  <a:gd name="T76" fmla="*/ 48 w 51"/>
                  <a:gd name="T77" fmla="*/ 68 h 108"/>
                  <a:gd name="T78" fmla="*/ 51 w 51"/>
                  <a:gd name="T79" fmla="*/ 70 h 108"/>
                  <a:gd name="T80" fmla="*/ 51 w 51"/>
                  <a:gd name="T81" fmla="*/ 76 h 108"/>
                  <a:gd name="T82" fmla="*/ 50 w 51"/>
                  <a:gd name="T83" fmla="*/ 82 h 108"/>
                  <a:gd name="T84" fmla="*/ 48 w 51"/>
                  <a:gd name="T85" fmla="*/ 86 h 108"/>
                  <a:gd name="T86" fmla="*/ 42 w 51"/>
                  <a:gd name="T87" fmla="*/ 93 h 108"/>
                  <a:gd name="T88" fmla="*/ 31 w 51"/>
                  <a:gd name="T89" fmla="*/ 103 h 108"/>
                  <a:gd name="T90" fmla="*/ 25 w 51"/>
                  <a:gd name="T91" fmla="*/ 108 h 108"/>
                  <a:gd name="T92" fmla="*/ 23 w 51"/>
                  <a:gd name="T93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1" h="108">
                    <a:moveTo>
                      <a:pt x="23" y="108"/>
                    </a:moveTo>
                    <a:lnTo>
                      <a:pt x="21" y="108"/>
                    </a:lnTo>
                    <a:lnTo>
                      <a:pt x="17" y="107"/>
                    </a:lnTo>
                    <a:lnTo>
                      <a:pt x="15" y="107"/>
                    </a:lnTo>
                    <a:lnTo>
                      <a:pt x="15" y="95"/>
                    </a:lnTo>
                    <a:lnTo>
                      <a:pt x="15" y="89"/>
                    </a:lnTo>
                    <a:lnTo>
                      <a:pt x="17" y="84"/>
                    </a:lnTo>
                    <a:lnTo>
                      <a:pt x="19" y="78"/>
                    </a:lnTo>
                    <a:lnTo>
                      <a:pt x="17" y="70"/>
                    </a:lnTo>
                    <a:lnTo>
                      <a:pt x="17" y="65"/>
                    </a:lnTo>
                    <a:lnTo>
                      <a:pt x="10" y="59"/>
                    </a:lnTo>
                    <a:lnTo>
                      <a:pt x="17" y="51"/>
                    </a:lnTo>
                    <a:lnTo>
                      <a:pt x="17" y="4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2" y="32"/>
                    </a:lnTo>
                    <a:lnTo>
                      <a:pt x="0" y="25"/>
                    </a:lnTo>
                    <a:lnTo>
                      <a:pt x="2" y="19"/>
                    </a:lnTo>
                    <a:lnTo>
                      <a:pt x="6" y="15"/>
                    </a:lnTo>
                    <a:lnTo>
                      <a:pt x="6" y="1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7" y="4"/>
                    </a:lnTo>
                    <a:lnTo>
                      <a:pt x="21" y="6"/>
                    </a:lnTo>
                    <a:lnTo>
                      <a:pt x="32" y="6"/>
                    </a:lnTo>
                    <a:lnTo>
                      <a:pt x="36" y="10"/>
                    </a:lnTo>
                    <a:lnTo>
                      <a:pt x="36" y="13"/>
                    </a:lnTo>
                    <a:lnTo>
                      <a:pt x="34" y="17"/>
                    </a:lnTo>
                    <a:lnTo>
                      <a:pt x="32" y="21"/>
                    </a:lnTo>
                    <a:lnTo>
                      <a:pt x="31" y="23"/>
                    </a:lnTo>
                    <a:lnTo>
                      <a:pt x="31" y="30"/>
                    </a:lnTo>
                    <a:lnTo>
                      <a:pt x="31" y="34"/>
                    </a:lnTo>
                    <a:lnTo>
                      <a:pt x="31" y="40"/>
                    </a:lnTo>
                    <a:lnTo>
                      <a:pt x="32" y="44"/>
                    </a:lnTo>
                    <a:lnTo>
                      <a:pt x="40" y="49"/>
                    </a:lnTo>
                    <a:lnTo>
                      <a:pt x="42" y="55"/>
                    </a:lnTo>
                    <a:lnTo>
                      <a:pt x="44" y="59"/>
                    </a:lnTo>
                    <a:lnTo>
                      <a:pt x="44" y="63"/>
                    </a:lnTo>
                    <a:lnTo>
                      <a:pt x="48" y="68"/>
                    </a:lnTo>
                    <a:lnTo>
                      <a:pt x="51" y="70"/>
                    </a:lnTo>
                    <a:lnTo>
                      <a:pt x="51" y="76"/>
                    </a:lnTo>
                    <a:lnTo>
                      <a:pt x="50" y="82"/>
                    </a:lnTo>
                    <a:lnTo>
                      <a:pt x="48" y="86"/>
                    </a:lnTo>
                    <a:lnTo>
                      <a:pt x="42" y="93"/>
                    </a:lnTo>
                    <a:lnTo>
                      <a:pt x="31" y="103"/>
                    </a:lnTo>
                    <a:lnTo>
                      <a:pt x="25" y="108"/>
                    </a:lnTo>
                    <a:lnTo>
                      <a:pt x="23" y="108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0" name="Freeform 42">
                <a:extLst>
                  <a:ext uri="{FF2B5EF4-FFF2-40B4-BE49-F238E27FC236}">
                    <a16:creationId xmlns:a16="http://schemas.microsoft.com/office/drawing/2014/main" id="{4E061603-C887-4A05-9BA7-8A9F1F6894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9432" y="2608736"/>
                <a:ext cx="73025" cy="82550"/>
              </a:xfrm>
              <a:custGeom>
                <a:avLst/>
                <a:gdLst>
                  <a:gd name="T0" fmla="*/ 42 w 46"/>
                  <a:gd name="T1" fmla="*/ 52 h 52"/>
                  <a:gd name="T2" fmla="*/ 39 w 46"/>
                  <a:gd name="T3" fmla="*/ 40 h 52"/>
                  <a:gd name="T4" fmla="*/ 29 w 46"/>
                  <a:gd name="T5" fmla="*/ 33 h 52"/>
                  <a:gd name="T6" fmla="*/ 19 w 46"/>
                  <a:gd name="T7" fmla="*/ 25 h 52"/>
                  <a:gd name="T8" fmla="*/ 12 w 46"/>
                  <a:gd name="T9" fmla="*/ 14 h 52"/>
                  <a:gd name="T10" fmla="*/ 8 w 46"/>
                  <a:gd name="T11" fmla="*/ 16 h 52"/>
                  <a:gd name="T12" fmla="*/ 0 w 46"/>
                  <a:gd name="T13" fmla="*/ 6 h 52"/>
                  <a:gd name="T14" fmla="*/ 12 w 46"/>
                  <a:gd name="T15" fmla="*/ 0 h 52"/>
                  <a:gd name="T16" fmla="*/ 12 w 46"/>
                  <a:gd name="T17" fmla="*/ 0 h 52"/>
                  <a:gd name="T18" fmla="*/ 18 w 46"/>
                  <a:gd name="T19" fmla="*/ 2 h 52"/>
                  <a:gd name="T20" fmla="*/ 19 w 46"/>
                  <a:gd name="T21" fmla="*/ 6 h 52"/>
                  <a:gd name="T22" fmla="*/ 21 w 46"/>
                  <a:gd name="T23" fmla="*/ 12 h 52"/>
                  <a:gd name="T24" fmla="*/ 35 w 46"/>
                  <a:gd name="T25" fmla="*/ 29 h 52"/>
                  <a:gd name="T26" fmla="*/ 39 w 46"/>
                  <a:gd name="T27" fmla="*/ 31 h 52"/>
                  <a:gd name="T28" fmla="*/ 44 w 46"/>
                  <a:gd name="T29" fmla="*/ 35 h 52"/>
                  <a:gd name="T30" fmla="*/ 44 w 46"/>
                  <a:gd name="T31" fmla="*/ 37 h 52"/>
                  <a:gd name="T32" fmla="*/ 46 w 46"/>
                  <a:gd name="T33" fmla="*/ 38 h 52"/>
                  <a:gd name="T34" fmla="*/ 46 w 46"/>
                  <a:gd name="T35" fmla="*/ 42 h 52"/>
                  <a:gd name="T36" fmla="*/ 42 w 46"/>
                  <a:gd name="T37" fmla="*/ 48 h 52"/>
                  <a:gd name="T38" fmla="*/ 42 w 46"/>
                  <a:gd name="T3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52">
                    <a:moveTo>
                      <a:pt x="42" y="52"/>
                    </a:moveTo>
                    <a:lnTo>
                      <a:pt x="39" y="40"/>
                    </a:lnTo>
                    <a:lnTo>
                      <a:pt x="29" y="33"/>
                    </a:lnTo>
                    <a:lnTo>
                      <a:pt x="19" y="25"/>
                    </a:lnTo>
                    <a:lnTo>
                      <a:pt x="12" y="14"/>
                    </a:lnTo>
                    <a:lnTo>
                      <a:pt x="8" y="16"/>
                    </a:lnTo>
                    <a:lnTo>
                      <a:pt x="0" y="6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8" y="2"/>
                    </a:lnTo>
                    <a:lnTo>
                      <a:pt x="19" y="6"/>
                    </a:lnTo>
                    <a:lnTo>
                      <a:pt x="21" y="12"/>
                    </a:lnTo>
                    <a:lnTo>
                      <a:pt x="35" y="29"/>
                    </a:lnTo>
                    <a:lnTo>
                      <a:pt x="39" y="31"/>
                    </a:lnTo>
                    <a:lnTo>
                      <a:pt x="44" y="35"/>
                    </a:lnTo>
                    <a:lnTo>
                      <a:pt x="44" y="37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42" y="48"/>
                    </a:lnTo>
                    <a:lnTo>
                      <a:pt x="42" y="52"/>
                    </a:lnTo>
                    <a:close/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1" name="Freeform 43">
                <a:extLst>
                  <a:ext uri="{FF2B5EF4-FFF2-40B4-BE49-F238E27FC236}">
                    <a16:creationId xmlns:a16="http://schemas.microsoft.com/office/drawing/2014/main" id="{E609FF43-97B7-4F16-9374-6DAC13935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9432" y="2608736"/>
                <a:ext cx="73025" cy="82550"/>
              </a:xfrm>
              <a:custGeom>
                <a:avLst/>
                <a:gdLst>
                  <a:gd name="T0" fmla="*/ 42 w 46"/>
                  <a:gd name="T1" fmla="*/ 52 h 52"/>
                  <a:gd name="T2" fmla="*/ 39 w 46"/>
                  <a:gd name="T3" fmla="*/ 40 h 52"/>
                  <a:gd name="T4" fmla="*/ 29 w 46"/>
                  <a:gd name="T5" fmla="*/ 33 h 52"/>
                  <a:gd name="T6" fmla="*/ 19 w 46"/>
                  <a:gd name="T7" fmla="*/ 25 h 52"/>
                  <a:gd name="T8" fmla="*/ 12 w 46"/>
                  <a:gd name="T9" fmla="*/ 14 h 52"/>
                  <a:gd name="T10" fmla="*/ 8 w 46"/>
                  <a:gd name="T11" fmla="*/ 16 h 52"/>
                  <a:gd name="T12" fmla="*/ 0 w 46"/>
                  <a:gd name="T13" fmla="*/ 6 h 52"/>
                  <a:gd name="T14" fmla="*/ 12 w 46"/>
                  <a:gd name="T15" fmla="*/ 0 h 52"/>
                  <a:gd name="T16" fmla="*/ 12 w 46"/>
                  <a:gd name="T17" fmla="*/ 0 h 52"/>
                  <a:gd name="T18" fmla="*/ 18 w 46"/>
                  <a:gd name="T19" fmla="*/ 2 h 52"/>
                  <a:gd name="T20" fmla="*/ 19 w 46"/>
                  <a:gd name="T21" fmla="*/ 6 h 52"/>
                  <a:gd name="T22" fmla="*/ 21 w 46"/>
                  <a:gd name="T23" fmla="*/ 12 h 52"/>
                  <a:gd name="T24" fmla="*/ 35 w 46"/>
                  <a:gd name="T25" fmla="*/ 29 h 52"/>
                  <a:gd name="T26" fmla="*/ 39 w 46"/>
                  <a:gd name="T27" fmla="*/ 31 h 52"/>
                  <a:gd name="T28" fmla="*/ 44 w 46"/>
                  <a:gd name="T29" fmla="*/ 35 h 52"/>
                  <a:gd name="T30" fmla="*/ 44 w 46"/>
                  <a:gd name="T31" fmla="*/ 37 h 52"/>
                  <a:gd name="T32" fmla="*/ 46 w 46"/>
                  <a:gd name="T33" fmla="*/ 38 h 52"/>
                  <a:gd name="T34" fmla="*/ 46 w 46"/>
                  <a:gd name="T35" fmla="*/ 42 h 52"/>
                  <a:gd name="T36" fmla="*/ 42 w 46"/>
                  <a:gd name="T37" fmla="*/ 48 h 52"/>
                  <a:gd name="T38" fmla="*/ 42 w 46"/>
                  <a:gd name="T3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52">
                    <a:moveTo>
                      <a:pt x="42" y="52"/>
                    </a:moveTo>
                    <a:lnTo>
                      <a:pt x="39" y="40"/>
                    </a:lnTo>
                    <a:lnTo>
                      <a:pt x="29" y="33"/>
                    </a:lnTo>
                    <a:lnTo>
                      <a:pt x="19" y="25"/>
                    </a:lnTo>
                    <a:lnTo>
                      <a:pt x="12" y="14"/>
                    </a:lnTo>
                    <a:lnTo>
                      <a:pt x="8" y="16"/>
                    </a:lnTo>
                    <a:lnTo>
                      <a:pt x="0" y="6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8" y="2"/>
                    </a:lnTo>
                    <a:lnTo>
                      <a:pt x="19" y="6"/>
                    </a:lnTo>
                    <a:lnTo>
                      <a:pt x="21" y="12"/>
                    </a:lnTo>
                    <a:lnTo>
                      <a:pt x="35" y="29"/>
                    </a:lnTo>
                    <a:lnTo>
                      <a:pt x="39" y="31"/>
                    </a:lnTo>
                    <a:lnTo>
                      <a:pt x="44" y="35"/>
                    </a:lnTo>
                    <a:lnTo>
                      <a:pt x="44" y="37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42" y="48"/>
                    </a:lnTo>
                    <a:lnTo>
                      <a:pt x="42" y="52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2" name="Freeform 44">
                <a:extLst>
                  <a:ext uri="{FF2B5EF4-FFF2-40B4-BE49-F238E27FC236}">
                    <a16:creationId xmlns:a16="http://schemas.microsoft.com/office/drawing/2014/main" id="{B9797D35-E4D9-4C10-AAA3-E6F2733C7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7307" y="1594324"/>
                <a:ext cx="320675" cy="238125"/>
              </a:xfrm>
              <a:custGeom>
                <a:avLst/>
                <a:gdLst>
                  <a:gd name="T0" fmla="*/ 51 w 202"/>
                  <a:gd name="T1" fmla="*/ 17 h 150"/>
                  <a:gd name="T2" fmla="*/ 66 w 202"/>
                  <a:gd name="T3" fmla="*/ 31 h 150"/>
                  <a:gd name="T4" fmla="*/ 83 w 202"/>
                  <a:gd name="T5" fmla="*/ 38 h 150"/>
                  <a:gd name="T6" fmla="*/ 103 w 202"/>
                  <a:gd name="T7" fmla="*/ 44 h 150"/>
                  <a:gd name="T8" fmla="*/ 110 w 202"/>
                  <a:gd name="T9" fmla="*/ 63 h 150"/>
                  <a:gd name="T10" fmla="*/ 110 w 202"/>
                  <a:gd name="T11" fmla="*/ 82 h 150"/>
                  <a:gd name="T12" fmla="*/ 129 w 202"/>
                  <a:gd name="T13" fmla="*/ 93 h 150"/>
                  <a:gd name="T14" fmla="*/ 146 w 202"/>
                  <a:gd name="T15" fmla="*/ 103 h 150"/>
                  <a:gd name="T16" fmla="*/ 154 w 202"/>
                  <a:gd name="T17" fmla="*/ 110 h 150"/>
                  <a:gd name="T18" fmla="*/ 177 w 202"/>
                  <a:gd name="T19" fmla="*/ 112 h 150"/>
                  <a:gd name="T20" fmla="*/ 190 w 202"/>
                  <a:gd name="T21" fmla="*/ 124 h 150"/>
                  <a:gd name="T22" fmla="*/ 202 w 202"/>
                  <a:gd name="T23" fmla="*/ 133 h 150"/>
                  <a:gd name="T24" fmla="*/ 202 w 202"/>
                  <a:gd name="T25" fmla="*/ 149 h 150"/>
                  <a:gd name="T26" fmla="*/ 198 w 202"/>
                  <a:gd name="T27" fmla="*/ 149 h 150"/>
                  <a:gd name="T28" fmla="*/ 185 w 202"/>
                  <a:gd name="T29" fmla="*/ 150 h 150"/>
                  <a:gd name="T30" fmla="*/ 175 w 202"/>
                  <a:gd name="T31" fmla="*/ 143 h 150"/>
                  <a:gd name="T32" fmla="*/ 169 w 202"/>
                  <a:gd name="T33" fmla="*/ 141 h 150"/>
                  <a:gd name="T34" fmla="*/ 156 w 202"/>
                  <a:gd name="T35" fmla="*/ 141 h 150"/>
                  <a:gd name="T36" fmla="*/ 148 w 202"/>
                  <a:gd name="T37" fmla="*/ 139 h 150"/>
                  <a:gd name="T38" fmla="*/ 144 w 202"/>
                  <a:gd name="T39" fmla="*/ 133 h 150"/>
                  <a:gd name="T40" fmla="*/ 139 w 202"/>
                  <a:gd name="T41" fmla="*/ 133 h 150"/>
                  <a:gd name="T42" fmla="*/ 129 w 202"/>
                  <a:gd name="T43" fmla="*/ 133 h 150"/>
                  <a:gd name="T44" fmla="*/ 123 w 202"/>
                  <a:gd name="T45" fmla="*/ 131 h 150"/>
                  <a:gd name="T46" fmla="*/ 120 w 202"/>
                  <a:gd name="T47" fmla="*/ 126 h 150"/>
                  <a:gd name="T48" fmla="*/ 116 w 202"/>
                  <a:gd name="T49" fmla="*/ 124 h 150"/>
                  <a:gd name="T50" fmla="*/ 110 w 202"/>
                  <a:gd name="T51" fmla="*/ 124 h 150"/>
                  <a:gd name="T52" fmla="*/ 106 w 202"/>
                  <a:gd name="T53" fmla="*/ 122 h 150"/>
                  <a:gd name="T54" fmla="*/ 101 w 202"/>
                  <a:gd name="T55" fmla="*/ 116 h 150"/>
                  <a:gd name="T56" fmla="*/ 87 w 202"/>
                  <a:gd name="T57" fmla="*/ 109 h 150"/>
                  <a:gd name="T58" fmla="*/ 82 w 202"/>
                  <a:gd name="T59" fmla="*/ 101 h 150"/>
                  <a:gd name="T60" fmla="*/ 82 w 202"/>
                  <a:gd name="T61" fmla="*/ 84 h 150"/>
                  <a:gd name="T62" fmla="*/ 74 w 202"/>
                  <a:gd name="T63" fmla="*/ 88 h 150"/>
                  <a:gd name="T64" fmla="*/ 68 w 202"/>
                  <a:gd name="T65" fmla="*/ 90 h 150"/>
                  <a:gd name="T66" fmla="*/ 66 w 202"/>
                  <a:gd name="T67" fmla="*/ 90 h 150"/>
                  <a:gd name="T68" fmla="*/ 62 w 202"/>
                  <a:gd name="T69" fmla="*/ 93 h 150"/>
                  <a:gd name="T70" fmla="*/ 61 w 202"/>
                  <a:gd name="T71" fmla="*/ 95 h 150"/>
                  <a:gd name="T72" fmla="*/ 55 w 202"/>
                  <a:gd name="T73" fmla="*/ 95 h 150"/>
                  <a:gd name="T74" fmla="*/ 49 w 202"/>
                  <a:gd name="T75" fmla="*/ 97 h 150"/>
                  <a:gd name="T76" fmla="*/ 45 w 202"/>
                  <a:gd name="T77" fmla="*/ 97 h 150"/>
                  <a:gd name="T78" fmla="*/ 36 w 202"/>
                  <a:gd name="T79" fmla="*/ 99 h 150"/>
                  <a:gd name="T80" fmla="*/ 30 w 202"/>
                  <a:gd name="T81" fmla="*/ 95 h 150"/>
                  <a:gd name="T82" fmla="*/ 28 w 202"/>
                  <a:gd name="T83" fmla="*/ 84 h 150"/>
                  <a:gd name="T84" fmla="*/ 22 w 202"/>
                  <a:gd name="T85" fmla="*/ 72 h 150"/>
                  <a:gd name="T86" fmla="*/ 9 w 202"/>
                  <a:gd name="T87" fmla="*/ 69 h 150"/>
                  <a:gd name="T88" fmla="*/ 1 w 202"/>
                  <a:gd name="T89" fmla="*/ 63 h 150"/>
                  <a:gd name="T90" fmla="*/ 0 w 202"/>
                  <a:gd name="T91" fmla="*/ 53 h 150"/>
                  <a:gd name="T92" fmla="*/ 1 w 202"/>
                  <a:gd name="T93" fmla="*/ 50 h 150"/>
                  <a:gd name="T94" fmla="*/ 9 w 202"/>
                  <a:gd name="T95" fmla="*/ 44 h 150"/>
                  <a:gd name="T96" fmla="*/ 9 w 202"/>
                  <a:gd name="T97" fmla="*/ 42 h 150"/>
                  <a:gd name="T98" fmla="*/ 7 w 202"/>
                  <a:gd name="T99" fmla="*/ 36 h 150"/>
                  <a:gd name="T100" fmla="*/ 13 w 202"/>
                  <a:gd name="T101" fmla="*/ 34 h 150"/>
                  <a:gd name="T102" fmla="*/ 13 w 202"/>
                  <a:gd name="T103" fmla="*/ 31 h 150"/>
                  <a:gd name="T104" fmla="*/ 9 w 202"/>
                  <a:gd name="T105" fmla="*/ 25 h 150"/>
                  <a:gd name="T106" fmla="*/ 7 w 202"/>
                  <a:gd name="T107" fmla="*/ 15 h 150"/>
                  <a:gd name="T108" fmla="*/ 9 w 202"/>
                  <a:gd name="T109" fmla="*/ 0 h 150"/>
                  <a:gd name="T110" fmla="*/ 41 w 202"/>
                  <a:gd name="T111" fmla="*/ 19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02" h="150">
                    <a:moveTo>
                      <a:pt x="41" y="19"/>
                    </a:moveTo>
                    <a:lnTo>
                      <a:pt x="51" y="17"/>
                    </a:lnTo>
                    <a:lnTo>
                      <a:pt x="61" y="21"/>
                    </a:lnTo>
                    <a:lnTo>
                      <a:pt x="66" y="31"/>
                    </a:lnTo>
                    <a:lnTo>
                      <a:pt x="70" y="34"/>
                    </a:lnTo>
                    <a:lnTo>
                      <a:pt x="83" y="38"/>
                    </a:lnTo>
                    <a:lnTo>
                      <a:pt x="95" y="38"/>
                    </a:lnTo>
                    <a:lnTo>
                      <a:pt x="103" y="44"/>
                    </a:lnTo>
                    <a:lnTo>
                      <a:pt x="106" y="51"/>
                    </a:lnTo>
                    <a:lnTo>
                      <a:pt x="110" y="63"/>
                    </a:lnTo>
                    <a:lnTo>
                      <a:pt x="110" y="72"/>
                    </a:lnTo>
                    <a:lnTo>
                      <a:pt x="110" y="82"/>
                    </a:lnTo>
                    <a:lnTo>
                      <a:pt x="118" y="90"/>
                    </a:lnTo>
                    <a:lnTo>
                      <a:pt x="129" y="93"/>
                    </a:lnTo>
                    <a:lnTo>
                      <a:pt x="139" y="97"/>
                    </a:lnTo>
                    <a:lnTo>
                      <a:pt x="146" y="103"/>
                    </a:lnTo>
                    <a:lnTo>
                      <a:pt x="148" y="109"/>
                    </a:lnTo>
                    <a:lnTo>
                      <a:pt x="154" y="110"/>
                    </a:lnTo>
                    <a:lnTo>
                      <a:pt x="164" y="114"/>
                    </a:lnTo>
                    <a:lnTo>
                      <a:pt x="177" y="112"/>
                    </a:lnTo>
                    <a:lnTo>
                      <a:pt x="181" y="112"/>
                    </a:lnTo>
                    <a:lnTo>
                      <a:pt x="190" y="124"/>
                    </a:lnTo>
                    <a:lnTo>
                      <a:pt x="196" y="122"/>
                    </a:lnTo>
                    <a:lnTo>
                      <a:pt x="202" y="133"/>
                    </a:lnTo>
                    <a:lnTo>
                      <a:pt x="202" y="149"/>
                    </a:lnTo>
                    <a:lnTo>
                      <a:pt x="202" y="149"/>
                    </a:lnTo>
                    <a:lnTo>
                      <a:pt x="202" y="149"/>
                    </a:lnTo>
                    <a:lnTo>
                      <a:pt x="198" y="149"/>
                    </a:lnTo>
                    <a:lnTo>
                      <a:pt x="188" y="150"/>
                    </a:lnTo>
                    <a:lnTo>
                      <a:pt x="185" y="150"/>
                    </a:lnTo>
                    <a:lnTo>
                      <a:pt x="181" y="149"/>
                    </a:lnTo>
                    <a:lnTo>
                      <a:pt x="175" y="143"/>
                    </a:lnTo>
                    <a:lnTo>
                      <a:pt x="173" y="141"/>
                    </a:lnTo>
                    <a:lnTo>
                      <a:pt x="169" y="141"/>
                    </a:lnTo>
                    <a:lnTo>
                      <a:pt x="160" y="143"/>
                    </a:lnTo>
                    <a:lnTo>
                      <a:pt x="156" y="141"/>
                    </a:lnTo>
                    <a:lnTo>
                      <a:pt x="150" y="139"/>
                    </a:lnTo>
                    <a:lnTo>
                      <a:pt x="148" y="139"/>
                    </a:lnTo>
                    <a:lnTo>
                      <a:pt x="146" y="135"/>
                    </a:lnTo>
                    <a:lnTo>
                      <a:pt x="144" y="133"/>
                    </a:lnTo>
                    <a:lnTo>
                      <a:pt x="143" y="133"/>
                    </a:lnTo>
                    <a:lnTo>
                      <a:pt x="139" y="133"/>
                    </a:lnTo>
                    <a:lnTo>
                      <a:pt x="135" y="133"/>
                    </a:lnTo>
                    <a:lnTo>
                      <a:pt x="129" y="133"/>
                    </a:lnTo>
                    <a:lnTo>
                      <a:pt x="127" y="133"/>
                    </a:lnTo>
                    <a:lnTo>
                      <a:pt x="123" y="131"/>
                    </a:lnTo>
                    <a:lnTo>
                      <a:pt x="122" y="130"/>
                    </a:lnTo>
                    <a:lnTo>
                      <a:pt x="120" y="126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0" y="124"/>
                    </a:lnTo>
                    <a:lnTo>
                      <a:pt x="110" y="124"/>
                    </a:lnTo>
                    <a:lnTo>
                      <a:pt x="108" y="124"/>
                    </a:lnTo>
                    <a:lnTo>
                      <a:pt x="106" y="122"/>
                    </a:lnTo>
                    <a:lnTo>
                      <a:pt x="104" y="120"/>
                    </a:lnTo>
                    <a:lnTo>
                      <a:pt x="101" y="116"/>
                    </a:lnTo>
                    <a:lnTo>
                      <a:pt x="97" y="112"/>
                    </a:lnTo>
                    <a:lnTo>
                      <a:pt x="87" y="109"/>
                    </a:lnTo>
                    <a:lnTo>
                      <a:pt x="83" y="107"/>
                    </a:lnTo>
                    <a:lnTo>
                      <a:pt x="82" y="101"/>
                    </a:lnTo>
                    <a:lnTo>
                      <a:pt x="83" y="90"/>
                    </a:lnTo>
                    <a:lnTo>
                      <a:pt x="82" y="84"/>
                    </a:lnTo>
                    <a:lnTo>
                      <a:pt x="80" y="84"/>
                    </a:lnTo>
                    <a:lnTo>
                      <a:pt x="74" y="88"/>
                    </a:lnTo>
                    <a:lnTo>
                      <a:pt x="72" y="90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6" y="90"/>
                    </a:lnTo>
                    <a:lnTo>
                      <a:pt x="64" y="91"/>
                    </a:lnTo>
                    <a:lnTo>
                      <a:pt x="62" y="93"/>
                    </a:lnTo>
                    <a:lnTo>
                      <a:pt x="62" y="95"/>
                    </a:lnTo>
                    <a:lnTo>
                      <a:pt x="61" y="95"/>
                    </a:lnTo>
                    <a:lnTo>
                      <a:pt x="59" y="95"/>
                    </a:lnTo>
                    <a:lnTo>
                      <a:pt x="55" y="95"/>
                    </a:lnTo>
                    <a:lnTo>
                      <a:pt x="51" y="97"/>
                    </a:lnTo>
                    <a:lnTo>
                      <a:pt x="49" y="97"/>
                    </a:lnTo>
                    <a:lnTo>
                      <a:pt x="47" y="97"/>
                    </a:lnTo>
                    <a:lnTo>
                      <a:pt x="45" y="97"/>
                    </a:lnTo>
                    <a:lnTo>
                      <a:pt x="41" y="97"/>
                    </a:lnTo>
                    <a:lnTo>
                      <a:pt x="36" y="99"/>
                    </a:lnTo>
                    <a:lnTo>
                      <a:pt x="32" y="99"/>
                    </a:lnTo>
                    <a:lnTo>
                      <a:pt x="30" y="95"/>
                    </a:lnTo>
                    <a:lnTo>
                      <a:pt x="28" y="90"/>
                    </a:lnTo>
                    <a:lnTo>
                      <a:pt x="28" y="84"/>
                    </a:lnTo>
                    <a:lnTo>
                      <a:pt x="26" y="78"/>
                    </a:lnTo>
                    <a:lnTo>
                      <a:pt x="22" y="72"/>
                    </a:lnTo>
                    <a:lnTo>
                      <a:pt x="21" y="71"/>
                    </a:lnTo>
                    <a:lnTo>
                      <a:pt x="9" y="69"/>
                    </a:lnTo>
                    <a:lnTo>
                      <a:pt x="5" y="67"/>
                    </a:lnTo>
                    <a:lnTo>
                      <a:pt x="1" y="63"/>
                    </a:lnTo>
                    <a:lnTo>
                      <a:pt x="0" y="59"/>
                    </a:lnTo>
                    <a:lnTo>
                      <a:pt x="0" y="53"/>
                    </a:lnTo>
                    <a:lnTo>
                      <a:pt x="0" y="51"/>
                    </a:lnTo>
                    <a:lnTo>
                      <a:pt x="1" y="50"/>
                    </a:lnTo>
                    <a:lnTo>
                      <a:pt x="7" y="46"/>
                    </a:lnTo>
                    <a:lnTo>
                      <a:pt x="9" y="44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7" y="38"/>
                    </a:lnTo>
                    <a:lnTo>
                      <a:pt x="7" y="36"/>
                    </a:lnTo>
                    <a:lnTo>
                      <a:pt x="9" y="34"/>
                    </a:lnTo>
                    <a:lnTo>
                      <a:pt x="13" y="34"/>
                    </a:lnTo>
                    <a:lnTo>
                      <a:pt x="13" y="32"/>
                    </a:lnTo>
                    <a:lnTo>
                      <a:pt x="13" y="31"/>
                    </a:lnTo>
                    <a:lnTo>
                      <a:pt x="13" y="29"/>
                    </a:lnTo>
                    <a:lnTo>
                      <a:pt x="9" y="25"/>
                    </a:lnTo>
                    <a:lnTo>
                      <a:pt x="7" y="21"/>
                    </a:lnTo>
                    <a:lnTo>
                      <a:pt x="7" y="15"/>
                    </a:lnTo>
                    <a:lnTo>
                      <a:pt x="11" y="4"/>
                    </a:lnTo>
                    <a:lnTo>
                      <a:pt x="9" y="0"/>
                    </a:lnTo>
                    <a:lnTo>
                      <a:pt x="30" y="2"/>
                    </a:lnTo>
                    <a:lnTo>
                      <a:pt x="41" y="1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3" name="Freeform 45">
                <a:extLst>
                  <a:ext uri="{FF2B5EF4-FFF2-40B4-BE49-F238E27FC236}">
                    <a16:creationId xmlns:a16="http://schemas.microsoft.com/office/drawing/2014/main" id="{6356D932-AA1A-4B10-A1E1-3382ABA88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5132" y="1708624"/>
                <a:ext cx="511175" cy="625475"/>
              </a:xfrm>
              <a:custGeom>
                <a:avLst/>
                <a:gdLst>
                  <a:gd name="T0" fmla="*/ 221 w 322"/>
                  <a:gd name="T1" fmla="*/ 18 h 394"/>
                  <a:gd name="T2" fmla="*/ 223 w 322"/>
                  <a:gd name="T3" fmla="*/ 23 h 394"/>
                  <a:gd name="T4" fmla="*/ 231 w 322"/>
                  <a:gd name="T5" fmla="*/ 29 h 394"/>
                  <a:gd name="T6" fmla="*/ 231 w 322"/>
                  <a:gd name="T7" fmla="*/ 40 h 394"/>
                  <a:gd name="T8" fmla="*/ 250 w 322"/>
                  <a:gd name="T9" fmla="*/ 56 h 394"/>
                  <a:gd name="T10" fmla="*/ 255 w 322"/>
                  <a:gd name="T11" fmla="*/ 65 h 394"/>
                  <a:gd name="T12" fmla="*/ 265 w 322"/>
                  <a:gd name="T13" fmla="*/ 56 h 394"/>
                  <a:gd name="T14" fmla="*/ 273 w 322"/>
                  <a:gd name="T15" fmla="*/ 78 h 394"/>
                  <a:gd name="T16" fmla="*/ 284 w 322"/>
                  <a:gd name="T17" fmla="*/ 88 h 394"/>
                  <a:gd name="T18" fmla="*/ 297 w 322"/>
                  <a:gd name="T19" fmla="*/ 67 h 394"/>
                  <a:gd name="T20" fmla="*/ 307 w 322"/>
                  <a:gd name="T21" fmla="*/ 73 h 394"/>
                  <a:gd name="T22" fmla="*/ 313 w 322"/>
                  <a:gd name="T23" fmla="*/ 73 h 394"/>
                  <a:gd name="T24" fmla="*/ 320 w 322"/>
                  <a:gd name="T25" fmla="*/ 73 h 394"/>
                  <a:gd name="T26" fmla="*/ 318 w 322"/>
                  <a:gd name="T27" fmla="*/ 90 h 394"/>
                  <a:gd name="T28" fmla="*/ 311 w 322"/>
                  <a:gd name="T29" fmla="*/ 115 h 394"/>
                  <a:gd name="T30" fmla="*/ 299 w 322"/>
                  <a:gd name="T31" fmla="*/ 134 h 394"/>
                  <a:gd name="T32" fmla="*/ 295 w 322"/>
                  <a:gd name="T33" fmla="*/ 174 h 394"/>
                  <a:gd name="T34" fmla="*/ 282 w 322"/>
                  <a:gd name="T35" fmla="*/ 200 h 394"/>
                  <a:gd name="T36" fmla="*/ 265 w 322"/>
                  <a:gd name="T37" fmla="*/ 202 h 394"/>
                  <a:gd name="T38" fmla="*/ 255 w 322"/>
                  <a:gd name="T39" fmla="*/ 212 h 394"/>
                  <a:gd name="T40" fmla="*/ 244 w 322"/>
                  <a:gd name="T41" fmla="*/ 219 h 394"/>
                  <a:gd name="T42" fmla="*/ 238 w 322"/>
                  <a:gd name="T43" fmla="*/ 227 h 394"/>
                  <a:gd name="T44" fmla="*/ 242 w 322"/>
                  <a:gd name="T45" fmla="*/ 234 h 394"/>
                  <a:gd name="T46" fmla="*/ 229 w 322"/>
                  <a:gd name="T47" fmla="*/ 240 h 394"/>
                  <a:gd name="T48" fmla="*/ 213 w 322"/>
                  <a:gd name="T49" fmla="*/ 242 h 394"/>
                  <a:gd name="T50" fmla="*/ 217 w 322"/>
                  <a:gd name="T51" fmla="*/ 274 h 394"/>
                  <a:gd name="T52" fmla="*/ 212 w 322"/>
                  <a:gd name="T53" fmla="*/ 278 h 394"/>
                  <a:gd name="T54" fmla="*/ 206 w 322"/>
                  <a:gd name="T55" fmla="*/ 292 h 394"/>
                  <a:gd name="T56" fmla="*/ 164 w 322"/>
                  <a:gd name="T57" fmla="*/ 299 h 394"/>
                  <a:gd name="T58" fmla="*/ 158 w 322"/>
                  <a:gd name="T59" fmla="*/ 303 h 394"/>
                  <a:gd name="T60" fmla="*/ 135 w 322"/>
                  <a:gd name="T61" fmla="*/ 311 h 394"/>
                  <a:gd name="T62" fmla="*/ 143 w 322"/>
                  <a:gd name="T63" fmla="*/ 331 h 394"/>
                  <a:gd name="T64" fmla="*/ 151 w 322"/>
                  <a:gd name="T65" fmla="*/ 347 h 394"/>
                  <a:gd name="T66" fmla="*/ 147 w 322"/>
                  <a:gd name="T67" fmla="*/ 358 h 394"/>
                  <a:gd name="T68" fmla="*/ 135 w 322"/>
                  <a:gd name="T69" fmla="*/ 364 h 394"/>
                  <a:gd name="T70" fmla="*/ 139 w 322"/>
                  <a:gd name="T71" fmla="*/ 379 h 394"/>
                  <a:gd name="T72" fmla="*/ 139 w 322"/>
                  <a:gd name="T73" fmla="*/ 394 h 394"/>
                  <a:gd name="T74" fmla="*/ 124 w 322"/>
                  <a:gd name="T75" fmla="*/ 341 h 394"/>
                  <a:gd name="T76" fmla="*/ 116 w 322"/>
                  <a:gd name="T77" fmla="*/ 290 h 394"/>
                  <a:gd name="T78" fmla="*/ 149 w 322"/>
                  <a:gd name="T79" fmla="*/ 267 h 394"/>
                  <a:gd name="T80" fmla="*/ 145 w 322"/>
                  <a:gd name="T81" fmla="*/ 252 h 394"/>
                  <a:gd name="T82" fmla="*/ 130 w 322"/>
                  <a:gd name="T83" fmla="*/ 242 h 394"/>
                  <a:gd name="T84" fmla="*/ 101 w 322"/>
                  <a:gd name="T85" fmla="*/ 219 h 394"/>
                  <a:gd name="T86" fmla="*/ 59 w 322"/>
                  <a:gd name="T87" fmla="*/ 202 h 394"/>
                  <a:gd name="T88" fmla="*/ 44 w 322"/>
                  <a:gd name="T89" fmla="*/ 158 h 394"/>
                  <a:gd name="T90" fmla="*/ 25 w 322"/>
                  <a:gd name="T91" fmla="*/ 109 h 394"/>
                  <a:gd name="T92" fmla="*/ 30 w 322"/>
                  <a:gd name="T93" fmla="*/ 75 h 394"/>
                  <a:gd name="T94" fmla="*/ 9 w 322"/>
                  <a:gd name="T95" fmla="*/ 84 h 394"/>
                  <a:gd name="T96" fmla="*/ 0 w 322"/>
                  <a:gd name="T97" fmla="*/ 75 h 394"/>
                  <a:gd name="T98" fmla="*/ 13 w 322"/>
                  <a:gd name="T99" fmla="*/ 75 h 394"/>
                  <a:gd name="T100" fmla="*/ 23 w 322"/>
                  <a:gd name="T101" fmla="*/ 63 h 394"/>
                  <a:gd name="T102" fmla="*/ 42 w 322"/>
                  <a:gd name="T103" fmla="*/ 61 h 394"/>
                  <a:gd name="T104" fmla="*/ 53 w 322"/>
                  <a:gd name="T105" fmla="*/ 52 h 394"/>
                  <a:gd name="T106" fmla="*/ 61 w 322"/>
                  <a:gd name="T107" fmla="*/ 42 h 394"/>
                  <a:gd name="T108" fmla="*/ 80 w 322"/>
                  <a:gd name="T109" fmla="*/ 33 h 394"/>
                  <a:gd name="T110" fmla="*/ 109 w 322"/>
                  <a:gd name="T111" fmla="*/ 19 h 394"/>
                  <a:gd name="T112" fmla="*/ 122 w 322"/>
                  <a:gd name="T113" fmla="*/ 8 h 394"/>
                  <a:gd name="T114" fmla="*/ 143 w 322"/>
                  <a:gd name="T115" fmla="*/ 12 h 394"/>
                  <a:gd name="T116" fmla="*/ 191 w 322"/>
                  <a:gd name="T117" fmla="*/ 0 h 394"/>
                  <a:gd name="T118" fmla="*/ 204 w 322"/>
                  <a:gd name="T119" fmla="*/ 1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22" h="394">
                    <a:moveTo>
                      <a:pt x="210" y="19"/>
                    </a:moveTo>
                    <a:lnTo>
                      <a:pt x="215" y="18"/>
                    </a:lnTo>
                    <a:lnTo>
                      <a:pt x="219" y="18"/>
                    </a:lnTo>
                    <a:lnTo>
                      <a:pt x="221" y="18"/>
                    </a:lnTo>
                    <a:lnTo>
                      <a:pt x="221" y="19"/>
                    </a:lnTo>
                    <a:lnTo>
                      <a:pt x="223" y="21"/>
                    </a:lnTo>
                    <a:lnTo>
                      <a:pt x="223" y="21"/>
                    </a:lnTo>
                    <a:lnTo>
                      <a:pt x="223" y="23"/>
                    </a:lnTo>
                    <a:lnTo>
                      <a:pt x="227" y="23"/>
                    </a:lnTo>
                    <a:lnTo>
                      <a:pt x="229" y="25"/>
                    </a:lnTo>
                    <a:lnTo>
                      <a:pt x="231" y="27"/>
                    </a:lnTo>
                    <a:lnTo>
                      <a:pt x="231" y="29"/>
                    </a:lnTo>
                    <a:lnTo>
                      <a:pt x="229" y="31"/>
                    </a:lnTo>
                    <a:lnTo>
                      <a:pt x="227" y="35"/>
                    </a:lnTo>
                    <a:lnTo>
                      <a:pt x="227" y="37"/>
                    </a:lnTo>
                    <a:lnTo>
                      <a:pt x="231" y="40"/>
                    </a:lnTo>
                    <a:lnTo>
                      <a:pt x="234" y="50"/>
                    </a:lnTo>
                    <a:lnTo>
                      <a:pt x="238" y="52"/>
                    </a:lnTo>
                    <a:lnTo>
                      <a:pt x="248" y="54"/>
                    </a:lnTo>
                    <a:lnTo>
                      <a:pt x="250" y="56"/>
                    </a:lnTo>
                    <a:lnTo>
                      <a:pt x="252" y="58"/>
                    </a:lnTo>
                    <a:lnTo>
                      <a:pt x="252" y="61"/>
                    </a:lnTo>
                    <a:lnTo>
                      <a:pt x="252" y="63"/>
                    </a:lnTo>
                    <a:lnTo>
                      <a:pt x="255" y="65"/>
                    </a:lnTo>
                    <a:lnTo>
                      <a:pt x="257" y="63"/>
                    </a:lnTo>
                    <a:lnTo>
                      <a:pt x="259" y="61"/>
                    </a:lnTo>
                    <a:lnTo>
                      <a:pt x="261" y="59"/>
                    </a:lnTo>
                    <a:lnTo>
                      <a:pt x="265" y="56"/>
                    </a:lnTo>
                    <a:lnTo>
                      <a:pt x="269" y="61"/>
                    </a:lnTo>
                    <a:lnTo>
                      <a:pt x="271" y="67"/>
                    </a:lnTo>
                    <a:lnTo>
                      <a:pt x="273" y="73"/>
                    </a:lnTo>
                    <a:lnTo>
                      <a:pt x="273" y="78"/>
                    </a:lnTo>
                    <a:lnTo>
                      <a:pt x="274" y="82"/>
                    </a:lnTo>
                    <a:lnTo>
                      <a:pt x="276" y="86"/>
                    </a:lnTo>
                    <a:lnTo>
                      <a:pt x="280" y="90"/>
                    </a:lnTo>
                    <a:lnTo>
                      <a:pt x="284" y="88"/>
                    </a:lnTo>
                    <a:lnTo>
                      <a:pt x="288" y="84"/>
                    </a:lnTo>
                    <a:lnTo>
                      <a:pt x="292" y="80"/>
                    </a:lnTo>
                    <a:lnTo>
                      <a:pt x="294" y="77"/>
                    </a:lnTo>
                    <a:lnTo>
                      <a:pt x="297" y="67"/>
                    </a:lnTo>
                    <a:lnTo>
                      <a:pt x="299" y="65"/>
                    </a:lnTo>
                    <a:lnTo>
                      <a:pt x="303" y="67"/>
                    </a:lnTo>
                    <a:lnTo>
                      <a:pt x="305" y="67"/>
                    </a:lnTo>
                    <a:lnTo>
                      <a:pt x="307" y="73"/>
                    </a:lnTo>
                    <a:lnTo>
                      <a:pt x="309" y="73"/>
                    </a:lnTo>
                    <a:lnTo>
                      <a:pt x="309" y="73"/>
                    </a:lnTo>
                    <a:lnTo>
                      <a:pt x="311" y="75"/>
                    </a:lnTo>
                    <a:lnTo>
                      <a:pt x="313" y="73"/>
                    </a:lnTo>
                    <a:lnTo>
                      <a:pt x="315" y="73"/>
                    </a:lnTo>
                    <a:lnTo>
                      <a:pt x="315" y="71"/>
                    </a:lnTo>
                    <a:lnTo>
                      <a:pt x="316" y="71"/>
                    </a:lnTo>
                    <a:lnTo>
                      <a:pt x="320" y="73"/>
                    </a:lnTo>
                    <a:lnTo>
                      <a:pt x="322" y="78"/>
                    </a:lnTo>
                    <a:lnTo>
                      <a:pt x="322" y="78"/>
                    </a:lnTo>
                    <a:lnTo>
                      <a:pt x="320" y="86"/>
                    </a:lnTo>
                    <a:lnTo>
                      <a:pt x="318" y="90"/>
                    </a:lnTo>
                    <a:lnTo>
                      <a:pt x="311" y="97"/>
                    </a:lnTo>
                    <a:lnTo>
                      <a:pt x="307" y="103"/>
                    </a:lnTo>
                    <a:lnTo>
                      <a:pt x="309" y="109"/>
                    </a:lnTo>
                    <a:lnTo>
                      <a:pt x="311" y="115"/>
                    </a:lnTo>
                    <a:lnTo>
                      <a:pt x="309" y="120"/>
                    </a:lnTo>
                    <a:lnTo>
                      <a:pt x="307" y="124"/>
                    </a:lnTo>
                    <a:lnTo>
                      <a:pt x="303" y="130"/>
                    </a:lnTo>
                    <a:lnTo>
                      <a:pt x="299" y="134"/>
                    </a:lnTo>
                    <a:lnTo>
                      <a:pt x="297" y="139"/>
                    </a:lnTo>
                    <a:lnTo>
                      <a:pt x="297" y="166"/>
                    </a:lnTo>
                    <a:lnTo>
                      <a:pt x="297" y="170"/>
                    </a:lnTo>
                    <a:lnTo>
                      <a:pt x="295" y="174"/>
                    </a:lnTo>
                    <a:lnTo>
                      <a:pt x="288" y="181"/>
                    </a:lnTo>
                    <a:lnTo>
                      <a:pt x="286" y="185"/>
                    </a:lnTo>
                    <a:lnTo>
                      <a:pt x="284" y="191"/>
                    </a:lnTo>
                    <a:lnTo>
                      <a:pt x="282" y="200"/>
                    </a:lnTo>
                    <a:lnTo>
                      <a:pt x="280" y="202"/>
                    </a:lnTo>
                    <a:lnTo>
                      <a:pt x="274" y="204"/>
                    </a:lnTo>
                    <a:lnTo>
                      <a:pt x="269" y="202"/>
                    </a:lnTo>
                    <a:lnTo>
                      <a:pt x="265" y="202"/>
                    </a:lnTo>
                    <a:lnTo>
                      <a:pt x="259" y="202"/>
                    </a:lnTo>
                    <a:lnTo>
                      <a:pt x="257" y="204"/>
                    </a:lnTo>
                    <a:lnTo>
                      <a:pt x="255" y="208"/>
                    </a:lnTo>
                    <a:lnTo>
                      <a:pt x="255" y="212"/>
                    </a:lnTo>
                    <a:lnTo>
                      <a:pt x="254" y="214"/>
                    </a:lnTo>
                    <a:lnTo>
                      <a:pt x="252" y="217"/>
                    </a:lnTo>
                    <a:lnTo>
                      <a:pt x="250" y="217"/>
                    </a:lnTo>
                    <a:lnTo>
                      <a:pt x="244" y="219"/>
                    </a:lnTo>
                    <a:lnTo>
                      <a:pt x="242" y="219"/>
                    </a:lnTo>
                    <a:lnTo>
                      <a:pt x="240" y="221"/>
                    </a:lnTo>
                    <a:lnTo>
                      <a:pt x="238" y="223"/>
                    </a:lnTo>
                    <a:lnTo>
                      <a:pt x="238" y="227"/>
                    </a:lnTo>
                    <a:lnTo>
                      <a:pt x="240" y="229"/>
                    </a:lnTo>
                    <a:lnTo>
                      <a:pt x="242" y="231"/>
                    </a:lnTo>
                    <a:lnTo>
                      <a:pt x="242" y="233"/>
                    </a:lnTo>
                    <a:lnTo>
                      <a:pt x="242" y="234"/>
                    </a:lnTo>
                    <a:lnTo>
                      <a:pt x="240" y="240"/>
                    </a:lnTo>
                    <a:lnTo>
                      <a:pt x="240" y="240"/>
                    </a:lnTo>
                    <a:lnTo>
                      <a:pt x="234" y="240"/>
                    </a:lnTo>
                    <a:lnTo>
                      <a:pt x="229" y="240"/>
                    </a:lnTo>
                    <a:lnTo>
                      <a:pt x="219" y="236"/>
                    </a:lnTo>
                    <a:lnTo>
                      <a:pt x="215" y="238"/>
                    </a:lnTo>
                    <a:lnTo>
                      <a:pt x="213" y="240"/>
                    </a:lnTo>
                    <a:lnTo>
                      <a:pt x="213" y="242"/>
                    </a:lnTo>
                    <a:lnTo>
                      <a:pt x="215" y="250"/>
                    </a:lnTo>
                    <a:lnTo>
                      <a:pt x="219" y="265"/>
                    </a:lnTo>
                    <a:lnTo>
                      <a:pt x="219" y="271"/>
                    </a:lnTo>
                    <a:lnTo>
                      <a:pt x="217" y="274"/>
                    </a:lnTo>
                    <a:lnTo>
                      <a:pt x="215" y="274"/>
                    </a:lnTo>
                    <a:lnTo>
                      <a:pt x="213" y="274"/>
                    </a:lnTo>
                    <a:lnTo>
                      <a:pt x="212" y="274"/>
                    </a:lnTo>
                    <a:lnTo>
                      <a:pt x="212" y="278"/>
                    </a:lnTo>
                    <a:lnTo>
                      <a:pt x="213" y="284"/>
                    </a:lnTo>
                    <a:lnTo>
                      <a:pt x="212" y="286"/>
                    </a:lnTo>
                    <a:lnTo>
                      <a:pt x="210" y="290"/>
                    </a:lnTo>
                    <a:lnTo>
                      <a:pt x="206" y="292"/>
                    </a:lnTo>
                    <a:lnTo>
                      <a:pt x="200" y="299"/>
                    </a:lnTo>
                    <a:lnTo>
                      <a:pt x="198" y="301"/>
                    </a:lnTo>
                    <a:lnTo>
                      <a:pt x="168" y="297"/>
                    </a:lnTo>
                    <a:lnTo>
                      <a:pt x="164" y="299"/>
                    </a:lnTo>
                    <a:lnTo>
                      <a:pt x="162" y="299"/>
                    </a:lnTo>
                    <a:lnTo>
                      <a:pt x="160" y="303"/>
                    </a:lnTo>
                    <a:lnTo>
                      <a:pt x="158" y="303"/>
                    </a:lnTo>
                    <a:lnTo>
                      <a:pt x="158" y="303"/>
                    </a:lnTo>
                    <a:lnTo>
                      <a:pt x="154" y="301"/>
                    </a:lnTo>
                    <a:lnTo>
                      <a:pt x="143" y="301"/>
                    </a:lnTo>
                    <a:lnTo>
                      <a:pt x="137" y="305"/>
                    </a:lnTo>
                    <a:lnTo>
                      <a:pt x="135" y="311"/>
                    </a:lnTo>
                    <a:lnTo>
                      <a:pt x="137" y="316"/>
                    </a:lnTo>
                    <a:lnTo>
                      <a:pt x="139" y="322"/>
                    </a:lnTo>
                    <a:lnTo>
                      <a:pt x="141" y="328"/>
                    </a:lnTo>
                    <a:lnTo>
                      <a:pt x="143" y="331"/>
                    </a:lnTo>
                    <a:lnTo>
                      <a:pt x="147" y="337"/>
                    </a:lnTo>
                    <a:lnTo>
                      <a:pt x="149" y="339"/>
                    </a:lnTo>
                    <a:lnTo>
                      <a:pt x="151" y="343"/>
                    </a:lnTo>
                    <a:lnTo>
                      <a:pt x="151" y="347"/>
                    </a:lnTo>
                    <a:lnTo>
                      <a:pt x="152" y="354"/>
                    </a:lnTo>
                    <a:lnTo>
                      <a:pt x="152" y="358"/>
                    </a:lnTo>
                    <a:lnTo>
                      <a:pt x="151" y="360"/>
                    </a:lnTo>
                    <a:lnTo>
                      <a:pt x="147" y="358"/>
                    </a:lnTo>
                    <a:lnTo>
                      <a:pt x="143" y="358"/>
                    </a:lnTo>
                    <a:lnTo>
                      <a:pt x="139" y="358"/>
                    </a:lnTo>
                    <a:lnTo>
                      <a:pt x="137" y="360"/>
                    </a:lnTo>
                    <a:lnTo>
                      <a:pt x="135" y="364"/>
                    </a:lnTo>
                    <a:lnTo>
                      <a:pt x="135" y="368"/>
                    </a:lnTo>
                    <a:lnTo>
                      <a:pt x="139" y="373"/>
                    </a:lnTo>
                    <a:lnTo>
                      <a:pt x="139" y="379"/>
                    </a:lnTo>
                    <a:lnTo>
                      <a:pt x="139" y="379"/>
                    </a:lnTo>
                    <a:lnTo>
                      <a:pt x="139" y="385"/>
                    </a:lnTo>
                    <a:lnTo>
                      <a:pt x="139" y="389"/>
                    </a:lnTo>
                    <a:lnTo>
                      <a:pt x="139" y="392"/>
                    </a:lnTo>
                    <a:lnTo>
                      <a:pt x="139" y="394"/>
                    </a:lnTo>
                    <a:lnTo>
                      <a:pt x="128" y="383"/>
                    </a:lnTo>
                    <a:lnTo>
                      <a:pt x="126" y="379"/>
                    </a:lnTo>
                    <a:lnTo>
                      <a:pt x="122" y="370"/>
                    </a:lnTo>
                    <a:lnTo>
                      <a:pt x="124" y="341"/>
                    </a:lnTo>
                    <a:lnTo>
                      <a:pt x="124" y="331"/>
                    </a:lnTo>
                    <a:lnTo>
                      <a:pt x="122" y="322"/>
                    </a:lnTo>
                    <a:lnTo>
                      <a:pt x="114" y="303"/>
                    </a:lnTo>
                    <a:lnTo>
                      <a:pt x="116" y="290"/>
                    </a:lnTo>
                    <a:lnTo>
                      <a:pt x="126" y="284"/>
                    </a:lnTo>
                    <a:lnTo>
                      <a:pt x="137" y="278"/>
                    </a:lnTo>
                    <a:lnTo>
                      <a:pt x="147" y="269"/>
                    </a:lnTo>
                    <a:lnTo>
                      <a:pt x="149" y="267"/>
                    </a:lnTo>
                    <a:lnTo>
                      <a:pt x="149" y="263"/>
                    </a:lnTo>
                    <a:lnTo>
                      <a:pt x="149" y="259"/>
                    </a:lnTo>
                    <a:lnTo>
                      <a:pt x="147" y="255"/>
                    </a:lnTo>
                    <a:lnTo>
                      <a:pt x="145" y="252"/>
                    </a:lnTo>
                    <a:lnTo>
                      <a:pt x="145" y="250"/>
                    </a:lnTo>
                    <a:lnTo>
                      <a:pt x="141" y="246"/>
                    </a:lnTo>
                    <a:lnTo>
                      <a:pt x="135" y="244"/>
                    </a:lnTo>
                    <a:lnTo>
                      <a:pt x="130" y="242"/>
                    </a:lnTo>
                    <a:lnTo>
                      <a:pt x="126" y="240"/>
                    </a:lnTo>
                    <a:lnTo>
                      <a:pt x="118" y="231"/>
                    </a:lnTo>
                    <a:lnTo>
                      <a:pt x="109" y="223"/>
                    </a:lnTo>
                    <a:lnTo>
                      <a:pt x="101" y="219"/>
                    </a:lnTo>
                    <a:lnTo>
                      <a:pt x="72" y="215"/>
                    </a:lnTo>
                    <a:lnTo>
                      <a:pt x="67" y="212"/>
                    </a:lnTo>
                    <a:lnTo>
                      <a:pt x="63" y="208"/>
                    </a:lnTo>
                    <a:lnTo>
                      <a:pt x="59" y="202"/>
                    </a:lnTo>
                    <a:lnTo>
                      <a:pt x="51" y="174"/>
                    </a:lnTo>
                    <a:lnTo>
                      <a:pt x="49" y="172"/>
                    </a:lnTo>
                    <a:lnTo>
                      <a:pt x="46" y="164"/>
                    </a:lnTo>
                    <a:lnTo>
                      <a:pt x="44" y="158"/>
                    </a:lnTo>
                    <a:lnTo>
                      <a:pt x="42" y="147"/>
                    </a:lnTo>
                    <a:lnTo>
                      <a:pt x="42" y="141"/>
                    </a:lnTo>
                    <a:lnTo>
                      <a:pt x="29" y="120"/>
                    </a:lnTo>
                    <a:lnTo>
                      <a:pt x="25" y="109"/>
                    </a:lnTo>
                    <a:lnTo>
                      <a:pt x="27" y="97"/>
                    </a:lnTo>
                    <a:lnTo>
                      <a:pt x="30" y="90"/>
                    </a:lnTo>
                    <a:lnTo>
                      <a:pt x="32" y="80"/>
                    </a:lnTo>
                    <a:lnTo>
                      <a:pt x="30" y="75"/>
                    </a:lnTo>
                    <a:lnTo>
                      <a:pt x="23" y="75"/>
                    </a:lnTo>
                    <a:lnTo>
                      <a:pt x="19" y="77"/>
                    </a:lnTo>
                    <a:lnTo>
                      <a:pt x="13" y="82"/>
                    </a:lnTo>
                    <a:lnTo>
                      <a:pt x="9" y="84"/>
                    </a:lnTo>
                    <a:lnTo>
                      <a:pt x="8" y="84"/>
                    </a:lnTo>
                    <a:lnTo>
                      <a:pt x="4" y="80"/>
                    </a:lnTo>
                    <a:lnTo>
                      <a:pt x="2" y="78"/>
                    </a:lnTo>
                    <a:lnTo>
                      <a:pt x="0" y="75"/>
                    </a:lnTo>
                    <a:lnTo>
                      <a:pt x="4" y="75"/>
                    </a:lnTo>
                    <a:lnTo>
                      <a:pt x="8" y="77"/>
                    </a:lnTo>
                    <a:lnTo>
                      <a:pt x="11" y="77"/>
                    </a:lnTo>
                    <a:lnTo>
                      <a:pt x="13" y="75"/>
                    </a:lnTo>
                    <a:lnTo>
                      <a:pt x="17" y="71"/>
                    </a:lnTo>
                    <a:lnTo>
                      <a:pt x="17" y="67"/>
                    </a:lnTo>
                    <a:lnTo>
                      <a:pt x="19" y="63"/>
                    </a:lnTo>
                    <a:lnTo>
                      <a:pt x="23" y="63"/>
                    </a:lnTo>
                    <a:lnTo>
                      <a:pt x="34" y="67"/>
                    </a:lnTo>
                    <a:lnTo>
                      <a:pt x="38" y="67"/>
                    </a:lnTo>
                    <a:lnTo>
                      <a:pt x="40" y="67"/>
                    </a:lnTo>
                    <a:lnTo>
                      <a:pt x="42" y="61"/>
                    </a:lnTo>
                    <a:lnTo>
                      <a:pt x="42" y="58"/>
                    </a:lnTo>
                    <a:lnTo>
                      <a:pt x="46" y="54"/>
                    </a:lnTo>
                    <a:lnTo>
                      <a:pt x="48" y="52"/>
                    </a:lnTo>
                    <a:lnTo>
                      <a:pt x="53" y="52"/>
                    </a:lnTo>
                    <a:lnTo>
                      <a:pt x="55" y="50"/>
                    </a:lnTo>
                    <a:lnTo>
                      <a:pt x="57" y="46"/>
                    </a:lnTo>
                    <a:lnTo>
                      <a:pt x="59" y="44"/>
                    </a:lnTo>
                    <a:lnTo>
                      <a:pt x="61" y="42"/>
                    </a:lnTo>
                    <a:lnTo>
                      <a:pt x="67" y="42"/>
                    </a:lnTo>
                    <a:lnTo>
                      <a:pt x="70" y="38"/>
                    </a:lnTo>
                    <a:lnTo>
                      <a:pt x="74" y="37"/>
                    </a:lnTo>
                    <a:lnTo>
                      <a:pt x="80" y="33"/>
                    </a:lnTo>
                    <a:lnTo>
                      <a:pt x="90" y="33"/>
                    </a:lnTo>
                    <a:lnTo>
                      <a:pt x="93" y="31"/>
                    </a:lnTo>
                    <a:lnTo>
                      <a:pt x="107" y="21"/>
                    </a:lnTo>
                    <a:lnTo>
                      <a:pt x="109" y="19"/>
                    </a:lnTo>
                    <a:lnTo>
                      <a:pt x="111" y="12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22" y="8"/>
                    </a:lnTo>
                    <a:lnTo>
                      <a:pt x="126" y="10"/>
                    </a:lnTo>
                    <a:lnTo>
                      <a:pt x="135" y="12"/>
                    </a:lnTo>
                    <a:lnTo>
                      <a:pt x="139" y="14"/>
                    </a:lnTo>
                    <a:lnTo>
                      <a:pt x="143" y="12"/>
                    </a:lnTo>
                    <a:lnTo>
                      <a:pt x="158" y="8"/>
                    </a:lnTo>
                    <a:lnTo>
                      <a:pt x="173" y="6"/>
                    </a:lnTo>
                    <a:lnTo>
                      <a:pt x="187" y="0"/>
                    </a:lnTo>
                    <a:lnTo>
                      <a:pt x="191" y="0"/>
                    </a:lnTo>
                    <a:lnTo>
                      <a:pt x="196" y="0"/>
                    </a:lnTo>
                    <a:lnTo>
                      <a:pt x="200" y="2"/>
                    </a:lnTo>
                    <a:lnTo>
                      <a:pt x="204" y="6"/>
                    </a:lnTo>
                    <a:lnTo>
                      <a:pt x="204" y="10"/>
                    </a:lnTo>
                    <a:lnTo>
                      <a:pt x="204" y="16"/>
                    </a:lnTo>
                    <a:lnTo>
                      <a:pt x="204" y="19"/>
                    </a:lnTo>
                    <a:lnTo>
                      <a:pt x="210" y="1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4" name="Freeform 46">
                <a:extLst>
                  <a:ext uri="{FF2B5EF4-FFF2-40B4-BE49-F238E27FC236}">
                    <a16:creationId xmlns:a16="http://schemas.microsoft.com/office/drawing/2014/main" id="{3C42B8A8-DA77-412D-A053-E12C090366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1032" y="1443511"/>
                <a:ext cx="903288" cy="625475"/>
              </a:xfrm>
              <a:custGeom>
                <a:avLst/>
                <a:gdLst>
                  <a:gd name="T0" fmla="*/ 302 w 569"/>
                  <a:gd name="T1" fmla="*/ 13 h 394"/>
                  <a:gd name="T2" fmla="*/ 351 w 569"/>
                  <a:gd name="T3" fmla="*/ 19 h 394"/>
                  <a:gd name="T4" fmla="*/ 376 w 569"/>
                  <a:gd name="T5" fmla="*/ 49 h 394"/>
                  <a:gd name="T6" fmla="*/ 435 w 569"/>
                  <a:gd name="T7" fmla="*/ 95 h 394"/>
                  <a:gd name="T8" fmla="*/ 433 w 569"/>
                  <a:gd name="T9" fmla="*/ 131 h 394"/>
                  <a:gd name="T10" fmla="*/ 427 w 569"/>
                  <a:gd name="T11" fmla="*/ 158 h 394"/>
                  <a:gd name="T12" fmla="*/ 462 w 569"/>
                  <a:gd name="T13" fmla="*/ 194 h 394"/>
                  <a:gd name="T14" fmla="*/ 488 w 569"/>
                  <a:gd name="T15" fmla="*/ 188 h 394"/>
                  <a:gd name="T16" fmla="*/ 508 w 569"/>
                  <a:gd name="T17" fmla="*/ 196 h 394"/>
                  <a:gd name="T18" fmla="*/ 569 w 569"/>
                  <a:gd name="T19" fmla="*/ 301 h 394"/>
                  <a:gd name="T20" fmla="*/ 551 w 569"/>
                  <a:gd name="T21" fmla="*/ 329 h 394"/>
                  <a:gd name="T22" fmla="*/ 519 w 569"/>
                  <a:gd name="T23" fmla="*/ 358 h 394"/>
                  <a:gd name="T24" fmla="*/ 445 w 569"/>
                  <a:gd name="T25" fmla="*/ 365 h 394"/>
                  <a:gd name="T26" fmla="*/ 410 w 569"/>
                  <a:gd name="T27" fmla="*/ 392 h 394"/>
                  <a:gd name="T28" fmla="*/ 340 w 569"/>
                  <a:gd name="T29" fmla="*/ 373 h 394"/>
                  <a:gd name="T30" fmla="*/ 332 w 569"/>
                  <a:gd name="T31" fmla="*/ 339 h 394"/>
                  <a:gd name="T32" fmla="*/ 309 w 569"/>
                  <a:gd name="T33" fmla="*/ 346 h 394"/>
                  <a:gd name="T34" fmla="*/ 252 w 569"/>
                  <a:gd name="T35" fmla="*/ 301 h 394"/>
                  <a:gd name="T36" fmla="*/ 204 w 569"/>
                  <a:gd name="T37" fmla="*/ 303 h 394"/>
                  <a:gd name="T38" fmla="*/ 202 w 569"/>
                  <a:gd name="T39" fmla="*/ 301 h 394"/>
                  <a:gd name="T40" fmla="*/ 201 w 569"/>
                  <a:gd name="T41" fmla="*/ 295 h 394"/>
                  <a:gd name="T42" fmla="*/ 191 w 569"/>
                  <a:gd name="T43" fmla="*/ 295 h 394"/>
                  <a:gd name="T44" fmla="*/ 187 w 569"/>
                  <a:gd name="T45" fmla="*/ 291 h 394"/>
                  <a:gd name="T46" fmla="*/ 181 w 569"/>
                  <a:gd name="T47" fmla="*/ 291 h 394"/>
                  <a:gd name="T48" fmla="*/ 170 w 569"/>
                  <a:gd name="T49" fmla="*/ 285 h 394"/>
                  <a:gd name="T50" fmla="*/ 159 w 569"/>
                  <a:gd name="T51" fmla="*/ 282 h 394"/>
                  <a:gd name="T52" fmla="*/ 153 w 569"/>
                  <a:gd name="T53" fmla="*/ 285 h 394"/>
                  <a:gd name="T54" fmla="*/ 151 w 569"/>
                  <a:gd name="T55" fmla="*/ 278 h 394"/>
                  <a:gd name="T56" fmla="*/ 149 w 569"/>
                  <a:gd name="T57" fmla="*/ 261 h 394"/>
                  <a:gd name="T58" fmla="*/ 160 w 569"/>
                  <a:gd name="T59" fmla="*/ 249 h 394"/>
                  <a:gd name="T60" fmla="*/ 157 w 569"/>
                  <a:gd name="T61" fmla="*/ 236 h 394"/>
                  <a:gd name="T62" fmla="*/ 120 w 569"/>
                  <a:gd name="T63" fmla="*/ 232 h 394"/>
                  <a:gd name="T64" fmla="*/ 111 w 569"/>
                  <a:gd name="T65" fmla="*/ 228 h 394"/>
                  <a:gd name="T66" fmla="*/ 101 w 569"/>
                  <a:gd name="T67" fmla="*/ 226 h 394"/>
                  <a:gd name="T68" fmla="*/ 98 w 569"/>
                  <a:gd name="T69" fmla="*/ 223 h 394"/>
                  <a:gd name="T70" fmla="*/ 77 w 569"/>
                  <a:gd name="T71" fmla="*/ 204 h 394"/>
                  <a:gd name="T72" fmla="*/ 80 w 569"/>
                  <a:gd name="T73" fmla="*/ 190 h 394"/>
                  <a:gd name="T74" fmla="*/ 73 w 569"/>
                  <a:gd name="T75" fmla="*/ 183 h 394"/>
                  <a:gd name="T76" fmla="*/ 67 w 569"/>
                  <a:gd name="T77" fmla="*/ 186 h 394"/>
                  <a:gd name="T78" fmla="*/ 59 w 569"/>
                  <a:gd name="T79" fmla="*/ 183 h 394"/>
                  <a:gd name="T80" fmla="*/ 35 w 569"/>
                  <a:gd name="T81" fmla="*/ 188 h 394"/>
                  <a:gd name="T82" fmla="*/ 10 w 569"/>
                  <a:gd name="T83" fmla="*/ 158 h 394"/>
                  <a:gd name="T84" fmla="*/ 2 w 569"/>
                  <a:gd name="T85" fmla="*/ 146 h 394"/>
                  <a:gd name="T86" fmla="*/ 6 w 569"/>
                  <a:gd name="T87" fmla="*/ 127 h 394"/>
                  <a:gd name="T88" fmla="*/ 17 w 569"/>
                  <a:gd name="T89" fmla="*/ 120 h 394"/>
                  <a:gd name="T90" fmla="*/ 35 w 569"/>
                  <a:gd name="T91" fmla="*/ 112 h 394"/>
                  <a:gd name="T92" fmla="*/ 48 w 569"/>
                  <a:gd name="T93" fmla="*/ 95 h 394"/>
                  <a:gd name="T94" fmla="*/ 59 w 569"/>
                  <a:gd name="T95" fmla="*/ 88 h 394"/>
                  <a:gd name="T96" fmla="*/ 69 w 569"/>
                  <a:gd name="T97" fmla="*/ 80 h 394"/>
                  <a:gd name="T98" fmla="*/ 71 w 569"/>
                  <a:gd name="T99" fmla="*/ 63 h 394"/>
                  <a:gd name="T100" fmla="*/ 82 w 569"/>
                  <a:gd name="T101" fmla="*/ 49 h 394"/>
                  <a:gd name="T102" fmla="*/ 96 w 569"/>
                  <a:gd name="T103" fmla="*/ 51 h 394"/>
                  <a:gd name="T104" fmla="*/ 132 w 569"/>
                  <a:gd name="T105" fmla="*/ 49 h 394"/>
                  <a:gd name="T106" fmla="*/ 138 w 569"/>
                  <a:gd name="T107" fmla="*/ 53 h 394"/>
                  <a:gd name="T108" fmla="*/ 149 w 569"/>
                  <a:gd name="T109" fmla="*/ 53 h 394"/>
                  <a:gd name="T110" fmla="*/ 162 w 569"/>
                  <a:gd name="T111" fmla="*/ 49 h 394"/>
                  <a:gd name="T112" fmla="*/ 172 w 569"/>
                  <a:gd name="T113" fmla="*/ 49 h 394"/>
                  <a:gd name="T114" fmla="*/ 170 w 569"/>
                  <a:gd name="T115" fmla="*/ 42 h 394"/>
                  <a:gd name="T116" fmla="*/ 153 w 569"/>
                  <a:gd name="T117" fmla="*/ 32 h 394"/>
                  <a:gd name="T118" fmla="*/ 159 w 569"/>
                  <a:gd name="T119" fmla="*/ 25 h 394"/>
                  <a:gd name="T120" fmla="*/ 201 w 569"/>
                  <a:gd name="T121" fmla="*/ 25 h 394"/>
                  <a:gd name="T122" fmla="*/ 246 w 569"/>
                  <a:gd name="T123" fmla="*/ 8 h 394"/>
                  <a:gd name="T124" fmla="*/ 256 w 569"/>
                  <a:gd name="T125" fmla="*/ 4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69" h="394">
                    <a:moveTo>
                      <a:pt x="290" y="10"/>
                    </a:moveTo>
                    <a:lnTo>
                      <a:pt x="290" y="10"/>
                    </a:lnTo>
                    <a:lnTo>
                      <a:pt x="294" y="13"/>
                    </a:lnTo>
                    <a:lnTo>
                      <a:pt x="296" y="15"/>
                    </a:lnTo>
                    <a:lnTo>
                      <a:pt x="296" y="21"/>
                    </a:lnTo>
                    <a:lnTo>
                      <a:pt x="296" y="23"/>
                    </a:lnTo>
                    <a:lnTo>
                      <a:pt x="298" y="21"/>
                    </a:lnTo>
                    <a:lnTo>
                      <a:pt x="300" y="21"/>
                    </a:lnTo>
                    <a:lnTo>
                      <a:pt x="300" y="15"/>
                    </a:lnTo>
                    <a:lnTo>
                      <a:pt x="302" y="13"/>
                    </a:lnTo>
                    <a:lnTo>
                      <a:pt x="303" y="13"/>
                    </a:lnTo>
                    <a:lnTo>
                      <a:pt x="305" y="11"/>
                    </a:lnTo>
                    <a:lnTo>
                      <a:pt x="309" y="10"/>
                    </a:lnTo>
                    <a:lnTo>
                      <a:pt x="315" y="10"/>
                    </a:lnTo>
                    <a:lnTo>
                      <a:pt x="324" y="10"/>
                    </a:lnTo>
                    <a:lnTo>
                      <a:pt x="326" y="10"/>
                    </a:lnTo>
                    <a:lnTo>
                      <a:pt x="328" y="10"/>
                    </a:lnTo>
                    <a:lnTo>
                      <a:pt x="332" y="13"/>
                    </a:lnTo>
                    <a:lnTo>
                      <a:pt x="338" y="15"/>
                    </a:lnTo>
                    <a:lnTo>
                      <a:pt x="351" y="19"/>
                    </a:lnTo>
                    <a:lnTo>
                      <a:pt x="357" y="21"/>
                    </a:lnTo>
                    <a:lnTo>
                      <a:pt x="361" y="25"/>
                    </a:lnTo>
                    <a:lnTo>
                      <a:pt x="363" y="29"/>
                    </a:lnTo>
                    <a:lnTo>
                      <a:pt x="363" y="34"/>
                    </a:lnTo>
                    <a:lnTo>
                      <a:pt x="363" y="42"/>
                    </a:lnTo>
                    <a:lnTo>
                      <a:pt x="365" y="48"/>
                    </a:lnTo>
                    <a:lnTo>
                      <a:pt x="366" y="51"/>
                    </a:lnTo>
                    <a:lnTo>
                      <a:pt x="374" y="51"/>
                    </a:lnTo>
                    <a:lnTo>
                      <a:pt x="374" y="51"/>
                    </a:lnTo>
                    <a:lnTo>
                      <a:pt x="376" y="49"/>
                    </a:lnTo>
                    <a:lnTo>
                      <a:pt x="376" y="48"/>
                    </a:lnTo>
                    <a:lnTo>
                      <a:pt x="384" y="44"/>
                    </a:lnTo>
                    <a:lnTo>
                      <a:pt x="393" y="46"/>
                    </a:lnTo>
                    <a:lnTo>
                      <a:pt x="405" y="51"/>
                    </a:lnTo>
                    <a:lnTo>
                      <a:pt x="412" y="57"/>
                    </a:lnTo>
                    <a:lnTo>
                      <a:pt x="420" y="63"/>
                    </a:lnTo>
                    <a:lnTo>
                      <a:pt x="422" y="67"/>
                    </a:lnTo>
                    <a:lnTo>
                      <a:pt x="435" y="91"/>
                    </a:lnTo>
                    <a:lnTo>
                      <a:pt x="435" y="91"/>
                    </a:lnTo>
                    <a:lnTo>
                      <a:pt x="435" y="95"/>
                    </a:lnTo>
                    <a:lnTo>
                      <a:pt x="437" y="99"/>
                    </a:lnTo>
                    <a:lnTo>
                      <a:pt x="433" y="110"/>
                    </a:lnTo>
                    <a:lnTo>
                      <a:pt x="433" y="116"/>
                    </a:lnTo>
                    <a:lnTo>
                      <a:pt x="435" y="120"/>
                    </a:lnTo>
                    <a:lnTo>
                      <a:pt x="439" y="124"/>
                    </a:lnTo>
                    <a:lnTo>
                      <a:pt x="439" y="126"/>
                    </a:lnTo>
                    <a:lnTo>
                      <a:pt x="439" y="127"/>
                    </a:lnTo>
                    <a:lnTo>
                      <a:pt x="439" y="129"/>
                    </a:lnTo>
                    <a:lnTo>
                      <a:pt x="435" y="129"/>
                    </a:lnTo>
                    <a:lnTo>
                      <a:pt x="433" y="131"/>
                    </a:lnTo>
                    <a:lnTo>
                      <a:pt x="433" y="133"/>
                    </a:lnTo>
                    <a:lnTo>
                      <a:pt x="435" y="137"/>
                    </a:lnTo>
                    <a:lnTo>
                      <a:pt x="435" y="139"/>
                    </a:lnTo>
                    <a:lnTo>
                      <a:pt x="435" y="139"/>
                    </a:lnTo>
                    <a:lnTo>
                      <a:pt x="433" y="141"/>
                    </a:lnTo>
                    <a:lnTo>
                      <a:pt x="427" y="145"/>
                    </a:lnTo>
                    <a:lnTo>
                      <a:pt x="426" y="146"/>
                    </a:lnTo>
                    <a:lnTo>
                      <a:pt x="426" y="148"/>
                    </a:lnTo>
                    <a:lnTo>
                      <a:pt x="426" y="154"/>
                    </a:lnTo>
                    <a:lnTo>
                      <a:pt x="427" y="158"/>
                    </a:lnTo>
                    <a:lnTo>
                      <a:pt x="431" y="162"/>
                    </a:lnTo>
                    <a:lnTo>
                      <a:pt x="435" y="164"/>
                    </a:lnTo>
                    <a:lnTo>
                      <a:pt x="447" y="166"/>
                    </a:lnTo>
                    <a:lnTo>
                      <a:pt x="448" y="167"/>
                    </a:lnTo>
                    <a:lnTo>
                      <a:pt x="452" y="173"/>
                    </a:lnTo>
                    <a:lnTo>
                      <a:pt x="454" y="179"/>
                    </a:lnTo>
                    <a:lnTo>
                      <a:pt x="454" y="185"/>
                    </a:lnTo>
                    <a:lnTo>
                      <a:pt x="456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7" y="192"/>
                    </a:lnTo>
                    <a:lnTo>
                      <a:pt x="471" y="192"/>
                    </a:lnTo>
                    <a:lnTo>
                      <a:pt x="473" y="192"/>
                    </a:lnTo>
                    <a:lnTo>
                      <a:pt x="475" y="192"/>
                    </a:lnTo>
                    <a:lnTo>
                      <a:pt x="477" y="192"/>
                    </a:lnTo>
                    <a:lnTo>
                      <a:pt x="481" y="190"/>
                    </a:lnTo>
                    <a:lnTo>
                      <a:pt x="485" y="190"/>
                    </a:lnTo>
                    <a:lnTo>
                      <a:pt x="487" y="190"/>
                    </a:lnTo>
                    <a:lnTo>
                      <a:pt x="488" y="190"/>
                    </a:lnTo>
                    <a:lnTo>
                      <a:pt x="488" y="188"/>
                    </a:lnTo>
                    <a:lnTo>
                      <a:pt x="490" y="186"/>
                    </a:lnTo>
                    <a:lnTo>
                      <a:pt x="492" y="185"/>
                    </a:lnTo>
                    <a:lnTo>
                      <a:pt x="494" y="185"/>
                    </a:lnTo>
                    <a:lnTo>
                      <a:pt x="494" y="185"/>
                    </a:lnTo>
                    <a:lnTo>
                      <a:pt x="498" y="185"/>
                    </a:lnTo>
                    <a:lnTo>
                      <a:pt x="500" y="183"/>
                    </a:lnTo>
                    <a:lnTo>
                      <a:pt x="506" y="179"/>
                    </a:lnTo>
                    <a:lnTo>
                      <a:pt x="508" y="179"/>
                    </a:lnTo>
                    <a:lnTo>
                      <a:pt x="509" y="185"/>
                    </a:lnTo>
                    <a:lnTo>
                      <a:pt x="508" y="196"/>
                    </a:lnTo>
                    <a:lnTo>
                      <a:pt x="509" y="202"/>
                    </a:lnTo>
                    <a:lnTo>
                      <a:pt x="513" y="204"/>
                    </a:lnTo>
                    <a:lnTo>
                      <a:pt x="523" y="207"/>
                    </a:lnTo>
                    <a:lnTo>
                      <a:pt x="527" y="211"/>
                    </a:lnTo>
                    <a:lnTo>
                      <a:pt x="530" y="215"/>
                    </a:lnTo>
                    <a:lnTo>
                      <a:pt x="532" y="217"/>
                    </a:lnTo>
                    <a:lnTo>
                      <a:pt x="534" y="219"/>
                    </a:lnTo>
                    <a:lnTo>
                      <a:pt x="536" y="219"/>
                    </a:lnTo>
                    <a:lnTo>
                      <a:pt x="553" y="259"/>
                    </a:lnTo>
                    <a:lnTo>
                      <a:pt x="569" y="301"/>
                    </a:lnTo>
                    <a:lnTo>
                      <a:pt x="569" y="301"/>
                    </a:lnTo>
                    <a:lnTo>
                      <a:pt x="567" y="304"/>
                    </a:lnTo>
                    <a:lnTo>
                      <a:pt x="567" y="308"/>
                    </a:lnTo>
                    <a:lnTo>
                      <a:pt x="569" y="312"/>
                    </a:lnTo>
                    <a:lnTo>
                      <a:pt x="567" y="316"/>
                    </a:lnTo>
                    <a:lnTo>
                      <a:pt x="565" y="320"/>
                    </a:lnTo>
                    <a:lnTo>
                      <a:pt x="557" y="325"/>
                    </a:lnTo>
                    <a:lnTo>
                      <a:pt x="555" y="327"/>
                    </a:lnTo>
                    <a:lnTo>
                      <a:pt x="553" y="329"/>
                    </a:lnTo>
                    <a:lnTo>
                      <a:pt x="551" y="329"/>
                    </a:lnTo>
                    <a:lnTo>
                      <a:pt x="548" y="327"/>
                    </a:lnTo>
                    <a:lnTo>
                      <a:pt x="546" y="325"/>
                    </a:lnTo>
                    <a:lnTo>
                      <a:pt x="540" y="327"/>
                    </a:lnTo>
                    <a:lnTo>
                      <a:pt x="536" y="327"/>
                    </a:lnTo>
                    <a:lnTo>
                      <a:pt x="532" y="331"/>
                    </a:lnTo>
                    <a:lnTo>
                      <a:pt x="532" y="333"/>
                    </a:lnTo>
                    <a:lnTo>
                      <a:pt x="532" y="342"/>
                    </a:lnTo>
                    <a:lnTo>
                      <a:pt x="530" y="344"/>
                    </a:lnTo>
                    <a:lnTo>
                      <a:pt x="519" y="356"/>
                    </a:lnTo>
                    <a:lnTo>
                      <a:pt x="519" y="358"/>
                    </a:lnTo>
                    <a:lnTo>
                      <a:pt x="508" y="360"/>
                    </a:lnTo>
                    <a:lnTo>
                      <a:pt x="506" y="360"/>
                    </a:lnTo>
                    <a:lnTo>
                      <a:pt x="504" y="358"/>
                    </a:lnTo>
                    <a:lnTo>
                      <a:pt x="498" y="354"/>
                    </a:lnTo>
                    <a:lnTo>
                      <a:pt x="492" y="354"/>
                    </a:lnTo>
                    <a:lnTo>
                      <a:pt x="488" y="356"/>
                    </a:lnTo>
                    <a:lnTo>
                      <a:pt x="471" y="365"/>
                    </a:lnTo>
                    <a:lnTo>
                      <a:pt x="458" y="369"/>
                    </a:lnTo>
                    <a:lnTo>
                      <a:pt x="452" y="369"/>
                    </a:lnTo>
                    <a:lnTo>
                      <a:pt x="445" y="365"/>
                    </a:lnTo>
                    <a:lnTo>
                      <a:pt x="441" y="367"/>
                    </a:lnTo>
                    <a:lnTo>
                      <a:pt x="439" y="369"/>
                    </a:lnTo>
                    <a:lnTo>
                      <a:pt x="437" y="373"/>
                    </a:lnTo>
                    <a:lnTo>
                      <a:pt x="435" y="375"/>
                    </a:lnTo>
                    <a:lnTo>
                      <a:pt x="433" y="375"/>
                    </a:lnTo>
                    <a:lnTo>
                      <a:pt x="429" y="377"/>
                    </a:lnTo>
                    <a:lnTo>
                      <a:pt x="422" y="382"/>
                    </a:lnTo>
                    <a:lnTo>
                      <a:pt x="414" y="390"/>
                    </a:lnTo>
                    <a:lnTo>
                      <a:pt x="412" y="392"/>
                    </a:lnTo>
                    <a:lnTo>
                      <a:pt x="410" y="392"/>
                    </a:lnTo>
                    <a:lnTo>
                      <a:pt x="405" y="392"/>
                    </a:lnTo>
                    <a:lnTo>
                      <a:pt x="403" y="392"/>
                    </a:lnTo>
                    <a:lnTo>
                      <a:pt x="395" y="394"/>
                    </a:lnTo>
                    <a:lnTo>
                      <a:pt x="389" y="394"/>
                    </a:lnTo>
                    <a:lnTo>
                      <a:pt x="357" y="384"/>
                    </a:lnTo>
                    <a:lnTo>
                      <a:pt x="351" y="382"/>
                    </a:lnTo>
                    <a:lnTo>
                      <a:pt x="345" y="379"/>
                    </a:lnTo>
                    <a:lnTo>
                      <a:pt x="344" y="377"/>
                    </a:lnTo>
                    <a:lnTo>
                      <a:pt x="342" y="373"/>
                    </a:lnTo>
                    <a:lnTo>
                      <a:pt x="340" y="373"/>
                    </a:lnTo>
                    <a:lnTo>
                      <a:pt x="340" y="373"/>
                    </a:lnTo>
                    <a:lnTo>
                      <a:pt x="342" y="371"/>
                    </a:lnTo>
                    <a:lnTo>
                      <a:pt x="342" y="371"/>
                    </a:lnTo>
                    <a:lnTo>
                      <a:pt x="344" y="363"/>
                    </a:lnTo>
                    <a:lnTo>
                      <a:pt x="344" y="363"/>
                    </a:lnTo>
                    <a:lnTo>
                      <a:pt x="344" y="360"/>
                    </a:lnTo>
                    <a:lnTo>
                      <a:pt x="344" y="354"/>
                    </a:lnTo>
                    <a:lnTo>
                      <a:pt x="342" y="348"/>
                    </a:lnTo>
                    <a:lnTo>
                      <a:pt x="338" y="344"/>
                    </a:lnTo>
                    <a:lnTo>
                      <a:pt x="332" y="339"/>
                    </a:lnTo>
                    <a:lnTo>
                      <a:pt x="330" y="337"/>
                    </a:lnTo>
                    <a:lnTo>
                      <a:pt x="330" y="337"/>
                    </a:lnTo>
                    <a:lnTo>
                      <a:pt x="328" y="337"/>
                    </a:lnTo>
                    <a:lnTo>
                      <a:pt x="328" y="337"/>
                    </a:lnTo>
                    <a:lnTo>
                      <a:pt x="323" y="342"/>
                    </a:lnTo>
                    <a:lnTo>
                      <a:pt x="321" y="342"/>
                    </a:lnTo>
                    <a:lnTo>
                      <a:pt x="321" y="342"/>
                    </a:lnTo>
                    <a:lnTo>
                      <a:pt x="317" y="344"/>
                    </a:lnTo>
                    <a:lnTo>
                      <a:pt x="313" y="344"/>
                    </a:lnTo>
                    <a:lnTo>
                      <a:pt x="309" y="346"/>
                    </a:lnTo>
                    <a:lnTo>
                      <a:pt x="303" y="346"/>
                    </a:lnTo>
                    <a:lnTo>
                      <a:pt x="303" y="346"/>
                    </a:lnTo>
                    <a:lnTo>
                      <a:pt x="296" y="344"/>
                    </a:lnTo>
                    <a:lnTo>
                      <a:pt x="286" y="341"/>
                    </a:lnTo>
                    <a:lnTo>
                      <a:pt x="269" y="329"/>
                    </a:lnTo>
                    <a:lnTo>
                      <a:pt x="267" y="327"/>
                    </a:lnTo>
                    <a:lnTo>
                      <a:pt x="263" y="322"/>
                    </a:lnTo>
                    <a:lnTo>
                      <a:pt x="260" y="310"/>
                    </a:lnTo>
                    <a:lnTo>
                      <a:pt x="256" y="304"/>
                    </a:lnTo>
                    <a:lnTo>
                      <a:pt x="252" y="301"/>
                    </a:lnTo>
                    <a:lnTo>
                      <a:pt x="248" y="299"/>
                    </a:lnTo>
                    <a:lnTo>
                      <a:pt x="244" y="299"/>
                    </a:lnTo>
                    <a:lnTo>
                      <a:pt x="244" y="299"/>
                    </a:lnTo>
                    <a:lnTo>
                      <a:pt x="239" y="301"/>
                    </a:lnTo>
                    <a:lnTo>
                      <a:pt x="231" y="303"/>
                    </a:lnTo>
                    <a:lnTo>
                      <a:pt x="221" y="304"/>
                    </a:lnTo>
                    <a:lnTo>
                      <a:pt x="221" y="304"/>
                    </a:lnTo>
                    <a:lnTo>
                      <a:pt x="210" y="303"/>
                    </a:lnTo>
                    <a:lnTo>
                      <a:pt x="208" y="303"/>
                    </a:lnTo>
                    <a:lnTo>
                      <a:pt x="204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1"/>
                    </a:lnTo>
                    <a:lnTo>
                      <a:pt x="202" y="301"/>
                    </a:lnTo>
                    <a:lnTo>
                      <a:pt x="202" y="301"/>
                    </a:lnTo>
                    <a:lnTo>
                      <a:pt x="202" y="301"/>
                    </a:lnTo>
                    <a:lnTo>
                      <a:pt x="202" y="301"/>
                    </a:lnTo>
                    <a:lnTo>
                      <a:pt x="201" y="299"/>
                    </a:lnTo>
                    <a:lnTo>
                      <a:pt x="201" y="299"/>
                    </a:lnTo>
                    <a:lnTo>
                      <a:pt x="201" y="297"/>
                    </a:lnTo>
                    <a:lnTo>
                      <a:pt x="201" y="297"/>
                    </a:lnTo>
                    <a:lnTo>
                      <a:pt x="201" y="297"/>
                    </a:lnTo>
                    <a:lnTo>
                      <a:pt x="201" y="297"/>
                    </a:lnTo>
                    <a:lnTo>
                      <a:pt x="201" y="295"/>
                    </a:lnTo>
                    <a:lnTo>
                      <a:pt x="199" y="295"/>
                    </a:lnTo>
                    <a:lnTo>
                      <a:pt x="199" y="295"/>
                    </a:lnTo>
                    <a:lnTo>
                      <a:pt x="199" y="295"/>
                    </a:lnTo>
                    <a:lnTo>
                      <a:pt x="199" y="295"/>
                    </a:lnTo>
                    <a:lnTo>
                      <a:pt x="197" y="295"/>
                    </a:lnTo>
                    <a:lnTo>
                      <a:pt x="197" y="295"/>
                    </a:lnTo>
                    <a:lnTo>
                      <a:pt x="193" y="295"/>
                    </a:lnTo>
                    <a:lnTo>
                      <a:pt x="191" y="295"/>
                    </a:lnTo>
                    <a:lnTo>
                      <a:pt x="191" y="295"/>
                    </a:lnTo>
                    <a:lnTo>
                      <a:pt x="191" y="295"/>
                    </a:lnTo>
                    <a:lnTo>
                      <a:pt x="191" y="295"/>
                    </a:lnTo>
                    <a:lnTo>
                      <a:pt x="191" y="295"/>
                    </a:lnTo>
                    <a:lnTo>
                      <a:pt x="187" y="293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5" y="291"/>
                    </a:lnTo>
                    <a:lnTo>
                      <a:pt x="185" y="291"/>
                    </a:lnTo>
                    <a:lnTo>
                      <a:pt x="183" y="291"/>
                    </a:lnTo>
                    <a:lnTo>
                      <a:pt x="183" y="291"/>
                    </a:lnTo>
                    <a:lnTo>
                      <a:pt x="181" y="291"/>
                    </a:lnTo>
                    <a:lnTo>
                      <a:pt x="181" y="291"/>
                    </a:lnTo>
                    <a:lnTo>
                      <a:pt x="181" y="291"/>
                    </a:lnTo>
                    <a:lnTo>
                      <a:pt x="181" y="291"/>
                    </a:lnTo>
                    <a:lnTo>
                      <a:pt x="181" y="291"/>
                    </a:lnTo>
                    <a:lnTo>
                      <a:pt x="181" y="291"/>
                    </a:lnTo>
                    <a:lnTo>
                      <a:pt x="178" y="287"/>
                    </a:lnTo>
                    <a:lnTo>
                      <a:pt x="176" y="287"/>
                    </a:lnTo>
                    <a:lnTo>
                      <a:pt x="176" y="285"/>
                    </a:lnTo>
                    <a:lnTo>
                      <a:pt x="174" y="285"/>
                    </a:lnTo>
                    <a:lnTo>
                      <a:pt x="174" y="285"/>
                    </a:lnTo>
                    <a:lnTo>
                      <a:pt x="174" y="285"/>
                    </a:lnTo>
                    <a:lnTo>
                      <a:pt x="170" y="285"/>
                    </a:lnTo>
                    <a:lnTo>
                      <a:pt x="170" y="285"/>
                    </a:lnTo>
                    <a:lnTo>
                      <a:pt x="170" y="285"/>
                    </a:lnTo>
                    <a:lnTo>
                      <a:pt x="170" y="285"/>
                    </a:lnTo>
                    <a:lnTo>
                      <a:pt x="170" y="285"/>
                    </a:lnTo>
                    <a:lnTo>
                      <a:pt x="170" y="285"/>
                    </a:lnTo>
                    <a:lnTo>
                      <a:pt x="166" y="283"/>
                    </a:lnTo>
                    <a:lnTo>
                      <a:pt x="164" y="282"/>
                    </a:lnTo>
                    <a:lnTo>
                      <a:pt x="164" y="282"/>
                    </a:lnTo>
                    <a:lnTo>
                      <a:pt x="162" y="282"/>
                    </a:lnTo>
                    <a:lnTo>
                      <a:pt x="162" y="282"/>
                    </a:lnTo>
                    <a:lnTo>
                      <a:pt x="162" y="282"/>
                    </a:lnTo>
                    <a:lnTo>
                      <a:pt x="162" y="282"/>
                    </a:lnTo>
                    <a:lnTo>
                      <a:pt x="159" y="282"/>
                    </a:lnTo>
                    <a:lnTo>
                      <a:pt x="159" y="282"/>
                    </a:lnTo>
                    <a:lnTo>
                      <a:pt x="159" y="282"/>
                    </a:lnTo>
                    <a:lnTo>
                      <a:pt x="159" y="282"/>
                    </a:lnTo>
                    <a:lnTo>
                      <a:pt x="155" y="285"/>
                    </a:lnTo>
                    <a:lnTo>
                      <a:pt x="155" y="285"/>
                    </a:lnTo>
                    <a:lnTo>
                      <a:pt x="155" y="285"/>
                    </a:lnTo>
                    <a:lnTo>
                      <a:pt x="155" y="285"/>
                    </a:lnTo>
                    <a:lnTo>
                      <a:pt x="153" y="285"/>
                    </a:lnTo>
                    <a:lnTo>
                      <a:pt x="153" y="285"/>
                    </a:lnTo>
                    <a:lnTo>
                      <a:pt x="153" y="285"/>
                    </a:lnTo>
                    <a:lnTo>
                      <a:pt x="153" y="285"/>
                    </a:lnTo>
                    <a:lnTo>
                      <a:pt x="153" y="285"/>
                    </a:lnTo>
                    <a:lnTo>
                      <a:pt x="153" y="283"/>
                    </a:lnTo>
                    <a:lnTo>
                      <a:pt x="151" y="283"/>
                    </a:lnTo>
                    <a:lnTo>
                      <a:pt x="151" y="282"/>
                    </a:lnTo>
                    <a:lnTo>
                      <a:pt x="151" y="282"/>
                    </a:lnTo>
                    <a:lnTo>
                      <a:pt x="151" y="282"/>
                    </a:lnTo>
                    <a:lnTo>
                      <a:pt x="151" y="278"/>
                    </a:lnTo>
                    <a:lnTo>
                      <a:pt x="151" y="278"/>
                    </a:lnTo>
                    <a:lnTo>
                      <a:pt x="151" y="278"/>
                    </a:lnTo>
                    <a:lnTo>
                      <a:pt x="147" y="270"/>
                    </a:lnTo>
                    <a:lnTo>
                      <a:pt x="147" y="270"/>
                    </a:lnTo>
                    <a:lnTo>
                      <a:pt x="147" y="270"/>
                    </a:lnTo>
                    <a:lnTo>
                      <a:pt x="147" y="268"/>
                    </a:lnTo>
                    <a:lnTo>
                      <a:pt x="149" y="264"/>
                    </a:lnTo>
                    <a:lnTo>
                      <a:pt x="149" y="264"/>
                    </a:lnTo>
                    <a:lnTo>
                      <a:pt x="147" y="263"/>
                    </a:lnTo>
                    <a:lnTo>
                      <a:pt x="149" y="263"/>
                    </a:lnTo>
                    <a:lnTo>
                      <a:pt x="149" y="263"/>
                    </a:lnTo>
                    <a:lnTo>
                      <a:pt x="149" y="261"/>
                    </a:lnTo>
                    <a:lnTo>
                      <a:pt x="151" y="257"/>
                    </a:lnTo>
                    <a:lnTo>
                      <a:pt x="153" y="255"/>
                    </a:lnTo>
                    <a:lnTo>
                      <a:pt x="153" y="255"/>
                    </a:lnTo>
                    <a:lnTo>
                      <a:pt x="153" y="253"/>
                    </a:lnTo>
                    <a:lnTo>
                      <a:pt x="153" y="253"/>
                    </a:lnTo>
                    <a:lnTo>
                      <a:pt x="155" y="251"/>
                    </a:lnTo>
                    <a:lnTo>
                      <a:pt x="159" y="249"/>
                    </a:lnTo>
                    <a:lnTo>
                      <a:pt x="159" y="249"/>
                    </a:lnTo>
                    <a:lnTo>
                      <a:pt x="160" y="249"/>
                    </a:lnTo>
                    <a:lnTo>
                      <a:pt x="160" y="249"/>
                    </a:lnTo>
                    <a:lnTo>
                      <a:pt x="160" y="249"/>
                    </a:lnTo>
                    <a:lnTo>
                      <a:pt x="160" y="247"/>
                    </a:lnTo>
                    <a:lnTo>
                      <a:pt x="160" y="247"/>
                    </a:lnTo>
                    <a:lnTo>
                      <a:pt x="160" y="247"/>
                    </a:lnTo>
                    <a:lnTo>
                      <a:pt x="159" y="240"/>
                    </a:lnTo>
                    <a:lnTo>
                      <a:pt x="159" y="240"/>
                    </a:lnTo>
                    <a:lnTo>
                      <a:pt x="159" y="238"/>
                    </a:lnTo>
                    <a:lnTo>
                      <a:pt x="159" y="238"/>
                    </a:lnTo>
                    <a:lnTo>
                      <a:pt x="159" y="238"/>
                    </a:lnTo>
                    <a:lnTo>
                      <a:pt x="157" y="236"/>
                    </a:lnTo>
                    <a:lnTo>
                      <a:pt x="157" y="236"/>
                    </a:lnTo>
                    <a:lnTo>
                      <a:pt x="141" y="234"/>
                    </a:lnTo>
                    <a:lnTo>
                      <a:pt x="132" y="234"/>
                    </a:lnTo>
                    <a:lnTo>
                      <a:pt x="124" y="236"/>
                    </a:lnTo>
                    <a:lnTo>
                      <a:pt x="124" y="236"/>
                    </a:lnTo>
                    <a:lnTo>
                      <a:pt x="124" y="236"/>
                    </a:lnTo>
                    <a:lnTo>
                      <a:pt x="124" y="236"/>
                    </a:lnTo>
                    <a:lnTo>
                      <a:pt x="120" y="232"/>
                    </a:lnTo>
                    <a:lnTo>
                      <a:pt x="120" y="232"/>
                    </a:lnTo>
                    <a:lnTo>
                      <a:pt x="120" y="232"/>
                    </a:lnTo>
                    <a:lnTo>
                      <a:pt x="120" y="232"/>
                    </a:lnTo>
                    <a:lnTo>
                      <a:pt x="117" y="230"/>
                    </a:lnTo>
                    <a:lnTo>
                      <a:pt x="113" y="234"/>
                    </a:lnTo>
                    <a:lnTo>
                      <a:pt x="113" y="234"/>
                    </a:lnTo>
                    <a:lnTo>
                      <a:pt x="113" y="234"/>
                    </a:lnTo>
                    <a:lnTo>
                      <a:pt x="113" y="234"/>
                    </a:lnTo>
                    <a:lnTo>
                      <a:pt x="111" y="230"/>
                    </a:lnTo>
                    <a:lnTo>
                      <a:pt x="111" y="228"/>
                    </a:lnTo>
                    <a:lnTo>
                      <a:pt x="111" y="228"/>
                    </a:lnTo>
                    <a:lnTo>
                      <a:pt x="111" y="228"/>
                    </a:lnTo>
                    <a:lnTo>
                      <a:pt x="109" y="226"/>
                    </a:lnTo>
                    <a:lnTo>
                      <a:pt x="109" y="226"/>
                    </a:lnTo>
                    <a:lnTo>
                      <a:pt x="109" y="226"/>
                    </a:lnTo>
                    <a:lnTo>
                      <a:pt x="109" y="226"/>
                    </a:lnTo>
                    <a:lnTo>
                      <a:pt x="107" y="226"/>
                    </a:lnTo>
                    <a:lnTo>
                      <a:pt x="107" y="226"/>
                    </a:lnTo>
                    <a:lnTo>
                      <a:pt x="105" y="226"/>
                    </a:lnTo>
                    <a:lnTo>
                      <a:pt x="105" y="226"/>
                    </a:lnTo>
                    <a:lnTo>
                      <a:pt x="103" y="226"/>
                    </a:lnTo>
                    <a:lnTo>
                      <a:pt x="101" y="226"/>
                    </a:lnTo>
                    <a:lnTo>
                      <a:pt x="101" y="225"/>
                    </a:lnTo>
                    <a:lnTo>
                      <a:pt x="99" y="225"/>
                    </a:lnTo>
                    <a:lnTo>
                      <a:pt x="99" y="225"/>
                    </a:lnTo>
                    <a:lnTo>
                      <a:pt x="99" y="225"/>
                    </a:lnTo>
                    <a:lnTo>
                      <a:pt x="99" y="225"/>
                    </a:lnTo>
                    <a:lnTo>
                      <a:pt x="99" y="225"/>
                    </a:lnTo>
                    <a:lnTo>
                      <a:pt x="99" y="223"/>
                    </a:lnTo>
                    <a:lnTo>
                      <a:pt x="99" y="223"/>
                    </a:lnTo>
                    <a:lnTo>
                      <a:pt x="98" y="223"/>
                    </a:lnTo>
                    <a:lnTo>
                      <a:pt x="98" y="223"/>
                    </a:lnTo>
                    <a:lnTo>
                      <a:pt x="98" y="221"/>
                    </a:lnTo>
                    <a:lnTo>
                      <a:pt x="94" y="219"/>
                    </a:lnTo>
                    <a:lnTo>
                      <a:pt x="92" y="217"/>
                    </a:lnTo>
                    <a:lnTo>
                      <a:pt x="92" y="217"/>
                    </a:lnTo>
                    <a:lnTo>
                      <a:pt x="90" y="215"/>
                    </a:lnTo>
                    <a:lnTo>
                      <a:pt x="78" y="207"/>
                    </a:lnTo>
                    <a:lnTo>
                      <a:pt x="78" y="207"/>
                    </a:lnTo>
                    <a:lnTo>
                      <a:pt x="77" y="205"/>
                    </a:lnTo>
                    <a:lnTo>
                      <a:pt x="77" y="205"/>
                    </a:lnTo>
                    <a:lnTo>
                      <a:pt x="77" y="204"/>
                    </a:lnTo>
                    <a:lnTo>
                      <a:pt x="77" y="204"/>
                    </a:lnTo>
                    <a:lnTo>
                      <a:pt x="78" y="194"/>
                    </a:lnTo>
                    <a:lnTo>
                      <a:pt x="78" y="194"/>
                    </a:lnTo>
                    <a:lnTo>
                      <a:pt x="78" y="194"/>
                    </a:lnTo>
                    <a:lnTo>
                      <a:pt x="80" y="192"/>
                    </a:lnTo>
                    <a:lnTo>
                      <a:pt x="80" y="190"/>
                    </a:lnTo>
                    <a:lnTo>
                      <a:pt x="80" y="190"/>
                    </a:lnTo>
                    <a:lnTo>
                      <a:pt x="80" y="190"/>
                    </a:lnTo>
                    <a:lnTo>
                      <a:pt x="80" y="190"/>
                    </a:lnTo>
                    <a:lnTo>
                      <a:pt x="80" y="190"/>
                    </a:lnTo>
                    <a:lnTo>
                      <a:pt x="78" y="188"/>
                    </a:lnTo>
                    <a:lnTo>
                      <a:pt x="77" y="186"/>
                    </a:lnTo>
                    <a:lnTo>
                      <a:pt x="77" y="186"/>
                    </a:lnTo>
                    <a:lnTo>
                      <a:pt x="77" y="186"/>
                    </a:lnTo>
                    <a:lnTo>
                      <a:pt x="75" y="186"/>
                    </a:lnTo>
                    <a:lnTo>
                      <a:pt x="73" y="185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1" y="183"/>
                    </a:lnTo>
                    <a:lnTo>
                      <a:pt x="71" y="185"/>
                    </a:lnTo>
                    <a:lnTo>
                      <a:pt x="71" y="185"/>
                    </a:lnTo>
                    <a:lnTo>
                      <a:pt x="69" y="185"/>
                    </a:lnTo>
                    <a:lnTo>
                      <a:pt x="69" y="186"/>
                    </a:lnTo>
                    <a:lnTo>
                      <a:pt x="69" y="186"/>
                    </a:lnTo>
                    <a:lnTo>
                      <a:pt x="67" y="186"/>
                    </a:lnTo>
                    <a:lnTo>
                      <a:pt x="65" y="186"/>
                    </a:lnTo>
                    <a:lnTo>
                      <a:pt x="63" y="185"/>
                    </a:lnTo>
                    <a:lnTo>
                      <a:pt x="63" y="185"/>
                    </a:lnTo>
                    <a:lnTo>
                      <a:pt x="63" y="185"/>
                    </a:lnTo>
                    <a:lnTo>
                      <a:pt x="63" y="185"/>
                    </a:lnTo>
                    <a:lnTo>
                      <a:pt x="61" y="185"/>
                    </a:lnTo>
                    <a:lnTo>
                      <a:pt x="61" y="185"/>
                    </a:lnTo>
                    <a:lnTo>
                      <a:pt x="59" y="183"/>
                    </a:lnTo>
                    <a:lnTo>
                      <a:pt x="59" y="183"/>
                    </a:lnTo>
                    <a:lnTo>
                      <a:pt x="59" y="183"/>
                    </a:lnTo>
                    <a:lnTo>
                      <a:pt x="57" y="183"/>
                    </a:lnTo>
                    <a:lnTo>
                      <a:pt x="46" y="183"/>
                    </a:lnTo>
                    <a:lnTo>
                      <a:pt x="44" y="183"/>
                    </a:lnTo>
                    <a:lnTo>
                      <a:pt x="44" y="185"/>
                    </a:lnTo>
                    <a:lnTo>
                      <a:pt x="38" y="186"/>
                    </a:lnTo>
                    <a:lnTo>
                      <a:pt x="38" y="186"/>
                    </a:lnTo>
                    <a:lnTo>
                      <a:pt x="38" y="188"/>
                    </a:lnTo>
                    <a:lnTo>
                      <a:pt x="37" y="188"/>
                    </a:lnTo>
                    <a:lnTo>
                      <a:pt x="37" y="188"/>
                    </a:lnTo>
                    <a:lnTo>
                      <a:pt x="35" y="188"/>
                    </a:lnTo>
                    <a:lnTo>
                      <a:pt x="31" y="188"/>
                    </a:lnTo>
                    <a:lnTo>
                      <a:pt x="17" y="186"/>
                    </a:lnTo>
                    <a:lnTo>
                      <a:pt x="17" y="186"/>
                    </a:lnTo>
                    <a:lnTo>
                      <a:pt x="6" y="181"/>
                    </a:lnTo>
                    <a:lnTo>
                      <a:pt x="0" y="179"/>
                    </a:lnTo>
                    <a:lnTo>
                      <a:pt x="0" y="179"/>
                    </a:lnTo>
                    <a:lnTo>
                      <a:pt x="10" y="162"/>
                    </a:lnTo>
                    <a:lnTo>
                      <a:pt x="10" y="162"/>
                    </a:lnTo>
                    <a:lnTo>
                      <a:pt x="10" y="160"/>
                    </a:lnTo>
                    <a:lnTo>
                      <a:pt x="10" y="158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2" y="150"/>
                    </a:lnTo>
                    <a:lnTo>
                      <a:pt x="2" y="148"/>
                    </a:lnTo>
                    <a:lnTo>
                      <a:pt x="2" y="148"/>
                    </a:lnTo>
                    <a:lnTo>
                      <a:pt x="2" y="146"/>
                    </a:lnTo>
                    <a:lnTo>
                      <a:pt x="2" y="146"/>
                    </a:lnTo>
                    <a:lnTo>
                      <a:pt x="2" y="145"/>
                    </a:lnTo>
                    <a:lnTo>
                      <a:pt x="6" y="141"/>
                    </a:lnTo>
                    <a:lnTo>
                      <a:pt x="6" y="141"/>
                    </a:lnTo>
                    <a:lnTo>
                      <a:pt x="6" y="139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6" y="135"/>
                    </a:lnTo>
                    <a:lnTo>
                      <a:pt x="6" y="127"/>
                    </a:lnTo>
                    <a:lnTo>
                      <a:pt x="8" y="127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10" y="124"/>
                    </a:lnTo>
                    <a:lnTo>
                      <a:pt x="10" y="122"/>
                    </a:lnTo>
                    <a:lnTo>
                      <a:pt x="12" y="122"/>
                    </a:lnTo>
                    <a:lnTo>
                      <a:pt x="14" y="120"/>
                    </a:lnTo>
                    <a:lnTo>
                      <a:pt x="16" y="120"/>
                    </a:lnTo>
                    <a:lnTo>
                      <a:pt x="17" y="120"/>
                    </a:lnTo>
                    <a:lnTo>
                      <a:pt x="17" y="120"/>
                    </a:lnTo>
                    <a:lnTo>
                      <a:pt x="21" y="122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25" y="118"/>
                    </a:lnTo>
                    <a:lnTo>
                      <a:pt x="27" y="118"/>
                    </a:lnTo>
                    <a:lnTo>
                      <a:pt x="29" y="116"/>
                    </a:lnTo>
                    <a:lnTo>
                      <a:pt x="31" y="114"/>
                    </a:lnTo>
                    <a:lnTo>
                      <a:pt x="33" y="114"/>
                    </a:lnTo>
                    <a:lnTo>
                      <a:pt x="33" y="114"/>
                    </a:lnTo>
                    <a:lnTo>
                      <a:pt x="35" y="112"/>
                    </a:lnTo>
                    <a:lnTo>
                      <a:pt x="38" y="107"/>
                    </a:lnTo>
                    <a:lnTo>
                      <a:pt x="40" y="107"/>
                    </a:lnTo>
                    <a:lnTo>
                      <a:pt x="40" y="105"/>
                    </a:lnTo>
                    <a:lnTo>
                      <a:pt x="46" y="105"/>
                    </a:lnTo>
                    <a:lnTo>
                      <a:pt x="46" y="105"/>
                    </a:lnTo>
                    <a:lnTo>
                      <a:pt x="46" y="103"/>
                    </a:lnTo>
                    <a:lnTo>
                      <a:pt x="48" y="103"/>
                    </a:lnTo>
                    <a:lnTo>
                      <a:pt x="48" y="101"/>
                    </a:lnTo>
                    <a:lnTo>
                      <a:pt x="48" y="99"/>
                    </a:lnTo>
                    <a:lnTo>
                      <a:pt x="48" y="95"/>
                    </a:lnTo>
                    <a:lnTo>
                      <a:pt x="48" y="93"/>
                    </a:lnTo>
                    <a:lnTo>
                      <a:pt x="48" y="93"/>
                    </a:lnTo>
                    <a:lnTo>
                      <a:pt x="48" y="91"/>
                    </a:lnTo>
                    <a:lnTo>
                      <a:pt x="50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1"/>
                    </a:lnTo>
                    <a:lnTo>
                      <a:pt x="59" y="89"/>
                    </a:lnTo>
                    <a:lnTo>
                      <a:pt x="59" y="89"/>
                    </a:lnTo>
                    <a:lnTo>
                      <a:pt x="59" y="88"/>
                    </a:lnTo>
                    <a:lnTo>
                      <a:pt x="59" y="88"/>
                    </a:lnTo>
                    <a:lnTo>
                      <a:pt x="59" y="88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9" y="84"/>
                    </a:lnTo>
                    <a:lnTo>
                      <a:pt x="59" y="84"/>
                    </a:lnTo>
                    <a:lnTo>
                      <a:pt x="67" y="82"/>
                    </a:lnTo>
                    <a:lnTo>
                      <a:pt x="67" y="80"/>
                    </a:lnTo>
                    <a:lnTo>
                      <a:pt x="69" y="80"/>
                    </a:lnTo>
                    <a:lnTo>
                      <a:pt x="69" y="78"/>
                    </a:lnTo>
                    <a:lnTo>
                      <a:pt x="69" y="78"/>
                    </a:lnTo>
                    <a:lnTo>
                      <a:pt x="71" y="76"/>
                    </a:lnTo>
                    <a:lnTo>
                      <a:pt x="71" y="74"/>
                    </a:lnTo>
                    <a:lnTo>
                      <a:pt x="73" y="72"/>
                    </a:lnTo>
                    <a:lnTo>
                      <a:pt x="73" y="70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1" y="57"/>
                    </a:lnTo>
                    <a:lnTo>
                      <a:pt x="71" y="57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5" y="55"/>
                    </a:lnTo>
                    <a:lnTo>
                      <a:pt x="78" y="53"/>
                    </a:lnTo>
                    <a:lnTo>
                      <a:pt x="78" y="53"/>
                    </a:lnTo>
                    <a:lnTo>
                      <a:pt x="82" y="49"/>
                    </a:lnTo>
                    <a:lnTo>
                      <a:pt x="84" y="49"/>
                    </a:lnTo>
                    <a:lnTo>
                      <a:pt x="84" y="49"/>
                    </a:lnTo>
                    <a:lnTo>
                      <a:pt x="84" y="49"/>
                    </a:lnTo>
                    <a:lnTo>
                      <a:pt x="86" y="49"/>
                    </a:lnTo>
                    <a:lnTo>
                      <a:pt x="88" y="51"/>
                    </a:lnTo>
                    <a:lnTo>
                      <a:pt x="88" y="53"/>
                    </a:lnTo>
                    <a:lnTo>
                      <a:pt x="88" y="53"/>
                    </a:lnTo>
                    <a:lnTo>
                      <a:pt x="88" y="53"/>
                    </a:lnTo>
                    <a:lnTo>
                      <a:pt x="92" y="51"/>
                    </a:lnTo>
                    <a:lnTo>
                      <a:pt x="96" y="51"/>
                    </a:lnTo>
                    <a:lnTo>
                      <a:pt x="98" y="51"/>
                    </a:lnTo>
                    <a:lnTo>
                      <a:pt x="99" y="51"/>
                    </a:lnTo>
                    <a:lnTo>
                      <a:pt x="101" y="51"/>
                    </a:lnTo>
                    <a:lnTo>
                      <a:pt x="113" y="48"/>
                    </a:lnTo>
                    <a:lnTo>
                      <a:pt x="115" y="48"/>
                    </a:lnTo>
                    <a:lnTo>
                      <a:pt x="119" y="48"/>
                    </a:lnTo>
                    <a:lnTo>
                      <a:pt x="126" y="49"/>
                    </a:lnTo>
                    <a:lnTo>
                      <a:pt x="126" y="49"/>
                    </a:lnTo>
                    <a:lnTo>
                      <a:pt x="130" y="49"/>
                    </a:lnTo>
                    <a:lnTo>
                      <a:pt x="132" y="49"/>
                    </a:lnTo>
                    <a:lnTo>
                      <a:pt x="132" y="49"/>
                    </a:lnTo>
                    <a:lnTo>
                      <a:pt x="132" y="49"/>
                    </a:lnTo>
                    <a:lnTo>
                      <a:pt x="134" y="51"/>
                    </a:lnTo>
                    <a:lnTo>
                      <a:pt x="134" y="49"/>
                    </a:lnTo>
                    <a:lnTo>
                      <a:pt x="136" y="49"/>
                    </a:lnTo>
                    <a:lnTo>
                      <a:pt x="136" y="49"/>
                    </a:lnTo>
                    <a:lnTo>
                      <a:pt x="136" y="49"/>
                    </a:lnTo>
                    <a:lnTo>
                      <a:pt x="138" y="49"/>
                    </a:lnTo>
                    <a:lnTo>
                      <a:pt x="138" y="51"/>
                    </a:lnTo>
                    <a:lnTo>
                      <a:pt x="138" y="53"/>
                    </a:lnTo>
                    <a:lnTo>
                      <a:pt x="139" y="53"/>
                    </a:lnTo>
                    <a:lnTo>
                      <a:pt x="139" y="53"/>
                    </a:lnTo>
                    <a:lnTo>
                      <a:pt x="139" y="53"/>
                    </a:lnTo>
                    <a:lnTo>
                      <a:pt x="139" y="53"/>
                    </a:lnTo>
                    <a:lnTo>
                      <a:pt x="143" y="53"/>
                    </a:lnTo>
                    <a:lnTo>
                      <a:pt x="145" y="53"/>
                    </a:lnTo>
                    <a:lnTo>
                      <a:pt x="145" y="53"/>
                    </a:lnTo>
                    <a:lnTo>
                      <a:pt x="147" y="53"/>
                    </a:lnTo>
                    <a:lnTo>
                      <a:pt x="147" y="53"/>
                    </a:lnTo>
                    <a:lnTo>
                      <a:pt x="149" y="53"/>
                    </a:lnTo>
                    <a:lnTo>
                      <a:pt x="151" y="51"/>
                    </a:lnTo>
                    <a:lnTo>
                      <a:pt x="153" y="51"/>
                    </a:lnTo>
                    <a:lnTo>
                      <a:pt x="153" y="51"/>
                    </a:lnTo>
                    <a:lnTo>
                      <a:pt x="155" y="51"/>
                    </a:lnTo>
                    <a:lnTo>
                      <a:pt x="157" y="51"/>
                    </a:lnTo>
                    <a:lnTo>
                      <a:pt x="157" y="51"/>
                    </a:lnTo>
                    <a:lnTo>
                      <a:pt x="159" y="51"/>
                    </a:lnTo>
                    <a:lnTo>
                      <a:pt x="160" y="49"/>
                    </a:lnTo>
                    <a:lnTo>
                      <a:pt x="160" y="49"/>
                    </a:lnTo>
                    <a:lnTo>
                      <a:pt x="162" y="49"/>
                    </a:lnTo>
                    <a:lnTo>
                      <a:pt x="166" y="51"/>
                    </a:lnTo>
                    <a:lnTo>
                      <a:pt x="168" y="53"/>
                    </a:lnTo>
                    <a:lnTo>
                      <a:pt x="172" y="53"/>
                    </a:lnTo>
                    <a:lnTo>
                      <a:pt x="172" y="53"/>
                    </a:lnTo>
                    <a:lnTo>
                      <a:pt x="172" y="53"/>
                    </a:lnTo>
                    <a:lnTo>
                      <a:pt x="174" y="51"/>
                    </a:lnTo>
                    <a:lnTo>
                      <a:pt x="174" y="51"/>
                    </a:lnTo>
                    <a:lnTo>
                      <a:pt x="172" y="49"/>
                    </a:lnTo>
                    <a:lnTo>
                      <a:pt x="172" y="49"/>
                    </a:lnTo>
                    <a:lnTo>
                      <a:pt x="172" y="49"/>
                    </a:lnTo>
                    <a:lnTo>
                      <a:pt x="174" y="48"/>
                    </a:lnTo>
                    <a:lnTo>
                      <a:pt x="174" y="48"/>
                    </a:lnTo>
                    <a:lnTo>
                      <a:pt x="174" y="46"/>
                    </a:lnTo>
                    <a:lnTo>
                      <a:pt x="174" y="46"/>
                    </a:lnTo>
                    <a:lnTo>
                      <a:pt x="174" y="44"/>
                    </a:lnTo>
                    <a:lnTo>
                      <a:pt x="172" y="44"/>
                    </a:lnTo>
                    <a:lnTo>
                      <a:pt x="172" y="44"/>
                    </a:lnTo>
                    <a:lnTo>
                      <a:pt x="172" y="44"/>
                    </a:lnTo>
                    <a:lnTo>
                      <a:pt x="172" y="44"/>
                    </a:lnTo>
                    <a:lnTo>
                      <a:pt x="170" y="42"/>
                    </a:lnTo>
                    <a:lnTo>
                      <a:pt x="170" y="42"/>
                    </a:lnTo>
                    <a:lnTo>
                      <a:pt x="164" y="36"/>
                    </a:lnTo>
                    <a:lnTo>
                      <a:pt x="164" y="36"/>
                    </a:lnTo>
                    <a:lnTo>
                      <a:pt x="162" y="34"/>
                    </a:lnTo>
                    <a:lnTo>
                      <a:pt x="162" y="34"/>
                    </a:lnTo>
                    <a:lnTo>
                      <a:pt x="160" y="34"/>
                    </a:lnTo>
                    <a:lnTo>
                      <a:pt x="159" y="32"/>
                    </a:lnTo>
                    <a:lnTo>
                      <a:pt x="155" y="32"/>
                    </a:lnTo>
                    <a:lnTo>
                      <a:pt x="153" y="32"/>
                    </a:lnTo>
                    <a:lnTo>
                      <a:pt x="153" y="32"/>
                    </a:lnTo>
                    <a:lnTo>
                      <a:pt x="153" y="32"/>
                    </a:lnTo>
                    <a:lnTo>
                      <a:pt x="151" y="30"/>
                    </a:lnTo>
                    <a:lnTo>
                      <a:pt x="151" y="30"/>
                    </a:lnTo>
                    <a:lnTo>
                      <a:pt x="151" y="30"/>
                    </a:lnTo>
                    <a:lnTo>
                      <a:pt x="151" y="30"/>
                    </a:lnTo>
                    <a:lnTo>
                      <a:pt x="151" y="29"/>
                    </a:lnTo>
                    <a:lnTo>
                      <a:pt x="151" y="29"/>
                    </a:lnTo>
                    <a:lnTo>
                      <a:pt x="151" y="25"/>
                    </a:lnTo>
                    <a:lnTo>
                      <a:pt x="151" y="25"/>
                    </a:lnTo>
                    <a:lnTo>
                      <a:pt x="159" y="25"/>
                    </a:lnTo>
                    <a:lnTo>
                      <a:pt x="166" y="27"/>
                    </a:lnTo>
                    <a:lnTo>
                      <a:pt x="170" y="29"/>
                    </a:lnTo>
                    <a:lnTo>
                      <a:pt x="180" y="34"/>
                    </a:lnTo>
                    <a:lnTo>
                      <a:pt x="183" y="36"/>
                    </a:lnTo>
                    <a:lnTo>
                      <a:pt x="187" y="36"/>
                    </a:lnTo>
                    <a:lnTo>
                      <a:pt x="191" y="36"/>
                    </a:lnTo>
                    <a:lnTo>
                      <a:pt x="199" y="34"/>
                    </a:lnTo>
                    <a:lnTo>
                      <a:pt x="201" y="32"/>
                    </a:lnTo>
                    <a:lnTo>
                      <a:pt x="201" y="27"/>
                    </a:lnTo>
                    <a:lnTo>
                      <a:pt x="201" y="25"/>
                    </a:lnTo>
                    <a:lnTo>
                      <a:pt x="202" y="23"/>
                    </a:lnTo>
                    <a:lnTo>
                      <a:pt x="204" y="23"/>
                    </a:lnTo>
                    <a:lnTo>
                      <a:pt x="214" y="25"/>
                    </a:lnTo>
                    <a:lnTo>
                      <a:pt x="216" y="23"/>
                    </a:lnTo>
                    <a:lnTo>
                      <a:pt x="223" y="19"/>
                    </a:lnTo>
                    <a:lnTo>
                      <a:pt x="233" y="11"/>
                    </a:lnTo>
                    <a:lnTo>
                      <a:pt x="237" y="10"/>
                    </a:lnTo>
                    <a:lnTo>
                      <a:pt x="242" y="8"/>
                    </a:lnTo>
                    <a:lnTo>
                      <a:pt x="244" y="8"/>
                    </a:lnTo>
                    <a:lnTo>
                      <a:pt x="246" y="8"/>
                    </a:lnTo>
                    <a:lnTo>
                      <a:pt x="246" y="8"/>
                    </a:lnTo>
                    <a:lnTo>
                      <a:pt x="248" y="10"/>
                    </a:lnTo>
                    <a:lnTo>
                      <a:pt x="250" y="11"/>
                    </a:lnTo>
                    <a:lnTo>
                      <a:pt x="252" y="15"/>
                    </a:lnTo>
                    <a:lnTo>
                      <a:pt x="254" y="13"/>
                    </a:lnTo>
                    <a:lnTo>
                      <a:pt x="256" y="10"/>
                    </a:lnTo>
                    <a:lnTo>
                      <a:pt x="256" y="8"/>
                    </a:lnTo>
                    <a:lnTo>
                      <a:pt x="256" y="6"/>
                    </a:lnTo>
                    <a:lnTo>
                      <a:pt x="256" y="6"/>
                    </a:lnTo>
                    <a:lnTo>
                      <a:pt x="256" y="4"/>
                    </a:lnTo>
                    <a:lnTo>
                      <a:pt x="258" y="4"/>
                    </a:lnTo>
                    <a:lnTo>
                      <a:pt x="265" y="2"/>
                    </a:lnTo>
                    <a:lnTo>
                      <a:pt x="269" y="0"/>
                    </a:lnTo>
                    <a:lnTo>
                      <a:pt x="271" y="0"/>
                    </a:lnTo>
                    <a:lnTo>
                      <a:pt x="273" y="2"/>
                    </a:lnTo>
                    <a:lnTo>
                      <a:pt x="277" y="6"/>
                    </a:lnTo>
                    <a:lnTo>
                      <a:pt x="286" y="6"/>
                    </a:lnTo>
                    <a:lnTo>
                      <a:pt x="290" y="1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5" name="Freeform 47">
                <a:extLst>
                  <a:ext uri="{FF2B5EF4-FFF2-40B4-BE49-F238E27FC236}">
                    <a16:creationId xmlns:a16="http://schemas.microsoft.com/office/drawing/2014/main" id="{E97A08BD-0379-40A4-93D1-E5E3B562C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7244" y="1918174"/>
                <a:ext cx="369888" cy="549275"/>
              </a:xfrm>
              <a:custGeom>
                <a:avLst/>
                <a:gdLst>
                  <a:gd name="T0" fmla="*/ 217 w 233"/>
                  <a:gd name="T1" fmla="*/ 38 h 346"/>
                  <a:gd name="T2" fmla="*/ 233 w 233"/>
                  <a:gd name="T3" fmla="*/ 55 h 346"/>
                  <a:gd name="T4" fmla="*/ 229 w 233"/>
                  <a:gd name="T5" fmla="*/ 74 h 346"/>
                  <a:gd name="T6" fmla="*/ 128 w 233"/>
                  <a:gd name="T7" fmla="*/ 55 h 346"/>
                  <a:gd name="T8" fmla="*/ 70 w 233"/>
                  <a:gd name="T9" fmla="*/ 70 h 346"/>
                  <a:gd name="T10" fmla="*/ 57 w 233"/>
                  <a:gd name="T11" fmla="*/ 95 h 346"/>
                  <a:gd name="T12" fmla="*/ 48 w 233"/>
                  <a:gd name="T13" fmla="*/ 110 h 346"/>
                  <a:gd name="T14" fmla="*/ 65 w 233"/>
                  <a:gd name="T15" fmla="*/ 123 h 346"/>
                  <a:gd name="T16" fmla="*/ 72 w 233"/>
                  <a:gd name="T17" fmla="*/ 146 h 346"/>
                  <a:gd name="T18" fmla="*/ 72 w 233"/>
                  <a:gd name="T19" fmla="*/ 169 h 346"/>
                  <a:gd name="T20" fmla="*/ 109 w 233"/>
                  <a:gd name="T21" fmla="*/ 171 h 346"/>
                  <a:gd name="T22" fmla="*/ 80 w 233"/>
                  <a:gd name="T23" fmla="*/ 196 h 346"/>
                  <a:gd name="T24" fmla="*/ 70 w 233"/>
                  <a:gd name="T25" fmla="*/ 219 h 346"/>
                  <a:gd name="T26" fmla="*/ 93 w 233"/>
                  <a:gd name="T27" fmla="*/ 258 h 346"/>
                  <a:gd name="T28" fmla="*/ 76 w 233"/>
                  <a:gd name="T29" fmla="*/ 279 h 346"/>
                  <a:gd name="T30" fmla="*/ 95 w 233"/>
                  <a:gd name="T31" fmla="*/ 314 h 346"/>
                  <a:gd name="T32" fmla="*/ 118 w 233"/>
                  <a:gd name="T33" fmla="*/ 342 h 346"/>
                  <a:gd name="T34" fmla="*/ 70 w 233"/>
                  <a:gd name="T35" fmla="*/ 319 h 346"/>
                  <a:gd name="T36" fmla="*/ 57 w 233"/>
                  <a:gd name="T37" fmla="*/ 317 h 346"/>
                  <a:gd name="T38" fmla="*/ 48 w 233"/>
                  <a:gd name="T39" fmla="*/ 316 h 346"/>
                  <a:gd name="T40" fmla="*/ 32 w 233"/>
                  <a:gd name="T41" fmla="*/ 297 h 346"/>
                  <a:gd name="T42" fmla="*/ 28 w 233"/>
                  <a:gd name="T43" fmla="*/ 287 h 346"/>
                  <a:gd name="T44" fmla="*/ 25 w 233"/>
                  <a:gd name="T45" fmla="*/ 287 h 346"/>
                  <a:gd name="T46" fmla="*/ 23 w 233"/>
                  <a:gd name="T47" fmla="*/ 285 h 346"/>
                  <a:gd name="T48" fmla="*/ 25 w 233"/>
                  <a:gd name="T49" fmla="*/ 276 h 346"/>
                  <a:gd name="T50" fmla="*/ 23 w 233"/>
                  <a:gd name="T51" fmla="*/ 262 h 346"/>
                  <a:gd name="T52" fmla="*/ 28 w 233"/>
                  <a:gd name="T53" fmla="*/ 253 h 346"/>
                  <a:gd name="T54" fmla="*/ 28 w 233"/>
                  <a:gd name="T55" fmla="*/ 241 h 346"/>
                  <a:gd name="T56" fmla="*/ 27 w 233"/>
                  <a:gd name="T57" fmla="*/ 230 h 346"/>
                  <a:gd name="T58" fmla="*/ 27 w 233"/>
                  <a:gd name="T59" fmla="*/ 215 h 346"/>
                  <a:gd name="T60" fmla="*/ 23 w 233"/>
                  <a:gd name="T61" fmla="*/ 184 h 346"/>
                  <a:gd name="T62" fmla="*/ 11 w 233"/>
                  <a:gd name="T63" fmla="*/ 150 h 346"/>
                  <a:gd name="T64" fmla="*/ 9 w 233"/>
                  <a:gd name="T65" fmla="*/ 129 h 346"/>
                  <a:gd name="T66" fmla="*/ 2 w 233"/>
                  <a:gd name="T67" fmla="*/ 112 h 346"/>
                  <a:gd name="T68" fmla="*/ 4 w 233"/>
                  <a:gd name="T69" fmla="*/ 101 h 346"/>
                  <a:gd name="T70" fmla="*/ 6 w 233"/>
                  <a:gd name="T71" fmla="*/ 97 h 346"/>
                  <a:gd name="T72" fmla="*/ 6 w 233"/>
                  <a:gd name="T73" fmla="*/ 89 h 346"/>
                  <a:gd name="T74" fmla="*/ 9 w 233"/>
                  <a:gd name="T75" fmla="*/ 83 h 346"/>
                  <a:gd name="T76" fmla="*/ 17 w 233"/>
                  <a:gd name="T77" fmla="*/ 83 h 346"/>
                  <a:gd name="T78" fmla="*/ 25 w 233"/>
                  <a:gd name="T79" fmla="*/ 82 h 346"/>
                  <a:gd name="T80" fmla="*/ 27 w 233"/>
                  <a:gd name="T81" fmla="*/ 82 h 346"/>
                  <a:gd name="T82" fmla="*/ 28 w 233"/>
                  <a:gd name="T83" fmla="*/ 85 h 346"/>
                  <a:gd name="T84" fmla="*/ 34 w 233"/>
                  <a:gd name="T85" fmla="*/ 72 h 346"/>
                  <a:gd name="T86" fmla="*/ 36 w 233"/>
                  <a:gd name="T87" fmla="*/ 62 h 346"/>
                  <a:gd name="T88" fmla="*/ 44 w 233"/>
                  <a:gd name="T89" fmla="*/ 51 h 346"/>
                  <a:gd name="T90" fmla="*/ 51 w 233"/>
                  <a:gd name="T91" fmla="*/ 49 h 346"/>
                  <a:gd name="T92" fmla="*/ 61 w 233"/>
                  <a:gd name="T93" fmla="*/ 47 h 346"/>
                  <a:gd name="T94" fmla="*/ 65 w 233"/>
                  <a:gd name="T95" fmla="*/ 45 h 346"/>
                  <a:gd name="T96" fmla="*/ 69 w 233"/>
                  <a:gd name="T97" fmla="*/ 42 h 346"/>
                  <a:gd name="T98" fmla="*/ 72 w 233"/>
                  <a:gd name="T99" fmla="*/ 38 h 346"/>
                  <a:gd name="T100" fmla="*/ 78 w 233"/>
                  <a:gd name="T101" fmla="*/ 36 h 346"/>
                  <a:gd name="T102" fmla="*/ 80 w 233"/>
                  <a:gd name="T103" fmla="*/ 32 h 346"/>
                  <a:gd name="T104" fmla="*/ 84 w 233"/>
                  <a:gd name="T105" fmla="*/ 28 h 346"/>
                  <a:gd name="T106" fmla="*/ 88 w 233"/>
                  <a:gd name="T107" fmla="*/ 19 h 346"/>
                  <a:gd name="T108" fmla="*/ 90 w 233"/>
                  <a:gd name="T109" fmla="*/ 17 h 346"/>
                  <a:gd name="T110" fmla="*/ 86 w 233"/>
                  <a:gd name="T111" fmla="*/ 13 h 346"/>
                  <a:gd name="T112" fmla="*/ 84 w 233"/>
                  <a:gd name="T113" fmla="*/ 9 h 346"/>
                  <a:gd name="T114" fmla="*/ 93 w 233"/>
                  <a:gd name="T115" fmla="*/ 4 h 346"/>
                  <a:gd name="T116" fmla="*/ 133 w 233"/>
                  <a:gd name="T117" fmla="*/ 0 h 346"/>
                  <a:gd name="T118" fmla="*/ 156 w 233"/>
                  <a:gd name="T119" fmla="*/ 2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3" h="346">
                    <a:moveTo>
                      <a:pt x="198" y="47"/>
                    </a:moveTo>
                    <a:lnTo>
                      <a:pt x="202" y="45"/>
                    </a:lnTo>
                    <a:lnTo>
                      <a:pt x="206" y="45"/>
                    </a:lnTo>
                    <a:lnTo>
                      <a:pt x="210" y="43"/>
                    </a:lnTo>
                    <a:lnTo>
                      <a:pt x="210" y="43"/>
                    </a:lnTo>
                    <a:lnTo>
                      <a:pt x="212" y="43"/>
                    </a:lnTo>
                    <a:lnTo>
                      <a:pt x="217" y="38"/>
                    </a:lnTo>
                    <a:lnTo>
                      <a:pt x="217" y="38"/>
                    </a:lnTo>
                    <a:lnTo>
                      <a:pt x="219" y="38"/>
                    </a:lnTo>
                    <a:lnTo>
                      <a:pt x="219" y="38"/>
                    </a:lnTo>
                    <a:lnTo>
                      <a:pt x="221" y="40"/>
                    </a:lnTo>
                    <a:lnTo>
                      <a:pt x="227" y="45"/>
                    </a:lnTo>
                    <a:lnTo>
                      <a:pt x="231" y="49"/>
                    </a:lnTo>
                    <a:lnTo>
                      <a:pt x="233" y="55"/>
                    </a:lnTo>
                    <a:lnTo>
                      <a:pt x="233" y="61"/>
                    </a:lnTo>
                    <a:lnTo>
                      <a:pt x="233" y="64"/>
                    </a:lnTo>
                    <a:lnTo>
                      <a:pt x="233" y="64"/>
                    </a:lnTo>
                    <a:lnTo>
                      <a:pt x="231" y="72"/>
                    </a:lnTo>
                    <a:lnTo>
                      <a:pt x="231" y="72"/>
                    </a:lnTo>
                    <a:lnTo>
                      <a:pt x="229" y="74"/>
                    </a:lnTo>
                    <a:lnTo>
                      <a:pt x="229" y="74"/>
                    </a:lnTo>
                    <a:lnTo>
                      <a:pt x="229" y="74"/>
                    </a:lnTo>
                    <a:lnTo>
                      <a:pt x="229" y="72"/>
                    </a:lnTo>
                    <a:lnTo>
                      <a:pt x="223" y="72"/>
                    </a:lnTo>
                    <a:lnTo>
                      <a:pt x="215" y="74"/>
                    </a:lnTo>
                    <a:lnTo>
                      <a:pt x="204" y="74"/>
                    </a:lnTo>
                    <a:lnTo>
                      <a:pt x="160" y="66"/>
                    </a:lnTo>
                    <a:lnTo>
                      <a:pt x="128" y="55"/>
                    </a:lnTo>
                    <a:lnTo>
                      <a:pt x="120" y="53"/>
                    </a:lnTo>
                    <a:lnTo>
                      <a:pt x="112" y="53"/>
                    </a:lnTo>
                    <a:lnTo>
                      <a:pt x="103" y="57"/>
                    </a:lnTo>
                    <a:lnTo>
                      <a:pt x="95" y="64"/>
                    </a:lnTo>
                    <a:lnTo>
                      <a:pt x="91" y="66"/>
                    </a:lnTo>
                    <a:lnTo>
                      <a:pt x="70" y="68"/>
                    </a:lnTo>
                    <a:lnTo>
                      <a:pt x="70" y="70"/>
                    </a:lnTo>
                    <a:lnTo>
                      <a:pt x="67" y="72"/>
                    </a:lnTo>
                    <a:lnTo>
                      <a:pt x="65" y="76"/>
                    </a:lnTo>
                    <a:lnTo>
                      <a:pt x="67" y="80"/>
                    </a:lnTo>
                    <a:lnTo>
                      <a:pt x="67" y="85"/>
                    </a:lnTo>
                    <a:lnTo>
                      <a:pt x="65" y="87"/>
                    </a:lnTo>
                    <a:lnTo>
                      <a:pt x="59" y="91"/>
                    </a:lnTo>
                    <a:lnTo>
                      <a:pt x="57" y="95"/>
                    </a:lnTo>
                    <a:lnTo>
                      <a:pt x="57" y="95"/>
                    </a:lnTo>
                    <a:lnTo>
                      <a:pt x="57" y="101"/>
                    </a:lnTo>
                    <a:lnTo>
                      <a:pt x="55" y="102"/>
                    </a:lnTo>
                    <a:lnTo>
                      <a:pt x="55" y="104"/>
                    </a:lnTo>
                    <a:lnTo>
                      <a:pt x="51" y="106"/>
                    </a:lnTo>
                    <a:lnTo>
                      <a:pt x="49" y="106"/>
                    </a:lnTo>
                    <a:lnTo>
                      <a:pt x="48" y="110"/>
                    </a:lnTo>
                    <a:lnTo>
                      <a:pt x="48" y="114"/>
                    </a:lnTo>
                    <a:lnTo>
                      <a:pt x="49" y="118"/>
                    </a:lnTo>
                    <a:lnTo>
                      <a:pt x="51" y="121"/>
                    </a:lnTo>
                    <a:lnTo>
                      <a:pt x="55" y="123"/>
                    </a:lnTo>
                    <a:lnTo>
                      <a:pt x="57" y="123"/>
                    </a:lnTo>
                    <a:lnTo>
                      <a:pt x="61" y="123"/>
                    </a:lnTo>
                    <a:lnTo>
                      <a:pt x="65" y="123"/>
                    </a:lnTo>
                    <a:lnTo>
                      <a:pt x="69" y="123"/>
                    </a:lnTo>
                    <a:lnTo>
                      <a:pt x="70" y="127"/>
                    </a:lnTo>
                    <a:lnTo>
                      <a:pt x="72" y="135"/>
                    </a:lnTo>
                    <a:lnTo>
                      <a:pt x="74" y="137"/>
                    </a:lnTo>
                    <a:lnTo>
                      <a:pt x="76" y="141"/>
                    </a:lnTo>
                    <a:lnTo>
                      <a:pt x="76" y="144"/>
                    </a:lnTo>
                    <a:lnTo>
                      <a:pt x="72" y="146"/>
                    </a:lnTo>
                    <a:lnTo>
                      <a:pt x="65" y="150"/>
                    </a:lnTo>
                    <a:lnTo>
                      <a:pt x="63" y="152"/>
                    </a:lnTo>
                    <a:lnTo>
                      <a:pt x="61" y="158"/>
                    </a:lnTo>
                    <a:lnTo>
                      <a:pt x="63" y="161"/>
                    </a:lnTo>
                    <a:lnTo>
                      <a:pt x="65" y="165"/>
                    </a:lnTo>
                    <a:lnTo>
                      <a:pt x="69" y="169"/>
                    </a:lnTo>
                    <a:lnTo>
                      <a:pt x="72" y="169"/>
                    </a:lnTo>
                    <a:lnTo>
                      <a:pt x="82" y="167"/>
                    </a:lnTo>
                    <a:lnTo>
                      <a:pt x="84" y="167"/>
                    </a:lnTo>
                    <a:lnTo>
                      <a:pt x="91" y="169"/>
                    </a:lnTo>
                    <a:lnTo>
                      <a:pt x="95" y="169"/>
                    </a:lnTo>
                    <a:lnTo>
                      <a:pt x="101" y="169"/>
                    </a:lnTo>
                    <a:lnTo>
                      <a:pt x="105" y="169"/>
                    </a:lnTo>
                    <a:lnTo>
                      <a:pt x="109" y="171"/>
                    </a:lnTo>
                    <a:lnTo>
                      <a:pt x="110" y="177"/>
                    </a:lnTo>
                    <a:lnTo>
                      <a:pt x="109" y="180"/>
                    </a:lnTo>
                    <a:lnTo>
                      <a:pt x="107" y="184"/>
                    </a:lnTo>
                    <a:lnTo>
                      <a:pt x="103" y="188"/>
                    </a:lnTo>
                    <a:lnTo>
                      <a:pt x="99" y="192"/>
                    </a:lnTo>
                    <a:lnTo>
                      <a:pt x="93" y="194"/>
                    </a:lnTo>
                    <a:lnTo>
                      <a:pt x="80" y="196"/>
                    </a:lnTo>
                    <a:lnTo>
                      <a:pt x="78" y="199"/>
                    </a:lnTo>
                    <a:lnTo>
                      <a:pt x="72" y="207"/>
                    </a:lnTo>
                    <a:lnTo>
                      <a:pt x="72" y="209"/>
                    </a:lnTo>
                    <a:lnTo>
                      <a:pt x="72" y="211"/>
                    </a:lnTo>
                    <a:lnTo>
                      <a:pt x="70" y="213"/>
                    </a:lnTo>
                    <a:lnTo>
                      <a:pt x="70" y="217"/>
                    </a:lnTo>
                    <a:lnTo>
                      <a:pt x="70" y="219"/>
                    </a:lnTo>
                    <a:lnTo>
                      <a:pt x="72" y="220"/>
                    </a:lnTo>
                    <a:lnTo>
                      <a:pt x="72" y="222"/>
                    </a:lnTo>
                    <a:lnTo>
                      <a:pt x="78" y="228"/>
                    </a:lnTo>
                    <a:lnTo>
                      <a:pt x="88" y="232"/>
                    </a:lnTo>
                    <a:lnTo>
                      <a:pt x="93" y="238"/>
                    </a:lnTo>
                    <a:lnTo>
                      <a:pt x="95" y="247"/>
                    </a:lnTo>
                    <a:lnTo>
                      <a:pt x="93" y="258"/>
                    </a:lnTo>
                    <a:lnTo>
                      <a:pt x="90" y="268"/>
                    </a:lnTo>
                    <a:lnTo>
                      <a:pt x="88" y="272"/>
                    </a:lnTo>
                    <a:lnTo>
                      <a:pt x="86" y="274"/>
                    </a:lnTo>
                    <a:lnTo>
                      <a:pt x="86" y="276"/>
                    </a:lnTo>
                    <a:lnTo>
                      <a:pt x="84" y="277"/>
                    </a:lnTo>
                    <a:lnTo>
                      <a:pt x="78" y="279"/>
                    </a:lnTo>
                    <a:lnTo>
                      <a:pt x="76" y="279"/>
                    </a:lnTo>
                    <a:lnTo>
                      <a:pt x="74" y="283"/>
                    </a:lnTo>
                    <a:lnTo>
                      <a:pt x="74" y="289"/>
                    </a:lnTo>
                    <a:lnTo>
                      <a:pt x="76" y="295"/>
                    </a:lnTo>
                    <a:lnTo>
                      <a:pt x="80" y="297"/>
                    </a:lnTo>
                    <a:lnTo>
                      <a:pt x="84" y="300"/>
                    </a:lnTo>
                    <a:lnTo>
                      <a:pt x="88" y="304"/>
                    </a:lnTo>
                    <a:lnTo>
                      <a:pt x="95" y="314"/>
                    </a:lnTo>
                    <a:lnTo>
                      <a:pt x="99" y="317"/>
                    </a:lnTo>
                    <a:lnTo>
                      <a:pt x="112" y="319"/>
                    </a:lnTo>
                    <a:lnTo>
                      <a:pt x="114" y="321"/>
                    </a:lnTo>
                    <a:lnTo>
                      <a:pt x="116" y="325"/>
                    </a:lnTo>
                    <a:lnTo>
                      <a:pt x="116" y="333"/>
                    </a:lnTo>
                    <a:lnTo>
                      <a:pt x="118" y="340"/>
                    </a:lnTo>
                    <a:lnTo>
                      <a:pt x="118" y="342"/>
                    </a:lnTo>
                    <a:lnTo>
                      <a:pt x="116" y="346"/>
                    </a:lnTo>
                    <a:lnTo>
                      <a:pt x="116" y="346"/>
                    </a:lnTo>
                    <a:lnTo>
                      <a:pt x="74" y="325"/>
                    </a:lnTo>
                    <a:lnTo>
                      <a:pt x="72" y="323"/>
                    </a:lnTo>
                    <a:lnTo>
                      <a:pt x="70" y="319"/>
                    </a:lnTo>
                    <a:lnTo>
                      <a:pt x="70" y="319"/>
                    </a:lnTo>
                    <a:lnTo>
                      <a:pt x="70" y="319"/>
                    </a:lnTo>
                    <a:lnTo>
                      <a:pt x="70" y="319"/>
                    </a:lnTo>
                    <a:lnTo>
                      <a:pt x="69" y="317"/>
                    </a:lnTo>
                    <a:lnTo>
                      <a:pt x="67" y="316"/>
                    </a:lnTo>
                    <a:lnTo>
                      <a:pt x="65" y="316"/>
                    </a:lnTo>
                    <a:lnTo>
                      <a:pt x="61" y="316"/>
                    </a:lnTo>
                    <a:lnTo>
                      <a:pt x="59" y="316"/>
                    </a:lnTo>
                    <a:lnTo>
                      <a:pt x="57" y="317"/>
                    </a:lnTo>
                    <a:lnTo>
                      <a:pt x="57" y="317"/>
                    </a:lnTo>
                    <a:lnTo>
                      <a:pt x="55" y="317"/>
                    </a:lnTo>
                    <a:lnTo>
                      <a:pt x="55" y="317"/>
                    </a:lnTo>
                    <a:lnTo>
                      <a:pt x="53" y="317"/>
                    </a:lnTo>
                    <a:lnTo>
                      <a:pt x="51" y="317"/>
                    </a:lnTo>
                    <a:lnTo>
                      <a:pt x="49" y="317"/>
                    </a:lnTo>
                    <a:lnTo>
                      <a:pt x="48" y="316"/>
                    </a:lnTo>
                    <a:lnTo>
                      <a:pt x="46" y="314"/>
                    </a:lnTo>
                    <a:lnTo>
                      <a:pt x="42" y="312"/>
                    </a:lnTo>
                    <a:lnTo>
                      <a:pt x="34" y="308"/>
                    </a:lnTo>
                    <a:lnTo>
                      <a:pt x="30" y="304"/>
                    </a:lnTo>
                    <a:lnTo>
                      <a:pt x="28" y="302"/>
                    </a:lnTo>
                    <a:lnTo>
                      <a:pt x="32" y="298"/>
                    </a:lnTo>
                    <a:lnTo>
                      <a:pt x="32" y="297"/>
                    </a:lnTo>
                    <a:lnTo>
                      <a:pt x="32" y="297"/>
                    </a:lnTo>
                    <a:lnTo>
                      <a:pt x="32" y="295"/>
                    </a:lnTo>
                    <a:lnTo>
                      <a:pt x="32" y="293"/>
                    </a:lnTo>
                    <a:lnTo>
                      <a:pt x="32" y="291"/>
                    </a:lnTo>
                    <a:lnTo>
                      <a:pt x="30" y="291"/>
                    </a:lnTo>
                    <a:lnTo>
                      <a:pt x="28" y="289"/>
                    </a:lnTo>
                    <a:lnTo>
                      <a:pt x="28" y="287"/>
                    </a:lnTo>
                    <a:lnTo>
                      <a:pt x="28" y="287"/>
                    </a:lnTo>
                    <a:lnTo>
                      <a:pt x="28" y="285"/>
                    </a:lnTo>
                    <a:lnTo>
                      <a:pt x="28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3" y="285"/>
                    </a:lnTo>
                    <a:lnTo>
                      <a:pt x="23" y="285"/>
                    </a:lnTo>
                    <a:lnTo>
                      <a:pt x="23" y="285"/>
                    </a:lnTo>
                    <a:lnTo>
                      <a:pt x="23" y="285"/>
                    </a:lnTo>
                    <a:lnTo>
                      <a:pt x="25" y="285"/>
                    </a:lnTo>
                    <a:lnTo>
                      <a:pt x="25" y="285"/>
                    </a:lnTo>
                    <a:lnTo>
                      <a:pt x="25" y="283"/>
                    </a:lnTo>
                    <a:lnTo>
                      <a:pt x="27" y="283"/>
                    </a:lnTo>
                    <a:lnTo>
                      <a:pt x="27" y="281"/>
                    </a:lnTo>
                    <a:lnTo>
                      <a:pt x="25" y="277"/>
                    </a:lnTo>
                    <a:lnTo>
                      <a:pt x="25" y="276"/>
                    </a:lnTo>
                    <a:lnTo>
                      <a:pt x="25" y="274"/>
                    </a:lnTo>
                    <a:lnTo>
                      <a:pt x="27" y="272"/>
                    </a:lnTo>
                    <a:lnTo>
                      <a:pt x="27" y="270"/>
                    </a:lnTo>
                    <a:lnTo>
                      <a:pt x="25" y="270"/>
                    </a:lnTo>
                    <a:lnTo>
                      <a:pt x="25" y="268"/>
                    </a:lnTo>
                    <a:lnTo>
                      <a:pt x="23" y="264"/>
                    </a:lnTo>
                    <a:lnTo>
                      <a:pt x="23" y="262"/>
                    </a:lnTo>
                    <a:lnTo>
                      <a:pt x="23" y="260"/>
                    </a:lnTo>
                    <a:lnTo>
                      <a:pt x="25" y="258"/>
                    </a:lnTo>
                    <a:lnTo>
                      <a:pt x="27" y="255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28" y="253"/>
                    </a:lnTo>
                    <a:lnTo>
                      <a:pt x="28" y="253"/>
                    </a:lnTo>
                    <a:lnTo>
                      <a:pt x="28" y="253"/>
                    </a:lnTo>
                    <a:lnTo>
                      <a:pt x="28" y="251"/>
                    </a:lnTo>
                    <a:lnTo>
                      <a:pt x="28" y="251"/>
                    </a:lnTo>
                    <a:lnTo>
                      <a:pt x="28" y="249"/>
                    </a:lnTo>
                    <a:lnTo>
                      <a:pt x="28" y="243"/>
                    </a:lnTo>
                    <a:lnTo>
                      <a:pt x="28" y="243"/>
                    </a:lnTo>
                    <a:lnTo>
                      <a:pt x="28" y="241"/>
                    </a:lnTo>
                    <a:lnTo>
                      <a:pt x="28" y="241"/>
                    </a:lnTo>
                    <a:lnTo>
                      <a:pt x="30" y="241"/>
                    </a:lnTo>
                    <a:lnTo>
                      <a:pt x="30" y="239"/>
                    </a:lnTo>
                    <a:lnTo>
                      <a:pt x="30" y="238"/>
                    </a:lnTo>
                    <a:lnTo>
                      <a:pt x="28" y="234"/>
                    </a:lnTo>
                    <a:lnTo>
                      <a:pt x="28" y="232"/>
                    </a:lnTo>
                    <a:lnTo>
                      <a:pt x="27" y="230"/>
                    </a:lnTo>
                    <a:lnTo>
                      <a:pt x="23" y="226"/>
                    </a:lnTo>
                    <a:lnTo>
                      <a:pt x="23" y="226"/>
                    </a:lnTo>
                    <a:lnTo>
                      <a:pt x="23" y="222"/>
                    </a:lnTo>
                    <a:lnTo>
                      <a:pt x="23" y="222"/>
                    </a:lnTo>
                    <a:lnTo>
                      <a:pt x="23" y="220"/>
                    </a:lnTo>
                    <a:lnTo>
                      <a:pt x="25" y="217"/>
                    </a:lnTo>
                    <a:lnTo>
                      <a:pt x="27" y="215"/>
                    </a:lnTo>
                    <a:lnTo>
                      <a:pt x="27" y="211"/>
                    </a:lnTo>
                    <a:lnTo>
                      <a:pt x="25" y="209"/>
                    </a:lnTo>
                    <a:lnTo>
                      <a:pt x="25" y="205"/>
                    </a:lnTo>
                    <a:lnTo>
                      <a:pt x="23" y="203"/>
                    </a:lnTo>
                    <a:lnTo>
                      <a:pt x="21" y="199"/>
                    </a:lnTo>
                    <a:lnTo>
                      <a:pt x="23" y="188"/>
                    </a:lnTo>
                    <a:lnTo>
                      <a:pt x="23" y="184"/>
                    </a:lnTo>
                    <a:lnTo>
                      <a:pt x="15" y="169"/>
                    </a:lnTo>
                    <a:lnTo>
                      <a:pt x="15" y="169"/>
                    </a:lnTo>
                    <a:lnTo>
                      <a:pt x="15" y="169"/>
                    </a:lnTo>
                    <a:lnTo>
                      <a:pt x="15" y="169"/>
                    </a:lnTo>
                    <a:lnTo>
                      <a:pt x="15" y="160"/>
                    </a:lnTo>
                    <a:lnTo>
                      <a:pt x="11" y="150"/>
                    </a:lnTo>
                    <a:lnTo>
                      <a:pt x="11" y="150"/>
                    </a:lnTo>
                    <a:lnTo>
                      <a:pt x="11" y="148"/>
                    </a:lnTo>
                    <a:lnTo>
                      <a:pt x="11" y="148"/>
                    </a:lnTo>
                    <a:lnTo>
                      <a:pt x="11" y="148"/>
                    </a:lnTo>
                    <a:lnTo>
                      <a:pt x="11" y="142"/>
                    </a:lnTo>
                    <a:lnTo>
                      <a:pt x="11" y="141"/>
                    </a:lnTo>
                    <a:lnTo>
                      <a:pt x="9" y="129"/>
                    </a:lnTo>
                    <a:lnTo>
                      <a:pt x="9" y="129"/>
                    </a:lnTo>
                    <a:lnTo>
                      <a:pt x="8" y="127"/>
                    </a:lnTo>
                    <a:lnTo>
                      <a:pt x="8" y="125"/>
                    </a:lnTo>
                    <a:lnTo>
                      <a:pt x="8" y="123"/>
                    </a:lnTo>
                    <a:lnTo>
                      <a:pt x="2" y="116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2" y="112"/>
                    </a:lnTo>
                    <a:lnTo>
                      <a:pt x="2" y="110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1"/>
                    </a:lnTo>
                    <a:lnTo>
                      <a:pt x="4" y="99"/>
                    </a:lnTo>
                    <a:lnTo>
                      <a:pt x="4" y="99"/>
                    </a:lnTo>
                    <a:lnTo>
                      <a:pt x="4" y="99"/>
                    </a:lnTo>
                    <a:lnTo>
                      <a:pt x="4" y="99"/>
                    </a:lnTo>
                    <a:lnTo>
                      <a:pt x="6" y="97"/>
                    </a:lnTo>
                    <a:lnTo>
                      <a:pt x="6" y="97"/>
                    </a:lnTo>
                    <a:lnTo>
                      <a:pt x="6" y="97"/>
                    </a:lnTo>
                    <a:lnTo>
                      <a:pt x="6" y="97"/>
                    </a:lnTo>
                    <a:lnTo>
                      <a:pt x="6" y="91"/>
                    </a:lnTo>
                    <a:lnTo>
                      <a:pt x="6" y="91"/>
                    </a:lnTo>
                    <a:lnTo>
                      <a:pt x="6" y="91"/>
                    </a:lnTo>
                    <a:lnTo>
                      <a:pt x="6" y="89"/>
                    </a:lnTo>
                    <a:lnTo>
                      <a:pt x="6" y="89"/>
                    </a:lnTo>
                    <a:lnTo>
                      <a:pt x="6" y="89"/>
                    </a:lnTo>
                    <a:lnTo>
                      <a:pt x="6" y="87"/>
                    </a:lnTo>
                    <a:lnTo>
                      <a:pt x="6" y="85"/>
                    </a:lnTo>
                    <a:lnTo>
                      <a:pt x="8" y="85"/>
                    </a:lnTo>
                    <a:lnTo>
                      <a:pt x="8" y="85"/>
                    </a:lnTo>
                    <a:lnTo>
                      <a:pt x="8" y="83"/>
                    </a:lnTo>
                    <a:lnTo>
                      <a:pt x="9" y="83"/>
                    </a:lnTo>
                    <a:lnTo>
                      <a:pt x="9" y="83"/>
                    </a:lnTo>
                    <a:lnTo>
                      <a:pt x="13" y="83"/>
                    </a:lnTo>
                    <a:lnTo>
                      <a:pt x="13" y="83"/>
                    </a:lnTo>
                    <a:lnTo>
                      <a:pt x="13" y="83"/>
                    </a:lnTo>
                    <a:lnTo>
                      <a:pt x="13" y="83"/>
                    </a:lnTo>
                    <a:lnTo>
                      <a:pt x="17" y="83"/>
                    </a:lnTo>
                    <a:lnTo>
                      <a:pt x="17" y="83"/>
                    </a:lnTo>
                    <a:lnTo>
                      <a:pt x="17" y="83"/>
                    </a:lnTo>
                    <a:lnTo>
                      <a:pt x="17" y="83"/>
                    </a:lnTo>
                    <a:lnTo>
                      <a:pt x="17" y="83"/>
                    </a:lnTo>
                    <a:lnTo>
                      <a:pt x="19" y="82"/>
                    </a:lnTo>
                    <a:lnTo>
                      <a:pt x="21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3"/>
                    </a:lnTo>
                    <a:lnTo>
                      <a:pt x="27" y="83"/>
                    </a:lnTo>
                    <a:lnTo>
                      <a:pt x="28" y="83"/>
                    </a:lnTo>
                    <a:lnTo>
                      <a:pt x="28" y="85"/>
                    </a:lnTo>
                    <a:lnTo>
                      <a:pt x="28" y="85"/>
                    </a:lnTo>
                    <a:lnTo>
                      <a:pt x="28" y="85"/>
                    </a:lnTo>
                    <a:lnTo>
                      <a:pt x="28" y="85"/>
                    </a:lnTo>
                    <a:lnTo>
                      <a:pt x="28" y="85"/>
                    </a:lnTo>
                    <a:lnTo>
                      <a:pt x="30" y="83"/>
                    </a:lnTo>
                    <a:lnTo>
                      <a:pt x="30" y="82"/>
                    </a:lnTo>
                    <a:lnTo>
                      <a:pt x="32" y="74"/>
                    </a:lnTo>
                    <a:lnTo>
                      <a:pt x="34" y="74"/>
                    </a:lnTo>
                    <a:lnTo>
                      <a:pt x="34" y="72"/>
                    </a:lnTo>
                    <a:lnTo>
                      <a:pt x="32" y="72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6" y="62"/>
                    </a:lnTo>
                    <a:lnTo>
                      <a:pt x="36" y="61"/>
                    </a:lnTo>
                    <a:lnTo>
                      <a:pt x="38" y="57"/>
                    </a:lnTo>
                    <a:lnTo>
                      <a:pt x="38" y="55"/>
                    </a:lnTo>
                    <a:lnTo>
                      <a:pt x="38" y="55"/>
                    </a:lnTo>
                    <a:lnTo>
                      <a:pt x="40" y="55"/>
                    </a:lnTo>
                    <a:lnTo>
                      <a:pt x="40" y="53"/>
                    </a:lnTo>
                    <a:lnTo>
                      <a:pt x="44" y="51"/>
                    </a:lnTo>
                    <a:lnTo>
                      <a:pt x="44" y="51"/>
                    </a:lnTo>
                    <a:lnTo>
                      <a:pt x="44" y="51"/>
                    </a:lnTo>
                    <a:lnTo>
                      <a:pt x="46" y="49"/>
                    </a:lnTo>
                    <a:lnTo>
                      <a:pt x="48" y="49"/>
                    </a:lnTo>
                    <a:lnTo>
                      <a:pt x="49" y="49"/>
                    </a:lnTo>
                    <a:lnTo>
                      <a:pt x="49" y="49"/>
                    </a:lnTo>
                    <a:lnTo>
                      <a:pt x="51" y="49"/>
                    </a:lnTo>
                    <a:lnTo>
                      <a:pt x="51" y="49"/>
                    </a:lnTo>
                    <a:lnTo>
                      <a:pt x="53" y="47"/>
                    </a:lnTo>
                    <a:lnTo>
                      <a:pt x="53" y="47"/>
                    </a:lnTo>
                    <a:lnTo>
                      <a:pt x="53" y="47"/>
                    </a:lnTo>
                    <a:lnTo>
                      <a:pt x="55" y="47"/>
                    </a:lnTo>
                    <a:lnTo>
                      <a:pt x="61" y="47"/>
                    </a:lnTo>
                    <a:lnTo>
                      <a:pt x="61" y="47"/>
                    </a:lnTo>
                    <a:lnTo>
                      <a:pt x="61" y="47"/>
                    </a:lnTo>
                    <a:lnTo>
                      <a:pt x="63" y="47"/>
                    </a:lnTo>
                    <a:lnTo>
                      <a:pt x="63" y="47"/>
                    </a:lnTo>
                    <a:lnTo>
                      <a:pt x="65" y="45"/>
                    </a:lnTo>
                    <a:lnTo>
                      <a:pt x="65" y="45"/>
                    </a:lnTo>
                    <a:lnTo>
                      <a:pt x="65" y="45"/>
                    </a:lnTo>
                    <a:lnTo>
                      <a:pt x="65" y="45"/>
                    </a:lnTo>
                    <a:lnTo>
                      <a:pt x="67" y="43"/>
                    </a:lnTo>
                    <a:lnTo>
                      <a:pt x="67" y="43"/>
                    </a:lnTo>
                    <a:lnTo>
                      <a:pt x="67" y="43"/>
                    </a:lnTo>
                    <a:lnTo>
                      <a:pt x="67" y="43"/>
                    </a:lnTo>
                    <a:lnTo>
                      <a:pt x="67" y="43"/>
                    </a:lnTo>
                    <a:lnTo>
                      <a:pt x="69" y="42"/>
                    </a:lnTo>
                    <a:lnTo>
                      <a:pt x="69" y="42"/>
                    </a:lnTo>
                    <a:lnTo>
                      <a:pt x="69" y="40"/>
                    </a:lnTo>
                    <a:lnTo>
                      <a:pt x="69" y="40"/>
                    </a:lnTo>
                    <a:lnTo>
                      <a:pt x="69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2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6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0" y="32"/>
                    </a:lnTo>
                    <a:lnTo>
                      <a:pt x="80" y="32"/>
                    </a:lnTo>
                    <a:lnTo>
                      <a:pt x="80" y="32"/>
                    </a:lnTo>
                    <a:lnTo>
                      <a:pt x="80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28"/>
                    </a:lnTo>
                    <a:lnTo>
                      <a:pt x="82" y="28"/>
                    </a:lnTo>
                    <a:lnTo>
                      <a:pt x="84" y="28"/>
                    </a:lnTo>
                    <a:lnTo>
                      <a:pt x="84" y="26"/>
                    </a:lnTo>
                    <a:lnTo>
                      <a:pt x="84" y="26"/>
                    </a:lnTo>
                    <a:lnTo>
                      <a:pt x="84" y="24"/>
                    </a:lnTo>
                    <a:lnTo>
                      <a:pt x="84" y="23"/>
                    </a:lnTo>
                    <a:lnTo>
                      <a:pt x="84" y="21"/>
                    </a:lnTo>
                    <a:lnTo>
                      <a:pt x="86" y="19"/>
                    </a:lnTo>
                    <a:lnTo>
                      <a:pt x="88" y="19"/>
                    </a:lnTo>
                    <a:lnTo>
                      <a:pt x="88" y="19"/>
                    </a:lnTo>
                    <a:lnTo>
                      <a:pt x="88" y="17"/>
                    </a:lnTo>
                    <a:lnTo>
                      <a:pt x="88" y="17"/>
                    </a:lnTo>
                    <a:lnTo>
                      <a:pt x="88" y="17"/>
                    </a:lnTo>
                    <a:lnTo>
                      <a:pt x="88" y="17"/>
                    </a:lnTo>
                    <a:lnTo>
                      <a:pt x="90" y="17"/>
                    </a:lnTo>
                    <a:lnTo>
                      <a:pt x="90" y="17"/>
                    </a:lnTo>
                    <a:lnTo>
                      <a:pt x="88" y="15"/>
                    </a:lnTo>
                    <a:lnTo>
                      <a:pt x="88" y="15"/>
                    </a:lnTo>
                    <a:lnTo>
                      <a:pt x="88" y="13"/>
                    </a:lnTo>
                    <a:lnTo>
                      <a:pt x="88" y="13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84" y="13"/>
                    </a:lnTo>
                    <a:lnTo>
                      <a:pt x="84" y="13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4" y="9"/>
                    </a:lnTo>
                    <a:lnTo>
                      <a:pt x="86" y="7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8" y="5"/>
                    </a:lnTo>
                    <a:lnTo>
                      <a:pt x="88" y="4"/>
                    </a:lnTo>
                    <a:lnTo>
                      <a:pt x="91" y="4"/>
                    </a:lnTo>
                    <a:lnTo>
                      <a:pt x="93" y="4"/>
                    </a:lnTo>
                    <a:lnTo>
                      <a:pt x="97" y="4"/>
                    </a:lnTo>
                    <a:lnTo>
                      <a:pt x="99" y="4"/>
                    </a:lnTo>
                    <a:lnTo>
                      <a:pt x="110" y="5"/>
                    </a:lnTo>
                    <a:lnTo>
                      <a:pt x="110" y="5"/>
                    </a:lnTo>
                    <a:lnTo>
                      <a:pt x="120" y="4"/>
                    </a:lnTo>
                    <a:lnTo>
                      <a:pt x="128" y="2"/>
                    </a:lnTo>
                    <a:lnTo>
                      <a:pt x="133" y="0"/>
                    </a:lnTo>
                    <a:lnTo>
                      <a:pt x="133" y="0"/>
                    </a:lnTo>
                    <a:lnTo>
                      <a:pt x="137" y="0"/>
                    </a:lnTo>
                    <a:lnTo>
                      <a:pt x="141" y="2"/>
                    </a:lnTo>
                    <a:lnTo>
                      <a:pt x="145" y="5"/>
                    </a:lnTo>
                    <a:lnTo>
                      <a:pt x="149" y="11"/>
                    </a:lnTo>
                    <a:lnTo>
                      <a:pt x="152" y="23"/>
                    </a:lnTo>
                    <a:lnTo>
                      <a:pt x="156" y="28"/>
                    </a:lnTo>
                    <a:lnTo>
                      <a:pt x="158" y="30"/>
                    </a:lnTo>
                    <a:lnTo>
                      <a:pt x="175" y="42"/>
                    </a:lnTo>
                    <a:lnTo>
                      <a:pt x="185" y="45"/>
                    </a:lnTo>
                    <a:lnTo>
                      <a:pt x="192" y="47"/>
                    </a:lnTo>
                    <a:lnTo>
                      <a:pt x="192" y="47"/>
                    </a:lnTo>
                    <a:lnTo>
                      <a:pt x="198" y="47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6" name="Freeform 48">
                <a:extLst>
                  <a:ext uri="{FF2B5EF4-FFF2-40B4-BE49-F238E27FC236}">
                    <a16:creationId xmlns:a16="http://schemas.microsoft.com/office/drawing/2014/main" id="{6D42C0EA-CEBA-4063-A84E-AAE5E86DBC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1932" y="1791174"/>
                <a:ext cx="203200" cy="130175"/>
              </a:xfrm>
              <a:custGeom>
                <a:avLst/>
                <a:gdLst>
                  <a:gd name="T0" fmla="*/ 25 w 128"/>
                  <a:gd name="T1" fmla="*/ 9 h 82"/>
                  <a:gd name="T2" fmla="*/ 29 w 128"/>
                  <a:gd name="T3" fmla="*/ 9 h 82"/>
                  <a:gd name="T4" fmla="*/ 33 w 128"/>
                  <a:gd name="T5" fmla="*/ 9 h 82"/>
                  <a:gd name="T6" fmla="*/ 34 w 128"/>
                  <a:gd name="T7" fmla="*/ 9 h 82"/>
                  <a:gd name="T8" fmla="*/ 36 w 128"/>
                  <a:gd name="T9" fmla="*/ 11 h 82"/>
                  <a:gd name="T10" fmla="*/ 38 w 128"/>
                  <a:gd name="T11" fmla="*/ 15 h 82"/>
                  <a:gd name="T12" fmla="*/ 40 w 128"/>
                  <a:gd name="T13" fmla="*/ 15 h 82"/>
                  <a:gd name="T14" fmla="*/ 46 w 128"/>
                  <a:gd name="T15" fmla="*/ 17 h 82"/>
                  <a:gd name="T16" fmla="*/ 50 w 128"/>
                  <a:gd name="T17" fmla="*/ 19 h 82"/>
                  <a:gd name="T18" fmla="*/ 59 w 128"/>
                  <a:gd name="T19" fmla="*/ 17 h 82"/>
                  <a:gd name="T20" fmla="*/ 63 w 128"/>
                  <a:gd name="T21" fmla="*/ 17 h 82"/>
                  <a:gd name="T22" fmla="*/ 65 w 128"/>
                  <a:gd name="T23" fmla="*/ 19 h 82"/>
                  <a:gd name="T24" fmla="*/ 71 w 128"/>
                  <a:gd name="T25" fmla="*/ 25 h 82"/>
                  <a:gd name="T26" fmla="*/ 75 w 128"/>
                  <a:gd name="T27" fmla="*/ 26 h 82"/>
                  <a:gd name="T28" fmla="*/ 78 w 128"/>
                  <a:gd name="T29" fmla="*/ 26 h 82"/>
                  <a:gd name="T30" fmla="*/ 88 w 128"/>
                  <a:gd name="T31" fmla="*/ 25 h 82"/>
                  <a:gd name="T32" fmla="*/ 92 w 128"/>
                  <a:gd name="T33" fmla="*/ 25 h 82"/>
                  <a:gd name="T34" fmla="*/ 92 w 128"/>
                  <a:gd name="T35" fmla="*/ 25 h 82"/>
                  <a:gd name="T36" fmla="*/ 111 w 128"/>
                  <a:gd name="T37" fmla="*/ 28 h 82"/>
                  <a:gd name="T38" fmla="*/ 115 w 128"/>
                  <a:gd name="T39" fmla="*/ 26 h 82"/>
                  <a:gd name="T40" fmla="*/ 116 w 128"/>
                  <a:gd name="T41" fmla="*/ 25 h 82"/>
                  <a:gd name="T42" fmla="*/ 120 w 128"/>
                  <a:gd name="T43" fmla="*/ 23 h 82"/>
                  <a:gd name="T44" fmla="*/ 122 w 128"/>
                  <a:gd name="T45" fmla="*/ 23 h 82"/>
                  <a:gd name="T46" fmla="*/ 124 w 128"/>
                  <a:gd name="T47" fmla="*/ 23 h 82"/>
                  <a:gd name="T48" fmla="*/ 128 w 128"/>
                  <a:gd name="T49" fmla="*/ 23 h 82"/>
                  <a:gd name="T50" fmla="*/ 80 w 128"/>
                  <a:gd name="T51" fmla="*/ 51 h 82"/>
                  <a:gd name="T52" fmla="*/ 33 w 128"/>
                  <a:gd name="T53" fmla="*/ 82 h 82"/>
                  <a:gd name="T54" fmla="*/ 17 w 128"/>
                  <a:gd name="T55" fmla="*/ 40 h 82"/>
                  <a:gd name="T56" fmla="*/ 0 w 128"/>
                  <a:gd name="T57" fmla="*/ 0 h 82"/>
                  <a:gd name="T58" fmla="*/ 0 w 128"/>
                  <a:gd name="T59" fmla="*/ 0 h 82"/>
                  <a:gd name="T60" fmla="*/ 6 w 128"/>
                  <a:gd name="T61" fmla="*/ 0 h 82"/>
                  <a:gd name="T62" fmla="*/ 8 w 128"/>
                  <a:gd name="T63" fmla="*/ 0 h 82"/>
                  <a:gd name="T64" fmla="*/ 10 w 128"/>
                  <a:gd name="T65" fmla="*/ 2 h 82"/>
                  <a:gd name="T66" fmla="*/ 12 w 128"/>
                  <a:gd name="T67" fmla="*/ 6 h 82"/>
                  <a:gd name="T68" fmla="*/ 13 w 128"/>
                  <a:gd name="T69" fmla="*/ 7 h 82"/>
                  <a:gd name="T70" fmla="*/ 17 w 128"/>
                  <a:gd name="T71" fmla="*/ 9 h 82"/>
                  <a:gd name="T72" fmla="*/ 19 w 128"/>
                  <a:gd name="T73" fmla="*/ 9 h 82"/>
                  <a:gd name="T74" fmla="*/ 25 w 128"/>
                  <a:gd name="T75" fmla="*/ 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8" h="82">
                    <a:moveTo>
                      <a:pt x="25" y="9"/>
                    </a:moveTo>
                    <a:lnTo>
                      <a:pt x="29" y="9"/>
                    </a:lnTo>
                    <a:lnTo>
                      <a:pt x="33" y="9"/>
                    </a:lnTo>
                    <a:lnTo>
                      <a:pt x="34" y="9"/>
                    </a:lnTo>
                    <a:lnTo>
                      <a:pt x="36" y="11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6" y="17"/>
                    </a:lnTo>
                    <a:lnTo>
                      <a:pt x="50" y="19"/>
                    </a:lnTo>
                    <a:lnTo>
                      <a:pt x="59" y="17"/>
                    </a:lnTo>
                    <a:lnTo>
                      <a:pt x="63" y="17"/>
                    </a:lnTo>
                    <a:lnTo>
                      <a:pt x="65" y="19"/>
                    </a:lnTo>
                    <a:lnTo>
                      <a:pt x="71" y="25"/>
                    </a:lnTo>
                    <a:lnTo>
                      <a:pt x="75" y="26"/>
                    </a:lnTo>
                    <a:lnTo>
                      <a:pt x="78" y="26"/>
                    </a:lnTo>
                    <a:lnTo>
                      <a:pt x="88" y="25"/>
                    </a:lnTo>
                    <a:lnTo>
                      <a:pt x="92" y="25"/>
                    </a:lnTo>
                    <a:lnTo>
                      <a:pt x="92" y="25"/>
                    </a:lnTo>
                    <a:lnTo>
                      <a:pt x="111" y="28"/>
                    </a:lnTo>
                    <a:lnTo>
                      <a:pt x="115" y="26"/>
                    </a:lnTo>
                    <a:lnTo>
                      <a:pt x="116" y="25"/>
                    </a:lnTo>
                    <a:lnTo>
                      <a:pt x="120" y="23"/>
                    </a:lnTo>
                    <a:lnTo>
                      <a:pt x="122" y="23"/>
                    </a:lnTo>
                    <a:lnTo>
                      <a:pt x="124" y="23"/>
                    </a:lnTo>
                    <a:lnTo>
                      <a:pt x="128" y="23"/>
                    </a:lnTo>
                    <a:lnTo>
                      <a:pt x="80" y="51"/>
                    </a:lnTo>
                    <a:lnTo>
                      <a:pt x="33" y="82"/>
                    </a:lnTo>
                    <a:lnTo>
                      <a:pt x="17" y="4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2" y="6"/>
                    </a:lnTo>
                    <a:lnTo>
                      <a:pt x="13" y="7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25" y="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7" name="Freeform 49">
                <a:extLst>
                  <a:ext uri="{FF2B5EF4-FFF2-40B4-BE49-F238E27FC236}">
                    <a16:creationId xmlns:a16="http://schemas.microsoft.com/office/drawing/2014/main" id="{3C536447-DC0A-4226-8BE9-CBF9D7565B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3094" y="2792886"/>
                <a:ext cx="106363" cy="85725"/>
              </a:xfrm>
              <a:custGeom>
                <a:avLst/>
                <a:gdLst>
                  <a:gd name="T0" fmla="*/ 67 w 67"/>
                  <a:gd name="T1" fmla="*/ 54 h 54"/>
                  <a:gd name="T2" fmla="*/ 67 w 67"/>
                  <a:gd name="T3" fmla="*/ 54 h 54"/>
                  <a:gd name="T4" fmla="*/ 48 w 67"/>
                  <a:gd name="T5" fmla="*/ 54 h 54"/>
                  <a:gd name="T6" fmla="*/ 37 w 67"/>
                  <a:gd name="T7" fmla="*/ 50 h 54"/>
                  <a:gd name="T8" fmla="*/ 23 w 67"/>
                  <a:gd name="T9" fmla="*/ 52 h 54"/>
                  <a:gd name="T10" fmla="*/ 14 w 67"/>
                  <a:gd name="T11" fmla="*/ 48 h 54"/>
                  <a:gd name="T12" fmla="*/ 12 w 67"/>
                  <a:gd name="T13" fmla="*/ 46 h 54"/>
                  <a:gd name="T14" fmla="*/ 12 w 67"/>
                  <a:gd name="T15" fmla="*/ 42 h 54"/>
                  <a:gd name="T16" fmla="*/ 10 w 67"/>
                  <a:gd name="T17" fmla="*/ 37 h 54"/>
                  <a:gd name="T18" fmla="*/ 6 w 67"/>
                  <a:gd name="T19" fmla="*/ 31 h 54"/>
                  <a:gd name="T20" fmla="*/ 2 w 67"/>
                  <a:gd name="T21" fmla="*/ 23 h 54"/>
                  <a:gd name="T22" fmla="*/ 0 w 67"/>
                  <a:gd name="T23" fmla="*/ 21 h 54"/>
                  <a:gd name="T24" fmla="*/ 2 w 67"/>
                  <a:gd name="T25" fmla="*/ 21 h 54"/>
                  <a:gd name="T26" fmla="*/ 4 w 67"/>
                  <a:gd name="T27" fmla="*/ 21 h 54"/>
                  <a:gd name="T28" fmla="*/ 4 w 67"/>
                  <a:gd name="T29" fmla="*/ 21 h 54"/>
                  <a:gd name="T30" fmla="*/ 6 w 67"/>
                  <a:gd name="T31" fmla="*/ 19 h 54"/>
                  <a:gd name="T32" fmla="*/ 6 w 67"/>
                  <a:gd name="T33" fmla="*/ 18 h 54"/>
                  <a:gd name="T34" fmla="*/ 8 w 67"/>
                  <a:gd name="T35" fmla="*/ 12 h 54"/>
                  <a:gd name="T36" fmla="*/ 12 w 67"/>
                  <a:gd name="T37" fmla="*/ 14 h 54"/>
                  <a:gd name="T38" fmla="*/ 14 w 67"/>
                  <a:gd name="T39" fmla="*/ 18 h 54"/>
                  <a:gd name="T40" fmla="*/ 16 w 67"/>
                  <a:gd name="T41" fmla="*/ 18 h 54"/>
                  <a:gd name="T42" fmla="*/ 18 w 67"/>
                  <a:gd name="T43" fmla="*/ 14 h 54"/>
                  <a:gd name="T44" fmla="*/ 20 w 67"/>
                  <a:gd name="T45" fmla="*/ 8 h 54"/>
                  <a:gd name="T46" fmla="*/ 21 w 67"/>
                  <a:gd name="T47" fmla="*/ 2 h 54"/>
                  <a:gd name="T48" fmla="*/ 27 w 67"/>
                  <a:gd name="T49" fmla="*/ 0 h 54"/>
                  <a:gd name="T50" fmla="*/ 29 w 67"/>
                  <a:gd name="T51" fmla="*/ 2 h 54"/>
                  <a:gd name="T52" fmla="*/ 33 w 67"/>
                  <a:gd name="T53" fmla="*/ 4 h 54"/>
                  <a:gd name="T54" fmla="*/ 37 w 67"/>
                  <a:gd name="T55" fmla="*/ 8 h 54"/>
                  <a:gd name="T56" fmla="*/ 37 w 67"/>
                  <a:gd name="T57" fmla="*/ 10 h 54"/>
                  <a:gd name="T58" fmla="*/ 39 w 67"/>
                  <a:gd name="T59" fmla="*/ 12 h 54"/>
                  <a:gd name="T60" fmla="*/ 39 w 67"/>
                  <a:gd name="T61" fmla="*/ 14 h 54"/>
                  <a:gd name="T62" fmla="*/ 41 w 67"/>
                  <a:gd name="T63" fmla="*/ 14 h 54"/>
                  <a:gd name="T64" fmla="*/ 42 w 67"/>
                  <a:gd name="T65" fmla="*/ 16 h 54"/>
                  <a:gd name="T66" fmla="*/ 44 w 67"/>
                  <a:gd name="T67" fmla="*/ 16 h 54"/>
                  <a:gd name="T68" fmla="*/ 44 w 67"/>
                  <a:gd name="T69" fmla="*/ 18 h 54"/>
                  <a:gd name="T70" fmla="*/ 44 w 67"/>
                  <a:gd name="T71" fmla="*/ 18 h 54"/>
                  <a:gd name="T72" fmla="*/ 44 w 67"/>
                  <a:gd name="T73" fmla="*/ 19 h 54"/>
                  <a:gd name="T74" fmla="*/ 44 w 67"/>
                  <a:gd name="T75" fmla="*/ 21 h 54"/>
                  <a:gd name="T76" fmla="*/ 44 w 67"/>
                  <a:gd name="T77" fmla="*/ 23 h 54"/>
                  <a:gd name="T78" fmla="*/ 46 w 67"/>
                  <a:gd name="T79" fmla="*/ 23 h 54"/>
                  <a:gd name="T80" fmla="*/ 46 w 67"/>
                  <a:gd name="T81" fmla="*/ 25 h 54"/>
                  <a:gd name="T82" fmla="*/ 46 w 67"/>
                  <a:gd name="T83" fmla="*/ 27 h 54"/>
                  <a:gd name="T84" fmla="*/ 46 w 67"/>
                  <a:gd name="T85" fmla="*/ 27 h 54"/>
                  <a:gd name="T86" fmla="*/ 46 w 67"/>
                  <a:gd name="T87" fmla="*/ 29 h 54"/>
                  <a:gd name="T88" fmla="*/ 46 w 67"/>
                  <a:gd name="T89" fmla="*/ 31 h 54"/>
                  <a:gd name="T90" fmla="*/ 48 w 67"/>
                  <a:gd name="T91" fmla="*/ 31 h 54"/>
                  <a:gd name="T92" fmla="*/ 50 w 67"/>
                  <a:gd name="T93" fmla="*/ 33 h 54"/>
                  <a:gd name="T94" fmla="*/ 52 w 67"/>
                  <a:gd name="T95" fmla="*/ 33 h 54"/>
                  <a:gd name="T96" fmla="*/ 54 w 67"/>
                  <a:gd name="T97" fmla="*/ 37 h 54"/>
                  <a:gd name="T98" fmla="*/ 54 w 67"/>
                  <a:gd name="T99" fmla="*/ 39 h 54"/>
                  <a:gd name="T100" fmla="*/ 54 w 67"/>
                  <a:gd name="T101" fmla="*/ 42 h 54"/>
                  <a:gd name="T102" fmla="*/ 54 w 67"/>
                  <a:gd name="T103" fmla="*/ 44 h 54"/>
                  <a:gd name="T104" fmla="*/ 56 w 67"/>
                  <a:gd name="T105" fmla="*/ 46 h 54"/>
                  <a:gd name="T106" fmla="*/ 60 w 67"/>
                  <a:gd name="T107" fmla="*/ 48 h 54"/>
                  <a:gd name="T108" fmla="*/ 63 w 67"/>
                  <a:gd name="T109" fmla="*/ 50 h 54"/>
                  <a:gd name="T110" fmla="*/ 65 w 67"/>
                  <a:gd name="T111" fmla="*/ 50 h 54"/>
                  <a:gd name="T112" fmla="*/ 67 w 67"/>
                  <a:gd name="T113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7" h="54">
                    <a:moveTo>
                      <a:pt x="67" y="54"/>
                    </a:moveTo>
                    <a:lnTo>
                      <a:pt x="67" y="54"/>
                    </a:lnTo>
                    <a:lnTo>
                      <a:pt x="48" y="54"/>
                    </a:lnTo>
                    <a:lnTo>
                      <a:pt x="37" y="50"/>
                    </a:lnTo>
                    <a:lnTo>
                      <a:pt x="23" y="52"/>
                    </a:lnTo>
                    <a:lnTo>
                      <a:pt x="14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0" y="37"/>
                    </a:lnTo>
                    <a:lnTo>
                      <a:pt x="6" y="31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2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6" y="19"/>
                    </a:lnTo>
                    <a:lnTo>
                      <a:pt x="6" y="18"/>
                    </a:lnTo>
                    <a:lnTo>
                      <a:pt x="8" y="12"/>
                    </a:lnTo>
                    <a:lnTo>
                      <a:pt x="12" y="14"/>
                    </a:lnTo>
                    <a:lnTo>
                      <a:pt x="14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8"/>
                    </a:lnTo>
                    <a:lnTo>
                      <a:pt x="21" y="2"/>
                    </a:lnTo>
                    <a:lnTo>
                      <a:pt x="27" y="0"/>
                    </a:lnTo>
                    <a:lnTo>
                      <a:pt x="29" y="2"/>
                    </a:lnTo>
                    <a:lnTo>
                      <a:pt x="33" y="4"/>
                    </a:lnTo>
                    <a:lnTo>
                      <a:pt x="37" y="8"/>
                    </a:lnTo>
                    <a:lnTo>
                      <a:pt x="37" y="10"/>
                    </a:lnTo>
                    <a:lnTo>
                      <a:pt x="39" y="12"/>
                    </a:lnTo>
                    <a:lnTo>
                      <a:pt x="39" y="14"/>
                    </a:lnTo>
                    <a:lnTo>
                      <a:pt x="41" y="14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4" y="21"/>
                    </a:lnTo>
                    <a:lnTo>
                      <a:pt x="44" y="23"/>
                    </a:lnTo>
                    <a:lnTo>
                      <a:pt x="46" y="23"/>
                    </a:lnTo>
                    <a:lnTo>
                      <a:pt x="46" y="25"/>
                    </a:lnTo>
                    <a:lnTo>
                      <a:pt x="46" y="27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6" y="31"/>
                    </a:lnTo>
                    <a:lnTo>
                      <a:pt x="48" y="31"/>
                    </a:lnTo>
                    <a:lnTo>
                      <a:pt x="50" y="33"/>
                    </a:lnTo>
                    <a:lnTo>
                      <a:pt x="52" y="33"/>
                    </a:lnTo>
                    <a:lnTo>
                      <a:pt x="54" y="37"/>
                    </a:lnTo>
                    <a:lnTo>
                      <a:pt x="54" y="39"/>
                    </a:lnTo>
                    <a:lnTo>
                      <a:pt x="54" y="42"/>
                    </a:lnTo>
                    <a:lnTo>
                      <a:pt x="54" y="44"/>
                    </a:lnTo>
                    <a:lnTo>
                      <a:pt x="56" y="46"/>
                    </a:lnTo>
                    <a:lnTo>
                      <a:pt x="60" y="48"/>
                    </a:lnTo>
                    <a:lnTo>
                      <a:pt x="63" y="50"/>
                    </a:lnTo>
                    <a:lnTo>
                      <a:pt x="65" y="50"/>
                    </a:lnTo>
                    <a:lnTo>
                      <a:pt x="67" y="54"/>
                    </a:lnTo>
                    <a:close/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8" name="Freeform 50">
                <a:extLst>
                  <a:ext uri="{FF2B5EF4-FFF2-40B4-BE49-F238E27FC236}">
                    <a16:creationId xmlns:a16="http://schemas.microsoft.com/office/drawing/2014/main" id="{A96DC751-CB27-49BD-94C7-76D5251CCE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3094" y="2792886"/>
                <a:ext cx="106363" cy="85725"/>
              </a:xfrm>
              <a:custGeom>
                <a:avLst/>
                <a:gdLst>
                  <a:gd name="T0" fmla="*/ 67 w 67"/>
                  <a:gd name="T1" fmla="*/ 54 h 54"/>
                  <a:gd name="T2" fmla="*/ 67 w 67"/>
                  <a:gd name="T3" fmla="*/ 54 h 54"/>
                  <a:gd name="T4" fmla="*/ 48 w 67"/>
                  <a:gd name="T5" fmla="*/ 54 h 54"/>
                  <a:gd name="T6" fmla="*/ 37 w 67"/>
                  <a:gd name="T7" fmla="*/ 50 h 54"/>
                  <a:gd name="T8" fmla="*/ 23 w 67"/>
                  <a:gd name="T9" fmla="*/ 52 h 54"/>
                  <a:gd name="T10" fmla="*/ 14 w 67"/>
                  <a:gd name="T11" fmla="*/ 48 h 54"/>
                  <a:gd name="T12" fmla="*/ 12 w 67"/>
                  <a:gd name="T13" fmla="*/ 46 h 54"/>
                  <a:gd name="T14" fmla="*/ 12 w 67"/>
                  <a:gd name="T15" fmla="*/ 42 h 54"/>
                  <a:gd name="T16" fmla="*/ 10 w 67"/>
                  <a:gd name="T17" fmla="*/ 37 h 54"/>
                  <a:gd name="T18" fmla="*/ 6 w 67"/>
                  <a:gd name="T19" fmla="*/ 31 h 54"/>
                  <a:gd name="T20" fmla="*/ 2 w 67"/>
                  <a:gd name="T21" fmla="*/ 23 h 54"/>
                  <a:gd name="T22" fmla="*/ 0 w 67"/>
                  <a:gd name="T23" fmla="*/ 21 h 54"/>
                  <a:gd name="T24" fmla="*/ 2 w 67"/>
                  <a:gd name="T25" fmla="*/ 21 h 54"/>
                  <a:gd name="T26" fmla="*/ 4 w 67"/>
                  <a:gd name="T27" fmla="*/ 21 h 54"/>
                  <a:gd name="T28" fmla="*/ 4 w 67"/>
                  <a:gd name="T29" fmla="*/ 21 h 54"/>
                  <a:gd name="T30" fmla="*/ 6 w 67"/>
                  <a:gd name="T31" fmla="*/ 19 h 54"/>
                  <a:gd name="T32" fmla="*/ 6 w 67"/>
                  <a:gd name="T33" fmla="*/ 18 h 54"/>
                  <a:gd name="T34" fmla="*/ 8 w 67"/>
                  <a:gd name="T35" fmla="*/ 12 h 54"/>
                  <a:gd name="T36" fmla="*/ 12 w 67"/>
                  <a:gd name="T37" fmla="*/ 14 h 54"/>
                  <a:gd name="T38" fmla="*/ 14 w 67"/>
                  <a:gd name="T39" fmla="*/ 18 h 54"/>
                  <a:gd name="T40" fmla="*/ 16 w 67"/>
                  <a:gd name="T41" fmla="*/ 18 h 54"/>
                  <a:gd name="T42" fmla="*/ 18 w 67"/>
                  <a:gd name="T43" fmla="*/ 14 h 54"/>
                  <a:gd name="T44" fmla="*/ 20 w 67"/>
                  <a:gd name="T45" fmla="*/ 8 h 54"/>
                  <a:gd name="T46" fmla="*/ 21 w 67"/>
                  <a:gd name="T47" fmla="*/ 2 h 54"/>
                  <a:gd name="T48" fmla="*/ 27 w 67"/>
                  <a:gd name="T49" fmla="*/ 0 h 54"/>
                  <a:gd name="T50" fmla="*/ 29 w 67"/>
                  <a:gd name="T51" fmla="*/ 2 h 54"/>
                  <a:gd name="T52" fmla="*/ 33 w 67"/>
                  <a:gd name="T53" fmla="*/ 4 h 54"/>
                  <a:gd name="T54" fmla="*/ 37 w 67"/>
                  <a:gd name="T55" fmla="*/ 8 h 54"/>
                  <a:gd name="T56" fmla="*/ 37 w 67"/>
                  <a:gd name="T57" fmla="*/ 10 h 54"/>
                  <a:gd name="T58" fmla="*/ 39 w 67"/>
                  <a:gd name="T59" fmla="*/ 12 h 54"/>
                  <a:gd name="T60" fmla="*/ 39 w 67"/>
                  <a:gd name="T61" fmla="*/ 14 h 54"/>
                  <a:gd name="T62" fmla="*/ 41 w 67"/>
                  <a:gd name="T63" fmla="*/ 14 h 54"/>
                  <a:gd name="T64" fmla="*/ 42 w 67"/>
                  <a:gd name="T65" fmla="*/ 16 h 54"/>
                  <a:gd name="T66" fmla="*/ 44 w 67"/>
                  <a:gd name="T67" fmla="*/ 16 h 54"/>
                  <a:gd name="T68" fmla="*/ 44 w 67"/>
                  <a:gd name="T69" fmla="*/ 18 h 54"/>
                  <a:gd name="T70" fmla="*/ 44 w 67"/>
                  <a:gd name="T71" fmla="*/ 18 h 54"/>
                  <a:gd name="T72" fmla="*/ 44 w 67"/>
                  <a:gd name="T73" fmla="*/ 19 h 54"/>
                  <a:gd name="T74" fmla="*/ 44 w 67"/>
                  <a:gd name="T75" fmla="*/ 21 h 54"/>
                  <a:gd name="T76" fmla="*/ 44 w 67"/>
                  <a:gd name="T77" fmla="*/ 23 h 54"/>
                  <a:gd name="T78" fmla="*/ 46 w 67"/>
                  <a:gd name="T79" fmla="*/ 23 h 54"/>
                  <a:gd name="T80" fmla="*/ 46 w 67"/>
                  <a:gd name="T81" fmla="*/ 25 h 54"/>
                  <a:gd name="T82" fmla="*/ 46 w 67"/>
                  <a:gd name="T83" fmla="*/ 27 h 54"/>
                  <a:gd name="T84" fmla="*/ 46 w 67"/>
                  <a:gd name="T85" fmla="*/ 27 h 54"/>
                  <a:gd name="T86" fmla="*/ 46 w 67"/>
                  <a:gd name="T87" fmla="*/ 29 h 54"/>
                  <a:gd name="T88" fmla="*/ 46 w 67"/>
                  <a:gd name="T89" fmla="*/ 31 h 54"/>
                  <a:gd name="T90" fmla="*/ 48 w 67"/>
                  <a:gd name="T91" fmla="*/ 31 h 54"/>
                  <a:gd name="T92" fmla="*/ 50 w 67"/>
                  <a:gd name="T93" fmla="*/ 33 h 54"/>
                  <a:gd name="T94" fmla="*/ 52 w 67"/>
                  <a:gd name="T95" fmla="*/ 33 h 54"/>
                  <a:gd name="T96" fmla="*/ 54 w 67"/>
                  <a:gd name="T97" fmla="*/ 37 h 54"/>
                  <a:gd name="T98" fmla="*/ 54 w 67"/>
                  <a:gd name="T99" fmla="*/ 39 h 54"/>
                  <a:gd name="T100" fmla="*/ 54 w 67"/>
                  <a:gd name="T101" fmla="*/ 42 h 54"/>
                  <a:gd name="T102" fmla="*/ 54 w 67"/>
                  <a:gd name="T103" fmla="*/ 44 h 54"/>
                  <a:gd name="T104" fmla="*/ 56 w 67"/>
                  <a:gd name="T105" fmla="*/ 46 h 54"/>
                  <a:gd name="T106" fmla="*/ 60 w 67"/>
                  <a:gd name="T107" fmla="*/ 48 h 54"/>
                  <a:gd name="T108" fmla="*/ 63 w 67"/>
                  <a:gd name="T109" fmla="*/ 50 h 54"/>
                  <a:gd name="T110" fmla="*/ 65 w 67"/>
                  <a:gd name="T111" fmla="*/ 50 h 54"/>
                  <a:gd name="T112" fmla="*/ 67 w 67"/>
                  <a:gd name="T113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7" h="54">
                    <a:moveTo>
                      <a:pt x="67" y="54"/>
                    </a:moveTo>
                    <a:lnTo>
                      <a:pt x="67" y="54"/>
                    </a:lnTo>
                    <a:lnTo>
                      <a:pt x="48" y="54"/>
                    </a:lnTo>
                    <a:lnTo>
                      <a:pt x="37" y="50"/>
                    </a:lnTo>
                    <a:lnTo>
                      <a:pt x="23" y="52"/>
                    </a:lnTo>
                    <a:lnTo>
                      <a:pt x="14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0" y="37"/>
                    </a:lnTo>
                    <a:lnTo>
                      <a:pt x="6" y="31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2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6" y="19"/>
                    </a:lnTo>
                    <a:lnTo>
                      <a:pt x="6" y="18"/>
                    </a:lnTo>
                    <a:lnTo>
                      <a:pt x="8" y="12"/>
                    </a:lnTo>
                    <a:lnTo>
                      <a:pt x="12" y="14"/>
                    </a:lnTo>
                    <a:lnTo>
                      <a:pt x="14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8"/>
                    </a:lnTo>
                    <a:lnTo>
                      <a:pt x="21" y="2"/>
                    </a:lnTo>
                    <a:lnTo>
                      <a:pt x="27" y="0"/>
                    </a:lnTo>
                    <a:lnTo>
                      <a:pt x="29" y="2"/>
                    </a:lnTo>
                    <a:lnTo>
                      <a:pt x="33" y="4"/>
                    </a:lnTo>
                    <a:lnTo>
                      <a:pt x="37" y="8"/>
                    </a:lnTo>
                    <a:lnTo>
                      <a:pt x="37" y="10"/>
                    </a:lnTo>
                    <a:lnTo>
                      <a:pt x="39" y="12"/>
                    </a:lnTo>
                    <a:lnTo>
                      <a:pt x="39" y="14"/>
                    </a:lnTo>
                    <a:lnTo>
                      <a:pt x="41" y="14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4" y="21"/>
                    </a:lnTo>
                    <a:lnTo>
                      <a:pt x="44" y="23"/>
                    </a:lnTo>
                    <a:lnTo>
                      <a:pt x="46" y="23"/>
                    </a:lnTo>
                    <a:lnTo>
                      <a:pt x="46" y="25"/>
                    </a:lnTo>
                    <a:lnTo>
                      <a:pt x="46" y="27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6" y="31"/>
                    </a:lnTo>
                    <a:lnTo>
                      <a:pt x="48" y="31"/>
                    </a:lnTo>
                    <a:lnTo>
                      <a:pt x="50" y="33"/>
                    </a:lnTo>
                    <a:lnTo>
                      <a:pt x="52" y="33"/>
                    </a:lnTo>
                    <a:lnTo>
                      <a:pt x="54" y="37"/>
                    </a:lnTo>
                    <a:lnTo>
                      <a:pt x="54" y="39"/>
                    </a:lnTo>
                    <a:lnTo>
                      <a:pt x="54" y="42"/>
                    </a:lnTo>
                    <a:lnTo>
                      <a:pt x="54" y="44"/>
                    </a:lnTo>
                    <a:lnTo>
                      <a:pt x="56" y="46"/>
                    </a:lnTo>
                    <a:lnTo>
                      <a:pt x="60" y="48"/>
                    </a:lnTo>
                    <a:lnTo>
                      <a:pt x="63" y="50"/>
                    </a:lnTo>
                    <a:lnTo>
                      <a:pt x="65" y="50"/>
                    </a:lnTo>
                    <a:lnTo>
                      <a:pt x="67" y="54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9" name="Freeform 51">
                <a:extLst>
                  <a:ext uri="{FF2B5EF4-FFF2-40B4-BE49-F238E27FC236}">
                    <a16:creationId xmlns:a16="http://schemas.microsoft.com/office/drawing/2014/main" id="{C30A323A-385F-4297-814F-2312745634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5819" y="2923061"/>
                <a:ext cx="63500" cy="73025"/>
              </a:xfrm>
              <a:custGeom>
                <a:avLst/>
                <a:gdLst>
                  <a:gd name="T0" fmla="*/ 23 w 40"/>
                  <a:gd name="T1" fmla="*/ 16 h 46"/>
                  <a:gd name="T2" fmla="*/ 25 w 40"/>
                  <a:gd name="T3" fmla="*/ 16 h 46"/>
                  <a:gd name="T4" fmla="*/ 29 w 40"/>
                  <a:gd name="T5" fmla="*/ 12 h 46"/>
                  <a:gd name="T6" fmla="*/ 30 w 40"/>
                  <a:gd name="T7" fmla="*/ 12 h 46"/>
                  <a:gd name="T8" fmla="*/ 32 w 40"/>
                  <a:gd name="T9" fmla="*/ 14 h 46"/>
                  <a:gd name="T10" fmla="*/ 34 w 40"/>
                  <a:gd name="T11" fmla="*/ 19 h 46"/>
                  <a:gd name="T12" fmla="*/ 38 w 40"/>
                  <a:gd name="T13" fmla="*/ 21 h 46"/>
                  <a:gd name="T14" fmla="*/ 40 w 40"/>
                  <a:gd name="T15" fmla="*/ 23 h 46"/>
                  <a:gd name="T16" fmla="*/ 36 w 40"/>
                  <a:gd name="T17" fmla="*/ 29 h 46"/>
                  <a:gd name="T18" fmla="*/ 36 w 40"/>
                  <a:gd name="T19" fmla="*/ 29 h 46"/>
                  <a:gd name="T20" fmla="*/ 34 w 40"/>
                  <a:gd name="T21" fmla="*/ 29 h 46"/>
                  <a:gd name="T22" fmla="*/ 34 w 40"/>
                  <a:gd name="T23" fmla="*/ 29 h 46"/>
                  <a:gd name="T24" fmla="*/ 32 w 40"/>
                  <a:gd name="T25" fmla="*/ 29 h 46"/>
                  <a:gd name="T26" fmla="*/ 32 w 40"/>
                  <a:gd name="T27" fmla="*/ 31 h 46"/>
                  <a:gd name="T28" fmla="*/ 32 w 40"/>
                  <a:gd name="T29" fmla="*/ 33 h 46"/>
                  <a:gd name="T30" fmla="*/ 32 w 40"/>
                  <a:gd name="T31" fmla="*/ 33 h 46"/>
                  <a:gd name="T32" fmla="*/ 34 w 40"/>
                  <a:gd name="T33" fmla="*/ 35 h 46"/>
                  <a:gd name="T34" fmla="*/ 36 w 40"/>
                  <a:gd name="T35" fmla="*/ 36 h 46"/>
                  <a:gd name="T36" fmla="*/ 36 w 40"/>
                  <a:gd name="T37" fmla="*/ 40 h 46"/>
                  <a:gd name="T38" fmla="*/ 36 w 40"/>
                  <a:gd name="T39" fmla="*/ 42 h 46"/>
                  <a:gd name="T40" fmla="*/ 34 w 40"/>
                  <a:gd name="T41" fmla="*/ 44 h 46"/>
                  <a:gd name="T42" fmla="*/ 32 w 40"/>
                  <a:gd name="T43" fmla="*/ 46 h 46"/>
                  <a:gd name="T44" fmla="*/ 30 w 40"/>
                  <a:gd name="T45" fmla="*/ 42 h 46"/>
                  <a:gd name="T46" fmla="*/ 27 w 40"/>
                  <a:gd name="T47" fmla="*/ 35 h 46"/>
                  <a:gd name="T48" fmla="*/ 21 w 40"/>
                  <a:gd name="T49" fmla="*/ 29 h 46"/>
                  <a:gd name="T50" fmla="*/ 11 w 40"/>
                  <a:gd name="T51" fmla="*/ 27 h 46"/>
                  <a:gd name="T52" fmla="*/ 11 w 40"/>
                  <a:gd name="T53" fmla="*/ 17 h 46"/>
                  <a:gd name="T54" fmla="*/ 11 w 40"/>
                  <a:gd name="T55" fmla="*/ 12 h 46"/>
                  <a:gd name="T56" fmla="*/ 4 w 40"/>
                  <a:gd name="T57" fmla="*/ 8 h 46"/>
                  <a:gd name="T58" fmla="*/ 0 w 40"/>
                  <a:gd name="T59" fmla="*/ 0 h 46"/>
                  <a:gd name="T60" fmla="*/ 2 w 40"/>
                  <a:gd name="T61" fmla="*/ 0 h 46"/>
                  <a:gd name="T62" fmla="*/ 11 w 40"/>
                  <a:gd name="T63" fmla="*/ 4 h 46"/>
                  <a:gd name="T64" fmla="*/ 13 w 40"/>
                  <a:gd name="T65" fmla="*/ 8 h 46"/>
                  <a:gd name="T66" fmla="*/ 17 w 40"/>
                  <a:gd name="T67" fmla="*/ 10 h 46"/>
                  <a:gd name="T68" fmla="*/ 19 w 40"/>
                  <a:gd name="T69" fmla="*/ 14 h 46"/>
                  <a:gd name="T70" fmla="*/ 23 w 40"/>
                  <a:gd name="T71" fmla="*/ 1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0" h="46">
                    <a:moveTo>
                      <a:pt x="23" y="16"/>
                    </a:moveTo>
                    <a:lnTo>
                      <a:pt x="25" y="16"/>
                    </a:lnTo>
                    <a:lnTo>
                      <a:pt x="29" y="12"/>
                    </a:lnTo>
                    <a:lnTo>
                      <a:pt x="30" y="12"/>
                    </a:lnTo>
                    <a:lnTo>
                      <a:pt x="32" y="14"/>
                    </a:lnTo>
                    <a:lnTo>
                      <a:pt x="34" y="19"/>
                    </a:lnTo>
                    <a:lnTo>
                      <a:pt x="38" y="21"/>
                    </a:lnTo>
                    <a:lnTo>
                      <a:pt x="40" y="23"/>
                    </a:lnTo>
                    <a:lnTo>
                      <a:pt x="36" y="29"/>
                    </a:lnTo>
                    <a:lnTo>
                      <a:pt x="36" y="29"/>
                    </a:lnTo>
                    <a:lnTo>
                      <a:pt x="34" y="29"/>
                    </a:lnTo>
                    <a:lnTo>
                      <a:pt x="34" y="29"/>
                    </a:lnTo>
                    <a:lnTo>
                      <a:pt x="32" y="29"/>
                    </a:lnTo>
                    <a:lnTo>
                      <a:pt x="32" y="31"/>
                    </a:lnTo>
                    <a:lnTo>
                      <a:pt x="32" y="33"/>
                    </a:lnTo>
                    <a:lnTo>
                      <a:pt x="32" y="33"/>
                    </a:lnTo>
                    <a:lnTo>
                      <a:pt x="34" y="35"/>
                    </a:lnTo>
                    <a:lnTo>
                      <a:pt x="36" y="36"/>
                    </a:lnTo>
                    <a:lnTo>
                      <a:pt x="36" y="40"/>
                    </a:lnTo>
                    <a:lnTo>
                      <a:pt x="36" y="42"/>
                    </a:lnTo>
                    <a:lnTo>
                      <a:pt x="34" y="44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27" y="35"/>
                    </a:lnTo>
                    <a:lnTo>
                      <a:pt x="21" y="29"/>
                    </a:lnTo>
                    <a:lnTo>
                      <a:pt x="11" y="27"/>
                    </a:lnTo>
                    <a:lnTo>
                      <a:pt x="11" y="17"/>
                    </a:lnTo>
                    <a:lnTo>
                      <a:pt x="11" y="12"/>
                    </a:lnTo>
                    <a:lnTo>
                      <a:pt x="4" y="8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1" y="4"/>
                    </a:lnTo>
                    <a:lnTo>
                      <a:pt x="13" y="8"/>
                    </a:lnTo>
                    <a:lnTo>
                      <a:pt x="17" y="10"/>
                    </a:lnTo>
                    <a:lnTo>
                      <a:pt x="19" y="14"/>
                    </a:lnTo>
                    <a:lnTo>
                      <a:pt x="23" y="16"/>
                    </a:lnTo>
                    <a:close/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50" name="Freeform 52">
                <a:extLst>
                  <a:ext uri="{FF2B5EF4-FFF2-40B4-BE49-F238E27FC236}">
                    <a16:creationId xmlns:a16="http://schemas.microsoft.com/office/drawing/2014/main" id="{CB37A508-7C99-4D08-82A7-D9570C132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5819" y="2923061"/>
                <a:ext cx="63500" cy="73025"/>
              </a:xfrm>
              <a:custGeom>
                <a:avLst/>
                <a:gdLst>
                  <a:gd name="T0" fmla="*/ 23 w 40"/>
                  <a:gd name="T1" fmla="*/ 16 h 46"/>
                  <a:gd name="T2" fmla="*/ 25 w 40"/>
                  <a:gd name="T3" fmla="*/ 16 h 46"/>
                  <a:gd name="T4" fmla="*/ 29 w 40"/>
                  <a:gd name="T5" fmla="*/ 12 h 46"/>
                  <a:gd name="T6" fmla="*/ 30 w 40"/>
                  <a:gd name="T7" fmla="*/ 12 h 46"/>
                  <a:gd name="T8" fmla="*/ 32 w 40"/>
                  <a:gd name="T9" fmla="*/ 14 h 46"/>
                  <a:gd name="T10" fmla="*/ 34 w 40"/>
                  <a:gd name="T11" fmla="*/ 19 h 46"/>
                  <a:gd name="T12" fmla="*/ 38 w 40"/>
                  <a:gd name="T13" fmla="*/ 21 h 46"/>
                  <a:gd name="T14" fmla="*/ 40 w 40"/>
                  <a:gd name="T15" fmla="*/ 23 h 46"/>
                  <a:gd name="T16" fmla="*/ 36 w 40"/>
                  <a:gd name="T17" fmla="*/ 29 h 46"/>
                  <a:gd name="T18" fmla="*/ 36 w 40"/>
                  <a:gd name="T19" fmla="*/ 29 h 46"/>
                  <a:gd name="T20" fmla="*/ 34 w 40"/>
                  <a:gd name="T21" fmla="*/ 29 h 46"/>
                  <a:gd name="T22" fmla="*/ 34 w 40"/>
                  <a:gd name="T23" fmla="*/ 29 h 46"/>
                  <a:gd name="T24" fmla="*/ 32 w 40"/>
                  <a:gd name="T25" fmla="*/ 29 h 46"/>
                  <a:gd name="T26" fmla="*/ 32 w 40"/>
                  <a:gd name="T27" fmla="*/ 31 h 46"/>
                  <a:gd name="T28" fmla="*/ 32 w 40"/>
                  <a:gd name="T29" fmla="*/ 33 h 46"/>
                  <a:gd name="T30" fmla="*/ 32 w 40"/>
                  <a:gd name="T31" fmla="*/ 33 h 46"/>
                  <a:gd name="T32" fmla="*/ 34 w 40"/>
                  <a:gd name="T33" fmla="*/ 35 h 46"/>
                  <a:gd name="T34" fmla="*/ 36 w 40"/>
                  <a:gd name="T35" fmla="*/ 36 h 46"/>
                  <a:gd name="T36" fmla="*/ 36 w 40"/>
                  <a:gd name="T37" fmla="*/ 40 h 46"/>
                  <a:gd name="T38" fmla="*/ 36 w 40"/>
                  <a:gd name="T39" fmla="*/ 42 h 46"/>
                  <a:gd name="T40" fmla="*/ 34 w 40"/>
                  <a:gd name="T41" fmla="*/ 44 h 46"/>
                  <a:gd name="T42" fmla="*/ 32 w 40"/>
                  <a:gd name="T43" fmla="*/ 46 h 46"/>
                  <a:gd name="T44" fmla="*/ 30 w 40"/>
                  <a:gd name="T45" fmla="*/ 42 h 46"/>
                  <a:gd name="T46" fmla="*/ 27 w 40"/>
                  <a:gd name="T47" fmla="*/ 35 h 46"/>
                  <a:gd name="T48" fmla="*/ 21 w 40"/>
                  <a:gd name="T49" fmla="*/ 29 h 46"/>
                  <a:gd name="T50" fmla="*/ 11 w 40"/>
                  <a:gd name="T51" fmla="*/ 27 h 46"/>
                  <a:gd name="T52" fmla="*/ 11 w 40"/>
                  <a:gd name="T53" fmla="*/ 17 h 46"/>
                  <a:gd name="T54" fmla="*/ 11 w 40"/>
                  <a:gd name="T55" fmla="*/ 12 h 46"/>
                  <a:gd name="T56" fmla="*/ 4 w 40"/>
                  <a:gd name="T57" fmla="*/ 8 h 46"/>
                  <a:gd name="T58" fmla="*/ 0 w 40"/>
                  <a:gd name="T59" fmla="*/ 0 h 46"/>
                  <a:gd name="T60" fmla="*/ 2 w 40"/>
                  <a:gd name="T61" fmla="*/ 0 h 46"/>
                  <a:gd name="T62" fmla="*/ 11 w 40"/>
                  <a:gd name="T63" fmla="*/ 4 h 46"/>
                  <a:gd name="T64" fmla="*/ 13 w 40"/>
                  <a:gd name="T65" fmla="*/ 8 h 46"/>
                  <a:gd name="T66" fmla="*/ 17 w 40"/>
                  <a:gd name="T67" fmla="*/ 10 h 46"/>
                  <a:gd name="T68" fmla="*/ 19 w 40"/>
                  <a:gd name="T69" fmla="*/ 14 h 46"/>
                  <a:gd name="T70" fmla="*/ 23 w 40"/>
                  <a:gd name="T71" fmla="*/ 1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0" h="46">
                    <a:moveTo>
                      <a:pt x="23" y="16"/>
                    </a:moveTo>
                    <a:lnTo>
                      <a:pt x="25" y="16"/>
                    </a:lnTo>
                    <a:lnTo>
                      <a:pt x="29" y="12"/>
                    </a:lnTo>
                    <a:lnTo>
                      <a:pt x="30" y="12"/>
                    </a:lnTo>
                    <a:lnTo>
                      <a:pt x="32" y="14"/>
                    </a:lnTo>
                    <a:lnTo>
                      <a:pt x="34" y="19"/>
                    </a:lnTo>
                    <a:lnTo>
                      <a:pt x="38" y="21"/>
                    </a:lnTo>
                    <a:lnTo>
                      <a:pt x="40" y="23"/>
                    </a:lnTo>
                    <a:lnTo>
                      <a:pt x="36" y="29"/>
                    </a:lnTo>
                    <a:lnTo>
                      <a:pt x="36" y="29"/>
                    </a:lnTo>
                    <a:lnTo>
                      <a:pt x="34" y="29"/>
                    </a:lnTo>
                    <a:lnTo>
                      <a:pt x="34" y="29"/>
                    </a:lnTo>
                    <a:lnTo>
                      <a:pt x="32" y="29"/>
                    </a:lnTo>
                    <a:lnTo>
                      <a:pt x="32" y="31"/>
                    </a:lnTo>
                    <a:lnTo>
                      <a:pt x="32" y="33"/>
                    </a:lnTo>
                    <a:lnTo>
                      <a:pt x="32" y="33"/>
                    </a:lnTo>
                    <a:lnTo>
                      <a:pt x="34" y="35"/>
                    </a:lnTo>
                    <a:lnTo>
                      <a:pt x="36" y="36"/>
                    </a:lnTo>
                    <a:lnTo>
                      <a:pt x="36" y="40"/>
                    </a:lnTo>
                    <a:lnTo>
                      <a:pt x="36" y="42"/>
                    </a:lnTo>
                    <a:lnTo>
                      <a:pt x="34" y="44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27" y="35"/>
                    </a:lnTo>
                    <a:lnTo>
                      <a:pt x="21" y="29"/>
                    </a:lnTo>
                    <a:lnTo>
                      <a:pt x="11" y="27"/>
                    </a:lnTo>
                    <a:lnTo>
                      <a:pt x="11" y="17"/>
                    </a:lnTo>
                    <a:lnTo>
                      <a:pt x="11" y="12"/>
                    </a:lnTo>
                    <a:lnTo>
                      <a:pt x="4" y="8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1" y="4"/>
                    </a:lnTo>
                    <a:lnTo>
                      <a:pt x="13" y="8"/>
                    </a:lnTo>
                    <a:lnTo>
                      <a:pt x="17" y="10"/>
                    </a:lnTo>
                    <a:lnTo>
                      <a:pt x="19" y="14"/>
                    </a:lnTo>
                    <a:lnTo>
                      <a:pt x="23" y="1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51" name="Freeform 24">
                <a:extLst>
                  <a:ext uri="{FF2B5EF4-FFF2-40B4-BE49-F238E27FC236}">
                    <a16:creationId xmlns:a16="http://schemas.microsoft.com/office/drawing/2014/main" id="{3BBCEE1E-7416-4EA8-9A4D-D24365D7B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9394" y="5645624"/>
                <a:ext cx="889000" cy="1406525"/>
              </a:xfrm>
              <a:custGeom>
                <a:avLst/>
                <a:gdLst>
                  <a:gd name="T0" fmla="*/ 534 w 560"/>
                  <a:gd name="T1" fmla="*/ 660 h 886"/>
                  <a:gd name="T2" fmla="*/ 516 w 560"/>
                  <a:gd name="T3" fmla="*/ 633 h 886"/>
                  <a:gd name="T4" fmla="*/ 499 w 560"/>
                  <a:gd name="T5" fmla="*/ 601 h 886"/>
                  <a:gd name="T6" fmla="*/ 476 w 560"/>
                  <a:gd name="T7" fmla="*/ 591 h 886"/>
                  <a:gd name="T8" fmla="*/ 450 w 560"/>
                  <a:gd name="T9" fmla="*/ 610 h 886"/>
                  <a:gd name="T10" fmla="*/ 417 w 560"/>
                  <a:gd name="T11" fmla="*/ 610 h 886"/>
                  <a:gd name="T12" fmla="*/ 381 w 560"/>
                  <a:gd name="T13" fmla="*/ 593 h 886"/>
                  <a:gd name="T14" fmla="*/ 371 w 560"/>
                  <a:gd name="T15" fmla="*/ 614 h 886"/>
                  <a:gd name="T16" fmla="*/ 366 w 560"/>
                  <a:gd name="T17" fmla="*/ 593 h 886"/>
                  <a:gd name="T18" fmla="*/ 360 w 560"/>
                  <a:gd name="T19" fmla="*/ 561 h 886"/>
                  <a:gd name="T20" fmla="*/ 404 w 560"/>
                  <a:gd name="T21" fmla="*/ 586 h 886"/>
                  <a:gd name="T22" fmla="*/ 410 w 560"/>
                  <a:gd name="T23" fmla="*/ 570 h 886"/>
                  <a:gd name="T24" fmla="*/ 417 w 560"/>
                  <a:gd name="T25" fmla="*/ 542 h 886"/>
                  <a:gd name="T26" fmla="*/ 391 w 560"/>
                  <a:gd name="T27" fmla="*/ 540 h 886"/>
                  <a:gd name="T28" fmla="*/ 347 w 560"/>
                  <a:gd name="T29" fmla="*/ 536 h 886"/>
                  <a:gd name="T30" fmla="*/ 339 w 560"/>
                  <a:gd name="T31" fmla="*/ 515 h 886"/>
                  <a:gd name="T32" fmla="*/ 337 w 560"/>
                  <a:gd name="T33" fmla="*/ 458 h 886"/>
                  <a:gd name="T34" fmla="*/ 370 w 560"/>
                  <a:gd name="T35" fmla="*/ 452 h 886"/>
                  <a:gd name="T36" fmla="*/ 360 w 560"/>
                  <a:gd name="T37" fmla="*/ 388 h 886"/>
                  <a:gd name="T38" fmla="*/ 368 w 560"/>
                  <a:gd name="T39" fmla="*/ 352 h 886"/>
                  <a:gd name="T40" fmla="*/ 431 w 560"/>
                  <a:gd name="T41" fmla="*/ 285 h 886"/>
                  <a:gd name="T42" fmla="*/ 419 w 560"/>
                  <a:gd name="T43" fmla="*/ 237 h 886"/>
                  <a:gd name="T44" fmla="*/ 415 w 560"/>
                  <a:gd name="T45" fmla="*/ 173 h 886"/>
                  <a:gd name="T46" fmla="*/ 438 w 560"/>
                  <a:gd name="T47" fmla="*/ 116 h 886"/>
                  <a:gd name="T48" fmla="*/ 432 w 560"/>
                  <a:gd name="T49" fmla="*/ 79 h 886"/>
                  <a:gd name="T50" fmla="*/ 425 w 560"/>
                  <a:gd name="T51" fmla="*/ 22 h 886"/>
                  <a:gd name="T52" fmla="*/ 379 w 560"/>
                  <a:gd name="T53" fmla="*/ 28 h 886"/>
                  <a:gd name="T54" fmla="*/ 335 w 560"/>
                  <a:gd name="T55" fmla="*/ 74 h 886"/>
                  <a:gd name="T56" fmla="*/ 297 w 560"/>
                  <a:gd name="T57" fmla="*/ 97 h 886"/>
                  <a:gd name="T58" fmla="*/ 286 w 560"/>
                  <a:gd name="T59" fmla="*/ 140 h 886"/>
                  <a:gd name="T60" fmla="*/ 228 w 560"/>
                  <a:gd name="T61" fmla="*/ 148 h 886"/>
                  <a:gd name="T62" fmla="*/ 183 w 560"/>
                  <a:gd name="T63" fmla="*/ 140 h 886"/>
                  <a:gd name="T64" fmla="*/ 194 w 560"/>
                  <a:gd name="T65" fmla="*/ 192 h 886"/>
                  <a:gd name="T66" fmla="*/ 139 w 560"/>
                  <a:gd name="T67" fmla="*/ 209 h 886"/>
                  <a:gd name="T68" fmla="*/ 95 w 560"/>
                  <a:gd name="T69" fmla="*/ 213 h 886"/>
                  <a:gd name="T70" fmla="*/ 72 w 560"/>
                  <a:gd name="T71" fmla="*/ 243 h 886"/>
                  <a:gd name="T72" fmla="*/ 40 w 560"/>
                  <a:gd name="T73" fmla="*/ 245 h 886"/>
                  <a:gd name="T74" fmla="*/ 17 w 560"/>
                  <a:gd name="T75" fmla="*/ 260 h 886"/>
                  <a:gd name="T76" fmla="*/ 32 w 560"/>
                  <a:gd name="T77" fmla="*/ 272 h 886"/>
                  <a:gd name="T78" fmla="*/ 47 w 560"/>
                  <a:gd name="T79" fmla="*/ 308 h 886"/>
                  <a:gd name="T80" fmla="*/ 24 w 560"/>
                  <a:gd name="T81" fmla="*/ 357 h 886"/>
                  <a:gd name="T82" fmla="*/ 11 w 560"/>
                  <a:gd name="T83" fmla="*/ 369 h 886"/>
                  <a:gd name="T84" fmla="*/ 19 w 560"/>
                  <a:gd name="T85" fmla="*/ 420 h 886"/>
                  <a:gd name="T86" fmla="*/ 3 w 560"/>
                  <a:gd name="T87" fmla="*/ 466 h 886"/>
                  <a:gd name="T88" fmla="*/ 5 w 560"/>
                  <a:gd name="T89" fmla="*/ 483 h 886"/>
                  <a:gd name="T90" fmla="*/ 30 w 560"/>
                  <a:gd name="T91" fmla="*/ 511 h 886"/>
                  <a:gd name="T92" fmla="*/ 43 w 560"/>
                  <a:gd name="T93" fmla="*/ 546 h 886"/>
                  <a:gd name="T94" fmla="*/ 78 w 560"/>
                  <a:gd name="T95" fmla="*/ 626 h 886"/>
                  <a:gd name="T96" fmla="*/ 80 w 560"/>
                  <a:gd name="T97" fmla="*/ 677 h 886"/>
                  <a:gd name="T98" fmla="*/ 106 w 560"/>
                  <a:gd name="T99" fmla="*/ 740 h 886"/>
                  <a:gd name="T100" fmla="*/ 125 w 560"/>
                  <a:gd name="T101" fmla="*/ 755 h 886"/>
                  <a:gd name="T102" fmla="*/ 150 w 560"/>
                  <a:gd name="T103" fmla="*/ 776 h 886"/>
                  <a:gd name="T104" fmla="*/ 166 w 560"/>
                  <a:gd name="T105" fmla="*/ 801 h 886"/>
                  <a:gd name="T106" fmla="*/ 217 w 560"/>
                  <a:gd name="T107" fmla="*/ 844 h 886"/>
                  <a:gd name="T108" fmla="*/ 268 w 560"/>
                  <a:gd name="T109" fmla="*/ 863 h 886"/>
                  <a:gd name="T110" fmla="*/ 309 w 560"/>
                  <a:gd name="T111" fmla="*/ 884 h 886"/>
                  <a:gd name="T112" fmla="*/ 396 w 560"/>
                  <a:gd name="T113" fmla="*/ 861 h 886"/>
                  <a:gd name="T114" fmla="*/ 461 w 560"/>
                  <a:gd name="T115" fmla="*/ 827 h 886"/>
                  <a:gd name="T116" fmla="*/ 438 w 560"/>
                  <a:gd name="T117" fmla="*/ 776 h 886"/>
                  <a:gd name="T118" fmla="*/ 465 w 560"/>
                  <a:gd name="T119" fmla="*/ 728 h 886"/>
                  <a:gd name="T120" fmla="*/ 522 w 560"/>
                  <a:gd name="T121" fmla="*/ 728 h 886"/>
                  <a:gd name="T122" fmla="*/ 541 w 560"/>
                  <a:gd name="T123" fmla="*/ 721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60" h="886">
                    <a:moveTo>
                      <a:pt x="560" y="675"/>
                    </a:moveTo>
                    <a:lnTo>
                      <a:pt x="560" y="673"/>
                    </a:lnTo>
                    <a:lnTo>
                      <a:pt x="560" y="673"/>
                    </a:lnTo>
                    <a:lnTo>
                      <a:pt x="560" y="673"/>
                    </a:lnTo>
                    <a:lnTo>
                      <a:pt x="558" y="671"/>
                    </a:lnTo>
                    <a:lnTo>
                      <a:pt x="558" y="673"/>
                    </a:lnTo>
                    <a:lnTo>
                      <a:pt x="556" y="675"/>
                    </a:lnTo>
                    <a:lnTo>
                      <a:pt x="556" y="675"/>
                    </a:lnTo>
                    <a:lnTo>
                      <a:pt x="555" y="675"/>
                    </a:lnTo>
                    <a:lnTo>
                      <a:pt x="555" y="675"/>
                    </a:lnTo>
                    <a:lnTo>
                      <a:pt x="555" y="675"/>
                    </a:lnTo>
                    <a:lnTo>
                      <a:pt x="553" y="675"/>
                    </a:lnTo>
                    <a:lnTo>
                      <a:pt x="549" y="671"/>
                    </a:lnTo>
                    <a:lnTo>
                      <a:pt x="547" y="669"/>
                    </a:lnTo>
                    <a:lnTo>
                      <a:pt x="547" y="669"/>
                    </a:lnTo>
                    <a:lnTo>
                      <a:pt x="545" y="671"/>
                    </a:lnTo>
                    <a:lnTo>
                      <a:pt x="545" y="671"/>
                    </a:lnTo>
                    <a:lnTo>
                      <a:pt x="545" y="669"/>
                    </a:lnTo>
                    <a:lnTo>
                      <a:pt x="543" y="669"/>
                    </a:lnTo>
                    <a:lnTo>
                      <a:pt x="543" y="669"/>
                    </a:lnTo>
                    <a:lnTo>
                      <a:pt x="541" y="669"/>
                    </a:lnTo>
                    <a:lnTo>
                      <a:pt x="541" y="669"/>
                    </a:lnTo>
                    <a:lnTo>
                      <a:pt x="539" y="669"/>
                    </a:lnTo>
                    <a:lnTo>
                      <a:pt x="539" y="669"/>
                    </a:lnTo>
                    <a:lnTo>
                      <a:pt x="537" y="669"/>
                    </a:lnTo>
                    <a:lnTo>
                      <a:pt x="537" y="667"/>
                    </a:lnTo>
                    <a:lnTo>
                      <a:pt x="537" y="665"/>
                    </a:lnTo>
                    <a:lnTo>
                      <a:pt x="535" y="665"/>
                    </a:lnTo>
                    <a:lnTo>
                      <a:pt x="535" y="664"/>
                    </a:lnTo>
                    <a:lnTo>
                      <a:pt x="534" y="664"/>
                    </a:lnTo>
                    <a:lnTo>
                      <a:pt x="534" y="662"/>
                    </a:lnTo>
                    <a:lnTo>
                      <a:pt x="534" y="662"/>
                    </a:lnTo>
                    <a:lnTo>
                      <a:pt x="534" y="660"/>
                    </a:lnTo>
                    <a:lnTo>
                      <a:pt x="534" y="660"/>
                    </a:lnTo>
                    <a:lnTo>
                      <a:pt x="535" y="660"/>
                    </a:lnTo>
                    <a:lnTo>
                      <a:pt x="535" y="658"/>
                    </a:lnTo>
                    <a:lnTo>
                      <a:pt x="535" y="658"/>
                    </a:lnTo>
                    <a:lnTo>
                      <a:pt x="535" y="652"/>
                    </a:lnTo>
                    <a:lnTo>
                      <a:pt x="535" y="650"/>
                    </a:lnTo>
                    <a:lnTo>
                      <a:pt x="535" y="648"/>
                    </a:lnTo>
                    <a:lnTo>
                      <a:pt x="535" y="648"/>
                    </a:lnTo>
                    <a:lnTo>
                      <a:pt x="535" y="646"/>
                    </a:lnTo>
                    <a:lnTo>
                      <a:pt x="535" y="646"/>
                    </a:lnTo>
                    <a:lnTo>
                      <a:pt x="535" y="643"/>
                    </a:lnTo>
                    <a:lnTo>
                      <a:pt x="535" y="641"/>
                    </a:lnTo>
                    <a:lnTo>
                      <a:pt x="535" y="639"/>
                    </a:lnTo>
                    <a:lnTo>
                      <a:pt x="537" y="637"/>
                    </a:lnTo>
                    <a:lnTo>
                      <a:pt x="537" y="637"/>
                    </a:lnTo>
                    <a:lnTo>
                      <a:pt x="537" y="635"/>
                    </a:lnTo>
                    <a:lnTo>
                      <a:pt x="535" y="635"/>
                    </a:lnTo>
                    <a:lnTo>
                      <a:pt x="535" y="635"/>
                    </a:lnTo>
                    <a:lnTo>
                      <a:pt x="534" y="635"/>
                    </a:lnTo>
                    <a:lnTo>
                      <a:pt x="532" y="635"/>
                    </a:lnTo>
                    <a:lnTo>
                      <a:pt x="532" y="635"/>
                    </a:lnTo>
                    <a:lnTo>
                      <a:pt x="532" y="635"/>
                    </a:lnTo>
                    <a:lnTo>
                      <a:pt x="530" y="635"/>
                    </a:lnTo>
                    <a:lnTo>
                      <a:pt x="528" y="633"/>
                    </a:lnTo>
                    <a:lnTo>
                      <a:pt x="528" y="633"/>
                    </a:lnTo>
                    <a:lnTo>
                      <a:pt x="528" y="633"/>
                    </a:lnTo>
                    <a:lnTo>
                      <a:pt x="526" y="633"/>
                    </a:lnTo>
                    <a:lnTo>
                      <a:pt x="524" y="635"/>
                    </a:lnTo>
                    <a:lnTo>
                      <a:pt x="524" y="635"/>
                    </a:lnTo>
                    <a:lnTo>
                      <a:pt x="522" y="635"/>
                    </a:lnTo>
                    <a:lnTo>
                      <a:pt x="522" y="635"/>
                    </a:lnTo>
                    <a:lnTo>
                      <a:pt x="518" y="635"/>
                    </a:lnTo>
                    <a:lnTo>
                      <a:pt x="516" y="633"/>
                    </a:lnTo>
                    <a:lnTo>
                      <a:pt x="514" y="633"/>
                    </a:lnTo>
                    <a:lnTo>
                      <a:pt x="513" y="633"/>
                    </a:lnTo>
                    <a:lnTo>
                      <a:pt x="513" y="633"/>
                    </a:lnTo>
                    <a:lnTo>
                      <a:pt x="513" y="633"/>
                    </a:lnTo>
                    <a:lnTo>
                      <a:pt x="511" y="631"/>
                    </a:lnTo>
                    <a:lnTo>
                      <a:pt x="507" y="627"/>
                    </a:lnTo>
                    <a:lnTo>
                      <a:pt x="505" y="626"/>
                    </a:lnTo>
                    <a:lnTo>
                      <a:pt x="505" y="626"/>
                    </a:lnTo>
                    <a:lnTo>
                      <a:pt x="503" y="626"/>
                    </a:lnTo>
                    <a:lnTo>
                      <a:pt x="503" y="626"/>
                    </a:lnTo>
                    <a:lnTo>
                      <a:pt x="501" y="627"/>
                    </a:lnTo>
                    <a:lnTo>
                      <a:pt x="499" y="627"/>
                    </a:lnTo>
                    <a:lnTo>
                      <a:pt x="499" y="626"/>
                    </a:lnTo>
                    <a:lnTo>
                      <a:pt x="497" y="624"/>
                    </a:lnTo>
                    <a:lnTo>
                      <a:pt x="497" y="624"/>
                    </a:lnTo>
                    <a:lnTo>
                      <a:pt x="497" y="622"/>
                    </a:lnTo>
                    <a:lnTo>
                      <a:pt x="497" y="622"/>
                    </a:lnTo>
                    <a:lnTo>
                      <a:pt x="499" y="622"/>
                    </a:lnTo>
                    <a:lnTo>
                      <a:pt x="501" y="622"/>
                    </a:lnTo>
                    <a:lnTo>
                      <a:pt x="501" y="622"/>
                    </a:lnTo>
                    <a:lnTo>
                      <a:pt x="503" y="622"/>
                    </a:lnTo>
                    <a:lnTo>
                      <a:pt x="503" y="620"/>
                    </a:lnTo>
                    <a:lnTo>
                      <a:pt x="503" y="620"/>
                    </a:lnTo>
                    <a:lnTo>
                      <a:pt x="503" y="618"/>
                    </a:lnTo>
                    <a:lnTo>
                      <a:pt x="501" y="616"/>
                    </a:lnTo>
                    <a:lnTo>
                      <a:pt x="501" y="614"/>
                    </a:lnTo>
                    <a:lnTo>
                      <a:pt x="499" y="614"/>
                    </a:lnTo>
                    <a:lnTo>
                      <a:pt x="501" y="612"/>
                    </a:lnTo>
                    <a:lnTo>
                      <a:pt x="501" y="610"/>
                    </a:lnTo>
                    <a:lnTo>
                      <a:pt x="501" y="608"/>
                    </a:lnTo>
                    <a:lnTo>
                      <a:pt x="501" y="606"/>
                    </a:lnTo>
                    <a:lnTo>
                      <a:pt x="501" y="605"/>
                    </a:lnTo>
                    <a:lnTo>
                      <a:pt x="499" y="601"/>
                    </a:lnTo>
                    <a:lnTo>
                      <a:pt x="494" y="597"/>
                    </a:lnTo>
                    <a:lnTo>
                      <a:pt x="490" y="599"/>
                    </a:lnTo>
                    <a:lnTo>
                      <a:pt x="490" y="599"/>
                    </a:lnTo>
                    <a:lnTo>
                      <a:pt x="490" y="599"/>
                    </a:lnTo>
                    <a:lnTo>
                      <a:pt x="488" y="599"/>
                    </a:lnTo>
                    <a:lnTo>
                      <a:pt x="486" y="599"/>
                    </a:lnTo>
                    <a:lnTo>
                      <a:pt x="484" y="599"/>
                    </a:lnTo>
                    <a:lnTo>
                      <a:pt x="484" y="601"/>
                    </a:lnTo>
                    <a:lnTo>
                      <a:pt x="482" y="603"/>
                    </a:lnTo>
                    <a:lnTo>
                      <a:pt x="480" y="603"/>
                    </a:lnTo>
                    <a:lnTo>
                      <a:pt x="480" y="605"/>
                    </a:lnTo>
                    <a:lnTo>
                      <a:pt x="480" y="603"/>
                    </a:lnTo>
                    <a:lnTo>
                      <a:pt x="478" y="603"/>
                    </a:lnTo>
                    <a:lnTo>
                      <a:pt x="478" y="601"/>
                    </a:lnTo>
                    <a:lnTo>
                      <a:pt x="478" y="599"/>
                    </a:lnTo>
                    <a:lnTo>
                      <a:pt x="478" y="597"/>
                    </a:lnTo>
                    <a:lnTo>
                      <a:pt x="478" y="597"/>
                    </a:lnTo>
                    <a:lnTo>
                      <a:pt x="478" y="595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89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0" y="587"/>
                    </a:lnTo>
                    <a:lnTo>
                      <a:pt x="478" y="587"/>
                    </a:lnTo>
                    <a:lnTo>
                      <a:pt x="478" y="589"/>
                    </a:lnTo>
                    <a:lnTo>
                      <a:pt x="478" y="589"/>
                    </a:lnTo>
                    <a:lnTo>
                      <a:pt x="478" y="591"/>
                    </a:lnTo>
                    <a:lnTo>
                      <a:pt x="476" y="591"/>
                    </a:lnTo>
                    <a:lnTo>
                      <a:pt x="476" y="593"/>
                    </a:lnTo>
                    <a:lnTo>
                      <a:pt x="474" y="593"/>
                    </a:lnTo>
                    <a:lnTo>
                      <a:pt x="473" y="593"/>
                    </a:lnTo>
                    <a:lnTo>
                      <a:pt x="473" y="591"/>
                    </a:lnTo>
                    <a:lnTo>
                      <a:pt x="471" y="591"/>
                    </a:lnTo>
                    <a:lnTo>
                      <a:pt x="471" y="591"/>
                    </a:lnTo>
                    <a:lnTo>
                      <a:pt x="469" y="591"/>
                    </a:lnTo>
                    <a:lnTo>
                      <a:pt x="467" y="591"/>
                    </a:lnTo>
                    <a:lnTo>
                      <a:pt x="465" y="589"/>
                    </a:lnTo>
                    <a:lnTo>
                      <a:pt x="463" y="589"/>
                    </a:lnTo>
                    <a:lnTo>
                      <a:pt x="463" y="589"/>
                    </a:lnTo>
                    <a:lnTo>
                      <a:pt x="461" y="591"/>
                    </a:lnTo>
                    <a:lnTo>
                      <a:pt x="461" y="591"/>
                    </a:lnTo>
                    <a:lnTo>
                      <a:pt x="461" y="593"/>
                    </a:lnTo>
                    <a:lnTo>
                      <a:pt x="461" y="593"/>
                    </a:lnTo>
                    <a:lnTo>
                      <a:pt x="461" y="595"/>
                    </a:lnTo>
                    <a:lnTo>
                      <a:pt x="463" y="595"/>
                    </a:lnTo>
                    <a:lnTo>
                      <a:pt x="463" y="597"/>
                    </a:lnTo>
                    <a:lnTo>
                      <a:pt x="463" y="597"/>
                    </a:lnTo>
                    <a:lnTo>
                      <a:pt x="463" y="597"/>
                    </a:lnTo>
                    <a:lnTo>
                      <a:pt x="463" y="599"/>
                    </a:lnTo>
                    <a:lnTo>
                      <a:pt x="463" y="599"/>
                    </a:lnTo>
                    <a:lnTo>
                      <a:pt x="461" y="601"/>
                    </a:lnTo>
                    <a:lnTo>
                      <a:pt x="459" y="603"/>
                    </a:lnTo>
                    <a:lnTo>
                      <a:pt x="457" y="603"/>
                    </a:lnTo>
                    <a:lnTo>
                      <a:pt x="457" y="605"/>
                    </a:lnTo>
                    <a:lnTo>
                      <a:pt x="455" y="605"/>
                    </a:lnTo>
                    <a:lnTo>
                      <a:pt x="455" y="606"/>
                    </a:lnTo>
                    <a:lnTo>
                      <a:pt x="452" y="606"/>
                    </a:lnTo>
                    <a:lnTo>
                      <a:pt x="452" y="606"/>
                    </a:lnTo>
                    <a:lnTo>
                      <a:pt x="450" y="608"/>
                    </a:lnTo>
                    <a:lnTo>
                      <a:pt x="450" y="608"/>
                    </a:lnTo>
                    <a:lnTo>
                      <a:pt x="450" y="610"/>
                    </a:lnTo>
                    <a:lnTo>
                      <a:pt x="450" y="612"/>
                    </a:lnTo>
                    <a:lnTo>
                      <a:pt x="448" y="612"/>
                    </a:lnTo>
                    <a:lnTo>
                      <a:pt x="448" y="612"/>
                    </a:lnTo>
                    <a:lnTo>
                      <a:pt x="446" y="612"/>
                    </a:lnTo>
                    <a:lnTo>
                      <a:pt x="446" y="612"/>
                    </a:lnTo>
                    <a:lnTo>
                      <a:pt x="446" y="610"/>
                    </a:lnTo>
                    <a:lnTo>
                      <a:pt x="444" y="610"/>
                    </a:lnTo>
                    <a:lnTo>
                      <a:pt x="442" y="610"/>
                    </a:lnTo>
                    <a:lnTo>
                      <a:pt x="442" y="610"/>
                    </a:lnTo>
                    <a:lnTo>
                      <a:pt x="440" y="610"/>
                    </a:lnTo>
                    <a:lnTo>
                      <a:pt x="440" y="612"/>
                    </a:lnTo>
                    <a:lnTo>
                      <a:pt x="438" y="612"/>
                    </a:lnTo>
                    <a:lnTo>
                      <a:pt x="438" y="612"/>
                    </a:lnTo>
                    <a:lnTo>
                      <a:pt x="438" y="614"/>
                    </a:lnTo>
                    <a:lnTo>
                      <a:pt x="438" y="616"/>
                    </a:lnTo>
                    <a:lnTo>
                      <a:pt x="438" y="616"/>
                    </a:lnTo>
                    <a:lnTo>
                      <a:pt x="438" y="616"/>
                    </a:lnTo>
                    <a:lnTo>
                      <a:pt x="434" y="616"/>
                    </a:lnTo>
                    <a:lnTo>
                      <a:pt x="434" y="616"/>
                    </a:lnTo>
                    <a:lnTo>
                      <a:pt x="431" y="618"/>
                    </a:lnTo>
                    <a:lnTo>
                      <a:pt x="427" y="620"/>
                    </a:lnTo>
                    <a:lnTo>
                      <a:pt x="427" y="620"/>
                    </a:lnTo>
                    <a:lnTo>
                      <a:pt x="425" y="620"/>
                    </a:lnTo>
                    <a:lnTo>
                      <a:pt x="423" y="620"/>
                    </a:lnTo>
                    <a:lnTo>
                      <a:pt x="423" y="620"/>
                    </a:lnTo>
                    <a:lnTo>
                      <a:pt x="421" y="622"/>
                    </a:lnTo>
                    <a:lnTo>
                      <a:pt x="421" y="620"/>
                    </a:lnTo>
                    <a:lnTo>
                      <a:pt x="419" y="620"/>
                    </a:lnTo>
                    <a:lnTo>
                      <a:pt x="419" y="618"/>
                    </a:lnTo>
                    <a:lnTo>
                      <a:pt x="419" y="614"/>
                    </a:lnTo>
                    <a:lnTo>
                      <a:pt x="419" y="614"/>
                    </a:lnTo>
                    <a:lnTo>
                      <a:pt x="419" y="610"/>
                    </a:lnTo>
                    <a:lnTo>
                      <a:pt x="417" y="610"/>
                    </a:lnTo>
                    <a:lnTo>
                      <a:pt x="417" y="608"/>
                    </a:lnTo>
                    <a:lnTo>
                      <a:pt x="417" y="606"/>
                    </a:lnTo>
                    <a:lnTo>
                      <a:pt x="415" y="606"/>
                    </a:lnTo>
                    <a:lnTo>
                      <a:pt x="413" y="605"/>
                    </a:lnTo>
                    <a:lnTo>
                      <a:pt x="413" y="605"/>
                    </a:lnTo>
                    <a:lnTo>
                      <a:pt x="413" y="603"/>
                    </a:lnTo>
                    <a:lnTo>
                      <a:pt x="413" y="603"/>
                    </a:lnTo>
                    <a:lnTo>
                      <a:pt x="413" y="603"/>
                    </a:lnTo>
                    <a:lnTo>
                      <a:pt x="410" y="603"/>
                    </a:lnTo>
                    <a:lnTo>
                      <a:pt x="406" y="601"/>
                    </a:lnTo>
                    <a:lnTo>
                      <a:pt x="404" y="601"/>
                    </a:lnTo>
                    <a:lnTo>
                      <a:pt x="404" y="601"/>
                    </a:lnTo>
                    <a:lnTo>
                      <a:pt x="402" y="601"/>
                    </a:lnTo>
                    <a:lnTo>
                      <a:pt x="400" y="601"/>
                    </a:lnTo>
                    <a:lnTo>
                      <a:pt x="400" y="601"/>
                    </a:lnTo>
                    <a:lnTo>
                      <a:pt x="398" y="601"/>
                    </a:lnTo>
                    <a:lnTo>
                      <a:pt x="396" y="599"/>
                    </a:lnTo>
                    <a:lnTo>
                      <a:pt x="396" y="599"/>
                    </a:lnTo>
                    <a:lnTo>
                      <a:pt x="392" y="599"/>
                    </a:lnTo>
                    <a:lnTo>
                      <a:pt x="392" y="599"/>
                    </a:lnTo>
                    <a:lnTo>
                      <a:pt x="391" y="597"/>
                    </a:lnTo>
                    <a:lnTo>
                      <a:pt x="389" y="595"/>
                    </a:lnTo>
                    <a:lnTo>
                      <a:pt x="389" y="595"/>
                    </a:lnTo>
                    <a:lnTo>
                      <a:pt x="387" y="597"/>
                    </a:lnTo>
                    <a:lnTo>
                      <a:pt x="385" y="599"/>
                    </a:lnTo>
                    <a:lnTo>
                      <a:pt x="385" y="599"/>
                    </a:lnTo>
                    <a:lnTo>
                      <a:pt x="383" y="597"/>
                    </a:lnTo>
                    <a:lnTo>
                      <a:pt x="383" y="597"/>
                    </a:lnTo>
                    <a:lnTo>
                      <a:pt x="383" y="595"/>
                    </a:lnTo>
                    <a:lnTo>
                      <a:pt x="383" y="595"/>
                    </a:lnTo>
                    <a:lnTo>
                      <a:pt x="383" y="593"/>
                    </a:lnTo>
                    <a:lnTo>
                      <a:pt x="383" y="593"/>
                    </a:lnTo>
                    <a:lnTo>
                      <a:pt x="381" y="593"/>
                    </a:lnTo>
                    <a:lnTo>
                      <a:pt x="381" y="595"/>
                    </a:lnTo>
                    <a:lnTo>
                      <a:pt x="381" y="595"/>
                    </a:lnTo>
                    <a:lnTo>
                      <a:pt x="381" y="595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9"/>
                    </a:lnTo>
                    <a:lnTo>
                      <a:pt x="379" y="599"/>
                    </a:lnTo>
                    <a:lnTo>
                      <a:pt x="379" y="599"/>
                    </a:lnTo>
                    <a:lnTo>
                      <a:pt x="377" y="599"/>
                    </a:lnTo>
                    <a:lnTo>
                      <a:pt x="377" y="601"/>
                    </a:lnTo>
                    <a:lnTo>
                      <a:pt x="377" y="601"/>
                    </a:lnTo>
                    <a:lnTo>
                      <a:pt x="377" y="601"/>
                    </a:lnTo>
                    <a:lnTo>
                      <a:pt x="377" y="603"/>
                    </a:lnTo>
                    <a:lnTo>
                      <a:pt x="379" y="603"/>
                    </a:lnTo>
                    <a:lnTo>
                      <a:pt x="379" y="603"/>
                    </a:lnTo>
                    <a:lnTo>
                      <a:pt x="381" y="605"/>
                    </a:lnTo>
                    <a:lnTo>
                      <a:pt x="381" y="605"/>
                    </a:lnTo>
                    <a:lnTo>
                      <a:pt x="381" y="606"/>
                    </a:lnTo>
                    <a:lnTo>
                      <a:pt x="381" y="608"/>
                    </a:lnTo>
                    <a:lnTo>
                      <a:pt x="381" y="610"/>
                    </a:lnTo>
                    <a:lnTo>
                      <a:pt x="381" y="610"/>
                    </a:lnTo>
                    <a:lnTo>
                      <a:pt x="381" y="612"/>
                    </a:lnTo>
                    <a:lnTo>
                      <a:pt x="379" y="612"/>
                    </a:lnTo>
                    <a:lnTo>
                      <a:pt x="377" y="612"/>
                    </a:lnTo>
                    <a:lnTo>
                      <a:pt x="377" y="612"/>
                    </a:lnTo>
                    <a:lnTo>
                      <a:pt x="375" y="612"/>
                    </a:lnTo>
                    <a:lnTo>
                      <a:pt x="373" y="612"/>
                    </a:lnTo>
                    <a:lnTo>
                      <a:pt x="371" y="612"/>
                    </a:lnTo>
                    <a:lnTo>
                      <a:pt x="371" y="612"/>
                    </a:lnTo>
                    <a:lnTo>
                      <a:pt x="371" y="612"/>
                    </a:lnTo>
                    <a:lnTo>
                      <a:pt x="371" y="614"/>
                    </a:lnTo>
                    <a:lnTo>
                      <a:pt x="370" y="614"/>
                    </a:lnTo>
                    <a:lnTo>
                      <a:pt x="370" y="614"/>
                    </a:lnTo>
                    <a:lnTo>
                      <a:pt x="368" y="614"/>
                    </a:lnTo>
                    <a:lnTo>
                      <a:pt x="368" y="614"/>
                    </a:lnTo>
                    <a:lnTo>
                      <a:pt x="366" y="612"/>
                    </a:lnTo>
                    <a:lnTo>
                      <a:pt x="366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2" y="612"/>
                    </a:lnTo>
                    <a:lnTo>
                      <a:pt x="362" y="612"/>
                    </a:lnTo>
                    <a:lnTo>
                      <a:pt x="362" y="614"/>
                    </a:lnTo>
                    <a:lnTo>
                      <a:pt x="362" y="614"/>
                    </a:lnTo>
                    <a:lnTo>
                      <a:pt x="360" y="614"/>
                    </a:lnTo>
                    <a:lnTo>
                      <a:pt x="360" y="612"/>
                    </a:lnTo>
                    <a:lnTo>
                      <a:pt x="360" y="610"/>
                    </a:lnTo>
                    <a:lnTo>
                      <a:pt x="358" y="606"/>
                    </a:lnTo>
                    <a:lnTo>
                      <a:pt x="358" y="605"/>
                    </a:lnTo>
                    <a:lnTo>
                      <a:pt x="358" y="603"/>
                    </a:lnTo>
                    <a:lnTo>
                      <a:pt x="360" y="603"/>
                    </a:lnTo>
                    <a:lnTo>
                      <a:pt x="362" y="601"/>
                    </a:lnTo>
                    <a:lnTo>
                      <a:pt x="362" y="599"/>
                    </a:lnTo>
                    <a:lnTo>
                      <a:pt x="362" y="599"/>
                    </a:lnTo>
                    <a:lnTo>
                      <a:pt x="362" y="599"/>
                    </a:lnTo>
                    <a:lnTo>
                      <a:pt x="364" y="597"/>
                    </a:lnTo>
                    <a:lnTo>
                      <a:pt x="364" y="597"/>
                    </a:lnTo>
                    <a:lnTo>
                      <a:pt x="364" y="595"/>
                    </a:lnTo>
                    <a:lnTo>
                      <a:pt x="364" y="595"/>
                    </a:lnTo>
                    <a:lnTo>
                      <a:pt x="366" y="595"/>
                    </a:lnTo>
                    <a:lnTo>
                      <a:pt x="366" y="595"/>
                    </a:lnTo>
                    <a:lnTo>
                      <a:pt x="366" y="593"/>
                    </a:lnTo>
                    <a:lnTo>
                      <a:pt x="366" y="591"/>
                    </a:lnTo>
                    <a:lnTo>
                      <a:pt x="364" y="591"/>
                    </a:lnTo>
                    <a:lnTo>
                      <a:pt x="362" y="589"/>
                    </a:lnTo>
                    <a:lnTo>
                      <a:pt x="362" y="587"/>
                    </a:lnTo>
                    <a:lnTo>
                      <a:pt x="360" y="584"/>
                    </a:lnTo>
                    <a:lnTo>
                      <a:pt x="358" y="582"/>
                    </a:lnTo>
                    <a:lnTo>
                      <a:pt x="358" y="582"/>
                    </a:lnTo>
                    <a:lnTo>
                      <a:pt x="356" y="582"/>
                    </a:lnTo>
                    <a:lnTo>
                      <a:pt x="356" y="580"/>
                    </a:lnTo>
                    <a:lnTo>
                      <a:pt x="356" y="580"/>
                    </a:lnTo>
                    <a:lnTo>
                      <a:pt x="356" y="576"/>
                    </a:lnTo>
                    <a:lnTo>
                      <a:pt x="356" y="576"/>
                    </a:lnTo>
                    <a:lnTo>
                      <a:pt x="356" y="574"/>
                    </a:lnTo>
                    <a:lnTo>
                      <a:pt x="356" y="574"/>
                    </a:lnTo>
                    <a:lnTo>
                      <a:pt x="356" y="574"/>
                    </a:lnTo>
                    <a:lnTo>
                      <a:pt x="356" y="572"/>
                    </a:lnTo>
                    <a:lnTo>
                      <a:pt x="349" y="565"/>
                    </a:lnTo>
                    <a:lnTo>
                      <a:pt x="349" y="563"/>
                    </a:lnTo>
                    <a:lnTo>
                      <a:pt x="349" y="563"/>
                    </a:lnTo>
                    <a:lnTo>
                      <a:pt x="349" y="561"/>
                    </a:lnTo>
                    <a:lnTo>
                      <a:pt x="350" y="561"/>
                    </a:lnTo>
                    <a:lnTo>
                      <a:pt x="350" y="561"/>
                    </a:lnTo>
                    <a:lnTo>
                      <a:pt x="352" y="561"/>
                    </a:lnTo>
                    <a:lnTo>
                      <a:pt x="352" y="559"/>
                    </a:lnTo>
                    <a:lnTo>
                      <a:pt x="352" y="559"/>
                    </a:lnTo>
                    <a:lnTo>
                      <a:pt x="354" y="557"/>
                    </a:lnTo>
                    <a:lnTo>
                      <a:pt x="354" y="557"/>
                    </a:lnTo>
                    <a:lnTo>
                      <a:pt x="354" y="557"/>
                    </a:lnTo>
                    <a:lnTo>
                      <a:pt x="356" y="559"/>
                    </a:lnTo>
                    <a:lnTo>
                      <a:pt x="358" y="559"/>
                    </a:lnTo>
                    <a:lnTo>
                      <a:pt x="358" y="561"/>
                    </a:lnTo>
                    <a:lnTo>
                      <a:pt x="358" y="561"/>
                    </a:lnTo>
                    <a:lnTo>
                      <a:pt x="360" y="561"/>
                    </a:lnTo>
                    <a:lnTo>
                      <a:pt x="360" y="559"/>
                    </a:lnTo>
                    <a:lnTo>
                      <a:pt x="360" y="561"/>
                    </a:lnTo>
                    <a:lnTo>
                      <a:pt x="360" y="561"/>
                    </a:lnTo>
                    <a:lnTo>
                      <a:pt x="362" y="563"/>
                    </a:lnTo>
                    <a:lnTo>
                      <a:pt x="362" y="568"/>
                    </a:lnTo>
                    <a:lnTo>
                      <a:pt x="362" y="570"/>
                    </a:lnTo>
                    <a:lnTo>
                      <a:pt x="364" y="572"/>
                    </a:lnTo>
                    <a:lnTo>
                      <a:pt x="364" y="574"/>
                    </a:lnTo>
                    <a:lnTo>
                      <a:pt x="364" y="574"/>
                    </a:lnTo>
                    <a:lnTo>
                      <a:pt x="366" y="574"/>
                    </a:lnTo>
                    <a:lnTo>
                      <a:pt x="368" y="576"/>
                    </a:lnTo>
                    <a:lnTo>
                      <a:pt x="370" y="576"/>
                    </a:lnTo>
                    <a:lnTo>
                      <a:pt x="373" y="576"/>
                    </a:lnTo>
                    <a:lnTo>
                      <a:pt x="373" y="578"/>
                    </a:lnTo>
                    <a:lnTo>
                      <a:pt x="375" y="578"/>
                    </a:lnTo>
                    <a:lnTo>
                      <a:pt x="375" y="578"/>
                    </a:lnTo>
                    <a:lnTo>
                      <a:pt x="377" y="580"/>
                    </a:lnTo>
                    <a:lnTo>
                      <a:pt x="377" y="580"/>
                    </a:lnTo>
                    <a:lnTo>
                      <a:pt x="379" y="582"/>
                    </a:lnTo>
                    <a:lnTo>
                      <a:pt x="379" y="582"/>
                    </a:lnTo>
                    <a:lnTo>
                      <a:pt x="381" y="582"/>
                    </a:lnTo>
                    <a:lnTo>
                      <a:pt x="385" y="582"/>
                    </a:lnTo>
                    <a:lnTo>
                      <a:pt x="387" y="582"/>
                    </a:lnTo>
                    <a:lnTo>
                      <a:pt x="394" y="580"/>
                    </a:lnTo>
                    <a:lnTo>
                      <a:pt x="396" y="580"/>
                    </a:lnTo>
                    <a:lnTo>
                      <a:pt x="396" y="580"/>
                    </a:lnTo>
                    <a:lnTo>
                      <a:pt x="398" y="580"/>
                    </a:lnTo>
                    <a:lnTo>
                      <a:pt x="398" y="580"/>
                    </a:lnTo>
                    <a:lnTo>
                      <a:pt x="400" y="580"/>
                    </a:lnTo>
                    <a:lnTo>
                      <a:pt x="400" y="580"/>
                    </a:lnTo>
                    <a:lnTo>
                      <a:pt x="402" y="582"/>
                    </a:lnTo>
                    <a:lnTo>
                      <a:pt x="402" y="582"/>
                    </a:lnTo>
                    <a:lnTo>
                      <a:pt x="404" y="586"/>
                    </a:lnTo>
                    <a:lnTo>
                      <a:pt x="406" y="589"/>
                    </a:lnTo>
                    <a:lnTo>
                      <a:pt x="406" y="589"/>
                    </a:lnTo>
                    <a:lnTo>
                      <a:pt x="406" y="591"/>
                    </a:lnTo>
                    <a:lnTo>
                      <a:pt x="406" y="591"/>
                    </a:lnTo>
                    <a:lnTo>
                      <a:pt x="406" y="593"/>
                    </a:lnTo>
                    <a:lnTo>
                      <a:pt x="406" y="593"/>
                    </a:lnTo>
                    <a:lnTo>
                      <a:pt x="408" y="595"/>
                    </a:lnTo>
                    <a:lnTo>
                      <a:pt x="410" y="595"/>
                    </a:lnTo>
                    <a:lnTo>
                      <a:pt x="412" y="595"/>
                    </a:lnTo>
                    <a:lnTo>
                      <a:pt x="413" y="597"/>
                    </a:lnTo>
                    <a:lnTo>
                      <a:pt x="413" y="595"/>
                    </a:lnTo>
                    <a:lnTo>
                      <a:pt x="415" y="595"/>
                    </a:lnTo>
                    <a:lnTo>
                      <a:pt x="415" y="595"/>
                    </a:lnTo>
                    <a:lnTo>
                      <a:pt x="413" y="593"/>
                    </a:lnTo>
                    <a:lnTo>
                      <a:pt x="413" y="591"/>
                    </a:lnTo>
                    <a:lnTo>
                      <a:pt x="413" y="589"/>
                    </a:lnTo>
                    <a:lnTo>
                      <a:pt x="413" y="589"/>
                    </a:lnTo>
                    <a:lnTo>
                      <a:pt x="413" y="587"/>
                    </a:lnTo>
                    <a:lnTo>
                      <a:pt x="413" y="586"/>
                    </a:lnTo>
                    <a:lnTo>
                      <a:pt x="412" y="586"/>
                    </a:lnTo>
                    <a:lnTo>
                      <a:pt x="412" y="584"/>
                    </a:lnTo>
                    <a:lnTo>
                      <a:pt x="410" y="584"/>
                    </a:lnTo>
                    <a:lnTo>
                      <a:pt x="410" y="584"/>
                    </a:lnTo>
                    <a:lnTo>
                      <a:pt x="410" y="582"/>
                    </a:lnTo>
                    <a:lnTo>
                      <a:pt x="408" y="582"/>
                    </a:lnTo>
                    <a:lnTo>
                      <a:pt x="408" y="580"/>
                    </a:lnTo>
                    <a:lnTo>
                      <a:pt x="408" y="578"/>
                    </a:lnTo>
                    <a:lnTo>
                      <a:pt x="406" y="576"/>
                    </a:lnTo>
                    <a:lnTo>
                      <a:pt x="406" y="576"/>
                    </a:lnTo>
                    <a:lnTo>
                      <a:pt x="406" y="576"/>
                    </a:lnTo>
                    <a:lnTo>
                      <a:pt x="406" y="574"/>
                    </a:lnTo>
                    <a:lnTo>
                      <a:pt x="406" y="574"/>
                    </a:lnTo>
                    <a:lnTo>
                      <a:pt x="410" y="570"/>
                    </a:lnTo>
                    <a:lnTo>
                      <a:pt x="410" y="568"/>
                    </a:lnTo>
                    <a:lnTo>
                      <a:pt x="410" y="568"/>
                    </a:lnTo>
                    <a:lnTo>
                      <a:pt x="410" y="568"/>
                    </a:lnTo>
                    <a:lnTo>
                      <a:pt x="408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5"/>
                    </a:lnTo>
                    <a:lnTo>
                      <a:pt x="408" y="563"/>
                    </a:lnTo>
                    <a:lnTo>
                      <a:pt x="410" y="561"/>
                    </a:lnTo>
                    <a:lnTo>
                      <a:pt x="412" y="561"/>
                    </a:lnTo>
                    <a:lnTo>
                      <a:pt x="412" y="561"/>
                    </a:lnTo>
                    <a:lnTo>
                      <a:pt x="413" y="559"/>
                    </a:lnTo>
                    <a:lnTo>
                      <a:pt x="419" y="559"/>
                    </a:lnTo>
                    <a:lnTo>
                      <a:pt x="421" y="559"/>
                    </a:lnTo>
                    <a:lnTo>
                      <a:pt x="423" y="559"/>
                    </a:lnTo>
                    <a:lnTo>
                      <a:pt x="423" y="557"/>
                    </a:lnTo>
                    <a:lnTo>
                      <a:pt x="423" y="557"/>
                    </a:lnTo>
                    <a:lnTo>
                      <a:pt x="423" y="557"/>
                    </a:lnTo>
                    <a:lnTo>
                      <a:pt x="423" y="555"/>
                    </a:lnTo>
                    <a:lnTo>
                      <a:pt x="421" y="553"/>
                    </a:lnTo>
                    <a:lnTo>
                      <a:pt x="421" y="551"/>
                    </a:lnTo>
                    <a:lnTo>
                      <a:pt x="421" y="549"/>
                    </a:lnTo>
                    <a:lnTo>
                      <a:pt x="421" y="549"/>
                    </a:lnTo>
                    <a:lnTo>
                      <a:pt x="423" y="546"/>
                    </a:lnTo>
                    <a:lnTo>
                      <a:pt x="423" y="546"/>
                    </a:lnTo>
                    <a:lnTo>
                      <a:pt x="423" y="544"/>
                    </a:lnTo>
                    <a:lnTo>
                      <a:pt x="421" y="544"/>
                    </a:lnTo>
                    <a:lnTo>
                      <a:pt x="417" y="544"/>
                    </a:lnTo>
                    <a:lnTo>
                      <a:pt x="417" y="544"/>
                    </a:lnTo>
                    <a:lnTo>
                      <a:pt x="417" y="544"/>
                    </a:lnTo>
                    <a:lnTo>
                      <a:pt x="417" y="542"/>
                    </a:lnTo>
                    <a:lnTo>
                      <a:pt x="415" y="542"/>
                    </a:lnTo>
                    <a:lnTo>
                      <a:pt x="415" y="540"/>
                    </a:lnTo>
                    <a:lnTo>
                      <a:pt x="415" y="540"/>
                    </a:lnTo>
                    <a:lnTo>
                      <a:pt x="415" y="540"/>
                    </a:lnTo>
                    <a:lnTo>
                      <a:pt x="413" y="538"/>
                    </a:lnTo>
                    <a:lnTo>
                      <a:pt x="412" y="538"/>
                    </a:lnTo>
                    <a:lnTo>
                      <a:pt x="412" y="538"/>
                    </a:lnTo>
                    <a:lnTo>
                      <a:pt x="410" y="540"/>
                    </a:lnTo>
                    <a:lnTo>
                      <a:pt x="410" y="540"/>
                    </a:lnTo>
                    <a:lnTo>
                      <a:pt x="410" y="542"/>
                    </a:lnTo>
                    <a:lnTo>
                      <a:pt x="410" y="542"/>
                    </a:lnTo>
                    <a:lnTo>
                      <a:pt x="410" y="544"/>
                    </a:lnTo>
                    <a:lnTo>
                      <a:pt x="410" y="546"/>
                    </a:lnTo>
                    <a:lnTo>
                      <a:pt x="413" y="548"/>
                    </a:lnTo>
                    <a:lnTo>
                      <a:pt x="413" y="549"/>
                    </a:lnTo>
                    <a:lnTo>
                      <a:pt x="413" y="551"/>
                    </a:lnTo>
                    <a:lnTo>
                      <a:pt x="412" y="551"/>
                    </a:lnTo>
                    <a:lnTo>
                      <a:pt x="410" y="551"/>
                    </a:lnTo>
                    <a:lnTo>
                      <a:pt x="410" y="549"/>
                    </a:lnTo>
                    <a:lnTo>
                      <a:pt x="408" y="549"/>
                    </a:lnTo>
                    <a:lnTo>
                      <a:pt x="406" y="546"/>
                    </a:lnTo>
                    <a:lnTo>
                      <a:pt x="404" y="546"/>
                    </a:lnTo>
                    <a:lnTo>
                      <a:pt x="402" y="544"/>
                    </a:lnTo>
                    <a:lnTo>
                      <a:pt x="400" y="544"/>
                    </a:lnTo>
                    <a:lnTo>
                      <a:pt x="398" y="544"/>
                    </a:lnTo>
                    <a:lnTo>
                      <a:pt x="398" y="542"/>
                    </a:lnTo>
                    <a:lnTo>
                      <a:pt x="398" y="542"/>
                    </a:lnTo>
                    <a:lnTo>
                      <a:pt x="398" y="540"/>
                    </a:lnTo>
                    <a:lnTo>
                      <a:pt x="396" y="540"/>
                    </a:lnTo>
                    <a:lnTo>
                      <a:pt x="396" y="538"/>
                    </a:lnTo>
                    <a:lnTo>
                      <a:pt x="396" y="538"/>
                    </a:lnTo>
                    <a:lnTo>
                      <a:pt x="394" y="540"/>
                    </a:lnTo>
                    <a:lnTo>
                      <a:pt x="391" y="540"/>
                    </a:lnTo>
                    <a:lnTo>
                      <a:pt x="387" y="540"/>
                    </a:lnTo>
                    <a:lnTo>
                      <a:pt x="385" y="540"/>
                    </a:lnTo>
                    <a:lnTo>
                      <a:pt x="385" y="540"/>
                    </a:lnTo>
                    <a:lnTo>
                      <a:pt x="383" y="538"/>
                    </a:lnTo>
                    <a:lnTo>
                      <a:pt x="381" y="538"/>
                    </a:lnTo>
                    <a:lnTo>
                      <a:pt x="379" y="538"/>
                    </a:lnTo>
                    <a:lnTo>
                      <a:pt x="379" y="540"/>
                    </a:lnTo>
                    <a:lnTo>
                      <a:pt x="377" y="542"/>
                    </a:lnTo>
                    <a:lnTo>
                      <a:pt x="375" y="544"/>
                    </a:lnTo>
                    <a:lnTo>
                      <a:pt x="375" y="546"/>
                    </a:lnTo>
                    <a:lnTo>
                      <a:pt x="375" y="546"/>
                    </a:lnTo>
                    <a:lnTo>
                      <a:pt x="375" y="549"/>
                    </a:lnTo>
                    <a:lnTo>
                      <a:pt x="375" y="551"/>
                    </a:lnTo>
                    <a:lnTo>
                      <a:pt x="373" y="551"/>
                    </a:lnTo>
                    <a:lnTo>
                      <a:pt x="373" y="551"/>
                    </a:lnTo>
                    <a:lnTo>
                      <a:pt x="371" y="551"/>
                    </a:lnTo>
                    <a:lnTo>
                      <a:pt x="370" y="551"/>
                    </a:lnTo>
                    <a:lnTo>
                      <a:pt x="368" y="551"/>
                    </a:lnTo>
                    <a:lnTo>
                      <a:pt x="364" y="551"/>
                    </a:lnTo>
                    <a:lnTo>
                      <a:pt x="360" y="549"/>
                    </a:lnTo>
                    <a:lnTo>
                      <a:pt x="352" y="549"/>
                    </a:lnTo>
                    <a:lnTo>
                      <a:pt x="352" y="548"/>
                    </a:lnTo>
                    <a:lnTo>
                      <a:pt x="352" y="546"/>
                    </a:lnTo>
                    <a:lnTo>
                      <a:pt x="354" y="546"/>
                    </a:lnTo>
                    <a:lnTo>
                      <a:pt x="354" y="544"/>
                    </a:lnTo>
                    <a:lnTo>
                      <a:pt x="354" y="544"/>
                    </a:lnTo>
                    <a:lnTo>
                      <a:pt x="354" y="542"/>
                    </a:lnTo>
                    <a:lnTo>
                      <a:pt x="354" y="542"/>
                    </a:lnTo>
                    <a:lnTo>
                      <a:pt x="350" y="540"/>
                    </a:lnTo>
                    <a:lnTo>
                      <a:pt x="349" y="540"/>
                    </a:lnTo>
                    <a:lnTo>
                      <a:pt x="349" y="538"/>
                    </a:lnTo>
                    <a:lnTo>
                      <a:pt x="347" y="538"/>
                    </a:lnTo>
                    <a:lnTo>
                      <a:pt x="347" y="536"/>
                    </a:lnTo>
                    <a:lnTo>
                      <a:pt x="347" y="534"/>
                    </a:lnTo>
                    <a:lnTo>
                      <a:pt x="347" y="532"/>
                    </a:lnTo>
                    <a:lnTo>
                      <a:pt x="347" y="532"/>
                    </a:lnTo>
                    <a:lnTo>
                      <a:pt x="347" y="530"/>
                    </a:lnTo>
                    <a:lnTo>
                      <a:pt x="349" y="530"/>
                    </a:lnTo>
                    <a:lnTo>
                      <a:pt x="349" y="530"/>
                    </a:lnTo>
                    <a:lnTo>
                      <a:pt x="349" y="528"/>
                    </a:lnTo>
                    <a:lnTo>
                      <a:pt x="350" y="528"/>
                    </a:lnTo>
                    <a:lnTo>
                      <a:pt x="350" y="528"/>
                    </a:lnTo>
                    <a:lnTo>
                      <a:pt x="350" y="530"/>
                    </a:lnTo>
                    <a:lnTo>
                      <a:pt x="352" y="528"/>
                    </a:lnTo>
                    <a:lnTo>
                      <a:pt x="352" y="528"/>
                    </a:lnTo>
                    <a:lnTo>
                      <a:pt x="352" y="528"/>
                    </a:lnTo>
                    <a:lnTo>
                      <a:pt x="354" y="527"/>
                    </a:lnTo>
                    <a:lnTo>
                      <a:pt x="354" y="527"/>
                    </a:lnTo>
                    <a:lnTo>
                      <a:pt x="356" y="525"/>
                    </a:lnTo>
                    <a:lnTo>
                      <a:pt x="356" y="525"/>
                    </a:lnTo>
                    <a:lnTo>
                      <a:pt x="356" y="523"/>
                    </a:lnTo>
                    <a:lnTo>
                      <a:pt x="356" y="521"/>
                    </a:lnTo>
                    <a:lnTo>
                      <a:pt x="354" y="521"/>
                    </a:lnTo>
                    <a:lnTo>
                      <a:pt x="354" y="519"/>
                    </a:lnTo>
                    <a:lnTo>
                      <a:pt x="352" y="519"/>
                    </a:lnTo>
                    <a:lnTo>
                      <a:pt x="350" y="519"/>
                    </a:lnTo>
                    <a:lnTo>
                      <a:pt x="349" y="519"/>
                    </a:lnTo>
                    <a:lnTo>
                      <a:pt x="347" y="519"/>
                    </a:lnTo>
                    <a:lnTo>
                      <a:pt x="347" y="519"/>
                    </a:lnTo>
                    <a:lnTo>
                      <a:pt x="345" y="521"/>
                    </a:lnTo>
                    <a:lnTo>
                      <a:pt x="343" y="521"/>
                    </a:lnTo>
                    <a:lnTo>
                      <a:pt x="343" y="521"/>
                    </a:lnTo>
                    <a:lnTo>
                      <a:pt x="343" y="519"/>
                    </a:lnTo>
                    <a:lnTo>
                      <a:pt x="341" y="519"/>
                    </a:lnTo>
                    <a:lnTo>
                      <a:pt x="341" y="517"/>
                    </a:lnTo>
                    <a:lnTo>
                      <a:pt x="339" y="515"/>
                    </a:lnTo>
                    <a:lnTo>
                      <a:pt x="339" y="513"/>
                    </a:lnTo>
                    <a:lnTo>
                      <a:pt x="339" y="511"/>
                    </a:lnTo>
                    <a:lnTo>
                      <a:pt x="337" y="511"/>
                    </a:lnTo>
                    <a:lnTo>
                      <a:pt x="337" y="511"/>
                    </a:lnTo>
                    <a:lnTo>
                      <a:pt x="335" y="509"/>
                    </a:lnTo>
                    <a:lnTo>
                      <a:pt x="333" y="509"/>
                    </a:lnTo>
                    <a:lnTo>
                      <a:pt x="333" y="509"/>
                    </a:lnTo>
                    <a:lnTo>
                      <a:pt x="331" y="504"/>
                    </a:lnTo>
                    <a:lnTo>
                      <a:pt x="331" y="500"/>
                    </a:lnTo>
                    <a:lnTo>
                      <a:pt x="331" y="498"/>
                    </a:lnTo>
                    <a:lnTo>
                      <a:pt x="331" y="496"/>
                    </a:lnTo>
                    <a:lnTo>
                      <a:pt x="333" y="492"/>
                    </a:lnTo>
                    <a:lnTo>
                      <a:pt x="335" y="490"/>
                    </a:lnTo>
                    <a:lnTo>
                      <a:pt x="335" y="489"/>
                    </a:lnTo>
                    <a:lnTo>
                      <a:pt x="335" y="487"/>
                    </a:lnTo>
                    <a:lnTo>
                      <a:pt x="335" y="483"/>
                    </a:lnTo>
                    <a:lnTo>
                      <a:pt x="335" y="483"/>
                    </a:lnTo>
                    <a:lnTo>
                      <a:pt x="335" y="481"/>
                    </a:lnTo>
                    <a:lnTo>
                      <a:pt x="337" y="481"/>
                    </a:lnTo>
                    <a:lnTo>
                      <a:pt x="339" y="481"/>
                    </a:lnTo>
                    <a:lnTo>
                      <a:pt x="339" y="481"/>
                    </a:lnTo>
                    <a:lnTo>
                      <a:pt x="339" y="479"/>
                    </a:lnTo>
                    <a:lnTo>
                      <a:pt x="341" y="471"/>
                    </a:lnTo>
                    <a:lnTo>
                      <a:pt x="341" y="468"/>
                    </a:lnTo>
                    <a:lnTo>
                      <a:pt x="341" y="466"/>
                    </a:lnTo>
                    <a:lnTo>
                      <a:pt x="343" y="464"/>
                    </a:lnTo>
                    <a:lnTo>
                      <a:pt x="343" y="462"/>
                    </a:lnTo>
                    <a:lnTo>
                      <a:pt x="341" y="460"/>
                    </a:lnTo>
                    <a:lnTo>
                      <a:pt x="341" y="460"/>
                    </a:lnTo>
                    <a:lnTo>
                      <a:pt x="339" y="458"/>
                    </a:lnTo>
                    <a:lnTo>
                      <a:pt x="339" y="458"/>
                    </a:lnTo>
                    <a:lnTo>
                      <a:pt x="337" y="458"/>
                    </a:lnTo>
                    <a:lnTo>
                      <a:pt x="337" y="458"/>
                    </a:lnTo>
                    <a:lnTo>
                      <a:pt x="335" y="456"/>
                    </a:lnTo>
                    <a:lnTo>
                      <a:pt x="333" y="456"/>
                    </a:lnTo>
                    <a:lnTo>
                      <a:pt x="330" y="456"/>
                    </a:lnTo>
                    <a:lnTo>
                      <a:pt x="330" y="454"/>
                    </a:lnTo>
                    <a:lnTo>
                      <a:pt x="330" y="454"/>
                    </a:lnTo>
                    <a:lnTo>
                      <a:pt x="330" y="454"/>
                    </a:lnTo>
                    <a:lnTo>
                      <a:pt x="330" y="452"/>
                    </a:lnTo>
                    <a:lnTo>
                      <a:pt x="331" y="452"/>
                    </a:lnTo>
                    <a:lnTo>
                      <a:pt x="331" y="450"/>
                    </a:lnTo>
                    <a:lnTo>
                      <a:pt x="331" y="450"/>
                    </a:lnTo>
                    <a:lnTo>
                      <a:pt x="331" y="449"/>
                    </a:lnTo>
                    <a:lnTo>
                      <a:pt x="331" y="447"/>
                    </a:lnTo>
                    <a:lnTo>
                      <a:pt x="333" y="445"/>
                    </a:lnTo>
                    <a:lnTo>
                      <a:pt x="335" y="441"/>
                    </a:lnTo>
                    <a:lnTo>
                      <a:pt x="337" y="441"/>
                    </a:lnTo>
                    <a:lnTo>
                      <a:pt x="347" y="447"/>
                    </a:lnTo>
                    <a:lnTo>
                      <a:pt x="349" y="449"/>
                    </a:lnTo>
                    <a:lnTo>
                      <a:pt x="352" y="449"/>
                    </a:lnTo>
                    <a:lnTo>
                      <a:pt x="354" y="449"/>
                    </a:lnTo>
                    <a:lnTo>
                      <a:pt x="356" y="450"/>
                    </a:lnTo>
                    <a:lnTo>
                      <a:pt x="358" y="450"/>
                    </a:lnTo>
                    <a:lnTo>
                      <a:pt x="358" y="450"/>
                    </a:lnTo>
                    <a:lnTo>
                      <a:pt x="360" y="449"/>
                    </a:lnTo>
                    <a:lnTo>
                      <a:pt x="362" y="449"/>
                    </a:lnTo>
                    <a:lnTo>
                      <a:pt x="364" y="449"/>
                    </a:lnTo>
                    <a:lnTo>
                      <a:pt x="364" y="449"/>
                    </a:lnTo>
                    <a:lnTo>
                      <a:pt x="366" y="449"/>
                    </a:lnTo>
                    <a:lnTo>
                      <a:pt x="366" y="449"/>
                    </a:lnTo>
                    <a:lnTo>
                      <a:pt x="366" y="450"/>
                    </a:lnTo>
                    <a:lnTo>
                      <a:pt x="368" y="450"/>
                    </a:lnTo>
                    <a:lnTo>
                      <a:pt x="368" y="452"/>
                    </a:lnTo>
                    <a:lnTo>
                      <a:pt x="368" y="452"/>
                    </a:lnTo>
                    <a:lnTo>
                      <a:pt x="370" y="452"/>
                    </a:lnTo>
                    <a:lnTo>
                      <a:pt x="371" y="450"/>
                    </a:lnTo>
                    <a:lnTo>
                      <a:pt x="371" y="450"/>
                    </a:lnTo>
                    <a:lnTo>
                      <a:pt x="375" y="449"/>
                    </a:lnTo>
                    <a:lnTo>
                      <a:pt x="375" y="447"/>
                    </a:lnTo>
                    <a:lnTo>
                      <a:pt x="375" y="445"/>
                    </a:lnTo>
                    <a:lnTo>
                      <a:pt x="377" y="441"/>
                    </a:lnTo>
                    <a:lnTo>
                      <a:pt x="377" y="441"/>
                    </a:lnTo>
                    <a:lnTo>
                      <a:pt x="379" y="439"/>
                    </a:lnTo>
                    <a:lnTo>
                      <a:pt x="379" y="437"/>
                    </a:lnTo>
                    <a:lnTo>
                      <a:pt x="379" y="437"/>
                    </a:lnTo>
                    <a:lnTo>
                      <a:pt x="381" y="435"/>
                    </a:lnTo>
                    <a:lnTo>
                      <a:pt x="381" y="435"/>
                    </a:lnTo>
                    <a:lnTo>
                      <a:pt x="381" y="433"/>
                    </a:lnTo>
                    <a:lnTo>
                      <a:pt x="381" y="430"/>
                    </a:lnTo>
                    <a:lnTo>
                      <a:pt x="381" y="428"/>
                    </a:lnTo>
                    <a:lnTo>
                      <a:pt x="379" y="422"/>
                    </a:lnTo>
                    <a:lnTo>
                      <a:pt x="377" y="412"/>
                    </a:lnTo>
                    <a:lnTo>
                      <a:pt x="375" y="411"/>
                    </a:lnTo>
                    <a:lnTo>
                      <a:pt x="375" y="411"/>
                    </a:lnTo>
                    <a:lnTo>
                      <a:pt x="373" y="409"/>
                    </a:lnTo>
                    <a:lnTo>
                      <a:pt x="370" y="409"/>
                    </a:lnTo>
                    <a:lnTo>
                      <a:pt x="368" y="409"/>
                    </a:lnTo>
                    <a:lnTo>
                      <a:pt x="368" y="407"/>
                    </a:lnTo>
                    <a:lnTo>
                      <a:pt x="368" y="405"/>
                    </a:lnTo>
                    <a:lnTo>
                      <a:pt x="366" y="399"/>
                    </a:lnTo>
                    <a:lnTo>
                      <a:pt x="366" y="397"/>
                    </a:lnTo>
                    <a:lnTo>
                      <a:pt x="364" y="395"/>
                    </a:lnTo>
                    <a:lnTo>
                      <a:pt x="364" y="395"/>
                    </a:lnTo>
                    <a:lnTo>
                      <a:pt x="364" y="393"/>
                    </a:lnTo>
                    <a:lnTo>
                      <a:pt x="362" y="393"/>
                    </a:lnTo>
                    <a:lnTo>
                      <a:pt x="362" y="390"/>
                    </a:lnTo>
                    <a:lnTo>
                      <a:pt x="360" y="388"/>
                    </a:lnTo>
                    <a:lnTo>
                      <a:pt x="360" y="388"/>
                    </a:lnTo>
                    <a:lnTo>
                      <a:pt x="360" y="388"/>
                    </a:lnTo>
                    <a:lnTo>
                      <a:pt x="360" y="386"/>
                    </a:lnTo>
                    <a:lnTo>
                      <a:pt x="360" y="386"/>
                    </a:lnTo>
                    <a:lnTo>
                      <a:pt x="362" y="386"/>
                    </a:lnTo>
                    <a:lnTo>
                      <a:pt x="364" y="388"/>
                    </a:lnTo>
                    <a:lnTo>
                      <a:pt x="364" y="388"/>
                    </a:lnTo>
                    <a:lnTo>
                      <a:pt x="366" y="388"/>
                    </a:lnTo>
                    <a:lnTo>
                      <a:pt x="366" y="386"/>
                    </a:lnTo>
                    <a:lnTo>
                      <a:pt x="366" y="384"/>
                    </a:lnTo>
                    <a:lnTo>
                      <a:pt x="366" y="378"/>
                    </a:lnTo>
                    <a:lnTo>
                      <a:pt x="364" y="372"/>
                    </a:lnTo>
                    <a:lnTo>
                      <a:pt x="364" y="372"/>
                    </a:lnTo>
                    <a:lnTo>
                      <a:pt x="364" y="372"/>
                    </a:lnTo>
                    <a:lnTo>
                      <a:pt x="364" y="371"/>
                    </a:lnTo>
                    <a:lnTo>
                      <a:pt x="366" y="369"/>
                    </a:lnTo>
                    <a:lnTo>
                      <a:pt x="368" y="369"/>
                    </a:lnTo>
                    <a:lnTo>
                      <a:pt x="368" y="367"/>
                    </a:lnTo>
                    <a:lnTo>
                      <a:pt x="370" y="367"/>
                    </a:lnTo>
                    <a:lnTo>
                      <a:pt x="370" y="367"/>
                    </a:lnTo>
                    <a:lnTo>
                      <a:pt x="371" y="367"/>
                    </a:lnTo>
                    <a:lnTo>
                      <a:pt x="373" y="367"/>
                    </a:lnTo>
                    <a:lnTo>
                      <a:pt x="373" y="369"/>
                    </a:lnTo>
                    <a:lnTo>
                      <a:pt x="375" y="367"/>
                    </a:lnTo>
                    <a:lnTo>
                      <a:pt x="375" y="367"/>
                    </a:lnTo>
                    <a:lnTo>
                      <a:pt x="373" y="363"/>
                    </a:lnTo>
                    <a:lnTo>
                      <a:pt x="371" y="361"/>
                    </a:lnTo>
                    <a:lnTo>
                      <a:pt x="371" y="357"/>
                    </a:lnTo>
                    <a:lnTo>
                      <a:pt x="370" y="357"/>
                    </a:lnTo>
                    <a:lnTo>
                      <a:pt x="370" y="355"/>
                    </a:lnTo>
                    <a:lnTo>
                      <a:pt x="370" y="355"/>
                    </a:lnTo>
                    <a:lnTo>
                      <a:pt x="368" y="355"/>
                    </a:lnTo>
                    <a:lnTo>
                      <a:pt x="368" y="353"/>
                    </a:lnTo>
                    <a:lnTo>
                      <a:pt x="368" y="352"/>
                    </a:lnTo>
                    <a:lnTo>
                      <a:pt x="368" y="346"/>
                    </a:lnTo>
                    <a:lnTo>
                      <a:pt x="368" y="342"/>
                    </a:lnTo>
                    <a:lnTo>
                      <a:pt x="370" y="342"/>
                    </a:lnTo>
                    <a:lnTo>
                      <a:pt x="368" y="340"/>
                    </a:lnTo>
                    <a:lnTo>
                      <a:pt x="373" y="333"/>
                    </a:lnTo>
                    <a:lnTo>
                      <a:pt x="383" y="329"/>
                    </a:lnTo>
                    <a:lnTo>
                      <a:pt x="385" y="327"/>
                    </a:lnTo>
                    <a:lnTo>
                      <a:pt x="392" y="327"/>
                    </a:lnTo>
                    <a:lnTo>
                      <a:pt x="394" y="327"/>
                    </a:lnTo>
                    <a:lnTo>
                      <a:pt x="396" y="327"/>
                    </a:lnTo>
                    <a:lnTo>
                      <a:pt x="398" y="329"/>
                    </a:lnTo>
                    <a:lnTo>
                      <a:pt x="402" y="329"/>
                    </a:lnTo>
                    <a:lnTo>
                      <a:pt x="417" y="329"/>
                    </a:lnTo>
                    <a:lnTo>
                      <a:pt x="419" y="329"/>
                    </a:lnTo>
                    <a:lnTo>
                      <a:pt x="421" y="329"/>
                    </a:lnTo>
                    <a:lnTo>
                      <a:pt x="421" y="327"/>
                    </a:lnTo>
                    <a:lnTo>
                      <a:pt x="423" y="325"/>
                    </a:lnTo>
                    <a:lnTo>
                      <a:pt x="425" y="323"/>
                    </a:lnTo>
                    <a:lnTo>
                      <a:pt x="425" y="323"/>
                    </a:lnTo>
                    <a:lnTo>
                      <a:pt x="425" y="317"/>
                    </a:lnTo>
                    <a:lnTo>
                      <a:pt x="425" y="313"/>
                    </a:lnTo>
                    <a:lnTo>
                      <a:pt x="425" y="312"/>
                    </a:lnTo>
                    <a:lnTo>
                      <a:pt x="425" y="308"/>
                    </a:lnTo>
                    <a:lnTo>
                      <a:pt x="425" y="302"/>
                    </a:lnTo>
                    <a:lnTo>
                      <a:pt x="425" y="298"/>
                    </a:lnTo>
                    <a:lnTo>
                      <a:pt x="425" y="296"/>
                    </a:lnTo>
                    <a:lnTo>
                      <a:pt x="425" y="294"/>
                    </a:lnTo>
                    <a:lnTo>
                      <a:pt x="425" y="294"/>
                    </a:lnTo>
                    <a:lnTo>
                      <a:pt x="425" y="291"/>
                    </a:lnTo>
                    <a:lnTo>
                      <a:pt x="427" y="289"/>
                    </a:lnTo>
                    <a:lnTo>
                      <a:pt x="427" y="287"/>
                    </a:lnTo>
                    <a:lnTo>
                      <a:pt x="427" y="287"/>
                    </a:lnTo>
                    <a:lnTo>
                      <a:pt x="431" y="285"/>
                    </a:lnTo>
                    <a:lnTo>
                      <a:pt x="432" y="283"/>
                    </a:lnTo>
                    <a:lnTo>
                      <a:pt x="432" y="283"/>
                    </a:lnTo>
                    <a:lnTo>
                      <a:pt x="434" y="281"/>
                    </a:lnTo>
                    <a:lnTo>
                      <a:pt x="434" y="279"/>
                    </a:lnTo>
                    <a:lnTo>
                      <a:pt x="432" y="277"/>
                    </a:lnTo>
                    <a:lnTo>
                      <a:pt x="432" y="277"/>
                    </a:lnTo>
                    <a:lnTo>
                      <a:pt x="431" y="275"/>
                    </a:lnTo>
                    <a:lnTo>
                      <a:pt x="427" y="274"/>
                    </a:lnTo>
                    <a:lnTo>
                      <a:pt x="423" y="274"/>
                    </a:lnTo>
                    <a:lnTo>
                      <a:pt x="415" y="274"/>
                    </a:lnTo>
                    <a:lnTo>
                      <a:pt x="413" y="274"/>
                    </a:lnTo>
                    <a:lnTo>
                      <a:pt x="402" y="270"/>
                    </a:lnTo>
                    <a:lnTo>
                      <a:pt x="400" y="268"/>
                    </a:lnTo>
                    <a:lnTo>
                      <a:pt x="396" y="264"/>
                    </a:lnTo>
                    <a:lnTo>
                      <a:pt x="396" y="264"/>
                    </a:lnTo>
                    <a:lnTo>
                      <a:pt x="398" y="262"/>
                    </a:lnTo>
                    <a:lnTo>
                      <a:pt x="404" y="260"/>
                    </a:lnTo>
                    <a:lnTo>
                      <a:pt x="408" y="256"/>
                    </a:lnTo>
                    <a:lnTo>
                      <a:pt x="412" y="254"/>
                    </a:lnTo>
                    <a:lnTo>
                      <a:pt x="412" y="253"/>
                    </a:lnTo>
                    <a:lnTo>
                      <a:pt x="412" y="253"/>
                    </a:lnTo>
                    <a:lnTo>
                      <a:pt x="413" y="251"/>
                    </a:lnTo>
                    <a:lnTo>
                      <a:pt x="413" y="249"/>
                    </a:lnTo>
                    <a:lnTo>
                      <a:pt x="413" y="249"/>
                    </a:lnTo>
                    <a:lnTo>
                      <a:pt x="417" y="247"/>
                    </a:lnTo>
                    <a:lnTo>
                      <a:pt x="417" y="247"/>
                    </a:lnTo>
                    <a:lnTo>
                      <a:pt x="419" y="245"/>
                    </a:lnTo>
                    <a:lnTo>
                      <a:pt x="419" y="243"/>
                    </a:lnTo>
                    <a:lnTo>
                      <a:pt x="419" y="241"/>
                    </a:lnTo>
                    <a:lnTo>
                      <a:pt x="419" y="241"/>
                    </a:lnTo>
                    <a:lnTo>
                      <a:pt x="421" y="239"/>
                    </a:lnTo>
                    <a:lnTo>
                      <a:pt x="421" y="239"/>
                    </a:lnTo>
                    <a:lnTo>
                      <a:pt x="419" y="237"/>
                    </a:lnTo>
                    <a:lnTo>
                      <a:pt x="419" y="237"/>
                    </a:lnTo>
                    <a:lnTo>
                      <a:pt x="417" y="237"/>
                    </a:lnTo>
                    <a:lnTo>
                      <a:pt x="415" y="239"/>
                    </a:lnTo>
                    <a:lnTo>
                      <a:pt x="415" y="239"/>
                    </a:lnTo>
                    <a:lnTo>
                      <a:pt x="415" y="237"/>
                    </a:lnTo>
                    <a:lnTo>
                      <a:pt x="417" y="235"/>
                    </a:lnTo>
                    <a:lnTo>
                      <a:pt x="417" y="235"/>
                    </a:lnTo>
                    <a:lnTo>
                      <a:pt x="419" y="234"/>
                    </a:lnTo>
                    <a:lnTo>
                      <a:pt x="421" y="234"/>
                    </a:lnTo>
                    <a:lnTo>
                      <a:pt x="419" y="232"/>
                    </a:lnTo>
                    <a:lnTo>
                      <a:pt x="419" y="232"/>
                    </a:lnTo>
                    <a:lnTo>
                      <a:pt x="417" y="230"/>
                    </a:lnTo>
                    <a:lnTo>
                      <a:pt x="415" y="230"/>
                    </a:lnTo>
                    <a:lnTo>
                      <a:pt x="415" y="228"/>
                    </a:lnTo>
                    <a:lnTo>
                      <a:pt x="415" y="226"/>
                    </a:lnTo>
                    <a:lnTo>
                      <a:pt x="417" y="220"/>
                    </a:lnTo>
                    <a:lnTo>
                      <a:pt x="417" y="220"/>
                    </a:lnTo>
                    <a:lnTo>
                      <a:pt x="417" y="218"/>
                    </a:lnTo>
                    <a:lnTo>
                      <a:pt x="419" y="218"/>
                    </a:lnTo>
                    <a:lnTo>
                      <a:pt x="419" y="216"/>
                    </a:lnTo>
                    <a:lnTo>
                      <a:pt x="419" y="201"/>
                    </a:lnTo>
                    <a:lnTo>
                      <a:pt x="419" y="197"/>
                    </a:lnTo>
                    <a:lnTo>
                      <a:pt x="419" y="196"/>
                    </a:lnTo>
                    <a:lnTo>
                      <a:pt x="421" y="194"/>
                    </a:lnTo>
                    <a:lnTo>
                      <a:pt x="423" y="192"/>
                    </a:lnTo>
                    <a:lnTo>
                      <a:pt x="423" y="190"/>
                    </a:lnTo>
                    <a:lnTo>
                      <a:pt x="423" y="186"/>
                    </a:lnTo>
                    <a:lnTo>
                      <a:pt x="419" y="182"/>
                    </a:lnTo>
                    <a:lnTo>
                      <a:pt x="419" y="180"/>
                    </a:lnTo>
                    <a:lnTo>
                      <a:pt x="417" y="175"/>
                    </a:lnTo>
                    <a:lnTo>
                      <a:pt x="417" y="175"/>
                    </a:lnTo>
                    <a:lnTo>
                      <a:pt x="417" y="173"/>
                    </a:lnTo>
                    <a:lnTo>
                      <a:pt x="415" y="173"/>
                    </a:lnTo>
                    <a:lnTo>
                      <a:pt x="413" y="171"/>
                    </a:lnTo>
                    <a:lnTo>
                      <a:pt x="412" y="171"/>
                    </a:lnTo>
                    <a:lnTo>
                      <a:pt x="412" y="171"/>
                    </a:lnTo>
                    <a:lnTo>
                      <a:pt x="410" y="169"/>
                    </a:lnTo>
                    <a:lnTo>
                      <a:pt x="410" y="167"/>
                    </a:lnTo>
                    <a:lnTo>
                      <a:pt x="412" y="163"/>
                    </a:lnTo>
                    <a:lnTo>
                      <a:pt x="427" y="144"/>
                    </a:lnTo>
                    <a:lnTo>
                      <a:pt x="429" y="140"/>
                    </a:lnTo>
                    <a:lnTo>
                      <a:pt x="429" y="137"/>
                    </a:lnTo>
                    <a:lnTo>
                      <a:pt x="431" y="137"/>
                    </a:lnTo>
                    <a:lnTo>
                      <a:pt x="432" y="135"/>
                    </a:lnTo>
                    <a:lnTo>
                      <a:pt x="432" y="135"/>
                    </a:lnTo>
                    <a:lnTo>
                      <a:pt x="434" y="135"/>
                    </a:lnTo>
                    <a:lnTo>
                      <a:pt x="436" y="135"/>
                    </a:lnTo>
                    <a:lnTo>
                      <a:pt x="436" y="133"/>
                    </a:lnTo>
                    <a:lnTo>
                      <a:pt x="436" y="131"/>
                    </a:lnTo>
                    <a:lnTo>
                      <a:pt x="438" y="129"/>
                    </a:lnTo>
                    <a:lnTo>
                      <a:pt x="440" y="129"/>
                    </a:lnTo>
                    <a:lnTo>
                      <a:pt x="446" y="127"/>
                    </a:lnTo>
                    <a:lnTo>
                      <a:pt x="446" y="127"/>
                    </a:lnTo>
                    <a:lnTo>
                      <a:pt x="446" y="127"/>
                    </a:lnTo>
                    <a:lnTo>
                      <a:pt x="450" y="119"/>
                    </a:lnTo>
                    <a:lnTo>
                      <a:pt x="450" y="118"/>
                    </a:lnTo>
                    <a:lnTo>
                      <a:pt x="450" y="118"/>
                    </a:lnTo>
                    <a:lnTo>
                      <a:pt x="450" y="118"/>
                    </a:lnTo>
                    <a:lnTo>
                      <a:pt x="446" y="118"/>
                    </a:lnTo>
                    <a:lnTo>
                      <a:pt x="446" y="118"/>
                    </a:lnTo>
                    <a:lnTo>
                      <a:pt x="442" y="119"/>
                    </a:lnTo>
                    <a:lnTo>
                      <a:pt x="440" y="121"/>
                    </a:lnTo>
                    <a:lnTo>
                      <a:pt x="440" y="121"/>
                    </a:lnTo>
                    <a:lnTo>
                      <a:pt x="438" y="119"/>
                    </a:lnTo>
                    <a:lnTo>
                      <a:pt x="438" y="119"/>
                    </a:lnTo>
                    <a:lnTo>
                      <a:pt x="438" y="116"/>
                    </a:lnTo>
                    <a:lnTo>
                      <a:pt x="432" y="118"/>
                    </a:lnTo>
                    <a:lnTo>
                      <a:pt x="432" y="118"/>
                    </a:lnTo>
                    <a:lnTo>
                      <a:pt x="429" y="118"/>
                    </a:lnTo>
                    <a:lnTo>
                      <a:pt x="427" y="118"/>
                    </a:lnTo>
                    <a:lnTo>
                      <a:pt x="427" y="118"/>
                    </a:lnTo>
                    <a:lnTo>
                      <a:pt x="425" y="116"/>
                    </a:lnTo>
                    <a:lnTo>
                      <a:pt x="423" y="116"/>
                    </a:lnTo>
                    <a:lnTo>
                      <a:pt x="421" y="114"/>
                    </a:lnTo>
                    <a:lnTo>
                      <a:pt x="417" y="112"/>
                    </a:lnTo>
                    <a:lnTo>
                      <a:pt x="415" y="110"/>
                    </a:lnTo>
                    <a:lnTo>
                      <a:pt x="417" y="106"/>
                    </a:lnTo>
                    <a:lnTo>
                      <a:pt x="421" y="102"/>
                    </a:lnTo>
                    <a:lnTo>
                      <a:pt x="423" y="98"/>
                    </a:lnTo>
                    <a:lnTo>
                      <a:pt x="423" y="98"/>
                    </a:lnTo>
                    <a:lnTo>
                      <a:pt x="425" y="97"/>
                    </a:lnTo>
                    <a:lnTo>
                      <a:pt x="429" y="95"/>
                    </a:lnTo>
                    <a:lnTo>
                      <a:pt x="431" y="95"/>
                    </a:lnTo>
                    <a:lnTo>
                      <a:pt x="431" y="93"/>
                    </a:lnTo>
                    <a:lnTo>
                      <a:pt x="431" y="93"/>
                    </a:lnTo>
                    <a:lnTo>
                      <a:pt x="431" y="91"/>
                    </a:lnTo>
                    <a:lnTo>
                      <a:pt x="431" y="89"/>
                    </a:lnTo>
                    <a:lnTo>
                      <a:pt x="429" y="89"/>
                    </a:lnTo>
                    <a:lnTo>
                      <a:pt x="429" y="87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9" y="83"/>
                    </a:lnTo>
                    <a:lnTo>
                      <a:pt x="429" y="81"/>
                    </a:lnTo>
                    <a:lnTo>
                      <a:pt x="431" y="81"/>
                    </a:lnTo>
                    <a:lnTo>
                      <a:pt x="431" y="79"/>
                    </a:lnTo>
                    <a:lnTo>
                      <a:pt x="432" y="79"/>
                    </a:lnTo>
                    <a:lnTo>
                      <a:pt x="432" y="79"/>
                    </a:lnTo>
                    <a:lnTo>
                      <a:pt x="434" y="78"/>
                    </a:lnTo>
                    <a:lnTo>
                      <a:pt x="442" y="70"/>
                    </a:lnTo>
                    <a:lnTo>
                      <a:pt x="442" y="70"/>
                    </a:lnTo>
                    <a:lnTo>
                      <a:pt x="442" y="68"/>
                    </a:lnTo>
                    <a:lnTo>
                      <a:pt x="442" y="66"/>
                    </a:lnTo>
                    <a:lnTo>
                      <a:pt x="442" y="62"/>
                    </a:lnTo>
                    <a:lnTo>
                      <a:pt x="440" y="59"/>
                    </a:lnTo>
                    <a:lnTo>
                      <a:pt x="440" y="57"/>
                    </a:lnTo>
                    <a:lnTo>
                      <a:pt x="438" y="55"/>
                    </a:lnTo>
                    <a:lnTo>
                      <a:pt x="434" y="51"/>
                    </a:lnTo>
                    <a:lnTo>
                      <a:pt x="434" y="51"/>
                    </a:lnTo>
                    <a:lnTo>
                      <a:pt x="434" y="49"/>
                    </a:lnTo>
                    <a:lnTo>
                      <a:pt x="434" y="49"/>
                    </a:lnTo>
                    <a:lnTo>
                      <a:pt x="434" y="47"/>
                    </a:lnTo>
                    <a:lnTo>
                      <a:pt x="436" y="47"/>
                    </a:lnTo>
                    <a:lnTo>
                      <a:pt x="438" y="47"/>
                    </a:lnTo>
                    <a:lnTo>
                      <a:pt x="438" y="47"/>
                    </a:lnTo>
                    <a:lnTo>
                      <a:pt x="438" y="47"/>
                    </a:lnTo>
                    <a:lnTo>
                      <a:pt x="440" y="45"/>
                    </a:lnTo>
                    <a:lnTo>
                      <a:pt x="440" y="45"/>
                    </a:lnTo>
                    <a:lnTo>
                      <a:pt x="438" y="38"/>
                    </a:lnTo>
                    <a:lnTo>
                      <a:pt x="436" y="32"/>
                    </a:lnTo>
                    <a:lnTo>
                      <a:pt x="436" y="30"/>
                    </a:lnTo>
                    <a:lnTo>
                      <a:pt x="436" y="28"/>
                    </a:lnTo>
                    <a:lnTo>
                      <a:pt x="436" y="26"/>
                    </a:lnTo>
                    <a:lnTo>
                      <a:pt x="438" y="24"/>
                    </a:lnTo>
                    <a:lnTo>
                      <a:pt x="438" y="24"/>
                    </a:lnTo>
                    <a:lnTo>
                      <a:pt x="438" y="22"/>
                    </a:lnTo>
                    <a:lnTo>
                      <a:pt x="434" y="20"/>
                    </a:lnTo>
                    <a:lnTo>
                      <a:pt x="429" y="20"/>
                    </a:lnTo>
                    <a:lnTo>
                      <a:pt x="427" y="20"/>
                    </a:lnTo>
                    <a:lnTo>
                      <a:pt x="427" y="20"/>
                    </a:lnTo>
                    <a:lnTo>
                      <a:pt x="425" y="22"/>
                    </a:lnTo>
                    <a:lnTo>
                      <a:pt x="423" y="24"/>
                    </a:lnTo>
                    <a:lnTo>
                      <a:pt x="421" y="24"/>
                    </a:lnTo>
                    <a:lnTo>
                      <a:pt x="419" y="24"/>
                    </a:lnTo>
                    <a:lnTo>
                      <a:pt x="419" y="22"/>
                    </a:lnTo>
                    <a:lnTo>
                      <a:pt x="417" y="22"/>
                    </a:lnTo>
                    <a:lnTo>
                      <a:pt x="417" y="19"/>
                    </a:lnTo>
                    <a:lnTo>
                      <a:pt x="417" y="19"/>
                    </a:lnTo>
                    <a:lnTo>
                      <a:pt x="415" y="19"/>
                    </a:lnTo>
                    <a:lnTo>
                      <a:pt x="412" y="17"/>
                    </a:lnTo>
                    <a:lnTo>
                      <a:pt x="410" y="15"/>
                    </a:lnTo>
                    <a:lnTo>
                      <a:pt x="408" y="15"/>
                    </a:lnTo>
                    <a:lnTo>
                      <a:pt x="408" y="13"/>
                    </a:lnTo>
                    <a:lnTo>
                      <a:pt x="408" y="13"/>
                    </a:lnTo>
                    <a:lnTo>
                      <a:pt x="408" y="5"/>
                    </a:lnTo>
                    <a:lnTo>
                      <a:pt x="408" y="5"/>
                    </a:lnTo>
                    <a:lnTo>
                      <a:pt x="406" y="3"/>
                    </a:lnTo>
                    <a:lnTo>
                      <a:pt x="406" y="1"/>
                    </a:lnTo>
                    <a:lnTo>
                      <a:pt x="404" y="1"/>
                    </a:lnTo>
                    <a:lnTo>
                      <a:pt x="402" y="0"/>
                    </a:lnTo>
                    <a:lnTo>
                      <a:pt x="400" y="0"/>
                    </a:lnTo>
                    <a:lnTo>
                      <a:pt x="400" y="0"/>
                    </a:lnTo>
                    <a:lnTo>
                      <a:pt x="398" y="1"/>
                    </a:lnTo>
                    <a:lnTo>
                      <a:pt x="394" y="7"/>
                    </a:lnTo>
                    <a:lnTo>
                      <a:pt x="392" y="9"/>
                    </a:lnTo>
                    <a:lnTo>
                      <a:pt x="392" y="11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92" y="19"/>
                    </a:lnTo>
                    <a:lnTo>
                      <a:pt x="392" y="20"/>
                    </a:lnTo>
                    <a:lnTo>
                      <a:pt x="391" y="20"/>
                    </a:lnTo>
                    <a:lnTo>
                      <a:pt x="391" y="20"/>
                    </a:lnTo>
                    <a:lnTo>
                      <a:pt x="387" y="22"/>
                    </a:lnTo>
                    <a:lnTo>
                      <a:pt x="379" y="28"/>
                    </a:lnTo>
                    <a:lnTo>
                      <a:pt x="377" y="30"/>
                    </a:lnTo>
                    <a:lnTo>
                      <a:pt x="377" y="30"/>
                    </a:lnTo>
                    <a:lnTo>
                      <a:pt x="375" y="32"/>
                    </a:lnTo>
                    <a:lnTo>
                      <a:pt x="375" y="34"/>
                    </a:lnTo>
                    <a:lnTo>
                      <a:pt x="375" y="36"/>
                    </a:lnTo>
                    <a:lnTo>
                      <a:pt x="375" y="36"/>
                    </a:lnTo>
                    <a:lnTo>
                      <a:pt x="373" y="36"/>
                    </a:lnTo>
                    <a:lnTo>
                      <a:pt x="371" y="36"/>
                    </a:lnTo>
                    <a:lnTo>
                      <a:pt x="370" y="36"/>
                    </a:lnTo>
                    <a:lnTo>
                      <a:pt x="368" y="36"/>
                    </a:lnTo>
                    <a:lnTo>
                      <a:pt x="366" y="38"/>
                    </a:lnTo>
                    <a:lnTo>
                      <a:pt x="366" y="38"/>
                    </a:lnTo>
                    <a:lnTo>
                      <a:pt x="364" y="38"/>
                    </a:lnTo>
                    <a:lnTo>
                      <a:pt x="360" y="38"/>
                    </a:lnTo>
                    <a:lnTo>
                      <a:pt x="358" y="38"/>
                    </a:lnTo>
                    <a:lnTo>
                      <a:pt x="354" y="39"/>
                    </a:lnTo>
                    <a:lnTo>
                      <a:pt x="352" y="39"/>
                    </a:lnTo>
                    <a:lnTo>
                      <a:pt x="350" y="41"/>
                    </a:lnTo>
                    <a:lnTo>
                      <a:pt x="352" y="47"/>
                    </a:lnTo>
                    <a:lnTo>
                      <a:pt x="352" y="49"/>
                    </a:lnTo>
                    <a:lnTo>
                      <a:pt x="350" y="51"/>
                    </a:lnTo>
                    <a:lnTo>
                      <a:pt x="350" y="57"/>
                    </a:lnTo>
                    <a:lnTo>
                      <a:pt x="349" y="59"/>
                    </a:lnTo>
                    <a:lnTo>
                      <a:pt x="349" y="60"/>
                    </a:lnTo>
                    <a:lnTo>
                      <a:pt x="350" y="64"/>
                    </a:lnTo>
                    <a:lnTo>
                      <a:pt x="350" y="66"/>
                    </a:lnTo>
                    <a:lnTo>
                      <a:pt x="349" y="70"/>
                    </a:lnTo>
                    <a:lnTo>
                      <a:pt x="347" y="74"/>
                    </a:lnTo>
                    <a:lnTo>
                      <a:pt x="345" y="76"/>
                    </a:lnTo>
                    <a:lnTo>
                      <a:pt x="345" y="76"/>
                    </a:lnTo>
                    <a:lnTo>
                      <a:pt x="343" y="76"/>
                    </a:lnTo>
                    <a:lnTo>
                      <a:pt x="335" y="74"/>
                    </a:lnTo>
                    <a:lnTo>
                      <a:pt x="335" y="74"/>
                    </a:lnTo>
                    <a:lnTo>
                      <a:pt x="333" y="74"/>
                    </a:lnTo>
                    <a:lnTo>
                      <a:pt x="331" y="74"/>
                    </a:lnTo>
                    <a:lnTo>
                      <a:pt x="331" y="78"/>
                    </a:lnTo>
                    <a:lnTo>
                      <a:pt x="333" y="81"/>
                    </a:lnTo>
                    <a:lnTo>
                      <a:pt x="333" y="83"/>
                    </a:lnTo>
                    <a:lnTo>
                      <a:pt x="333" y="83"/>
                    </a:lnTo>
                    <a:lnTo>
                      <a:pt x="333" y="85"/>
                    </a:lnTo>
                    <a:lnTo>
                      <a:pt x="331" y="85"/>
                    </a:lnTo>
                    <a:lnTo>
                      <a:pt x="331" y="87"/>
                    </a:lnTo>
                    <a:lnTo>
                      <a:pt x="328" y="87"/>
                    </a:lnTo>
                    <a:lnTo>
                      <a:pt x="328" y="89"/>
                    </a:lnTo>
                    <a:lnTo>
                      <a:pt x="326" y="91"/>
                    </a:lnTo>
                    <a:lnTo>
                      <a:pt x="326" y="93"/>
                    </a:lnTo>
                    <a:lnTo>
                      <a:pt x="324" y="100"/>
                    </a:lnTo>
                    <a:lnTo>
                      <a:pt x="322" y="98"/>
                    </a:lnTo>
                    <a:lnTo>
                      <a:pt x="318" y="97"/>
                    </a:lnTo>
                    <a:lnTo>
                      <a:pt x="318" y="97"/>
                    </a:lnTo>
                    <a:lnTo>
                      <a:pt x="316" y="95"/>
                    </a:lnTo>
                    <a:lnTo>
                      <a:pt x="314" y="93"/>
                    </a:lnTo>
                    <a:lnTo>
                      <a:pt x="312" y="91"/>
                    </a:lnTo>
                    <a:lnTo>
                      <a:pt x="312" y="91"/>
                    </a:lnTo>
                    <a:lnTo>
                      <a:pt x="310" y="91"/>
                    </a:lnTo>
                    <a:lnTo>
                      <a:pt x="309" y="91"/>
                    </a:lnTo>
                    <a:lnTo>
                      <a:pt x="307" y="91"/>
                    </a:lnTo>
                    <a:lnTo>
                      <a:pt x="305" y="91"/>
                    </a:lnTo>
                    <a:lnTo>
                      <a:pt x="303" y="91"/>
                    </a:lnTo>
                    <a:lnTo>
                      <a:pt x="303" y="91"/>
                    </a:lnTo>
                    <a:lnTo>
                      <a:pt x="301" y="95"/>
                    </a:lnTo>
                    <a:lnTo>
                      <a:pt x="301" y="95"/>
                    </a:lnTo>
                    <a:lnTo>
                      <a:pt x="301" y="95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7" y="97"/>
                    </a:lnTo>
                    <a:lnTo>
                      <a:pt x="297" y="98"/>
                    </a:lnTo>
                    <a:lnTo>
                      <a:pt x="297" y="98"/>
                    </a:lnTo>
                    <a:lnTo>
                      <a:pt x="297" y="100"/>
                    </a:lnTo>
                    <a:lnTo>
                      <a:pt x="297" y="100"/>
                    </a:lnTo>
                    <a:lnTo>
                      <a:pt x="295" y="102"/>
                    </a:lnTo>
                    <a:lnTo>
                      <a:pt x="293" y="102"/>
                    </a:lnTo>
                    <a:lnTo>
                      <a:pt x="291" y="104"/>
                    </a:lnTo>
                    <a:lnTo>
                      <a:pt x="291" y="104"/>
                    </a:lnTo>
                    <a:lnTo>
                      <a:pt x="291" y="104"/>
                    </a:lnTo>
                    <a:lnTo>
                      <a:pt x="289" y="106"/>
                    </a:lnTo>
                    <a:lnTo>
                      <a:pt x="288" y="108"/>
                    </a:lnTo>
                    <a:lnTo>
                      <a:pt x="280" y="112"/>
                    </a:lnTo>
                    <a:lnTo>
                      <a:pt x="278" y="112"/>
                    </a:lnTo>
                    <a:lnTo>
                      <a:pt x="278" y="114"/>
                    </a:lnTo>
                    <a:lnTo>
                      <a:pt x="278" y="114"/>
                    </a:lnTo>
                    <a:lnTo>
                      <a:pt x="280" y="118"/>
                    </a:lnTo>
                    <a:lnTo>
                      <a:pt x="282" y="118"/>
                    </a:lnTo>
                    <a:lnTo>
                      <a:pt x="282" y="119"/>
                    </a:lnTo>
                    <a:lnTo>
                      <a:pt x="282" y="119"/>
                    </a:lnTo>
                    <a:lnTo>
                      <a:pt x="280" y="121"/>
                    </a:lnTo>
                    <a:lnTo>
                      <a:pt x="280" y="123"/>
                    </a:lnTo>
                    <a:lnTo>
                      <a:pt x="282" y="123"/>
                    </a:lnTo>
                    <a:lnTo>
                      <a:pt x="282" y="125"/>
                    </a:lnTo>
                    <a:lnTo>
                      <a:pt x="282" y="125"/>
                    </a:lnTo>
                    <a:lnTo>
                      <a:pt x="280" y="127"/>
                    </a:lnTo>
                    <a:lnTo>
                      <a:pt x="278" y="129"/>
                    </a:lnTo>
                    <a:lnTo>
                      <a:pt x="278" y="131"/>
                    </a:lnTo>
                    <a:lnTo>
                      <a:pt x="280" y="131"/>
                    </a:lnTo>
                    <a:lnTo>
                      <a:pt x="280" y="133"/>
                    </a:lnTo>
                    <a:lnTo>
                      <a:pt x="282" y="135"/>
                    </a:lnTo>
                    <a:lnTo>
                      <a:pt x="282" y="137"/>
                    </a:lnTo>
                    <a:lnTo>
                      <a:pt x="282" y="138"/>
                    </a:lnTo>
                    <a:lnTo>
                      <a:pt x="286" y="140"/>
                    </a:lnTo>
                    <a:lnTo>
                      <a:pt x="286" y="140"/>
                    </a:lnTo>
                    <a:lnTo>
                      <a:pt x="286" y="142"/>
                    </a:lnTo>
                    <a:lnTo>
                      <a:pt x="286" y="144"/>
                    </a:lnTo>
                    <a:lnTo>
                      <a:pt x="284" y="146"/>
                    </a:lnTo>
                    <a:lnTo>
                      <a:pt x="282" y="146"/>
                    </a:lnTo>
                    <a:lnTo>
                      <a:pt x="280" y="146"/>
                    </a:lnTo>
                    <a:lnTo>
                      <a:pt x="276" y="146"/>
                    </a:lnTo>
                    <a:lnTo>
                      <a:pt x="276" y="146"/>
                    </a:lnTo>
                    <a:lnTo>
                      <a:pt x="272" y="146"/>
                    </a:lnTo>
                    <a:lnTo>
                      <a:pt x="270" y="144"/>
                    </a:lnTo>
                    <a:lnTo>
                      <a:pt x="270" y="144"/>
                    </a:lnTo>
                    <a:lnTo>
                      <a:pt x="267" y="142"/>
                    </a:lnTo>
                    <a:lnTo>
                      <a:pt x="267" y="142"/>
                    </a:lnTo>
                    <a:lnTo>
                      <a:pt x="265" y="142"/>
                    </a:lnTo>
                    <a:lnTo>
                      <a:pt x="265" y="142"/>
                    </a:lnTo>
                    <a:lnTo>
                      <a:pt x="263" y="142"/>
                    </a:lnTo>
                    <a:lnTo>
                      <a:pt x="259" y="144"/>
                    </a:lnTo>
                    <a:lnTo>
                      <a:pt x="259" y="144"/>
                    </a:lnTo>
                    <a:lnTo>
                      <a:pt x="257" y="144"/>
                    </a:lnTo>
                    <a:lnTo>
                      <a:pt x="255" y="142"/>
                    </a:lnTo>
                    <a:lnTo>
                      <a:pt x="253" y="142"/>
                    </a:lnTo>
                    <a:lnTo>
                      <a:pt x="251" y="142"/>
                    </a:lnTo>
                    <a:lnTo>
                      <a:pt x="246" y="146"/>
                    </a:lnTo>
                    <a:lnTo>
                      <a:pt x="244" y="146"/>
                    </a:lnTo>
                    <a:lnTo>
                      <a:pt x="242" y="146"/>
                    </a:lnTo>
                    <a:lnTo>
                      <a:pt x="242" y="146"/>
                    </a:lnTo>
                    <a:lnTo>
                      <a:pt x="240" y="146"/>
                    </a:lnTo>
                    <a:lnTo>
                      <a:pt x="238" y="146"/>
                    </a:lnTo>
                    <a:lnTo>
                      <a:pt x="234" y="148"/>
                    </a:lnTo>
                    <a:lnTo>
                      <a:pt x="232" y="148"/>
                    </a:lnTo>
                    <a:lnTo>
                      <a:pt x="230" y="150"/>
                    </a:lnTo>
                    <a:lnTo>
                      <a:pt x="230" y="150"/>
                    </a:lnTo>
                    <a:lnTo>
                      <a:pt x="228" y="148"/>
                    </a:lnTo>
                    <a:lnTo>
                      <a:pt x="228" y="146"/>
                    </a:lnTo>
                    <a:lnTo>
                      <a:pt x="227" y="146"/>
                    </a:lnTo>
                    <a:lnTo>
                      <a:pt x="225" y="144"/>
                    </a:lnTo>
                    <a:lnTo>
                      <a:pt x="225" y="142"/>
                    </a:lnTo>
                    <a:lnTo>
                      <a:pt x="225" y="140"/>
                    </a:lnTo>
                    <a:lnTo>
                      <a:pt x="223" y="138"/>
                    </a:lnTo>
                    <a:lnTo>
                      <a:pt x="223" y="138"/>
                    </a:lnTo>
                    <a:lnTo>
                      <a:pt x="219" y="140"/>
                    </a:lnTo>
                    <a:lnTo>
                      <a:pt x="217" y="138"/>
                    </a:lnTo>
                    <a:lnTo>
                      <a:pt x="215" y="138"/>
                    </a:lnTo>
                    <a:lnTo>
                      <a:pt x="213" y="142"/>
                    </a:lnTo>
                    <a:lnTo>
                      <a:pt x="211" y="142"/>
                    </a:lnTo>
                    <a:lnTo>
                      <a:pt x="209" y="142"/>
                    </a:lnTo>
                    <a:lnTo>
                      <a:pt x="209" y="142"/>
                    </a:lnTo>
                    <a:lnTo>
                      <a:pt x="209" y="140"/>
                    </a:lnTo>
                    <a:lnTo>
                      <a:pt x="207" y="138"/>
                    </a:lnTo>
                    <a:lnTo>
                      <a:pt x="206" y="138"/>
                    </a:lnTo>
                    <a:lnTo>
                      <a:pt x="206" y="137"/>
                    </a:lnTo>
                    <a:lnTo>
                      <a:pt x="202" y="138"/>
                    </a:lnTo>
                    <a:lnTo>
                      <a:pt x="198" y="137"/>
                    </a:lnTo>
                    <a:lnTo>
                      <a:pt x="198" y="135"/>
                    </a:lnTo>
                    <a:lnTo>
                      <a:pt x="196" y="131"/>
                    </a:lnTo>
                    <a:lnTo>
                      <a:pt x="194" y="129"/>
                    </a:lnTo>
                    <a:lnTo>
                      <a:pt x="192" y="129"/>
                    </a:lnTo>
                    <a:lnTo>
                      <a:pt x="192" y="129"/>
                    </a:lnTo>
                    <a:lnTo>
                      <a:pt x="190" y="131"/>
                    </a:lnTo>
                    <a:lnTo>
                      <a:pt x="190" y="131"/>
                    </a:lnTo>
                    <a:lnTo>
                      <a:pt x="188" y="133"/>
                    </a:lnTo>
                    <a:lnTo>
                      <a:pt x="186" y="137"/>
                    </a:lnTo>
                    <a:lnTo>
                      <a:pt x="186" y="138"/>
                    </a:lnTo>
                    <a:lnTo>
                      <a:pt x="185" y="138"/>
                    </a:lnTo>
                    <a:lnTo>
                      <a:pt x="185" y="140"/>
                    </a:lnTo>
                    <a:lnTo>
                      <a:pt x="183" y="140"/>
                    </a:lnTo>
                    <a:lnTo>
                      <a:pt x="183" y="144"/>
                    </a:lnTo>
                    <a:lnTo>
                      <a:pt x="185" y="148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6" y="154"/>
                    </a:lnTo>
                    <a:lnTo>
                      <a:pt x="186" y="156"/>
                    </a:lnTo>
                    <a:lnTo>
                      <a:pt x="188" y="156"/>
                    </a:lnTo>
                    <a:lnTo>
                      <a:pt x="190" y="157"/>
                    </a:lnTo>
                    <a:lnTo>
                      <a:pt x="190" y="157"/>
                    </a:lnTo>
                    <a:lnTo>
                      <a:pt x="192" y="161"/>
                    </a:lnTo>
                    <a:lnTo>
                      <a:pt x="192" y="161"/>
                    </a:lnTo>
                    <a:lnTo>
                      <a:pt x="192" y="163"/>
                    </a:lnTo>
                    <a:lnTo>
                      <a:pt x="190" y="165"/>
                    </a:lnTo>
                    <a:lnTo>
                      <a:pt x="190" y="165"/>
                    </a:lnTo>
                    <a:lnTo>
                      <a:pt x="190" y="167"/>
                    </a:lnTo>
                    <a:lnTo>
                      <a:pt x="188" y="169"/>
                    </a:lnTo>
                    <a:lnTo>
                      <a:pt x="188" y="171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92" y="175"/>
                    </a:lnTo>
                    <a:lnTo>
                      <a:pt x="192" y="176"/>
                    </a:lnTo>
                    <a:lnTo>
                      <a:pt x="194" y="178"/>
                    </a:lnTo>
                    <a:lnTo>
                      <a:pt x="194" y="180"/>
                    </a:lnTo>
                    <a:lnTo>
                      <a:pt x="194" y="182"/>
                    </a:lnTo>
                    <a:lnTo>
                      <a:pt x="194" y="182"/>
                    </a:lnTo>
                    <a:lnTo>
                      <a:pt x="192" y="184"/>
                    </a:lnTo>
                    <a:lnTo>
                      <a:pt x="192" y="184"/>
                    </a:lnTo>
                    <a:lnTo>
                      <a:pt x="192" y="186"/>
                    </a:lnTo>
                    <a:lnTo>
                      <a:pt x="192" y="186"/>
                    </a:lnTo>
                    <a:lnTo>
                      <a:pt x="194" y="188"/>
                    </a:lnTo>
                    <a:lnTo>
                      <a:pt x="194" y="190"/>
                    </a:lnTo>
                    <a:lnTo>
                      <a:pt x="194" y="192"/>
                    </a:lnTo>
                    <a:lnTo>
                      <a:pt x="194" y="192"/>
                    </a:lnTo>
                    <a:lnTo>
                      <a:pt x="194" y="194"/>
                    </a:lnTo>
                    <a:lnTo>
                      <a:pt x="192" y="194"/>
                    </a:lnTo>
                    <a:lnTo>
                      <a:pt x="192" y="196"/>
                    </a:lnTo>
                    <a:lnTo>
                      <a:pt x="190" y="196"/>
                    </a:lnTo>
                    <a:lnTo>
                      <a:pt x="188" y="196"/>
                    </a:lnTo>
                    <a:lnTo>
                      <a:pt x="186" y="194"/>
                    </a:lnTo>
                    <a:lnTo>
                      <a:pt x="185" y="192"/>
                    </a:lnTo>
                    <a:lnTo>
                      <a:pt x="183" y="190"/>
                    </a:lnTo>
                    <a:lnTo>
                      <a:pt x="183" y="190"/>
                    </a:lnTo>
                    <a:lnTo>
                      <a:pt x="181" y="190"/>
                    </a:lnTo>
                    <a:lnTo>
                      <a:pt x="181" y="194"/>
                    </a:lnTo>
                    <a:lnTo>
                      <a:pt x="179" y="194"/>
                    </a:lnTo>
                    <a:lnTo>
                      <a:pt x="179" y="196"/>
                    </a:lnTo>
                    <a:lnTo>
                      <a:pt x="177" y="196"/>
                    </a:lnTo>
                    <a:lnTo>
                      <a:pt x="173" y="197"/>
                    </a:lnTo>
                    <a:lnTo>
                      <a:pt x="171" y="197"/>
                    </a:lnTo>
                    <a:lnTo>
                      <a:pt x="171" y="197"/>
                    </a:lnTo>
                    <a:lnTo>
                      <a:pt x="169" y="196"/>
                    </a:lnTo>
                    <a:lnTo>
                      <a:pt x="169" y="196"/>
                    </a:lnTo>
                    <a:lnTo>
                      <a:pt x="167" y="196"/>
                    </a:lnTo>
                    <a:lnTo>
                      <a:pt x="167" y="194"/>
                    </a:lnTo>
                    <a:lnTo>
                      <a:pt x="160" y="194"/>
                    </a:lnTo>
                    <a:lnTo>
                      <a:pt x="158" y="196"/>
                    </a:lnTo>
                    <a:lnTo>
                      <a:pt x="156" y="196"/>
                    </a:lnTo>
                    <a:lnTo>
                      <a:pt x="154" y="197"/>
                    </a:lnTo>
                    <a:lnTo>
                      <a:pt x="152" y="197"/>
                    </a:lnTo>
                    <a:lnTo>
                      <a:pt x="146" y="197"/>
                    </a:lnTo>
                    <a:lnTo>
                      <a:pt x="145" y="197"/>
                    </a:lnTo>
                    <a:lnTo>
                      <a:pt x="145" y="199"/>
                    </a:lnTo>
                    <a:lnTo>
                      <a:pt x="145" y="201"/>
                    </a:lnTo>
                    <a:lnTo>
                      <a:pt x="145" y="203"/>
                    </a:lnTo>
                    <a:lnTo>
                      <a:pt x="145" y="205"/>
                    </a:lnTo>
                    <a:lnTo>
                      <a:pt x="139" y="209"/>
                    </a:lnTo>
                    <a:lnTo>
                      <a:pt x="135" y="209"/>
                    </a:lnTo>
                    <a:lnTo>
                      <a:pt x="133" y="209"/>
                    </a:lnTo>
                    <a:lnTo>
                      <a:pt x="131" y="209"/>
                    </a:lnTo>
                    <a:lnTo>
                      <a:pt x="129" y="209"/>
                    </a:lnTo>
                    <a:lnTo>
                      <a:pt x="127" y="207"/>
                    </a:lnTo>
                    <a:lnTo>
                      <a:pt x="127" y="207"/>
                    </a:lnTo>
                    <a:lnTo>
                      <a:pt x="125" y="205"/>
                    </a:lnTo>
                    <a:lnTo>
                      <a:pt x="125" y="205"/>
                    </a:lnTo>
                    <a:lnTo>
                      <a:pt x="125" y="205"/>
                    </a:lnTo>
                    <a:lnTo>
                      <a:pt x="124" y="203"/>
                    </a:lnTo>
                    <a:lnTo>
                      <a:pt x="122" y="203"/>
                    </a:lnTo>
                    <a:lnTo>
                      <a:pt x="122" y="201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14" y="199"/>
                    </a:lnTo>
                    <a:lnTo>
                      <a:pt x="110" y="197"/>
                    </a:lnTo>
                    <a:lnTo>
                      <a:pt x="108" y="197"/>
                    </a:lnTo>
                    <a:lnTo>
                      <a:pt x="108" y="199"/>
                    </a:lnTo>
                    <a:lnTo>
                      <a:pt x="106" y="203"/>
                    </a:lnTo>
                    <a:lnTo>
                      <a:pt x="106" y="203"/>
                    </a:lnTo>
                    <a:lnTo>
                      <a:pt x="104" y="205"/>
                    </a:lnTo>
                    <a:lnTo>
                      <a:pt x="104" y="205"/>
                    </a:lnTo>
                    <a:lnTo>
                      <a:pt x="104" y="207"/>
                    </a:lnTo>
                    <a:lnTo>
                      <a:pt x="103" y="207"/>
                    </a:lnTo>
                    <a:lnTo>
                      <a:pt x="101" y="209"/>
                    </a:lnTo>
                    <a:lnTo>
                      <a:pt x="95" y="211"/>
                    </a:lnTo>
                    <a:lnTo>
                      <a:pt x="95" y="211"/>
                    </a:lnTo>
                    <a:lnTo>
                      <a:pt x="93" y="211"/>
                    </a:lnTo>
                    <a:lnTo>
                      <a:pt x="93" y="211"/>
                    </a:lnTo>
                    <a:lnTo>
                      <a:pt x="93" y="211"/>
                    </a:lnTo>
                    <a:lnTo>
                      <a:pt x="95" y="213"/>
                    </a:lnTo>
                    <a:lnTo>
                      <a:pt x="95" y="215"/>
                    </a:lnTo>
                    <a:lnTo>
                      <a:pt x="95" y="216"/>
                    </a:lnTo>
                    <a:lnTo>
                      <a:pt x="97" y="222"/>
                    </a:lnTo>
                    <a:lnTo>
                      <a:pt x="97" y="222"/>
                    </a:lnTo>
                    <a:lnTo>
                      <a:pt x="97" y="222"/>
                    </a:lnTo>
                    <a:lnTo>
                      <a:pt x="97" y="224"/>
                    </a:lnTo>
                    <a:lnTo>
                      <a:pt x="95" y="224"/>
                    </a:lnTo>
                    <a:lnTo>
                      <a:pt x="95" y="224"/>
                    </a:lnTo>
                    <a:lnTo>
                      <a:pt x="93" y="224"/>
                    </a:lnTo>
                    <a:lnTo>
                      <a:pt x="91" y="222"/>
                    </a:lnTo>
                    <a:lnTo>
                      <a:pt x="89" y="222"/>
                    </a:lnTo>
                    <a:lnTo>
                      <a:pt x="87" y="222"/>
                    </a:lnTo>
                    <a:lnTo>
                      <a:pt x="87" y="224"/>
                    </a:lnTo>
                    <a:lnTo>
                      <a:pt x="85" y="224"/>
                    </a:lnTo>
                    <a:lnTo>
                      <a:pt x="84" y="226"/>
                    </a:lnTo>
                    <a:lnTo>
                      <a:pt x="82" y="226"/>
                    </a:lnTo>
                    <a:lnTo>
                      <a:pt x="82" y="226"/>
                    </a:lnTo>
                    <a:lnTo>
                      <a:pt x="80" y="226"/>
                    </a:lnTo>
                    <a:lnTo>
                      <a:pt x="80" y="228"/>
                    </a:lnTo>
                    <a:lnTo>
                      <a:pt x="78" y="230"/>
                    </a:lnTo>
                    <a:lnTo>
                      <a:pt x="78" y="230"/>
                    </a:lnTo>
                    <a:lnTo>
                      <a:pt x="76" y="230"/>
                    </a:lnTo>
                    <a:lnTo>
                      <a:pt x="76" y="230"/>
                    </a:lnTo>
                    <a:lnTo>
                      <a:pt x="74" y="230"/>
                    </a:lnTo>
                    <a:lnTo>
                      <a:pt x="74" y="230"/>
                    </a:lnTo>
                    <a:lnTo>
                      <a:pt x="72" y="234"/>
                    </a:lnTo>
                    <a:lnTo>
                      <a:pt x="72" y="235"/>
                    </a:lnTo>
                    <a:lnTo>
                      <a:pt x="72" y="235"/>
                    </a:lnTo>
                    <a:lnTo>
                      <a:pt x="70" y="235"/>
                    </a:lnTo>
                    <a:lnTo>
                      <a:pt x="68" y="237"/>
                    </a:lnTo>
                    <a:lnTo>
                      <a:pt x="72" y="241"/>
                    </a:lnTo>
                    <a:lnTo>
                      <a:pt x="72" y="243"/>
                    </a:lnTo>
                    <a:lnTo>
                      <a:pt x="72" y="243"/>
                    </a:lnTo>
                    <a:lnTo>
                      <a:pt x="70" y="245"/>
                    </a:lnTo>
                    <a:lnTo>
                      <a:pt x="68" y="245"/>
                    </a:lnTo>
                    <a:lnTo>
                      <a:pt x="66" y="245"/>
                    </a:lnTo>
                    <a:lnTo>
                      <a:pt x="66" y="245"/>
                    </a:lnTo>
                    <a:lnTo>
                      <a:pt x="64" y="245"/>
                    </a:lnTo>
                    <a:lnTo>
                      <a:pt x="61" y="249"/>
                    </a:lnTo>
                    <a:lnTo>
                      <a:pt x="61" y="251"/>
                    </a:lnTo>
                    <a:lnTo>
                      <a:pt x="59" y="251"/>
                    </a:lnTo>
                    <a:lnTo>
                      <a:pt x="59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49"/>
                    </a:lnTo>
                    <a:lnTo>
                      <a:pt x="57" y="249"/>
                    </a:lnTo>
                    <a:lnTo>
                      <a:pt x="57" y="249"/>
                    </a:lnTo>
                    <a:lnTo>
                      <a:pt x="57" y="247"/>
                    </a:lnTo>
                    <a:lnTo>
                      <a:pt x="55" y="247"/>
                    </a:lnTo>
                    <a:lnTo>
                      <a:pt x="55" y="245"/>
                    </a:lnTo>
                    <a:lnTo>
                      <a:pt x="55" y="245"/>
                    </a:lnTo>
                    <a:lnTo>
                      <a:pt x="55" y="243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47" y="241"/>
                    </a:lnTo>
                    <a:lnTo>
                      <a:pt x="47" y="239"/>
                    </a:lnTo>
                    <a:lnTo>
                      <a:pt x="45" y="239"/>
                    </a:lnTo>
                    <a:lnTo>
                      <a:pt x="43" y="239"/>
                    </a:lnTo>
                    <a:lnTo>
                      <a:pt x="43" y="239"/>
                    </a:lnTo>
                    <a:lnTo>
                      <a:pt x="42" y="239"/>
                    </a:lnTo>
                    <a:lnTo>
                      <a:pt x="42" y="239"/>
                    </a:lnTo>
                    <a:lnTo>
                      <a:pt x="40" y="243"/>
                    </a:lnTo>
                    <a:lnTo>
                      <a:pt x="40" y="245"/>
                    </a:lnTo>
                    <a:lnTo>
                      <a:pt x="40" y="245"/>
                    </a:lnTo>
                    <a:lnTo>
                      <a:pt x="40" y="247"/>
                    </a:lnTo>
                    <a:lnTo>
                      <a:pt x="38" y="247"/>
                    </a:lnTo>
                    <a:lnTo>
                      <a:pt x="36" y="247"/>
                    </a:lnTo>
                    <a:lnTo>
                      <a:pt x="36" y="249"/>
                    </a:lnTo>
                    <a:lnTo>
                      <a:pt x="36" y="249"/>
                    </a:lnTo>
                    <a:lnTo>
                      <a:pt x="34" y="251"/>
                    </a:lnTo>
                    <a:lnTo>
                      <a:pt x="32" y="253"/>
                    </a:lnTo>
                    <a:lnTo>
                      <a:pt x="32" y="253"/>
                    </a:lnTo>
                    <a:lnTo>
                      <a:pt x="30" y="253"/>
                    </a:lnTo>
                    <a:lnTo>
                      <a:pt x="30" y="251"/>
                    </a:lnTo>
                    <a:lnTo>
                      <a:pt x="30" y="251"/>
                    </a:lnTo>
                    <a:lnTo>
                      <a:pt x="28" y="251"/>
                    </a:lnTo>
                    <a:lnTo>
                      <a:pt x="28" y="249"/>
                    </a:lnTo>
                    <a:lnTo>
                      <a:pt x="28" y="249"/>
                    </a:lnTo>
                    <a:lnTo>
                      <a:pt x="26" y="249"/>
                    </a:lnTo>
                    <a:lnTo>
                      <a:pt x="26" y="251"/>
                    </a:lnTo>
                    <a:lnTo>
                      <a:pt x="26" y="253"/>
                    </a:lnTo>
                    <a:lnTo>
                      <a:pt x="26" y="253"/>
                    </a:lnTo>
                    <a:lnTo>
                      <a:pt x="24" y="254"/>
                    </a:lnTo>
                    <a:lnTo>
                      <a:pt x="24" y="254"/>
                    </a:lnTo>
                    <a:lnTo>
                      <a:pt x="22" y="254"/>
                    </a:lnTo>
                    <a:lnTo>
                      <a:pt x="22" y="253"/>
                    </a:lnTo>
                    <a:lnTo>
                      <a:pt x="21" y="253"/>
                    </a:lnTo>
                    <a:lnTo>
                      <a:pt x="21" y="253"/>
                    </a:lnTo>
                    <a:lnTo>
                      <a:pt x="19" y="253"/>
                    </a:lnTo>
                    <a:lnTo>
                      <a:pt x="19" y="253"/>
                    </a:lnTo>
                    <a:lnTo>
                      <a:pt x="19" y="254"/>
                    </a:lnTo>
                    <a:lnTo>
                      <a:pt x="17" y="258"/>
                    </a:lnTo>
                    <a:lnTo>
                      <a:pt x="17" y="258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9" y="260"/>
                    </a:lnTo>
                    <a:lnTo>
                      <a:pt x="19" y="260"/>
                    </a:lnTo>
                    <a:lnTo>
                      <a:pt x="19" y="258"/>
                    </a:lnTo>
                    <a:lnTo>
                      <a:pt x="21" y="258"/>
                    </a:lnTo>
                    <a:lnTo>
                      <a:pt x="21" y="258"/>
                    </a:lnTo>
                    <a:lnTo>
                      <a:pt x="21" y="258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2" y="260"/>
                    </a:lnTo>
                    <a:lnTo>
                      <a:pt x="22" y="260"/>
                    </a:lnTo>
                    <a:lnTo>
                      <a:pt x="22" y="262"/>
                    </a:lnTo>
                    <a:lnTo>
                      <a:pt x="22" y="262"/>
                    </a:lnTo>
                    <a:lnTo>
                      <a:pt x="22" y="262"/>
                    </a:lnTo>
                    <a:lnTo>
                      <a:pt x="24" y="262"/>
                    </a:lnTo>
                    <a:lnTo>
                      <a:pt x="24" y="264"/>
                    </a:lnTo>
                    <a:lnTo>
                      <a:pt x="24" y="264"/>
                    </a:lnTo>
                    <a:lnTo>
                      <a:pt x="26" y="262"/>
                    </a:lnTo>
                    <a:lnTo>
                      <a:pt x="26" y="262"/>
                    </a:lnTo>
                    <a:lnTo>
                      <a:pt x="28" y="264"/>
                    </a:lnTo>
                    <a:lnTo>
                      <a:pt x="28" y="264"/>
                    </a:lnTo>
                    <a:lnTo>
                      <a:pt x="28" y="264"/>
                    </a:lnTo>
                    <a:lnTo>
                      <a:pt x="28" y="266"/>
                    </a:lnTo>
                    <a:lnTo>
                      <a:pt x="28" y="266"/>
                    </a:lnTo>
                    <a:lnTo>
                      <a:pt x="28" y="268"/>
                    </a:lnTo>
                    <a:lnTo>
                      <a:pt x="28" y="268"/>
                    </a:lnTo>
                    <a:lnTo>
                      <a:pt x="30" y="268"/>
                    </a:lnTo>
                    <a:lnTo>
                      <a:pt x="30" y="270"/>
                    </a:lnTo>
                    <a:lnTo>
                      <a:pt x="32" y="270"/>
                    </a:lnTo>
                    <a:lnTo>
                      <a:pt x="32" y="270"/>
                    </a:lnTo>
                    <a:lnTo>
                      <a:pt x="32" y="270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0" y="272"/>
                    </a:lnTo>
                    <a:lnTo>
                      <a:pt x="28" y="274"/>
                    </a:lnTo>
                    <a:lnTo>
                      <a:pt x="26" y="274"/>
                    </a:lnTo>
                    <a:lnTo>
                      <a:pt x="26" y="274"/>
                    </a:lnTo>
                    <a:lnTo>
                      <a:pt x="26" y="275"/>
                    </a:lnTo>
                    <a:lnTo>
                      <a:pt x="26" y="277"/>
                    </a:lnTo>
                    <a:lnTo>
                      <a:pt x="26" y="277"/>
                    </a:lnTo>
                    <a:lnTo>
                      <a:pt x="26" y="279"/>
                    </a:lnTo>
                    <a:lnTo>
                      <a:pt x="28" y="281"/>
                    </a:lnTo>
                    <a:lnTo>
                      <a:pt x="28" y="281"/>
                    </a:lnTo>
                    <a:lnTo>
                      <a:pt x="28" y="281"/>
                    </a:lnTo>
                    <a:lnTo>
                      <a:pt x="28" y="285"/>
                    </a:lnTo>
                    <a:lnTo>
                      <a:pt x="28" y="285"/>
                    </a:lnTo>
                    <a:lnTo>
                      <a:pt x="28" y="287"/>
                    </a:lnTo>
                    <a:lnTo>
                      <a:pt x="28" y="287"/>
                    </a:lnTo>
                    <a:lnTo>
                      <a:pt x="30" y="287"/>
                    </a:lnTo>
                    <a:lnTo>
                      <a:pt x="30" y="287"/>
                    </a:lnTo>
                    <a:lnTo>
                      <a:pt x="30" y="285"/>
                    </a:lnTo>
                    <a:lnTo>
                      <a:pt x="32" y="285"/>
                    </a:lnTo>
                    <a:lnTo>
                      <a:pt x="32" y="285"/>
                    </a:lnTo>
                    <a:lnTo>
                      <a:pt x="34" y="285"/>
                    </a:lnTo>
                    <a:lnTo>
                      <a:pt x="34" y="285"/>
                    </a:lnTo>
                    <a:lnTo>
                      <a:pt x="45" y="291"/>
                    </a:lnTo>
                    <a:lnTo>
                      <a:pt x="45" y="291"/>
                    </a:lnTo>
                    <a:lnTo>
                      <a:pt x="47" y="291"/>
                    </a:lnTo>
                    <a:lnTo>
                      <a:pt x="47" y="293"/>
                    </a:lnTo>
                    <a:lnTo>
                      <a:pt x="47" y="293"/>
                    </a:lnTo>
                    <a:lnTo>
                      <a:pt x="47" y="294"/>
                    </a:lnTo>
                    <a:lnTo>
                      <a:pt x="47" y="296"/>
                    </a:lnTo>
                    <a:lnTo>
                      <a:pt x="47" y="302"/>
                    </a:lnTo>
                    <a:lnTo>
                      <a:pt x="47" y="306"/>
                    </a:lnTo>
                    <a:lnTo>
                      <a:pt x="47" y="308"/>
                    </a:lnTo>
                    <a:lnTo>
                      <a:pt x="45" y="310"/>
                    </a:lnTo>
                    <a:lnTo>
                      <a:pt x="45" y="310"/>
                    </a:lnTo>
                    <a:lnTo>
                      <a:pt x="40" y="310"/>
                    </a:lnTo>
                    <a:lnTo>
                      <a:pt x="40" y="312"/>
                    </a:lnTo>
                    <a:lnTo>
                      <a:pt x="38" y="312"/>
                    </a:lnTo>
                    <a:lnTo>
                      <a:pt x="36" y="313"/>
                    </a:lnTo>
                    <a:lnTo>
                      <a:pt x="36" y="313"/>
                    </a:lnTo>
                    <a:lnTo>
                      <a:pt x="36" y="315"/>
                    </a:lnTo>
                    <a:lnTo>
                      <a:pt x="38" y="315"/>
                    </a:lnTo>
                    <a:lnTo>
                      <a:pt x="38" y="315"/>
                    </a:lnTo>
                    <a:lnTo>
                      <a:pt x="40" y="317"/>
                    </a:lnTo>
                    <a:lnTo>
                      <a:pt x="42" y="317"/>
                    </a:lnTo>
                    <a:lnTo>
                      <a:pt x="42" y="317"/>
                    </a:lnTo>
                    <a:lnTo>
                      <a:pt x="42" y="317"/>
                    </a:lnTo>
                    <a:lnTo>
                      <a:pt x="42" y="319"/>
                    </a:lnTo>
                    <a:lnTo>
                      <a:pt x="42" y="321"/>
                    </a:lnTo>
                    <a:lnTo>
                      <a:pt x="42" y="323"/>
                    </a:lnTo>
                    <a:lnTo>
                      <a:pt x="42" y="327"/>
                    </a:lnTo>
                    <a:lnTo>
                      <a:pt x="40" y="327"/>
                    </a:lnTo>
                    <a:lnTo>
                      <a:pt x="38" y="331"/>
                    </a:lnTo>
                    <a:lnTo>
                      <a:pt x="36" y="334"/>
                    </a:lnTo>
                    <a:lnTo>
                      <a:pt x="32" y="340"/>
                    </a:lnTo>
                    <a:lnTo>
                      <a:pt x="32" y="340"/>
                    </a:lnTo>
                    <a:lnTo>
                      <a:pt x="32" y="340"/>
                    </a:lnTo>
                    <a:lnTo>
                      <a:pt x="34" y="342"/>
                    </a:lnTo>
                    <a:lnTo>
                      <a:pt x="34" y="344"/>
                    </a:lnTo>
                    <a:lnTo>
                      <a:pt x="34" y="344"/>
                    </a:lnTo>
                    <a:lnTo>
                      <a:pt x="34" y="346"/>
                    </a:lnTo>
                    <a:lnTo>
                      <a:pt x="32" y="350"/>
                    </a:lnTo>
                    <a:lnTo>
                      <a:pt x="30" y="353"/>
                    </a:lnTo>
                    <a:lnTo>
                      <a:pt x="28" y="355"/>
                    </a:lnTo>
                    <a:lnTo>
                      <a:pt x="26" y="357"/>
                    </a:lnTo>
                    <a:lnTo>
                      <a:pt x="24" y="357"/>
                    </a:lnTo>
                    <a:lnTo>
                      <a:pt x="22" y="357"/>
                    </a:lnTo>
                    <a:lnTo>
                      <a:pt x="21" y="359"/>
                    </a:lnTo>
                    <a:lnTo>
                      <a:pt x="17" y="359"/>
                    </a:lnTo>
                    <a:lnTo>
                      <a:pt x="15" y="359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5"/>
                    </a:lnTo>
                    <a:lnTo>
                      <a:pt x="15" y="353"/>
                    </a:lnTo>
                    <a:lnTo>
                      <a:pt x="15" y="353"/>
                    </a:lnTo>
                    <a:lnTo>
                      <a:pt x="15" y="353"/>
                    </a:lnTo>
                    <a:lnTo>
                      <a:pt x="13" y="353"/>
                    </a:lnTo>
                    <a:lnTo>
                      <a:pt x="13" y="353"/>
                    </a:lnTo>
                    <a:lnTo>
                      <a:pt x="11" y="353"/>
                    </a:lnTo>
                    <a:lnTo>
                      <a:pt x="5" y="357"/>
                    </a:lnTo>
                    <a:lnTo>
                      <a:pt x="3" y="359"/>
                    </a:lnTo>
                    <a:lnTo>
                      <a:pt x="3" y="363"/>
                    </a:lnTo>
                    <a:lnTo>
                      <a:pt x="2" y="365"/>
                    </a:lnTo>
                    <a:lnTo>
                      <a:pt x="2" y="365"/>
                    </a:lnTo>
                    <a:lnTo>
                      <a:pt x="0" y="365"/>
                    </a:lnTo>
                    <a:lnTo>
                      <a:pt x="0" y="367"/>
                    </a:lnTo>
                    <a:lnTo>
                      <a:pt x="0" y="367"/>
                    </a:lnTo>
                    <a:lnTo>
                      <a:pt x="0" y="367"/>
                    </a:lnTo>
                    <a:lnTo>
                      <a:pt x="2" y="371"/>
                    </a:lnTo>
                    <a:lnTo>
                      <a:pt x="2" y="371"/>
                    </a:lnTo>
                    <a:lnTo>
                      <a:pt x="3" y="371"/>
                    </a:lnTo>
                    <a:lnTo>
                      <a:pt x="5" y="371"/>
                    </a:lnTo>
                    <a:lnTo>
                      <a:pt x="7" y="371"/>
                    </a:lnTo>
                    <a:lnTo>
                      <a:pt x="7" y="369"/>
                    </a:lnTo>
                    <a:lnTo>
                      <a:pt x="9" y="369"/>
                    </a:lnTo>
                    <a:lnTo>
                      <a:pt x="9" y="369"/>
                    </a:lnTo>
                    <a:lnTo>
                      <a:pt x="11" y="369"/>
                    </a:lnTo>
                    <a:lnTo>
                      <a:pt x="13" y="369"/>
                    </a:lnTo>
                    <a:lnTo>
                      <a:pt x="17" y="371"/>
                    </a:lnTo>
                    <a:lnTo>
                      <a:pt x="17" y="372"/>
                    </a:lnTo>
                    <a:lnTo>
                      <a:pt x="19" y="372"/>
                    </a:lnTo>
                    <a:lnTo>
                      <a:pt x="19" y="376"/>
                    </a:lnTo>
                    <a:lnTo>
                      <a:pt x="21" y="384"/>
                    </a:lnTo>
                    <a:lnTo>
                      <a:pt x="21" y="386"/>
                    </a:lnTo>
                    <a:lnTo>
                      <a:pt x="21" y="388"/>
                    </a:lnTo>
                    <a:lnTo>
                      <a:pt x="19" y="390"/>
                    </a:lnTo>
                    <a:lnTo>
                      <a:pt x="17" y="391"/>
                    </a:lnTo>
                    <a:lnTo>
                      <a:pt x="19" y="393"/>
                    </a:lnTo>
                    <a:lnTo>
                      <a:pt x="19" y="395"/>
                    </a:lnTo>
                    <a:lnTo>
                      <a:pt x="21" y="395"/>
                    </a:lnTo>
                    <a:lnTo>
                      <a:pt x="21" y="397"/>
                    </a:lnTo>
                    <a:lnTo>
                      <a:pt x="21" y="399"/>
                    </a:lnTo>
                    <a:lnTo>
                      <a:pt x="21" y="399"/>
                    </a:lnTo>
                    <a:lnTo>
                      <a:pt x="21" y="401"/>
                    </a:lnTo>
                    <a:lnTo>
                      <a:pt x="21" y="401"/>
                    </a:lnTo>
                    <a:lnTo>
                      <a:pt x="21" y="403"/>
                    </a:lnTo>
                    <a:lnTo>
                      <a:pt x="21" y="403"/>
                    </a:lnTo>
                    <a:lnTo>
                      <a:pt x="24" y="407"/>
                    </a:lnTo>
                    <a:lnTo>
                      <a:pt x="24" y="409"/>
                    </a:lnTo>
                    <a:lnTo>
                      <a:pt x="26" y="409"/>
                    </a:lnTo>
                    <a:lnTo>
                      <a:pt x="26" y="411"/>
                    </a:lnTo>
                    <a:lnTo>
                      <a:pt x="26" y="414"/>
                    </a:lnTo>
                    <a:lnTo>
                      <a:pt x="26" y="416"/>
                    </a:lnTo>
                    <a:lnTo>
                      <a:pt x="26" y="418"/>
                    </a:lnTo>
                    <a:lnTo>
                      <a:pt x="24" y="418"/>
                    </a:lnTo>
                    <a:lnTo>
                      <a:pt x="22" y="418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2"/>
                    </a:lnTo>
                    <a:lnTo>
                      <a:pt x="19" y="422"/>
                    </a:lnTo>
                    <a:lnTo>
                      <a:pt x="19" y="424"/>
                    </a:lnTo>
                    <a:lnTo>
                      <a:pt x="22" y="426"/>
                    </a:lnTo>
                    <a:lnTo>
                      <a:pt x="24" y="426"/>
                    </a:lnTo>
                    <a:lnTo>
                      <a:pt x="24" y="428"/>
                    </a:lnTo>
                    <a:lnTo>
                      <a:pt x="24" y="428"/>
                    </a:lnTo>
                    <a:lnTo>
                      <a:pt x="24" y="428"/>
                    </a:lnTo>
                    <a:lnTo>
                      <a:pt x="24" y="430"/>
                    </a:lnTo>
                    <a:lnTo>
                      <a:pt x="24" y="431"/>
                    </a:lnTo>
                    <a:lnTo>
                      <a:pt x="21" y="437"/>
                    </a:lnTo>
                    <a:lnTo>
                      <a:pt x="21" y="437"/>
                    </a:lnTo>
                    <a:lnTo>
                      <a:pt x="21" y="441"/>
                    </a:lnTo>
                    <a:lnTo>
                      <a:pt x="21" y="441"/>
                    </a:lnTo>
                    <a:lnTo>
                      <a:pt x="21" y="443"/>
                    </a:lnTo>
                    <a:lnTo>
                      <a:pt x="21" y="447"/>
                    </a:lnTo>
                    <a:lnTo>
                      <a:pt x="21" y="447"/>
                    </a:lnTo>
                    <a:lnTo>
                      <a:pt x="21" y="449"/>
                    </a:lnTo>
                    <a:lnTo>
                      <a:pt x="21" y="450"/>
                    </a:lnTo>
                    <a:lnTo>
                      <a:pt x="21" y="450"/>
                    </a:lnTo>
                    <a:lnTo>
                      <a:pt x="21" y="452"/>
                    </a:lnTo>
                    <a:lnTo>
                      <a:pt x="19" y="456"/>
                    </a:lnTo>
                    <a:lnTo>
                      <a:pt x="19" y="458"/>
                    </a:lnTo>
                    <a:lnTo>
                      <a:pt x="19" y="458"/>
                    </a:lnTo>
                    <a:lnTo>
                      <a:pt x="19" y="458"/>
                    </a:lnTo>
                    <a:lnTo>
                      <a:pt x="17" y="460"/>
                    </a:lnTo>
                    <a:lnTo>
                      <a:pt x="15" y="462"/>
                    </a:lnTo>
                    <a:lnTo>
                      <a:pt x="13" y="462"/>
                    </a:lnTo>
                    <a:lnTo>
                      <a:pt x="11" y="462"/>
                    </a:lnTo>
                    <a:lnTo>
                      <a:pt x="7" y="462"/>
                    </a:lnTo>
                    <a:lnTo>
                      <a:pt x="7" y="462"/>
                    </a:lnTo>
                    <a:lnTo>
                      <a:pt x="7" y="462"/>
                    </a:lnTo>
                    <a:lnTo>
                      <a:pt x="3" y="466"/>
                    </a:lnTo>
                    <a:lnTo>
                      <a:pt x="0" y="468"/>
                    </a:lnTo>
                    <a:lnTo>
                      <a:pt x="2" y="471"/>
                    </a:lnTo>
                    <a:lnTo>
                      <a:pt x="2" y="473"/>
                    </a:lnTo>
                    <a:lnTo>
                      <a:pt x="3" y="473"/>
                    </a:lnTo>
                    <a:lnTo>
                      <a:pt x="5" y="471"/>
                    </a:lnTo>
                    <a:lnTo>
                      <a:pt x="7" y="471"/>
                    </a:lnTo>
                    <a:lnTo>
                      <a:pt x="7" y="469"/>
                    </a:lnTo>
                    <a:lnTo>
                      <a:pt x="9" y="469"/>
                    </a:lnTo>
                    <a:lnTo>
                      <a:pt x="13" y="468"/>
                    </a:lnTo>
                    <a:lnTo>
                      <a:pt x="15" y="466"/>
                    </a:lnTo>
                    <a:lnTo>
                      <a:pt x="15" y="468"/>
                    </a:lnTo>
                    <a:lnTo>
                      <a:pt x="15" y="468"/>
                    </a:lnTo>
                    <a:lnTo>
                      <a:pt x="17" y="468"/>
                    </a:lnTo>
                    <a:lnTo>
                      <a:pt x="17" y="469"/>
                    </a:lnTo>
                    <a:lnTo>
                      <a:pt x="17" y="469"/>
                    </a:lnTo>
                    <a:lnTo>
                      <a:pt x="17" y="471"/>
                    </a:lnTo>
                    <a:lnTo>
                      <a:pt x="15" y="469"/>
                    </a:lnTo>
                    <a:lnTo>
                      <a:pt x="15" y="469"/>
                    </a:lnTo>
                    <a:lnTo>
                      <a:pt x="11" y="469"/>
                    </a:lnTo>
                    <a:lnTo>
                      <a:pt x="11" y="471"/>
                    </a:lnTo>
                    <a:lnTo>
                      <a:pt x="9" y="473"/>
                    </a:lnTo>
                    <a:lnTo>
                      <a:pt x="7" y="475"/>
                    </a:lnTo>
                    <a:lnTo>
                      <a:pt x="7" y="473"/>
                    </a:lnTo>
                    <a:lnTo>
                      <a:pt x="5" y="473"/>
                    </a:lnTo>
                    <a:lnTo>
                      <a:pt x="3" y="473"/>
                    </a:lnTo>
                    <a:lnTo>
                      <a:pt x="3" y="475"/>
                    </a:lnTo>
                    <a:lnTo>
                      <a:pt x="2" y="475"/>
                    </a:lnTo>
                    <a:lnTo>
                      <a:pt x="2" y="477"/>
                    </a:lnTo>
                    <a:lnTo>
                      <a:pt x="2" y="479"/>
                    </a:lnTo>
                    <a:lnTo>
                      <a:pt x="0" y="477"/>
                    </a:lnTo>
                    <a:lnTo>
                      <a:pt x="0" y="479"/>
                    </a:lnTo>
                    <a:lnTo>
                      <a:pt x="2" y="481"/>
                    </a:lnTo>
                    <a:lnTo>
                      <a:pt x="5" y="483"/>
                    </a:lnTo>
                    <a:lnTo>
                      <a:pt x="7" y="483"/>
                    </a:lnTo>
                    <a:lnTo>
                      <a:pt x="7" y="485"/>
                    </a:lnTo>
                    <a:lnTo>
                      <a:pt x="7" y="485"/>
                    </a:lnTo>
                    <a:lnTo>
                      <a:pt x="9" y="485"/>
                    </a:lnTo>
                    <a:lnTo>
                      <a:pt x="9" y="485"/>
                    </a:lnTo>
                    <a:lnTo>
                      <a:pt x="11" y="487"/>
                    </a:lnTo>
                    <a:lnTo>
                      <a:pt x="13" y="490"/>
                    </a:lnTo>
                    <a:lnTo>
                      <a:pt x="15" y="487"/>
                    </a:lnTo>
                    <a:lnTo>
                      <a:pt x="15" y="487"/>
                    </a:lnTo>
                    <a:lnTo>
                      <a:pt x="17" y="487"/>
                    </a:lnTo>
                    <a:lnTo>
                      <a:pt x="21" y="489"/>
                    </a:lnTo>
                    <a:lnTo>
                      <a:pt x="21" y="490"/>
                    </a:lnTo>
                    <a:lnTo>
                      <a:pt x="22" y="496"/>
                    </a:lnTo>
                    <a:lnTo>
                      <a:pt x="22" y="500"/>
                    </a:lnTo>
                    <a:lnTo>
                      <a:pt x="21" y="500"/>
                    </a:lnTo>
                    <a:lnTo>
                      <a:pt x="22" y="502"/>
                    </a:lnTo>
                    <a:lnTo>
                      <a:pt x="22" y="504"/>
                    </a:lnTo>
                    <a:lnTo>
                      <a:pt x="24" y="504"/>
                    </a:lnTo>
                    <a:lnTo>
                      <a:pt x="26" y="504"/>
                    </a:lnTo>
                    <a:lnTo>
                      <a:pt x="26" y="502"/>
                    </a:lnTo>
                    <a:lnTo>
                      <a:pt x="28" y="502"/>
                    </a:lnTo>
                    <a:lnTo>
                      <a:pt x="30" y="504"/>
                    </a:lnTo>
                    <a:lnTo>
                      <a:pt x="30" y="504"/>
                    </a:lnTo>
                    <a:lnTo>
                      <a:pt x="26" y="504"/>
                    </a:lnTo>
                    <a:lnTo>
                      <a:pt x="24" y="506"/>
                    </a:lnTo>
                    <a:lnTo>
                      <a:pt x="24" y="509"/>
                    </a:lnTo>
                    <a:lnTo>
                      <a:pt x="26" y="513"/>
                    </a:lnTo>
                    <a:lnTo>
                      <a:pt x="26" y="513"/>
                    </a:lnTo>
                    <a:lnTo>
                      <a:pt x="26" y="515"/>
                    </a:lnTo>
                    <a:lnTo>
                      <a:pt x="28" y="515"/>
                    </a:lnTo>
                    <a:lnTo>
                      <a:pt x="30" y="515"/>
                    </a:lnTo>
                    <a:lnTo>
                      <a:pt x="30" y="513"/>
                    </a:lnTo>
                    <a:lnTo>
                      <a:pt x="30" y="511"/>
                    </a:lnTo>
                    <a:lnTo>
                      <a:pt x="30" y="509"/>
                    </a:lnTo>
                    <a:lnTo>
                      <a:pt x="32" y="508"/>
                    </a:lnTo>
                    <a:lnTo>
                      <a:pt x="32" y="509"/>
                    </a:lnTo>
                    <a:lnTo>
                      <a:pt x="32" y="509"/>
                    </a:lnTo>
                    <a:lnTo>
                      <a:pt x="32" y="511"/>
                    </a:lnTo>
                    <a:lnTo>
                      <a:pt x="34" y="511"/>
                    </a:lnTo>
                    <a:lnTo>
                      <a:pt x="34" y="511"/>
                    </a:lnTo>
                    <a:lnTo>
                      <a:pt x="36" y="511"/>
                    </a:lnTo>
                    <a:lnTo>
                      <a:pt x="36" y="511"/>
                    </a:lnTo>
                    <a:lnTo>
                      <a:pt x="36" y="513"/>
                    </a:lnTo>
                    <a:lnTo>
                      <a:pt x="34" y="513"/>
                    </a:lnTo>
                    <a:lnTo>
                      <a:pt x="36" y="515"/>
                    </a:lnTo>
                    <a:lnTo>
                      <a:pt x="42" y="521"/>
                    </a:lnTo>
                    <a:lnTo>
                      <a:pt x="38" y="521"/>
                    </a:lnTo>
                    <a:lnTo>
                      <a:pt x="38" y="521"/>
                    </a:lnTo>
                    <a:lnTo>
                      <a:pt x="40" y="523"/>
                    </a:lnTo>
                    <a:lnTo>
                      <a:pt x="36" y="523"/>
                    </a:lnTo>
                    <a:lnTo>
                      <a:pt x="36" y="519"/>
                    </a:lnTo>
                    <a:lnTo>
                      <a:pt x="34" y="515"/>
                    </a:lnTo>
                    <a:lnTo>
                      <a:pt x="32" y="513"/>
                    </a:lnTo>
                    <a:lnTo>
                      <a:pt x="32" y="517"/>
                    </a:lnTo>
                    <a:lnTo>
                      <a:pt x="36" y="521"/>
                    </a:lnTo>
                    <a:lnTo>
                      <a:pt x="36" y="527"/>
                    </a:lnTo>
                    <a:lnTo>
                      <a:pt x="36" y="527"/>
                    </a:lnTo>
                    <a:lnTo>
                      <a:pt x="38" y="528"/>
                    </a:lnTo>
                    <a:lnTo>
                      <a:pt x="38" y="528"/>
                    </a:lnTo>
                    <a:lnTo>
                      <a:pt x="38" y="532"/>
                    </a:lnTo>
                    <a:lnTo>
                      <a:pt x="38" y="534"/>
                    </a:lnTo>
                    <a:lnTo>
                      <a:pt x="38" y="534"/>
                    </a:lnTo>
                    <a:lnTo>
                      <a:pt x="40" y="538"/>
                    </a:lnTo>
                    <a:lnTo>
                      <a:pt x="40" y="544"/>
                    </a:lnTo>
                    <a:lnTo>
                      <a:pt x="42" y="546"/>
                    </a:lnTo>
                    <a:lnTo>
                      <a:pt x="43" y="546"/>
                    </a:lnTo>
                    <a:lnTo>
                      <a:pt x="51" y="549"/>
                    </a:lnTo>
                    <a:lnTo>
                      <a:pt x="51" y="549"/>
                    </a:lnTo>
                    <a:lnTo>
                      <a:pt x="49" y="549"/>
                    </a:lnTo>
                    <a:lnTo>
                      <a:pt x="47" y="549"/>
                    </a:lnTo>
                    <a:lnTo>
                      <a:pt x="43" y="549"/>
                    </a:lnTo>
                    <a:lnTo>
                      <a:pt x="42" y="548"/>
                    </a:lnTo>
                    <a:lnTo>
                      <a:pt x="42" y="551"/>
                    </a:lnTo>
                    <a:lnTo>
                      <a:pt x="43" y="553"/>
                    </a:lnTo>
                    <a:lnTo>
                      <a:pt x="47" y="559"/>
                    </a:lnTo>
                    <a:lnTo>
                      <a:pt x="47" y="561"/>
                    </a:lnTo>
                    <a:lnTo>
                      <a:pt x="47" y="568"/>
                    </a:lnTo>
                    <a:lnTo>
                      <a:pt x="47" y="570"/>
                    </a:lnTo>
                    <a:lnTo>
                      <a:pt x="49" y="572"/>
                    </a:lnTo>
                    <a:lnTo>
                      <a:pt x="49" y="572"/>
                    </a:lnTo>
                    <a:lnTo>
                      <a:pt x="51" y="574"/>
                    </a:lnTo>
                    <a:lnTo>
                      <a:pt x="49" y="576"/>
                    </a:lnTo>
                    <a:lnTo>
                      <a:pt x="49" y="578"/>
                    </a:lnTo>
                    <a:lnTo>
                      <a:pt x="51" y="580"/>
                    </a:lnTo>
                    <a:lnTo>
                      <a:pt x="55" y="586"/>
                    </a:lnTo>
                    <a:lnTo>
                      <a:pt x="57" y="589"/>
                    </a:lnTo>
                    <a:lnTo>
                      <a:pt x="61" y="595"/>
                    </a:lnTo>
                    <a:lnTo>
                      <a:pt x="63" y="599"/>
                    </a:lnTo>
                    <a:lnTo>
                      <a:pt x="64" y="603"/>
                    </a:lnTo>
                    <a:lnTo>
                      <a:pt x="66" y="610"/>
                    </a:lnTo>
                    <a:lnTo>
                      <a:pt x="68" y="622"/>
                    </a:lnTo>
                    <a:lnTo>
                      <a:pt x="70" y="626"/>
                    </a:lnTo>
                    <a:lnTo>
                      <a:pt x="72" y="620"/>
                    </a:lnTo>
                    <a:lnTo>
                      <a:pt x="74" y="620"/>
                    </a:lnTo>
                    <a:lnTo>
                      <a:pt x="76" y="622"/>
                    </a:lnTo>
                    <a:lnTo>
                      <a:pt x="74" y="622"/>
                    </a:lnTo>
                    <a:lnTo>
                      <a:pt x="74" y="622"/>
                    </a:lnTo>
                    <a:lnTo>
                      <a:pt x="76" y="624"/>
                    </a:lnTo>
                    <a:lnTo>
                      <a:pt x="78" y="626"/>
                    </a:lnTo>
                    <a:lnTo>
                      <a:pt x="78" y="627"/>
                    </a:lnTo>
                    <a:lnTo>
                      <a:pt x="80" y="627"/>
                    </a:lnTo>
                    <a:lnTo>
                      <a:pt x="80" y="627"/>
                    </a:lnTo>
                    <a:lnTo>
                      <a:pt x="78" y="627"/>
                    </a:lnTo>
                    <a:lnTo>
                      <a:pt x="76" y="627"/>
                    </a:lnTo>
                    <a:lnTo>
                      <a:pt x="74" y="627"/>
                    </a:lnTo>
                    <a:lnTo>
                      <a:pt x="74" y="627"/>
                    </a:lnTo>
                    <a:lnTo>
                      <a:pt x="74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31"/>
                    </a:lnTo>
                    <a:lnTo>
                      <a:pt x="72" y="631"/>
                    </a:lnTo>
                    <a:lnTo>
                      <a:pt x="72" y="631"/>
                    </a:lnTo>
                    <a:lnTo>
                      <a:pt x="72" y="633"/>
                    </a:lnTo>
                    <a:lnTo>
                      <a:pt x="72" y="641"/>
                    </a:lnTo>
                    <a:lnTo>
                      <a:pt x="72" y="643"/>
                    </a:lnTo>
                    <a:lnTo>
                      <a:pt x="76" y="652"/>
                    </a:lnTo>
                    <a:lnTo>
                      <a:pt x="76" y="654"/>
                    </a:lnTo>
                    <a:lnTo>
                      <a:pt x="76" y="656"/>
                    </a:lnTo>
                    <a:lnTo>
                      <a:pt x="76" y="658"/>
                    </a:lnTo>
                    <a:lnTo>
                      <a:pt x="76" y="658"/>
                    </a:lnTo>
                    <a:lnTo>
                      <a:pt x="74" y="654"/>
                    </a:lnTo>
                    <a:lnTo>
                      <a:pt x="74" y="650"/>
                    </a:lnTo>
                    <a:lnTo>
                      <a:pt x="74" y="654"/>
                    </a:lnTo>
                    <a:lnTo>
                      <a:pt x="74" y="658"/>
                    </a:lnTo>
                    <a:lnTo>
                      <a:pt x="76" y="660"/>
                    </a:lnTo>
                    <a:lnTo>
                      <a:pt x="74" y="662"/>
                    </a:lnTo>
                    <a:lnTo>
                      <a:pt x="76" y="664"/>
                    </a:lnTo>
                    <a:lnTo>
                      <a:pt x="76" y="665"/>
                    </a:lnTo>
                    <a:lnTo>
                      <a:pt x="78" y="667"/>
                    </a:lnTo>
                    <a:lnTo>
                      <a:pt x="80" y="677"/>
                    </a:lnTo>
                    <a:lnTo>
                      <a:pt x="80" y="683"/>
                    </a:lnTo>
                    <a:lnTo>
                      <a:pt x="82" y="688"/>
                    </a:lnTo>
                    <a:lnTo>
                      <a:pt x="82" y="690"/>
                    </a:lnTo>
                    <a:lnTo>
                      <a:pt x="84" y="690"/>
                    </a:lnTo>
                    <a:lnTo>
                      <a:pt x="84" y="692"/>
                    </a:lnTo>
                    <a:lnTo>
                      <a:pt x="84" y="696"/>
                    </a:lnTo>
                    <a:lnTo>
                      <a:pt x="84" y="698"/>
                    </a:lnTo>
                    <a:lnTo>
                      <a:pt x="85" y="698"/>
                    </a:lnTo>
                    <a:lnTo>
                      <a:pt x="85" y="700"/>
                    </a:lnTo>
                    <a:lnTo>
                      <a:pt x="85" y="704"/>
                    </a:lnTo>
                    <a:lnTo>
                      <a:pt x="91" y="728"/>
                    </a:lnTo>
                    <a:lnTo>
                      <a:pt x="95" y="728"/>
                    </a:lnTo>
                    <a:lnTo>
                      <a:pt x="101" y="726"/>
                    </a:lnTo>
                    <a:lnTo>
                      <a:pt x="106" y="726"/>
                    </a:lnTo>
                    <a:lnTo>
                      <a:pt x="104" y="728"/>
                    </a:lnTo>
                    <a:lnTo>
                      <a:pt x="103" y="728"/>
                    </a:lnTo>
                    <a:lnTo>
                      <a:pt x="101" y="730"/>
                    </a:lnTo>
                    <a:lnTo>
                      <a:pt x="99" y="730"/>
                    </a:lnTo>
                    <a:lnTo>
                      <a:pt x="99" y="730"/>
                    </a:lnTo>
                    <a:lnTo>
                      <a:pt x="97" y="732"/>
                    </a:lnTo>
                    <a:lnTo>
                      <a:pt x="95" y="734"/>
                    </a:lnTo>
                    <a:lnTo>
                      <a:pt x="95" y="734"/>
                    </a:lnTo>
                    <a:lnTo>
                      <a:pt x="91" y="732"/>
                    </a:lnTo>
                    <a:lnTo>
                      <a:pt x="91" y="734"/>
                    </a:lnTo>
                    <a:lnTo>
                      <a:pt x="93" y="734"/>
                    </a:lnTo>
                    <a:lnTo>
                      <a:pt x="93" y="736"/>
                    </a:lnTo>
                    <a:lnTo>
                      <a:pt x="95" y="736"/>
                    </a:lnTo>
                    <a:lnTo>
                      <a:pt x="95" y="738"/>
                    </a:lnTo>
                    <a:lnTo>
                      <a:pt x="95" y="742"/>
                    </a:lnTo>
                    <a:lnTo>
                      <a:pt x="101" y="740"/>
                    </a:lnTo>
                    <a:lnTo>
                      <a:pt x="103" y="740"/>
                    </a:lnTo>
                    <a:lnTo>
                      <a:pt x="104" y="740"/>
                    </a:lnTo>
                    <a:lnTo>
                      <a:pt x="106" y="740"/>
                    </a:lnTo>
                    <a:lnTo>
                      <a:pt x="106" y="740"/>
                    </a:lnTo>
                    <a:lnTo>
                      <a:pt x="106" y="740"/>
                    </a:lnTo>
                    <a:lnTo>
                      <a:pt x="106" y="742"/>
                    </a:lnTo>
                    <a:lnTo>
                      <a:pt x="106" y="742"/>
                    </a:lnTo>
                    <a:lnTo>
                      <a:pt x="108" y="743"/>
                    </a:lnTo>
                    <a:lnTo>
                      <a:pt x="108" y="743"/>
                    </a:lnTo>
                    <a:lnTo>
                      <a:pt x="108" y="745"/>
                    </a:lnTo>
                    <a:lnTo>
                      <a:pt x="108" y="745"/>
                    </a:lnTo>
                    <a:lnTo>
                      <a:pt x="110" y="745"/>
                    </a:lnTo>
                    <a:lnTo>
                      <a:pt x="110" y="747"/>
                    </a:lnTo>
                    <a:lnTo>
                      <a:pt x="112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9"/>
                    </a:lnTo>
                    <a:lnTo>
                      <a:pt x="114" y="749"/>
                    </a:lnTo>
                    <a:lnTo>
                      <a:pt x="114" y="749"/>
                    </a:lnTo>
                    <a:lnTo>
                      <a:pt x="114" y="751"/>
                    </a:lnTo>
                    <a:lnTo>
                      <a:pt x="116" y="751"/>
                    </a:lnTo>
                    <a:lnTo>
                      <a:pt x="116" y="751"/>
                    </a:lnTo>
                    <a:lnTo>
                      <a:pt x="116" y="751"/>
                    </a:lnTo>
                    <a:lnTo>
                      <a:pt x="118" y="751"/>
                    </a:lnTo>
                    <a:lnTo>
                      <a:pt x="118" y="749"/>
                    </a:lnTo>
                    <a:lnTo>
                      <a:pt x="120" y="749"/>
                    </a:lnTo>
                    <a:lnTo>
                      <a:pt x="122" y="749"/>
                    </a:lnTo>
                    <a:lnTo>
                      <a:pt x="122" y="749"/>
                    </a:lnTo>
                    <a:lnTo>
                      <a:pt x="125" y="751"/>
                    </a:lnTo>
                    <a:lnTo>
                      <a:pt x="125" y="751"/>
                    </a:lnTo>
                    <a:lnTo>
                      <a:pt x="125" y="751"/>
                    </a:lnTo>
                    <a:lnTo>
                      <a:pt x="125" y="753"/>
                    </a:lnTo>
                    <a:lnTo>
                      <a:pt x="125" y="753"/>
                    </a:lnTo>
                    <a:lnTo>
                      <a:pt x="125" y="755"/>
                    </a:lnTo>
                    <a:lnTo>
                      <a:pt x="125" y="755"/>
                    </a:lnTo>
                    <a:lnTo>
                      <a:pt x="125" y="757"/>
                    </a:lnTo>
                    <a:lnTo>
                      <a:pt x="125" y="757"/>
                    </a:lnTo>
                    <a:lnTo>
                      <a:pt x="127" y="759"/>
                    </a:lnTo>
                    <a:lnTo>
                      <a:pt x="127" y="759"/>
                    </a:lnTo>
                    <a:lnTo>
                      <a:pt x="129" y="759"/>
                    </a:lnTo>
                    <a:lnTo>
                      <a:pt x="129" y="759"/>
                    </a:lnTo>
                    <a:lnTo>
                      <a:pt x="131" y="757"/>
                    </a:lnTo>
                    <a:lnTo>
                      <a:pt x="131" y="759"/>
                    </a:lnTo>
                    <a:lnTo>
                      <a:pt x="133" y="759"/>
                    </a:lnTo>
                    <a:lnTo>
                      <a:pt x="135" y="761"/>
                    </a:lnTo>
                    <a:lnTo>
                      <a:pt x="135" y="762"/>
                    </a:lnTo>
                    <a:lnTo>
                      <a:pt x="137" y="762"/>
                    </a:lnTo>
                    <a:lnTo>
                      <a:pt x="137" y="762"/>
                    </a:lnTo>
                    <a:lnTo>
                      <a:pt x="139" y="762"/>
                    </a:lnTo>
                    <a:lnTo>
                      <a:pt x="139" y="762"/>
                    </a:lnTo>
                    <a:lnTo>
                      <a:pt x="139" y="761"/>
                    </a:lnTo>
                    <a:lnTo>
                      <a:pt x="141" y="761"/>
                    </a:lnTo>
                    <a:lnTo>
                      <a:pt x="143" y="761"/>
                    </a:lnTo>
                    <a:lnTo>
                      <a:pt x="148" y="762"/>
                    </a:lnTo>
                    <a:lnTo>
                      <a:pt x="146" y="764"/>
                    </a:lnTo>
                    <a:lnTo>
                      <a:pt x="145" y="766"/>
                    </a:lnTo>
                    <a:lnTo>
                      <a:pt x="145" y="768"/>
                    </a:lnTo>
                    <a:lnTo>
                      <a:pt x="145" y="770"/>
                    </a:lnTo>
                    <a:lnTo>
                      <a:pt x="145" y="770"/>
                    </a:lnTo>
                    <a:lnTo>
                      <a:pt x="146" y="772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50" y="776"/>
                    </a:lnTo>
                    <a:lnTo>
                      <a:pt x="150" y="776"/>
                    </a:lnTo>
                    <a:lnTo>
                      <a:pt x="152" y="778"/>
                    </a:lnTo>
                    <a:lnTo>
                      <a:pt x="152" y="778"/>
                    </a:lnTo>
                    <a:lnTo>
                      <a:pt x="152" y="778"/>
                    </a:lnTo>
                    <a:lnTo>
                      <a:pt x="152" y="780"/>
                    </a:lnTo>
                    <a:lnTo>
                      <a:pt x="152" y="780"/>
                    </a:lnTo>
                    <a:lnTo>
                      <a:pt x="154" y="780"/>
                    </a:lnTo>
                    <a:lnTo>
                      <a:pt x="158" y="778"/>
                    </a:lnTo>
                    <a:lnTo>
                      <a:pt x="158" y="778"/>
                    </a:lnTo>
                    <a:lnTo>
                      <a:pt x="160" y="778"/>
                    </a:lnTo>
                    <a:lnTo>
                      <a:pt x="160" y="778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2"/>
                    </a:lnTo>
                    <a:lnTo>
                      <a:pt x="158" y="782"/>
                    </a:lnTo>
                    <a:lnTo>
                      <a:pt x="156" y="783"/>
                    </a:lnTo>
                    <a:lnTo>
                      <a:pt x="156" y="783"/>
                    </a:lnTo>
                    <a:lnTo>
                      <a:pt x="156" y="785"/>
                    </a:lnTo>
                    <a:lnTo>
                      <a:pt x="156" y="787"/>
                    </a:lnTo>
                    <a:lnTo>
                      <a:pt x="156" y="787"/>
                    </a:lnTo>
                    <a:lnTo>
                      <a:pt x="156" y="789"/>
                    </a:lnTo>
                    <a:lnTo>
                      <a:pt x="158" y="791"/>
                    </a:lnTo>
                    <a:lnTo>
                      <a:pt x="160" y="793"/>
                    </a:lnTo>
                    <a:lnTo>
                      <a:pt x="160" y="795"/>
                    </a:lnTo>
                    <a:lnTo>
                      <a:pt x="162" y="799"/>
                    </a:lnTo>
                    <a:lnTo>
                      <a:pt x="162" y="801"/>
                    </a:lnTo>
                    <a:lnTo>
                      <a:pt x="162" y="801"/>
                    </a:lnTo>
                    <a:lnTo>
                      <a:pt x="164" y="801"/>
                    </a:lnTo>
                    <a:lnTo>
                      <a:pt x="164" y="802"/>
                    </a:lnTo>
                    <a:lnTo>
                      <a:pt x="164" y="802"/>
                    </a:lnTo>
                    <a:lnTo>
                      <a:pt x="166" y="801"/>
                    </a:lnTo>
                    <a:lnTo>
                      <a:pt x="166" y="801"/>
                    </a:lnTo>
                    <a:lnTo>
                      <a:pt x="167" y="802"/>
                    </a:lnTo>
                    <a:lnTo>
                      <a:pt x="169" y="802"/>
                    </a:lnTo>
                    <a:lnTo>
                      <a:pt x="181" y="818"/>
                    </a:lnTo>
                    <a:lnTo>
                      <a:pt x="183" y="820"/>
                    </a:lnTo>
                    <a:lnTo>
                      <a:pt x="186" y="820"/>
                    </a:lnTo>
                    <a:lnTo>
                      <a:pt x="188" y="821"/>
                    </a:lnTo>
                    <a:lnTo>
                      <a:pt x="190" y="821"/>
                    </a:lnTo>
                    <a:lnTo>
                      <a:pt x="190" y="823"/>
                    </a:lnTo>
                    <a:lnTo>
                      <a:pt x="190" y="823"/>
                    </a:lnTo>
                    <a:lnTo>
                      <a:pt x="192" y="825"/>
                    </a:lnTo>
                    <a:lnTo>
                      <a:pt x="192" y="825"/>
                    </a:lnTo>
                    <a:lnTo>
                      <a:pt x="192" y="825"/>
                    </a:lnTo>
                    <a:lnTo>
                      <a:pt x="194" y="825"/>
                    </a:lnTo>
                    <a:lnTo>
                      <a:pt x="196" y="825"/>
                    </a:lnTo>
                    <a:lnTo>
                      <a:pt x="196" y="825"/>
                    </a:lnTo>
                    <a:lnTo>
                      <a:pt x="198" y="827"/>
                    </a:lnTo>
                    <a:lnTo>
                      <a:pt x="200" y="829"/>
                    </a:lnTo>
                    <a:lnTo>
                      <a:pt x="202" y="829"/>
                    </a:lnTo>
                    <a:lnTo>
                      <a:pt x="202" y="829"/>
                    </a:lnTo>
                    <a:lnTo>
                      <a:pt x="204" y="829"/>
                    </a:lnTo>
                    <a:lnTo>
                      <a:pt x="204" y="829"/>
                    </a:lnTo>
                    <a:lnTo>
                      <a:pt x="206" y="829"/>
                    </a:lnTo>
                    <a:lnTo>
                      <a:pt x="206" y="829"/>
                    </a:lnTo>
                    <a:lnTo>
                      <a:pt x="207" y="829"/>
                    </a:lnTo>
                    <a:lnTo>
                      <a:pt x="207" y="829"/>
                    </a:lnTo>
                    <a:lnTo>
                      <a:pt x="209" y="831"/>
                    </a:lnTo>
                    <a:lnTo>
                      <a:pt x="209" y="831"/>
                    </a:lnTo>
                    <a:lnTo>
                      <a:pt x="209" y="835"/>
                    </a:lnTo>
                    <a:lnTo>
                      <a:pt x="211" y="839"/>
                    </a:lnTo>
                    <a:lnTo>
                      <a:pt x="211" y="839"/>
                    </a:lnTo>
                    <a:lnTo>
                      <a:pt x="213" y="841"/>
                    </a:lnTo>
                    <a:lnTo>
                      <a:pt x="215" y="842"/>
                    </a:lnTo>
                    <a:lnTo>
                      <a:pt x="217" y="844"/>
                    </a:lnTo>
                    <a:lnTo>
                      <a:pt x="219" y="844"/>
                    </a:lnTo>
                    <a:lnTo>
                      <a:pt x="221" y="846"/>
                    </a:lnTo>
                    <a:lnTo>
                      <a:pt x="225" y="846"/>
                    </a:lnTo>
                    <a:lnTo>
                      <a:pt x="227" y="846"/>
                    </a:lnTo>
                    <a:lnTo>
                      <a:pt x="234" y="848"/>
                    </a:lnTo>
                    <a:lnTo>
                      <a:pt x="236" y="848"/>
                    </a:lnTo>
                    <a:lnTo>
                      <a:pt x="242" y="844"/>
                    </a:lnTo>
                    <a:lnTo>
                      <a:pt x="246" y="844"/>
                    </a:lnTo>
                    <a:lnTo>
                      <a:pt x="248" y="844"/>
                    </a:lnTo>
                    <a:lnTo>
                      <a:pt x="249" y="844"/>
                    </a:lnTo>
                    <a:lnTo>
                      <a:pt x="249" y="846"/>
                    </a:lnTo>
                    <a:lnTo>
                      <a:pt x="249" y="848"/>
                    </a:lnTo>
                    <a:lnTo>
                      <a:pt x="249" y="854"/>
                    </a:lnTo>
                    <a:lnTo>
                      <a:pt x="249" y="854"/>
                    </a:lnTo>
                    <a:lnTo>
                      <a:pt x="249" y="856"/>
                    </a:lnTo>
                    <a:lnTo>
                      <a:pt x="251" y="858"/>
                    </a:lnTo>
                    <a:lnTo>
                      <a:pt x="253" y="858"/>
                    </a:lnTo>
                    <a:lnTo>
                      <a:pt x="253" y="858"/>
                    </a:lnTo>
                    <a:lnTo>
                      <a:pt x="255" y="856"/>
                    </a:lnTo>
                    <a:lnTo>
                      <a:pt x="255" y="856"/>
                    </a:lnTo>
                    <a:lnTo>
                      <a:pt x="257" y="856"/>
                    </a:lnTo>
                    <a:lnTo>
                      <a:pt x="259" y="856"/>
                    </a:lnTo>
                    <a:lnTo>
                      <a:pt x="259" y="856"/>
                    </a:lnTo>
                    <a:lnTo>
                      <a:pt x="261" y="858"/>
                    </a:lnTo>
                    <a:lnTo>
                      <a:pt x="263" y="858"/>
                    </a:lnTo>
                    <a:lnTo>
                      <a:pt x="263" y="860"/>
                    </a:lnTo>
                    <a:lnTo>
                      <a:pt x="265" y="861"/>
                    </a:lnTo>
                    <a:lnTo>
                      <a:pt x="265" y="863"/>
                    </a:lnTo>
                    <a:lnTo>
                      <a:pt x="265" y="863"/>
                    </a:lnTo>
                    <a:lnTo>
                      <a:pt x="267" y="863"/>
                    </a:lnTo>
                    <a:lnTo>
                      <a:pt x="267" y="863"/>
                    </a:lnTo>
                    <a:lnTo>
                      <a:pt x="268" y="863"/>
                    </a:lnTo>
                    <a:lnTo>
                      <a:pt x="268" y="863"/>
                    </a:lnTo>
                    <a:lnTo>
                      <a:pt x="270" y="863"/>
                    </a:lnTo>
                    <a:lnTo>
                      <a:pt x="270" y="863"/>
                    </a:lnTo>
                    <a:lnTo>
                      <a:pt x="272" y="865"/>
                    </a:lnTo>
                    <a:lnTo>
                      <a:pt x="274" y="869"/>
                    </a:lnTo>
                    <a:lnTo>
                      <a:pt x="276" y="871"/>
                    </a:lnTo>
                    <a:lnTo>
                      <a:pt x="278" y="871"/>
                    </a:lnTo>
                    <a:lnTo>
                      <a:pt x="278" y="871"/>
                    </a:lnTo>
                    <a:lnTo>
                      <a:pt x="282" y="871"/>
                    </a:lnTo>
                    <a:lnTo>
                      <a:pt x="282" y="871"/>
                    </a:lnTo>
                    <a:lnTo>
                      <a:pt x="284" y="871"/>
                    </a:lnTo>
                    <a:lnTo>
                      <a:pt x="284" y="871"/>
                    </a:lnTo>
                    <a:lnTo>
                      <a:pt x="286" y="871"/>
                    </a:lnTo>
                    <a:lnTo>
                      <a:pt x="288" y="871"/>
                    </a:lnTo>
                    <a:lnTo>
                      <a:pt x="288" y="871"/>
                    </a:lnTo>
                    <a:lnTo>
                      <a:pt x="288" y="873"/>
                    </a:lnTo>
                    <a:lnTo>
                      <a:pt x="289" y="875"/>
                    </a:lnTo>
                    <a:lnTo>
                      <a:pt x="289" y="877"/>
                    </a:lnTo>
                    <a:lnTo>
                      <a:pt x="289" y="879"/>
                    </a:lnTo>
                    <a:lnTo>
                      <a:pt x="291" y="882"/>
                    </a:lnTo>
                    <a:lnTo>
                      <a:pt x="291" y="880"/>
                    </a:lnTo>
                    <a:lnTo>
                      <a:pt x="291" y="879"/>
                    </a:lnTo>
                    <a:lnTo>
                      <a:pt x="293" y="879"/>
                    </a:lnTo>
                    <a:lnTo>
                      <a:pt x="293" y="877"/>
                    </a:lnTo>
                    <a:lnTo>
                      <a:pt x="295" y="877"/>
                    </a:lnTo>
                    <a:lnTo>
                      <a:pt x="297" y="875"/>
                    </a:lnTo>
                    <a:lnTo>
                      <a:pt x="299" y="875"/>
                    </a:lnTo>
                    <a:lnTo>
                      <a:pt x="303" y="875"/>
                    </a:lnTo>
                    <a:lnTo>
                      <a:pt x="305" y="877"/>
                    </a:lnTo>
                    <a:lnTo>
                      <a:pt x="307" y="879"/>
                    </a:lnTo>
                    <a:lnTo>
                      <a:pt x="309" y="879"/>
                    </a:lnTo>
                    <a:lnTo>
                      <a:pt x="307" y="882"/>
                    </a:lnTo>
                    <a:lnTo>
                      <a:pt x="307" y="882"/>
                    </a:lnTo>
                    <a:lnTo>
                      <a:pt x="309" y="884"/>
                    </a:lnTo>
                    <a:lnTo>
                      <a:pt x="309" y="884"/>
                    </a:lnTo>
                    <a:lnTo>
                      <a:pt x="310" y="886"/>
                    </a:lnTo>
                    <a:lnTo>
                      <a:pt x="312" y="886"/>
                    </a:lnTo>
                    <a:lnTo>
                      <a:pt x="314" y="886"/>
                    </a:lnTo>
                    <a:lnTo>
                      <a:pt x="333" y="884"/>
                    </a:lnTo>
                    <a:lnTo>
                      <a:pt x="335" y="884"/>
                    </a:lnTo>
                    <a:lnTo>
                      <a:pt x="341" y="886"/>
                    </a:lnTo>
                    <a:lnTo>
                      <a:pt x="343" y="886"/>
                    </a:lnTo>
                    <a:lnTo>
                      <a:pt x="343" y="884"/>
                    </a:lnTo>
                    <a:lnTo>
                      <a:pt x="345" y="877"/>
                    </a:lnTo>
                    <a:lnTo>
                      <a:pt x="349" y="871"/>
                    </a:lnTo>
                    <a:lnTo>
                      <a:pt x="352" y="865"/>
                    </a:lnTo>
                    <a:lnTo>
                      <a:pt x="354" y="863"/>
                    </a:lnTo>
                    <a:lnTo>
                      <a:pt x="356" y="863"/>
                    </a:lnTo>
                    <a:lnTo>
                      <a:pt x="358" y="863"/>
                    </a:lnTo>
                    <a:lnTo>
                      <a:pt x="360" y="863"/>
                    </a:lnTo>
                    <a:lnTo>
                      <a:pt x="362" y="861"/>
                    </a:lnTo>
                    <a:lnTo>
                      <a:pt x="364" y="861"/>
                    </a:lnTo>
                    <a:lnTo>
                      <a:pt x="366" y="861"/>
                    </a:lnTo>
                    <a:lnTo>
                      <a:pt x="368" y="863"/>
                    </a:lnTo>
                    <a:lnTo>
                      <a:pt x="375" y="871"/>
                    </a:lnTo>
                    <a:lnTo>
                      <a:pt x="377" y="871"/>
                    </a:lnTo>
                    <a:lnTo>
                      <a:pt x="377" y="871"/>
                    </a:lnTo>
                    <a:lnTo>
                      <a:pt x="379" y="869"/>
                    </a:lnTo>
                    <a:lnTo>
                      <a:pt x="379" y="867"/>
                    </a:lnTo>
                    <a:lnTo>
                      <a:pt x="379" y="865"/>
                    </a:lnTo>
                    <a:lnTo>
                      <a:pt x="381" y="865"/>
                    </a:lnTo>
                    <a:lnTo>
                      <a:pt x="383" y="865"/>
                    </a:lnTo>
                    <a:lnTo>
                      <a:pt x="387" y="863"/>
                    </a:lnTo>
                    <a:lnTo>
                      <a:pt x="392" y="863"/>
                    </a:lnTo>
                    <a:lnTo>
                      <a:pt x="394" y="863"/>
                    </a:lnTo>
                    <a:lnTo>
                      <a:pt x="396" y="863"/>
                    </a:lnTo>
                    <a:lnTo>
                      <a:pt x="396" y="861"/>
                    </a:lnTo>
                    <a:lnTo>
                      <a:pt x="398" y="863"/>
                    </a:lnTo>
                    <a:lnTo>
                      <a:pt x="400" y="863"/>
                    </a:lnTo>
                    <a:lnTo>
                      <a:pt x="402" y="863"/>
                    </a:lnTo>
                    <a:lnTo>
                      <a:pt x="402" y="863"/>
                    </a:lnTo>
                    <a:lnTo>
                      <a:pt x="406" y="865"/>
                    </a:lnTo>
                    <a:lnTo>
                      <a:pt x="408" y="867"/>
                    </a:lnTo>
                    <a:lnTo>
                      <a:pt x="410" y="867"/>
                    </a:lnTo>
                    <a:lnTo>
                      <a:pt x="412" y="865"/>
                    </a:lnTo>
                    <a:lnTo>
                      <a:pt x="415" y="865"/>
                    </a:lnTo>
                    <a:lnTo>
                      <a:pt x="417" y="865"/>
                    </a:lnTo>
                    <a:lnTo>
                      <a:pt x="419" y="863"/>
                    </a:lnTo>
                    <a:lnTo>
                      <a:pt x="419" y="861"/>
                    </a:lnTo>
                    <a:lnTo>
                      <a:pt x="423" y="854"/>
                    </a:lnTo>
                    <a:lnTo>
                      <a:pt x="423" y="852"/>
                    </a:lnTo>
                    <a:lnTo>
                      <a:pt x="425" y="850"/>
                    </a:lnTo>
                    <a:lnTo>
                      <a:pt x="425" y="848"/>
                    </a:lnTo>
                    <a:lnTo>
                      <a:pt x="429" y="848"/>
                    </a:lnTo>
                    <a:lnTo>
                      <a:pt x="429" y="846"/>
                    </a:lnTo>
                    <a:lnTo>
                      <a:pt x="442" y="846"/>
                    </a:lnTo>
                    <a:lnTo>
                      <a:pt x="446" y="844"/>
                    </a:lnTo>
                    <a:lnTo>
                      <a:pt x="446" y="844"/>
                    </a:lnTo>
                    <a:lnTo>
                      <a:pt x="448" y="844"/>
                    </a:lnTo>
                    <a:lnTo>
                      <a:pt x="448" y="842"/>
                    </a:lnTo>
                    <a:lnTo>
                      <a:pt x="450" y="839"/>
                    </a:lnTo>
                    <a:lnTo>
                      <a:pt x="453" y="835"/>
                    </a:lnTo>
                    <a:lnTo>
                      <a:pt x="455" y="831"/>
                    </a:lnTo>
                    <a:lnTo>
                      <a:pt x="457" y="831"/>
                    </a:lnTo>
                    <a:lnTo>
                      <a:pt x="457" y="829"/>
                    </a:lnTo>
                    <a:lnTo>
                      <a:pt x="459" y="829"/>
                    </a:lnTo>
                    <a:lnTo>
                      <a:pt x="459" y="827"/>
                    </a:lnTo>
                    <a:lnTo>
                      <a:pt x="459" y="827"/>
                    </a:lnTo>
                    <a:lnTo>
                      <a:pt x="459" y="827"/>
                    </a:lnTo>
                    <a:lnTo>
                      <a:pt x="461" y="827"/>
                    </a:lnTo>
                    <a:lnTo>
                      <a:pt x="461" y="825"/>
                    </a:lnTo>
                    <a:lnTo>
                      <a:pt x="461" y="825"/>
                    </a:lnTo>
                    <a:lnTo>
                      <a:pt x="461" y="823"/>
                    </a:lnTo>
                    <a:lnTo>
                      <a:pt x="461" y="823"/>
                    </a:lnTo>
                    <a:lnTo>
                      <a:pt x="461" y="821"/>
                    </a:lnTo>
                    <a:lnTo>
                      <a:pt x="457" y="816"/>
                    </a:lnTo>
                    <a:lnTo>
                      <a:pt x="455" y="816"/>
                    </a:lnTo>
                    <a:lnTo>
                      <a:pt x="455" y="816"/>
                    </a:lnTo>
                    <a:lnTo>
                      <a:pt x="452" y="814"/>
                    </a:lnTo>
                    <a:lnTo>
                      <a:pt x="448" y="812"/>
                    </a:lnTo>
                    <a:lnTo>
                      <a:pt x="427" y="812"/>
                    </a:lnTo>
                    <a:lnTo>
                      <a:pt x="425" y="812"/>
                    </a:lnTo>
                    <a:lnTo>
                      <a:pt x="425" y="812"/>
                    </a:lnTo>
                    <a:lnTo>
                      <a:pt x="425" y="810"/>
                    </a:lnTo>
                    <a:lnTo>
                      <a:pt x="425" y="808"/>
                    </a:lnTo>
                    <a:lnTo>
                      <a:pt x="423" y="806"/>
                    </a:lnTo>
                    <a:lnTo>
                      <a:pt x="423" y="806"/>
                    </a:lnTo>
                    <a:lnTo>
                      <a:pt x="423" y="804"/>
                    </a:lnTo>
                    <a:lnTo>
                      <a:pt x="423" y="804"/>
                    </a:lnTo>
                    <a:lnTo>
                      <a:pt x="425" y="802"/>
                    </a:lnTo>
                    <a:lnTo>
                      <a:pt x="425" y="802"/>
                    </a:lnTo>
                    <a:lnTo>
                      <a:pt x="431" y="799"/>
                    </a:lnTo>
                    <a:lnTo>
                      <a:pt x="434" y="795"/>
                    </a:lnTo>
                    <a:lnTo>
                      <a:pt x="436" y="793"/>
                    </a:lnTo>
                    <a:lnTo>
                      <a:pt x="438" y="791"/>
                    </a:lnTo>
                    <a:lnTo>
                      <a:pt x="440" y="789"/>
                    </a:lnTo>
                    <a:lnTo>
                      <a:pt x="440" y="787"/>
                    </a:lnTo>
                    <a:lnTo>
                      <a:pt x="442" y="780"/>
                    </a:lnTo>
                    <a:lnTo>
                      <a:pt x="442" y="778"/>
                    </a:lnTo>
                    <a:lnTo>
                      <a:pt x="442" y="776"/>
                    </a:lnTo>
                    <a:lnTo>
                      <a:pt x="440" y="776"/>
                    </a:lnTo>
                    <a:lnTo>
                      <a:pt x="440" y="776"/>
                    </a:lnTo>
                    <a:lnTo>
                      <a:pt x="438" y="776"/>
                    </a:lnTo>
                    <a:lnTo>
                      <a:pt x="438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2"/>
                    </a:lnTo>
                    <a:lnTo>
                      <a:pt x="436" y="772"/>
                    </a:lnTo>
                    <a:lnTo>
                      <a:pt x="436" y="770"/>
                    </a:lnTo>
                    <a:lnTo>
                      <a:pt x="436" y="768"/>
                    </a:lnTo>
                    <a:lnTo>
                      <a:pt x="436" y="766"/>
                    </a:lnTo>
                    <a:lnTo>
                      <a:pt x="436" y="764"/>
                    </a:lnTo>
                    <a:lnTo>
                      <a:pt x="438" y="759"/>
                    </a:lnTo>
                    <a:lnTo>
                      <a:pt x="440" y="753"/>
                    </a:lnTo>
                    <a:lnTo>
                      <a:pt x="444" y="751"/>
                    </a:lnTo>
                    <a:lnTo>
                      <a:pt x="444" y="751"/>
                    </a:lnTo>
                    <a:lnTo>
                      <a:pt x="446" y="751"/>
                    </a:lnTo>
                    <a:lnTo>
                      <a:pt x="448" y="753"/>
                    </a:lnTo>
                    <a:lnTo>
                      <a:pt x="450" y="753"/>
                    </a:lnTo>
                    <a:lnTo>
                      <a:pt x="452" y="753"/>
                    </a:lnTo>
                    <a:lnTo>
                      <a:pt x="452" y="751"/>
                    </a:lnTo>
                    <a:lnTo>
                      <a:pt x="457" y="749"/>
                    </a:lnTo>
                    <a:lnTo>
                      <a:pt x="459" y="747"/>
                    </a:lnTo>
                    <a:lnTo>
                      <a:pt x="459" y="747"/>
                    </a:lnTo>
                    <a:lnTo>
                      <a:pt x="461" y="747"/>
                    </a:lnTo>
                    <a:lnTo>
                      <a:pt x="461" y="745"/>
                    </a:lnTo>
                    <a:lnTo>
                      <a:pt x="459" y="745"/>
                    </a:lnTo>
                    <a:lnTo>
                      <a:pt x="459" y="743"/>
                    </a:lnTo>
                    <a:lnTo>
                      <a:pt x="459" y="743"/>
                    </a:lnTo>
                    <a:lnTo>
                      <a:pt x="459" y="742"/>
                    </a:lnTo>
                    <a:lnTo>
                      <a:pt x="459" y="742"/>
                    </a:lnTo>
                    <a:lnTo>
                      <a:pt x="461" y="738"/>
                    </a:lnTo>
                    <a:lnTo>
                      <a:pt x="463" y="736"/>
                    </a:lnTo>
                    <a:lnTo>
                      <a:pt x="465" y="728"/>
                    </a:lnTo>
                    <a:lnTo>
                      <a:pt x="471" y="726"/>
                    </a:lnTo>
                    <a:lnTo>
                      <a:pt x="476" y="726"/>
                    </a:lnTo>
                    <a:lnTo>
                      <a:pt x="478" y="726"/>
                    </a:lnTo>
                    <a:lnTo>
                      <a:pt x="478" y="728"/>
                    </a:lnTo>
                    <a:lnTo>
                      <a:pt x="480" y="728"/>
                    </a:lnTo>
                    <a:lnTo>
                      <a:pt x="482" y="730"/>
                    </a:lnTo>
                    <a:lnTo>
                      <a:pt x="482" y="730"/>
                    </a:lnTo>
                    <a:lnTo>
                      <a:pt x="484" y="732"/>
                    </a:lnTo>
                    <a:lnTo>
                      <a:pt x="486" y="734"/>
                    </a:lnTo>
                    <a:lnTo>
                      <a:pt x="486" y="736"/>
                    </a:lnTo>
                    <a:lnTo>
                      <a:pt x="488" y="736"/>
                    </a:lnTo>
                    <a:lnTo>
                      <a:pt x="490" y="736"/>
                    </a:lnTo>
                    <a:lnTo>
                      <a:pt x="490" y="736"/>
                    </a:lnTo>
                    <a:lnTo>
                      <a:pt x="492" y="734"/>
                    </a:lnTo>
                    <a:lnTo>
                      <a:pt x="492" y="734"/>
                    </a:lnTo>
                    <a:lnTo>
                      <a:pt x="492" y="732"/>
                    </a:lnTo>
                    <a:lnTo>
                      <a:pt x="494" y="730"/>
                    </a:lnTo>
                    <a:lnTo>
                      <a:pt x="495" y="730"/>
                    </a:lnTo>
                    <a:lnTo>
                      <a:pt x="497" y="730"/>
                    </a:lnTo>
                    <a:lnTo>
                      <a:pt x="501" y="734"/>
                    </a:lnTo>
                    <a:lnTo>
                      <a:pt x="507" y="738"/>
                    </a:lnTo>
                    <a:lnTo>
                      <a:pt x="511" y="740"/>
                    </a:lnTo>
                    <a:lnTo>
                      <a:pt x="518" y="742"/>
                    </a:lnTo>
                    <a:lnTo>
                      <a:pt x="520" y="740"/>
                    </a:lnTo>
                    <a:lnTo>
                      <a:pt x="520" y="740"/>
                    </a:lnTo>
                    <a:lnTo>
                      <a:pt x="520" y="738"/>
                    </a:lnTo>
                    <a:lnTo>
                      <a:pt x="520" y="736"/>
                    </a:lnTo>
                    <a:lnTo>
                      <a:pt x="520" y="732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2" y="728"/>
                    </a:lnTo>
                    <a:lnTo>
                      <a:pt x="522" y="728"/>
                    </a:lnTo>
                    <a:lnTo>
                      <a:pt x="524" y="730"/>
                    </a:lnTo>
                    <a:lnTo>
                      <a:pt x="524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8" y="728"/>
                    </a:lnTo>
                    <a:lnTo>
                      <a:pt x="528" y="728"/>
                    </a:lnTo>
                    <a:lnTo>
                      <a:pt x="530" y="728"/>
                    </a:lnTo>
                    <a:lnTo>
                      <a:pt x="530" y="728"/>
                    </a:lnTo>
                    <a:lnTo>
                      <a:pt x="530" y="728"/>
                    </a:lnTo>
                    <a:lnTo>
                      <a:pt x="532" y="728"/>
                    </a:lnTo>
                    <a:lnTo>
                      <a:pt x="532" y="728"/>
                    </a:lnTo>
                    <a:lnTo>
                      <a:pt x="532" y="726"/>
                    </a:lnTo>
                    <a:lnTo>
                      <a:pt x="532" y="724"/>
                    </a:lnTo>
                    <a:lnTo>
                      <a:pt x="534" y="723"/>
                    </a:lnTo>
                    <a:lnTo>
                      <a:pt x="534" y="723"/>
                    </a:lnTo>
                    <a:lnTo>
                      <a:pt x="534" y="721"/>
                    </a:lnTo>
                    <a:lnTo>
                      <a:pt x="535" y="721"/>
                    </a:lnTo>
                    <a:lnTo>
                      <a:pt x="535" y="721"/>
                    </a:lnTo>
                    <a:lnTo>
                      <a:pt x="535" y="723"/>
                    </a:lnTo>
                    <a:lnTo>
                      <a:pt x="537" y="723"/>
                    </a:lnTo>
                    <a:lnTo>
                      <a:pt x="545" y="728"/>
                    </a:lnTo>
                    <a:lnTo>
                      <a:pt x="547" y="728"/>
                    </a:lnTo>
                    <a:lnTo>
                      <a:pt x="547" y="728"/>
                    </a:lnTo>
                    <a:lnTo>
                      <a:pt x="549" y="728"/>
                    </a:lnTo>
                    <a:lnTo>
                      <a:pt x="549" y="726"/>
                    </a:lnTo>
                    <a:lnTo>
                      <a:pt x="549" y="724"/>
                    </a:lnTo>
                    <a:lnTo>
                      <a:pt x="547" y="723"/>
                    </a:lnTo>
                    <a:lnTo>
                      <a:pt x="545" y="721"/>
                    </a:lnTo>
                    <a:lnTo>
                      <a:pt x="543" y="721"/>
                    </a:lnTo>
                    <a:lnTo>
                      <a:pt x="541" y="721"/>
                    </a:lnTo>
                    <a:lnTo>
                      <a:pt x="541" y="719"/>
                    </a:lnTo>
                    <a:lnTo>
                      <a:pt x="541" y="719"/>
                    </a:lnTo>
                    <a:lnTo>
                      <a:pt x="541" y="717"/>
                    </a:lnTo>
                    <a:lnTo>
                      <a:pt x="545" y="713"/>
                    </a:lnTo>
                    <a:lnTo>
                      <a:pt x="547" y="711"/>
                    </a:lnTo>
                    <a:lnTo>
                      <a:pt x="547" y="711"/>
                    </a:lnTo>
                    <a:lnTo>
                      <a:pt x="547" y="709"/>
                    </a:lnTo>
                    <a:lnTo>
                      <a:pt x="547" y="707"/>
                    </a:lnTo>
                    <a:lnTo>
                      <a:pt x="549" y="705"/>
                    </a:lnTo>
                    <a:lnTo>
                      <a:pt x="549" y="705"/>
                    </a:lnTo>
                    <a:lnTo>
                      <a:pt x="549" y="704"/>
                    </a:lnTo>
                    <a:lnTo>
                      <a:pt x="553" y="704"/>
                    </a:lnTo>
                    <a:lnTo>
                      <a:pt x="553" y="702"/>
                    </a:lnTo>
                    <a:lnTo>
                      <a:pt x="555" y="702"/>
                    </a:lnTo>
                    <a:lnTo>
                      <a:pt x="555" y="700"/>
                    </a:lnTo>
                    <a:lnTo>
                      <a:pt x="555" y="698"/>
                    </a:lnTo>
                    <a:lnTo>
                      <a:pt x="555" y="694"/>
                    </a:lnTo>
                    <a:lnTo>
                      <a:pt x="555" y="692"/>
                    </a:lnTo>
                    <a:lnTo>
                      <a:pt x="556" y="692"/>
                    </a:lnTo>
                    <a:lnTo>
                      <a:pt x="558" y="690"/>
                    </a:lnTo>
                    <a:lnTo>
                      <a:pt x="558" y="688"/>
                    </a:lnTo>
                    <a:lnTo>
                      <a:pt x="560" y="686"/>
                    </a:lnTo>
                    <a:lnTo>
                      <a:pt x="560" y="684"/>
                    </a:lnTo>
                    <a:lnTo>
                      <a:pt x="560" y="683"/>
                    </a:lnTo>
                    <a:lnTo>
                      <a:pt x="560" y="683"/>
                    </a:lnTo>
                    <a:lnTo>
                      <a:pt x="560" y="683"/>
                    </a:lnTo>
                    <a:lnTo>
                      <a:pt x="560" y="681"/>
                    </a:lnTo>
                    <a:lnTo>
                      <a:pt x="560" y="681"/>
                    </a:lnTo>
                    <a:lnTo>
                      <a:pt x="560" y="677"/>
                    </a:lnTo>
                    <a:lnTo>
                      <a:pt x="560" y="677"/>
                    </a:lnTo>
                    <a:lnTo>
                      <a:pt x="560" y="675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334670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78309-5435-4DEF-9DC3-259DF3171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87BD1D-F093-42A4-B7D9-DC77D7D955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3A522123-3945-45C8-B90D-805454BAEF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62B78F05-08B0-4453-82CA-F7F4DC6146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97686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48FAD-7966-45F9-910D-A3FDE92ED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43477E0-0966-4B5D-9013-8594C745B2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7D8E9F-D0B1-4DB2-909A-D91393258B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7B99E8F-1DA6-4270-8DEC-51A01FF436CD}"/>
              </a:ext>
            </a:extLst>
          </p:cNvPr>
          <p:cNvSpPr/>
          <p:nvPr userDrawn="1"/>
        </p:nvSpPr>
        <p:spPr>
          <a:xfrm>
            <a:off x="521196" y="5409047"/>
            <a:ext cx="1057192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spc="300" dirty="0">
                <a:solidFill>
                  <a:schemeClr val="bg1"/>
                </a:solidFill>
              </a:rPr>
              <a:t>DO NOT USE </a:t>
            </a:r>
            <a:br>
              <a:rPr lang="en-US" sz="1800" spc="300" dirty="0">
                <a:solidFill>
                  <a:schemeClr val="bg1"/>
                </a:solidFill>
              </a:rPr>
            </a:br>
            <a:br>
              <a:rPr lang="en-US" sz="1800" spc="300" dirty="0">
                <a:solidFill>
                  <a:schemeClr val="bg1"/>
                </a:solidFill>
              </a:rPr>
            </a:br>
            <a:r>
              <a:rPr lang="en-US" sz="1800" spc="300" dirty="0">
                <a:solidFill>
                  <a:schemeClr val="bg1"/>
                </a:solidFill>
              </a:rPr>
              <a:t>ALL LAYOUTS PAST THIS ARE NOT PART OF THIS TEMPLAT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232318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B66CD-BAAF-4974-B6E6-8B59D14876A8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BF4022-AF19-4620-9BBB-9E230F91AA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075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0ECB5A-A1F1-40E3-9AF6-92A8FF426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4489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969F0-C7D8-4E79-B859-1100ED0954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ison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4CE19D-FF70-467B-A6DC-D818C6BCC0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2AC51D-E91A-4036-A2A7-1C8978C8CC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225" y="325438"/>
            <a:ext cx="2695575" cy="40798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48E81A-3047-44B7-97CD-29A1275E15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635794"/>
            <a:ext cx="5414962" cy="481013"/>
          </a:xfrm>
          <a:solidFill>
            <a:srgbClr val="02558D"/>
          </a:solidFill>
        </p:spPr>
        <p:txBody>
          <a:bodyPr anchor="ctr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7B8354-9DE5-4D0A-9650-E3E15CD07C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2572417"/>
            <a:ext cx="5414962" cy="3106487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convalli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ari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. Cra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perdi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odale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mi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nte ipsum,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p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n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endrer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.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ibero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di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rna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d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ignissi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uc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rc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vestibulum porta ligula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mentu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raesen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ore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ivam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ect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x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bland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sue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ur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rtti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  <a:endParaRPr lang="en-IN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B2D7D6B-4C00-467F-AE74-08F2084798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84942" y="1635125"/>
            <a:ext cx="5414962" cy="481013"/>
          </a:xfrm>
          <a:solidFill>
            <a:srgbClr val="02558D"/>
          </a:solidFill>
        </p:spPr>
        <p:txBody>
          <a:bodyPr anchor="ctr">
            <a:normAutofit/>
          </a:bodyPr>
          <a:lstStyle>
            <a:lvl1pPr algn="ctr"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FCDE2E8-AE1D-4E6B-9299-550A7470A5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4942" y="2571750"/>
            <a:ext cx="5414962" cy="3106738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convalli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ari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. Cra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perdi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odale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mi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nte ipsum,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p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n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endrer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.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ibero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di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rna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d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ignissi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uc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rc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vestibulum porta ligula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mentu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raesen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ore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ivam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ect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x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bland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sue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ur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rtti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  <a:endParaRPr lang="en-IN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B02E6C03-D9B2-4C93-8448-0E20FDE928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7E3DACE-A469-478B-8A08-4ED6F97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857681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969F0-C7D8-4E79-B859-1100ED095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4CE19D-FF70-467B-A6DC-D818C6BCC0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2AC51D-E91A-4036-A2A7-1C8978C8CC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225" y="325438"/>
            <a:ext cx="2695575" cy="40798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48E81A-3047-44B7-97CD-29A1275E15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310942"/>
            <a:ext cx="11291916" cy="481013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A0C686B-87D4-43B6-911E-63540E619F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2199191"/>
            <a:ext cx="11291887" cy="481013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AA69AC-C869-43AC-B2AE-C72FC1C1782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3848936"/>
            <a:ext cx="11291887" cy="481013"/>
          </a:xfrm>
        </p:spPr>
        <p:txBody>
          <a:bodyPr/>
          <a:lstStyle>
            <a:lvl1pPr>
              <a:defRPr lang="en-US" sz="2400" kern="1200" smtClean="0">
                <a:solidFill>
                  <a:srgbClr val="0979B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128BDAA-2F56-4AC0-9F55-8B0510AB68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7988" y="4736934"/>
            <a:ext cx="11291887" cy="49530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3C88FA4-1E38-438D-9EDE-9E14961786B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8EF0AA9-685A-44FC-B592-638530E36D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72945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969F0-C7D8-4E79-B859-1100ED095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4CE19D-FF70-467B-A6DC-D818C6BCC0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2AC51D-E91A-4036-A2A7-1C8978C8CC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225" y="325438"/>
            <a:ext cx="2695575" cy="40798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48E81A-3047-44B7-97CD-29A1275E15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250784"/>
            <a:ext cx="5414962" cy="481013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7B8354-9DE5-4D0A-9650-E3E15CD07C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1916351"/>
            <a:ext cx="11443117" cy="1758951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convalli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ari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. Cra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perdi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odale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mi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nte ipsum,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p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n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endrer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.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ibero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di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rna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d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ignissi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uc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rc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vestibulum porta ligula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mentu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raesen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ore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ivam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ect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x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bland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sue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ur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rtti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D1631A-BF1A-4323-8D84-497D9420E7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3859856"/>
            <a:ext cx="5414962" cy="481013"/>
          </a:xfrm>
        </p:spPr>
        <p:txBody>
          <a:bodyPr/>
          <a:lstStyle>
            <a:lvl1pPr>
              <a:defRPr lang="en-US" sz="2400" kern="1200" dirty="0" smtClean="0">
                <a:solidFill>
                  <a:srgbClr val="0979B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FE1ED70-9CD7-498F-A0AC-59F9DD38A32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07988" y="4525423"/>
            <a:ext cx="11442700" cy="175895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IN" sz="14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convalli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ari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. Cra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perdi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odale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mi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nte ipsum,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p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n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endrer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.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ibero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di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rna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d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ignissi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uc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rc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vestibulum porta ligula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mentu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raesen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ore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ivam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ect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x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bland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sue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ur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rtti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  <a:endParaRPr lang="en-IN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8F1AAAB-2784-42A3-8614-4E1FFECF9E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43A8B21-71E6-44BA-A4B1-5E659C999D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000388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969F0-C7D8-4E79-B859-1100ED095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4CE19D-FF70-467B-A6DC-D818C6BCC0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2AC51D-E91A-4036-A2A7-1C8978C8CC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4225" y="325438"/>
            <a:ext cx="2695575" cy="40798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48E81A-3047-44B7-97CD-29A1275E15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250784"/>
            <a:ext cx="5414962" cy="481013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7B8354-9DE5-4D0A-9650-E3E15CD07C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1916351"/>
            <a:ext cx="11443117" cy="1758951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convalli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ari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. Cra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perdi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odale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mi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nte ipsum,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p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n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endrer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.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ibero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di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rna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d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ignissi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uc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rc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vestibulum porta ligula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mentu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raesen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ore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ivam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ect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x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bland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sue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ur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rtti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D1631A-BF1A-4323-8D84-497D9420E7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3859856"/>
            <a:ext cx="5414962" cy="481013"/>
          </a:xfrm>
        </p:spPr>
        <p:txBody>
          <a:bodyPr/>
          <a:lstStyle>
            <a:lvl1pPr>
              <a:defRPr lang="en-US" sz="2400" kern="1200" dirty="0" smtClean="0">
                <a:solidFill>
                  <a:srgbClr val="0979B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FE1ED70-9CD7-498F-A0AC-59F9DD38A32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07988" y="4525423"/>
            <a:ext cx="11442700" cy="175895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IN" sz="14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convalli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ari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. Cra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perdi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odale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mi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nte ipsum,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p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n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endrer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.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ibero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di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rna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d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ignissi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uc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rc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vestibulum porta ligula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mentu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raesen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ore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ivam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ect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x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bland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sue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ur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rtti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  <a:endParaRPr lang="en-IN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8F1AAAB-2784-42A3-8614-4E1FFECF9E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43A8B21-71E6-44BA-A4B1-5E659C999D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927783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8CC958-0960-47D0-8E15-0897D3D50D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17023"/>
            <a:ext cx="5825789" cy="577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474D46-68B4-411F-BA18-B9DB21FA6B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0EF0E0-49DC-4CA3-AE7C-27811F8504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1825" y="333375"/>
            <a:ext cx="3187700" cy="366713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B3745A-5C83-4AFF-A4BF-D5A0AD955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81825" y="1707136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E925A7D-35FE-4C2F-8BFC-7E1080351406}"/>
              </a:ext>
            </a:extLst>
          </p:cNvPr>
          <p:cNvSpPr/>
          <p:nvPr userDrawn="1"/>
        </p:nvSpPr>
        <p:spPr>
          <a:xfrm>
            <a:off x="6233777" y="1617572"/>
            <a:ext cx="529390" cy="52939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8BEF978-374A-405A-8D56-EDB6931BD3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81825" y="2436109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9C90A4D-ACD6-4DD4-9C46-96900A55A215}"/>
              </a:ext>
            </a:extLst>
          </p:cNvPr>
          <p:cNvSpPr/>
          <p:nvPr userDrawn="1"/>
        </p:nvSpPr>
        <p:spPr>
          <a:xfrm>
            <a:off x="6233777" y="2346545"/>
            <a:ext cx="529390" cy="5293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4612A47-2AF4-4294-9D99-3B319AE373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81825" y="3182844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8EF4A15-E252-4259-AB8E-F6D79CB5C592}"/>
              </a:ext>
            </a:extLst>
          </p:cNvPr>
          <p:cNvSpPr/>
          <p:nvPr userDrawn="1"/>
        </p:nvSpPr>
        <p:spPr>
          <a:xfrm>
            <a:off x="6233777" y="3093280"/>
            <a:ext cx="529390" cy="52939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E1A3996-C283-4F0C-9152-A41A869953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81825" y="3902409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F6E4803-A749-42F4-900F-684BD1884AB5}"/>
              </a:ext>
            </a:extLst>
          </p:cNvPr>
          <p:cNvSpPr/>
          <p:nvPr userDrawn="1"/>
        </p:nvSpPr>
        <p:spPr>
          <a:xfrm>
            <a:off x="6210759" y="3811504"/>
            <a:ext cx="529390" cy="529390"/>
          </a:xfrm>
          <a:prstGeom prst="ellipse">
            <a:avLst/>
          </a:prstGeom>
          <a:solidFill>
            <a:srgbClr val="09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7F465D-8B92-4477-8283-50457809C1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81825" y="4653323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C886C9F-B664-4692-8A11-D7F7988883F0}"/>
              </a:ext>
            </a:extLst>
          </p:cNvPr>
          <p:cNvSpPr/>
          <p:nvPr userDrawn="1"/>
        </p:nvSpPr>
        <p:spPr>
          <a:xfrm>
            <a:off x="6233777" y="4563759"/>
            <a:ext cx="529390" cy="529390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A917655-D653-4FB5-B8A4-382143E5A6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81825" y="5460604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7D8A1E7-F175-4F39-8AE5-409ECC8454E1}"/>
              </a:ext>
            </a:extLst>
          </p:cNvPr>
          <p:cNvSpPr/>
          <p:nvPr userDrawn="1"/>
        </p:nvSpPr>
        <p:spPr>
          <a:xfrm>
            <a:off x="6233777" y="5371040"/>
            <a:ext cx="529390" cy="52939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300C5C3-7A5A-4BD4-99A3-F11A2C8E6784}"/>
              </a:ext>
            </a:extLst>
          </p:cNvPr>
          <p:cNvSpPr/>
          <p:nvPr userDrawn="1"/>
        </p:nvSpPr>
        <p:spPr>
          <a:xfrm>
            <a:off x="407988" y="1617572"/>
            <a:ext cx="529390" cy="52939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8DB6619-B12A-45B7-82AA-99C7EB5D3846}"/>
              </a:ext>
            </a:extLst>
          </p:cNvPr>
          <p:cNvSpPr/>
          <p:nvPr userDrawn="1"/>
        </p:nvSpPr>
        <p:spPr>
          <a:xfrm>
            <a:off x="407988" y="2346545"/>
            <a:ext cx="529390" cy="5293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6A87EEA-6518-4749-BC2E-806B3141EF31}"/>
              </a:ext>
            </a:extLst>
          </p:cNvPr>
          <p:cNvSpPr/>
          <p:nvPr userDrawn="1"/>
        </p:nvSpPr>
        <p:spPr>
          <a:xfrm>
            <a:off x="407988" y="3093280"/>
            <a:ext cx="529390" cy="52939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F1FCABF-058F-4572-8A47-E9DB6E4B5A7C}"/>
              </a:ext>
            </a:extLst>
          </p:cNvPr>
          <p:cNvSpPr/>
          <p:nvPr userDrawn="1"/>
        </p:nvSpPr>
        <p:spPr>
          <a:xfrm>
            <a:off x="384970" y="3811504"/>
            <a:ext cx="529390" cy="529390"/>
          </a:xfrm>
          <a:prstGeom prst="ellipse">
            <a:avLst/>
          </a:prstGeom>
          <a:solidFill>
            <a:srgbClr val="09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0072BF1-562D-4048-BF1E-61269C8BF9A3}"/>
              </a:ext>
            </a:extLst>
          </p:cNvPr>
          <p:cNvSpPr/>
          <p:nvPr userDrawn="1"/>
        </p:nvSpPr>
        <p:spPr>
          <a:xfrm>
            <a:off x="407988" y="4563759"/>
            <a:ext cx="529390" cy="529390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54A3F8DC-D2AA-4F1F-BC06-8C81E18D7C4D}"/>
              </a:ext>
            </a:extLst>
          </p:cNvPr>
          <p:cNvSpPr/>
          <p:nvPr userDrawn="1"/>
        </p:nvSpPr>
        <p:spPr>
          <a:xfrm>
            <a:off x="407988" y="5371040"/>
            <a:ext cx="529390" cy="52939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0F7226C8-5137-47CE-80A0-156BACD0615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6036" y="1706563"/>
            <a:ext cx="3600450" cy="366712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BAB809A-B71D-4333-8136-F1510DD1AB5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56036" y="2429770"/>
            <a:ext cx="3600450" cy="350837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4F3D20D-E791-4720-8E97-AA3B837F06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56036" y="3172746"/>
            <a:ext cx="3600450" cy="360362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193FC025-DFFF-43F3-AFB9-8B07D88653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55700" y="3895534"/>
            <a:ext cx="3600450" cy="350837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69AB97A8-2939-4D8F-81B6-AD519BD1DEC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55700" y="4645098"/>
            <a:ext cx="3600450" cy="366712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042E0D5E-D552-4EED-8F8A-7C6385A84BC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55700" y="5438926"/>
            <a:ext cx="3600450" cy="366713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26419E6-519C-4316-A5CB-083B8223F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FA9A9635-4ED1-4279-9209-CFFD9364A2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527185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65A7D-0128-4C99-A929-FA2E2F0A2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AC4B1C-095F-4E64-AD56-3C133FC07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A5C9B33-046F-4B35-8BC7-44E14D7FEF97}"/>
              </a:ext>
            </a:extLst>
          </p:cNvPr>
          <p:cNvSpPr/>
          <p:nvPr userDrawn="1"/>
        </p:nvSpPr>
        <p:spPr>
          <a:xfrm>
            <a:off x="1945105" y="1182741"/>
            <a:ext cx="1010654" cy="101065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A2E053B-DAB7-47A2-AE93-E14CA12AE95E}"/>
              </a:ext>
            </a:extLst>
          </p:cNvPr>
          <p:cNvSpPr/>
          <p:nvPr userDrawn="1"/>
        </p:nvSpPr>
        <p:spPr>
          <a:xfrm>
            <a:off x="4375484" y="1182741"/>
            <a:ext cx="1010654" cy="1010654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03B78DA-815D-462B-B8EE-89AD064485B8}"/>
              </a:ext>
            </a:extLst>
          </p:cNvPr>
          <p:cNvSpPr/>
          <p:nvPr userDrawn="1"/>
        </p:nvSpPr>
        <p:spPr>
          <a:xfrm>
            <a:off x="6805863" y="1182741"/>
            <a:ext cx="1010654" cy="1010654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46367C8-A132-4348-9F9A-7E8B64AAFA4F}"/>
              </a:ext>
            </a:extLst>
          </p:cNvPr>
          <p:cNvSpPr/>
          <p:nvPr userDrawn="1"/>
        </p:nvSpPr>
        <p:spPr>
          <a:xfrm>
            <a:off x="9236242" y="1182741"/>
            <a:ext cx="1010654" cy="1010654"/>
          </a:xfrm>
          <a:prstGeom prst="ellipse">
            <a:avLst/>
          </a:prstGeom>
          <a:solidFill>
            <a:srgbClr val="025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0B63D3E-734E-4249-87C7-8F91EBE7E0D4}"/>
              </a:ext>
            </a:extLst>
          </p:cNvPr>
          <p:cNvSpPr/>
          <p:nvPr userDrawn="1"/>
        </p:nvSpPr>
        <p:spPr>
          <a:xfrm>
            <a:off x="1945105" y="3782870"/>
            <a:ext cx="1010654" cy="1010654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N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C56BC7B-A316-4DDB-B7A6-EC759FAF0F85}"/>
              </a:ext>
            </a:extLst>
          </p:cNvPr>
          <p:cNvSpPr/>
          <p:nvPr userDrawn="1"/>
        </p:nvSpPr>
        <p:spPr>
          <a:xfrm>
            <a:off x="4375484" y="3782870"/>
            <a:ext cx="1010654" cy="1010654"/>
          </a:xfrm>
          <a:prstGeom prst="ellipse">
            <a:avLst/>
          </a:prstGeom>
          <a:solidFill>
            <a:srgbClr val="025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232CBCF-8759-457B-A13C-EB9564CD24EB}"/>
              </a:ext>
            </a:extLst>
          </p:cNvPr>
          <p:cNvSpPr/>
          <p:nvPr userDrawn="1"/>
        </p:nvSpPr>
        <p:spPr>
          <a:xfrm>
            <a:off x="6805863" y="3782870"/>
            <a:ext cx="1010654" cy="1010654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0164859-C4E3-4412-8665-61468BC3260A}"/>
              </a:ext>
            </a:extLst>
          </p:cNvPr>
          <p:cNvSpPr/>
          <p:nvPr userDrawn="1"/>
        </p:nvSpPr>
        <p:spPr>
          <a:xfrm>
            <a:off x="9236242" y="3782870"/>
            <a:ext cx="1010654" cy="101065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7AD55A4-1D01-41B6-9069-F2A4A659B827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59653" y="2406898"/>
            <a:ext cx="2189663" cy="1163164"/>
          </a:xfr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lang="en-IN" sz="1200" b="0" i="0" smtClean="0">
                <a:effectLst/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B310ED5-F013-4198-814C-BF7BF0DB8D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5436" y="2406314"/>
            <a:ext cx="2190750" cy="1163637"/>
          </a:xfr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ED4FDDF-EE3A-4C20-B2E6-0255D77E6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2306" y="2406314"/>
            <a:ext cx="2189162" cy="1163637"/>
          </a:xfr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B2B62EB-3AE2-4D68-A33C-F6A74052A0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6277" y="2406314"/>
            <a:ext cx="2198687" cy="1168400"/>
          </a:xfr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lang="en-IN" sz="1200" b="1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1016AB1-0729-468C-8B28-308C336E75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8900" y="5006332"/>
            <a:ext cx="2190750" cy="1163637"/>
          </a:xfrm>
        </p:spPr>
        <p:txBody>
          <a:bodyPr>
            <a:normAutofit/>
          </a:bodyPr>
          <a:lstStyle>
            <a:lvl1pPr algn="ctr"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F7C18A7-5B10-4CFD-AC42-B80115879C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86188" y="5006332"/>
            <a:ext cx="2217570" cy="1162050"/>
          </a:xfr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537480C1-17CC-4901-9DFE-CEAC2E6432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2306" y="5006975"/>
            <a:ext cx="2217737" cy="1162050"/>
          </a:xfrm>
        </p:spPr>
        <p:txBody>
          <a:bodyPr>
            <a:normAutofit/>
          </a:bodyPr>
          <a:lstStyle>
            <a:lvl1pPr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77AE0AD-0A12-4122-9697-678150B9BB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6414" y="5006975"/>
            <a:ext cx="2217737" cy="1162050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A5F33FFE-6655-43A9-975E-560560B00D7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89763" y="312738"/>
            <a:ext cx="2671762" cy="376237"/>
          </a:xfrm>
        </p:spPr>
        <p:txBody>
          <a:bodyPr/>
          <a:lstStyle/>
          <a:p>
            <a:pPr lvl="0"/>
            <a:r>
              <a:rPr lang="en-US" dirty="0"/>
              <a:t>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94F4E16E-E732-4193-A8F8-CA54526263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E1CCBDC-1FD5-408F-BE58-0F1A9AA656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234310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56C67-0566-46EA-99CA-DFC60BB0A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8918E3-301F-4E1E-940A-74848AD8BE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B8C686-300A-4C0A-A9C2-2A566CE81D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9763" y="334702"/>
            <a:ext cx="2540000" cy="3730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ABA5C9A-28D5-450E-953C-A7428C90DF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407946"/>
            <a:ext cx="12192000" cy="2682875"/>
          </a:xfrm>
          <a:prstGeom prst="parallelogram">
            <a:avLst>
              <a:gd name="adj" fmla="val 42041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79BE8A1-6B66-4F94-B876-BA800A2DE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4075" y="4632325"/>
            <a:ext cx="10418763" cy="1347788"/>
          </a:xfrm>
        </p:spPr>
        <p:txBody>
          <a:bodyPr/>
          <a:lstStyle>
            <a:lvl1pPr mar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lvl1pPr>
            <a:lvl2pPr marL="457200" indent="0" algn="ctr">
              <a:buFont typeface="Arial" panose="020B0604020202020204" pitchFamily="34" charset="0"/>
              <a:buNone/>
              <a:defRPr/>
            </a:lvl2pPr>
            <a:lvl3pPr marL="914400" indent="0" algn="ctr">
              <a:buFont typeface="Arial" panose="020B0604020202020204" pitchFamily="34" charset="0"/>
              <a:buNone/>
              <a:defRPr/>
            </a:lvl3pPr>
            <a:lvl4pPr marL="1371600" indent="0" algn="ctr">
              <a:buFont typeface="Arial" panose="020B0604020202020204" pitchFamily="34" charset="0"/>
              <a:buNone/>
              <a:defRPr/>
            </a:lvl4pPr>
            <a:lvl5pPr marL="1828800" indent="0" algn="ctr">
              <a:buFont typeface="Arial" panose="020B0604020202020204" pitchFamily="34" charset="0"/>
              <a:buNone/>
              <a:defRPr/>
            </a:lvl5pPr>
          </a:lstStyle>
          <a:p>
            <a:pPr marL="0" lv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1283B4-D186-4525-8CC4-36A4A7AF25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D8052AC-CE54-412B-810B-F6AE64E6CA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790642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9F22B9-ED37-44F4-B3EC-6E0BA04D532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5A98028-6D5A-40C4-AD2A-4D437B9CDAC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570538" cy="6508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618A05-7D2F-4B5D-A520-1BF7D0A5C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335960"/>
            <a:ext cx="3213517" cy="399403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3D6032-4889-4E33-950D-4964A47968C0}"/>
              </a:ext>
            </a:extLst>
          </p:cNvPr>
          <p:cNvSpPr/>
          <p:nvPr userDrawn="1"/>
        </p:nvSpPr>
        <p:spPr>
          <a:xfrm>
            <a:off x="6641432" y="132347"/>
            <a:ext cx="601579" cy="1034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4677D23-37EB-4C3B-88C8-1D669DFCDE7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84900" y="1793172"/>
            <a:ext cx="5570538" cy="3079606"/>
          </a:xfrm>
        </p:spPr>
        <p:txBody>
          <a:bodyPr/>
          <a:lstStyle>
            <a:lvl1pPr>
              <a:lnSpc>
                <a:spcPct val="150000"/>
              </a:lnSpc>
              <a:defRPr lang="en-IN" b="0" i="0" smtClean="0">
                <a:effectLst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convalli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ari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. Cra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perdi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odale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mi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nte ipsum,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p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n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endrer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.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ibero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di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rna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d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ignissi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uc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rc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vestibulum porta ligula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mentu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raesen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ore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ivam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ect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x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bland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sue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ur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rtti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  <a:endParaRPr lang="en-IN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2E8AB6E-DEF3-44C4-944F-BEAE03A5D5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DE67661-40FD-4C55-80BB-0F114F2B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505493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31E50-9EB7-4433-A416-737F3C1B1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429" y="217714"/>
            <a:ext cx="6222093" cy="617492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8E4841-3781-4F05-98CF-6F72B24FF9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73449" y="395854"/>
            <a:ext cx="2359902" cy="261211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0979B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42DF75-CD97-45C5-8811-F50667D87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t>‹#›</a:t>
            </a:fld>
            <a:endParaRPr lang="en-IN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96936A4-4E3D-4C7E-9FD3-A0F55696E5C3}"/>
              </a:ext>
            </a:extLst>
          </p:cNvPr>
          <p:cNvCxnSpPr/>
          <p:nvPr userDrawn="1"/>
        </p:nvCxnSpPr>
        <p:spPr>
          <a:xfrm>
            <a:off x="6807985" y="217714"/>
            <a:ext cx="0" cy="617492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8879F32-32FB-4E68-BA91-3BB62230CF91}"/>
              </a:ext>
            </a:extLst>
          </p:cNvPr>
          <p:cNvSpPr/>
          <p:nvPr userDrawn="1"/>
        </p:nvSpPr>
        <p:spPr>
          <a:xfrm>
            <a:off x="6642522" y="2879300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F78B1E6-2511-4819-9212-F4E0DD3E7CD2}"/>
              </a:ext>
            </a:extLst>
          </p:cNvPr>
          <p:cNvSpPr/>
          <p:nvPr userDrawn="1"/>
        </p:nvSpPr>
        <p:spPr>
          <a:xfrm>
            <a:off x="9015416" y="1344730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00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E628B574-4373-4E73-85A5-31B04E1B3557}"/>
              </a:ext>
            </a:extLst>
          </p:cNvPr>
          <p:cNvSpPr/>
          <p:nvPr userDrawn="1"/>
        </p:nvSpPr>
        <p:spPr>
          <a:xfrm>
            <a:off x="7729481" y="4413999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E337B47F-7C0A-4899-ADAF-062F2929E4E8}"/>
              </a:ext>
            </a:extLst>
          </p:cNvPr>
          <p:cNvSpPr/>
          <p:nvPr userDrawn="1"/>
        </p:nvSpPr>
        <p:spPr>
          <a:xfrm>
            <a:off x="5555563" y="1344730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4E881D5-ACAB-4FDF-B184-CCB62A6FC890}"/>
              </a:ext>
            </a:extLst>
          </p:cNvPr>
          <p:cNvSpPr/>
          <p:nvPr userDrawn="1"/>
        </p:nvSpPr>
        <p:spPr>
          <a:xfrm>
            <a:off x="4269627" y="4413999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00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FD8526EE-B11D-4F4B-8C0F-A2C251F77BA1}"/>
              </a:ext>
            </a:extLst>
          </p:cNvPr>
          <p:cNvSpPr/>
          <p:nvPr userDrawn="1"/>
        </p:nvSpPr>
        <p:spPr>
          <a:xfrm>
            <a:off x="3182668" y="2879300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054718E2-1005-49A1-A63F-2882DB0BE8CF}"/>
              </a:ext>
            </a:extLst>
          </p:cNvPr>
          <p:cNvSpPr/>
          <p:nvPr userDrawn="1"/>
        </p:nvSpPr>
        <p:spPr>
          <a:xfrm>
            <a:off x="809774" y="4413999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D51979D-2320-42EB-8118-06A5A13826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7818" y="5242559"/>
            <a:ext cx="1358900" cy="435429"/>
          </a:xfrm>
        </p:spPr>
        <p:txBody>
          <a:bodyPr>
            <a:noAutofit/>
          </a:bodyPr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 b="0">
                <a:solidFill>
                  <a:schemeClr val="bg1"/>
                </a:solidFill>
              </a:defRPr>
            </a:lvl2pPr>
            <a:lvl3pPr marL="914400" indent="0" algn="r">
              <a:buNone/>
              <a:defRPr sz="1050" b="1">
                <a:solidFill>
                  <a:schemeClr val="bg1"/>
                </a:solidFill>
              </a:defRPr>
            </a:lvl3pPr>
            <a:lvl4pPr marL="1371600" indent="0" algn="r">
              <a:buNone/>
              <a:defRPr sz="1050" b="1">
                <a:solidFill>
                  <a:schemeClr val="bg1"/>
                </a:solidFill>
              </a:defRPr>
            </a:lvl4pPr>
            <a:lvl5pPr marL="1828800" indent="0" algn="r">
              <a:buNone/>
              <a:defRPr sz="105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F2CA3A5-C1D2-4676-9BCE-483B3A1C6C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90177" y="3744051"/>
            <a:ext cx="1358900" cy="436563"/>
          </a:xfrm>
        </p:spPr>
        <p:txBody>
          <a:bodyPr/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>
                <a:solidFill>
                  <a:schemeClr val="bg1"/>
                </a:solidFill>
              </a:defRPr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4A5ABB9-E8F0-4FAF-A807-A53D500E78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63072" y="2191635"/>
            <a:ext cx="1358900" cy="436563"/>
          </a:xfrm>
        </p:spPr>
        <p:txBody>
          <a:bodyPr/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>
                <a:solidFill>
                  <a:schemeClr val="bg1"/>
                </a:solidFill>
              </a:defRPr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375BC81-AC37-4539-BF64-0CBD13AD40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7019" y="5241425"/>
            <a:ext cx="1422854" cy="436563"/>
          </a:xfrm>
        </p:spPr>
        <p:txBody>
          <a:bodyPr/>
          <a:lstStyle>
            <a:lvl1pPr marL="0" indent="0" algn="r">
              <a:buNone/>
              <a:defRPr b="1">
                <a:solidFill>
                  <a:schemeClr val="bg1"/>
                </a:solidFill>
              </a:defRPr>
            </a:lvl1pPr>
            <a:lvl2pPr marL="457200" indent="0" algn="r">
              <a:buNone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r">
              <a:buNone/>
              <a:defRPr>
                <a:solidFill>
                  <a:schemeClr val="bg1"/>
                </a:solidFill>
              </a:defRPr>
            </a:lvl3pPr>
            <a:lvl4pPr marL="1371600" indent="0" algn="r">
              <a:buNone/>
              <a:defRPr>
                <a:solidFill>
                  <a:schemeClr val="bg1"/>
                </a:solidFill>
              </a:defRPr>
            </a:lvl4pPr>
            <a:lvl5pPr marL="1828800" indent="0" algn="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</a:p>
          <a:p>
            <a:pPr marL="457200" lvl="1" indent="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A011959-F9FF-47F3-90A1-63DD10BCA6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7273" y="5241425"/>
            <a:ext cx="1423987" cy="437063"/>
          </a:xfrm>
        </p:spPr>
        <p:txBody>
          <a:bodyPr/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>
                <a:solidFill>
                  <a:schemeClr val="bg1"/>
                </a:solidFill>
              </a:defRPr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94627FE-9FD0-418E-8F91-AE33453C36C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62651" y="3706726"/>
            <a:ext cx="1378823" cy="437063"/>
          </a:xfrm>
        </p:spPr>
        <p:txBody>
          <a:bodyPr/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4D1C18CF-F19D-452E-803A-B05413EB6B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74656" y="2190371"/>
            <a:ext cx="1423988" cy="436563"/>
          </a:xfrm>
        </p:spPr>
        <p:txBody>
          <a:bodyPr/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>
                <a:solidFill>
                  <a:schemeClr val="bg1"/>
                </a:solidFill>
              </a:defRPr>
            </a:lvl2pPr>
            <a:lvl3pPr marL="914400" indent="0" algn="r">
              <a:buNone/>
              <a:defRPr>
                <a:solidFill>
                  <a:schemeClr val="bg1"/>
                </a:solidFill>
              </a:defRPr>
            </a:lvl3pPr>
            <a:lvl4pPr marL="1371600" indent="0" algn="r">
              <a:buNone/>
              <a:defRPr>
                <a:solidFill>
                  <a:schemeClr val="bg1"/>
                </a:solidFill>
              </a:defRPr>
            </a:lvl4pPr>
            <a:lvl5pPr marL="1828800" indent="0" algn="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8527C31-B82A-496F-B5A0-AD6C0DB45E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F25882E2-B81F-4A37-A735-BA7147B9A4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4765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F0583-1320-4247-A6D3-38AF838A8E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am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686E83-3733-4054-81E9-831D871CB8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BC246DA-CE35-4D18-AC87-195F6ECA29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0174" y="357255"/>
            <a:ext cx="2601026" cy="2843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F2DA44B4-E9CE-4F54-BAF4-23FA2AB6D871}"/>
              </a:ext>
            </a:extLst>
          </p:cNvPr>
          <p:cNvSpPr/>
          <p:nvPr userDrawn="1"/>
        </p:nvSpPr>
        <p:spPr>
          <a:xfrm>
            <a:off x="2210518" y="1885203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485AB8E6-59E3-44D2-AA07-4D9DC48AE261}"/>
              </a:ext>
            </a:extLst>
          </p:cNvPr>
          <p:cNvSpPr/>
          <p:nvPr userDrawn="1"/>
        </p:nvSpPr>
        <p:spPr>
          <a:xfrm>
            <a:off x="774072" y="1885202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983A5A29-8F01-47BE-ABC5-6951FFCD9183}"/>
              </a:ext>
            </a:extLst>
          </p:cNvPr>
          <p:cNvSpPr/>
          <p:nvPr userDrawn="1"/>
        </p:nvSpPr>
        <p:spPr>
          <a:xfrm>
            <a:off x="2210518" y="3273534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31C600A-4727-4A01-A54B-D2A79516618E}"/>
              </a:ext>
            </a:extLst>
          </p:cNvPr>
          <p:cNvSpPr/>
          <p:nvPr userDrawn="1"/>
        </p:nvSpPr>
        <p:spPr>
          <a:xfrm>
            <a:off x="774072" y="32735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7B7D9E5F-85C3-4615-B55E-4DB5E1DD6D9D}"/>
              </a:ext>
            </a:extLst>
          </p:cNvPr>
          <p:cNvSpPr/>
          <p:nvPr userDrawn="1"/>
        </p:nvSpPr>
        <p:spPr>
          <a:xfrm>
            <a:off x="2018015" y="4695394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CCF8EB60-054B-46E1-895E-DEB6E9849080}"/>
              </a:ext>
            </a:extLst>
          </p:cNvPr>
          <p:cNvSpPr/>
          <p:nvPr userDrawn="1"/>
        </p:nvSpPr>
        <p:spPr>
          <a:xfrm>
            <a:off x="774072" y="46451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8F742F3-159A-46EF-BF46-7B649CADF042}"/>
              </a:ext>
            </a:extLst>
          </p:cNvPr>
          <p:cNvSpPr/>
          <p:nvPr userDrawn="1"/>
        </p:nvSpPr>
        <p:spPr>
          <a:xfrm>
            <a:off x="7628698" y="1885203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96A0460-3C31-458E-A8E5-444C0D9FA19C}"/>
              </a:ext>
            </a:extLst>
          </p:cNvPr>
          <p:cNvSpPr/>
          <p:nvPr userDrawn="1"/>
        </p:nvSpPr>
        <p:spPr>
          <a:xfrm>
            <a:off x="6192252" y="1885202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914304DF-1EA7-4494-824F-A376A78F0B0F}"/>
              </a:ext>
            </a:extLst>
          </p:cNvPr>
          <p:cNvSpPr/>
          <p:nvPr userDrawn="1"/>
        </p:nvSpPr>
        <p:spPr>
          <a:xfrm>
            <a:off x="7628698" y="3273534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AAE97F7C-267D-4276-AB3D-D9E6FE5F8985}"/>
              </a:ext>
            </a:extLst>
          </p:cNvPr>
          <p:cNvSpPr/>
          <p:nvPr userDrawn="1"/>
        </p:nvSpPr>
        <p:spPr>
          <a:xfrm>
            <a:off x="6192252" y="32735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0060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BDE11779-24E2-4427-A3E0-C4C00AB9A1EF}"/>
              </a:ext>
            </a:extLst>
          </p:cNvPr>
          <p:cNvSpPr/>
          <p:nvPr userDrawn="1"/>
        </p:nvSpPr>
        <p:spPr>
          <a:xfrm>
            <a:off x="7628698" y="4645134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2A3F2417-9425-44CE-93E8-7F7BDBD91358}"/>
              </a:ext>
            </a:extLst>
          </p:cNvPr>
          <p:cNvSpPr/>
          <p:nvPr userDrawn="1"/>
        </p:nvSpPr>
        <p:spPr>
          <a:xfrm>
            <a:off x="6192252" y="46451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00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Parallelogram 17">
            <a:extLst>
              <a:ext uri="{FF2B5EF4-FFF2-40B4-BE49-F238E27FC236}">
                <a16:creationId xmlns:a16="http://schemas.microsoft.com/office/drawing/2014/main" id="{D0E6EE27-8ACA-4C87-AD21-ACBE8B9737F0}"/>
              </a:ext>
            </a:extLst>
          </p:cNvPr>
          <p:cNvSpPr/>
          <p:nvPr userDrawn="1"/>
        </p:nvSpPr>
        <p:spPr>
          <a:xfrm>
            <a:off x="786250" y="1885202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Parallelogram 18">
            <a:extLst>
              <a:ext uri="{FF2B5EF4-FFF2-40B4-BE49-F238E27FC236}">
                <a16:creationId xmlns:a16="http://schemas.microsoft.com/office/drawing/2014/main" id="{F9AFF52B-0E26-4EEA-A0BD-206E1F403D22}"/>
              </a:ext>
            </a:extLst>
          </p:cNvPr>
          <p:cNvSpPr/>
          <p:nvPr userDrawn="1"/>
        </p:nvSpPr>
        <p:spPr>
          <a:xfrm>
            <a:off x="786250" y="32735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0060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0F7CF08-97B9-460A-8F4E-0F5A2C8802C6}"/>
              </a:ext>
            </a:extLst>
          </p:cNvPr>
          <p:cNvSpPr/>
          <p:nvPr userDrawn="1"/>
        </p:nvSpPr>
        <p:spPr>
          <a:xfrm>
            <a:off x="786250" y="46451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00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070D8AB9-0836-4FCE-BCCA-14FB5AF5C959}"/>
              </a:ext>
            </a:extLst>
          </p:cNvPr>
          <p:cNvSpPr/>
          <p:nvPr userDrawn="1"/>
        </p:nvSpPr>
        <p:spPr>
          <a:xfrm>
            <a:off x="6360126" y="1854370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2B361310-3429-430A-87CB-C00FE3EA09B9}"/>
              </a:ext>
            </a:extLst>
          </p:cNvPr>
          <p:cNvSpPr/>
          <p:nvPr userDrawn="1"/>
        </p:nvSpPr>
        <p:spPr>
          <a:xfrm>
            <a:off x="6360126" y="3242701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6034511E-7C48-40D9-9889-7FEF10839E75}"/>
              </a:ext>
            </a:extLst>
          </p:cNvPr>
          <p:cNvSpPr/>
          <p:nvPr userDrawn="1"/>
        </p:nvSpPr>
        <p:spPr>
          <a:xfrm>
            <a:off x="6360126" y="4614301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27519C98-BB41-44E7-BB5C-7FF5C5C5D370}"/>
              </a:ext>
            </a:extLst>
          </p:cNvPr>
          <p:cNvSpPr/>
          <p:nvPr userDrawn="1"/>
        </p:nvSpPr>
        <p:spPr>
          <a:xfrm>
            <a:off x="954124" y="1854370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5" name="Parallelogram 24">
            <a:extLst>
              <a:ext uri="{FF2B5EF4-FFF2-40B4-BE49-F238E27FC236}">
                <a16:creationId xmlns:a16="http://schemas.microsoft.com/office/drawing/2014/main" id="{3C2902E5-AC5C-42FF-9DE0-D4913D156872}"/>
              </a:ext>
            </a:extLst>
          </p:cNvPr>
          <p:cNvSpPr/>
          <p:nvPr userDrawn="1"/>
        </p:nvSpPr>
        <p:spPr>
          <a:xfrm>
            <a:off x="954124" y="3242701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6" name="Parallelogram 25">
            <a:extLst>
              <a:ext uri="{FF2B5EF4-FFF2-40B4-BE49-F238E27FC236}">
                <a16:creationId xmlns:a16="http://schemas.microsoft.com/office/drawing/2014/main" id="{E72604B9-F7AC-4AF2-B45A-907A71A225D7}"/>
              </a:ext>
            </a:extLst>
          </p:cNvPr>
          <p:cNvSpPr/>
          <p:nvPr userDrawn="1"/>
        </p:nvSpPr>
        <p:spPr>
          <a:xfrm>
            <a:off x="954124" y="4614301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E0F99FEF-A8A6-4272-BC14-78FDE6D1A5C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54124" y="1709466"/>
            <a:ext cx="1704939" cy="1128680"/>
          </a:xfrm>
          <a:prstGeom prst="parallelogram">
            <a:avLst>
              <a:gd name="adj" fmla="val 40749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02C11F03-7897-44B7-99B1-15C52D9902D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54124" y="3071525"/>
            <a:ext cx="1704939" cy="1147737"/>
          </a:xfrm>
          <a:prstGeom prst="parallelogram">
            <a:avLst>
              <a:gd name="adj" fmla="val 41869"/>
            </a:avLst>
          </a:prstGeom>
          <a:solidFill>
            <a:srgbClr val="D9D9D9"/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5881B86-7ACA-4248-8043-A96EBEFD856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46425" y="4452641"/>
            <a:ext cx="1712638" cy="1147762"/>
          </a:xfrm>
          <a:prstGeom prst="parallelogram">
            <a:avLst>
              <a:gd name="adj" fmla="val 40934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A15DB1E7-3F4A-4372-A1FD-415A29A37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60126" y="1709466"/>
            <a:ext cx="1704939" cy="1128680"/>
          </a:xfrm>
          <a:prstGeom prst="parallelogram">
            <a:avLst>
              <a:gd name="adj" fmla="val 41718"/>
            </a:avLst>
          </a:prstGeom>
          <a:solidFill>
            <a:srgbClr val="D9D9D9"/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8928B4E1-13E7-439B-A7C7-FD0FD90F229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3806" y="1709466"/>
            <a:ext cx="1704939" cy="1128712"/>
          </a:xfrm>
          <a:prstGeom prst="parallelogram">
            <a:avLst>
              <a:gd name="adj" fmla="val 41974"/>
            </a:avLst>
          </a:prstGeom>
          <a:solidFill>
            <a:srgbClr val="D9D9D9"/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D4590F2C-E425-4EB3-A4BF-818417D90E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63806" y="3096564"/>
            <a:ext cx="1717385" cy="1128712"/>
          </a:xfrm>
          <a:prstGeom prst="parallelogram">
            <a:avLst>
              <a:gd name="adj" fmla="val 41974"/>
            </a:avLst>
          </a:prstGeom>
          <a:solidFill>
            <a:srgbClr val="D9D9D9"/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685A473F-E13C-4119-BDC4-38AA864FD68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60126" y="4452641"/>
            <a:ext cx="1721065" cy="1128712"/>
          </a:xfrm>
          <a:prstGeom prst="parallelogram">
            <a:avLst>
              <a:gd name="adj" fmla="val 42746"/>
            </a:avLst>
          </a:prstGeom>
          <a:solidFill>
            <a:srgbClr val="D9D9D9"/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B69AAFE9-F279-4F6F-8DFE-143B00B962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21413C1B-8701-4A82-AA4A-AEE53E9260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168288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Chart Placeholder 41">
            <a:extLst>
              <a:ext uri="{FF2B5EF4-FFF2-40B4-BE49-F238E27FC236}">
                <a16:creationId xmlns:a16="http://schemas.microsoft.com/office/drawing/2014/main" id="{49D02932-E51C-4413-8FF2-A298160492DB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1004888" y="1733550"/>
            <a:ext cx="2297112" cy="2179638"/>
          </a:xfrm>
          <a:noFill/>
        </p:spPr>
        <p:txBody>
          <a:bodyPr/>
          <a:lstStyle/>
          <a:p>
            <a:endParaRPr lang="en-IN"/>
          </a:p>
        </p:txBody>
      </p:sp>
      <p:sp>
        <p:nvSpPr>
          <p:cNvPr id="44" name="Chart Placeholder 43">
            <a:extLst>
              <a:ext uri="{FF2B5EF4-FFF2-40B4-BE49-F238E27FC236}">
                <a16:creationId xmlns:a16="http://schemas.microsoft.com/office/drawing/2014/main" id="{06032C4C-6683-4593-BAFF-1579AD7D3090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618104" y="1733550"/>
            <a:ext cx="2305050" cy="2179638"/>
          </a:xfrm>
          <a:noFill/>
        </p:spPr>
        <p:txBody>
          <a:bodyPr/>
          <a:lstStyle/>
          <a:p>
            <a:endParaRPr lang="en-IN"/>
          </a:p>
        </p:txBody>
      </p:sp>
      <p:sp>
        <p:nvSpPr>
          <p:cNvPr id="46" name="Chart Placeholder 45">
            <a:extLst>
              <a:ext uri="{FF2B5EF4-FFF2-40B4-BE49-F238E27FC236}">
                <a16:creationId xmlns:a16="http://schemas.microsoft.com/office/drawing/2014/main" id="{D580A754-399E-4A00-B5E9-C8D7E121B079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252958" y="1733550"/>
            <a:ext cx="2311400" cy="2179638"/>
          </a:xfrm>
          <a:noFill/>
        </p:spPr>
        <p:txBody>
          <a:bodyPr/>
          <a:lstStyle/>
          <a:p>
            <a:endParaRPr lang="en-IN"/>
          </a:p>
        </p:txBody>
      </p:sp>
      <p:sp>
        <p:nvSpPr>
          <p:cNvPr id="48" name="Chart Placeholder 47">
            <a:extLst>
              <a:ext uri="{FF2B5EF4-FFF2-40B4-BE49-F238E27FC236}">
                <a16:creationId xmlns:a16="http://schemas.microsoft.com/office/drawing/2014/main" id="{2E0023AD-2AAA-42C3-83E3-ADA1E89C8DC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886218" y="1733550"/>
            <a:ext cx="2325687" cy="2179638"/>
          </a:xfrm>
          <a:noFill/>
        </p:spPr>
        <p:txBody>
          <a:bodyPr/>
          <a:lstStyle/>
          <a:p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3BC09E-7D3F-4CB2-871F-D24F31717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404E9C-6EF3-47FE-8297-9B15ED377A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124310A-4C24-460A-AA41-05B956B21323}"/>
              </a:ext>
            </a:extLst>
          </p:cNvPr>
          <p:cNvCxnSpPr/>
          <p:nvPr/>
        </p:nvCxnSpPr>
        <p:spPr>
          <a:xfrm>
            <a:off x="1214597" y="5126011"/>
            <a:ext cx="191364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4352288-E94D-4C8A-BE0C-FD9AA096FF4B}"/>
              </a:ext>
            </a:extLst>
          </p:cNvPr>
          <p:cNvCxnSpPr/>
          <p:nvPr/>
        </p:nvCxnSpPr>
        <p:spPr>
          <a:xfrm>
            <a:off x="3825540" y="5126011"/>
            <a:ext cx="191364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D9FD19D-3816-40F7-82FE-87D7D7764BBC}"/>
              </a:ext>
            </a:extLst>
          </p:cNvPr>
          <p:cNvCxnSpPr/>
          <p:nvPr/>
        </p:nvCxnSpPr>
        <p:spPr>
          <a:xfrm>
            <a:off x="6452818" y="5126011"/>
            <a:ext cx="191364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48949FA-F560-422F-B392-E1688290D721}"/>
              </a:ext>
            </a:extLst>
          </p:cNvPr>
          <p:cNvCxnSpPr/>
          <p:nvPr/>
        </p:nvCxnSpPr>
        <p:spPr>
          <a:xfrm>
            <a:off x="9081627" y="5126011"/>
            <a:ext cx="191364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08A386CC-7C96-4E8A-A991-BD1CE72B60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4887" y="4424927"/>
            <a:ext cx="2297114" cy="585787"/>
          </a:xfrm>
        </p:spPr>
        <p:txBody>
          <a:bodyPr>
            <a:noAutofit/>
          </a:bodyPr>
          <a:lstStyle>
            <a:lvl1pPr algn="ctr">
              <a:defRPr sz="40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774DCE23-7F07-4A9D-8E36-CEB2A63F88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04888" y="5241309"/>
            <a:ext cx="2297112" cy="338555"/>
          </a:xfrm>
        </p:spPr>
        <p:txBody>
          <a:bodyPr anchor="ctr">
            <a:normAutofit/>
          </a:bodyPr>
          <a:lstStyle>
            <a:lvl1pPr algn="ctr"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A6A35285-2EC4-4025-A658-F68D96CB76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26042" y="4424363"/>
            <a:ext cx="2297112" cy="585787"/>
          </a:xfrm>
        </p:spPr>
        <p:txBody>
          <a:bodyPr anchor="ctr">
            <a:noAutofit/>
          </a:bodyPr>
          <a:lstStyle>
            <a:lvl1pPr algn="ctr">
              <a:defRPr sz="40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2303B642-41FA-4F2D-8DBB-9B826D131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18104" y="5238885"/>
            <a:ext cx="2297112" cy="338138"/>
          </a:xfrm>
        </p:spPr>
        <p:txBody>
          <a:bodyPr anchor="ctr"/>
          <a:lstStyle>
            <a:lvl1pPr algn="ctr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6E7E43E9-10E4-4FE1-9D90-782124B064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38875" y="4424363"/>
            <a:ext cx="2305050" cy="585787"/>
          </a:xfrm>
        </p:spPr>
        <p:txBody>
          <a:bodyPr anchor="ctr">
            <a:noAutofit/>
          </a:bodyPr>
          <a:lstStyle>
            <a:lvl1pPr algn="ctr">
              <a:defRPr sz="40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9FC45D19-FC69-4F15-9259-D9D0094AD5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31320" y="5238885"/>
            <a:ext cx="2305050" cy="338138"/>
          </a:xfrm>
        </p:spPr>
        <p:txBody>
          <a:bodyPr anchor="ctr"/>
          <a:lstStyle>
            <a:lvl1pPr algn="ctr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F9B7D4E6-F3E4-4456-A332-088F25B2BD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78280" y="4424363"/>
            <a:ext cx="2333625" cy="585787"/>
          </a:xfrm>
        </p:spPr>
        <p:txBody>
          <a:bodyPr anchor="ctr">
            <a:noAutofit/>
          </a:bodyPr>
          <a:lstStyle>
            <a:lvl1pPr algn="ctr">
              <a:defRPr sz="40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E2E66343-B3D6-4B13-8CBC-2CEB8384334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877576" y="5238750"/>
            <a:ext cx="2311400" cy="338138"/>
          </a:xfrm>
        </p:spPr>
        <p:txBody>
          <a:bodyPr anchor="ctr"/>
          <a:lstStyle>
            <a:lvl1pPr algn="ctr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8B449B43-0F09-45B5-A51C-FE88D341E5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38975" y="349250"/>
            <a:ext cx="2659063" cy="338138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DE4FF85-6B28-4748-A3B2-EF0E832CCD0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925AE3DF-C729-45D1-9078-9706723BCC6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081727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5B1C7-AA32-4DEE-8B89-FF571210F7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45ABDA-3073-4D97-9DE6-A5D37A665D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2C1C8173-A55E-432B-ACFB-335F5FCD63C5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407988" y="1287463"/>
            <a:ext cx="8086307" cy="4716462"/>
          </a:xfrm>
        </p:spPr>
        <p:txBody>
          <a:bodyPr/>
          <a:lstStyle/>
          <a:p>
            <a:endParaRPr lang="en-IN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8A5E0D-F92E-48A9-81B8-11B129A2FD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08305" y="3489409"/>
            <a:ext cx="2791494" cy="2514516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Nunc </a:t>
            </a:r>
            <a:r>
              <a:rPr lang="en-US" dirty="0" err="1"/>
              <a:t>venenatis</a:t>
            </a:r>
            <a:r>
              <a:rPr lang="en-US" dirty="0"/>
              <a:t> ligula vel </a:t>
            </a:r>
            <a:r>
              <a:rPr lang="en-US" dirty="0" err="1"/>
              <a:t>metus</a:t>
            </a:r>
            <a:r>
              <a:rPr lang="en-US" dirty="0"/>
              <a:t> vestibulum, pulvinar </a:t>
            </a:r>
            <a:r>
              <a:rPr lang="en-US" dirty="0" err="1"/>
              <a:t>volutpat</a:t>
            </a:r>
            <a:r>
              <a:rPr lang="en-US" dirty="0"/>
              <a:t> ligula gravida</a:t>
            </a:r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F4708B-8329-4CBE-BF0B-4B0587A807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09079" y="2583191"/>
            <a:ext cx="2790825" cy="577766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pPr lvl="0"/>
            <a:r>
              <a:rPr lang="en-US" dirty="0"/>
              <a:t>0000 Million</a:t>
            </a:r>
            <a:endParaRPr lang="en-IN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9913CDD-8720-4E60-AFC7-7891C3EDB87B}"/>
              </a:ext>
            </a:extLst>
          </p:cNvPr>
          <p:cNvSpPr/>
          <p:nvPr userDrawn="1"/>
        </p:nvSpPr>
        <p:spPr>
          <a:xfrm>
            <a:off x="8908305" y="1287463"/>
            <a:ext cx="967276" cy="967276"/>
          </a:xfrm>
          <a:prstGeom prst="ellipse">
            <a:avLst/>
          </a:prstGeom>
          <a:solidFill>
            <a:srgbClr val="09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A5BAE310-CA19-492F-8216-67DC98F57E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074890" y="1453561"/>
            <a:ext cx="634594" cy="634592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6317E08-82B3-49BD-A412-7476821C8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8281395-0C92-45BF-87C6-28928D3CA5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372605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3E3C1661-1AC3-4B0E-A448-2307514C4F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609" y="2094748"/>
            <a:ext cx="1126730" cy="368689"/>
          </a:xfrm>
        </p:spPr>
        <p:txBody>
          <a:bodyPr anchor="ctr">
            <a:noAutofit/>
          </a:bodyPr>
          <a:lstStyle>
            <a:lvl1pPr algn="ctr">
              <a:defRPr sz="28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26" name="Chart Placeholder 25">
            <a:extLst>
              <a:ext uri="{FF2B5EF4-FFF2-40B4-BE49-F238E27FC236}">
                <a16:creationId xmlns:a16="http://schemas.microsoft.com/office/drawing/2014/main" id="{99637227-E3C8-4C62-8C2E-739E531E44E1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3203106" y="1797889"/>
            <a:ext cx="8156662" cy="3645568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E7532B-CAFE-4A74-8799-CC87DAA9F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5BB556-A027-46E7-BB80-6F0B01FCB8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979B6C8-0C99-447E-8907-3982F1644D3D}"/>
              </a:ext>
            </a:extLst>
          </p:cNvPr>
          <p:cNvGrpSpPr/>
          <p:nvPr userDrawn="1"/>
        </p:nvGrpSpPr>
        <p:grpSpPr>
          <a:xfrm>
            <a:off x="786250" y="1797888"/>
            <a:ext cx="2416853" cy="3645569"/>
            <a:chOff x="786250" y="1797888"/>
            <a:chExt cx="10573518" cy="3645569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398212A-6003-48B9-9B89-31ABD7D2CC40}"/>
                </a:ext>
              </a:extLst>
            </p:cNvPr>
            <p:cNvCxnSpPr>
              <a:cxnSpLocks/>
            </p:cNvCxnSpPr>
            <p:nvPr/>
          </p:nvCxnSpPr>
          <p:spPr>
            <a:xfrm>
              <a:off x="786250" y="2712288"/>
              <a:ext cx="105735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DB7AFC3-EB98-426B-8F07-4B44203A3E5E}"/>
                </a:ext>
              </a:extLst>
            </p:cNvPr>
            <p:cNvCxnSpPr>
              <a:cxnSpLocks/>
            </p:cNvCxnSpPr>
            <p:nvPr/>
          </p:nvCxnSpPr>
          <p:spPr>
            <a:xfrm>
              <a:off x="786250" y="3626688"/>
              <a:ext cx="105735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CCEEBEB-7513-4D30-B89B-85784B1341A5}"/>
                </a:ext>
              </a:extLst>
            </p:cNvPr>
            <p:cNvCxnSpPr>
              <a:cxnSpLocks/>
            </p:cNvCxnSpPr>
            <p:nvPr/>
          </p:nvCxnSpPr>
          <p:spPr>
            <a:xfrm>
              <a:off x="786250" y="4541088"/>
              <a:ext cx="105735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7F4F681-0F35-4B5F-B137-206F7970915A}"/>
                </a:ext>
              </a:extLst>
            </p:cNvPr>
            <p:cNvCxnSpPr>
              <a:cxnSpLocks/>
            </p:cNvCxnSpPr>
            <p:nvPr/>
          </p:nvCxnSpPr>
          <p:spPr>
            <a:xfrm>
              <a:off x="786250" y="1797888"/>
              <a:ext cx="105735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CF9B6CB-CC24-45CC-AE19-23FD74B41472}"/>
                </a:ext>
              </a:extLst>
            </p:cNvPr>
            <p:cNvCxnSpPr>
              <a:cxnSpLocks/>
            </p:cNvCxnSpPr>
            <p:nvPr/>
          </p:nvCxnSpPr>
          <p:spPr>
            <a:xfrm>
              <a:off x="786250" y="5443457"/>
              <a:ext cx="105735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3DAB75A-BB6B-46D3-9AEE-9938B861BCA7}"/>
              </a:ext>
            </a:extLst>
          </p:cNvPr>
          <p:cNvCxnSpPr/>
          <p:nvPr userDrawn="1"/>
        </p:nvCxnSpPr>
        <p:spPr>
          <a:xfrm>
            <a:off x="786250" y="1797888"/>
            <a:ext cx="0" cy="364556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598E75F-5770-4297-9DCC-90769C2C2807}"/>
              </a:ext>
            </a:extLst>
          </p:cNvPr>
          <p:cNvCxnSpPr/>
          <p:nvPr userDrawn="1"/>
        </p:nvCxnSpPr>
        <p:spPr>
          <a:xfrm>
            <a:off x="2024013" y="1797888"/>
            <a:ext cx="0" cy="364556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8FCB776C-0724-45C0-8ECA-5385F31E1539}"/>
              </a:ext>
            </a:extLst>
          </p:cNvPr>
          <p:cNvSpPr txBox="1"/>
          <p:nvPr userDrawn="1"/>
        </p:nvSpPr>
        <p:spPr>
          <a:xfrm>
            <a:off x="8287862" y="2134033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5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B7CB32E-2782-4188-B1CD-6CCD7BF6A76C}"/>
              </a:ext>
            </a:extLst>
          </p:cNvPr>
          <p:cNvSpPr txBox="1"/>
          <p:nvPr userDrawn="1"/>
        </p:nvSpPr>
        <p:spPr>
          <a:xfrm>
            <a:off x="3796164" y="3037802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  <a:r>
              <a:rPr lang="id-ID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1C5C06A-820A-4300-8154-B17D37B22AED}"/>
              </a:ext>
            </a:extLst>
          </p:cNvPr>
          <p:cNvSpPr txBox="1"/>
          <p:nvPr userDrawn="1"/>
        </p:nvSpPr>
        <p:spPr>
          <a:xfrm>
            <a:off x="10045217" y="3951405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0</a:t>
            </a:r>
            <a:r>
              <a:rPr lang="id-ID" sz="1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%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0112499-364F-4659-94C2-D7A9467649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68121" y="2040593"/>
            <a:ext cx="936406" cy="411163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C30D97AD-C9F7-45EC-837A-5CD992B89E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2382" y="2942603"/>
            <a:ext cx="936405" cy="442912"/>
          </a:xfrm>
        </p:spPr>
        <p:txBody>
          <a:bodyPr anchor="ctr">
            <a:normAutofit/>
          </a:bodyPr>
          <a:lstStyle>
            <a:lvl1pPr algn="ctr">
              <a:def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C7309E8-7BAE-4288-B378-03373C19CF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62163" y="3867862"/>
            <a:ext cx="974770" cy="442912"/>
          </a:xfrm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51B2ACF0-BD3E-4B73-8253-4AEBEDB73B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62163" y="4760155"/>
            <a:ext cx="974725" cy="442913"/>
          </a:xfrm>
        </p:spPr>
        <p:txBody>
          <a:bodyPr>
            <a:normAutofit/>
          </a:bodyPr>
          <a:lstStyle>
            <a:lvl1pPr algn="ctr"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A399B453-07FC-4545-A125-FB663B7948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1699" y="2987090"/>
            <a:ext cx="1133640" cy="385763"/>
          </a:xfrm>
        </p:spPr>
        <p:txBody>
          <a:bodyPr>
            <a:noAutofit/>
          </a:bodyPr>
          <a:lstStyle>
            <a:lvl1pPr algn="ctr">
              <a:defRPr sz="28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A1F626DC-D61A-4200-9B24-5989DED97B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857" y="3901688"/>
            <a:ext cx="1159049" cy="392113"/>
          </a:xfrm>
        </p:spPr>
        <p:txBody>
          <a:bodyPr anchor="ctr">
            <a:noAutofit/>
          </a:bodyPr>
          <a:lstStyle>
            <a:lvl1pPr algn="ctr">
              <a:defRPr sz="2800" b="1"/>
            </a:lvl1pPr>
          </a:lstStyle>
          <a:p>
            <a:pPr lvl="0"/>
            <a:r>
              <a:rPr lang="en-US" dirty="0"/>
              <a:t>0000</a:t>
            </a:r>
            <a:endParaRPr lang="en-IN" dirty="0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012B698D-4C01-4E07-ADED-52032DA523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738" y="4776709"/>
            <a:ext cx="1144587" cy="398463"/>
          </a:xfrm>
        </p:spPr>
        <p:txBody>
          <a:bodyPr anchor="ctr">
            <a:noAutofit/>
          </a:bodyPr>
          <a:lstStyle>
            <a:lvl1pPr algn="ctr">
              <a:defRPr sz="2800" b="1"/>
            </a:lvl1pPr>
          </a:lstStyle>
          <a:p>
            <a:pPr lvl="0"/>
            <a:r>
              <a:rPr lang="en-US" dirty="0"/>
              <a:t>0000</a:t>
            </a:r>
            <a:endParaRPr lang="en-IN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4C852C-71DA-43CB-A028-1AA58BF574F9}"/>
              </a:ext>
            </a:extLst>
          </p:cNvPr>
          <p:cNvCxnSpPr/>
          <p:nvPr userDrawn="1"/>
        </p:nvCxnSpPr>
        <p:spPr>
          <a:xfrm>
            <a:off x="3203103" y="1797888"/>
            <a:ext cx="0" cy="364556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A240331-EC4E-4280-8216-90661BA253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0CFF8865-AB00-4964-BDC8-E0BF73B830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284416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8CC958-0960-47D0-8E15-0897D3D50D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17023"/>
            <a:ext cx="5825789" cy="5770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474D46-68B4-411F-BA18-B9DB21FA6B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0EF0E0-49DC-4CA3-AE7C-27811F8504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1825" y="333375"/>
            <a:ext cx="3187700" cy="366713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B3745A-5C83-4AFF-A4BF-D5A0AD955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81825" y="1707136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E925A7D-35FE-4C2F-8BFC-7E1080351406}"/>
              </a:ext>
            </a:extLst>
          </p:cNvPr>
          <p:cNvSpPr/>
          <p:nvPr userDrawn="1"/>
        </p:nvSpPr>
        <p:spPr>
          <a:xfrm>
            <a:off x="6233777" y="1617572"/>
            <a:ext cx="529390" cy="52939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8BEF978-374A-405A-8D56-EDB6931BD3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81825" y="2436109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9C90A4D-ACD6-4DD4-9C46-96900A55A215}"/>
              </a:ext>
            </a:extLst>
          </p:cNvPr>
          <p:cNvSpPr/>
          <p:nvPr userDrawn="1"/>
        </p:nvSpPr>
        <p:spPr>
          <a:xfrm>
            <a:off x="6233777" y="2346545"/>
            <a:ext cx="529390" cy="5293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4612A47-2AF4-4294-9D99-3B319AE373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81825" y="3182844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8EF4A15-E252-4259-AB8E-F6D79CB5C592}"/>
              </a:ext>
            </a:extLst>
          </p:cNvPr>
          <p:cNvSpPr/>
          <p:nvPr userDrawn="1"/>
        </p:nvSpPr>
        <p:spPr>
          <a:xfrm>
            <a:off x="6233777" y="3093280"/>
            <a:ext cx="529390" cy="52939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E1A3996-C283-4F0C-9152-A41A869953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81825" y="3902409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F6E4803-A749-42F4-900F-684BD1884AB5}"/>
              </a:ext>
            </a:extLst>
          </p:cNvPr>
          <p:cNvSpPr/>
          <p:nvPr userDrawn="1"/>
        </p:nvSpPr>
        <p:spPr>
          <a:xfrm>
            <a:off x="6210759" y="3811504"/>
            <a:ext cx="529390" cy="529390"/>
          </a:xfrm>
          <a:prstGeom prst="ellipse">
            <a:avLst/>
          </a:prstGeom>
          <a:solidFill>
            <a:srgbClr val="09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7F465D-8B92-4477-8283-50457809C1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81825" y="4653323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C886C9F-B664-4692-8A11-D7F7988883F0}"/>
              </a:ext>
            </a:extLst>
          </p:cNvPr>
          <p:cNvSpPr/>
          <p:nvPr userDrawn="1"/>
        </p:nvSpPr>
        <p:spPr>
          <a:xfrm>
            <a:off x="6233777" y="4563759"/>
            <a:ext cx="529390" cy="529390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A917655-D653-4FB5-B8A4-382143E5A6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81825" y="5460604"/>
            <a:ext cx="3599990" cy="350264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7D8A1E7-F175-4F39-8AE5-409ECC8454E1}"/>
              </a:ext>
            </a:extLst>
          </p:cNvPr>
          <p:cNvSpPr/>
          <p:nvPr userDrawn="1"/>
        </p:nvSpPr>
        <p:spPr>
          <a:xfrm>
            <a:off x="6233777" y="5371040"/>
            <a:ext cx="529390" cy="52939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300C5C3-7A5A-4BD4-99A3-F11A2C8E6784}"/>
              </a:ext>
            </a:extLst>
          </p:cNvPr>
          <p:cNvSpPr/>
          <p:nvPr userDrawn="1"/>
        </p:nvSpPr>
        <p:spPr>
          <a:xfrm>
            <a:off x="407988" y="1617572"/>
            <a:ext cx="529390" cy="52939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8DB6619-B12A-45B7-82AA-99C7EB5D3846}"/>
              </a:ext>
            </a:extLst>
          </p:cNvPr>
          <p:cNvSpPr/>
          <p:nvPr userDrawn="1"/>
        </p:nvSpPr>
        <p:spPr>
          <a:xfrm>
            <a:off x="407988" y="2346545"/>
            <a:ext cx="529390" cy="5293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6A87EEA-6518-4749-BC2E-806B3141EF31}"/>
              </a:ext>
            </a:extLst>
          </p:cNvPr>
          <p:cNvSpPr/>
          <p:nvPr userDrawn="1"/>
        </p:nvSpPr>
        <p:spPr>
          <a:xfrm>
            <a:off x="407988" y="3093280"/>
            <a:ext cx="529390" cy="52939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F1FCABF-058F-4572-8A47-E9DB6E4B5A7C}"/>
              </a:ext>
            </a:extLst>
          </p:cNvPr>
          <p:cNvSpPr/>
          <p:nvPr userDrawn="1"/>
        </p:nvSpPr>
        <p:spPr>
          <a:xfrm>
            <a:off x="384970" y="3811504"/>
            <a:ext cx="529390" cy="529390"/>
          </a:xfrm>
          <a:prstGeom prst="ellipse">
            <a:avLst/>
          </a:prstGeom>
          <a:solidFill>
            <a:srgbClr val="09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0072BF1-562D-4048-BF1E-61269C8BF9A3}"/>
              </a:ext>
            </a:extLst>
          </p:cNvPr>
          <p:cNvSpPr/>
          <p:nvPr userDrawn="1"/>
        </p:nvSpPr>
        <p:spPr>
          <a:xfrm>
            <a:off x="407988" y="4563759"/>
            <a:ext cx="529390" cy="529390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54A3F8DC-D2AA-4F1F-BC06-8C81E18D7C4D}"/>
              </a:ext>
            </a:extLst>
          </p:cNvPr>
          <p:cNvSpPr/>
          <p:nvPr userDrawn="1"/>
        </p:nvSpPr>
        <p:spPr>
          <a:xfrm>
            <a:off x="407988" y="5371040"/>
            <a:ext cx="529390" cy="52939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0F7226C8-5137-47CE-80A0-156BACD0615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6036" y="1706563"/>
            <a:ext cx="3600450" cy="366712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BAB809A-B71D-4333-8136-F1510DD1AB5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56036" y="2429770"/>
            <a:ext cx="3600450" cy="350837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4F3D20D-E791-4720-8E97-AA3B837F06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56036" y="3172746"/>
            <a:ext cx="3600450" cy="360362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193FC025-DFFF-43F3-AFB9-8B07D88653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55700" y="3895534"/>
            <a:ext cx="3600450" cy="350837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69AB97A8-2939-4D8F-81B6-AD519BD1DEC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55700" y="4645098"/>
            <a:ext cx="3600450" cy="366712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042E0D5E-D552-4EED-8F8A-7C6385A84BC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55700" y="5438926"/>
            <a:ext cx="3600450" cy="366713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26419E6-519C-4316-A5CB-083B8223F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FA9A9635-4ED1-4279-9209-CFFD9364A24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381511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Flowchart: Process 197">
            <a:extLst>
              <a:ext uri="{FF2B5EF4-FFF2-40B4-BE49-F238E27FC236}">
                <a16:creationId xmlns:a16="http://schemas.microsoft.com/office/drawing/2014/main" id="{13AB0A99-ECE6-4725-981C-AD1795EF1B88}"/>
              </a:ext>
            </a:extLst>
          </p:cNvPr>
          <p:cNvSpPr/>
          <p:nvPr userDrawn="1"/>
        </p:nvSpPr>
        <p:spPr>
          <a:xfrm>
            <a:off x="0" y="4451952"/>
            <a:ext cx="12192000" cy="1311442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B45829-3988-4230-8BA3-D51F29536B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15495" y="1281780"/>
            <a:ext cx="318464" cy="55762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75A304E-02A0-4613-B0A8-AB3EC53BDE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913800" y="1281780"/>
            <a:ext cx="318464" cy="55762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BB1D95C-814A-467B-8D21-66F05104C4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02339" y="1281780"/>
            <a:ext cx="318464" cy="55762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FA640C2-F4A2-43DF-A2B7-79F6399F45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06818" y="1281780"/>
            <a:ext cx="318464" cy="557622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085C62B-C23D-4939-91FD-EB35D8FFBA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05267" y="1281780"/>
            <a:ext cx="318464" cy="557622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16BD930A-6C6A-4630-826A-1E56B548E1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95106" y="1281780"/>
            <a:ext cx="318464" cy="557622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FE2FE2F-BA87-4156-8848-5B5ED29963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5726" y="1281780"/>
            <a:ext cx="318464" cy="5576220"/>
          </a:xfrm>
          <a:prstGeom prst="rect">
            <a:avLst/>
          </a:prstGeom>
        </p:spPr>
      </p:pic>
      <p:sp>
        <p:nvSpPr>
          <p:cNvPr id="8" name="Freeform 7">
            <a:extLst>
              <a:ext uri="{FF2B5EF4-FFF2-40B4-BE49-F238E27FC236}">
                <a16:creationId xmlns:a16="http://schemas.microsoft.com/office/drawing/2014/main" id="{7700D0F6-2A00-46E9-8260-7C6A1BA42F96}"/>
              </a:ext>
            </a:extLst>
          </p:cNvPr>
          <p:cNvSpPr>
            <a:spLocks/>
          </p:cNvSpPr>
          <p:nvPr userDrawn="1"/>
        </p:nvSpPr>
        <p:spPr bwMode="auto">
          <a:xfrm>
            <a:off x="12011216" y="1243298"/>
            <a:ext cx="180783" cy="1399775"/>
          </a:xfrm>
          <a:custGeom>
            <a:avLst/>
            <a:gdLst>
              <a:gd name="T0" fmla="*/ 54 w 81"/>
              <a:gd name="T1" fmla="*/ 575 h 628"/>
              <a:gd name="T2" fmla="*/ 54 w 81"/>
              <a:gd name="T3" fmla="*/ 0 h 628"/>
              <a:gd name="T4" fmla="*/ 0 w 81"/>
              <a:gd name="T5" fmla="*/ 11 h 628"/>
              <a:gd name="T6" fmla="*/ 0 w 81"/>
              <a:gd name="T7" fmla="*/ 628 h 628"/>
              <a:gd name="T8" fmla="*/ 54 w 81"/>
              <a:gd name="T9" fmla="*/ 617 h 628"/>
              <a:gd name="T10" fmla="*/ 54 w 81"/>
              <a:gd name="T11" fmla="*/ 617 h 628"/>
              <a:gd name="T12" fmla="*/ 80 w 81"/>
              <a:gd name="T13" fmla="*/ 587 h 628"/>
              <a:gd name="T14" fmla="*/ 54 w 81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1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61AE51EB-126B-43D0-87C5-0CF4EC956AFC}"/>
              </a:ext>
            </a:extLst>
          </p:cNvPr>
          <p:cNvSpPr>
            <a:spLocks/>
          </p:cNvSpPr>
          <p:nvPr userDrawn="1"/>
        </p:nvSpPr>
        <p:spPr bwMode="auto">
          <a:xfrm>
            <a:off x="10007111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20DB9334-B7F9-4570-887A-FDC0243A29DF}"/>
              </a:ext>
            </a:extLst>
          </p:cNvPr>
          <p:cNvSpPr>
            <a:spLocks/>
          </p:cNvSpPr>
          <p:nvPr userDrawn="1"/>
        </p:nvSpPr>
        <p:spPr bwMode="auto">
          <a:xfrm>
            <a:off x="10007111" y="1262348"/>
            <a:ext cx="182504" cy="1399775"/>
          </a:xfrm>
          <a:custGeom>
            <a:avLst/>
            <a:gdLst>
              <a:gd name="T0" fmla="*/ 54 w 82"/>
              <a:gd name="T1" fmla="*/ 575 h 628"/>
              <a:gd name="T2" fmla="*/ 54 w 82"/>
              <a:gd name="T3" fmla="*/ 0 h 628"/>
              <a:gd name="T4" fmla="*/ 0 w 82"/>
              <a:gd name="T5" fmla="*/ 11 h 628"/>
              <a:gd name="T6" fmla="*/ 0 w 82"/>
              <a:gd name="T7" fmla="*/ 628 h 628"/>
              <a:gd name="T8" fmla="*/ 54 w 82"/>
              <a:gd name="T9" fmla="*/ 617 h 628"/>
              <a:gd name="T10" fmla="*/ 54 w 82"/>
              <a:gd name="T11" fmla="*/ 617 h 628"/>
              <a:gd name="T12" fmla="*/ 80 w 82"/>
              <a:gd name="T13" fmla="*/ 587 h 628"/>
              <a:gd name="T14" fmla="*/ 54 w 82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2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983B06B3-8CCA-4B68-80CF-FF75CB9CA1C3}"/>
              </a:ext>
            </a:extLst>
          </p:cNvPr>
          <p:cNvSpPr>
            <a:spLocks/>
          </p:cNvSpPr>
          <p:nvPr userDrawn="1"/>
        </p:nvSpPr>
        <p:spPr bwMode="auto">
          <a:xfrm>
            <a:off x="8003006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FE3FE308-6A88-44D7-883F-294E1F63081A}"/>
              </a:ext>
            </a:extLst>
          </p:cNvPr>
          <p:cNvSpPr>
            <a:spLocks/>
          </p:cNvSpPr>
          <p:nvPr userDrawn="1"/>
        </p:nvSpPr>
        <p:spPr bwMode="auto">
          <a:xfrm>
            <a:off x="8003006" y="1262348"/>
            <a:ext cx="179061" cy="1399775"/>
          </a:xfrm>
          <a:custGeom>
            <a:avLst/>
            <a:gdLst>
              <a:gd name="T0" fmla="*/ 54 w 81"/>
              <a:gd name="T1" fmla="*/ 575 h 628"/>
              <a:gd name="T2" fmla="*/ 54 w 81"/>
              <a:gd name="T3" fmla="*/ 0 h 628"/>
              <a:gd name="T4" fmla="*/ 0 w 81"/>
              <a:gd name="T5" fmla="*/ 11 h 628"/>
              <a:gd name="T6" fmla="*/ 0 w 81"/>
              <a:gd name="T7" fmla="*/ 628 h 628"/>
              <a:gd name="T8" fmla="*/ 54 w 81"/>
              <a:gd name="T9" fmla="*/ 617 h 628"/>
              <a:gd name="T10" fmla="*/ 54 w 81"/>
              <a:gd name="T11" fmla="*/ 617 h 628"/>
              <a:gd name="T12" fmla="*/ 80 w 81"/>
              <a:gd name="T13" fmla="*/ 587 h 628"/>
              <a:gd name="T14" fmla="*/ 54 w 81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1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735E9ACF-0FEB-40AD-ADA8-9B7D24BDA41A}"/>
              </a:ext>
            </a:extLst>
          </p:cNvPr>
          <p:cNvSpPr>
            <a:spLocks/>
          </p:cNvSpPr>
          <p:nvPr userDrawn="1"/>
        </p:nvSpPr>
        <p:spPr bwMode="auto">
          <a:xfrm>
            <a:off x="5997180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F2CE6E4-E018-4758-8B92-2AB8A479912D}"/>
              </a:ext>
            </a:extLst>
          </p:cNvPr>
          <p:cNvGrpSpPr/>
          <p:nvPr userDrawn="1"/>
        </p:nvGrpSpPr>
        <p:grpSpPr>
          <a:xfrm>
            <a:off x="12011216" y="5108714"/>
            <a:ext cx="180783" cy="668842"/>
            <a:chOff x="12011216" y="6203320"/>
            <a:chExt cx="180783" cy="668842"/>
          </a:xfrm>
        </p:grpSpPr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3CFA2DF5-964D-4148-BD7C-710260CB5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1216" y="6203320"/>
              <a:ext cx="180783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67CE9B9B-1218-4D2B-96E9-A03E5FDAB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1216" y="6577744"/>
              <a:ext cx="180783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B11BFF5-92AF-4A33-83C2-9449107CF08F}"/>
              </a:ext>
            </a:extLst>
          </p:cNvPr>
          <p:cNvGrpSpPr/>
          <p:nvPr userDrawn="1"/>
        </p:nvGrpSpPr>
        <p:grpSpPr>
          <a:xfrm>
            <a:off x="10007111" y="5000245"/>
            <a:ext cx="2183166" cy="1089860"/>
            <a:chOff x="10007111" y="6094851"/>
            <a:chExt cx="2183166" cy="1089860"/>
          </a:xfrm>
        </p:grpSpPr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48E98C02-BA76-4567-B12A-666908320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111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C03DE34B-A9F6-4AF0-9ED6-10D6250F9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111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FA346AE-4EC1-4A92-A61E-3640E86489EE}"/>
              </a:ext>
            </a:extLst>
          </p:cNvPr>
          <p:cNvGrpSpPr/>
          <p:nvPr userDrawn="1"/>
        </p:nvGrpSpPr>
        <p:grpSpPr>
          <a:xfrm>
            <a:off x="10007111" y="5108714"/>
            <a:ext cx="182504" cy="678367"/>
            <a:chOff x="10007111" y="6203320"/>
            <a:chExt cx="182504" cy="678367"/>
          </a:xfrm>
        </p:grpSpPr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CF573CE3-14B2-4F23-91AD-B5F413B73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111" y="6203320"/>
              <a:ext cx="182504" cy="294418"/>
            </a:xfrm>
            <a:custGeom>
              <a:avLst/>
              <a:gdLst>
                <a:gd name="T0" fmla="*/ 54 w 82"/>
                <a:gd name="T1" fmla="*/ 79 h 132"/>
                <a:gd name="T2" fmla="*/ 54 w 82"/>
                <a:gd name="T3" fmla="*/ 0 h 132"/>
                <a:gd name="T4" fmla="*/ 0 w 82"/>
                <a:gd name="T5" fmla="*/ 11 h 132"/>
                <a:gd name="T6" fmla="*/ 0 w 82"/>
                <a:gd name="T7" fmla="*/ 132 h 132"/>
                <a:gd name="T8" fmla="*/ 54 w 82"/>
                <a:gd name="T9" fmla="*/ 121 h 132"/>
                <a:gd name="T10" fmla="*/ 54 w 82"/>
                <a:gd name="T11" fmla="*/ 121 h 132"/>
                <a:gd name="T12" fmla="*/ 80 w 82"/>
                <a:gd name="T13" fmla="*/ 91 h 132"/>
                <a:gd name="T14" fmla="*/ 54 w 82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2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8A28BDC9-7357-4BA7-83AF-5879ED61D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111" y="6587269"/>
              <a:ext cx="182504" cy="294418"/>
            </a:xfrm>
            <a:custGeom>
              <a:avLst/>
              <a:gdLst>
                <a:gd name="T0" fmla="*/ 54 w 82"/>
                <a:gd name="T1" fmla="*/ 79 h 132"/>
                <a:gd name="T2" fmla="*/ 54 w 82"/>
                <a:gd name="T3" fmla="*/ 0 h 132"/>
                <a:gd name="T4" fmla="*/ 0 w 82"/>
                <a:gd name="T5" fmla="*/ 11 h 132"/>
                <a:gd name="T6" fmla="*/ 0 w 82"/>
                <a:gd name="T7" fmla="*/ 132 h 132"/>
                <a:gd name="T8" fmla="*/ 54 w 82"/>
                <a:gd name="T9" fmla="*/ 121 h 132"/>
                <a:gd name="T10" fmla="*/ 54 w 82"/>
                <a:gd name="T11" fmla="*/ 121 h 132"/>
                <a:gd name="T12" fmla="*/ 80 w 82"/>
                <a:gd name="T13" fmla="*/ 91 h 132"/>
                <a:gd name="T14" fmla="*/ 54 w 82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2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02B9E27-FD4A-4EF3-9307-2ADE4D7503B0}"/>
              </a:ext>
            </a:extLst>
          </p:cNvPr>
          <p:cNvGrpSpPr/>
          <p:nvPr userDrawn="1"/>
        </p:nvGrpSpPr>
        <p:grpSpPr>
          <a:xfrm>
            <a:off x="8003006" y="5000245"/>
            <a:ext cx="2183166" cy="1089860"/>
            <a:chOff x="8003006" y="6094851"/>
            <a:chExt cx="2183166" cy="1089860"/>
          </a:xfrm>
        </p:grpSpPr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84A87437-5334-4B7F-98DB-DB0D8FB83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3006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4B0C2E85-67BA-4AE8-91E0-1464445CB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3006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172C8D2-AE07-47C0-92C1-9755CE651400}"/>
              </a:ext>
            </a:extLst>
          </p:cNvPr>
          <p:cNvGrpSpPr/>
          <p:nvPr userDrawn="1"/>
        </p:nvGrpSpPr>
        <p:grpSpPr>
          <a:xfrm>
            <a:off x="8003006" y="5108714"/>
            <a:ext cx="179061" cy="678367"/>
            <a:chOff x="8003006" y="6203320"/>
            <a:chExt cx="179061" cy="678367"/>
          </a:xfrm>
        </p:grpSpPr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6437B5C7-593C-4257-AC78-B7C31B833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3006" y="6203320"/>
              <a:ext cx="179061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2CBA57AE-CEB8-486A-80A4-5AA959E2E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3006" y="6587269"/>
              <a:ext cx="179061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78D7076-9C3E-4EBB-92CC-0390A80B6AD4}"/>
              </a:ext>
            </a:extLst>
          </p:cNvPr>
          <p:cNvGrpSpPr/>
          <p:nvPr userDrawn="1"/>
        </p:nvGrpSpPr>
        <p:grpSpPr>
          <a:xfrm>
            <a:off x="5997180" y="5000245"/>
            <a:ext cx="2183166" cy="1089860"/>
            <a:chOff x="5997180" y="6094851"/>
            <a:chExt cx="2183166" cy="1089860"/>
          </a:xfrm>
        </p:grpSpPr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33233997-4B2A-4C55-AF11-B7A6E1B3F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180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D560B5EA-1057-4819-9E05-391528B6B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180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5" name="Freeform 7">
            <a:extLst>
              <a:ext uri="{FF2B5EF4-FFF2-40B4-BE49-F238E27FC236}">
                <a16:creationId xmlns:a16="http://schemas.microsoft.com/office/drawing/2014/main" id="{4CF94926-FF33-42F5-AAD4-B964173D88F9}"/>
              </a:ext>
            </a:extLst>
          </p:cNvPr>
          <p:cNvSpPr>
            <a:spLocks/>
          </p:cNvSpPr>
          <p:nvPr userDrawn="1"/>
        </p:nvSpPr>
        <p:spPr bwMode="auto">
          <a:xfrm>
            <a:off x="5997180" y="1262348"/>
            <a:ext cx="180783" cy="1399775"/>
          </a:xfrm>
          <a:custGeom>
            <a:avLst/>
            <a:gdLst>
              <a:gd name="T0" fmla="*/ 54 w 81"/>
              <a:gd name="T1" fmla="*/ 575 h 628"/>
              <a:gd name="T2" fmla="*/ 54 w 81"/>
              <a:gd name="T3" fmla="*/ 0 h 628"/>
              <a:gd name="T4" fmla="*/ 0 w 81"/>
              <a:gd name="T5" fmla="*/ 11 h 628"/>
              <a:gd name="T6" fmla="*/ 0 w 81"/>
              <a:gd name="T7" fmla="*/ 628 h 628"/>
              <a:gd name="T8" fmla="*/ 54 w 81"/>
              <a:gd name="T9" fmla="*/ 617 h 628"/>
              <a:gd name="T10" fmla="*/ 54 w 81"/>
              <a:gd name="T11" fmla="*/ 617 h 628"/>
              <a:gd name="T12" fmla="*/ 80 w 81"/>
              <a:gd name="T13" fmla="*/ 587 h 628"/>
              <a:gd name="T14" fmla="*/ 54 w 81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1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6" name="Freeform 8">
            <a:extLst>
              <a:ext uri="{FF2B5EF4-FFF2-40B4-BE49-F238E27FC236}">
                <a16:creationId xmlns:a16="http://schemas.microsoft.com/office/drawing/2014/main" id="{F8B3D9E0-5072-47BA-9451-40DDF8408496}"/>
              </a:ext>
            </a:extLst>
          </p:cNvPr>
          <p:cNvSpPr>
            <a:spLocks/>
          </p:cNvSpPr>
          <p:nvPr userDrawn="1"/>
        </p:nvSpPr>
        <p:spPr bwMode="auto">
          <a:xfrm>
            <a:off x="3993076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7" name="Freeform 9">
            <a:extLst>
              <a:ext uri="{FF2B5EF4-FFF2-40B4-BE49-F238E27FC236}">
                <a16:creationId xmlns:a16="http://schemas.microsoft.com/office/drawing/2014/main" id="{9AEA11F4-CAF0-4281-938C-56E627F5A4F2}"/>
              </a:ext>
            </a:extLst>
          </p:cNvPr>
          <p:cNvSpPr>
            <a:spLocks/>
          </p:cNvSpPr>
          <p:nvPr userDrawn="1"/>
        </p:nvSpPr>
        <p:spPr bwMode="auto">
          <a:xfrm>
            <a:off x="3993076" y="1252823"/>
            <a:ext cx="182504" cy="1399775"/>
          </a:xfrm>
          <a:custGeom>
            <a:avLst/>
            <a:gdLst>
              <a:gd name="T0" fmla="*/ 54 w 82"/>
              <a:gd name="T1" fmla="*/ 575 h 628"/>
              <a:gd name="T2" fmla="*/ 54 w 82"/>
              <a:gd name="T3" fmla="*/ 0 h 628"/>
              <a:gd name="T4" fmla="*/ 0 w 82"/>
              <a:gd name="T5" fmla="*/ 11 h 628"/>
              <a:gd name="T6" fmla="*/ 0 w 82"/>
              <a:gd name="T7" fmla="*/ 628 h 628"/>
              <a:gd name="T8" fmla="*/ 54 w 82"/>
              <a:gd name="T9" fmla="*/ 617 h 628"/>
              <a:gd name="T10" fmla="*/ 54 w 82"/>
              <a:gd name="T11" fmla="*/ 617 h 628"/>
              <a:gd name="T12" fmla="*/ 80 w 82"/>
              <a:gd name="T13" fmla="*/ 587 h 628"/>
              <a:gd name="T14" fmla="*/ 54 w 82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2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8" name="Freeform 10">
            <a:extLst>
              <a:ext uri="{FF2B5EF4-FFF2-40B4-BE49-F238E27FC236}">
                <a16:creationId xmlns:a16="http://schemas.microsoft.com/office/drawing/2014/main" id="{310E6B59-0F41-461B-B75F-45BA86E05C22}"/>
              </a:ext>
            </a:extLst>
          </p:cNvPr>
          <p:cNvSpPr>
            <a:spLocks/>
          </p:cNvSpPr>
          <p:nvPr userDrawn="1"/>
        </p:nvSpPr>
        <p:spPr bwMode="auto">
          <a:xfrm>
            <a:off x="1988971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9" name="Freeform 11">
            <a:extLst>
              <a:ext uri="{FF2B5EF4-FFF2-40B4-BE49-F238E27FC236}">
                <a16:creationId xmlns:a16="http://schemas.microsoft.com/office/drawing/2014/main" id="{7D1DA31F-CB90-4987-914D-9763D9DF0CAB}"/>
              </a:ext>
            </a:extLst>
          </p:cNvPr>
          <p:cNvSpPr>
            <a:spLocks/>
          </p:cNvSpPr>
          <p:nvPr userDrawn="1"/>
        </p:nvSpPr>
        <p:spPr bwMode="auto">
          <a:xfrm>
            <a:off x="1988971" y="1262348"/>
            <a:ext cx="179061" cy="1399775"/>
          </a:xfrm>
          <a:custGeom>
            <a:avLst/>
            <a:gdLst>
              <a:gd name="T0" fmla="*/ 54 w 81"/>
              <a:gd name="T1" fmla="*/ 575 h 628"/>
              <a:gd name="T2" fmla="*/ 54 w 81"/>
              <a:gd name="T3" fmla="*/ 0 h 628"/>
              <a:gd name="T4" fmla="*/ 0 w 81"/>
              <a:gd name="T5" fmla="*/ 11 h 628"/>
              <a:gd name="T6" fmla="*/ 0 w 81"/>
              <a:gd name="T7" fmla="*/ 628 h 628"/>
              <a:gd name="T8" fmla="*/ 54 w 81"/>
              <a:gd name="T9" fmla="*/ 617 h 628"/>
              <a:gd name="T10" fmla="*/ 54 w 81"/>
              <a:gd name="T11" fmla="*/ 617 h 628"/>
              <a:gd name="T12" fmla="*/ 80 w 81"/>
              <a:gd name="T13" fmla="*/ 587 h 628"/>
              <a:gd name="T14" fmla="*/ 54 w 81"/>
              <a:gd name="T15" fmla="*/ 575 h 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628">
                <a:moveTo>
                  <a:pt x="54" y="575"/>
                </a:moveTo>
                <a:cubicBezTo>
                  <a:pt x="54" y="0"/>
                  <a:pt x="54" y="0"/>
                  <a:pt x="54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628"/>
                  <a:pt x="0" y="628"/>
                  <a:pt x="0" y="628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54" y="617"/>
                  <a:pt x="54" y="617"/>
                </a:cubicBezTo>
                <a:cubicBezTo>
                  <a:pt x="54" y="617"/>
                  <a:pt x="81" y="613"/>
                  <a:pt x="80" y="587"/>
                </a:cubicBezTo>
                <a:cubicBezTo>
                  <a:pt x="79" y="568"/>
                  <a:pt x="54" y="575"/>
                  <a:pt x="54" y="575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0" name="Freeform 12">
            <a:extLst>
              <a:ext uri="{FF2B5EF4-FFF2-40B4-BE49-F238E27FC236}">
                <a16:creationId xmlns:a16="http://schemas.microsoft.com/office/drawing/2014/main" id="{9C311B00-0C78-419A-852F-D3B603B9BF60}"/>
              </a:ext>
            </a:extLst>
          </p:cNvPr>
          <p:cNvSpPr>
            <a:spLocks/>
          </p:cNvSpPr>
          <p:nvPr userDrawn="1"/>
        </p:nvSpPr>
        <p:spPr bwMode="auto">
          <a:xfrm>
            <a:off x="-16855" y="1153879"/>
            <a:ext cx="2183166" cy="1811270"/>
          </a:xfrm>
          <a:custGeom>
            <a:avLst/>
            <a:gdLst>
              <a:gd name="T0" fmla="*/ 954 w 980"/>
              <a:gd name="T1" fmla="*/ 7 h 813"/>
              <a:gd name="T2" fmla="*/ 954 w 980"/>
              <a:gd name="T3" fmla="*/ 7 h 813"/>
              <a:gd name="T4" fmla="*/ 0 w 980"/>
              <a:gd name="T5" fmla="*/ 196 h 813"/>
              <a:gd name="T6" fmla="*/ 0 w 980"/>
              <a:gd name="T7" fmla="*/ 813 h 813"/>
              <a:gd name="T8" fmla="*/ 954 w 980"/>
              <a:gd name="T9" fmla="*/ 624 h 813"/>
              <a:gd name="T10" fmla="*/ 980 w 980"/>
              <a:gd name="T11" fmla="*/ 636 h 813"/>
              <a:gd name="T12" fmla="*/ 980 w 980"/>
              <a:gd name="T13" fmla="*/ 18 h 813"/>
              <a:gd name="T14" fmla="*/ 954 w 980"/>
              <a:gd name="T15" fmla="*/ 7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80" h="813">
                <a:moveTo>
                  <a:pt x="954" y="7"/>
                </a:moveTo>
                <a:cubicBezTo>
                  <a:pt x="954" y="7"/>
                  <a:pt x="954" y="7"/>
                  <a:pt x="954" y="7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813"/>
                  <a:pt x="0" y="813"/>
                  <a:pt x="0" y="813"/>
                </a:cubicBezTo>
                <a:cubicBezTo>
                  <a:pt x="954" y="624"/>
                  <a:pt x="954" y="624"/>
                  <a:pt x="954" y="624"/>
                </a:cubicBezTo>
                <a:cubicBezTo>
                  <a:pt x="954" y="624"/>
                  <a:pt x="979" y="617"/>
                  <a:pt x="980" y="636"/>
                </a:cubicBezTo>
                <a:cubicBezTo>
                  <a:pt x="980" y="18"/>
                  <a:pt x="980" y="18"/>
                  <a:pt x="980" y="18"/>
                </a:cubicBezTo>
                <a:cubicBezTo>
                  <a:pt x="979" y="0"/>
                  <a:pt x="954" y="7"/>
                  <a:pt x="954" y="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45758DB-13FD-4D6F-B687-C9EF13584FA4}"/>
              </a:ext>
            </a:extLst>
          </p:cNvPr>
          <p:cNvGrpSpPr/>
          <p:nvPr userDrawn="1"/>
        </p:nvGrpSpPr>
        <p:grpSpPr>
          <a:xfrm>
            <a:off x="5997180" y="5108714"/>
            <a:ext cx="180783" cy="678367"/>
            <a:chOff x="5997180" y="6203320"/>
            <a:chExt cx="180783" cy="678367"/>
          </a:xfrm>
        </p:grpSpPr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2E39017E-F3B7-417A-8340-DEC7C4149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180" y="6203320"/>
              <a:ext cx="180783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5EE4CFF6-3C14-4959-A13C-FA6EFE520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180" y="6587269"/>
              <a:ext cx="180783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5B65723-DF28-4E38-8D15-01B6BB047D04}"/>
              </a:ext>
            </a:extLst>
          </p:cNvPr>
          <p:cNvGrpSpPr/>
          <p:nvPr userDrawn="1"/>
        </p:nvGrpSpPr>
        <p:grpSpPr>
          <a:xfrm>
            <a:off x="3993076" y="5000245"/>
            <a:ext cx="2183166" cy="1089860"/>
            <a:chOff x="3993076" y="6094851"/>
            <a:chExt cx="2183166" cy="1089860"/>
          </a:xfrm>
        </p:grpSpPr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3E712E8B-8B83-42AA-8397-0B4EE405C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076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DD49312B-07B0-4D20-A398-AC8DE2897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076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5CEFBB8-5CC3-4937-A935-41AC2077A5ED}"/>
              </a:ext>
            </a:extLst>
          </p:cNvPr>
          <p:cNvGrpSpPr/>
          <p:nvPr userDrawn="1"/>
        </p:nvGrpSpPr>
        <p:grpSpPr>
          <a:xfrm>
            <a:off x="3993076" y="5108714"/>
            <a:ext cx="182504" cy="678367"/>
            <a:chOff x="3993076" y="6203320"/>
            <a:chExt cx="182504" cy="678367"/>
          </a:xfrm>
        </p:grpSpPr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211F74F2-1F8D-4339-8BF8-CA8614B372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076" y="6203320"/>
              <a:ext cx="182504" cy="294418"/>
            </a:xfrm>
            <a:custGeom>
              <a:avLst/>
              <a:gdLst>
                <a:gd name="T0" fmla="*/ 54 w 82"/>
                <a:gd name="T1" fmla="*/ 79 h 132"/>
                <a:gd name="T2" fmla="*/ 54 w 82"/>
                <a:gd name="T3" fmla="*/ 0 h 132"/>
                <a:gd name="T4" fmla="*/ 0 w 82"/>
                <a:gd name="T5" fmla="*/ 11 h 132"/>
                <a:gd name="T6" fmla="*/ 0 w 82"/>
                <a:gd name="T7" fmla="*/ 132 h 132"/>
                <a:gd name="T8" fmla="*/ 54 w 82"/>
                <a:gd name="T9" fmla="*/ 121 h 132"/>
                <a:gd name="T10" fmla="*/ 54 w 82"/>
                <a:gd name="T11" fmla="*/ 121 h 132"/>
                <a:gd name="T12" fmla="*/ 80 w 82"/>
                <a:gd name="T13" fmla="*/ 91 h 132"/>
                <a:gd name="T14" fmla="*/ 54 w 82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2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CAFB290A-D7CF-49D5-877D-09C90D616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076" y="6587269"/>
              <a:ext cx="182504" cy="294418"/>
            </a:xfrm>
            <a:custGeom>
              <a:avLst/>
              <a:gdLst>
                <a:gd name="T0" fmla="*/ 54 w 82"/>
                <a:gd name="T1" fmla="*/ 79 h 132"/>
                <a:gd name="T2" fmla="*/ 54 w 82"/>
                <a:gd name="T3" fmla="*/ 0 h 132"/>
                <a:gd name="T4" fmla="*/ 0 w 82"/>
                <a:gd name="T5" fmla="*/ 11 h 132"/>
                <a:gd name="T6" fmla="*/ 0 w 82"/>
                <a:gd name="T7" fmla="*/ 132 h 132"/>
                <a:gd name="T8" fmla="*/ 54 w 82"/>
                <a:gd name="T9" fmla="*/ 121 h 132"/>
                <a:gd name="T10" fmla="*/ 54 w 82"/>
                <a:gd name="T11" fmla="*/ 121 h 132"/>
                <a:gd name="T12" fmla="*/ 80 w 82"/>
                <a:gd name="T13" fmla="*/ 91 h 132"/>
                <a:gd name="T14" fmla="*/ 54 w 82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2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3BC1834-392E-45DC-A51A-3B179EA973D6}"/>
              </a:ext>
            </a:extLst>
          </p:cNvPr>
          <p:cNvGrpSpPr/>
          <p:nvPr userDrawn="1"/>
        </p:nvGrpSpPr>
        <p:grpSpPr>
          <a:xfrm>
            <a:off x="1988971" y="5000245"/>
            <a:ext cx="2183166" cy="1089860"/>
            <a:chOff x="1988971" y="6094851"/>
            <a:chExt cx="2183166" cy="1089860"/>
          </a:xfrm>
        </p:grpSpPr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id="{C1AB3239-396B-4A61-8A83-D8AB58A03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971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A85A924B-1C4C-4A4A-9032-4D818265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971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D795F12-9932-49E1-AED9-EED83B866CEA}"/>
              </a:ext>
            </a:extLst>
          </p:cNvPr>
          <p:cNvGrpSpPr/>
          <p:nvPr userDrawn="1"/>
        </p:nvGrpSpPr>
        <p:grpSpPr>
          <a:xfrm>
            <a:off x="1988971" y="5108714"/>
            <a:ext cx="179061" cy="678367"/>
            <a:chOff x="1988971" y="6203320"/>
            <a:chExt cx="179061" cy="678367"/>
          </a:xfrm>
        </p:grpSpPr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C64363EA-56D5-4FFD-8707-6D8191717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971" y="6203320"/>
              <a:ext cx="179061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Freeform 23">
              <a:extLst>
                <a:ext uri="{FF2B5EF4-FFF2-40B4-BE49-F238E27FC236}">
                  <a16:creationId xmlns:a16="http://schemas.microsoft.com/office/drawing/2014/main" id="{8B8F23BC-9130-4D07-9A5C-DF8DCB61B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971" y="6587269"/>
              <a:ext cx="179061" cy="294418"/>
            </a:xfrm>
            <a:custGeom>
              <a:avLst/>
              <a:gdLst>
                <a:gd name="T0" fmla="*/ 54 w 81"/>
                <a:gd name="T1" fmla="*/ 79 h 132"/>
                <a:gd name="T2" fmla="*/ 54 w 81"/>
                <a:gd name="T3" fmla="*/ 0 h 132"/>
                <a:gd name="T4" fmla="*/ 0 w 81"/>
                <a:gd name="T5" fmla="*/ 11 h 132"/>
                <a:gd name="T6" fmla="*/ 0 w 81"/>
                <a:gd name="T7" fmla="*/ 132 h 132"/>
                <a:gd name="T8" fmla="*/ 54 w 81"/>
                <a:gd name="T9" fmla="*/ 121 h 132"/>
                <a:gd name="T10" fmla="*/ 54 w 81"/>
                <a:gd name="T11" fmla="*/ 121 h 132"/>
                <a:gd name="T12" fmla="*/ 80 w 81"/>
                <a:gd name="T13" fmla="*/ 91 h 132"/>
                <a:gd name="T14" fmla="*/ 54 w 81"/>
                <a:gd name="T15" fmla="*/ 7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32">
                  <a:moveTo>
                    <a:pt x="54" y="7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81" y="117"/>
                    <a:pt x="80" y="91"/>
                  </a:cubicBezTo>
                  <a:cubicBezTo>
                    <a:pt x="79" y="72"/>
                    <a:pt x="54" y="79"/>
                    <a:pt x="54" y="7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CF2B07C-08F4-46E6-9A85-3ECC703784FD}"/>
              </a:ext>
            </a:extLst>
          </p:cNvPr>
          <p:cNvGrpSpPr/>
          <p:nvPr userDrawn="1"/>
        </p:nvGrpSpPr>
        <p:grpSpPr>
          <a:xfrm>
            <a:off x="-16855" y="5000245"/>
            <a:ext cx="2183166" cy="1089860"/>
            <a:chOff x="-16855" y="6094851"/>
            <a:chExt cx="2183166" cy="1089860"/>
          </a:xfrm>
        </p:grpSpPr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id="{BBC7C8A9-C566-4BAF-A3F1-CA13DE6E9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855" y="6094851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24">
              <a:extLst>
                <a:ext uri="{FF2B5EF4-FFF2-40B4-BE49-F238E27FC236}">
                  <a16:creationId xmlns:a16="http://schemas.microsoft.com/office/drawing/2014/main" id="{CD91E709-5EEC-42D5-8DD8-80D7A4D6E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855" y="6478798"/>
              <a:ext cx="2183166" cy="705913"/>
            </a:xfrm>
            <a:custGeom>
              <a:avLst/>
              <a:gdLst>
                <a:gd name="T0" fmla="*/ 954 w 980"/>
                <a:gd name="T1" fmla="*/ 7 h 317"/>
                <a:gd name="T2" fmla="*/ 954 w 980"/>
                <a:gd name="T3" fmla="*/ 7 h 317"/>
                <a:gd name="T4" fmla="*/ 0 w 980"/>
                <a:gd name="T5" fmla="*/ 196 h 317"/>
                <a:gd name="T6" fmla="*/ 0 w 980"/>
                <a:gd name="T7" fmla="*/ 317 h 317"/>
                <a:gd name="T8" fmla="*/ 954 w 980"/>
                <a:gd name="T9" fmla="*/ 128 h 317"/>
                <a:gd name="T10" fmla="*/ 980 w 980"/>
                <a:gd name="T11" fmla="*/ 140 h 317"/>
                <a:gd name="T12" fmla="*/ 980 w 980"/>
                <a:gd name="T13" fmla="*/ 18 h 317"/>
                <a:gd name="T14" fmla="*/ 954 w 980"/>
                <a:gd name="T15" fmla="*/ 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0" h="317">
                  <a:moveTo>
                    <a:pt x="954" y="7"/>
                  </a:moveTo>
                  <a:cubicBezTo>
                    <a:pt x="954" y="7"/>
                    <a:pt x="954" y="7"/>
                    <a:pt x="954" y="7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954" y="128"/>
                    <a:pt x="954" y="128"/>
                    <a:pt x="954" y="128"/>
                  </a:cubicBezTo>
                  <a:cubicBezTo>
                    <a:pt x="954" y="128"/>
                    <a:pt x="979" y="121"/>
                    <a:pt x="980" y="140"/>
                  </a:cubicBezTo>
                  <a:cubicBezTo>
                    <a:pt x="980" y="18"/>
                    <a:pt x="980" y="18"/>
                    <a:pt x="980" y="18"/>
                  </a:cubicBezTo>
                  <a:cubicBezTo>
                    <a:pt x="979" y="0"/>
                    <a:pt x="954" y="7"/>
                    <a:pt x="954" y="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7A17BB6-649B-4220-8C28-01031E49EDEB}"/>
              </a:ext>
            </a:extLst>
          </p:cNvPr>
          <p:cNvGrpSpPr/>
          <p:nvPr/>
        </p:nvGrpSpPr>
        <p:grpSpPr>
          <a:xfrm>
            <a:off x="186198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93" name="Freeform 45">
              <a:extLst>
                <a:ext uri="{FF2B5EF4-FFF2-40B4-BE49-F238E27FC236}">
                  <a16:creationId xmlns:a16="http://schemas.microsoft.com/office/drawing/2014/main" id="{81A35021-9E82-4FFF-A312-078E6D956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4" name="Freeform 46">
              <a:extLst>
                <a:ext uri="{FF2B5EF4-FFF2-40B4-BE49-F238E27FC236}">
                  <a16:creationId xmlns:a16="http://schemas.microsoft.com/office/drawing/2014/main" id="{1160289B-B461-43D2-9683-C500A6E11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5" name="Freeform 47">
              <a:extLst>
                <a:ext uri="{FF2B5EF4-FFF2-40B4-BE49-F238E27FC236}">
                  <a16:creationId xmlns:a16="http://schemas.microsoft.com/office/drawing/2014/main" id="{BEE65041-4698-4261-A456-FA6B2E570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48">
              <a:extLst>
                <a:ext uri="{FF2B5EF4-FFF2-40B4-BE49-F238E27FC236}">
                  <a16:creationId xmlns:a16="http://schemas.microsoft.com/office/drawing/2014/main" id="{E857FADE-FAC5-47F0-B967-B3B516436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49">
              <a:extLst>
                <a:ext uri="{FF2B5EF4-FFF2-40B4-BE49-F238E27FC236}">
                  <a16:creationId xmlns:a16="http://schemas.microsoft.com/office/drawing/2014/main" id="{A6FDAFA5-7CDA-4B54-B21A-3A3CEBBC9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50">
              <a:extLst>
                <a:ext uri="{FF2B5EF4-FFF2-40B4-BE49-F238E27FC236}">
                  <a16:creationId xmlns:a16="http://schemas.microsoft.com/office/drawing/2014/main" id="{49D02862-75F0-46FB-9433-617694A54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51">
              <a:extLst>
                <a:ext uri="{FF2B5EF4-FFF2-40B4-BE49-F238E27FC236}">
                  <a16:creationId xmlns:a16="http://schemas.microsoft.com/office/drawing/2014/main" id="{44978405-7487-4E1B-974A-589D564E0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0" name="Freeform 52">
              <a:extLst>
                <a:ext uri="{FF2B5EF4-FFF2-40B4-BE49-F238E27FC236}">
                  <a16:creationId xmlns:a16="http://schemas.microsoft.com/office/drawing/2014/main" id="{1846D427-348F-420B-AA0B-B25285C0E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1" name="Freeform 53">
              <a:extLst>
                <a:ext uri="{FF2B5EF4-FFF2-40B4-BE49-F238E27FC236}">
                  <a16:creationId xmlns:a16="http://schemas.microsoft.com/office/drawing/2014/main" id="{C1AD02FA-9DD4-4A82-A90B-DD0FAF66E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Freeform 54">
              <a:extLst>
                <a:ext uri="{FF2B5EF4-FFF2-40B4-BE49-F238E27FC236}">
                  <a16:creationId xmlns:a16="http://schemas.microsoft.com/office/drawing/2014/main" id="{DF6954E1-9EE2-4CB2-A405-4773EC9D7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Freeform 55">
              <a:extLst>
                <a:ext uri="{FF2B5EF4-FFF2-40B4-BE49-F238E27FC236}">
                  <a16:creationId xmlns:a16="http://schemas.microsoft.com/office/drawing/2014/main" id="{E53CC7CC-F5DC-48AC-9427-23DE7B853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Freeform 56">
              <a:extLst>
                <a:ext uri="{FF2B5EF4-FFF2-40B4-BE49-F238E27FC236}">
                  <a16:creationId xmlns:a16="http://schemas.microsoft.com/office/drawing/2014/main" id="{66B9B90E-3F61-445F-8056-6A40DCB1A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57">
              <a:extLst>
                <a:ext uri="{FF2B5EF4-FFF2-40B4-BE49-F238E27FC236}">
                  <a16:creationId xmlns:a16="http://schemas.microsoft.com/office/drawing/2014/main" id="{E6B0D387-182A-4FDA-8A2A-E665E94EE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58">
              <a:extLst>
                <a:ext uri="{FF2B5EF4-FFF2-40B4-BE49-F238E27FC236}">
                  <a16:creationId xmlns:a16="http://schemas.microsoft.com/office/drawing/2014/main" id="{0257A9D6-AE8F-4505-A91D-306DCAE8A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9D4263B8-AAD0-47EB-998F-10055976C2C3}"/>
              </a:ext>
            </a:extLst>
          </p:cNvPr>
          <p:cNvGrpSpPr/>
          <p:nvPr/>
        </p:nvGrpSpPr>
        <p:grpSpPr>
          <a:xfrm>
            <a:off x="2210575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111" name="Freeform 45">
              <a:extLst>
                <a:ext uri="{FF2B5EF4-FFF2-40B4-BE49-F238E27FC236}">
                  <a16:creationId xmlns:a16="http://schemas.microsoft.com/office/drawing/2014/main" id="{D21A9976-3F5A-423C-ADBC-1C2BEC6BA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2" name="Freeform 46">
              <a:extLst>
                <a:ext uri="{FF2B5EF4-FFF2-40B4-BE49-F238E27FC236}">
                  <a16:creationId xmlns:a16="http://schemas.microsoft.com/office/drawing/2014/main" id="{02FC31F0-8538-4DED-B3C1-B46D40925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3" name="Freeform 47">
              <a:extLst>
                <a:ext uri="{FF2B5EF4-FFF2-40B4-BE49-F238E27FC236}">
                  <a16:creationId xmlns:a16="http://schemas.microsoft.com/office/drawing/2014/main" id="{0DB32752-4F04-419F-B123-B21C805CCD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Freeform 48">
              <a:extLst>
                <a:ext uri="{FF2B5EF4-FFF2-40B4-BE49-F238E27FC236}">
                  <a16:creationId xmlns:a16="http://schemas.microsoft.com/office/drawing/2014/main" id="{F4243948-280F-4B34-B86A-50BEADD17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49">
              <a:extLst>
                <a:ext uri="{FF2B5EF4-FFF2-40B4-BE49-F238E27FC236}">
                  <a16:creationId xmlns:a16="http://schemas.microsoft.com/office/drawing/2014/main" id="{C8A058F9-DD58-4574-AA62-71EEFB4FE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" name="Freeform 50">
              <a:extLst>
                <a:ext uri="{FF2B5EF4-FFF2-40B4-BE49-F238E27FC236}">
                  <a16:creationId xmlns:a16="http://schemas.microsoft.com/office/drawing/2014/main" id="{B95E8BA3-7C0B-473F-8106-C017563E4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" name="Freeform 51">
              <a:extLst>
                <a:ext uri="{FF2B5EF4-FFF2-40B4-BE49-F238E27FC236}">
                  <a16:creationId xmlns:a16="http://schemas.microsoft.com/office/drawing/2014/main" id="{174E4A4A-E705-4EB4-8DAC-8D7085E00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8" name="Freeform 52">
              <a:extLst>
                <a:ext uri="{FF2B5EF4-FFF2-40B4-BE49-F238E27FC236}">
                  <a16:creationId xmlns:a16="http://schemas.microsoft.com/office/drawing/2014/main" id="{37F689C6-B750-49E3-A85E-74DA4ABF5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9" name="Freeform 53">
              <a:extLst>
                <a:ext uri="{FF2B5EF4-FFF2-40B4-BE49-F238E27FC236}">
                  <a16:creationId xmlns:a16="http://schemas.microsoft.com/office/drawing/2014/main" id="{F5E117B0-5CD4-4347-9234-7269DDA92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0" name="Freeform 54">
              <a:extLst>
                <a:ext uri="{FF2B5EF4-FFF2-40B4-BE49-F238E27FC236}">
                  <a16:creationId xmlns:a16="http://schemas.microsoft.com/office/drawing/2014/main" id="{6F02F282-31D9-45B3-A5AA-D54B833F9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Freeform 55">
              <a:extLst>
                <a:ext uri="{FF2B5EF4-FFF2-40B4-BE49-F238E27FC236}">
                  <a16:creationId xmlns:a16="http://schemas.microsoft.com/office/drawing/2014/main" id="{5FF5E800-3552-4CC1-922D-5767B8CB9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Freeform 56">
              <a:extLst>
                <a:ext uri="{FF2B5EF4-FFF2-40B4-BE49-F238E27FC236}">
                  <a16:creationId xmlns:a16="http://schemas.microsoft.com/office/drawing/2014/main" id="{19AFAE55-AADD-43EE-9DEA-C96D03DD0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Freeform 57">
              <a:extLst>
                <a:ext uri="{FF2B5EF4-FFF2-40B4-BE49-F238E27FC236}">
                  <a16:creationId xmlns:a16="http://schemas.microsoft.com/office/drawing/2014/main" id="{AEDBADAA-9B1A-4606-927D-430BACA91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58">
              <a:extLst>
                <a:ext uri="{FF2B5EF4-FFF2-40B4-BE49-F238E27FC236}">
                  <a16:creationId xmlns:a16="http://schemas.microsoft.com/office/drawing/2014/main" id="{28EE83D8-3964-41E9-B39D-C86B6E5BB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DCCACFD-D10E-4A9B-82D8-37CC70FDA507}"/>
              </a:ext>
            </a:extLst>
          </p:cNvPr>
          <p:cNvGrpSpPr/>
          <p:nvPr/>
        </p:nvGrpSpPr>
        <p:grpSpPr>
          <a:xfrm>
            <a:off x="4200613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id="{32398D1F-E78B-4E0F-8AEC-2CE024F71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617CE8EC-5127-4F7B-AED1-8DEF39A31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C80D5E03-7769-45E1-862E-3C3F145B9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C84BC024-D342-4076-B6F4-D770683DC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93D5DB21-3BA6-4C10-B4BB-0ABACF61F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07F0C470-B70C-4B95-B0B8-D38B5FA36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0EB0C6A7-AB43-4259-BDE6-061009DC3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3E2CB982-231D-4BC2-AB58-46E0CBB69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C15BF80F-568F-491B-8F89-C21016370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97A41606-BCFB-45E9-B546-4C6F1415C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69CCF2A1-DDD0-4E96-AB55-726F845A8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15B6CDD0-051B-4C1D-B218-82DFBC816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A04134FC-8E55-43E5-ACC5-7F727FDC0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2" name="Freeform 58">
              <a:extLst>
                <a:ext uri="{FF2B5EF4-FFF2-40B4-BE49-F238E27FC236}">
                  <a16:creationId xmlns:a16="http://schemas.microsoft.com/office/drawing/2014/main" id="{A37E6B98-1650-40BC-8558-AE10DC7CA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4676D214-2BE4-4826-940E-3754C87062D1}"/>
              </a:ext>
            </a:extLst>
          </p:cNvPr>
          <p:cNvGrpSpPr/>
          <p:nvPr/>
        </p:nvGrpSpPr>
        <p:grpSpPr>
          <a:xfrm>
            <a:off x="6224990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147" name="Freeform 45">
              <a:extLst>
                <a:ext uri="{FF2B5EF4-FFF2-40B4-BE49-F238E27FC236}">
                  <a16:creationId xmlns:a16="http://schemas.microsoft.com/office/drawing/2014/main" id="{1A1C7DE5-A61F-4DFD-9359-856A4AD0C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8" name="Freeform 46">
              <a:extLst>
                <a:ext uri="{FF2B5EF4-FFF2-40B4-BE49-F238E27FC236}">
                  <a16:creationId xmlns:a16="http://schemas.microsoft.com/office/drawing/2014/main" id="{5DCDF417-F755-4C81-9875-D3A99F50C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9" name="Freeform 47">
              <a:extLst>
                <a:ext uri="{FF2B5EF4-FFF2-40B4-BE49-F238E27FC236}">
                  <a16:creationId xmlns:a16="http://schemas.microsoft.com/office/drawing/2014/main" id="{6249F93C-EFF4-43E8-8589-1BCEDA562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0" name="Freeform 48">
              <a:extLst>
                <a:ext uri="{FF2B5EF4-FFF2-40B4-BE49-F238E27FC236}">
                  <a16:creationId xmlns:a16="http://schemas.microsoft.com/office/drawing/2014/main" id="{0240D32A-D298-4E70-AB8D-66FE33AB6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1" name="Freeform 49">
              <a:extLst>
                <a:ext uri="{FF2B5EF4-FFF2-40B4-BE49-F238E27FC236}">
                  <a16:creationId xmlns:a16="http://schemas.microsoft.com/office/drawing/2014/main" id="{946D6C14-126E-4745-A6EC-529C663C0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2" name="Freeform 50">
              <a:extLst>
                <a:ext uri="{FF2B5EF4-FFF2-40B4-BE49-F238E27FC236}">
                  <a16:creationId xmlns:a16="http://schemas.microsoft.com/office/drawing/2014/main" id="{21058F4D-6394-4429-B94C-078E2C54F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3" name="Freeform 51">
              <a:extLst>
                <a:ext uri="{FF2B5EF4-FFF2-40B4-BE49-F238E27FC236}">
                  <a16:creationId xmlns:a16="http://schemas.microsoft.com/office/drawing/2014/main" id="{4504348F-8CAA-449B-8494-25D0B1C38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4" name="Freeform 52">
              <a:extLst>
                <a:ext uri="{FF2B5EF4-FFF2-40B4-BE49-F238E27FC236}">
                  <a16:creationId xmlns:a16="http://schemas.microsoft.com/office/drawing/2014/main" id="{F0220031-A7D2-48A1-B449-285D26064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5" name="Freeform 53">
              <a:extLst>
                <a:ext uri="{FF2B5EF4-FFF2-40B4-BE49-F238E27FC236}">
                  <a16:creationId xmlns:a16="http://schemas.microsoft.com/office/drawing/2014/main" id="{51B46C65-EBEF-4469-B30E-5F9DFB698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6" name="Freeform 54">
              <a:extLst>
                <a:ext uri="{FF2B5EF4-FFF2-40B4-BE49-F238E27FC236}">
                  <a16:creationId xmlns:a16="http://schemas.microsoft.com/office/drawing/2014/main" id="{F9F87C76-1E65-4F94-A236-878DFB210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7" name="Freeform 55">
              <a:extLst>
                <a:ext uri="{FF2B5EF4-FFF2-40B4-BE49-F238E27FC236}">
                  <a16:creationId xmlns:a16="http://schemas.microsoft.com/office/drawing/2014/main" id="{13313B72-517B-440A-BE52-956F8DDF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8" name="Freeform 56">
              <a:extLst>
                <a:ext uri="{FF2B5EF4-FFF2-40B4-BE49-F238E27FC236}">
                  <a16:creationId xmlns:a16="http://schemas.microsoft.com/office/drawing/2014/main" id="{32701751-C52E-4FD3-BBFD-F47C1B8BB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9" name="Freeform 57">
              <a:extLst>
                <a:ext uri="{FF2B5EF4-FFF2-40B4-BE49-F238E27FC236}">
                  <a16:creationId xmlns:a16="http://schemas.microsoft.com/office/drawing/2014/main" id="{414DCF55-E0B4-4695-970A-DF27F1504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0" name="Freeform 58">
              <a:extLst>
                <a:ext uri="{FF2B5EF4-FFF2-40B4-BE49-F238E27FC236}">
                  <a16:creationId xmlns:a16="http://schemas.microsoft.com/office/drawing/2014/main" id="{52CD4701-205C-4EDD-BE38-4B36D5A5B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89503CAF-4E44-42C1-8816-51FF1B2C850F}"/>
              </a:ext>
            </a:extLst>
          </p:cNvPr>
          <p:cNvGrpSpPr/>
          <p:nvPr/>
        </p:nvGrpSpPr>
        <p:grpSpPr>
          <a:xfrm>
            <a:off x="8183721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165" name="Freeform 45">
              <a:extLst>
                <a:ext uri="{FF2B5EF4-FFF2-40B4-BE49-F238E27FC236}">
                  <a16:creationId xmlns:a16="http://schemas.microsoft.com/office/drawing/2014/main" id="{5529258C-6117-4943-A67E-A3F0E91E5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6" name="Freeform 46">
              <a:extLst>
                <a:ext uri="{FF2B5EF4-FFF2-40B4-BE49-F238E27FC236}">
                  <a16:creationId xmlns:a16="http://schemas.microsoft.com/office/drawing/2014/main" id="{4CDE7860-595D-4BBB-83CE-42A969F9E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7" name="Freeform 47">
              <a:extLst>
                <a:ext uri="{FF2B5EF4-FFF2-40B4-BE49-F238E27FC236}">
                  <a16:creationId xmlns:a16="http://schemas.microsoft.com/office/drawing/2014/main" id="{291E2861-F17B-4916-85DA-069160D90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8" name="Freeform 48">
              <a:extLst>
                <a:ext uri="{FF2B5EF4-FFF2-40B4-BE49-F238E27FC236}">
                  <a16:creationId xmlns:a16="http://schemas.microsoft.com/office/drawing/2014/main" id="{2F297666-5BD9-482B-AF00-81ABC33CE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9" name="Freeform 49">
              <a:extLst>
                <a:ext uri="{FF2B5EF4-FFF2-40B4-BE49-F238E27FC236}">
                  <a16:creationId xmlns:a16="http://schemas.microsoft.com/office/drawing/2014/main" id="{3B910F2E-5CBB-471E-8255-E34A8B74A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0" name="Freeform 50">
              <a:extLst>
                <a:ext uri="{FF2B5EF4-FFF2-40B4-BE49-F238E27FC236}">
                  <a16:creationId xmlns:a16="http://schemas.microsoft.com/office/drawing/2014/main" id="{4BFD8493-B75C-448D-8527-E894BEA1F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1" name="Freeform 51">
              <a:extLst>
                <a:ext uri="{FF2B5EF4-FFF2-40B4-BE49-F238E27FC236}">
                  <a16:creationId xmlns:a16="http://schemas.microsoft.com/office/drawing/2014/main" id="{F3CB7239-866F-49C4-AA89-FA253FB09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2" name="Freeform 52">
              <a:extLst>
                <a:ext uri="{FF2B5EF4-FFF2-40B4-BE49-F238E27FC236}">
                  <a16:creationId xmlns:a16="http://schemas.microsoft.com/office/drawing/2014/main" id="{48DC6CF5-77C6-474B-8535-C33DEA585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3" name="Freeform 53">
              <a:extLst>
                <a:ext uri="{FF2B5EF4-FFF2-40B4-BE49-F238E27FC236}">
                  <a16:creationId xmlns:a16="http://schemas.microsoft.com/office/drawing/2014/main" id="{7CC85B97-B8C1-4BEB-80B4-FBAF690B8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4" name="Freeform 54">
              <a:extLst>
                <a:ext uri="{FF2B5EF4-FFF2-40B4-BE49-F238E27FC236}">
                  <a16:creationId xmlns:a16="http://schemas.microsoft.com/office/drawing/2014/main" id="{203E1460-0B5F-4664-8FF0-828F363B7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5" name="Freeform 55">
              <a:extLst>
                <a:ext uri="{FF2B5EF4-FFF2-40B4-BE49-F238E27FC236}">
                  <a16:creationId xmlns:a16="http://schemas.microsoft.com/office/drawing/2014/main" id="{98B028A7-17B5-4AD7-8043-51C3E1CC8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6" name="Freeform 56">
              <a:extLst>
                <a:ext uri="{FF2B5EF4-FFF2-40B4-BE49-F238E27FC236}">
                  <a16:creationId xmlns:a16="http://schemas.microsoft.com/office/drawing/2014/main" id="{8317F969-CAE2-4C5D-8B57-15FD09925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7" name="Freeform 57">
              <a:extLst>
                <a:ext uri="{FF2B5EF4-FFF2-40B4-BE49-F238E27FC236}">
                  <a16:creationId xmlns:a16="http://schemas.microsoft.com/office/drawing/2014/main" id="{CA8ED9B0-CD65-49AA-8794-78066260F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8" name="Freeform 58">
              <a:extLst>
                <a:ext uri="{FF2B5EF4-FFF2-40B4-BE49-F238E27FC236}">
                  <a16:creationId xmlns:a16="http://schemas.microsoft.com/office/drawing/2014/main" id="{86EA1C18-B045-4B79-B4E5-ABB77EC02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26BD0F31-D61E-4F90-888B-12C81ABA9B6A}"/>
              </a:ext>
            </a:extLst>
          </p:cNvPr>
          <p:cNvGrpSpPr/>
          <p:nvPr/>
        </p:nvGrpSpPr>
        <p:grpSpPr>
          <a:xfrm>
            <a:off x="10208098" y="3073174"/>
            <a:ext cx="269159" cy="253225"/>
            <a:chOff x="1587" y="1"/>
            <a:chExt cx="1746446" cy="1643062"/>
          </a:xfrm>
          <a:solidFill>
            <a:schemeClr val="bg1">
              <a:lumMod val="85000"/>
            </a:schemeClr>
          </a:solidFill>
        </p:grpSpPr>
        <p:sp>
          <p:nvSpPr>
            <p:cNvPr id="183" name="Freeform 45">
              <a:extLst>
                <a:ext uri="{FF2B5EF4-FFF2-40B4-BE49-F238E27FC236}">
                  <a16:creationId xmlns:a16="http://schemas.microsoft.com/office/drawing/2014/main" id="{AA19472E-F7F0-4E32-BA4F-DED69C3CF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"/>
              <a:ext cx="225425" cy="225425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8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8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6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2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6" y="0"/>
                    <a:pt x="177" y="21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4" name="Freeform 46">
              <a:extLst>
                <a:ext uri="{FF2B5EF4-FFF2-40B4-BE49-F238E27FC236}">
                  <a16:creationId xmlns:a16="http://schemas.microsoft.com/office/drawing/2014/main" id="{CC67D155-7656-4426-BC61-AF2728FCA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236538"/>
              <a:ext cx="223838" cy="225425"/>
            </a:xfrm>
            <a:custGeom>
              <a:avLst/>
              <a:gdLst>
                <a:gd name="T0" fmla="*/ 176 w 176"/>
                <a:gd name="T1" fmla="*/ 129 h 177"/>
                <a:gd name="T2" fmla="*/ 128 w 176"/>
                <a:gd name="T3" fmla="*/ 177 h 177"/>
                <a:gd name="T4" fmla="*/ 47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7 w 176"/>
                <a:gd name="T11" fmla="*/ 0 h 177"/>
                <a:gd name="T12" fmla="*/ 128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5"/>
                    <a:pt x="155" y="177"/>
                    <a:pt x="128" y="177"/>
                  </a:cubicBezTo>
                  <a:cubicBezTo>
                    <a:pt x="47" y="177"/>
                    <a:pt x="47" y="177"/>
                    <a:pt x="47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5" name="Freeform 47">
              <a:extLst>
                <a:ext uri="{FF2B5EF4-FFF2-40B4-BE49-F238E27FC236}">
                  <a16:creationId xmlns:a16="http://schemas.microsoft.com/office/drawing/2014/main" id="{83336D1C-857F-4E99-943D-F5A00743F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471488"/>
              <a:ext cx="223838" cy="227013"/>
            </a:xfrm>
            <a:custGeom>
              <a:avLst/>
              <a:gdLst>
                <a:gd name="T0" fmla="*/ 176 w 176"/>
                <a:gd name="T1" fmla="*/ 129 h 177"/>
                <a:gd name="T2" fmla="*/ 129 w 176"/>
                <a:gd name="T3" fmla="*/ 177 h 177"/>
                <a:gd name="T4" fmla="*/ 48 w 176"/>
                <a:gd name="T5" fmla="*/ 177 h 177"/>
                <a:gd name="T6" fmla="*/ 0 w 176"/>
                <a:gd name="T7" fmla="*/ 129 h 177"/>
                <a:gd name="T8" fmla="*/ 0 w 176"/>
                <a:gd name="T9" fmla="*/ 48 h 177"/>
                <a:gd name="T10" fmla="*/ 48 w 176"/>
                <a:gd name="T11" fmla="*/ 0 h 177"/>
                <a:gd name="T12" fmla="*/ 129 w 176"/>
                <a:gd name="T13" fmla="*/ 0 h 177"/>
                <a:gd name="T14" fmla="*/ 176 w 176"/>
                <a:gd name="T15" fmla="*/ 48 h 177"/>
                <a:gd name="T16" fmla="*/ 176 w 176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129"/>
                  </a:moveTo>
                  <a:cubicBezTo>
                    <a:pt x="176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2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6" name="Freeform 48">
              <a:extLst>
                <a:ext uri="{FF2B5EF4-FFF2-40B4-BE49-F238E27FC236}">
                  <a16:creationId xmlns:a16="http://schemas.microsoft.com/office/drawing/2014/main" id="{A02AE99E-FFF8-4A02-8BB5-CE09744E4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200" y="709613"/>
              <a:ext cx="225425" cy="223838"/>
            </a:xfrm>
            <a:custGeom>
              <a:avLst/>
              <a:gdLst>
                <a:gd name="T0" fmla="*/ 177 w 177"/>
                <a:gd name="T1" fmla="*/ 129 h 176"/>
                <a:gd name="T2" fmla="*/ 129 w 177"/>
                <a:gd name="T3" fmla="*/ 176 h 176"/>
                <a:gd name="T4" fmla="*/ 48 w 177"/>
                <a:gd name="T5" fmla="*/ 176 h 176"/>
                <a:gd name="T6" fmla="*/ 0 w 177"/>
                <a:gd name="T7" fmla="*/ 129 h 176"/>
                <a:gd name="T8" fmla="*/ 0 w 177"/>
                <a:gd name="T9" fmla="*/ 47 h 176"/>
                <a:gd name="T10" fmla="*/ 48 w 177"/>
                <a:gd name="T11" fmla="*/ 0 h 176"/>
                <a:gd name="T12" fmla="*/ 129 w 177"/>
                <a:gd name="T13" fmla="*/ 0 h 176"/>
                <a:gd name="T14" fmla="*/ 177 w 177"/>
                <a:gd name="T15" fmla="*/ 47 h 176"/>
                <a:gd name="T16" fmla="*/ 177 w 177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129"/>
                  </a:moveTo>
                  <a:cubicBezTo>
                    <a:pt x="177" y="155"/>
                    <a:pt x="155" y="176"/>
                    <a:pt x="129" y="176"/>
                  </a:cubicBezTo>
                  <a:cubicBezTo>
                    <a:pt x="48" y="176"/>
                    <a:pt x="48" y="176"/>
                    <a:pt x="48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1"/>
                    <a:pt x="177" y="47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7" name="Freeform 49">
              <a:extLst>
                <a:ext uri="{FF2B5EF4-FFF2-40B4-BE49-F238E27FC236}">
                  <a16:creationId xmlns:a16="http://schemas.microsoft.com/office/drawing/2014/main" id="{33D729BB-E9B2-4E6C-9294-BF42C874D6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1417638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6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2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6" y="177"/>
                    <a:pt x="177" y="156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8" name="Freeform 50">
              <a:extLst>
                <a:ext uri="{FF2B5EF4-FFF2-40B4-BE49-F238E27FC236}">
                  <a16:creationId xmlns:a16="http://schemas.microsoft.com/office/drawing/2014/main" id="{3E2AC497-A10F-4E56-AB92-B9C01972E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13" y="1181101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8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8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7" y="177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55" y="177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9" name="Freeform 51">
              <a:extLst>
                <a:ext uri="{FF2B5EF4-FFF2-40B4-BE49-F238E27FC236}">
                  <a16:creationId xmlns:a16="http://schemas.microsoft.com/office/drawing/2014/main" id="{E1F524AA-2CA5-491A-AED8-21972304A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63" y="946151"/>
              <a:ext cx="223838" cy="223838"/>
            </a:xfrm>
            <a:custGeom>
              <a:avLst/>
              <a:gdLst>
                <a:gd name="T0" fmla="*/ 176 w 176"/>
                <a:gd name="T1" fmla="*/ 48 h 176"/>
                <a:gd name="T2" fmla="*/ 129 w 176"/>
                <a:gd name="T3" fmla="*/ 0 h 176"/>
                <a:gd name="T4" fmla="*/ 48 w 176"/>
                <a:gd name="T5" fmla="*/ 0 h 176"/>
                <a:gd name="T6" fmla="*/ 0 w 176"/>
                <a:gd name="T7" fmla="*/ 48 h 176"/>
                <a:gd name="T8" fmla="*/ 0 w 176"/>
                <a:gd name="T9" fmla="*/ 129 h 176"/>
                <a:gd name="T10" fmla="*/ 48 w 176"/>
                <a:gd name="T11" fmla="*/ 176 h 176"/>
                <a:gd name="T12" fmla="*/ 129 w 176"/>
                <a:gd name="T13" fmla="*/ 176 h 176"/>
                <a:gd name="T14" fmla="*/ 176 w 176"/>
                <a:gd name="T15" fmla="*/ 129 h 176"/>
                <a:gd name="T16" fmla="*/ 176 w 176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48"/>
                  </a:moveTo>
                  <a:cubicBezTo>
                    <a:pt x="176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6" y="155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0" name="Freeform 52">
              <a:extLst>
                <a:ext uri="{FF2B5EF4-FFF2-40B4-BE49-F238E27FC236}">
                  <a16:creationId xmlns:a16="http://schemas.microsoft.com/office/drawing/2014/main" id="{E4A733CB-516E-4BD3-853C-0ABB7C92E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"/>
              <a:ext cx="223838" cy="225425"/>
            </a:xfrm>
            <a:custGeom>
              <a:avLst/>
              <a:gdLst>
                <a:gd name="T0" fmla="*/ 176 w 176"/>
                <a:gd name="T1" fmla="*/ 129 h 176"/>
                <a:gd name="T2" fmla="*/ 129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8 h 176"/>
                <a:gd name="T10" fmla="*/ 47 w 176"/>
                <a:gd name="T11" fmla="*/ 0 h 176"/>
                <a:gd name="T12" fmla="*/ 129 w 176"/>
                <a:gd name="T13" fmla="*/ 0 h 176"/>
                <a:gd name="T14" fmla="*/ 176 w 176"/>
                <a:gd name="T15" fmla="*/ 48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9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6" y="21"/>
                    <a:pt x="176" y="48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1" name="Freeform 53">
              <a:extLst>
                <a:ext uri="{FF2B5EF4-FFF2-40B4-BE49-F238E27FC236}">
                  <a16:creationId xmlns:a16="http://schemas.microsoft.com/office/drawing/2014/main" id="{86478895-C420-4FAA-A658-C60853E6FE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236538"/>
              <a:ext cx="225425" cy="225425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5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1" y="177"/>
                    <a:pt x="0" y="155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2" name="Freeform 54">
              <a:extLst>
                <a:ext uri="{FF2B5EF4-FFF2-40B4-BE49-F238E27FC236}">
                  <a16:creationId xmlns:a16="http://schemas.microsoft.com/office/drawing/2014/main" id="{13F2E7C5-C03C-44BF-9613-0F80BA041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471488"/>
              <a:ext cx="225425" cy="227013"/>
            </a:xfrm>
            <a:custGeom>
              <a:avLst/>
              <a:gdLst>
                <a:gd name="T0" fmla="*/ 177 w 177"/>
                <a:gd name="T1" fmla="*/ 129 h 177"/>
                <a:gd name="T2" fmla="*/ 129 w 177"/>
                <a:gd name="T3" fmla="*/ 177 h 177"/>
                <a:gd name="T4" fmla="*/ 48 w 177"/>
                <a:gd name="T5" fmla="*/ 177 h 177"/>
                <a:gd name="T6" fmla="*/ 0 w 177"/>
                <a:gd name="T7" fmla="*/ 129 h 177"/>
                <a:gd name="T8" fmla="*/ 0 w 177"/>
                <a:gd name="T9" fmla="*/ 48 h 177"/>
                <a:gd name="T10" fmla="*/ 48 w 177"/>
                <a:gd name="T11" fmla="*/ 0 h 177"/>
                <a:gd name="T12" fmla="*/ 129 w 177"/>
                <a:gd name="T13" fmla="*/ 0 h 177"/>
                <a:gd name="T14" fmla="*/ 177 w 177"/>
                <a:gd name="T15" fmla="*/ 48 h 177"/>
                <a:gd name="T16" fmla="*/ 177 w 177"/>
                <a:gd name="T17" fmla="*/ 12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129"/>
                  </a:moveTo>
                  <a:cubicBezTo>
                    <a:pt x="177" y="156"/>
                    <a:pt x="155" y="177"/>
                    <a:pt x="129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22" y="177"/>
                    <a:pt x="0" y="156"/>
                    <a:pt x="0" y="12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55" y="0"/>
                    <a:pt x="177" y="22"/>
                    <a:pt x="177" y="48"/>
                  </a:cubicBezTo>
                  <a:lnTo>
                    <a:pt x="177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3" name="Freeform 55">
              <a:extLst>
                <a:ext uri="{FF2B5EF4-FFF2-40B4-BE49-F238E27FC236}">
                  <a16:creationId xmlns:a16="http://schemas.microsoft.com/office/drawing/2014/main" id="{EAB3AB77-7B09-49BC-B06E-97DA429A3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195" y="709613"/>
              <a:ext cx="223838" cy="223838"/>
            </a:xfrm>
            <a:custGeom>
              <a:avLst/>
              <a:gdLst>
                <a:gd name="T0" fmla="*/ 176 w 176"/>
                <a:gd name="T1" fmla="*/ 129 h 176"/>
                <a:gd name="T2" fmla="*/ 128 w 176"/>
                <a:gd name="T3" fmla="*/ 176 h 176"/>
                <a:gd name="T4" fmla="*/ 47 w 176"/>
                <a:gd name="T5" fmla="*/ 176 h 176"/>
                <a:gd name="T6" fmla="*/ 0 w 176"/>
                <a:gd name="T7" fmla="*/ 129 h 176"/>
                <a:gd name="T8" fmla="*/ 0 w 176"/>
                <a:gd name="T9" fmla="*/ 47 h 176"/>
                <a:gd name="T10" fmla="*/ 47 w 176"/>
                <a:gd name="T11" fmla="*/ 0 h 176"/>
                <a:gd name="T12" fmla="*/ 128 w 176"/>
                <a:gd name="T13" fmla="*/ 0 h 176"/>
                <a:gd name="T14" fmla="*/ 176 w 176"/>
                <a:gd name="T15" fmla="*/ 47 h 176"/>
                <a:gd name="T16" fmla="*/ 176 w 176"/>
                <a:gd name="T17" fmla="*/ 12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6">
                  <a:moveTo>
                    <a:pt x="176" y="129"/>
                  </a:moveTo>
                  <a:cubicBezTo>
                    <a:pt x="176" y="155"/>
                    <a:pt x="155" y="176"/>
                    <a:pt x="128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21" y="176"/>
                    <a:pt x="0" y="155"/>
                    <a:pt x="0" y="12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55" y="0"/>
                    <a:pt x="176" y="21"/>
                    <a:pt x="176" y="47"/>
                  </a:cubicBezTo>
                  <a:lnTo>
                    <a:pt x="17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4" name="Freeform 56">
              <a:extLst>
                <a:ext uri="{FF2B5EF4-FFF2-40B4-BE49-F238E27FC236}">
                  <a16:creationId xmlns:a16="http://schemas.microsoft.com/office/drawing/2014/main" id="{7B9ACAFB-176C-4EF6-A200-9B64AC8417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83" y="1417638"/>
              <a:ext cx="223838" cy="225425"/>
            </a:xfrm>
            <a:custGeom>
              <a:avLst/>
              <a:gdLst>
                <a:gd name="T0" fmla="*/ 176 w 176"/>
                <a:gd name="T1" fmla="*/ 48 h 177"/>
                <a:gd name="T2" fmla="*/ 129 w 176"/>
                <a:gd name="T3" fmla="*/ 0 h 177"/>
                <a:gd name="T4" fmla="*/ 47 w 176"/>
                <a:gd name="T5" fmla="*/ 0 h 177"/>
                <a:gd name="T6" fmla="*/ 0 w 176"/>
                <a:gd name="T7" fmla="*/ 48 h 177"/>
                <a:gd name="T8" fmla="*/ 0 w 176"/>
                <a:gd name="T9" fmla="*/ 129 h 177"/>
                <a:gd name="T10" fmla="*/ 47 w 176"/>
                <a:gd name="T11" fmla="*/ 177 h 177"/>
                <a:gd name="T12" fmla="*/ 129 w 176"/>
                <a:gd name="T13" fmla="*/ 177 h 177"/>
                <a:gd name="T14" fmla="*/ 176 w 176"/>
                <a:gd name="T15" fmla="*/ 129 h 177"/>
                <a:gd name="T16" fmla="*/ 176 w 176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77">
                  <a:moveTo>
                    <a:pt x="176" y="48"/>
                  </a:moveTo>
                  <a:cubicBezTo>
                    <a:pt x="176" y="22"/>
                    <a:pt x="155" y="0"/>
                    <a:pt x="12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6"/>
                    <a:pt x="21" y="177"/>
                    <a:pt x="47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6" y="156"/>
                    <a:pt x="176" y="129"/>
                  </a:cubicBezTo>
                  <a:lnTo>
                    <a:pt x="17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5" name="Freeform 57">
              <a:extLst>
                <a:ext uri="{FF2B5EF4-FFF2-40B4-BE49-F238E27FC236}">
                  <a16:creationId xmlns:a16="http://schemas.microsoft.com/office/drawing/2014/main" id="{0367E1A1-4653-4696-BA77-3680001C0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120" y="1181101"/>
              <a:ext cx="225425" cy="225425"/>
            </a:xfrm>
            <a:custGeom>
              <a:avLst/>
              <a:gdLst>
                <a:gd name="T0" fmla="*/ 177 w 177"/>
                <a:gd name="T1" fmla="*/ 48 h 177"/>
                <a:gd name="T2" fmla="*/ 129 w 177"/>
                <a:gd name="T3" fmla="*/ 0 h 177"/>
                <a:gd name="T4" fmla="*/ 48 w 177"/>
                <a:gd name="T5" fmla="*/ 0 h 177"/>
                <a:gd name="T6" fmla="*/ 0 w 177"/>
                <a:gd name="T7" fmla="*/ 48 h 177"/>
                <a:gd name="T8" fmla="*/ 0 w 177"/>
                <a:gd name="T9" fmla="*/ 129 h 177"/>
                <a:gd name="T10" fmla="*/ 48 w 177"/>
                <a:gd name="T11" fmla="*/ 177 h 177"/>
                <a:gd name="T12" fmla="*/ 129 w 177"/>
                <a:gd name="T13" fmla="*/ 177 h 177"/>
                <a:gd name="T14" fmla="*/ 177 w 177"/>
                <a:gd name="T15" fmla="*/ 129 h 177"/>
                <a:gd name="T16" fmla="*/ 177 w 177"/>
                <a:gd name="T17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7">
                  <a:moveTo>
                    <a:pt x="177" y="48"/>
                  </a:moveTo>
                  <a:cubicBezTo>
                    <a:pt x="177" y="22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1" y="177"/>
                    <a:pt x="48" y="177"/>
                  </a:cubicBezTo>
                  <a:cubicBezTo>
                    <a:pt x="129" y="177"/>
                    <a:pt x="129" y="177"/>
                    <a:pt x="129" y="177"/>
                  </a:cubicBezTo>
                  <a:cubicBezTo>
                    <a:pt x="155" y="177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6" name="Freeform 58">
              <a:extLst>
                <a:ext uri="{FF2B5EF4-FFF2-40B4-BE49-F238E27FC236}">
                  <a16:creationId xmlns:a16="http://schemas.microsoft.com/office/drawing/2014/main" id="{674CB2AF-0697-4A04-98EA-64C44ED98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070" y="946151"/>
              <a:ext cx="225425" cy="223838"/>
            </a:xfrm>
            <a:custGeom>
              <a:avLst/>
              <a:gdLst>
                <a:gd name="T0" fmla="*/ 177 w 177"/>
                <a:gd name="T1" fmla="*/ 48 h 176"/>
                <a:gd name="T2" fmla="*/ 129 w 177"/>
                <a:gd name="T3" fmla="*/ 0 h 176"/>
                <a:gd name="T4" fmla="*/ 48 w 177"/>
                <a:gd name="T5" fmla="*/ 0 h 176"/>
                <a:gd name="T6" fmla="*/ 0 w 177"/>
                <a:gd name="T7" fmla="*/ 48 h 176"/>
                <a:gd name="T8" fmla="*/ 0 w 177"/>
                <a:gd name="T9" fmla="*/ 129 h 176"/>
                <a:gd name="T10" fmla="*/ 48 w 177"/>
                <a:gd name="T11" fmla="*/ 176 h 176"/>
                <a:gd name="T12" fmla="*/ 129 w 177"/>
                <a:gd name="T13" fmla="*/ 176 h 176"/>
                <a:gd name="T14" fmla="*/ 177 w 177"/>
                <a:gd name="T15" fmla="*/ 129 h 176"/>
                <a:gd name="T16" fmla="*/ 177 w 177"/>
                <a:gd name="T17" fmla="*/ 4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76">
                  <a:moveTo>
                    <a:pt x="177" y="48"/>
                  </a:moveTo>
                  <a:cubicBezTo>
                    <a:pt x="177" y="21"/>
                    <a:pt x="155" y="0"/>
                    <a:pt x="129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55"/>
                    <a:pt x="22" y="176"/>
                    <a:pt x="48" y="176"/>
                  </a:cubicBezTo>
                  <a:cubicBezTo>
                    <a:pt x="129" y="176"/>
                    <a:pt x="129" y="176"/>
                    <a:pt x="129" y="176"/>
                  </a:cubicBezTo>
                  <a:cubicBezTo>
                    <a:pt x="155" y="176"/>
                    <a:pt x="177" y="155"/>
                    <a:pt x="177" y="129"/>
                  </a:cubicBezTo>
                  <a:lnTo>
                    <a:pt x="17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47CA5B4-B92E-43D6-99ED-CAC85EA7B785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CC2C2F-2894-4CEC-A628-FBF552BDBCE4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00" name="Text Placeholder 199">
            <a:extLst>
              <a:ext uri="{FF2B5EF4-FFF2-40B4-BE49-F238E27FC236}">
                <a16:creationId xmlns:a16="http://schemas.microsoft.com/office/drawing/2014/main" id="{63091C84-F075-4460-9DD4-0565FF9D6ED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85738" y="3467505"/>
            <a:ext cx="1617662" cy="1486987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  <a:endParaRPr lang="en-IN" dirty="0"/>
          </a:p>
        </p:txBody>
      </p:sp>
      <p:sp>
        <p:nvSpPr>
          <p:cNvPr id="202" name="Text Placeholder 201">
            <a:extLst>
              <a:ext uri="{FF2B5EF4-FFF2-40B4-BE49-F238E27FC236}">
                <a16:creationId xmlns:a16="http://schemas.microsoft.com/office/drawing/2014/main" id="{A4454BF8-59EC-4418-9B90-DB14E31DF3F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207922" y="3467869"/>
            <a:ext cx="1644650" cy="148590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1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</a:p>
        </p:txBody>
      </p:sp>
      <p:sp>
        <p:nvSpPr>
          <p:cNvPr id="204" name="Text Placeholder 203">
            <a:extLst>
              <a:ext uri="{FF2B5EF4-FFF2-40B4-BE49-F238E27FC236}">
                <a16:creationId xmlns:a16="http://schemas.microsoft.com/office/drawing/2014/main" id="{A96F58B9-E130-410E-A136-A1BA503C67F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201330" y="3467869"/>
            <a:ext cx="1617662" cy="1508125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lang="en-IN" sz="11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</a:p>
        </p:txBody>
      </p:sp>
      <p:sp>
        <p:nvSpPr>
          <p:cNvPr id="206" name="Text Placeholder 205">
            <a:extLst>
              <a:ext uri="{FF2B5EF4-FFF2-40B4-BE49-F238E27FC236}">
                <a16:creationId xmlns:a16="http://schemas.microsoft.com/office/drawing/2014/main" id="{421BD8A5-DA6E-4AED-A31D-9D2CE3B4BBDA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203394" y="3467869"/>
            <a:ext cx="1649425" cy="150812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1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</a:p>
        </p:txBody>
      </p:sp>
      <p:sp>
        <p:nvSpPr>
          <p:cNvPr id="208" name="Text Placeholder 207">
            <a:extLst>
              <a:ext uri="{FF2B5EF4-FFF2-40B4-BE49-F238E27FC236}">
                <a16:creationId xmlns:a16="http://schemas.microsoft.com/office/drawing/2014/main" id="{0097EDD1-7B27-4B7D-82EE-A82EA663BF1D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89808" y="3467869"/>
            <a:ext cx="1682824" cy="151765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1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</a:p>
        </p:txBody>
      </p:sp>
      <p:sp>
        <p:nvSpPr>
          <p:cNvPr id="210" name="Text Placeholder 209">
            <a:extLst>
              <a:ext uri="{FF2B5EF4-FFF2-40B4-BE49-F238E27FC236}">
                <a16:creationId xmlns:a16="http://schemas.microsoft.com/office/drawing/2014/main" id="{48573DBB-5C51-4E60-90AE-0686628E3E8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0225469" y="3467869"/>
            <a:ext cx="1695281" cy="153193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1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</a:t>
            </a:r>
          </a:p>
        </p:txBody>
      </p:sp>
      <p:sp>
        <p:nvSpPr>
          <p:cNvPr id="212" name="Text Placeholder 211">
            <a:extLst>
              <a:ext uri="{FF2B5EF4-FFF2-40B4-BE49-F238E27FC236}">
                <a16:creationId xmlns:a16="http://schemas.microsoft.com/office/drawing/2014/main" id="{2E86FC11-30D2-44A1-AE40-0F246BAD5600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85738" y="1896210"/>
            <a:ext cx="1634285" cy="298450"/>
          </a:xfrm>
        </p:spPr>
        <p:txBody>
          <a:bodyPr>
            <a:no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214" name="Text Placeholder 213">
            <a:extLst>
              <a:ext uri="{FF2B5EF4-FFF2-40B4-BE49-F238E27FC236}">
                <a16:creationId xmlns:a16="http://schemas.microsoft.com/office/drawing/2014/main" id="{44D07222-ABF0-456D-BC9A-E44386623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27400" y="1896244"/>
            <a:ext cx="1665287" cy="298450"/>
          </a:xfrm>
        </p:spPr>
        <p:txBody>
          <a:bodyPr>
            <a:noAutofit/>
          </a:bodyPr>
          <a:lstStyle>
            <a:lvl1pPr>
              <a:defRPr lang="en-US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</a:t>
            </a:r>
          </a:p>
        </p:txBody>
      </p:sp>
      <p:sp>
        <p:nvSpPr>
          <p:cNvPr id="216" name="Text Placeholder 215">
            <a:extLst>
              <a:ext uri="{FF2B5EF4-FFF2-40B4-BE49-F238E27FC236}">
                <a16:creationId xmlns:a16="http://schemas.microsoft.com/office/drawing/2014/main" id="{50D64431-F81F-4BA2-A8EA-F959B9D1106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27348" y="1896243"/>
            <a:ext cx="1717675" cy="322701"/>
          </a:xfrm>
        </p:spPr>
        <p:txBody>
          <a:bodyPr>
            <a:normAutofit/>
          </a:bodyPr>
          <a:lstStyle>
            <a:lvl1pPr>
              <a:defRPr lang="en-IN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</a:t>
            </a:r>
            <a:endParaRPr lang="en-IN" dirty="0"/>
          </a:p>
        </p:txBody>
      </p:sp>
      <p:sp>
        <p:nvSpPr>
          <p:cNvPr id="218" name="Text Placeholder 217">
            <a:extLst>
              <a:ext uri="{FF2B5EF4-FFF2-40B4-BE49-F238E27FC236}">
                <a16:creationId xmlns:a16="http://schemas.microsoft.com/office/drawing/2014/main" id="{8597FE98-046B-4D69-9674-0F36909A5C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15389" y="1896244"/>
            <a:ext cx="1715486" cy="322263"/>
          </a:xfrm>
        </p:spPr>
        <p:txBody>
          <a:bodyPr>
            <a:normAutofit/>
          </a:bodyPr>
          <a:lstStyle>
            <a:lvl1pPr>
              <a:defRPr lang="en-US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</a:t>
            </a:r>
          </a:p>
        </p:txBody>
      </p:sp>
      <p:sp>
        <p:nvSpPr>
          <p:cNvPr id="220" name="Text Placeholder 219">
            <a:extLst>
              <a:ext uri="{FF2B5EF4-FFF2-40B4-BE49-F238E27FC236}">
                <a16:creationId xmlns:a16="http://schemas.microsoft.com/office/drawing/2014/main" id="{AEAEA3E7-C4BF-4798-A646-A4EB36C64A9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28088" y="1896244"/>
            <a:ext cx="1720802" cy="322263"/>
          </a:xfrm>
        </p:spPr>
        <p:txBody>
          <a:bodyPr>
            <a:noAutofit/>
          </a:bodyPr>
          <a:lstStyle>
            <a:lvl1pPr algn="ctr">
              <a:defRPr lang="en-US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Master</a:t>
            </a:r>
          </a:p>
        </p:txBody>
      </p:sp>
      <p:sp>
        <p:nvSpPr>
          <p:cNvPr id="222" name="Text Placeholder 221">
            <a:extLst>
              <a:ext uri="{FF2B5EF4-FFF2-40B4-BE49-F238E27FC236}">
                <a16:creationId xmlns:a16="http://schemas.microsoft.com/office/drawing/2014/main" id="{F720F4A2-4227-47CD-BFE5-AC518F5194E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310077" y="1896244"/>
            <a:ext cx="1722437" cy="322263"/>
          </a:xfrm>
        </p:spPr>
        <p:txBody>
          <a:bodyPr>
            <a:normAutofit/>
          </a:bodyPr>
          <a:lstStyle>
            <a:lvl1pPr>
              <a:defRPr lang="en-US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</a:t>
            </a:r>
          </a:p>
        </p:txBody>
      </p:sp>
      <p:sp>
        <p:nvSpPr>
          <p:cNvPr id="162" name="Text Placeholder 7">
            <a:extLst>
              <a:ext uri="{FF2B5EF4-FFF2-40B4-BE49-F238E27FC236}">
                <a16:creationId xmlns:a16="http://schemas.microsoft.com/office/drawing/2014/main" id="{C39DDCA1-85B5-4D1A-990D-5E23CA78A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64" name="Text Placeholder 7">
            <a:extLst>
              <a:ext uri="{FF2B5EF4-FFF2-40B4-BE49-F238E27FC236}">
                <a16:creationId xmlns:a16="http://schemas.microsoft.com/office/drawing/2014/main" id="{7D407D0E-AFEE-44DB-AE73-7FB98E5495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64322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ncil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E8A69-1ECB-4180-AEF0-3C39031DDA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A4B67A-05D8-44C6-B898-666ECF8382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Freeform 26">
            <a:extLst>
              <a:ext uri="{FF2B5EF4-FFF2-40B4-BE49-F238E27FC236}">
                <a16:creationId xmlns:a16="http://schemas.microsoft.com/office/drawing/2014/main" id="{7E3BA716-FD3C-4632-9C13-F094081B1B59}"/>
              </a:ext>
            </a:extLst>
          </p:cNvPr>
          <p:cNvSpPr>
            <a:spLocks/>
          </p:cNvSpPr>
          <p:nvPr userDrawn="1"/>
        </p:nvSpPr>
        <p:spPr bwMode="auto">
          <a:xfrm>
            <a:off x="2514599" y="1736736"/>
            <a:ext cx="4819834" cy="805953"/>
          </a:xfrm>
          <a:custGeom>
            <a:avLst/>
            <a:gdLst>
              <a:gd name="T0" fmla="*/ 3799 w 3804"/>
              <a:gd name="T1" fmla="*/ 0 h 1355"/>
              <a:gd name="T2" fmla="*/ 372 w 3804"/>
              <a:gd name="T3" fmla="*/ 0 h 1355"/>
              <a:gd name="T4" fmla="*/ 0 w 3804"/>
              <a:gd name="T5" fmla="*/ 679 h 1355"/>
              <a:gd name="T6" fmla="*/ 372 w 3804"/>
              <a:gd name="T7" fmla="*/ 1355 h 1355"/>
              <a:gd name="T8" fmla="*/ 3804 w 3804"/>
              <a:gd name="T9" fmla="*/ 1355 h 1355"/>
              <a:gd name="T10" fmla="*/ 3799 w 3804"/>
              <a:gd name="T11" fmla="*/ 0 h 1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04" h="1355">
                <a:moveTo>
                  <a:pt x="3799" y="0"/>
                </a:moveTo>
                <a:lnTo>
                  <a:pt x="372" y="0"/>
                </a:lnTo>
                <a:lnTo>
                  <a:pt x="0" y="679"/>
                </a:lnTo>
                <a:lnTo>
                  <a:pt x="372" y="1355"/>
                </a:lnTo>
                <a:lnTo>
                  <a:pt x="3804" y="1355"/>
                </a:lnTo>
                <a:lnTo>
                  <a:pt x="3799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" name="Freeform 26">
            <a:extLst>
              <a:ext uri="{FF2B5EF4-FFF2-40B4-BE49-F238E27FC236}">
                <a16:creationId xmlns:a16="http://schemas.microsoft.com/office/drawing/2014/main" id="{90D3053B-BF9B-4E7C-BCAF-6BE60E3E49CC}"/>
              </a:ext>
            </a:extLst>
          </p:cNvPr>
          <p:cNvSpPr>
            <a:spLocks/>
          </p:cNvSpPr>
          <p:nvPr userDrawn="1"/>
        </p:nvSpPr>
        <p:spPr bwMode="auto">
          <a:xfrm flipH="1">
            <a:off x="4688080" y="4644901"/>
            <a:ext cx="4961246" cy="805953"/>
          </a:xfrm>
          <a:custGeom>
            <a:avLst/>
            <a:gdLst>
              <a:gd name="T0" fmla="*/ 3799 w 3804"/>
              <a:gd name="T1" fmla="*/ 0 h 1355"/>
              <a:gd name="T2" fmla="*/ 372 w 3804"/>
              <a:gd name="T3" fmla="*/ 0 h 1355"/>
              <a:gd name="T4" fmla="*/ 0 w 3804"/>
              <a:gd name="T5" fmla="*/ 679 h 1355"/>
              <a:gd name="T6" fmla="*/ 372 w 3804"/>
              <a:gd name="T7" fmla="*/ 1355 h 1355"/>
              <a:gd name="T8" fmla="*/ 3804 w 3804"/>
              <a:gd name="T9" fmla="*/ 1355 h 1355"/>
              <a:gd name="T10" fmla="*/ 3799 w 3804"/>
              <a:gd name="T11" fmla="*/ 0 h 1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04" h="1355">
                <a:moveTo>
                  <a:pt x="3799" y="0"/>
                </a:moveTo>
                <a:lnTo>
                  <a:pt x="372" y="0"/>
                </a:lnTo>
                <a:lnTo>
                  <a:pt x="0" y="679"/>
                </a:lnTo>
                <a:lnTo>
                  <a:pt x="372" y="1355"/>
                </a:lnTo>
                <a:lnTo>
                  <a:pt x="3804" y="1355"/>
                </a:lnTo>
                <a:lnTo>
                  <a:pt x="3799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" name="Freeform 26">
            <a:extLst>
              <a:ext uri="{FF2B5EF4-FFF2-40B4-BE49-F238E27FC236}">
                <a16:creationId xmlns:a16="http://schemas.microsoft.com/office/drawing/2014/main" id="{B01201B7-779A-4F09-97C4-632F8773130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6284805" y="3026023"/>
            <a:ext cx="4738736" cy="805953"/>
          </a:xfrm>
          <a:custGeom>
            <a:avLst/>
            <a:gdLst>
              <a:gd name="T0" fmla="*/ 3799 w 3804"/>
              <a:gd name="T1" fmla="*/ 0 h 1355"/>
              <a:gd name="T2" fmla="*/ 372 w 3804"/>
              <a:gd name="T3" fmla="*/ 0 h 1355"/>
              <a:gd name="T4" fmla="*/ 0 w 3804"/>
              <a:gd name="T5" fmla="*/ 679 h 1355"/>
              <a:gd name="T6" fmla="*/ 372 w 3804"/>
              <a:gd name="T7" fmla="*/ 1355 h 1355"/>
              <a:gd name="T8" fmla="*/ 3804 w 3804"/>
              <a:gd name="T9" fmla="*/ 1355 h 1355"/>
              <a:gd name="T10" fmla="*/ 3799 w 3804"/>
              <a:gd name="T11" fmla="*/ 0 h 1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04" h="1355">
                <a:moveTo>
                  <a:pt x="3799" y="0"/>
                </a:moveTo>
                <a:lnTo>
                  <a:pt x="372" y="0"/>
                </a:lnTo>
                <a:lnTo>
                  <a:pt x="0" y="679"/>
                </a:lnTo>
                <a:lnTo>
                  <a:pt x="372" y="1355"/>
                </a:lnTo>
                <a:lnTo>
                  <a:pt x="3804" y="1355"/>
                </a:lnTo>
                <a:lnTo>
                  <a:pt x="3799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" name="Freeform 26">
            <a:extLst>
              <a:ext uri="{FF2B5EF4-FFF2-40B4-BE49-F238E27FC236}">
                <a16:creationId xmlns:a16="http://schemas.microsoft.com/office/drawing/2014/main" id="{7E9A7A09-9D7A-4073-9B93-CD1BA2600249}"/>
              </a:ext>
            </a:extLst>
          </p:cNvPr>
          <p:cNvSpPr>
            <a:spLocks/>
          </p:cNvSpPr>
          <p:nvPr userDrawn="1"/>
        </p:nvSpPr>
        <p:spPr bwMode="auto">
          <a:xfrm>
            <a:off x="1239252" y="3347067"/>
            <a:ext cx="4515659" cy="805953"/>
          </a:xfrm>
          <a:custGeom>
            <a:avLst/>
            <a:gdLst>
              <a:gd name="T0" fmla="*/ 3799 w 3804"/>
              <a:gd name="T1" fmla="*/ 0 h 1355"/>
              <a:gd name="T2" fmla="*/ 372 w 3804"/>
              <a:gd name="T3" fmla="*/ 0 h 1355"/>
              <a:gd name="T4" fmla="*/ 0 w 3804"/>
              <a:gd name="T5" fmla="*/ 679 h 1355"/>
              <a:gd name="T6" fmla="*/ 372 w 3804"/>
              <a:gd name="T7" fmla="*/ 1355 h 1355"/>
              <a:gd name="T8" fmla="*/ 3804 w 3804"/>
              <a:gd name="T9" fmla="*/ 1355 h 1355"/>
              <a:gd name="T10" fmla="*/ 3799 w 3804"/>
              <a:gd name="T11" fmla="*/ 0 h 1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04" h="1355">
                <a:moveTo>
                  <a:pt x="3799" y="0"/>
                </a:moveTo>
                <a:lnTo>
                  <a:pt x="372" y="0"/>
                </a:lnTo>
                <a:lnTo>
                  <a:pt x="0" y="679"/>
                </a:lnTo>
                <a:lnTo>
                  <a:pt x="372" y="1355"/>
                </a:lnTo>
                <a:lnTo>
                  <a:pt x="3804" y="1355"/>
                </a:lnTo>
                <a:lnTo>
                  <a:pt x="379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73A9974-0153-4140-B772-B124DAA52C85}"/>
              </a:ext>
            </a:extLst>
          </p:cNvPr>
          <p:cNvGrpSpPr/>
          <p:nvPr userDrawn="1"/>
        </p:nvGrpSpPr>
        <p:grpSpPr>
          <a:xfrm rot="18810804">
            <a:off x="5071243" y="3639661"/>
            <a:ext cx="1122786" cy="720924"/>
            <a:chOff x="4481513" y="3678059"/>
            <a:chExt cx="1614487" cy="1036638"/>
          </a:xfrm>
        </p:grpSpPr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86AC2A6B-0E69-43F6-A146-6A4426E85E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1513" y="3678059"/>
              <a:ext cx="1614487" cy="34448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Rectangle 13">
              <a:extLst>
                <a:ext uri="{FF2B5EF4-FFF2-40B4-BE49-F238E27FC236}">
                  <a16:creationId xmlns:a16="http://schemas.microsoft.com/office/drawing/2014/main" id="{3B6072C3-1589-40A0-82BF-169902CAC0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1513" y="4022546"/>
              <a:ext cx="1614487" cy="3444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Rectangle 14">
              <a:extLst>
                <a:ext uri="{FF2B5EF4-FFF2-40B4-BE49-F238E27FC236}">
                  <a16:creationId xmlns:a16="http://schemas.microsoft.com/office/drawing/2014/main" id="{610C3FD6-6A3E-4BFA-8102-E3989AA18F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1513" y="4367034"/>
              <a:ext cx="1614487" cy="34766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C996818-7B5C-49CF-99C6-EF4FC61F83A2}"/>
              </a:ext>
            </a:extLst>
          </p:cNvPr>
          <p:cNvGrpSpPr/>
          <p:nvPr userDrawn="1"/>
        </p:nvGrpSpPr>
        <p:grpSpPr>
          <a:xfrm rot="18810804">
            <a:off x="5841864" y="2829041"/>
            <a:ext cx="1122786" cy="717613"/>
            <a:chOff x="6096000" y="3187521"/>
            <a:chExt cx="1614487" cy="1031876"/>
          </a:xfrm>
        </p:grpSpPr>
        <p:sp>
          <p:nvSpPr>
            <p:cNvPr id="13" name="Rectangle 15">
              <a:extLst>
                <a:ext uri="{FF2B5EF4-FFF2-40B4-BE49-F238E27FC236}">
                  <a16:creationId xmlns:a16="http://schemas.microsoft.com/office/drawing/2014/main" id="{EB7509AC-C235-41FA-875F-DD7618844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000" y="3187521"/>
              <a:ext cx="1614487" cy="34448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Rectangle 16">
              <a:extLst>
                <a:ext uri="{FF2B5EF4-FFF2-40B4-BE49-F238E27FC236}">
                  <a16:creationId xmlns:a16="http://schemas.microsoft.com/office/drawing/2014/main" id="{280D7EAE-CE7E-401F-84B8-6F5E8AAEF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000" y="3532009"/>
              <a:ext cx="1614487" cy="3429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Rectangle 17">
              <a:extLst>
                <a:ext uri="{FF2B5EF4-FFF2-40B4-BE49-F238E27FC236}">
                  <a16:creationId xmlns:a16="http://schemas.microsoft.com/office/drawing/2014/main" id="{F40EA8B0-C0F5-4FC4-A0F4-79AAFEA980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000" y="3874909"/>
              <a:ext cx="1614487" cy="34448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7365447-1657-46D9-9118-A331DBD2E217}"/>
              </a:ext>
            </a:extLst>
          </p:cNvPr>
          <p:cNvGrpSpPr/>
          <p:nvPr userDrawn="1"/>
        </p:nvGrpSpPr>
        <p:grpSpPr>
          <a:xfrm rot="18810804">
            <a:off x="6576400" y="1962704"/>
            <a:ext cx="1290597" cy="720924"/>
            <a:chOff x="7700963" y="3678059"/>
            <a:chExt cx="1855787" cy="1036638"/>
          </a:xfrm>
        </p:grpSpPr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F3CF25BE-A7C8-4176-8527-0E7D1656B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4963" y="3678059"/>
              <a:ext cx="331787" cy="1036638"/>
            </a:xfrm>
            <a:custGeom>
              <a:avLst/>
              <a:gdLst>
                <a:gd name="T0" fmla="*/ 0 w 209"/>
                <a:gd name="T1" fmla="*/ 162 h 653"/>
                <a:gd name="T2" fmla="*/ 135 w 209"/>
                <a:gd name="T3" fmla="*/ 0 h 653"/>
                <a:gd name="T4" fmla="*/ 209 w 209"/>
                <a:gd name="T5" fmla="*/ 210 h 653"/>
                <a:gd name="T6" fmla="*/ 209 w 209"/>
                <a:gd name="T7" fmla="*/ 443 h 653"/>
                <a:gd name="T8" fmla="*/ 135 w 209"/>
                <a:gd name="T9" fmla="*/ 653 h 653"/>
                <a:gd name="T10" fmla="*/ 0 w 209"/>
                <a:gd name="T11" fmla="*/ 488 h 653"/>
                <a:gd name="T12" fmla="*/ 0 w 209"/>
                <a:gd name="T13" fmla="*/ 162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653">
                  <a:moveTo>
                    <a:pt x="0" y="162"/>
                  </a:moveTo>
                  <a:lnTo>
                    <a:pt x="135" y="0"/>
                  </a:lnTo>
                  <a:lnTo>
                    <a:pt x="209" y="210"/>
                  </a:lnTo>
                  <a:lnTo>
                    <a:pt x="209" y="443"/>
                  </a:lnTo>
                  <a:lnTo>
                    <a:pt x="135" y="653"/>
                  </a:lnTo>
                  <a:lnTo>
                    <a:pt x="0" y="488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BBA1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BBF6DF91-EC96-466D-8D36-91F217CC3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0963" y="3678059"/>
              <a:ext cx="1738312" cy="344488"/>
            </a:xfrm>
            <a:custGeom>
              <a:avLst/>
              <a:gdLst>
                <a:gd name="T0" fmla="*/ 1020 w 1095"/>
                <a:gd name="T1" fmla="*/ 217 h 217"/>
                <a:gd name="T2" fmla="*/ 1095 w 1095"/>
                <a:gd name="T3" fmla="*/ 0 h 217"/>
                <a:gd name="T4" fmla="*/ 0 w 1095"/>
                <a:gd name="T5" fmla="*/ 0 h 217"/>
                <a:gd name="T6" fmla="*/ 0 w 1095"/>
                <a:gd name="T7" fmla="*/ 217 h 217"/>
                <a:gd name="T8" fmla="*/ 1020 w 1095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217">
                  <a:moveTo>
                    <a:pt x="1020" y="217"/>
                  </a:moveTo>
                  <a:lnTo>
                    <a:pt x="1095" y="0"/>
                  </a:lnTo>
                  <a:lnTo>
                    <a:pt x="0" y="0"/>
                  </a:lnTo>
                  <a:lnTo>
                    <a:pt x="0" y="217"/>
                  </a:lnTo>
                  <a:lnTo>
                    <a:pt x="1020" y="217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Rectangle 19">
              <a:extLst>
                <a:ext uri="{FF2B5EF4-FFF2-40B4-BE49-F238E27FC236}">
                  <a16:creationId xmlns:a16="http://schemas.microsoft.com/office/drawing/2014/main" id="{B5A455F2-4B4B-4127-A0E2-AA4BD077FF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0963" y="4022546"/>
              <a:ext cx="1619250" cy="3444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20">
              <a:extLst>
                <a:ext uri="{FF2B5EF4-FFF2-40B4-BE49-F238E27FC236}">
                  <a16:creationId xmlns:a16="http://schemas.microsoft.com/office/drawing/2014/main" id="{1E4D5DA3-65FC-4731-AB66-6FDAD0D86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0963" y="4367034"/>
              <a:ext cx="1738312" cy="347663"/>
            </a:xfrm>
            <a:custGeom>
              <a:avLst/>
              <a:gdLst>
                <a:gd name="T0" fmla="*/ 1095 w 1095"/>
                <a:gd name="T1" fmla="*/ 219 h 219"/>
                <a:gd name="T2" fmla="*/ 1020 w 1095"/>
                <a:gd name="T3" fmla="*/ 0 h 219"/>
                <a:gd name="T4" fmla="*/ 0 w 1095"/>
                <a:gd name="T5" fmla="*/ 0 h 219"/>
                <a:gd name="T6" fmla="*/ 0 w 1095"/>
                <a:gd name="T7" fmla="*/ 219 h 219"/>
                <a:gd name="T8" fmla="*/ 1095 w 1095"/>
                <a:gd name="T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219">
                  <a:moveTo>
                    <a:pt x="1095" y="219"/>
                  </a:moveTo>
                  <a:lnTo>
                    <a:pt x="1020" y="0"/>
                  </a:lnTo>
                  <a:lnTo>
                    <a:pt x="0" y="0"/>
                  </a:lnTo>
                  <a:lnTo>
                    <a:pt x="0" y="219"/>
                  </a:lnTo>
                  <a:lnTo>
                    <a:pt x="1095" y="219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Oval 21">
              <a:extLst>
                <a:ext uri="{FF2B5EF4-FFF2-40B4-BE49-F238E27FC236}">
                  <a16:creationId xmlns:a16="http://schemas.microsoft.com/office/drawing/2014/main" id="{42C093F8-91C4-4001-99B5-CAF2D29C3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8000" y="4049534"/>
              <a:ext cx="82550" cy="293688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F1EE03B-1E14-4FF3-AA82-6836040EA17B}"/>
              </a:ext>
            </a:extLst>
          </p:cNvPr>
          <p:cNvGrpSpPr/>
          <p:nvPr userDrawn="1"/>
        </p:nvGrpSpPr>
        <p:grpSpPr>
          <a:xfrm rot="18810804">
            <a:off x="3572392" y="4768771"/>
            <a:ext cx="1998273" cy="717613"/>
            <a:chOff x="1608138" y="3187521"/>
            <a:chExt cx="2873375" cy="1031876"/>
          </a:xfrm>
        </p:grpSpPr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840CAB2F-D702-4BB0-B46C-6734C6888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138" y="3187521"/>
              <a:ext cx="1490662" cy="1031875"/>
            </a:xfrm>
            <a:custGeom>
              <a:avLst/>
              <a:gdLst>
                <a:gd name="T0" fmla="*/ 793 w 939"/>
                <a:gd name="T1" fmla="*/ 650 h 650"/>
                <a:gd name="T2" fmla="*/ 0 w 939"/>
                <a:gd name="T3" fmla="*/ 326 h 650"/>
                <a:gd name="T4" fmla="*/ 793 w 939"/>
                <a:gd name="T5" fmla="*/ 0 h 650"/>
                <a:gd name="T6" fmla="*/ 939 w 939"/>
                <a:gd name="T7" fmla="*/ 0 h 650"/>
                <a:gd name="T8" fmla="*/ 939 w 939"/>
                <a:gd name="T9" fmla="*/ 650 h 650"/>
                <a:gd name="T10" fmla="*/ 793 w 939"/>
                <a:gd name="T11" fmla="*/ 65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9" h="650">
                  <a:moveTo>
                    <a:pt x="793" y="650"/>
                  </a:moveTo>
                  <a:lnTo>
                    <a:pt x="0" y="326"/>
                  </a:lnTo>
                  <a:lnTo>
                    <a:pt x="793" y="0"/>
                  </a:lnTo>
                  <a:lnTo>
                    <a:pt x="939" y="0"/>
                  </a:lnTo>
                  <a:lnTo>
                    <a:pt x="939" y="650"/>
                  </a:lnTo>
                  <a:lnTo>
                    <a:pt x="793" y="650"/>
                  </a:lnTo>
                  <a:close/>
                </a:path>
              </a:pathLst>
            </a:custGeom>
            <a:solidFill>
              <a:srgbClr val="D4AC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F1723A06-585F-4D1B-AB75-C9E2C911F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3187521"/>
              <a:ext cx="1743075" cy="344488"/>
            </a:xfrm>
            <a:custGeom>
              <a:avLst/>
              <a:gdLst>
                <a:gd name="T0" fmla="*/ 464 w 464"/>
                <a:gd name="T1" fmla="*/ 0 h 91"/>
                <a:gd name="T2" fmla="*/ 41 w 464"/>
                <a:gd name="T3" fmla="*/ 0 h 91"/>
                <a:gd name="T4" fmla="*/ 16 w 464"/>
                <a:gd name="T5" fmla="*/ 14 h 91"/>
                <a:gd name="T6" fmla="*/ 5 w 464"/>
                <a:gd name="T7" fmla="*/ 31 h 91"/>
                <a:gd name="T8" fmla="*/ 5 w 464"/>
                <a:gd name="T9" fmla="*/ 59 h 91"/>
                <a:gd name="T10" fmla="*/ 16 w 464"/>
                <a:gd name="T11" fmla="*/ 77 h 91"/>
                <a:gd name="T12" fmla="*/ 41 w 464"/>
                <a:gd name="T13" fmla="*/ 91 h 91"/>
                <a:gd name="T14" fmla="*/ 464 w 464"/>
                <a:gd name="T15" fmla="*/ 91 h 91"/>
                <a:gd name="T16" fmla="*/ 464 w 464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4" h="91">
                  <a:moveTo>
                    <a:pt x="464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32" y="0"/>
                    <a:pt x="21" y="6"/>
                    <a:pt x="16" y="14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0" y="39"/>
                    <a:pt x="0" y="52"/>
                    <a:pt x="5" y="59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21" y="85"/>
                    <a:pt x="32" y="91"/>
                    <a:pt x="41" y="91"/>
                  </a:cubicBezTo>
                  <a:cubicBezTo>
                    <a:pt x="464" y="91"/>
                    <a:pt x="464" y="91"/>
                    <a:pt x="464" y="91"/>
                  </a:cubicBezTo>
                  <a:lnTo>
                    <a:pt x="464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80DE71A7-F050-4115-90A3-C06683224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3532009"/>
              <a:ext cx="1743075" cy="342900"/>
            </a:xfrm>
            <a:custGeom>
              <a:avLst/>
              <a:gdLst>
                <a:gd name="T0" fmla="*/ 464 w 464"/>
                <a:gd name="T1" fmla="*/ 0 h 91"/>
                <a:gd name="T2" fmla="*/ 41 w 464"/>
                <a:gd name="T3" fmla="*/ 0 h 91"/>
                <a:gd name="T4" fmla="*/ 16 w 464"/>
                <a:gd name="T5" fmla="*/ 14 h 91"/>
                <a:gd name="T6" fmla="*/ 5 w 464"/>
                <a:gd name="T7" fmla="*/ 32 h 91"/>
                <a:gd name="T8" fmla="*/ 5 w 464"/>
                <a:gd name="T9" fmla="*/ 60 h 91"/>
                <a:gd name="T10" fmla="*/ 16 w 464"/>
                <a:gd name="T11" fmla="*/ 77 h 91"/>
                <a:gd name="T12" fmla="*/ 41 w 464"/>
                <a:gd name="T13" fmla="*/ 91 h 91"/>
                <a:gd name="T14" fmla="*/ 464 w 464"/>
                <a:gd name="T15" fmla="*/ 91 h 91"/>
                <a:gd name="T16" fmla="*/ 464 w 464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4" h="91">
                  <a:moveTo>
                    <a:pt x="464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32" y="0"/>
                    <a:pt x="21" y="6"/>
                    <a:pt x="16" y="14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0" y="39"/>
                    <a:pt x="0" y="52"/>
                    <a:pt x="5" y="60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21" y="85"/>
                    <a:pt x="32" y="91"/>
                    <a:pt x="41" y="91"/>
                  </a:cubicBezTo>
                  <a:cubicBezTo>
                    <a:pt x="464" y="91"/>
                    <a:pt x="464" y="91"/>
                    <a:pt x="464" y="91"/>
                  </a:cubicBezTo>
                  <a:lnTo>
                    <a:pt x="46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BD056CA6-3298-4D89-A893-BEE5A05C2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3874909"/>
              <a:ext cx="1743075" cy="344488"/>
            </a:xfrm>
            <a:custGeom>
              <a:avLst/>
              <a:gdLst>
                <a:gd name="T0" fmla="*/ 464 w 464"/>
                <a:gd name="T1" fmla="*/ 0 h 91"/>
                <a:gd name="T2" fmla="*/ 41 w 464"/>
                <a:gd name="T3" fmla="*/ 0 h 91"/>
                <a:gd name="T4" fmla="*/ 16 w 464"/>
                <a:gd name="T5" fmla="*/ 14 h 91"/>
                <a:gd name="T6" fmla="*/ 5 w 464"/>
                <a:gd name="T7" fmla="*/ 32 h 91"/>
                <a:gd name="T8" fmla="*/ 5 w 464"/>
                <a:gd name="T9" fmla="*/ 60 h 91"/>
                <a:gd name="T10" fmla="*/ 16 w 464"/>
                <a:gd name="T11" fmla="*/ 77 h 91"/>
                <a:gd name="T12" fmla="*/ 41 w 464"/>
                <a:gd name="T13" fmla="*/ 91 h 91"/>
                <a:gd name="T14" fmla="*/ 464 w 464"/>
                <a:gd name="T15" fmla="*/ 91 h 91"/>
                <a:gd name="T16" fmla="*/ 464 w 464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4" h="91">
                  <a:moveTo>
                    <a:pt x="464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32" y="0"/>
                    <a:pt x="21" y="6"/>
                    <a:pt x="16" y="14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0" y="40"/>
                    <a:pt x="0" y="52"/>
                    <a:pt x="5" y="60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21" y="85"/>
                    <a:pt x="32" y="91"/>
                    <a:pt x="41" y="91"/>
                  </a:cubicBezTo>
                  <a:cubicBezTo>
                    <a:pt x="464" y="91"/>
                    <a:pt x="464" y="91"/>
                    <a:pt x="464" y="91"/>
                  </a:cubicBezTo>
                  <a:lnTo>
                    <a:pt x="464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5B792944-F34F-4C55-B22A-959C15B3C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138" y="3538359"/>
              <a:ext cx="428625" cy="333375"/>
            </a:xfrm>
            <a:custGeom>
              <a:avLst/>
              <a:gdLst>
                <a:gd name="T0" fmla="*/ 114 w 114"/>
                <a:gd name="T1" fmla="*/ 49 h 88"/>
                <a:gd name="T2" fmla="*/ 107 w 114"/>
                <a:gd name="T3" fmla="*/ 0 h 88"/>
                <a:gd name="T4" fmla="*/ 0 w 114"/>
                <a:gd name="T5" fmla="*/ 44 h 88"/>
                <a:gd name="T6" fmla="*/ 109 w 114"/>
                <a:gd name="T7" fmla="*/ 88 h 88"/>
                <a:gd name="T8" fmla="*/ 114 w 114"/>
                <a:gd name="T9" fmla="*/ 4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88">
                  <a:moveTo>
                    <a:pt x="114" y="49"/>
                  </a:moveTo>
                  <a:cubicBezTo>
                    <a:pt x="114" y="32"/>
                    <a:pt x="111" y="15"/>
                    <a:pt x="107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9" y="88"/>
                    <a:pt x="109" y="88"/>
                    <a:pt x="109" y="88"/>
                  </a:cubicBezTo>
                  <a:cubicBezTo>
                    <a:pt x="112" y="76"/>
                    <a:pt x="114" y="63"/>
                    <a:pt x="114" y="49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8" name="Freeform 27">
            <a:extLst>
              <a:ext uri="{FF2B5EF4-FFF2-40B4-BE49-F238E27FC236}">
                <a16:creationId xmlns:a16="http://schemas.microsoft.com/office/drawing/2014/main" id="{F57493FC-4276-4E79-8D09-32135966B5D5}"/>
              </a:ext>
            </a:extLst>
          </p:cNvPr>
          <p:cNvSpPr>
            <a:spLocks/>
          </p:cNvSpPr>
          <p:nvPr userDrawn="1"/>
        </p:nvSpPr>
        <p:spPr bwMode="auto">
          <a:xfrm>
            <a:off x="2987173" y="2194477"/>
            <a:ext cx="6038850" cy="2151062"/>
          </a:xfrm>
          <a:custGeom>
            <a:avLst/>
            <a:gdLst>
              <a:gd name="T0" fmla="*/ 3799 w 3804"/>
              <a:gd name="T1" fmla="*/ 0 h 1355"/>
              <a:gd name="T2" fmla="*/ 372 w 3804"/>
              <a:gd name="T3" fmla="*/ 0 h 1355"/>
              <a:gd name="T4" fmla="*/ 0 w 3804"/>
              <a:gd name="T5" fmla="*/ 679 h 1355"/>
              <a:gd name="T6" fmla="*/ 372 w 3804"/>
              <a:gd name="T7" fmla="*/ 1355 h 1355"/>
              <a:gd name="T8" fmla="*/ 3804 w 3804"/>
              <a:gd name="T9" fmla="*/ 1355 h 1355"/>
              <a:gd name="T10" fmla="*/ 3799 w 3804"/>
              <a:gd name="T11" fmla="*/ 0 h 1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04" h="1355">
                <a:moveTo>
                  <a:pt x="3799" y="0"/>
                </a:moveTo>
                <a:lnTo>
                  <a:pt x="372" y="0"/>
                </a:lnTo>
                <a:lnTo>
                  <a:pt x="0" y="679"/>
                </a:lnTo>
                <a:lnTo>
                  <a:pt x="372" y="1355"/>
                </a:lnTo>
                <a:lnTo>
                  <a:pt x="3804" y="1355"/>
                </a:lnTo>
                <a:lnTo>
                  <a:pt x="379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C2DF85AE-55A9-49F5-ABBE-2261DAC3AB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38812" y="3213100"/>
            <a:ext cx="2719626" cy="414338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0BF9434B-3B94-43D3-9147-D70031BAE6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0774" y="4825704"/>
            <a:ext cx="2719388" cy="461963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F71E1150-7133-4936-8AFE-1AFA95223A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3788" y="3503969"/>
            <a:ext cx="2747963" cy="46511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26CBBB0E-9348-4086-BB17-2F35CD1D70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78088" y="1915662"/>
            <a:ext cx="2760663" cy="443638"/>
          </a:xfrm>
        </p:spPr>
        <p:txBody>
          <a:bodyPr anchor="ctr"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36B6836E-2C74-4C22-B5FD-FA46A9D6E7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659CF5D-D793-4C28-8578-7A6F8C1561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13555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62CE78-23A2-4FF0-A135-4DA67BA43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5E0A78-12C1-443B-8AA7-24C99EA97D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8D15C07-B295-4977-B959-57613A721C75}"/>
              </a:ext>
            </a:extLst>
          </p:cNvPr>
          <p:cNvGrpSpPr/>
          <p:nvPr userDrawn="1"/>
        </p:nvGrpSpPr>
        <p:grpSpPr>
          <a:xfrm>
            <a:off x="6003758" y="704599"/>
            <a:ext cx="6198561" cy="5637747"/>
            <a:chOff x="5318554" y="704599"/>
            <a:chExt cx="6883765" cy="6260957"/>
          </a:xfrm>
        </p:grpSpPr>
        <p:sp>
          <p:nvSpPr>
            <p:cNvPr id="4" name="Freeform 66">
              <a:extLst>
                <a:ext uri="{FF2B5EF4-FFF2-40B4-BE49-F238E27FC236}">
                  <a16:creationId xmlns:a16="http://schemas.microsoft.com/office/drawing/2014/main" id="{A74B4755-7F94-41A7-8FD5-3E1FE549F3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52318" y="3879676"/>
              <a:ext cx="1873123" cy="1807400"/>
            </a:xfrm>
            <a:custGeom>
              <a:avLst/>
              <a:gdLst>
                <a:gd name="T0" fmla="*/ 256 w 1197"/>
                <a:gd name="T1" fmla="*/ 0 h 1155"/>
                <a:gd name="T2" fmla="*/ 0 w 1197"/>
                <a:gd name="T3" fmla="*/ 353 h 1155"/>
                <a:gd name="T4" fmla="*/ 1197 w 1197"/>
                <a:gd name="T5" fmla="*/ 1155 h 1155"/>
                <a:gd name="T6" fmla="*/ 1197 w 1197"/>
                <a:gd name="T7" fmla="*/ 633 h 1155"/>
                <a:gd name="T8" fmla="*/ 256 w 1197"/>
                <a:gd name="T9" fmla="*/ 0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7" h="1155">
                  <a:moveTo>
                    <a:pt x="256" y="0"/>
                  </a:moveTo>
                  <a:lnTo>
                    <a:pt x="0" y="353"/>
                  </a:lnTo>
                  <a:lnTo>
                    <a:pt x="1197" y="1155"/>
                  </a:lnTo>
                  <a:lnTo>
                    <a:pt x="1197" y="633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" name="Freeform 68">
              <a:extLst>
                <a:ext uri="{FF2B5EF4-FFF2-40B4-BE49-F238E27FC236}">
                  <a16:creationId xmlns:a16="http://schemas.microsoft.com/office/drawing/2014/main" id="{2F397039-6258-4625-B3C5-00AF42AB6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43680" y="3349193"/>
              <a:ext cx="1372372" cy="1326991"/>
            </a:xfrm>
            <a:custGeom>
              <a:avLst/>
              <a:gdLst>
                <a:gd name="T0" fmla="*/ 191 w 877"/>
                <a:gd name="T1" fmla="*/ 0 h 848"/>
                <a:gd name="T2" fmla="*/ 0 w 877"/>
                <a:gd name="T3" fmla="*/ 261 h 848"/>
                <a:gd name="T4" fmla="*/ 877 w 877"/>
                <a:gd name="T5" fmla="*/ 848 h 848"/>
                <a:gd name="T6" fmla="*/ 877 w 877"/>
                <a:gd name="T7" fmla="*/ 458 h 848"/>
                <a:gd name="T8" fmla="*/ 191 w 877"/>
                <a:gd name="T9" fmla="*/ 0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7" h="848">
                  <a:moveTo>
                    <a:pt x="191" y="0"/>
                  </a:moveTo>
                  <a:lnTo>
                    <a:pt x="0" y="261"/>
                  </a:lnTo>
                  <a:lnTo>
                    <a:pt x="877" y="848"/>
                  </a:lnTo>
                  <a:lnTo>
                    <a:pt x="877" y="458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" name="Freeform 70">
              <a:extLst>
                <a:ext uri="{FF2B5EF4-FFF2-40B4-BE49-F238E27FC236}">
                  <a16:creationId xmlns:a16="http://schemas.microsoft.com/office/drawing/2014/main" id="{6883F3A1-C71A-4B3A-8E8E-BC23F47CB0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6456" y="2801496"/>
              <a:ext cx="984290" cy="1081310"/>
            </a:xfrm>
            <a:custGeom>
              <a:avLst/>
              <a:gdLst>
                <a:gd name="T0" fmla="*/ 629 w 629"/>
                <a:gd name="T1" fmla="*/ 290 h 691"/>
                <a:gd name="T2" fmla="*/ 195 w 629"/>
                <a:gd name="T3" fmla="*/ 0 h 691"/>
                <a:gd name="T4" fmla="*/ 0 w 629"/>
                <a:gd name="T5" fmla="*/ 272 h 691"/>
                <a:gd name="T6" fmla="*/ 629 w 629"/>
                <a:gd name="T7" fmla="*/ 691 h 691"/>
                <a:gd name="T8" fmla="*/ 629 w 629"/>
                <a:gd name="T9" fmla="*/ 295 h 691"/>
                <a:gd name="T10" fmla="*/ 629 w 629"/>
                <a:gd name="T11" fmla="*/ 29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9" h="691">
                  <a:moveTo>
                    <a:pt x="629" y="290"/>
                  </a:moveTo>
                  <a:lnTo>
                    <a:pt x="195" y="0"/>
                  </a:lnTo>
                  <a:lnTo>
                    <a:pt x="0" y="272"/>
                  </a:lnTo>
                  <a:lnTo>
                    <a:pt x="629" y="691"/>
                  </a:lnTo>
                  <a:lnTo>
                    <a:pt x="629" y="295"/>
                  </a:lnTo>
                  <a:lnTo>
                    <a:pt x="629" y="29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" name="Freeform 72">
              <a:extLst>
                <a:ext uri="{FF2B5EF4-FFF2-40B4-BE49-F238E27FC236}">
                  <a16:creationId xmlns:a16="http://schemas.microsoft.com/office/drawing/2014/main" id="{C73CF082-300C-48B8-81DA-B25EEB8F48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18554" y="4590116"/>
              <a:ext cx="2497497" cy="2375439"/>
            </a:xfrm>
            <a:custGeom>
              <a:avLst/>
              <a:gdLst>
                <a:gd name="T0" fmla="*/ 330 w 1596"/>
                <a:gd name="T1" fmla="*/ 0 h 1518"/>
                <a:gd name="T2" fmla="*/ 0 w 1596"/>
                <a:gd name="T3" fmla="*/ 451 h 1518"/>
                <a:gd name="T4" fmla="*/ 1596 w 1596"/>
                <a:gd name="T5" fmla="*/ 1518 h 1518"/>
                <a:gd name="T6" fmla="*/ 1596 w 1596"/>
                <a:gd name="T7" fmla="*/ 848 h 1518"/>
                <a:gd name="T8" fmla="*/ 330 w 1596"/>
                <a:gd name="T9" fmla="*/ 0 h 1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6" h="1518">
                  <a:moveTo>
                    <a:pt x="330" y="0"/>
                  </a:moveTo>
                  <a:lnTo>
                    <a:pt x="0" y="451"/>
                  </a:lnTo>
                  <a:lnTo>
                    <a:pt x="1596" y="1518"/>
                  </a:lnTo>
                  <a:lnTo>
                    <a:pt x="1596" y="848"/>
                  </a:lnTo>
                  <a:lnTo>
                    <a:pt x="330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67">
              <a:extLst>
                <a:ext uri="{FF2B5EF4-FFF2-40B4-BE49-F238E27FC236}">
                  <a16:creationId xmlns:a16="http://schemas.microsoft.com/office/drawing/2014/main" id="{A60F2302-5FCF-400F-AEB0-D0DDD87C6D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5440" y="2355515"/>
              <a:ext cx="4376879" cy="3331561"/>
            </a:xfrm>
            <a:custGeom>
              <a:avLst/>
              <a:gdLst>
                <a:gd name="T0" fmla="*/ 0 w 2797"/>
                <a:gd name="T1" fmla="*/ 1607 h 2129"/>
                <a:gd name="T2" fmla="*/ 0 w 2797"/>
                <a:gd name="T3" fmla="*/ 2129 h 2129"/>
                <a:gd name="T4" fmla="*/ 2797 w 2797"/>
                <a:gd name="T5" fmla="*/ 543 h 2129"/>
                <a:gd name="T6" fmla="*/ 2797 w 2797"/>
                <a:gd name="T7" fmla="*/ 0 h 2129"/>
                <a:gd name="T8" fmla="*/ 0 w 2797"/>
                <a:gd name="T9" fmla="*/ 1607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7" h="2129">
                  <a:moveTo>
                    <a:pt x="0" y="1607"/>
                  </a:moveTo>
                  <a:lnTo>
                    <a:pt x="0" y="2129"/>
                  </a:lnTo>
                  <a:lnTo>
                    <a:pt x="2797" y="543"/>
                  </a:lnTo>
                  <a:lnTo>
                    <a:pt x="2797" y="0"/>
                  </a:lnTo>
                  <a:lnTo>
                    <a:pt x="0" y="160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69">
              <a:extLst>
                <a:ext uri="{FF2B5EF4-FFF2-40B4-BE49-F238E27FC236}">
                  <a16:creationId xmlns:a16="http://schemas.microsoft.com/office/drawing/2014/main" id="{67B5C608-3A6A-49B6-9EEC-DBF08B02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6051" y="1527710"/>
              <a:ext cx="4386268" cy="3148474"/>
            </a:xfrm>
            <a:custGeom>
              <a:avLst/>
              <a:gdLst>
                <a:gd name="T0" fmla="*/ 0 w 2803"/>
                <a:gd name="T1" fmla="*/ 1622 h 2012"/>
                <a:gd name="T2" fmla="*/ 0 w 2803"/>
                <a:gd name="T3" fmla="*/ 1622 h 2012"/>
                <a:gd name="T4" fmla="*/ 0 w 2803"/>
                <a:gd name="T5" fmla="*/ 2012 h 2012"/>
                <a:gd name="T6" fmla="*/ 2803 w 2803"/>
                <a:gd name="T7" fmla="*/ 405 h 2012"/>
                <a:gd name="T8" fmla="*/ 2803 w 2803"/>
                <a:gd name="T9" fmla="*/ 0 h 2012"/>
                <a:gd name="T10" fmla="*/ 0 w 2803"/>
                <a:gd name="T11" fmla="*/ 1622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03" h="2012">
                  <a:moveTo>
                    <a:pt x="0" y="1622"/>
                  </a:moveTo>
                  <a:lnTo>
                    <a:pt x="0" y="1622"/>
                  </a:lnTo>
                  <a:lnTo>
                    <a:pt x="0" y="2012"/>
                  </a:lnTo>
                  <a:lnTo>
                    <a:pt x="2803" y="405"/>
                  </a:lnTo>
                  <a:lnTo>
                    <a:pt x="2803" y="0"/>
                  </a:lnTo>
                  <a:lnTo>
                    <a:pt x="0" y="16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71">
              <a:extLst>
                <a:ext uri="{FF2B5EF4-FFF2-40B4-BE49-F238E27FC236}">
                  <a16:creationId xmlns:a16="http://schemas.microsoft.com/office/drawing/2014/main" id="{CB8CF8CB-0540-4CC9-AF53-34098099F7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0746" y="704599"/>
              <a:ext cx="4381573" cy="3178206"/>
            </a:xfrm>
            <a:custGeom>
              <a:avLst/>
              <a:gdLst>
                <a:gd name="T0" fmla="*/ 0 w 2800"/>
                <a:gd name="T1" fmla="*/ 1635 h 2031"/>
                <a:gd name="T2" fmla="*/ 0 w 2800"/>
                <a:gd name="T3" fmla="*/ 2031 h 2031"/>
                <a:gd name="T4" fmla="*/ 2800 w 2800"/>
                <a:gd name="T5" fmla="*/ 409 h 2031"/>
                <a:gd name="T6" fmla="*/ 2800 w 2800"/>
                <a:gd name="T7" fmla="*/ 0 h 2031"/>
                <a:gd name="T8" fmla="*/ 0 w 2800"/>
                <a:gd name="T9" fmla="*/ 1635 h 2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0" h="2031">
                  <a:moveTo>
                    <a:pt x="0" y="1635"/>
                  </a:moveTo>
                  <a:lnTo>
                    <a:pt x="0" y="2031"/>
                  </a:lnTo>
                  <a:lnTo>
                    <a:pt x="2800" y="409"/>
                  </a:lnTo>
                  <a:lnTo>
                    <a:pt x="2800" y="0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73">
              <a:extLst>
                <a:ext uri="{FF2B5EF4-FFF2-40B4-BE49-F238E27FC236}">
                  <a16:creationId xmlns:a16="http://schemas.microsoft.com/office/drawing/2014/main" id="{1A3D6320-33D5-45E5-9F3F-8F2E94A1A6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6051" y="3429000"/>
              <a:ext cx="4386268" cy="3536556"/>
            </a:xfrm>
            <a:custGeom>
              <a:avLst/>
              <a:gdLst>
                <a:gd name="T0" fmla="*/ 0 w 2803"/>
                <a:gd name="T1" fmla="*/ 1590 h 2260"/>
                <a:gd name="T2" fmla="*/ 0 w 2803"/>
                <a:gd name="T3" fmla="*/ 2260 h 2260"/>
                <a:gd name="T4" fmla="*/ 2803 w 2803"/>
                <a:gd name="T5" fmla="*/ 692 h 2260"/>
                <a:gd name="T6" fmla="*/ 2803 w 2803"/>
                <a:gd name="T7" fmla="*/ 0 h 2260"/>
                <a:gd name="T8" fmla="*/ 0 w 2803"/>
                <a:gd name="T9" fmla="*/ 1590 h 2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3" h="2260">
                  <a:moveTo>
                    <a:pt x="0" y="1590"/>
                  </a:moveTo>
                  <a:lnTo>
                    <a:pt x="0" y="2260"/>
                  </a:lnTo>
                  <a:lnTo>
                    <a:pt x="2803" y="692"/>
                  </a:lnTo>
                  <a:lnTo>
                    <a:pt x="2803" y="0"/>
                  </a:lnTo>
                  <a:lnTo>
                    <a:pt x="0" y="159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53">
              <a:extLst>
                <a:ext uri="{FF2B5EF4-FFF2-40B4-BE49-F238E27FC236}">
                  <a16:creationId xmlns:a16="http://schemas.microsoft.com/office/drawing/2014/main" id="{1E6C24B5-5429-45AF-BB2A-E5D0877228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27994" y="1857614"/>
              <a:ext cx="700649" cy="1200108"/>
            </a:xfrm>
            <a:custGeom>
              <a:avLst/>
              <a:gdLst>
                <a:gd name="T0" fmla="*/ 0 w 498"/>
                <a:gd name="T1" fmla="*/ 853 h 853"/>
                <a:gd name="T2" fmla="*/ 0 w 498"/>
                <a:gd name="T3" fmla="*/ 0 h 853"/>
                <a:gd name="T4" fmla="*/ 498 w 498"/>
                <a:gd name="T5" fmla="*/ 562 h 853"/>
                <a:gd name="T6" fmla="*/ 0 w 498"/>
                <a:gd name="T7" fmla="*/ 853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8" h="853">
                  <a:moveTo>
                    <a:pt x="0" y="853"/>
                  </a:moveTo>
                  <a:lnTo>
                    <a:pt x="0" y="0"/>
                  </a:lnTo>
                  <a:lnTo>
                    <a:pt x="498" y="562"/>
                  </a:lnTo>
                  <a:lnTo>
                    <a:pt x="0" y="8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54">
              <a:extLst>
                <a:ext uri="{FF2B5EF4-FFF2-40B4-BE49-F238E27FC236}">
                  <a16:creationId xmlns:a16="http://schemas.microsoft.com/office/drawing/2014/main" id="{ACC4B63E-EA57-4F6F-A7F9-145468EA6E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42713" y="1857614"/>
              <a:ext cx="585281" cy="1200108"/>
            </a:xfrm>
            <a:custGeom>
              <a:avLst/>
              <a:gdLst>
                <a:gd name="T0" fmla="*/ 416 w 416"/>
                <a:gd name="T1" fmla="*/ 0 h 853"/>
                <a:gd name="T2" fmla="*/ 0 w 416"/>
                <a:gd name="T3" fmla="*/ 574 h 853"/>
                <a:gd name="T4" fmla="*/ 416 w 416"/>
                <a:gd name="T5" fmla="*/ 853 h 853"/>
                <a:gd name="T6" fmla="*/ 416 w 416"/>
                <a:gd name="T7" fmla="*/ 0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6" h="853">
                  <a:moveTo>
                    <a:pt x="416" y="0"/>
                  </a:moveTo>
                  <a:lnTo>
                    <a:pt x="0" y="574"/>
                  </a:lnTo>
                  <a:lnTo>
                    <a:pt x="416" y="853"/>
                  </a:lnTo>
                  <a:lnTo>
                    <a:pt x="41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28A4EF35-1AC7-4CC8-A023-3F02063B8F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 rot="19801735">
            <a:off x="8375911" y="2147885"/>
            <a:ext cx="3181379" cy="2967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F3C2E626-A129-41A0-8695-F9DD252D1F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 rot="19801735">
            <a:off x="8375397" y="2881226"/>
            <a:ext cx="3181379" cy="338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384138EA-D3A1-4410-A05E-E98ACC08A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19801735">
            <a:off x="8375398" y="3694226"/>
            <a:ext cx="3181379" cy="338576"/>
          </a:xfrm>
        </p:spPr>
        <p:txBody>
          <a:bodyPr/>
          <a:lstStyle>
            <a:lvl1pPr>
              <a:defRPr>
                <a:solidFill>
                  <a:srgbClr val="0979BF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71C69D4A-995D-4DF0-BB9C-E74F9E561C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9801735">
            <a:off x="8375397" y="4705573"/>
            <a:ext cx="3181379" cy="3274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9F4F6727-E21F-498B-A20E-245753AA4D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987" y="4280856"/>
            <a:ext cx="5042317" cy="1782586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Nunc </a:t>
            </a:r>
            <a:r>
              <a:rPr lang="en-US" dirty="0" err="1"/>
              <a:t>venenatis</a:t>
            </a:r>
            <a:r>
              <a:rPr lang="en-US" dirty="0"/>
              <a:t> ligula vel </a:t>
            </a:r>
            <a:r>
              <a:rPr lang="en-US" dirty="0" err="1"/>
              <a:t>metus</a:t>
            </a:r>
            <a:r>
              <a:rPr lang="en-US" dirty="0"/>
              <a:t> vestibulum, pulvinar </a:t>
            </a:r>
            <a:r>
              <a:rPr lang="en-US" dirty="0" err="1"/>
              <a:t>volutpat</a:t>
            </a:r>
            <a:r>
              <a:rPr lang="en-US" dirty="0"/>
              <a:t> ligula gravida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finibus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semper vestibulum. Duis id </a:t>
            </a:r>
            <a:r>
              <a:rPr lang="en-US" dirty="0" err="1"/>
              <a:t>sem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. </a:t>
            </a:r>
            <a:endParaRPr lang="en-IN" dirty="0"/>
          </a:p>
        </p:txBody>
      </p:sp>
      <p:sp>
        <p:nvSpPr>
          <p:cNvPr id="51" name="Chart Placeholder 50">
            <a:extLst>
              <a:ext uri="{FF2B5EF4-FFF2-40B4-BE49-F238E27FC236}">
                <a16:creationId xmlns:a16="http://schemas.microsoft.com/office/drawing/2014/main" id="{F456DBA0-C3C8-429C-9143-26F409DCC743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94821" y="1156737"/>
            <a:ext cx="5041900" cy="2835078"/>
          </a:xfrm>
        </p:spPr>
        <p:txBody>
          <a:bodyPr/>
          <a:lstStyle/>
          <a:p>
            <a:endParaRPr lang="en-IN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622B39C-FECC-47E7-86AF-32E14178F1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E7D2FD9-DAEB-47EC-9FA1-9D05B847F5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475378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zzle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3FFFD7-85B5-4F0D-B2E5-02ADC5CD3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EB7EC6-3217-43A7-A600-E03F48DD40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6216F2D7-B286-4045-B4C5-C0347D04C77B}"/>
              </a:ext>
            </a:extLst>
          </p:cNvPr>
          <p:cNvSpPr>
            <a:spLocks/>
          </p:cNvSpPr>
          <p:nvPr userDrawn="1"/>
        </p:nvSpPr>
        <p:spPr bwMode="auto">
          <a:xfrm>
            <a:off x="6096000" y="1982128"/>
            <a:ext cx="2381265" cy="2382494"/>
          </a:xfrm>
          <a:custGeom>
            <a:avLst/>
            <a:gdLst>
              <a:gd name="T0" fmla="*/ 183 w 819"/>
              <a:gd name="T1" fmla="*/ 603 h 819"/>
              <a:gd name="T2" fmla="*/ 256 w 819"/>
              <a:gd name="T3" fmla="*/ 638 h 819"/>
              <a:gd name="T4" fmla="*/ 218 w 819"/>
              <a:gd name="T5" fmla="*/ 731 h 819"/>
              <a:gd name="T6" fmla="*/ 386 w 819"/>
              <a:gd name="T7" fmla="*/ 731 h 819"/>
              <a:gd name="T8" fmla="*/ 347 w 819"/>
              <a:gd name="T9" fmla="*/ 638 h 819"/>
              <a:gd name="T10" fmla="*/ 420 w 819"/>
              <a:gd name="T11" fmla="*/ 603 h 819"/>
              <a:gd name="T12" fmla="*/ 603 w 819"/>
              <a:gd name="T13" fmla="*/ 603 h 819"/>
              <a:gd name="T14" fmla="*/ 603 w 819"/>
              <a:gd name="T15" fmla="*/ 420 h 819"/>
              <a:gd name="T16" fmla="*/ 639 w 819"/>
              <a:gd name="T17" fmla="*/ 347 h 819"/>
              <a:gd name="T18" fmla="*/ 731 w 819"/>
              <a:gd name="T19" fmla="*/ 385 h 819"/>
              <a:gd name="T20" fmla="*/ 731 w 819"/>
              <a:gd name="T21" fmla="*/ 217 h 819"/>
              <a:gd name="T22" fmla="*/ 639 w 819"/>
              <a:gd name="T23" fmla="*/ 256 h 819"/>
              <a:gd name="T24" fmla="*/ 603 w 819"/>
              <a:gd name="T25" fmla="*/ 183 h 819"/>
              <a:gd name="T26" fmla="*/ 603 w 819"/>
              <a:gd name="T27" fmla="*/ 0 h 819"/>
              <a:gd name="T28" fmla="*/ 420 w 819"/>
              <a:gd name="T29" fmla="*/ 0 h 819"/>
              <a:gd name="T30" fmla="*/ 347 w 819"/>
              <a:gd name="T31" fmla="*/ 35 h 819"/>
              <a:gd name="T32" fmla="*/ 386 w 819"/>
              <a:gd name="T33" fmla="*/ 128 h 819"/>
              <a:gd name="T34" fmla="*/ 218 w 819"/>
              <a:gd name="T35" fmla="*/ 128 h 819"/>
              <a:gd name="T36" fmla="*/ 256 w 819"/>
              <a:gd name="T37" fmla="*/ 35 h 819"/>
              <a:gd name="T38" fmla="*/ 183 w 819"/>
              <a:gd name="T39" fmla="*/ 0 h 819"/>
              <a:gd name="T40" fmla="*/ 0 w 819"/>
              <a:gd name="T41" fmla="*/ 0 h 819"/>
              <a:gd name="T42" fmla="*/ 0 w 819"/>
              <a:gd name="T43" fmla="*/ 183 h 819"/>
              <a:gd name="T44" fmla="*/ 35 w 819"/>
              <a:gd name="T45" fmla="*/ 256 h 819"/>
              <a:gd name="T46" fmla="*/ 128 w 819"/>
              <a:gd name="T47" fmla="*/ 217 h 819"/>
              <a:gd name="T48" fmla="*/ 128 w 819"/>
              <a:gd name="T49" fmla="*/ 385 h 819"/>
              <a:gd name="T50" fmla="*/ 35 w 819"/>
              <a:gd name="T51" fmla="*/ 347 h 819"/>
              <a:gd name="T52" fmla="*/ 0 w 819"/>
              <a:gd name="T53" fmla="*/ 420 h 819"/>
              <a:gd name="T54" fmla="*/ 0 w 819"/>
              <a:gd name="T55" fmla="*/ 603 h 819"/>
              <a:gd name="T56" fmla="*/ 183 w 819"/>
              <a:gd name="T57" fmla="*/ 603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19" h="819">
                <a:moveTo>
                  <a:pt x="183" y="603"/>
                </a:moveTo>
                <a:cubicBezTo>
                  <a:pt x="249" y="603"/>
                  <a:pt x="265" y="619"/>
                  <a:pt x="256" y="638"/>
                </a:cubicBezTo>
                <a:cubicBezTo>
                  <a:pt x="239" y="675"/>
                  <a:pt x="210" y="680"/>
                  <a:pt x="218" y="731"/>
                </a:cubicBezTo>
                <a:cubicBezTo>
                  <a:pt x="231" y="819"/>
                  <a:pt x="372" y="819"/>
                  <a:pt x="386" y="731"/>
                </a:cubicBezTo>
                <a:cubicBezTo>
                  <a:pt x="394" y="680"/>
                  <a:pt x="364" y="675"/>
                  <a:pt x="347" y="638"/>
                </a:cubicBezTo>
                <a:cubicBezTo>
                  <a:pt x="339" y="619"/>
                  <a:pt x="354" y="603"/>
                  <a:pt x="420" y="603"/>
                </a:cubicBezTo>
                <a:cubicBezTo>
                  <a:pt x="603" y="603"/>
                  <a:pt x="603" y="603"/>
                  <a:pt x="603" y="603"/>
                </a:cubicBezTo>
                <a:cubicBezTo>
                  <a:pt x="603" y="420"/>
                  <a:pt x="603" y="420"/>
                  <a:pt x="603" y="420"/>
                </a:cubicBezTo>
                <a:cubicBezTo>
                  <a:pt x="603" y="354"/>
                  <a:pt x="619" y="338"/>
                  <a:pt x="639" y="347"/>
                </a:cubicBezTo>
                <a:cubicBezTo>
                  <a:pt x="675" y="364"/>
                  <a:pt x="680" y="394"/>
                  <a:pt x="731" y="385"/>
                </a:cubicBezTo>
                <a:cubicBezTo>
                  <a:pt x="819" y="372"/>
                  <a:pt x="819" y="231"/>
                  <a:pt x="731" y="217"/>
                </a:cubicBezTo>
                <a:cubicBezTo>
                  <a:pt x="680" y="209"/>
                  <a:pt x="675" y="239"/>
                  <a:pt x="639" y="256"/>
                </a:cubicBezTo>
                <a:cubicBezTo>
                  <a:pt x="619" y="264"/>
                  <a:pt x="603" y="249"/>
                  <a:pt x="603" y="183"/>
                </a:cubicBezTo>
                <a:cubicBezTo>
                  <a:pt x="603" y="0"/>
                  <a:pt x="603" y="0"/>
                  <a:pt x="603" y="0"/>
                </a:cubicBezTo>
                <a:cubicBezTo>
                  <a:pt x="420" y="0"/>
                  <a:pt x="420" y="0"/>
                  <a:pt x="420" y="0"/>
                </a:cubicBezTo>
                <a:cubicBezTo>
                  <a:pt x="354" y="0"/>
                  <a:pt x="339" y="16"/>
                  <a:pt x="347" y="35"/>
                </a:cubicBezTo>
                <a:cubicBezTo>
                  <a:pt x="364" y="72"/>
                  <a:pt x="394" y="76"/>
                  <a:pt x="386" y="128"/>
                </a:cubicBezTo>
                <a:cubicBezTo>
                  <a:pt x="372" y="216"/>
                  <a:pt x="231" y="216"/>
                  <a:pt x="218" y="128"/>
                </a:cubicBezTo>
                <a:cubicBezTo>
                  <a:pt x="210" y="76"/>
                  <a:pt x="239" y="72"/>
                  <a:pt x="256" y="35"/>
                </a:cubicBezTo>
                <a:cubicBezTo>
                  <a:pt x="265" y="16"/>
                  <a:pt x="249" y="0"/>
                  <a:pt x="18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83"/>
                  <a:pt x="0" y="183"/>
                  <a:pt x="0" y="183"/>
                </a:cubicBezTo>
                <a:cubicBezTo>
                  <a:pt x="0" y="249"/>
                  <a:pt x="16" y="264"/>
                  <a:pt x="35" y="256"/>
                </a:cubicBezTo>
                <a:cubicBezTo>
                  <a:pt x="72" y="239"/>
                  <a:pt x="77" y="209"/>
                  <a:pt x="128" y="217"/>
                </a:cubicBezTo>
                <a:cubicBezTo>
                  <a:pt x="216" y="231"/>
                  <a:pt x="216" y="372"/>
                  <a:pt x="128" y="385"/>
                </a:cubicBezTo>
                <a:cubicBezTo>
                  <a:pt x="77" y="394"/>
                  <a:pt x="72" y="364"/>
                  <a:pt x="35" y="347"/>
                </a:cubicBezTo>
                <a:cubicBezTo>
                  <a:pt x="16" y="338"/>
                  <a:pt x="0" y="354"/>
                  <a:pt x="0" y="420"/>
                </a:cubicBezTo>
                <a:cubicBezTo>
                  <a:pt x="0" y="603"/>
                  <a:pt x="0" y="603"/>
                  <a:pt x="0" y="603"/>
                </a:cubicBezTo>
                <a:lnTo>
                  <a:pt x="183" y="60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91DB5207-98A4-440C-B641-313924C470E2}"/>
              </a:ext>
            </a:extLst>
          </p:cNvPr>
          <p:cNvSpPr>
            <a:spLocks/>
          </p:cNvSpPr>
          <p:nvPr userDrawn="1"/>
        </p:nvSpPr>
        <p:spPr bwMode="auto">
          <a:xfrm>
            <a:off x="5468123" y="3735514"/>
            <a:ext cx="2381265" cy="2382494"/>
          </a:xfrm>
          <a:custGeom>
            <a:avLst/>
            <a:gdLst>
              <a:gd name="T0" fmla="*/ 216 w 819"/>
              <a:gd name="T1" fmla="*/ 420 h 819"/>
              <a:gd name="T2" fmla="*/ 181 w 819"/>
              <a:gd name="T3" fmla="*/ 347 h 819"/>
              <a:gd name="T4" fmla="*/ 88 w 819"/>
              <a:gd name="T5" fmla="*/ 386 h 819"/>
              <a:gd name="T6" fmla="*/ 88 w 819"/>
              <a:gd name="T7" fmla="*/ 218 h 819"/>
              <a:gd name="T8" fmla="*/ 181 w 819"/>
              <a:gd name="T9" fmla="*/ 256 h 819"/>
              <a:gd name="T10" fmla="*/ 216 w 819"/>
              <a:gd name="T11" fmla="*/ 183 h 819"/>
              <a:gd name="T12" fmla="*/ 216 w 819"/>
              <a:gd name="T13" fmla="*/ 0 h 819"/>
              <a:gd name="T14" fmla="*/ 399 w 819"/>
              <a:gd name="T15" fmla="*/ 0 h 819"/>
              <a:gd name="T16" fmla="*/ 472 w 819"/>
              <a:gd name="T17" fmla="*/ 35 h 819"/>
              <a:gd name="T18" fmla="*/ 434 w 819"/>
              <a:gd name="T19" fmla="*/ 128 h 819"/>
              <a:gd name="T20" fmla="*/ 602 w 819"/>
              <a:gd name="T21" fmla="*/ 128 h 819"/>
              <a:gd name="T22" fmla="*/ 563 w 819"/>
              <a:gd name="T23" fmla="*/ 35 h 819"/>
              <a:gd name="T24" fmla="*/ 636 w 819"/>
              <a:gd name="T25" fmla="*/ 0 h 819"/>
              <a:gd name="T26" fmla="*/ 819 w 819"/>
              <a:gd name="T27" fmla="*/ 0 h 819"/>
              <a:gd name="T28" fmla="*/ 819 w 819"/>
              <a:gd name="T29" fmla="*/ 183 h 819"/>
              <a:gd name="T30" fmla="*/ 784 w 819"/>
              <a:gd name="T31" fmla="*/ 256 h 819"/>
              <a:gd name="T32" fmla="*/ 691 w 819"/>
              <a:gd name="T33" fmla="*/ 218 h 819"/>
              <a:gd name="T34" fmla="*/ 691 w 819"/>
              <a:gd name="T35" fmla="*/ 386 h 819"/>
              <a:gd name="T36" fmla="*/ 784 w 819"/>
              <a:gd name="T37" fmla="*/ 347 h 819"/>
              <a:gd name="T38" fmla="*/ 819 w 819"/>
              <a:gd name="T39" fmla="*/ 420 h 819"/>
              <a:gd name="T40" fmla="*/ 819 w 819"/>
              <a:gd name="T41" fmla="*/ 603 h 819"/>
              <a:gd name="T42" fmla="*/ 636 w 819"/>
              <a:gd name="T43" fmla="*/ 603 h 819"/>
              <a:gd name="T44" fmla="*/ 563 w 819"/>
              <a:gd name="T45" fmla="*/ 639 h 819"/>
              <a:gd name="T46" fmla="*/ 602 w 819"/>
              <a:gd name="T47" fmla="*/ 731 h 819"/>
              <a:gd name="T48" fmla="*/ 434 w 819"/>
              <a:gd name="T49" fmla="*/ 731 h 819"/>
              <a:gd name="T50" fmla="*/ 472 w 819"/>
              <a:gd name="T51" fmla="*/ 639 h 819"/>
              <a:gd name="T52" fmla="*/ 399 w 819"/>
              <a:gd name="T53" fmla="*/ 603 h 819"/>
              <a:gd name="T54" fmla="*/ 216 w 819"/>
              <a:gd name="T55" fmla="*/ 603 h 819"/>
              <a:gd name="T56" fmla="*/ 216 w 819"/>
              <a:gd name="T57" fmla="*/ 420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19" h="819">
                <a:moveTo>
                  <a:pt x="216" y="420"/>
                </a:moveTo>
                <a:cubicBezTo>
                  <a:pt x="216" y="354"/>
                  <a:pt x="200" y="339"/>
                  <a:pt x="181" y="347"/>
                </a:cubicBezTo>
                <a:cubicBezTo>
                  <a:pt x="144" y="364"/>
                  <a:pt x="139" y="394"/>
                  <a:pt x="88" y="386"/>
                </a:cubicBezTo>
                <a:cubicBezTo>
                  <a:pt x="0" y="372"/>
                  <a:pt x="0" y="231"/>
                  <a:pt x="88" y="218"/>
                </a:cubicBezTo>
                <a:cubicBezTo>
                  <a:pt x="139" y="210"/>
                  <a:pt x="144" y="239"/>
                  <a:pt x="181" y="256"/>
                </a:cubicBezTo>
                <a:cubicBezTo>
                  <a:pt x="200" y="265"/>
                  <a:pt x="216" y="249"/>
                  <a:pt x="216" y="183"/>
                </a:cubicBezTo>
                <a:cubicBezTo>
                  <a:pt x="216" y="0"/>
                  <a:pt x="216" y="0"/>
                  <a:pt x="216" y="0"/>
                </a:cubicBezTo>
                <a:cubicBezTo>
                  <a:pt x="399" y="0"/>
                  <a:pt x="399" y="0"/>
                  <a:pt x="399" y="0"/>
                </a:cubicBezTo>
                <a:cubicBezTo>
                  <a:pt x="465" y="0"/>
                  <a:pt x="481" y="16"/>
                  <a:pt x="472" y="35"/>
                </a:cubicBezTo>
                <a:cubicBezTo>
                  <a:pt x="455" y="72"/>
                  <a:pt x="426" y="77"/>
                  <a:pt x="434" y="128"/>
                </a:cubicBezTo>
                <a:cubicBezTo>
                  <a:pt x="447" y="216"/>
                  <a:pt x="588" y="216"/>
                  <a:pt x="602" y="128"/>
                </a:cubicBezTo>
                <a:cubicBezTo>
                  <a:pt x="610" y="77"/>
                  <a:pt x="580" y="72"/>
                  <a:pt x="563" y="35"/>
                </a:cubicBezTo>
                <a:cubicBezTo>
                  <a:pt x="555" y="16"/>
                  <a:pt x="570" y="0"/>
                  <a:pt x="636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83"/>
                  <a:pt x="819" y="183"/>
                  <a:pt x="819" y="183"/>
                </a:cubicBezTo>
                <a:cubicBezTo>
                  <a:pt x="819" y="249"/>
                  <a:pt x="803" y="265"/>
                  <a:pt x="784" y="256"/>
                </a:cubicBezTo>
                <a:cubicBezTo>
                  <a:pt x="747" y="239"/>
                  <a:pt x="743" y="210"/>
                  <a:pt x="691" y="218"/>
                </a:cubicBezTo>
                <a:cubicBezTo>
                  <a:pt x="603" y="231"/>
                  <a:pt x="603" y="372"/>
                  <a:pt x="691" y="386"/>
                </a:cubicBezTo>
                <a:cubicBezTo>
                  <a:pt x="743" y="394"/>
                  <a:pt x="747" y="364"/>
                  <a:pt x="784" y="347"/>
                </a:cubicBezTo>
                <a:cubicBezTo>
                  <a:pt x="803" y="339"/>
                  <a:pt x="819" y="354"/>
                  <a:pt x="819" y="420"/>
                </a:cubicBezTo>
                <a:cubicBezTo>
                  <a:pt x="819" y="603"/>
                  <a:pt x="819" y="603"/>
                  <a:pt x="819" y="603"/>
                </a:cubicBezTo>
                <a:cubicBezTo>
                  <a:pt x="636" y="603"/>
                  <a:pt x="636" y="603"/>
                  <a:pt x="636" y="603"/>
                </a:cubicBezTo>
                <a:cubicBezTo>
                  <a:pt x="570" y="603"/>
                  <a:pt x="555" y="619"/>
                  <a:pt x="563" y="639"/>
                </a:cubicBezTo>
                <a:cubicBezTo>
                  <a:pt x="580" y="675"/>
                  <a:pt x="610" y="680"/>
                  <a:pt x="602" y="731"/>
                </a:cubicBezTo>
                <a:cubicBezTo>
                  <a:pt x="588" y="819"/>
                  <a:pt x="447" y="819"/>
                  <a:pt x="434" y="731"/>
                </a:cubicBezTo>
                <a:cubicBezTo>
                  <a:pt x="426" y="680"/>
                  <a:pt x="455" y="675"/>
                  <a:pt x="472" y="639"/>
                </a:cubicBezTo>
                <a:cubicBezTo>
                  <a:pt x="481" y="619"/>
                  <a:pt x="465" y="603"/>
                  <a:pt x="399" y="603"/>
                </a:cubicBezTo>
                <a:cubicBezTo>
                  <a:pt x="216" y="603"/>
                  <a:pt x="216" y="603"/>
                  <a:pt x="216" y="603"/>
                </a:cubicBezTo>
                <a:lnTo>
                  <a:pt x="216" y="42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F3772F18-C7CD-4ED6-89BF-C536474630BC}"/>
              </a:ext>
            </a:extLst>
          </p:cNvPr>
          <p:cNvSpPr>
            <a:spLocks/>
          </p:cNvSpPr>
          <p:nvPr userDrawn="1"/>
        </p:nvSpPr>
        <p:spPr bwMode="auto">
          <a:xfrm>
            <a:off x="4342613" y="1354250"/>
            <a:ext cx="2381265" cy="2381264"/>
          </a:xfrm>
          <a:custGeom>
            <a:avLst/>
            <a:gdLst>
              <a:gd name="T0" fmla="*/ 183 w 819"/>
              <a:gd name="T1" fmla="*/ 216 h 819"/>
              <a:gd name="T2" fmla="*/ 256 w 819"/>
              <a:gd name="T3" fmla="*/ 180 h 819"/>
              <a:gd name="T4" fmla="*/ 217 w 819"/>
              <a:gd name="T5" fmla="*/ 88 h 819"/>
              <a:gd name="T6" fmla="*/ 385 w 819"/>
              <a:gd name="T7" fmla="*/ 88 h 819"/>
              <a:gd name="T8" fmla="*/ 347 w 819"/>
              <a:gd name="T9" fmla="*/ 180 h 819"/>
              <a:gd name="T10" fmla="*/ 420 w 819"/>
              <a:gd name="T11" fmla="*/ 216 h 819"/>
              <a:gd name="T12" fmla="*/ 603 w 819"/>
              <a:gd name="T13" fmla="*/ 216 h 819"/>
              <a:gd name="T14" fmla="*/ 603 w 819"/>
              <a:gd name="T15" fmla="*/ 399 h 819"/>
              <a:gd name="T16" fmla="*/ 638 w 819"/>
              <a:gd name="T17" fmla="*/ 472 h 819"/>
              <a:gd name="T18" fmla="*/ 731 w 819"/>
              <a:gd name="T19" fmla="*/ 433 h 819"/>
              <a:gd name="T20" fmla="*/ 731 w 819"/>
              <a:gd name="T21" fmla="*/ 601 h 819"/>
              <a:gd name="T22" fmla="*/ 638 w 819"/>
              <a:gd name="T23" fmla="*/ 563 h 819"/>
              <a:gd name="T24" fmla="*/ 603 w 819"/>
              <a:gd name="T25" fmla="*/ 636 h 819"/>
              <a:gd name="T26" fmla="*/ 603 w 819"/>
              <a:gd name="T27" fmla="*/ 819 h 819"/>
              <a:gd name="T28" fmla="*/ 420 w 819"/>
              <a:gd name="T29" fmla="*/ 819 h 819"/>
              <a:gd name="T30" fmla="*/ 347 w 819"/>
              <a:gd name="T31" fmla="*/ 784 h 819"/>
              <a:gd name="T32" fmla="*/ 385 w 819"/>
              <a:gd name="T33" fmla="*/ 691 h 819"/>
              <a:gd name="T34" fmla="*/ 217 w 819"/>
              <a:gd name="T35" fmla="*/ 691 h 819"/>
              <a:gd name="T36" fmla="*/ 256 w 819"/>
              <a:gd name="T37" fmla="*/ 784 h 819"/>
              <a:gd name="T38" fmla="*/ 183 w 819"/>
              <a:gd name="T39" fmla="*/ 819 h 819"/>
              <a:gd name="T40" fmla="*/ 0 w 819"/>
              <a:gd name="T41" fmla="*/ 819 h 819"/>
              <a:gd name="T42" fmla="*/ 0 w 819"/>
              <a:gd name="T43" fmla="*/ 636 h 819"/>
              <a:gd name="T44" fmla="*/ 35 w 819"/>
              <a:gd name="T45" fmla="*/ 563 h 819"/>
              <a:gd name="T46" fmla="*/ 128 w 819"/>
              <a:gd name="T47" fmla="*/ 601 h 819"/>
              <a:gd name="T48" fmla="*/ 128 w 819"/>
              <a:gd name="T49" fmla="*/ 433 h 819"/>
              <a:gd name="T50" fmla="*/ 35 w 819"/>
              <a:gd name="T51" fmla="*/ 472 h 819"/>
              <a:gd name="T52" fmla="*/ 0 w 819"/>
              <a:gd name="T53" fmla="*/ 399 h 819"/>
              <a:gd name="T54" fmla="*/ 0 w 819"/>
              <a:gd name="T55" fmla="*/ 216 h 819"/>
              <a:gd name="T56" fmla="*/ 183 w 819"/>
              <a:gd name="T57" fmla="*/ 216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19" h="819">
                <a:moveTo>
                  <a:pt x="183" y="216"/>
                </a:moveTo>
                <a:cubicBezTo>
                  <a:pt x="249" y="216"/>
                  <a:pt x="264" y="200"/>
                  <a:pt x="256" y="180"/>
                </a:cubicBezTo>
                <a:cubicBezTo>
                  <a:pt x="239" y="144"/>
                  <a:pt x="209" y="139"/>
                  <a:pt x="217" y="88"/>
                </a:cubicBezTo>
                <a:cubicBezTo>
                  <a:pt x="231" y="0"/>
                  <a:pt x="372" y="0"/>
                  <a:pt x="385" y="88"/>
                </a:cubicBezTo>
                <a:cubicBezTo>
                  <a:pt x="393" y="139"/>
                  <a:pt x="364" y="144"/>
                  <a:pt x="347" y="180"/>
                </a:cubicBezTo>
                <a:cubicBezTo>
                  <a:pt x="338" y="200"/>
                  <a:pt x="354" y="216"/>
                  <a:pt x="420" y="216"/>
                </a:cubicBezTo>
                <a:cubicBezTo>
                  <a:pt x="603" y="216"/>
                  <a:pt x="603" y="216"/>
                  <a:pt x="603" y="216"/>
                </a:cubicBezTo>
                <a:cubicBezTo>
                  <a:pt x="603" y="399"/>
                  <a:pt x="603" y="399"/>
                  <a:pt x="603" y="399"/>
                </a:cubicBezTo>
                <a:cubicBezTo>
                  <a:pt x="603" y="465"/>
                  <a:pt x="619" y="480"/>
                  <a:pt x="638" y="472"/>
                </a:cubicBezTo>
                <a:cubicBezTo>
                  <a:pt x="675" y="455"/>
                  <a:pt x="680" y="425"/>
                  <a:pt x="731" y="433"/>
                </a:cubicBezTo>
                <a:cubicBezTo>
                  <a:pt x="819" y="447"/>
                  <a:pt x="819" y="588"/>
                  <a:pt x="731" y="601"/>
                </a:cubicBezTo>
                <a:cubicBezTo>
                  <a:pt x="680" y="610"/>
                  <a:pt x="675" y="580"/>
                  <a:pt x="638" y="563"/>
                </a:cubicBezTo>
                <a:cubicBezTo>
                  <a:pt x="619" y="554"/>
                  <a:pt x="603" y="570"/>
                  <a:pt x="603" y="636"/>
                </a:cubicBezTo>
                <a:cubicBezTo>
                  <a:pt x="603" y="819"/>
                  <a:pt x="603" y="819"/>
                  <a:pt x="603" y="819"/>
                </a:cubicBezTo>
                <a:cubicBezTo>
                  <a:pt x="420" y="819"/>
                  <a:pt x="420" y="819"/>
                  <a:pt x="420" y="819"/>
                </a:cubicBezTo>
                <a:cubicBezTo>
                  <a:pt x="354" y="819"/>
                  <a:pt x="338" y="803"/>
                  <a:pt x="347" y="784"/>
                </a:cubicBezTo>
                <a:cubicBezTo>
                  <a:pt x="364" y="747"/>
                  <a:pt x="393" y="742"/>
                  <a:pt x="385" y="691"/>
                </a:cubicBezTo>
                <a:cubicBezTo>
                  <a:pt x="372" y="603"/>
                  <a:pt x="231" y="603"/>
                  <a:pt x="217" y="691"/>
                </a:cubicBezTo>
                <a:cubicBezTo>
                  <a:pt x="209" y="742"/>
                  <a:pt x="239" y="747"/>
                  <a:pt x="256" y="784"/>
                </a:cubicBezTo>
                <a:cubicBezTo>
                  <a:pt x="264" y="803"/>
                  <a:pt x="249" y="819"/>
                  <a:pt x="183" y="819"/>
                </a:cubicBezTo>
                <a:cubicBezTo>
                  <a:pt x="0" y="819"/>
                  <a:pt x="0" y="819"/>
                  <a:pt x="0" y="819"/>
                </a:cubicBezTo>
                <a:cubicBezTo>
                  <a:pt x="0" y="636"/>
                  <a:pt x="0" y="636"/>
                  <a:pt x="0" y="636"/>
                </a:cubicBezTo>
                <a:cubicBezTo>
                  <a:pt x="0" y="570"/>
                  <a:pt x="16" y="554"/>
                  <a:pt x="35" y="563"/>
                </a:cubicBezTo>
                <a:cubicBezTo>
                  <a:pt x="72" y="580"/>
                  <a:pt x="76" y="610"/>
                  <a:pt x="128" y="601"/>
                </a:cubicBezTo>
                <a:cubicBezTo>
                  <a:pt x="216" y="588"/>
                  <a:pt x="216" y="447"/>
                  <a:pt x="128" y="433"/>
                </a:cubicBezTo>
                <a:cubicBezTo>
                  <a:pt x="76" y="425"/>
                  <a:pt x="72" y="455"/>
                  <a:pt x="35" y="472"/>
                </a:cubicBezTo>
                <a:cubicBezTo>
                  <a:pt x="16" y="480"/>
                  <a:pt x="0" y="465"/>
                  <a:pt x="0" y="399"/>
                </a:cubicBezTo>
                <a:cubicBezTo>
                  <a:pt x="0" y="216"/>
                  <a:pt x="0" y="216"/>
                  <a:pt x="0" y="216"/>
                </a:cubicBezTo>
                <a:lnTo>
                  <a:pt x="183" y="21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F4C938C1-2AE0-4C81-B790-D5F1D9B4060B}"/>
              </a:ext>
            </a:extLst>
          </p:cNvPr>
          <p:cNvSpPr>
            <a:spLocks/>
          </p:cNvSpPr>
          <p:nvPr userDrawn="1"/>
        </p:nvSpPr>
        <p:spPr bwMode="auto">
          <a:xfrm>
            <a:off x="3714735" y="3107638"/>
            <a:ext cx="2381265" cy="2381264"/>
          </a:xfrm>
          <a:custGeom>
            <a:avLst/>
            <a:gdLst>
              <a:gd name="T0" fmla="*/ 399 w 819"/>
              <a:gd name="T1" fmla="*/ 216 h 819"/>
              <a:gd name="T2" fmla="*/ 472 w 819"/>
              <a:gd name="T3" fmla="*/ 181 h 819"/>
              <a:gd name="T4" fmla="*/ 433 w 819"/>
              <a:gd name="T5" fmla="*/ 88 h 819"/>
              <a:gd name="T6" fmla="*/ 601 w 819"/>
              <a:gd name="T7" fmla="*/ 88 h 819"/>
              <a:gd name="T8" fmla="*/ 563 w 819"/>
              <a:gd name="T9" fmla="*/ 181 h 819"/>
              <a:gd name="T10" fmla="*/ 636 w 819"/>
              <a:gd name="T11" fmla="*/ 216 h 819"/>
              <a:gd name="T12" fmla="*/ 819 w 819"/>
              <a:gd name="T13" fmla="*/ 216 h 819"/>
              <a:gd name="T14" fmla="*/ 819 w 819"/>
              <a:gd name="T15" fmla="*/ 399 h 819"/>
              <a:gd name="T16" fmla="*/ 784 w 819"/>
              <a:gd name="T17" fmla="*/ 472 h 819"/>
              <a:gd name="T18" fmla="*/ 691 w 819"/>
              <a:gd name="T19" fmla="*/ 434 h 819"/>
              <a:gd name="T20" fmla="*/ 691 w 819"/>
              <a:gd name="T21" fmla="*/ 602 h 819"/>
              <a:gd name="T22" fmla="*/ 784 w 819"/>
              <a:gd name="T23" fmla="*/ 563 h 819"/>
              <a:gd name="T24" fmla="*/ 819 w 819"/>
              <a:gd name="T25" fmla="*/ 636 h 819"/>
              <a:gd name="T26" fmla="*/ 819 w 819"/>
              <a:gd name="T27" fmla="*/ 819 h 819"/>
              <a:gd name="T28" fmla="*/ 636 w 819"/>
              <a:gd name="T29" fmla="*/ 819 h 819"/>
              <a:gd name="T30" fmla="*/ 563 w 819"/>
              <a:gd name="T31" fmla="*/ 784 h 819"/>
              <a:gd name="T32" fmla="*/ 601 w 819"/>
              <a:gd name="T33" fmla="*/ 691 h 819"/>
              <a:gd name="T34" fmla="*/ 433 w 819"/>
              <a:gd name="T35" fmla="*/ 691 h 819"/>
              <a:gd name="T36" fmla="*/ 472 w 819"/>
              <a:gd name="T37" fmla="*/ 784 h 819"/>
              <a:gd name="T38" fmla="*/ 399 w 819"/>
              <a:gd name="T39" fmla="*/ 819 h 819"/>
              <a:gd name="T40" fmla="*/ 216 w 819"/>
              <a:gd name="T41" fmla="*/ 819 h 819"/>
              <a:gd name="T42" fmla="*/ 216 w 819"/>
              <a:gd name="T43" fmla="*/ 636 h 819"/>
              <a:gd name="T44" fmla="*/ 180 w 819"/>
              <a:gd name="T45" fmla="*/ 563 h 819"/>
              <a:gd name="T46" fmla="*/ 88 w 819"/>
              <a:gd name="T47" fmla="*/ 602 h 819"/>
              <a:gd name="T48" fmla="*/ 88 w 819"/>
              <a:gd name="T49" fmla="*/ 434 h 819"/>
              <a:gd name="T50" fmla="*/ 180 w 819"/>
              <a:gd name="T51" fmla="*/ 472 h 819"/>
              <a:gd name="T52" fmla="*/ 216 w 819"/>
              <a:gd name="T53" fmla="*/ 399 h 819"/>
              <a:gd name="T54" fmla="*/ 216 w 819"/>
              <a:gd name="T55" fmla="*/ 216 h 819"/>
              <a:gd name="T56" fmla="*/ 399 w 819"/>
              <a:gd name="T57" fmla="*/ 216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19" h="819">
                <a:moveTo>
                  <a:pt x="399" y="216"/>
                </a:moveTo>
                <a:cubicBezTo>
                  <a:pt x="465" y="216"/>
                  <a:pt x="480" y="200"/>
                  <a:pt x="472" y="181"/>
                </a:cubicBezTo>
                <a:cubicBezTo>
                  <a:pt x="455" y="144"/>
                  <a:pt x="425" y="139"/>
                  <a:pt x="433" y="88"/>
                </a:cubicBezTo>
                <a:cubicBezTo>
                  <a:pt x="447" y="0"/>
                  <a:pt x="588" y="0"/>
                  <a:pt x="601" y="88"/>
                </a:cubicBezTo>
                <a:cubicBezTo>
                  <a:pt x="609" y="139"/>
                  <a:pt x="580" y="144"/>
                  <a:pt x="563" y="181"/>
                </a:cubicBezTo>
                <a:cubicBezTo>
                  <a:pt x="554" y="200"/>
                  <a:pt x="570" y="216"/>
                  <a:pt x="636" y="216"/>
                </a:cubicBezTo>
                <a:cubicBezTo>
                  <a:pt x="819" y="216"/>
                  <a:pt x="819" y="216"/>
                  <a:pt x="819" y="216"/>
                </a:cubicBezTo>
                <a:cubicBezTo>
                  <a:pt x="819" y="399"/>
                  <a:pt x="819" y="399"/>
                  <a:pt x="819" y="399"/>
                </a:cubicBezTo>
                <a:cubicBezTo>
                  <a:pt x="819" y="465"/>
                  <a:pt x="803" y="481"/>
                  <a:pt x="784" y="472"/>
                </a:cubicBezTo>
                <a:cubicBezTo>
                  <a:pt x="747" y="455"/>
                  <a:pt x="742" y="426"/>
                  <a:pt x="691" y="434"/>
                </a:cubicBezTo>
                <a:cubicBezTo>
                  <a:pt x="603" y="447"/>
                  <a:pt x="603" y="588"/>
                  <a:pt x="691" y="602"/>
                </a:cubicBezTo>
                <a:cubicBezTo>
                  <a:pt x="742" y="610"/>
                  <a:pt x="747" y="580"/>
                  <a:pt x="784" y="563"/>
                </a:cubicBezTo>
                <a:cubicBezTo>
                  <a:pt x="803" y="555"/>
                  <a:pt x="819" y="570"/>
                  <a:pt x="819" y="636"/>
                </a:cubicBezTo>
                <a:cubicBezTo>
                  <a:pt x="819" y="819"/>
                  <a:pt x="819" y="819"/>
                  <a:pt x="819" y="819"/>
                </a:cubicBezTo>
                <a:cubicBezTo>
                  <a:pt x="636" y="819"/>
                  <a:pt x="636" y="819"/>
                  <a:pt x="636" y="819"/>
                </a:cubicBezTo>
                <a:cubicBezTo>
                  <a:pt x="570" y="819"/>
                  <a:pt x="554" y="803"/>
                  <a:pt x="563" y="784"/>
                </a:cubicBezTo>
                <a:cubicBezTo>
                  <a:pt x="580" y="747"/>
                  <a:pt x="609" y="743"/>
                  <a:pt x="601" y="691"/>
                </a:cubicBezTo>
                <a:cubicBezTo>
                  <a:pt x="588" y="603"/>
                  <a:pt x="447" y="603"/>
                  <a:pt x="433" y="691"/>
                </a:cubicBezTo>
                <a:cubicBezTo>
                  <a:pt x="425" y="743"/>
                  <a:pt x="455" y="747"/>
                  <a:pt x="472" y="784"/>
                </a:cubicBezTo>
                <a:cubicBezTo>
                  <a:pt x="480" y="803"/>
                  <a:pt x="465" y="819"/>
                  <a:pt x="399" y="819"/>
                </a:cubicBezTo>
                <a:cubicBezTo>
                  <a:pt x="216" y="819"/>
                  <a:pt x="216" y="819"/>
                  <a:pt x="216" y="819"/>
                </a:cubicBezTo>
                <a:cubicBezTo>
                  <a:pt x="216" y="636"/>
                  <a:pt x="216" y="636"/>
                  <a:pt x="216" y="636"/>
                </a:cubicBezTo>
                <a:cubicBezTo>
                  <a:pt x="216" y="570"/>
                  <a:pt x="200" y="555"/>
                  <a:pt x="180" y="563"/>
                </a:cubicBezTo>
                <a:cubicBezTo>
                  <a:pt x="144" y="580"/>
                  <a:pt x="139" y="610"/>
                  <a:pt x="88" y="602"/>
                </a:cubicBezTo>
                <a:cubicBezTo>
                  <a:pt x="0" y="588"/>
                  <a:pt x="0" y="447"/>
                  <a:pt x="88" y="434"/>
                </a:cubicBezTo>
                <a:cubicBezTo>
                  <a:pt x="139" y="426"/>
                  <a:pt x="144" y="455"/>
                  <a:pt x="180" y="472"/>
                </a:cubicBezTo>
                <a:cubicBezTo>
                  <a:pt x="200" y="481"/>
                  <a:pt x="216" y="465"/>
                  <a:pt x="216" y="399"/>
                </a:cubicBezTo>
                <a:cubicBezTo>
                  <a:pt x="216" y="216"/>
                  <a:pt x="216" y="216"/>
                  <a:pt x="216" y="216"/>
                </a:cubicBezTo>
                <a:lnTo>
                  <a:pt x="399" y="21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C186A92-1125-44D0-AE8D-98A982825D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2418432"/>
            <a:ext cx="3189287" cy="905775"/>
          </a:xfrm>
        </p:spPr>
        <p:txBody>
          <a:bodyPr>
            <a:normAutofit/>
          </a:bodyPr>
          <a:lstStyle>
            <a:lvl1pPr algn="r">
              <a:lnSpc>
                <a:spcPct val="150000"/>
              </a:lnSpc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</a:t>
            </a:r>
            <a:endParaRPr lang="en-IN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398299E-B25C-49ED-9B42-B9661D3D8B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4138279"/>
            <a:ext cx="3189287" cy="906462"/>
          </a:xfrm>
        </p:spPr>
        <p:txBody>
          <a:bodyPr>
            <a:noAutofit/>
          </a:bodyPr>
          <a:lstStyle>
            <a:lvl1pPr algn="r">
              <a:lnSpc>
                <a:spcPct val="150000"/>
              </a:lnSpc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IN"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</a:t>
            </a:r>
            <a:endParaRPr lang="en-IN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C179F39-A6F6-413D-9FA6-63AF559CE3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04" y="2417763"/>
            <a:ext cx="3189287" cy="906462"/>
          </a:xfrm>
        </p:spPr>
        <p:txBody>
          <a:bodyPr>
            <a:noAutofit/>
          </a:bodyPr>
          <a:lstStyle>
            <a:lvl1pPr algn="l">
              <a:lnSpc>
                <a:spcPct val="150000"/>
              </a:lnSpc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algn="l"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algn="l"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algn="l">
              <a:defRPr lang="en-US" sz="1200" kern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algn="l">
              <a:defRPr lang="en-IN"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</a:t>
            </a:r>
            <a:endParaRPr lang="en-IN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E5A7FAA-1DE1-41C4-ABDC-B421CFA1DE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8" y="4138279"/>
            <a:ext cx="3189288" cy="906462"/>
          </a:xfrm>
        </p:spPr>
        <p:txBody>
          <a:bodyPr>
            <a:normAutofit/>
          </a:bodyPr>
          <a:lstStyle>
            <a:lvl1pPr>
              <a:defRPr lang="en-I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</a:t>
            </a:r>
            <a:endParaRPr lang="en-IN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A59D83F-42B8-4D96-BC21-8B4E99972FAF}"/>
              </a:ext>
            </a:extLst>
          </p:cNvPr>
          <p:cNvSpPr/>
          <p:nvPr userDrawn="1"/>
        </p:nvSpPr>
        <p:spPr>
          <a:xfrm>
            <a:off x="0" y="6332377"/>
            <a:ext cx="5510213" cy="87754"/>
          </a:xfrm>
          <a:custGeom>
            <a:avLst/>
            <a:gdLst>
              <a:gd name="connsiteX0" fmla="*/ 0 w 5510213"/>
              <a:gd name="connsiteY0" fmla="*/ 0 h 87754"/>
              <a:gd name="connsiteX1" fmla="*/ 5510213 w 5510213"/>
              <a:gd name="connsiteY1" fmla="*/ 0 h 87754"/>
              <a:gd name="connsiteX2" fmla="*/ 5473086 w 5510213"/>
              <a:gd name="connsiteY2" fmla="*/ 87754 h 87754"/>
              <a:gd name="connsiteX3" fmla="*/ 0 w 5510213"/>
              <a:gd name="connsiteY3" fmla="*/ 87754 h 87754"/>
              <a:gd name="connsiteX4" fmla="*/ 0 w 5510213"/>
              <a:gd name="connsiteY4" fmla="*/ 0 h 87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0213" h="87754">
                <a:moveTo>
                  <a:pt x="0" y="0"/>
                </a:moveTo>
                <a:lnTo>
                  <a:pt x="5510213" y="0"/>
                </a:lnTo>
                <a:lnTo>
                  <a:pt x="5473086" y="87754"/>
                </a:lnTo>
                <a:lnTo>
                  <a:pt x="0" y="87754"/>
                </a:lnTo>
                <a:lnTo>
                  <a:pt x="0" y="0"/>
                </a:lnTo>
                <a:close/>
              </a:path>
            </a:pathLst>
          </a:cu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B96FD640-4D74-4AC9-B5F5-1B7A48FC29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84009C13-535F-4F73-87FF-E23602F6D1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25260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E8EB5A-601E-4978-9F80-6EC87DE05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917A9C-98B5-4343-B5DC-8AAF1026D0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0A02F80A-50A5-444B-B77E-D1E4A9E0E233}"/>
              </a:ext>
            </a:extLst>
          </p:cNvPr>
          <p:cNvSpPr>
            <a:spLocks/>
          </p:cNvSpPr>
          <p:nvPr userDrawn="1"/>
        </p:nvSpPr>
        <p:spPr bwMode="auto">
          <a:xfrm>
            <a:off x="7008813" y="2133600"/>
            <a:ext cx="1425575" cy="1281113"/>
          </a:xfrm>
          <a:custGeom>
            <a:avLst/>
            <a:gdLst>
              <a:gd name="T0" fmla="*/ 514 w 601"/>
              <a:gd name="T1" fmla="*/ 176 h 541"/>
              <a:gd name="T2" fmla="*/ 527 w 601"/>
              <a:gd name="T3" fmla="*/ 188 h 541"/>
              <a:gd name="T4" fmla="*/ 555 w 601"/>
              <a:gd name="T5" fmla="*/ 225 h 541"/>
              <a:gd name="T6" fmla="*/ 545 w 601"/>
              <a:gd name="T7" fmla="*/ 256 h 541"/>
              <a:gd name="T8" fmla="*/ 556 w 601"/>
              <a:gd name="T9" fmla="*/ 261 h 541"/>
              <a:gd name="T10" fmla="*/ 601 w 601"/>
              <a:gd name="T11" fmla="*/ 261 h 541"/>
              <a:gd name="T12" fmla="*/ 553 w 601"/>
              <a:gd name="T13" fmla="*/ 290 h 541"/>
              <a:gd name="T14" fmla="*/ 482 w 601"/>
              <a:gd name="T15" fmla="*/ 362 h 541"/>
              <a:gd name="T16" fmla="*/ 527 w 601"/>
              <a:gd name="T17" fmla="*/ 376 h 541"/>
              <a:gd name="T18" fmla="*/ 536 w 601"/>
              <a:gd name="T19" fmla="*/ 382 h 541"/>
              <a:gd name="T20" fmla="*/ 509 w 601"/>
              <a:gd name="T21" fmla="*/ 392 h 541"/>
              <a:gd name="T22" fmla="*/ 498 w 601"/>
              <a:gd name="T23" fmla="*/ 409 h 541"/>
              <a:gd name="T24" fmla="*/ 505 w 601"/>
              <a:gd name="T25" fmla="*/ 420 h 541"/>
              <a:gd name="T26" fmla="*/ 501 w 601"/>
              <a:gd name="T27" fmla="*/ 431 h 541"/>
              <a:gd name="T28" fmla="*/ 498 w 601"/>
              <a:gd name="T29" fmla="*/ 453 h 541"/>
              <a:gd name="T30" fmla="*/ 491 w 601"/>
              <a:gd name="T31" fmla="*/ 460 h 541"/>
              <a:gd name="T32" fmla="*/ 459 w 601"/>
              <a:gd name="T33" fmla="*/ 449 h 541"/>
              <a:gd name="T34" fmla="*/ 416 w 601"/>
              <a:gd name="T35" fmla="*/ 482 h 541"/>
              <a:gd name="T36" fmla="*/ 426 w 601"/>
              <a:gd name="T37" fmla="*/ 447 h 541"/>
              <a:gd name="T38" fmla="*/ 434 w 601"/>
              <a:gd name="T39" fmla="*/ 423 h 541"/>
              <a:gd name="T40" fmla="*/ 398 w 601"/>
              <a:gd name="T41" fmla="*/ 414 h 541"/>
              <a:gd name="T42" fmla="*/ 396 w 601"/>
              <a:gd name="T43" fmla="*/ 408 h 541"/>
              <a:gd name="T44" fmla="*/ 393 w 601"/>
              <a:gd name="T45" fmla="*/ 402 h 541"/>
              <a:gd name="T46" fmla="*/ 387 w 601"/>
              <a:gd name="T47" fmla="*/ 389 h 541"/>
              <a:gd name="T48" fmla="*/ 369 w 601"/>
              <a:gd name="T49" fmla="*/ 407 h 541"/>
              <a:gd name="T50" fmla="*/ 352 w 601"/>
              <a:gd name="T51" fmla="*/ 422 h 541"/>
              <a:gd name="T52" fmla="*/ 353 w 601"/>
              <a:gd name="T53" fmla="*/ 453 h 541"/>
              <a:gd name="T54" fmla="*/ 359 w 601"/>
              <a:gd name="T55" fmla="*/ 481 h 541"/>
              <a:gd name="T56" fmla="*/ 336 w 601"/>
              <a:gd name="T57" fmla="*/ 530 h 541"/>
              <a:gd name="T58" fmla="*/ 306 w 601"/>
              <a:gd name="T59" fmla="*/ 529 h 541"/>
              <a:gd name="T60" fmla="*/ 271 w 601"/>
              <a:gd name="T61" fmla="*/ 500 h 541"/>
              <a:gd name="T62" fmla="*/ 257 w 601"/>
              <a:gd name="T63" fmla="*/ 472 h 541"/>
              <a:gd name="T64" fmla="*/ 246 w 601"/>
              <a:gd name="T65" fmla="*/ 458 h 541"/>
              <a:gd name="T66" fmla="*/ 239 w 601"/>
              <a:gd name="T67" fmla="*/ 445 h 541"/>
              <a:gd name="T68" fmla="*/ 226 w 601"/>
              <a:gd name="T69" fmla="*/ 427 h 541"/>
              <a:gd name="T70" fmla="*/ 194 w 601"/>
              <a:gd name="T71" fmla="*/ 422 h 541"/>
              <a:gd name="T72" fmla="*/ 173 w 601"/>
              <a:gd name="T73" fmla="*/ 406 h 541"/>
              <a:gd name="T74" fmla="*/ 131 w 601"/>
              <a:gd name="T75" fmla="*/ 401 h 541"/>
              <a:gd name="T76" fmla="*/ 95 w 601"/>
              <a:gd name="T77" fmla="*/ 392 h 541"/>
              <a:gd name="T78" fmla="*/ 87 w 601"/>
              <a:gd name="T79" fmla="*/ 357 h 541"/>
              <a:gd name="T80" fmla="*/ 63 w 601"/>
              <a:gd name="T81" fmla="*/ 316 h 541"/>
              <a:gd name="T82" fmla="*/ 46 w 601"/>
              <a:gd name="T83" fmla="*/ 257 h 541"/>
              <a:gd name="T84" fmla="*/ 5 w 601"/>
              <a:gd name="T85" fmla="*/ 234 h 541"/>
              <a:gd name="T86" fmla="*/ 18 w 601"/>
              <a:gd name="T87" fmla="*/ 194 h 541"/>
              <a:gd name="T88" fmla="*/ 67 w 601"/>
              <a:gd name="T89" fmla="*/ 144 h 541"/>
              <a:gd name="T90" fmla="*/ 104 w 601"/>
              <a:gd name="T91" fmla="*/ 166 h 541"/>
              <a:gd name="T92" fmla="*/ 178 w 601"/>
              <a:gd name="T93" fmla="*/ 139 h 541"/>
              <a:gd name="T94" fmla="*/ 204 w 601"/>
              <a:gd name="T95" fmla="*/ 105 h 541"/>
              <a:gd name="T96" fmla="*/ 262 w 601"/>
              <a:gd name="T97" fmla="*/ 54 h 541"/>
              <a:gd name="T98" fmla="*/ 309 w 601"/>
              <a:gd name="T99" fmla="*/ 1 h 541"/>
              <a:gd name="T100" fmla="*/ 343 w 601"/>
              <a:gd name="T101" fmla="*/ 10 h 541"/>
              <a:gd name="T102" fmla="*/ 355 w 601"/>
              <a:gd name="T103" fmla="*/ 29 h 541"/>
              <a:gd name="T104" fmla="*/ 368 w 601"/>
              <a:gd name="T105" fmla="*/ 58 h 541"/>
              <a:gd name="T106" fmla="*/ 401 w 601"/>
              <a:gd name="T107" fmla="*/ 68 h 541"/>
              <a:gd name="T108" fmla="*/ 426 w 601"/>
              <a:gd name="T109" fmla="*/ 119 h 541"/>
              <a:gd name="T110" fmla="*/ 448 w 601"/>
              <a:gd name="T111" fmla="*/ 156 h 541"/>
              <a:gd name="T112" fmla="*/ 448 w 601"/>
              <a:gd name="T113" fmla="*/ 178 h 541"/>
              <a:gd name="T114" fmla="*/ 467 w 601"/>
              <a:gd name="T115" fmla="*/ 171 h 541"/>
              <a:gd name="T116" fmla="*/ 486 w 601"/>
              <a:gd name="T117" fmla="*/ 163 h 541"/>
              <a:gd name="T118" fmla="*/ 502 w 601"/>
              <a:gd name="T119" fmla="*/ 164 h 541"/>
              <a:gd name="T120" fmla="*/ 515 w 601"/>
              <a:gd name="T121" fmla="*/ 169 h 5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01" h="541">
                <a:moveTo>
                  <a:pt x="514" y="169"/>
                </a:moveTo>
                <a:cubicBezTo>
                  <a:pt x="514" y="172"/>
                  <a:pt x="514" y="174"/>
                  <a:pt x="514" y="176"/>
                </a:cubicBezTo>
                <a:cubicBezTo>
                  <a:pt x="514" y="181"/>
                  <a:pt x="514" y="186"/>
                  <a:pt x="513" y="191"/>
                </a:cubicBezTo>
                <a:cubicBezTo>
                  <a:pt x="518" y="190"/>
                  <a:pt x="523" y="190"/>
                  <a:pt x="527" y="188"/>
                </a:cubicBezTo>
                <a:cubicBezTo>
                  <a:pt x="534" y="187"/>
                  <a:pt x="537" y="190"/>
                  <a:pt x="538" y="196"/>
                </a:cubicBezTo>
                <a:cubicBezTo>
                  <a:pt x="541" y="207"/>
                  <a:pt x="546" y="217"/>
                  <a:pt x="555" y="225"/>
                </a:cubicBezTo>
                <a:cubicBezTo>
                  <a:pt x="559" y="229"/>
                  <a:pt x="560" y="232"/>
                  <a:pt x="555" y="237"/>
                </a:cubicBezTo>
                <a:cubicBezTo>
                  <a:pt x="550" y="242"/>
                  <a:pt x="553" y="252"/>
                  <a:pt x="545" y="256"/>
                </a:cubicBezTo>
                <a:cubicBezTo>
                  <a:pt x="546" y="258"/>
                  <a:pt x="547" y="261"/>
                  <a:pt x="549" y="263"/>
                </a:cubicBezTo>
                <a:cubicBezTo>
                  <a:pt x="550" y="264"/>
                  <a:pt x="554" y="263"/>
                  <a:pt x="556" y="261"/>
                </a:cubicBezTo>
                <a:cubicBezTo>
                  <a:pt x="567" y="253"/>
                  <a:pt x="580" y="258"/>
                  <a:pt x="593" y="257"/>
                </a:cubicBezTo>
                <a:cubicBezTo>
                  <a:pt x="595" y="257"/>
                  <a:pt x="598" y="260"/>
                  <a:pt x="601" y="261"/>
                </a:cubicBezTo>
                <a:cubicBezTo>
                  <a:pt x="599" y="263"/>
                  <a:pt x="597" y="265"/>
                  <a:pt x="595" y="267"/>
                </a:cubicBezTo>
                <a:cubicBezTo>
                  <a:pt x="581" y="275"/>
                  <a:pt x="567" y="282"/>
                  <a:pt x="553" y="290"/>
                </a:cubicBezTo>
                <a:cubicBezTo>
                  <a:pt x="532" y="304"/>
                  <a:pt x="510" y="318"/>
                  <a:pt x="489" y="332"/>
                </a:cubicBezTo>
                <a:cubicBezTo>
                  <a:pt x="478" y="340"/>
                  <a:pt x="476" y="349"/>
                  <a:pt x="482" y="362"/>
                </a:cubicBezTo>
                <a:cubicBezTo>
                  <a:pt x="488" y="373"/>
                  <a:pt x="510" y="382"/>
                  <a:pt x="522" y="378"/>
                </a:cubicBezTo>
                <a:cubicBezTo>
                  <a:pt x="523" y="377"/>
                  <a:pt x="525" y="377"/>
                  <a:pt x="527" y="376"/>
                </a:cubicBezTo>
                <a:cubicBezTo>
                  <a:pt x="529" y="374"/>
                  <a:pt x="532" y="372"/>
                  <a:pt x="534" y="370"/>
                </a:cubicBezTo>
                <a:cubicBezTo>
                  <a:pt x="535" y="374"/>
                  <a:pt x="537" y="379"/>
                  <a:pt x="536" y="382"/>
                </a:cubicBezTo>
                <a:cubicBezTo>
                  <a:pt x="535" y="385"/>
                  <a:pt x="531" y="387"/>
                  <a:pt x="528" y="388"/>
                </a:cubicBezTo>
                <a:cubicBezTo>
                  <a:pt x="522" y="390"/>
                  <a:pt x="515" y="390"/>
                  <a:pt x="509" y="392"/>
                </a:cubicBezTo>
                <a:cubicBezTo>
                  <a:pt x="504" y="393"/>
                  <a:pt x="500" y="395"/>
                  <a:pt x="500" y="402"/>
                </a:cubicBezTo>
                <a:cubicBezTo>
                  <a:pt x="501" y="404"/>
                  <a:pt x="500" y="407"/>
                  <a:pt x="498" y="409"/>
                </a:cubicBezTo>
                <a:cubicBezTo>
                  <a:pt x="494" y="414"/>
                  <a:pt x="497" y="416"/>
                  <a:pt x="501" y="418"/>
                </a:cubicBezTo>
                <a:cubicBezTo>
                  <a:pt x="502" y="418"/>
                  <a:pt x="504" y="419"/>
                  <a:pt x="505" y="420"/>
                </a:cubicBezTo>
                <a:cubicBezTo>
                  <a:pt x="507" y="424"/>
                  <a:pt x="509" y="427"/>
                  <a:pt x="511" y="431"/>
                </a:cubicBezTo>
                <a:cubicBezTo>
                  <a:pt x="508" y="431"/>
                  <a:pt x="504" y="432"/>
                  <a:pt x="501" y="431"/>
                </a:cubicBezTo>
                <a:cubicBezTo>
                  <a:pt x="494" y="430"/>
                  <a:pt x="491" y="433"/>
                  <a:pt x="492" y="439"/>
                </a:cubicBezTo>
                <a:cubicBezTo>
                  <a:pt x="493" y="444"/>
                  <a:pt x="496" y="448"/>
                  <a:pt x="498" y="453"/>
                </a:cubicBezTo>
                <a:cubicBezTo>
                  <a:pt x="499" y="455"/>
                  <a:pt x="498" y="458"/>
                  <a:pt x="499" y="460"/>
                </a:cubicBezTo>
                <a:cubicBezTo>
                  <a:pt x="496" y="460"/>
                  <a:pt x="492" y="461"/>
                  <a:pt x="491" y="460"/>
                </a:cubicBezTo>
                <a:cubicBezTo>
                  <a:pt x="486" y="455"/>
                  <a:pt x="481" y="453"/>
                  <a:pt x="474" y="456"/>
                </a:cubicBezTo>
                <a:cubicBezTo>
                  <a:pt x="470" y="457"/>
                  <a:pt x="464" y="452"/>
                  <a:pt x="459" y="449"/>
                </a:cubicBezTo>
                <a:cubicBezTo>
                  <a:pt x="447" y="443"/>
                  <a:pt x="444" y="445"/>
                  <a:pt x="442" y="458"/>
                </a:cubicBezTo>
                <a:cubicBezTo>
                  <a:pt x="441" y="469"/>
                  <a:pt x="426" y="483"/>
                  <a:pt x="416" y="482"/>
                </a:cubicBezTo>
                <a:cubicBezTo>
                  <a:pt x="416" y="482"/>
                  <a:pt x="414" y="478"/>
                  <a:pt x="415" y="478"/>
                </a:cubicBezTo>
                <a:cubicBezTo>
                  <a:pt x="427" y="471"/>
                  <a:pt x="423" y="458"/>
                  <a:pt x="426" y="447"/>
                </a:cubicBezTo>
                <a:cubicBezTo>
                  <a:pt x="427" y="444"/>
                  <a:pt x="428" y="441"/>
                  <a:pt x="430" y="439"/>
                </a:cubicBezTo>
                <a:cubicBezTo>
                  <a:pt x="432" y="434"/>
                  <a:pt x="439" y="430"/>
                  <a:pt x="434" y="423"/>
                </a:cubicBezTo>
                <a:cubicBezTo>
                  <a:pt x="428" y="415"/>
                  <a:pt x="421" y="410"/>
                  <a:pt x="411" y="412"/>
                </a:cubicBezTo>
                <a:cubicBezTo>
                  <a:pt x="407" y="413"/>
                  <a:pt x="402" y="413"/>
                  <a:pt x="398" y="414"/>
                </a:cubicBezTo>
                <a:cubicBezTo>
                  <a:pt x="396" y="414"/>
                  <a:pt x="395" y="413"/>
                  <a:pt x="393" y="412"/>
                </a:cubicBezTo>
                <a:cubicBezTo>
                  <a:pt x="394" y="411"/>
                  <a:pt x="395" y="410"/>
                  <a:pt x="396" y="408"/>
                </a:cubicBezTo>
                <a:cubicBezTo>
                  <a:pt x="397" y="407"/>
                  <a:pt x="398" y="406"/>
                  <a:pt x="399" y="404"/>
                </a:cubicBezTo>
                <a:cubicBezTo>
                  <a:pt x="397" y="404"/>
                  <a:pt x="395" y="402"/>
                  <a:pt x="393" y="402"/>
                </a:cubicBezTo>
                <a:cubicBezTo>
                  <a:pt x="387" y="403"/>
                  <a:pt x="385" y="401"/>
                  <a:pt x="389" y="396"/>
                </a:cubicBezTo>
                <a:cubicBezTo>
                  <a:pt x="390" y="394"/>
                  <a:pt x="388" y="390"/>
                  <a:pt x="387" y="389"/>
                </a:cubicBezTo>
                <a:cubicBezTo>
                  <a:pt x="384" y="389"/>
                  <a:pt x="380" y="389"/>
                  <a:pt x="378" y="391"/>
                </a:cubicBezTo>
                <a:cubicBezTo>
                  <a:pt x="374" y="396"/>
                  <a:pt x="371" y="401"/>
                  <a:pt x="369" y="407"/>
                </a:cubicBezTo>
                <a:cubicBezTo>
                  <a:pt x="367" y="412"/>
                  <a:pt x="366" y="412"/>
                  <a:pt x="361" y="411"/>
                </a:cubicBezTo>
                <a:cubicBezTo>
                  <a:pt x="351" y="408"/>
                  <a:pt x="348" y="411"/>
                  <a:pt x="352" y="422"/>
                </a:cubicBezTo>
                <a:cubicBezTo>
                  <a:pt x="355" y="430"/>
                  <a:pt x="356" y="437"/>
                  <a:pt x="351" y="445"/>
                </a:cubicBezTo>
                <a:cubicBezTo>
                  <a:pt x="349" y="448"/>
                  <a:pt x="347" y="452"/>
                  <a:pt x="353" y="453"/>
                </a:cubicBezTo>
                <a:cubicBezTo>
                  <a:pt x="363" y="456"/>
                  <a:pt x="362" y="464"/>
                  <a:pt x="361" y="471"/>
                </a:cubicBezTo>
                <a:cubicBezTo>
                  <a:pt x="361" y="474"/>
                  <a:pt x="358" y="478"/>
                  <a:pt x="359" y="481"/>
                </a:cubicBezTo>
                <a:cubicBezTo>
                  <a:pt x="362" y="496"/>
                  <a:pt x="353" y="504"/>
                  <a:pt x="343" y="510"/>
                </a:cubicBezTo>
                <a:cubicBezTo>
                  <a:pt x="332" y="517"/>
                  <a:pt x="332" y="518"/>
                  <a:pt x="336" y="530"/>
                </a:cubicBezTo>
                <a:cubicBezTo>
                  <a:pt x="336" y="532"/>
                  <a:pt x="335" y="534"/>
                  <a:pt x="334" y="535"/>
                </a:cubicBezTo>
                <a:cubicBezTo>
                  <a:pt x="324" y="541"/>
                  <a:pt x="312" y="540"/>
                  <a:pt x="306" y="529"/>
                </a:cubicBezTo>
                <a:cubicBezTo>
                  <a:pt x="300" y="518"/>
                  <a:pt x="290" y="513"/>
                  <a:pt x="279" y="509"/>
                </a:cubicBezTo>
                <a:cubicBezTo>
                  <a:pt x="274" y="508"/>
                  <a:pt x="272" y="505"/>
                  <a:pt x="271" y="500"/>
                </a:cubicBezTo>
                <a:cubicBezTo>
                  <a:pt x="269" y="494"/>
                  <a:pt x="265" y="488"/>
                  <a:pt x="260" y="483"/>
                </a:cubicBezTo>
                <a:cubicBezTo>
                  <a:pt x="256" y="479"/>
                  <a:pt x="254" y="477"/>
                  <a:pt x="257" y="472"/>
                </a:cubicBezTo>
                <a:cubicBezTo>
                  <a:pt x="259" y="469"/>
                  <a:pt x="257" y="463"/>
                  <a:pt x="255" y="459"/>
                </a:cubicBezTo>
                <a:cubicBezTo>
                  <a:pt x="253" y="454"/>
                  <a:pt x="250" y="454"/>
                  <a:pt x="246" y="458"/>
                </a:cubicBezTo>
                <a:cubicBezTo>
                  <a:pt x="245" y="458"/>
                  <a:pt x="241" y="457"/>
                  <a:pt x="241" y="455"/>
                </a:cubicBezTo>
                <a:cubicBezTo>
                  <a:pt x="240" y="452"/>
                  <a:pt x="238" y="447"/>
                  <a:pt x="239" y="445"/>
                </a:cubicBezTo>
                <a:cubicBezTo>
                  <a:pt x="245" y="437"/>
                  <a:pt x="241" y="433"/>
                  <a:pt x="236" y="428"/>
                </a:cubicBezTo>
                <a:cubicBezTo>
                  <a:pt x="233" y="424"/>
                  <a:pt x="231" y="424"/>
                  <a:pt x="226" y="427"/>
                </a:cubicBezTo>
                <a:cubicBezTo>
                  <a:pt x="218" y="433"/>
                  <a:pt x="211" y="432"/>
                  <a:pt x="204" y="426"/>
                </a:cubicBezTo>
                <a:cubicBezTo>
                  <a:pt x="201" y="424"/>
                  <a:pt x="197" y="423"/>
                  <a:pt x="194" y="422"/>
                </a:cubicBezTo>
                <a:cubicBezTo>
                  <a:pt x="192" y="421"/>
                  <a:pt x="189" y="420"/>
                  <a:pt x="189" y="419"/>
                </a:cubicBezTo>
                <a:cubicBezTo>
                  <a:pt x="187" y="411"/>
                  <a:pt x="179" y="410"/>
                  <a:pt x="173" y="406"/>
                </a:cubicBezTo>
                <a:cubicBezTo>
                  <a:pt x="167" y="402"/>
                  <a:pt x="162" y="402"/>
                  <a:pt x="156" y="402"/>
                </a:cubicBezTo>
                <a:cubicBezTo>
                  <a:pt x="148" y="403"/>
                  <a:pt x="140" y="401"/>
                  <a:pt x="131" y="401"/>
                </a:cubicBezTo>
                <a:cubicBezTo>
                  <a:pt x="126" y="401"/>
                  <a:pt x="120" y="402"/>
                  <a:pt x="115" y="402"/>
                </a:cubicBezTo>
                <a:cubicBezTo>
                  <a:pt x="104" y="404"/>
                  <a:pt x="100" y="403"/>
                  <a:pt x="95" y="392"/>
                </a:cubicBezTo>
                <a:cubicBezTo>
                  <a:pt x="92" y="384"/>
                  <a:pt x="91" y="375"/>
                  <a:pt x="89" y="366"/>
                </a:cubicBezTo>
                <a:cubicBezTo>
                  <a:pt x="88" y="363"/>
                  <a:pt x="88" y="359"/>
                  <a:pt x="87" y="357"/>
                </a:cubicBezTo>
                <a:cubicBezTo>
                  <a:pt x="80" y="346"/>
                  <a:pt x="73" y="336"/>
                  <a:pt x="73" y="323"/>
                </a:cubicBezTo>
                <a:cubicBezTo>
                  <a:pt x="73" y="317"/>
                  <a:pt x="67" y="317"/>
                  <a:pt x="63" y="316"/>
                </a:cubicBezTo>
                <a:cubicBezTo>
                  <a:pt x="44" y="312"/>
                  <a:pt x="36" y="298"/>
                  <a:pt x="43" y="280"/>
                </a:cubicBezTo>
                <a:cubicBezTo>
                  <a:pt x="45" y="272"/>
                  <a:pt x="45" y="264"/>
                  <a:pt x="46" y="257"/>
                </a:cubicBezTo>
                <a:cubicBezTo>
                  <a:pt x="48" y="248"/>
                  <a:pt x="44" y="244"/>
                  <a:pt x="35" y="245"/>
                </a:cubicBezTo>
                <a:cubicBezTo>
                  <a:pt x="23" y="247"/>
                  <a:pt x="14" y="241"/>
                  <a:pt x="5" y="234"/>
                </a:cubicBezTo>
                <a:cubicBezTo>
                  <a:pt x="1" y="230"/>
                  <a:pt x="0" y="227"/>
                  <a:pt x="1" y="222"/>
                </a:cubicBezTo>
                <a:cubicBezTo>
                  <a:pt x="4" y="211"/>
                  <a:pt x="7" y="201"/>
                  <a:pt x="18" y="194"/>
                </a:cubicBezTo>
                <a:cubicBezTo>
                  <a:pt x="32" y="186"/>
                  <a:pt x="43" y="174"/>
                  <a:pt x="50" y="158"/>
                </a:cubicBezTo>
                <a:cubicBezTo>
                  <a:pt x="53" y="152"/>
                  <a:pt x="60" y="148"/>
                  <a:pt x="67" y="144"/>
                </a:cubicBezTo>
                <a:cubicBezTo>
                  <a:pt x="72" y="142"/>
                  <a:pt x="80" y="147"/>
                  <a:pt x="83" y="154"/>
                </a:cubicBezTo>
                <a:cubicBezTo>
                  <a:pt x="86" y="164"/>
                  <a:pt x="94" y="168"/>
                  <a:pt x="104" y="166"/>
                </a:cubicBezTo>
                <a:cubicBezTo>
                  <a:pt x="117" y="164"/>
                  <a:pt x="129" y="163"/>
                  <a:pt x="141" y="162"/>
                </a:cubicBezTo>
                <a:cubicBezTo>
                  <a:pt x="158" y="161"/>
                  <a:pt x="172" y="157"/>
                  <a:pt x="178" y="139"/>
                </a:cubicBezTo>
                <a:cubicBezTo>
                  <a:pt x="179" y="135"/>
                  <a:pt x="182" y="132"/>
                  <a:pt x="186" y="130"/>
                </a:cubicBezTo>
                <a:cubicBezTo>
                  <a:pt x="195" y="123"/>
                  <a:pt x="201" y="115"/>
                  <a:pt x="204" y="105"/>
                </a:cubicBezTo>
                <a:cubicBezTo>
                  <a:pt x="206" y="98"/>
                  <a:pt x="210" y="93"/>
                  <a:pt x="217" y="91"/>
                </a:cubicBezTo>
                <a:cubicBezTo>
                  <a:pt x="236" y="84"/>
                  <a:pt x="252" y="74"/>
                  <a:pt x="262" y="54"/>
                </a:cubicBezTo>
                <a:cubicBezTo>
                  <a:pt x="269" y="41"/>
                  <a:pt x="279" y="29"/>
                  <a:pt x="284" y="14"/>
                </a:cubicBezTo>
                <a:cubicBezTo>
                  <a:pt x="287" y="6"/>
                  <a:pt x="300" y="0"/>
                  <a:pt x="309" y="1"/>
                </a:cubicBezTo>
                <a:cubicBezTo>
                  <a:pt x="309" y="1"/>
                  <a:pt x="310" y="1"/>
                  <a:pt x="310" y="1"/>
                </a:cubicBezTo>
                <a:cubicBezTo>
                  <a:pt x="317" y="17"/>
                  <a:pt x="332" y="9"/>
                  <a:pt x="343" y="10"/>
                </a:cubicBezTo>
                <a:cubicBezTo>
                  <a:pt x="350" y="11"/>
                  <a:pt x="356" y="12"/>
                  <a:pt x="353" y="22"/>
                </a:cubicBezTo>
                <a:cubicBezTo>
                  <a:pt x="352" y="24"/>
                  <a:pt x="353" y="27"/>
                  <a:pt x="355" y="29"/>
                </a:cubicBezTo>
                <a:cubicBezTo>
                  <a:pt x="359" y="34"/>
                  <a:pt x="361" y="38"/>
                  <a:pt x="356" y="45"/>
                </a:cubicBezTo>
                <a:cubicBezTo>
                  <a:pt x="352" y="50"/>
                  <a:pt x="361" y="60"/>
                  <a:pt x="368" y="58"/>
                </a:cubicBezTo>
                <a:cubicBezTo>
                  <a:pt x="376" y="57"/>
                  <a:pt x="382" y="57"/>
                  <a:pt x="386" y="65"/>
                </a:cubicBezTo>
                <a:cubicBezTo>
                  <a:pt x="389" y="72"/>
                  <a:pt x="396" y="70"/>
                  <a:pt x="401" y="68"/>
                </a:cubicBezTo>
                <a:cubicBezTo>
                  <a:pt x="409" y="65"/>
                  <a:pt x="412" y="68"/>
                  <a:pt x="414" y="75"/>
                </a:cubicBezTo>
                <a:cubicBezTo>
                  <a:pt x="418" y="90"/>
                  <a:pt x="422" y="104"/>
                  <a:pt x="426" y="119"/>
                </a:cubicBezTo>
                <a:cubicBezTo>
                  <a:pt x="428" y="127"/>
                  <a:pt x="432" y="132"/>
                  <a:pt x="440" y="135"/>
                </a:cubicBezTo>
                <a:cubicBezTo>
                  <a:pt x="451" y="138"/>
                  <a:pt x="454" y="146"/>
                  <a:pt x="448" y="156"/>
                </a:cubicBezTo>
                <a:cubicBezTo>
                  <a:pt x="447" y="160"/>
                  <a:pt x="445" y="163"/>
                  <a:pt x="445" y="167"/>
                </a:cubicBezTo>
                <a:cubicBezTo>
                  <a:pt x="445" y="171"/>
                  <a:pt x="446" y="177"/>
                  <a:pt x="448" y="178"/>
                </a:cubicBezTo>
                <a:cubicBezTo>
                  <a:pt x="453" y="179"/>
                  <a:pt x="459" y="179"/>
                  <a:pt x="465" y="178"/>
                </a:cubicBezTo>
                <a:cubicBezTo>
                  <a:pt x="466" y="178"/>
                  <a:pt x="468" y="173"/>
                  <a:pt x="467" y="171"/>
                </a:cubicBezTo>
                <a:cubicBezTo>
                  <a:pt x="465" y="162"/>
                  <a:pt x="474" y="162"/>
                  <a:pt x="477" y="157"/>
                </a:cubicBezTo>
                <a:cubicBezTo>
                  <a:pt x="480" y="159"/>
                  <a:pt x="485" y="161"/>
                  <a:pt x="486" y="163"/>
                </a:cubicBezTo>
                <a:cubicBezTo>
                  <a:pt x="492" y="174"/>
                  <a:pt x="492" y="174"/>
                  <a:pt x="501" y="165"/>
                </a:cubicBezTo>
                <a:cubicBezTo>
                  <a:pt x="501" y="165"/>
                  <a:pt x="501" y="164"/>
                  <a:pt x="502" y="164"/>
                </a:cubicBezTo>
                <a:cubicBezTo>
                  <a:pt x="505" y="162"/>
                  <a:pt x="509" y="159"/>
                  <a:pt x="512" y="156"/>
                </a:cubicBezTo>
                <a:cubicBezTo>
                  <a:pt x="513" y="161"/>
                  <a:pt x="514" y="165"/>
                  <a:pt x="515" y="169"/>
                </a:cubicBezTo>
                <a:cubicBezTo>
                  <a:pt x="515" y="169"/>
                  <a:pt x="515" y="169"/>
                  <a:pt x="514" y="169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DFA75146-7476-41F1-9A9A-501CA108D136}"/>
              </a:ext>
            </a:extLst>
          </p:cNvPr>
          <p:cNvSpPr>
            <a:spLocks/>
          </p:cNvSpPr>
          <p:nvPr userDrawn="1"/>
        </p:nvSpPr>
        <p:spPr bwMode="auto">
          <a:xfrm>
            <a:off x="7713663" y="2759075"/>
            <a:ext cx="1479550" cy="1027113"/>
          </a:xfrm>
          <a:custGeom>
            <a:avLst/>
            <a:gdLst>
              <a:gd name="T0" fmla="*/ 414 w 624"/>
              <a:gd name="T1" fmla="*/ 126 h 434"/>
              <a:gd name="T2" fmla="*/ 447 w 624"/>
              <a:gd name="T3" fmla="*/ 128 h 434"/>
              <a:gd name="T4" fmla="*/ 462 w 624"/>
              <a:gd name="T5" fmla="*/ 137 h 434"/>
              <a:gd name="T6" fmla="*/ 539 w 624"/>
              <a:gd name="T7" fmla="*/ 138 h 434"/>
              <a:gd name="T8" fmla="*/ 603 w 624"/>
              <a:gd name="T9" fmla="*/ 168 h 434"/>
              <a:gd name="T10" fmla="*/ 615 w 624"/>
              <a:gd name="T11" fmla="*/ 211 h 434"/>
              <a:gd name="T12" fmla="*/ 557 w 624"/>
              <a:gd name="T13" fmla="*/ 231 h 434"/>
              <a:gd name="T14" fmla="*/ 537 w 624"/>
              <a:gd name="T15" fmla="*/ 250 h 434"/>
              <a:gd name="T16" fmla="*/ 571 w 624"/>
              <a:gd name="T17" fmla="*/ 272 h 434"/>
              <a:gd name="T18" fmla="*/ 531 w 624"/>
              <a:gd name="T19" fmla="*/ 333 h 434"/>
              <a:gd name="T20" fmla="*/ 497 w 624"/>
              <a:gd name="T21" fmla="*/ 353 h 434"/>
              <a:gd name="T22" fmla="*/ 472 w 624"/>
              <a:gd name="T23" fmla="*/ 403 h 434"/>
              <a:gd name="T24" fmla="*/ 423 w 624"/>
              <a:gd name="T25" fmla="*/ 404 h 434"/>
              <a:gd name="T26" fmla="*/ 391 w 624"/>
              <a:gd name="T27" fmla="*/ 401 h 434"/>
              <a:gd name="T28" fmla="*/ 298 w 624"/>
              <a:gd name="T29" fmla="*/ 400 h 434"/>
              <a:gd name="T30" fmla="*/ 243 w 624"/>
              <a:gd name="T31" fmla="*/ 388 h 434"/>
              <a:gd name="T32" fmla="*/ 188 w 624"/>
              <a:gd name="T33" fmla="*/ 400 h 434"/>
              <a:gd name="T34" fmla="*/ 124 w 624"/>
              <a:gd name="T35" fmla="*/ 410 h 434"/>
              <a:gd name="T36" fmla="*/ 46 w 624"/>
              <a:gd name="T37" fmla="*/ 385 h 434"/>
              <a:gd name="T38" fmla="*/ 3 w 624"/>
              <a:gd name="T39" fmla="*/ 352 h 434"/>
              <a:gd name="T40" fmla="*/ 28 w 624"/>
              <a:gd name="T41" fmla="*/ 289 h 434"/>
              <a:gd name="T42" fmla="*/ 44 w 624"/>
              <a:gd name="T43" fmla="*/ 263 h 434"/>
              <a:gd name="T44" fmla="*/ 67 w 624"/>
              <a:gd name="T45" fmla="*/ 219 h 434"/>
              <a:gd name="T46" fmla="*/ 60 w 624"/>
              <a:gd name="T47" fmla="*/ 181 h 434"/>
              <a:gd name="T48" fmla="*/ 76 w 624"/>
              <a:gd name="T49" fmla="*/ 148 h 434"/>
              <a:gd name="T50" fmla="*/ 110 w 624"/>
              <a:gd name="T51" fmla="*/ 154 h 434"/>
              <a:gd name="T52" fmla="*/ 128 w 624"/>
              <a:gd name="T53" fmla="*/ 172 h 434"/>
              <a:gd name="T54" fmla="*/ 110 w 624"/>
              <a:gd name="T55" fmla="*/ 220 h 434"/>
              <a:gd name="T56" fmla="*/ 150 w 624"/>
              <a:gd name="T57" fmla="*/ 197 h 434"/>
              <a:gd name="T58" fmla="*/ 192 w 624"/>
              <a:gd name="T59" fmla="*/ 201 h 434"/>
              <a:gd name="T60" fmla="*/ 201 w 624"/>
              <a:gd name="T61" fmla="*/ 178 h 434"/>
              <a:gd name="T62" fmla="*/ 213 w 624"/>
              <a:gd name="T63" fmla="*/ 154 h 434"/>
              <a:gd name="T64" fmla="*/ 243 w 624"/>
              <a:gd name="T65" fmla="*/ 120 h 434"/>
              <a:gd name="T66" fmla="*/ 227 w 624"/>
              <a:gd name="T67" fmla="*/ 106 h 434"/>
              <a:gd name="T68" fmla="*/ 195 w 624"/>
              <a:gd name="T69" fmla="*/ 72 h 434"/>
              <a:gd name="T70" fmla="*/ 323 w 624"/>
              <a:gd name="T71" fmla="*/ 4 h 434"/>
              <a:gd name="T72" fmla="*/ 358 w 624"/>
              <a:gd name="T73" fmla="*/ 34 h 434"/>
              <a:gd name="T74" fmla="*/ 313 w 624"/>
              <a:gd name="T75" fmla="*/ 93 h 434"/>
              <a:gd name="T76" fmla="*/ 301 w 624"/>
              <a:gd name="T77" fmla="*/ 182 h 434"/>
              <a:gd name="T78" fmla="*/ 347 w 624"/>
              <a:gd name="T79" fmla="*/ 197 h 434"/>
              <a:gd name="T80" fmla="*/ 338 w 624"/>
              <a:gd name="T81" fmla="*/ 148 h 434"/>
              <a:gd name="T82" fmla="*/ 339 w 624"/>
              <a:gd name="T83" fmla="*/ 104 h 434"/>
              <a:gd name="T84" fmla="*/ 350 w 624"/>
              <a:gd name="T85" fmla="*/ 123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24" h="434">
                <a:moveTo>
                  <a:pt x="381" y="123"/>
                </a:moveTo>
                <a:cubicBezTo>
                  <a:pt x="380" y="130"/>
                  <a:pt x="383" y="134"/>
                  <a:pt x="390" y="133"/>
                </a:cubicBezTo>
                <a:cubicBezTo>
                  <a:pt x="398" y="132"/>
                  <a:pt x="407" y="130"/>
                  <a:pt x="414" y="126"/>
                </a:cubicBezTo>
                <a:cubicBezTo>
                  <a:pt x="421" y="123"/>
                  <a:pt x="426" y="118"/>
                  <a:pt x="433" y="115"/>
                </a:cubicBezTo>
                <a:cubicBezTo>
                  <a:pt x="436" y="113"/>
                  <a:pt x="442" y="114"/>
                  <a:pt x="445" y="116"/>
                </a:cubicBezTo>
                <a:cubicBezTo>
                  <a:pt x="449" y="118"/>
                  <a:pt x="450" y="123"/>
                  <a:pt x="447" y="128"/>
                </a:cubicBezTo>
                <a:cubicBezTo>
                  <a:pt x="445" y="130"/>
                  <a:pt x="445" y="133"/>
                  <a:pt x="445" y="136"/>
                </a:cubicBezTo>
                <a:cubicBezTo>
                  <a:pt x="444" y="140"/>
                  <a:pt x="446" y="143"/>
                  <a:pt x="451" y="141"/>
                </a:cubicBezTo>
                <a:cubicBezTo>
                  <a:pt x="455" y="140"/>
                  <a:pt x="458" y="139"/>
                  <a:pt x="462" y="137"/>
                </a:cubicBezTo>
                <a:cubicBezTo>
                  <a:pt x="470" y="133"/>
                  <a:pt x="475" y="133"/>
                  <a:pt x="481" y="141"/>
                </a:cubicBezTo>
                <a:cubicBezTo>
                  <a:pt x="489" y="151"/>
                  <a:pt x="502" y="151"/>
                  <a:pt x="511" y="142"/>
                </a:cubicBezTo>
                <a:cubicBezTo>
                  <a:pt x="520" y="132"/>
                  <a:pt x="529" y="131"/>
                  <a:pt x="539" y="138"/>
                </a:cubicBezTo>
                <a:cubicBezTo>
                  <a:pt x="548" y="143"/>
                  <a:pt x="556" y="148"/>
                  <a:pt x="564" y="153"/>
                </a:cubicBezTo>
                <a:cubicBezTo>
                  <a:pt x="573" y="158"/>
                  <a:pt x="583" y="164"/>
                  <a:pt x="592" y="169"/>
                </a:cubicBezTo>
                <a:cubicBezTo>
                  <a:pt x="595" y="171"/>
                  <a:pt x="599" y="169"/>
                  <a:pt x="603" y="168"/>
                </a:cubicBezTo>
                <a:cubicBezTo>
                  <a:pt x="616" y="167"/>
                  <a:pt x="620" y="171"/>
                  <a:pt x="617" y="184"/>
                </a:cubicBezTo>
                <a:cubicBezTo>
                  <a:pt x="616" y="189"/>
                  <a:pt x="615" y="194"/>
                  <a:pt x="614" y="199"/>
                </a:cubicBezTo>
                <a:cubicBezTo>
                  <a:pt x="614" y="202"/>
                  <a:pt x="614" y="207"/>
                  <a:pt x="615" y="211"/>
                </a:cubicBezTo>
                <a:cubicBezTo>
                  <a:pt x="617" y="215"/>
                  <a:pt x="624" y="219"/>
                  <a:pt x="617" y="225"/>
                </a:cubicBezTo>
                <a:cubicBezTo>
                  <a:pt x="611" y="230"/>
                  <a:pt x="606" y="238"/>
                  <a:pt x="595" y="235"/>
                </a:cubicBezTo>
                <a:cubicBezTo>
                  <a:pt x="582" y="231"/>
                  <a:pt x="570" y="228"/>
                  <a:pt x="557" y="231"/>
                </a:cubicBezTo>
                <a:cubicBezTo>
                  <a:pt x="555" y="232"/>
                  <a:pt x="552" y="230"/>
                  <a:pt x="549" y="229"/>
                </a:cubicBezTo>
                <a:cubicBezTo>
                  <a:pt x="542" y="226"/>
                  <a:pt x="539" y="228"/>
                  <a:pt x="540" y="236"/>
                </a:cubicBezTo>
                <a:cubicBezTo>
                  <a:pt x="540" y="241"/>
                  <a:pt x="539" y="246"/>
                  <a:pt x="537" y="250"/>
                </a:cubicBezTo>
                <a:cubicBezTo>
                  <a:pt x="535" y="257"/>
                  <a:pt x="538" y="262"/>
                  <a:pt x="545" y="260"/>
                </a:cubicBezTo>
                <a:cubicBezTo>
                  <a:pt x="553" y="258"/>
                  <a:pt x="559" y="258"/>
                  <a:pt x="563" y="267"/>
                </a:cubicBezTo>
                <a:cubicBezTo>
                  <a:pt x="564" y="269"/>
                  <a:pt x="568" y="270"/>
                  <a:pt x="571" y="272"/>
                </a:cubicBezTo>
                <a:cubicBezTo>
                  <a:pt x="578" y="275"/>
                  <a:pt x="580" y="284"/>
                  <a:pt x="573" y="286"/>
                </a:cubicBezTo>
                <a:cubicBezTo>
                  <a:pt x="557" y="291"/>
                  <a:pt x="556" y="308"/>
                  <a:pt x="546" y="317"/>
                </a:cubicBezTo>
                <a:cubicBezTo>
                  <a:pt x="541" y="322"/>
                  <a:pt x="536" y="328"/>
                  <a:pt x="531" y="333"/>
                </a:cubicBezTo>
                <a:cubicBezTo>
                  <a:pt x="526" y="337"/>
                  <a:pt x="520" y="339"/>
                  <a:pt x="513" y="336"/>
                </a:cubicBezTo>
                <a:cubicBezTo>
                  <a:pt x="507" y="333"/>
                  <a:pt x="502" y="334"/>
                  <a:pt x="502" y="344"/>
                </a:cubicBezTo>
                <a:cubicBezTo>
                  <a:pt x="502" y="347"/>
                  <a:pt x="499" y="350"/>
                  <a:pt x="497" y="353"/>
                </a:cubicBezTo>
                <a:cubicBezTo>
                  <a:pt x="490" y="361"/>
                  <a:pt x="479" y="368"/>
                  <a:pt x="481" y="381"/>
                </a:cubicBezTo>
                <a:cubicBezTo>
                  <a:pt x="481" y="383"/>
                  <a:pt x="480" y="385"/>
                  <a:pt x="478" y="386"/>
                </a:cubicBezTo>
                <a:cubicBezTo>
                  <a:pt x="472" y="390"/>
                  <a:pt x="473" y="397"/>
                  <a:pt x="472" y="403"/>
                </a:cubicBezTo>
                <a:cubicBezTo>
                  <a:pt x="472" y="409"/>
                  <a:pt x="469" y="415"/>
                  <a:pt x="467" y="421"/>
                </a:cubicBezTo>
                <a:cubicBezTo>
                  <a:pt x="461" y="418"/>
                  <a:pt x="454" y="417"/>
                  <a:pt x="450" y="412"/>
                </a:cubicBezTo>
                <a:cubicBezTo>
                  <a:pt x="442" y="403"/>
                  <a:pt x="434" y="400"/>
                  <a:pt x="423" y="404"/>
                </a:cubicBezTo>
                <a:cubicBezTo>
                  <a:pt x="420" y="406"/>
                  <a:pt x="416" y="405"/>
                  <a:pt x="413" y="405"/>
                </a:cubicBezTo>
                <a:cubicBezTo>
                  <a:pt x="408" y="404"/>
                  <a:pt x="404" y="403"/>
                  <a:pt x="400" y="403"/>
                </a:cubicBezTo>
                <a:cubicBezTo>
                  <a:pt x="397" y="402"/>
                  <a:pt x="393" y="403"/>
                  <a:pt x="391" y="401"/>
                </a:cubicBezTo>
                <a:cubicBezTo>
                  <a:pt x="375" y="389"/>
                  <a:pt x="369" y="388"/>
                  <a:pt x="353" y="399"/>
                </a:cubicBezTo>
                <a:cubicBezTo>
                  <a:pt x="339" y="408"/>
                  <a:pt x="324" y="412"/>
                  <a:pt x="309" y="400"/>
                </a:cubicBezTo>
                <a:cubicBezTo>
                  <a:pt x="307" y="398"/>
                  <a:pt x="301" y="399"/>
                  <a:pt x="298" y="400"/>
                </a:cubicBezTo>
                <a:cubicBezTo>
                  <a:pt x="283" y="412"/>
                  <a:pt x="265" y="410"/>
                  <a:pt x="247" y="411"/>
                </a:cubicBezTo>
                <a:cubicBezTo>
                  <a:pt x="242" y="411"/>
                  <a:pt x="238" y="408"/>
                  <a:pt x="244" y="403"/>
                </a:cubicBezTo>
                <a:cubicBezTo>
                  <a:pt x="250" y="397"/>
                  <a:pt x="245" y="393"/>
                  <a:pt x="243" y="388"/>
                </a:cubicBezTo>
                <a:cubicBezTo>
                  <a:pt x="241" y="382"/>
                  <a:pt x="236" y="382"/>
                  <a:pt x="231" y="383"/>
                </a:cubicBezTo>
                <a:cubicBezTo>
                  <a:pt x="219" y="386"/>
                  <a:pt x="207" y="389"/>
                  <a:pt x="196" y="392"/>
                </a:cubicBezTo>
                <a:cubicBezTo>
                  <a:pt x="193" y="393"/>
                  <a:pt x="189" y="397"/>
                  <a:pt x="188" y="400"/>
                </a:cubicBezTo>
                <a:cubicBezTo>
                  <a:pt x="181" y="413"/>
                  <a:pt x="170" y="423"/>
                  <a:pt x="158" y="431"/>
                </a:cubicBezTo>
                <a:cubicBezTo>
                  <a:pt x="153" y="434"/>
                  <a:pt x="146" y="431"/>
                  <a:pt x="144" y="424"/>
                </a:cubicBezTo>
                <a:cubicBezTo>
                  <a:pt x="139" y="410"/>
                  <a:pt x="139" y="410"/>
                  <a:pt x="124" y="410"/>
                </a:cubicBezTo>
                <a:cubicBezTo>
                  <a:pt x="111" y="409"/>
                  <a:pt x="97" y="408"/>
                  <a:pt x="83" y="408"/>
                </a:cubicBezTo>
                <a:cubicBezTo>
                  <a:pt x="77" y="407"/>
                  <a:pt x="73" y="405"/>
                  <a:pt x="70" y="399"/>
                </a:cubicBezTo>
                <a:cubicBezTo>
                  <a:pt x="65" y="391"/>
                  <a:pt x="57" y="385"/>
                  <a:pt x="46" y="385"/>
                </a:cubicBezTo>
                <a:cubicBezTo>
                  <a:pt x="35" y="386"/>
                  <a:pt x="30" y="379"/>
                  <a:pt x="30" y="368"/>
                </a:cubicBezTo>
                <a:cubicBezTo>
                  <a:pt x="30" y="355"/>
                  <a:pt x="25" y="351"/>
                  <a:pt x="14" y="357"/>
                </a:cubicBezTo>
                <a:cubicBezTo>
                  <a:pt x="7" y="360"/>
                  <a:pt x="4" y="359"/>
                  <a:pt x="3" y="352"/>
                </a:cubicBezTo>
                <a:cubicBezTo>
                  <a:pt x="1" y="345"/>
                  <a:pt x="0" y="338"/>
                  <a:pt x="4" y="329"/>
                </a:cubicBezTo>
                <a:cubicBezTo>
                  <a:pt x="7" y="320"/>
                  <a:pt x="10" y="316"/>
                  <a:pt x="19" y="314"/>
                </a:cubicBezTo>
                <a:cubicBezTo>
                  <a:pt x="29" y="312"/>
                  <a:pt x="34" y="298"/>
                  <a:pt x="28" y="289"/>
                </a:cubicBezTo>
                <a:cubicBezTo>
                  <a:pt x="24" y="283"/>
                  <a:pt x="25" y="281"/>
                  <a:pt x="31" y="279"/>
                </a:cubicBezTo>
                <a:cubicBezTo>
                  <a:pt x="34" y="278"/>
                  <a:pt x="37" y="277"/>
                  <a:pt x="40" y="276"/>
                </a:cubicBezTo>
                <a:cubicBezTo>
                  <a:pt x="50" y="272"/>
                  <a:pt x="50" y="272"/>
                  <a:pt x="44" y="263"/>
                </a:cubicBezTo>
                <a:cubicBezTo>
                  <a:pt x="40" y="259"/>
                  <a:pt x="41" y="256"/>
                  <a:pt x="45" y="253"/>
                </a:cubicBezTo>
                <a:cubicBezTo>
                  <a:pt x="49" y="249"/>
                  <a:pt x="54" y="246"/>
                  <a:pt x="58" y="243"/>
                </a:cubicBezTo>
                <a:cubicBezTo>
                  <a:pt x="65" y="236"/>
                  <a:pt x="71" y="229"/>
                  <a:pt x="67" y="219"/>
                </a:cubicBezTo>
                <a:cubicBezTo>
                  <a:pt x="66" y="217"/>
                  <a:pt x="67" y="214"/>
                  <a:pt x="68" y="212"/>
                </a:cubicBezTo>
                <a:cubicBezTo>
                  <a:pt x="73" y="201"/>
                  <a:pt x="71" y="193"/>
                  <a:pt x="62" y="185"/>
                </a:cubicBezTo>
                <a:cubicBezTo>
                  <a:pt x="61" y="184"/>
                  <a:pt x="59" y="182"/>
                  <a:pt x="60" y="181"/>
                </a:cubicBezTo>
                <a:cubicBezTo>
                  <a:pt x="66" y="173"/>
                  <a:pt x="62" y="164"/>
                  <a:pt x="60" y="156"/>
                </a:cubicBezTo>
                <a:cubicBezTo>
                  <a:pt x="58" y="150"/>
                  <a:pt x="62" y="151"/>
                  <a:pt x="65" y="153"/>
                </a:cubicBezTo>
                <a:cubicBezTo>
                  <a:pt x="72" y="158"/>
                  <a:pt x="74" y="154"/>
                  <a:pt x="76" y="148"/>
                </a:cubicBezTo>
                <a:cubicBezTo>
                  <a:pt x="78" y="142"/>
                  <a:pt x="82" y="137"/>
                  <a:pt x="85" y="131"/>
                </a:cubicBezTo>
                <a:cubicBezTo>
                  <a:pt x="85" y="131"/>
                  <a:pt x="85" y="131"/>
                  <a:pt x="85" y="131"/>
                </a:cubicBezTo>
                <a:cubicBezTo>
                  <a:pt x="84" y="150"/>
                  <a:pt x="92" y="157"/>
                  <a:pt x="110" y="154"/>
                </a:cubicBezTo>
                <a:cubicBezTo>
                  <a:pt x="113" y="154"/>
                  <a:pt x="117" y="153"/>
                  <a:pt x="120" y="154"/>
                </a:cubicBezTo>
                <a:cubicBezTo>
                  <a:pt x="124" y="155"/>
                  <a:pt x="129" y="158"/>
                  <a:pt x="132" y="161"/>
                </a:cubicBezTo>
                <a:cubicBezTo>
                  <a:pt x="133" y="163"/>
                  <a:pt x="130" y="168"/>
                  <a:pt x="128" y="172"/>
                </a:cubicBezTo>
                <a:cubicBezTo>
                  <a:pt x="127" y="175"/>
                  <a:pt x="124" y="178"/>
                  <a:pt x="124" y="181"/>
                </a:cubicBezTo>
                <a:cubicBezTo>
                  <a:pt x="123" y="193"/>
                  <a:pt x="123" y="205"/>
                  <a:pt x="112" y="213"/>
                </a:cubicBezTo>
                <a:cubicBezTo>
                  <a:pt x="110" y="214"/>
                  <a:pt x="109" y="219"/>
                  <a:pt x="110" y="220"/>
                </a:cubicBezTo>
                <a:cubicBezTo>
                  <a:pt x="112" y="222"/>
                  <a:pt x="116" y="225"/>
                  <a:pt x="118" y="224"/>
                </a:cubicBezTo>
                <a:cubicBezTo>
                  <a:pt x="125" y="222"/>
                  <a:pt x="132" y="218"/>
                  <a:pt x="139" y="214"/>
                </a:cubicBezTo>
                <a:cubicBezTo>
                  <a:pt x="147" y="211"/>
                  <a:pt x="149" y="205"/>
                  <a:pt x="150" y="197"/>
                </a:cubicBezTo>
                <a:cubicBezTo>
                  <a:pt x="152" y="186"/>
                  <a:pt x="153" y="186"/>
                  <a:pt x="162" y="191"/>
                </a:cubicBezTo>
                <a:cubicBezTo>
                  <a:pt x="169" y="194"/>
                  <a:pt x="175" y="200"/>
                  <a:pt x="184" y="196"/>
                </a:cubicBezTo>
                <a:cubicBezTo>
                  <a:pt x="185" y="196"/>
                  <a:pt x="189" y="201"/>
                  <a:pt x="192" y="201"/>
                </a:cubicBezTo>
                <a:cubicBezTo>
                  <a:pt x="197" y="201"/>
                  <a:pt x="203" y="202"/>
                  <a:pt x="207" y="199"/>
                </a:cubicBezTo>
                <a:cubicBezTo>
                  <a:pt x="212" y="196"/>
                  <a:pt x="209" y="190"/>
                  <a:pt x="205" y="186"/>
                </a:cubicBezTo>
                <a:cubicBezTo>
                  <a:pt x="204" y="184"/>
                  <a:pt x="202" y="181"/>
                  <a:pt x="201" y="178"/>
                </a:cubicBezTo>
                <a:cubicBezTo>
                  <a:pt x="201" y="177"/>
                  <a:pt x="205" y="174"/>
                  <a:pt x="205" y="174"/>
                </a:cubicBezTo>
                <a:cubicBezTo>
                  <a:pt x="211" y="177"/>
                  <a:pt x="218" y="176"/>
                  <a:pt x="219" y="170"/>
                </a:cubicBezTo>
                <a:cubicBezTo>
                  <a:pt x="220" y="165"/>
                  <a:pt x="217" y="158"/>
                  <a:pt x="213" y="154"/>
                </a:cubicBezTo>
                <a:cubicBezTo>
                  <a:pt x="205" y="145"/>
                  <a:pt x="207" y="134"/>
                  <a:pt x="219" y="131"/>
                </a:cubicBezTo>
                <a:cubicBezTo>
                  <a:pt x="224" y="130"/>
                  <a:pt x="230" y="129"/>
                  <a:pt x="235" y="129"/>
                </a:cubicBezTo>
                <a:cubicBezTo>
                  <a:pt x="241" y="128"/>
                  <a:pt x="244" y="126"/>
                  <a:pt x="243" y="120"/>
                </a:cubicBezTo>
                <a:cubicBezTo>
                  <a:pt x="243" y="117"/>
                  <a:pt x="244" y="114"/>
                  <a:pt x="243" y="112"/>
                </a:cubicBezTo>
                <a:cubicBezTo>
                  <a:pt x="242" y="108"/>
                  <a:pt x="241" y="102"/>
                  <a:pt x="238" y="101"/>
                </a:cubicBezTo>
                <a:cubicBezTo>
                  <a:pt x="234" y="98"/>
                  <a:pt x="230" y="101"/>
                  <a:pt x="227" y="106"/>
                </a:cubicBezTo>
                <a:cubicBezTo>
                  <a:pt x="225" y="108"/>
                  <a:pt x="220" y="110"/>
                  <a:pt x="216" y="110"/>
                </a:cubicBezTo>
                <a:cubicBezTo>
                  <a:pt x="207" y="109"/>
                  <a:pt x="198" y="107"/>
                  <a:pt x="192" y="99"/>
                </a:cubicBezTo>
                <a:cubicBezTo>
                  <a:pt x="185" y="89"/>
                  <a:pt x="185" y="79"/>
                  <a:pt x="195" y="72"/>
                </a:cubicBezTo>
                <a:cubicBezTo>
                  <a:pt x="212" y="60"/>
                  <a:pt x="229" y="48"/>
                  <a:pt x="247" y="37"/>
                </a:cubicBezTo>
                <a:cubicBezTo>
                  <a:pt x="265" y="26"/>
                  <a:pt x="284" y="17"/>
                  <a:pt x="302" y="6"/>
                </a:cubicBezTo>
                <a:cubicBezTo>
                  <a:pt x="309" y="2"/>
                  <a:pt x="315" y="0"/>
                  <a:pt x="323" y="4"/>
                </a:cubicBezTo>
                <a:cubicBezTo>
                  <a:pt x="325" y="5"/>
                  <a:pt x="329" y="6"/>
                  <a:pt x="332" y="6"/>
                </a:cubicBezTo>
                <a:cubicBezTo>
                  <a:pt x="347" y="9"/>
                  <a:pt x="355" y="17"/>
                  <a:pt x="358" y="32"/>
                </a:cubicBezTo>
                <a:cubicBezTo>
                  <a:pt x="358" y="33"/>
                  <a:pt x="358" y="33"/>
                  <a:pt x="358" y="34"/>
                </a:cubicBezTo>
                <a:cubicBezTo>
                  <a:pt x="354" y="44"/>
                  <a:pt x="349" y="55"/>
                  <a:pt x="345" y="65"/>
                </a:cubicBezTo>
                <a:cubicBezTo>
                  <a:pt x="344" y="67"/>
                  <a:pt x="342" y="68"/>
                  <a:pt x="341" y="69"/>
                </a:cubicBezTo>
                <a:cubicBezTo>
                  <a:pt x="335" y="82"/>
                  <a:pt x="329" y="92"/>
                  <a:pt x="313" y="93"/>
                </a:cubicBezTo>
                <a:cubicBezTo>
                  <a:pt x="308" y="93"/>
                  <a:pt x="303" y="110"/>
                  <a:pt x="304" y="115"/>
                </a:cubicBezTo>
                <a:cubicBezTo>
                  <a:pt x="308" y="124"/>
                  <a:pt x="308" y="132"/>
                  <a:pt x="301" y="140"/>
                </a:cubicBezTo>
                <a:cubicBezTo>
                  <a:pt x="296" y="146"/>
                  <a:pt x="296" y="175"/>
                  <a:pt x="301" y="182"/>
                </a:cubicBezTo>
                <a:cubicBezTo>
                  <a:pt x="302" y="183"/>
                  <a:pt x="304" y="184"/>
                  <a:pt x="306" y="185"/>
                </a:cubicBezTo>
                <a:cubicBezTo>
                  <a:pt x="314" y="189"/>
                  <a:pt x="323" y="194"/>
                  <a:pt x="332" y="198"/>
                </a:cubicBezTo>
                <a:cubicBezTo>
                  <a:pt x="337" y="201"/>
                  <a:pt x="342" y="203"/>
                  <a:pt x="347" y="197"/>
                </a:cubicBezTo>
                <a:cubicBezTo>
                  <a:pt x="352" y="192"/>
                  <a:pt x="359" y="188"/>
                  <a:pt x="354" y="179"/>
                </a:cubicBezTo>
                <a:cubicBezTo>
                  <a:pt x="353" y="176"/>
                  <a:pt x="352" y="172"/>
                  <a:pt x="350" y="172"/>
                </a:cubicBezTo>
                <a:cubicBezTo>
                  <a:pt x="340" y="167"/>
                  <a:pt x="340" y="157"/>
                  <a:pt x="338" y="148"/>
                </a:cubicBezTo>
                <a:cubicBezTo>
                  <a:pt x="335" y="138"/>
                  <a:pt x="332" y="128"/>
                  <a:pt x="329" y="118"/>
                </a:cubicBezTo>
                <a:cubicBezTo>
                  <a:pt x="328" y="114"/>
                  <a:pt x="329" y="110"/>
                  <a:pt x="334" y="109"/>
                </a:cubicBezTo>
                <a:cubicBezTo>
                  <a:pt x="336" y="109"/>
                  <a:pt x="338" y="106"/>
                  <a:pt x="339" y="104"/>
                </a:cubicBezTo>
                <a:cubicBezTo>
                  <a:pt x="341" y="101"/>
                  <a:pt x="342" y="96"/>
                  <a:pt x="346" y="99"/>
                </a:cubicBezTo>
                <a:cubicBezTo>
                  <a:pt x="350" y="102"/>
                  <a:pt x="354" y="106"/>
                  <a:pt x="351" y="112"/>
                </a:cubicBezTo>
                <a:cubicBezTo>
                  <a:pt x="349" y="116"/>
                  <a:pt x="343" y="120"/>
                  <a:pt x="350" y="123"/>
                </a:cubicBezTo>
                <a:cubicBezTo>
                  <a:pt x="356" y="127"/>
                  <a:pt x="363" y="131"/>
                  <a:pt x="371" y="127"/>
                </a:cubicBezTo>
                <a:cubicBezTo>
                  <a:pt x="374" y="125"/>
                  <a:pt x="378" y="124"/>
                  <a:pt x="381" y="123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2C859B2F-ACCF-4D9E-9DBC-3495886B365D}"/>
              </a:ext>
            </a:extLst>
          </p:cNvPr>
          <p:cNvSpPr>
            <a:spLocks/>
          </p:cNvSpPr>
          <p:nvPr userDrawn="1"/>
        </p:nvSpPr>
        <p:spPr bwMode="auto">
          <a:xfrm>
            <a:off x="7456488" y="3606800"/>
            <a:ext cx="1393825" cy="1158875"/>
          </a:xfrm>
          <a:custGeom>
            <a:avLst/>
            <a:gdLst>
              <a:gd name="T0" fmla="*/ 547 w 587"/>
              <a:gd name="T1" fmla="*/ 252 h 489"/>
              <a:gd name="T2" fmla="*/ 527 w 587"/>
              <a:gd name="T3" fmla="*/ 256 h 489"/>
              <a:gd name="T4" fmla="*/ 524 w 587"/>
              <a:gd name="T5" fmla="*/ 231 h 489"/>
              <a:gd name="T6" fmla="*/ 503 w 587"/>
              <a:gd name="T7" fmla="*/ 197 h 489"/>
              <a:gd name="T8" fmla="*/ 466 w 587"/>
              <a:gd name="T9" fmla="*/ 194 h 489"/>
              <a:gd name="T10" fmla="*/ 411 w 587"/>
              <a:gd name="T11" fmla="*/ 178 h 489"/>
              <a:gd name="T12" fmla="*/ 390 w 587"/>
              <a:gd name="T13" fmla="*/ 215 h 489"/>
              <a:gd name="T14" fmla="*/ 371 w 587"/>
              <a:gd name="T15" fmla="*/ 219 h 489"/>
              <a:gd name="T16" fmla="*/ 362 w 587"/>
              <a:gd name="T17" fmla="*/ 261 h 489"/>
              <a:gd name="T18" fmla="*/ 333 w 587"/>
              <a:gd name="T19" fmla="*/ 284 h 489"/>
              <a:gd name="T20" fmla="*/ 304 w 587"/>
              <a:gd name="T21" fmla="*/ 298 h 489"/>
              <a:gd name="T22" fmla="*/ 292 w 587"/>
              <a:gd name="T23" fmla="*/ 319 h 489"/>
              <a:gd name="T24" fmla="*/ 253 w 587"/>
              <a:gd name="T25" fmla="*/ 353 h 489"/>
              <a:gd name="T26" fmla="*/ 229 w 587"/>
              <a:gd name="T27" fmla="*/ 358 h 489"/>
              <a:gd name="T28" fmla="*/ 196 w 587"/>
              <a:gd name="T29" fmla="*/ 353 h 489"/>
              <a:gd name="T30" fmla="*/ 184 w 587"/>
              <a:gd name="T31" fmla="*/ 387 h 489"/>
              <a:gd name="T32" fmla="*/ 154 w 587"/>
              <a:gd name="T33" fmla="*/ 391 h 489"/>
              <a:gd name="T34" fmla="*/ 125 w 587"/>
              <a:gd name="T35" fmla="*/ 410 h 489"/>
              <a:gd name="T36" fmla="*/ 95 w 587"/>
              <a:gd name="T37" fmla="*/ 419 h 489"/>
              <a:gd name="T38" fmla="*/ 106 w 587"/>
              <a:gd name="T39" fmla="*/ 451 h 489"/>
              <a:gd name="T40" fmla="*/ 65 w 587"/>
              <a:gd name="T41" fmla="*/ 480 h 489"/>
              <a:gd name="T42" fmla="*/ 34 w 587"/>
              <a:gd name="T43" fmla="*/ 442 h 489"/>
              <a:gd name="T44" fmla="*/ 18 w 587"/>
              <a:gd name="T45" fmla="*/ 329 h 489"/>
              <a:gd name="T46" fmla="*/ 5 w 587"/>
              <a:gd name="T47" fmla="*/ 248 h 489"/>
              <a:gd name="T48" fmla="*/ 12 w 587"/>
              <a:gd name="T49" fmla="*/ 229 h 489"/>
              <a:gd name="T50" fmla="*/ 5 w 587"/>
              <a:gd name="T51" fmla="*/ 205 h 489"/>
              <a:gd name="T52" fmla="*/ 2 w 587"/>
              <a:gd name="T53" fmla="*/ 145 h 489"/>
              <a:gd name="T54" fmla="*/ 22 w 587"/>
              <a:gd name="T55" fmla="*/ 144 h 489"/>
              <a:gd name="T56" fmla="*/ 52 w 587"/>
              <a:gd name="T57" fmla="*/ 108 h 489"/>
              <a:gd name="T58" fmla="*/ 82 w 587"/>
              <a:gd name="T59" fmla="*/ 102 h 489"/>
              <a:gd name="T60" fmla="*/ 80 w 587"/>
              <a:gd name="T61" fmla="*/ 68 h 489"/>
              <a:gd name="T62" fmla="*/ 81 w 587"/>
              <a:gd name="T63" fmla="*/ 61 h 489"/>
              <a:gd name="T64" fmla="*/ 111 w 587"/>
              <a:gd name="T65" fmla="*/ 42 h 489"/>
              <a:gd name="T66" fmla="*/ 112 w 587"/>
              <a:gd name="T67" fmla="*/ 35 h 489"/>
              <a:gd name="T68" fmla="*/ 87 w 587"/>
              <a:gd name="T69" fmla="*/ 25 h 489"/>
              <a:gd name="T70" fmla="*/ 113 w 587"/>
              <a:gd name="T71" fmla="*/ 6 h 489"/>
              <a:gd name="T72" fmla="*/ 133 w 587"/>
              <a:gd name="T73" fmla="*/ 8 h 489"/>
              <a:gd name="T74" fmla="*/ 171 w 587"/>
              <a:gd name="T75" fmla="*/ 41 h 489"/>
              <a:gd name="T76" fmla="*/ 235 w 587"/>
              <a:gd name="T77" fmla="*/ 56 h 489"/>
              <a:gd name="T78" fmla="*/ 274 w 587"/>
              <a:gd name="T79" fmla="*/ 72 h 489"/>
              <a:gd name="T80" fmla="*/ 288 w 587"/>
              <a:gd name="T81" fmla="*/ 64 h 489"/>
              <a:gd name="T82" fmla="*/ 308 w 587"/>
              <a:gd name="T83" fmla="*/ 38 h 489"/>
              <a:gd name="T84" fmla="*/ 347 w 587"/>
              <a:gd name="T85" fmla="*/ 33 h 489"/>
              <a:gd name="T86" fmla="*/ 353 w 587"/>
              <a:gd name="T87" fmla="*/ 58 h 489"/>
              <a:gd name="T88" fmla="*/ 416 w 587"/>
              <a:gd name="T89" fmla="*/ 47 h 489"/>
              <a:gd name="T90" fmla="*/ 479 w 587"/>
              <a:gd name="T91" fmla="*/ 39 h 489"/>
              <a:gd name="T92" fmla="*/ 500 w 587"/>
              <a:gd name="T93" fmla="*/ 50 h 489"/>
              <a:gd name="T94" fmla="*/ 553 w 587"/>
              <a:gd name="T95" fmla="*/ 56 h 489"/>
              <a:gd name="T96" fmla="*/ 565 w 587"/>
              <a:gd name="T97" fmla="*/ 73 h 489"/>
              <a:gd name="T98" fmla="*/ 566 w 587"/>
              <a:gd name="T99" fmla="*/ 106 h 489"/>
              <a:gd name="T100" fmla="*/ 564 w 587"/>
              <a:gd name="T101" fmla="*/ 146 h 489"/>
              <a:gd name="T102" fmla="*/ 559 w 587"/>
              <a:gd name="T103" fmla="*/ 172 h 489"/>
              <a:gd name="T104" fmla="*/ 584 w 587"/>
              <a:gd name="T105" fmla="*/ 207 h 489"/>
              <a:gd name="T106" fmla="*/ 580 w 587"/>
              <a:gd name="T107" fmla="*/ 218 h 489"/>
              <a:gd name="T108" fmla="*/ 561 w 587"/>
              <a:gd name="T109" fmla="*/ 218 h 489"/>
              <a:gd name="T110" fmla="*/ 547 w 587"/>
              <a:gd name="T111" fmla="*/ 249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87" h="489">
                <a:moveTo>
                  <a:pt x="547" y="249"/>
                </a:moveTo>
                <a:cubicBezTo>
                  <a:pt x="547" y="249"/>
                  <a:pt x="547" y="251"/>
                  <a:pt x="547" y="252"/>
                </a:cubicBezTo>
                <a:cubicBezTo>
                  <a:pt x="547" y="257"/>
                  <a:pt x="549" y="264"/>
                  <a:pt x="541" y="265"/>
                </a:cubicBezTo>
                <a:cubicBezTo>
                  <a:pt x="534" y="267"/>
                  <a:pt x="530" y="262"/>
                  <a:pt x="527" y="256"/>
                </a:cubicBezTo>
                <a:cubicBezTo>
                  <a:pt x="524" y="251"/>
                  <a:pt x="522" y="245"/>
                  <a:pt x="521" y="240"/>
                </a:cubicBezTo>
                <a:cubicBezTo>
                  <a:pt x="521" y="237"/>
                  <a:pt x="523" y="234"/>
                  <a:pt x="524" y="231"/>
                </a:cubicBezTo>
                <a:cubicBezTo>
                  <a:pt x="529" y="217"/>
                  <a:pt x="523" y="202"/>
                  <a:pt x="510" y="197"/>
                </a:cubicBezTo>
                <a:cubicBezTo>
                  <a:pt x="508" y="196"/>
                  <a:pt x="505" y="196"/>
                  <a:pt x="503" y="197"/>
                </a:cubicBezTo>
                <a:cubicBezTo>
                  <a:pt x="494" y="202"/>
                  <a:pt x="484" y="199"/>
                  <a:pt x="475" y="196"/>
                </a:cubicBezTo>
                <a:cubicBezTo>
                  <a:pt x="472" y="195"/>
                  <a:pt x="468" y="193"/>
                  <a:pt x="466" y="194"/>
                </a:cubicBezTo>
                <a:cubicBezTo>
                  <a:pt x="457" y="196"/>
                  <a:pt x="451" y="193"/>
                  <a:pt x="446" y="185"/>
                </a:cubicBezTo>
                <a:cubicBezTo>
                  <a:pt x="442" y="180"/>
                  <a:pt x="417" y="174"/>
                  <a:pt x="411" y="178"/>
                </a:cubicBezTo>
                <a:cubicBezTo>
                  <a:pt x="408" y="180"/>
                  <a:pt x="406" y="184"/>
                  <a:pt x="406" y="187"/>
                </a:cubicBezTo>
                <a:cubicBezTo>
                  <a:pt x="406" y="199"/>
                  <a:pt x="394" y="205"/>
                  <a:pt x="390" y="215"/>
                </a:cubicBezTo>
                <a:cubicBezTo>
                  <a:pt x="390" y="216"/>
                  <a:pt x="385" y="216"/>
                  <a:pt x="383" y="215"/>
                </a:cubicBezTo>
                <a:cubicBezTo>
                  <a:pt x="377" y="212"/>
                  <a:pt x="374" y="215"/>
                  <a:pt x="371" y="219"/>
                </a:cubicBezTo>
                <a:cubicBezTo>
                  <a:pt x="364" y="228"/>
                  <a:pt x="357" y="237"/>
                  <a:pt x="365" y="249"/>
                </a:cubicBezTo>
                <a:cubicBezTo>
                  <a:pt x="367" y="251"/>
                  <a:pt x="364" y="258"/>
                  <a:pt x="362" y="261"/>
                </a:cubicBezTo>
                <a:cubicBezTo>
                  <a:pt x="354" y="268"/>
                  <a:pt x="345" y="273"/>
                  <a:pt x="342" y="284"/>
                </a:cubicBezTo>
                <a:cubicBezTo>
                  <a:pt x="340" y="290"/>
                  <a:pt x="336" y="288"/>
                  <a:pt x="333" y="284"/>
                </a:cubicBezTo>
                <a:cubicBezTo>
                  <a:pt x="328" y="278"/>
                  <a:pt x="326" y="280"/>
                  <a:pt x="321" y="286"/>
                </a:cubicBezTo>
                <a:cubicBezTo>
                  <a:pt x="317" y="291"/>
                  <a:pt x="310" y="296"/>
                  <a:pt x="304" y="298"/>
                </a:cubicBezTo>
                <a:cubicBezTo>
                  <a:pt x="297" y="300"/>
                  <a:pt x="294" y="302"/>
                  <a:pt x="294" y="309"/>
                </a:cubicBezTo>
                <a:cubicBezTo>
                  <a:pt x="295" y="313"/>
                  <a:pt x="295" y="318"/>
                  <a:pt x="292" y="319"/>
                </a:cubicBezTo>
                <a:cubicBezTo>
                  <a:pt x="286" y="324"/>
                  <a:pt x="279" y="330"/>
                  <a:pt x="272" y="331"/>
                </a:cubicBezTo>
                <a:cubicBezTo>
                  <a:pt x="256" y="335"/>
                  <a:pt x="252" y="337"/>
                  <a:pt x="253" y="353"/>
                </a:cubicBezTo>
                <a:cubicBezTo>
                  <a:pt x="253" y="357"/>
                  <a:pt x="252" y="359"/>
                  <a:pt x="247" y="357"/>
                </a:cubicBezTo>
                <a:cubicBezTo>
                  <a:pt x="241" y="354"/>
                  <a:pt x="235" y="354"/>
                  <a:pt x="229" y="358"/>
                </a:cubicBezTo>
                <a:cubicBezTo>
                  <a:pt x="222" y="362"/>
                  <a:pt x="217" y="358"/>
                  <a:pt x="211" y="355"/>
                </a:cubicBezTo>
                <a:cubicBezTo>
                  <a:pt x="206" y="353"/>
                  <a:pt x="202" y="348"/>
                  <a:pt x="196" y="353"/>
                </a:cubicBezTo>
                <a:cubicBezTo>
                  <a:pt x="190" y="358"/>
                  <a:pt x="194" y="362"/>
                  <a:pt x="196" y="368"/>
                </a:cubicBezTo>
                <a:cubicBezTo>
                  <a:pt x="201" y="381"/>
                  <a:pt x="197" y="386"/>
                  <a:pt x="184" y="387"/>
                </a:cubicBezTo>
                <a:cubicBezTo>
                  <a:pt x="181" y="388"/>
                  <a:pt x="177" y="387"/>
                  <a:pt x="176" y="389"/>
                </a:cubicBezTo>
                <a:cubicBezTo>
                  <a:pt x="169" y="395"/>
                  <a:pt x="162" y="394"/>
                  <a:pt x="154" y="391"/>
                </a:cubicBezTo>
                <a:cubicBezTo>
                  <a:pt x="148" y="388"/>
                  <a:pt x="144" y="390"/>
                  <a:pt x="140" y="395"/>
                </a:cubicBezTo>
                <a:cubicBezTo>
                  <a:pt x="136" y="401"/>
                  <a:pt x="131" y="405"/>
                  <a:pt x="125" y="410"/>
                </a:cubicBezTo>
                <a:cubicBezTo>
                  <a:pt x="122" y="412"/>
                  <a:pt x="119" y="416"/>
                  <a:pt x="114" y="410"/>
                </a:cubicBezTo>
                <a:cubicBezTo>
                  <a:pt x="112" y="408"/>
                  <a:pt x="96" y="415"/>
                  <a:pt x="95" y="419"/>
                </a:cubicBezTo>
                <a:cubicBezTo>
                  <a:pt x="94" y="423"/>
                  <a:pt x="96" y="427"/>
                  <a:pt x="98" y="431"/>
                </a:cubicBezTo>
                <a:cubicBezTo>
                  <a:pt x="102" y="437"/>
                  <a:pt x="110" y="442"/>
                  <a:pt x="106" y="451"/>
                </a:cubicBezTo>
                <a:cubicBezTo>
                  <a:pt x="101" y="461"/>
                  <a:pt x="97" y="472"/>
                  <a:pt x="90" y="480"/>
                </a:cubicBezTo>
                <a:cubicBezTo>
                  <a:pt x="84" y="486"/>
                  <a:pt x="75" y="489"/>
                  <a:pt x="65" y="480"/>
                </a:cubicBezTo>
                <a:cubicBezTo>
                  <a:pt x="60" y="475"/>
                  <a:pt x="50" y="476"/>
                  <a:pt x="45" y="468"/>
                </a:cubicBezTo>
                <a:cubicBezTo>
                  <a:pt x="39" y="460"/>
                  <a:pt x="35" y="452"/>
                  <a:pt x="34" y="442"/>
                </a:cubicBezTo>
                <a:cubicBezTo>
                  <a:pt x="31" y="421"/>
                  <a:pt x="28" y="400"/>
                  <a:pt x="25" y="379"/>
                </a:cubicBezTo>
                <a:cubicBezTo>
                  <a:pt x="22" y="362"/>
                  <a:pt x="21" y="345"/>
                  <a:pt x="18" y="329"/>
                </a:cubicBezTo>
                <a:cubicBezTo>
                  <a:pt x="15" y="310"/>
                  <a:pt x="10" y="292"/>
                  <a:pt x="6" y="273"/>
                </a:cubicBezTo>
                <a:cubicBezTo>
                  <a:pt x="5" y="265"/>
                  <a:pt x="5" y="256"/>
                  <a:pt x="5" y="248"/>
                </a:cubicBezTo>
                <a:cubicBezTo>
                  <a:pt x="5" y="246"/>
                  <a:pt x="6" y="243"/>
                  <a:pt x="7" y="242"/>
                </a:cubicBezTo>
                <a:cubicBezTo>
                  <a:pt x="14" y="239"/>
                  <a:pt x="10" y="232"/>
                  <a:pt x="12" y="229"/>
                </a:cubicBezTo>
                <a:cubicBezTo>
                  <a:pt x="16" y="222"/>
                  <a:pt x="11" y="220"/>
                  <a:pt x="8" y="216"/>
                </a:cubicBezTo>
                <a:cubicBezTo>
                  <a:pt x="6" y="213"/>
                  <a:pt x="5" y="209"/>
                  <a:pt x="5" y="205"/>
                </a:cubicBezTo>
                <a:cubicBezTo>
                  <a:pt x="3" y="193"/>
                  <a:pt x="1" y="181"/>
                  <a:pt x="0" y="169"/>
                </a:cubicBezTo>
                <a:cubicBezTo>
                  <a:pt x="0" y="161"/>
                  <a:pt x="1" y="153"/>
                  <a:pt x="2" y="145"/>
                </a:cubicBezTo>
                <a:cubicBezTo>
                  <a:pt x="2" y="140"/>
                  <a:pt x="5" y="139"/>
                  <a:pt x="10" y="141"/>
                </a:cubicBezTo>
                <a:cubicBezTo>
                  <a:pt x="14" y="142"/>
                  <a:pt x="18" y="143"/>
                  <a:pt x="22" y="144"/>
                </a:cubicBezTo>
                <a:cubicBezTo>
                  <a:pt x="28" y="146"/>
                  <a:pt x="33" y="146"/>
                  <a:pt x="37" y="140"/>
                </a:cubicBezTo>
                <a:cubicBezTo>
                  <a:pt x="42" y="134"/>
                  <a:pt x="51" y="118"/>
                  <a:pt x="52" y="108"/>
                </a:cubicBezTo>
                <a:cubicBezTo>
                  <a:pt x="54" y="102"/>
                  <a:pt x="55" y="101"/>
                  <a:pt x="62" y="104"/>
                </a:cubicBezTo>
                <a:cubicBezTo>
                  <a:pt x="74" y="111"/>
                  <a:pt x="76" y="110"/>
                  <a:pt x="82" y="102"/>
                </a:cubicBezTo>
                <a:cubicBezTo>
                  <a:pt x="90" y="91"/>
                  <a:pt x="91" y="80"/>
                  <a:pt x="84" y="73"/>
                </a:cubicBezTo>
                <a:cubicBezTo>
                  <a:pt x="83" y="71"/>
                  <a:pt x="81" y="69"/>
                  <a:pt x="80" y="68"/>
                </a:cubicBezTo>
                <a:cubicBezTo>
                  <a:pt x="77" y="65"/>
                  <a:pt x="75" y="64"/>
                  <a:pt x="73" y="62"/>
                </a:cubicBezTo>
                <a:cubicBezTo>
                  <a:pt x="75" y="61"/>
                  <a:pt x="78" y="62"/>
                  <a:pt x="81" y="61"/>
                </a:cubicBezTo>
                <a:cubicBezTo>
                  <a:pt x="85" y="59"/>
                  <a:pt x="92" y="58"/>
                  <a:pt x="92" y="55"/>
                </a:cubicBezTo>
                <a:cubicBezTo>
                  <a:pt x="95" y="44"/>
                  <a:pt x="104" y="44"/>
                  <a:pt x="111" y="42"/>
                </a:cubicBezTo>
                <a:cubicBezTo>
                  <a:pt x="114" y="42"/>
                  <a:pt x="116" y="40"/>
                  <a:pt x="118" y="39"/>
                </a:cubicBezTo>
                <a:cubicBezTo>
                  <a:pt x="116" y="38"/>
                  <a:pt x="114" y="35"/>
                  <a:pt x="112" y="35"/>
                </a:cubicBezTo>
                <a:cubicBezTo>
                  <a:pt x="106" y="33"/>
                  <a:pt x="100" y="32"/>
                  <a:pt x="93" y="32"/>
                </a:cubicBezTo>
                <a:cubicBezTo>
                  <a:pt x="88" y="32"/>
                  <a:pt x="84" y="33"/>
                  <a:pt x="87" y="25"/>
                </a:cubicBezTo>
                <a:cubicBezTo>
                  <a:pt x="89" y="21"/>
                  <a:pt x="89" y="14"/>
                  <a:pt x="92" y="12"/>
                </a:cubicBezTo>
                <a:cubicBezTo>
                  <a:pt x="98" y="9"/>
                  <a:pt x="106" y="8"/>
                  <a:pt x="113" y="6"/>
                </a:cubicBezTo>
                <a:cubicBezTo>
                  <a:pt x="117" y="5"/>
                  <a:pt x="121" y="4"/>
                  <a:pt x="126" y="2"/>
                </a:cubicBezTo>
                <a:cubicBezTo>
                  <a:pt x="131" y="0"/>
                  <a:pt x="133" y="2"/>
                  <a:pt x="133" y="8"/>
                </a:cubicBezTo>
                <a:cubicBezTo>
                  <a:pt x="133" y="25"/>
                  <a:pt x="140" y="32"/>
                  <a:pt x="156" y="34"/>
                </a:cubicBezTo>
                <a:cubicBezTo>
                  <a:pt x="162" y="35"/>
                  <a:pt x="170" y="37"/>
                  <a:pt x="171" y="41"/>
                </a:cubicBezTo>
                <a:cubicBezTo>
                  <a:pt x="177" y="55"/>
                  <a:pt x="188" y="55"/>
                  <a:pt x="199" y="56"/>
                </a:cubicBezTo>
                <a:cubicBezTo>
                  <a:pt x="211" y="57"/>
                  <a:pt x="223" y="56"/>
                  <a:pt x="235" y="56"/>
                </a:cubicBezTo>
                <a:cubicBezTo>
                  <a:pt x="241" y="56"/>
                  <a:pt x="244" y="58"/>
                  <a:pt x="246" y="64"/>
                </a:cubicBezTo>
                <a:cubicBezTo>
                  <a:pt x="251" y="81"/>
                  <a:pt x="259" y="83"/>
                  <a:pt x="274" y="72"/>
                </a:cubicBezTo>
                <a:cubicBezTo>
                  <a:pt x="276" y="71"/>
                  <a:pt x="279" y="71"/>
                  <a:pt x="281" y="70"/>
                </a:cubicBezTo>
                <a:cubicBezTo>
                  <a:pt x="284" y="68"/>
                  <a:pt x="287" y="66"/>
                  <a:pt x="288" y="64"/>
                </a:cubicBezTo>
                <a:cubicBezTo>
                  <a:pt x="293" y="56"/>
                  <a:pt x="297" y="49"/>
                  <a:pt x="302" y="41"/>
                </a:cubicBezTo>
                <a:cubicBezTo>
                  <a:pt x="303" y="40"/>
                  <a:pt x="306" y="39"/>
                  <a:pt x="308" y="38"/>
                </a:cubicBezTo>
                <a:cubicBezTo>
                  <a:pt x="319" y="36"/>
                  <a:pt x="329" y="33"/>
                  <a:pt x="339" y="31"/>
                </a:cubicBezTo>
                <a:cubicBezTo>
                  <a:pt x="342" y="30"/>
                  <a:pt x="345" y="31"/>
                  <a:pt x="347" y="33"/>
                </a:cubicBezTo>
                <a:cubicBezTo>
                  <a:pt x="350" y="36"/>
                  <a:pt x="349" y="39"/>
                  <a:pt x="346" y="42"/>
                </a:cubicBezTo>
                <a:cubicBezTo>
                  <a:pt x="339" y="49"/>
                  <a:pt x="344" y="59"/>
                  <a:pt x="353" y="58"/>
                </a:cubicBezTo>
                <a:cubicBezTo>
                  <a:pt x="371" y="58"/>
                  <a:pt x="390" y="59"/>
                  <a:pt x="406" y="48"/>
                </a:cubicBezTo>
                <a:cubicBezTo>
                  <a:pt x="409" y="46"/>
                  <a:pt x="414" y="46"/>
                  <a:pt x="416" y="47"/>
                </a:cubicBezTo>
                <a:cubicBezTo>
                  <a:pt x="433" y="57"/>
                  <a:pt x="448" y="55"/>
                  <a:pt x="464" y="45"/>
                </a:cubicBezTo>
                <a:cubicBezTo>
                  <a:pt x="468" y="42"/>
                  <a:pt x="474" y="40"/>
                  <a:pt x="479" y="39"/>
                </a:cubicBezTo>
                <a:cubicBezTo>
                  <a:pt x="484" y="39"/>
                  <a:pt x="489" y="43"/>
                  <a:pt x="494" y="45"/>
                </a:cubicBezTo>
                <a:cubicBezTo>
                  <a:pt x="496" y="46"/>
                  <a:pt x="498" y="50"/>
                  <a:pt x="500" y="50"/>
                </a:cubicBezTo>
                <a:cubicBezTo>
                  <a:pt x="511" y="51"/>
                  <a:pt x="523" y="52"/>
                  <a:pt x="534" y="50"/>
                </a:cubicBezTo>
                <a:cubicBezTo>
                  <a:pt x="542" y="50"/>
                  <a:pt x="547" y="50"/>
                  <a:pt x="553" y="56"/>
                </a:cubicBezTo>
                <a:cubicBezTo>
                  <a:pt x="556" y="60"/>
                  <a:pt x="560" y="63"/>
                  <a:pt x="565" y="65"/>
                </a:cubicBezTo>
                <a:cubicBezTo>
                  <a:pt x="571" y="68"/>
                  <a:pt x="570" y="70"/>
                  <a:pt x="565" y="73"/>
                </a:cubicBezTo>
                <a:cubicBezTo>
                  <a:pt x="555" y="80"/>
                  <a:pt x="555" y="86"/>
                  <a:pt x="562" y="95"/>
                </a:cubicBezTo>
                <a:cubicBezTo>
                  <a:pt x="564" y="98"/>
                  <a:pt x="566" y="102"/>
                  <a:pt x="566" y="106"/>
                </a:cubicBezTo>
                <a:cubicBezTo>
                  <a:pt x="568" y="115"/>
                  <a:pt x="560" y="125"/>
                  <a:pt x="570" y="133"/>
                </a:cubicBezTo>
                <a:cubicBezTo>
                  <a:pt x="573" y="135"/>
                  <a:pt x="572" y="143"/>
                  <a:pt x="564" y="146"/>
                </a:cubicBezTo>
                <a:cubicBezTo>
                  <a:pt x="555" y="150"/>
                  <a:pt x="554" y="151"/>
                  <a:pt x="560" y="160"/>
                </a:cubicBezTo>
                <a:cubicBezTo>
                  <a:pt x="563" y="165"/>
                  <a:pt x="565" y="168"/>
                  <a:pt x="559" y="172"/>
                </a:cubicBezTo>
                <a:cubicBezTo>
                  <a:pt x="553" y="176"/>
                  <a:pt x="558" y="181"/>
                  <a:pt x="561" y="184"/>
                </a:cubicBezTo>
                <a:cubicBezTo>
                  <a:pt x="568" y="192"/>
                  <a:pt x="577" y="199"/>
                  <a:pt x="584" y="207"/>
                </a:cubicBezTo>
                <a:cubicBezTo>
                  <a:pt x="586" y="209"/>
                  <a:pt x="587" y="212"/>
                  <a:pt x="586" y="213"/>
                </a:cubicBezTo>
                <a:cubicBezTo>
                  <a:pt x="585" y="215"/>
                  <a:pt x="582" y="216"/>
                  <a:pt x="580" y="218"/>
                </a:cubicBezTo>
                <a:cubicBezTo>
                  <a:pt x="579" y="218"/>
                  <a:pt x="578" y="218"/>
                  <a:pt x="577" y="217"/>
                </a:cubicBezTo>
                <a:cubicBezTo>
                  <a:pt x="572" y="214"/>
                  <a:pt x="567" y="212"/>
                  <a:pt x="561" y="218"/>
                </a:cubicBezTo>
                <a:cubicBezTo>
                  <a:pt x="555" y="225"/>
                  <a:pt x="546" y="229"/>
                  <a:pt x="547" y="241"/>
                </a:cubicBezTo>
                <a:cubicBezTo>
                  <a:pt x="547" y="243"/>
                  <a:pt x="547" y="246"/>
                  <a:pt x="547" y="249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D2DF97BC-2ECE-4846-9184-FCCB2BC06762}"/>
              </a:ext>
            </a:extLst>
          </p:cNvPr>
          <p:cNvSpPr>
            <a:spLocks/>
          </p:cNvSpPr>
          <p:nvPr userDrawn="1"/>
        </p:nvSpPr>
        <p:spPr bwMode="auto">
          <a:xfrm>
            <a:off x="8266113" y="2111375"/>
            <a:ext cx="1212850" cy="1182688"/>
          </a:xfrm>
          <a:custGeom>
            <a:avLst/>
            <a:gdLst>
              <a:gd name="T0" fmla="*/ 33 w 511"/>
              <a:gd name="T1" fmla="*/ 244 h 499"/>
              <a:gd name="T2" fmla="*/ 11 w 511"/>
              <a:gd name="T3" fmla="*/ 198 h 499"/>
              <a:gd name="T4" fmla="*/ 28 w 511"/>
              <a:gd name="T5" fmla="*/ 178 h 499"/>
              <a:gd name="T6" fmla="*/ 9 w 511"/>
              <a:gd name="T7" fmla="*/ 94 h 499"/>
              <a:gd name="T8" fmla="*/ 15 w 511"/>
              <a:gd name="T9" fmla="*/ 27 h 499"/>
              <a:gd name="T10" fmla="*/ 54 w 511"/>
              <a:gd name="T11" fmla="*/ 5 h 499"/>
              <a:gd name="T12" fmla="*/ 47 w 511"/>
              <a:gd name="T13" fmla="*/ 47 h 499"/>
              <a:gd name="T14" fmla="*/ 67 w 511"/>
              <a:gd name="T15" fmla="*/ 52 h 499"/>
              <a:gd name="T16" fmla="*/ 78 w 511"/>
              <a:gd name="T17" fmla="*/ 36 h 499"/>
              <a:gd name="T18" fmla="*/ 92 w 511"/>
              <a:gd name="T19" fmla="*/ 47 h 499"/>
              <a:gd name="T20" fmla="*/ 110 w 511"/>
              <a:gd name="T21" fmla="*/ 68 h 499"/>
              <a:gd name="T22" fmla="*/ 115 w 511"/>
              <a:gd name="T23" fmla="*/ 84 h 499"/>
              <a:gd name="T24" fmla="*/ 132 w 511"/>
              <a:gd name="T25" fmla="*/ 99 h 499"/>
              <a:gd name="T26" fmla="*/ 183 w 511"/>
              <a:gd name="T27" fmla="*/ 120 h 499"/>
              <a:gd name="T28" fmla="*/ 222 w 511"/>
              <a:gd name="T29" fmla="*/ 132 h 499"/>
              <a:gd name="T30" fmla="*/ 246 w 511"/>
              <a:gd name="T31" fmla="*/ 140 h 499"/>
              <a:gd name="T32" fmla="*/ 281 w 511"/>
              <a:gd name="T33" fmla="*/ 165 h 499"/>
              <a:gd name="T34" fmla="*/ 328 w 511"/>
              <a:gd name="T35" fmla="*/ 198 h 499"/>
              <a:gd name="T36" fmla="*/ 373 w 511"/>
              <a:gd name="T37" fmla="*/ 210 h 499"/>
              <a:gd name="T38" fmla="*/ 397 w 511"/>
              <a:gd name="T39" fmla="*/ 227 h 499"/>
              <a:gd name="T40" fmla="*/ 432 w 511"/>
              <a:gd name="T41" fmla="*/ 232 h 499"/>
              <a:gd name="T42" fmla="*/ 463 w 511"/>
              <a:gd name="T43" fmla="*/ 236 h 499"/>
              <a:gd name="T44" fmla="*/ 481 w 511"/>
              <a:gd name="T45" fmla="*/ 269 h 499"/>
              <a:gd name="T46" fmla="*/ 485 w 511"/>
              <a:gd name="T47" fmla="*/ 285 h 499"/>
              <a:gd name="T48" fmla="*/ 474 w 511"/>
              <a:gd name="T49" fmla="*/ 306 h 499"/>
              <a:gd name="T50" fmla="*/ 474 w 511"/>
              <a:gd name="T51" fmla="*/ 326 h 499"/>
              <a:gd name="T52" fmla="*/ 508 w 511"/>
              <a:gd name="T53" fmla="*/ 351 h 499"/>
              <a:gd name="T54" fmla="*/ 505 w 511"/>
              <a:gd name="T55" fmla="*/ 357 h 499"/>
              <a:gd name="T56" fmla="*/ 492 w 511"/>
              <a:gd name="T57" fmla="*/ 360 h 499"/>
              <a:gd name="T58" fmla="*/ 438 w 511"/>
              <a:gd name="T59" fmla="*/ 391 h 499"/>
              <a:gd name="T60" fmla="*/ 436 w 511"/>
              <a:gd name="T61" fmla="*/ 434 h 499"/>
              <a:gd name="T62" fmla="*/ 431 w 511"/>
              <a:gd name="T63" fmla="*/ 457 h 499"/>
              <a:gd name="T64" fmla="*/ 398 w 511"/>
              <a:gd name="T65" fmla="*/ 495 h 499"/>
              <a:gd name="T66" fmla="*/ 391 w 511"/>
              <a:gd name="T67" fmla="*/ 451 h 499"/>
              <a:gd name="T68" fmla="*/ 379 w 511"/>
              <a:gd name="T69" fmla="*/ 437 h 499"/>
              <a:gd name="T70" fmla="*/ 336 w 511"/>
              <a:gd name="T71" fmla="*/ 423 h 499"/>
              <a:gd name="T72" fmla="*/ 280 w 511"/>
              <a:gd name="T73" fmla="*/ 406 h 499"/>
              <a:gd name="T74" fmla="*/ 249 w 511"/>
              <a:gd name="T75" fmla="*/ 408 h 499"/>
              <a:gd name="T76" fmla="*/ 227 w 511"/>
              <a:gd name="T77" fmla="*/ 405 h 499"/>
              <a:gd name="T78" fmla="*/ 221 w 511"/>
              <a:gd name="T79" fmla="*/ 399 h 499"/>
              <a:gd name="T80" fmla="*/ 181 w 511"/>
              <a:gd name="T81" fmla="*/ 393 h 499"/>
              <a:gd name="T82" fmla="*/ 155 w 511"/>
              <a:gd name="T83" fmla="*/ 393 h 499"/>
              <a:gd name="T84" fmla="*/ 129 w 511"/>
              <a:gd name="T85" fmla="*/ 395 h 499"/>
              <a:gd name="T86" fmla="*/ 119 w 511"/>
              <a:gd name="T87" fmla="*/ 369 h 499"/>
              <a:gd name="T88" fmla="*/ 92 w 511"/>
              <a:gd name="T89" fmla="*/ 378 h 499"/>
              <a:gd name="T90" fmla="*/ 98 w 511"/>
              <a:gd name="T91" fmla="*/ 420 h 499"/>
              <a:gd name="T92" fmla="*/ 111 w 511"/>
              <a:gd name="T93" fmla="*/ 445 h 499"/>
              <a:gd name="T94" fmla="*/ 102 w 511"/>
              <a:gd name="T95" fmla="*/ 467 h 499"/>
              <a:gd name="T96" fmla="*/ 72 w 511"/>
              <a:gd name="T97" fmla="*/ 450 h 499"/>
              <a:gd name="T98" fmla="*/ 77 w 511"/>
              <a:gd name="T99" fmla="*/ 389 h 499"/>
              <a:gd name="T100" fmla="*/ 108 w 511"/>
              <a:gd name="T101" fmla="*/ 352 h 499"/>
              <a:gd name="T102" fmla="*/ 123 w 511"/>
              <a:gd name="T103" fmla="*/ 327 h 499"/>
              <a:gd name="T104" fmla="*/ 125 w 511"/>
              <a:gd name="T105" fmla="*/ 291 h 499"/>
              <a:gd name="T106" fmla="*/ 71 w 511"/>
              <a:gd name="T107" fmla="*/ 263 h 499"/>
              <a:gd name="T108" fmla="*/ 50 w 511"/>
              <a:gd name="T109" fmla="*/ 262 h 499"/>
              <a:gd name="T110" fmla="*/ 24 w 511"/>
              <a:gd name="T111" fmla="*/ 266 h 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1" h="499">
                <a:moveTo>
                  <a:pt x="24" y="266"/>
                </a:moveTo>
                <a:cubicBezTo>
                  <a:pt x="27" y="258"/>
                  <a:pt x="31" y="251"/>
                  <a:pt x="33" y="244"/>
                </a:cubicBezTo>
                <a:cubicBezTo>
                  <a:pt x="34" y="241"/>
                  <a:pt x="32" y="235"/>
                  <a:pt x="30" y="233"/>
                </a:cubicBezTo>
                <a:cubicBezTo>
                  <a:pt x="20" y="223"/>
                  <a:pt x="16" y="211"/>
                  <a:pt x="11" y="198"/>
                </a:cubicBezTo>
                <a:cubicBezTo>
                  <a:pt x="10" y="193"/>
                  <a:pt x="10" y="192"/>
                  <a:pt x="14" y="190"/>
                </a:cubicBezTo>
                <a:cubicBezTo>
                  <a:pt x="19" y="186"/>
                  <a:pt x="27" y="183"/>
                  <a:pt x="28" y="178"/>
                </a:cubicBezTo>
                <a:cubicBezTo>
                  <a:pt x="30" y="170"/>
                  <a:pt x="29" y="159"/>
                  <a:pt x="26" y="151"/>
                </a:cubicBezTo>
                <a:cubicBezTo>
                  <a:pt x="18" y="133"/>
                  <a:pt x="11" y="114"/>
                  <a:pt x="9" y="94"/>
                </a:cubicBezTo>
                <a:cubicBezTo>
                  <a:pt x="9" y="89"/>
                  <a:pt x="8" y="84"/>
                  <a:pt x="7" y="80"/>
                </a:cubicBezTo>
                <a:cubicBezTo>
                  <a:pt x="0" y="61"/>
                  <a:pt x="5" y="43"/>
                  <a:pt x="15" y="27"/>
                </a:cubicBezTo>
                <a:cubicBezTo>
                  <a:pt x="21" y="17"/>
                  <a:pt x="31" y="9"/>
                  <a:pt x="41" y="1"/>
                </a:cubicBezTo>
                <a:cubicBezTo>
                  <a:pt x="43" y="0"/>
                  <a:pt x="49" y="3"/>
                  <a:pt x="54" y="5"/>
                </a:cubicBezTo>
                <a:cubicBezTo>
                  <a:pt x="53" y="8"/>
                  <a:pt x="53" y="12"/>
                  <a:pt x="51" y="14"/>
                </a:cubicBezTo>
                <a:cubicBezTo>
                  <a:pt x="40" y="24"/>
                  <a:pt x="45" y="36"/>
                  <a:pt x="47" y="47"/>
                </a:cubicBezTo>
                <a:cubicBezTo>
                  <a:pt x="48" y="51"/>
                  <a:pt x="51" y="52"/>
                  <a:pt x="56" y="51"/>
                </a:cubicBezTo>
                <a:cubicBezTo>
                  <a:pt x="59" y="50"/>
                  <a:pt x="63" y="50"/>
                  <a:pt x="67" y="52"/>
                </a:cubicBezTo>
                <a:cubicBezTo>
                  <a:pt x="76" y="55"/>
                  <a:pt x="79" y="52"/>
                  <a:pt x="79" y="42"/>
                </a:cubicBezTo>
                <a:cubicBezTo>
                  <a:pt x="79" y="40"/>
                  <a:pt x="78" y="38"/>
                  <a:pt x="78" y="36"/>
                </a:cubicBezTo>
                <a:cubicBezTo>
                  <a:pt x="80" y="37"/>
                  <a:pt x="82" y="39"/>
                  <a:pt x="84" y="40"/>
                </a:cubicBezTo>
                <a:cubicBezTo>
                  <a:pt x="87" y="43"/>
                  <a:pt x="89" y="45"/>
                  <a:pt x="92" y="47"/>
                </a:cubicBezTo>
                <a:cubicBezTo>
                  <a:pt x="95" y="50"/>
                  <a:pt x="97" y="53"/>
                  <a:pt x="100" y="56"/>
                </a:cubicBezTo>
                <a:cubicBezTo>
                  <a:pt x="103" y="60"/>
                  <a:pt x="106" y="65"/>
                  <a:pt x="110" y="68"/>
                </a:cubicBezTo>
                <a:cubicBezTo>
                  <a:pt x="114" y="71"/>
                  <a:pt x="118" y="73"/>
                  <a:pt x="113" y="79"/>
                </a:cubicBezTo>
                <a:cubicBezTo>
                  <a:pt x="112" y="79"/>
                  <a:pt x="114" y="82"/>
                  <a:pt x="115" y="84"/>
                </a:cubicBezTo>
                <a:cubicBezTo>
                  <a:pt x="117" y="88"/>
                  <a:pt x="120" y="92"/>
                  <a:pt x="123" y="95"/>
                </a:cubicBezTo>
                <a:cubicBezTo>
                  <a:pt x="125" y="97"/>
                  <a:pt x="129" y="98"/>
                  <a:pt x="132" y="99"/>
                </a:cubicBezTo>
                <a:cubicBezTo>
                  <a:pt x="138" y="102"/>
                  <a:pt x="145" y="103"/>
                  <a:pt x="149" y="107"/>
                </a:cubicBezTo>
                <a:cubicBezTo>
                  <a:pt x="159" y="116"/>
                  <a:pt x="169" y="123"/>
                  <a:pt x="183" y="120"/>
                </a:cubicBezTo>
                <a:cubicBezTo>
                  <a:pt x="191" y="129"/>
                  <a:pt x="202" y="127"/>
                  <a:pt x="213" y="126"/>
                </a:cubicBezTo>
                <a:cubicBezTo>
                  <a:pt x="216" y="126"/>
                  <a:pt x="219" y="130"/>
                  <a:pt x="222" y="132"/>
                </a:cubicBezTo>
                <a:cubicBezTo>
                  <a:pt x="227" y="135"/>
                  <a:pt x="231" y="142"/>
                  <a:pt x="239" y="137"/>
                </a:cubicBezTo>
                <a:cubicBezTo>
                  <a:pt x="240" y="136"/>
                  <a:pt x="243" y="138"/>
                  <a:pt x="246" y="140"/>
                </a:cubicBezTo>
                <a:cubicBezTo>
                  <a:pt x="255" y="145"/>
                  <a:pt x="265" y="150"/>
                  <a:pt x="274" y="156"/>
                </a:cubicBezTo>
                <a:cubicBezTo>
                  <a:pt x="277" y="158"/>
                  <a:pt x="279" y="161"/>
                  <a:pt x="281" y="165"/>
                </a:cubicBezTo>
                <a:cubicBezTo>
                  <a:pt x="290" y="182"/>
                  <a:pt x="309" y="187"/>
                  <a:pt x="324" y="198"/>
                </a:cubicBezTo>
                <a:cubicBezTo>
                  <a:pt x="325" y="199"/>
                  <a:pt x="327" y="199"/>
                  <a:pt x="328" y="198"/>
                </a:cubicBezTo>
                <a:cubicBezTo>
                  <a:pt x="338" y="192"/>
                  <a:pt x="344" y="198"/>
                  <a:pt x="351" y="204"/>
                </a:cubicBezTo>
                <a:cubicBezTo>
                  <a:pt x="358" y="209"/>
                  <a:pt x="365" y="211"/>
                  <a:pt x="373" y="210"/>
                </a:cubicBezTo>
                <a:cubicBezTo>
                  <a:pt x="380" y="209"/>
                  <a:pt x="384" y="211"/>
                  <a:pt x="385" y="218"/>
                </a:cubicBezTo>
                <a:cubicBezTo>
                  <a:pt x="386" y="225"/>
                  <a:pt x="391" y="226"/>
                  <a:pt x="397" y="227"/>
                </a:cubicBezTo>
                <a:cubicBezTo>
                  <a:pt x="406" y="227"/>
                  <a:pt x="415" y="225"/>
                  <a:pt x="421" y="234"/>
                </a:cubicBezTo>
                <a:cubicBezTo>
                  <a:pt x="422" y="235"/>
                  <a:pt x="431" y="234"/>
                  <a:pt x="432" y="232"/>
                </a:cubicBezTo>
                <a:cubicBezTo>
                  <a:pt x="435" y="225"/>
                  <a:pt x="439" y="224"/>
                  <a:pt x="445" y="225"/>
                </a:cubicBezTo>
                <a:cubicBezTo>
                  <a:pt x="452" y="227"/>
                  <a:pt x="460" y="228"/>
                  <a:pt x="463" y="236"/>
                </a:cubicBezTo>
                <a:cubicBezTo>
                  <a:pt x="466" y="243"/>
                  <a:pt x="469" y="251"/>
                  <a:pt x="471" y="258"/>
                </a:cubicBezTo>
                <a:cubicBezTo>
                  <a:pt x="473" y="264"/>
                  <a:pt x="475" y="267"/>
                  <a:pt x="481" y="269"/>
                </a:cubicBezTo>
                <a:cubicBezTo>
                  <a:pt x="484" y="270"/>
                  <a:pt x="487" y="273"/>
                  <a:pt x="489" y="276"/>
                </a:cubicBezTo>
                <a:cubicBezTo>
                  <a:pt x="492" y="280"/>
                  <a:pt x="494" y="284"/>
                  <a:pt x="485" y="285"/>
                </a:cubicBezTo>
                <a:cubicBezTo>
                  <a:pt x="481" y="285"/>
                  <a:pt x="476" y="289"/>
                  <a:pt x="472" y="292"/>
                </a:cubicBezTo>
                <a:cubicBezTo>
                  <a:pt x="465" y="298"/>
                  <a:pt x="465" y="302"/>
                  <a:pt x="474" y="306"/>
                </a:cubicBezTo>
                <a:cubicBezTo>
                  <a:pt x="481" y="310"/>
                  <a:pt x="482" y="313"/>
                  <a:pt x="475" y="316"/>
                </a:cubicBezTo>
                <a:cubicBezTo>
                  <a:pt x="470" y="319"/>
                  <a:pt x="470" y="322"/>
                  <a:pt x="474" y="326"/>
                </a:cubicBezTo>
                <a:cubicBezTo>
                  <a:pt x="482" y="335"/>
                  <a:pt x="488" y="347"/>
                  <a:pt x="503" y="347"/>
                </a:cubicBezTo>
                <a:cubicBezTo>
                  <a:pt x="505" y="347"/>
                  <a:pt x="507" y="349"/>
                  <a:pt x="508" y="351"/>
                </a:cubicBezTo>
                <a:cubicBezTo>
                  <a:pt x="510" y="352"/>
                  <a:pt x="510" y="354"/>
                  <a:pt x="511" y="356"/>
                </a:cubicBezTo>
                <a:cubicBezTo>
                  <a:pt x="509" y="357"/>
                  <a:pt x="507" y="358"/>
                  <a:pt x="505" y="357"/>
                </a:cubicBezTo>
                <a:cubicBezTo>
                  <a:pt x="501" y="355"/>
                  <a:pt x="498" y="353"/>
                  <a:pt x="496" y="359"/>
                </a:cubicBezTo>
                <a:cubicBezTo>
                  <a:pt x="495" y="360"/>
                  <a:pt x="493" y="361"/>
                  <a:pt x="492" y="360"/>
                </a:cubicBezTo>
                <a:cubicBezTo>
                  <a:pt x="481" y="352"/>
                  <a:pt x="476" y="361"/>
                  <a:pt x="471" y="367"/>
                </a:cubicBezTo>
                <a:cubicBezTo>
                  <a:pt x="461" y="378"/>
                  <a:pt x="451" y="387"/>
                  <a:pt x="438" y="391"/>
                </a:cubicBezTo>
                <a:cubicBezTo>
                  <a:pt x="431" y="393"/>
                  <a:pt x="428" y="398"/>
                  <a:pt x="428" y="405"/>
                </a:cubicBezTo>
                <a:cubicBezTo>
                  <a:pt x="428" y="415"/>
                  <a:pt x="425" y="426"/>
                  <a:pt x="436" y="434"/>
                </a:cubicBezTo>
                <a:cubicBezTo>
                  <a:pt x="441" y="438"/>
                  <a:pt x="440" y="444"/>
                  <a:pt x="434" y="450"/>
                </a:cubicBezTo>
                <a:cubicBezTo>
                  <a:pt x="433" y="452"/>
                  <a:pt x="431" y="455"/>
                  <a:pt x="431" y="457"/>
                </a:cubicBezTo>
                <a:cubicBezTo>
                  <a:pt x="436" y="472"/>
                  <a:pt x="427" y="482"/>
                  <a:pt x="420" y="492"/>
                </a:cubicBezTo>
                <a:cubicBezTo>
                  <a:pt x="415" y="498"/>
                  <a:pt x="405" y="499"/>
                  <a:pt x="398" y="495"/>
                </a:cubicBezTo>
                <a:cubicBezTo>
                  <a:pt x="392" y="492"/>
                  <a:pt x="385" y="480"/>
                  <a:pt x="386" y="474"/>
                </a:cubicBezTo>
                <a:cubicBezTo>
                  <a:pt x="387" y="466"/>
                  <a:pt x="389" y="458"/>
                  <a:pt x="391" y="451"/>
                </a:cubicBezTo>
                <a:cubicBezTo>
                  <a:pt x="393" y="444"/>
                  <a:pt x="391" y="440"/>
                  <a:pt x="384" y="438"/>
                </a:cubicBezTo>
                <a:cubicBezTo>
                  <a:pt x="382" y="438"/>
                  <a:pt x="380" y="437"/>
                  <a:pt x="379" y="437"/>
                </a:cubicBezTo>
                <a:cubicBezTo>
                  <a:pt x="364" y="440"/>
                  <a:pt x="353" y="429"/>
                  <a:pt x="341" y="426"/>
                </a:cubicBezTo>
                <a:cubicBezTo>
                  <a:pt x="339" y="425"/>
                  <a:pt x="337" y="424"/>
                  <a:pt x="336" y="423"/>
                </a:cubicBezTo>
                <a:cubicBezTo>
                  <a:pt x="327" y="411"/>
                  <a:pt x="312" y="409"/>
                  <a:pt x="300" y="403"/>
                </a:cubicBezTo>
                <a:cubicBezTo>
                  <a:pt x="292" y="399"/>
                  <a:pt x="286" y="400"/>
                  <a:pt x="280" y="406"/>
                </a:cubicBezTo>
                <a:cubicBezTo>
                  <a:pt x="277" y="409"/>
                  <a:pt x="274" y="413"/>
                  <a:pt x="270" y="414"/>
                </a:cubicBezTo>
                <a:cubicBezTo>
                  <a:pt x="262" y="416"/>
                  <a:pt x="253" y="416"/>
                  <a:pt x="249" y="408"/>
                </a:cubicBezTo>
                <a:cubicBezTo>
                  <a:pt x="244" y="399"/>
                  <a:pt x="238" y="399"/>
                  <a:pt x="231" y="404"/>
                </a:cubicBezTo>
                <a:cubicBezTo>
                  <a:pt x="230" y="404"/>
                  <a:pt x="229" y="405"/>
                  <a:pt x="227" y="405"/>
                </a:cubicBezTo>
                <a:cubicBezTo>
                  <a:pt x="224" y="406"/>
                  <a:pt x="221" y="407"/>
                  <a:pt x="218" y="408"/>
                </a:cubicBezTo>
                <a:cubicBezTo>
                  <a:pt x="219" y="405"/>
                  <a:pt x="220" y="402"/>
                  <a:pt x="221" y="399"/>
                </a:cubicBezTo>
                <a:cubicBezTo>
                  <a:pt x="223" y="389"/>
                  <a:pt x="213" y="379"/>
                  <a:pt x="202" y="382"/>
                </a:cubicBezTo>
                <a:cubicBezTo>
                  <a:pt x="195" y="384"/>
                  <a:pt x="188" y="389"/>
                  <a:pt x="181" y="393"/>
                </a:cubicBezTo>
                <a:cubicBezTo>
                  <a:pt x="176" y="396"/>
                  <a:pt x="170" y="399"/>
                  <a:pt x="165" y="400"/>
                </a:cubicBezTo>
                <a:cubicBezTo>
                  <a:pt x="160" y="402"/>
                  <a:pt x="153" y="403"/>
                  <a:pt x="155" y="393"/>
                </a:cubicBezTo>
                <a:cubicBezTo>
                  <a:pt x="156" y="389"/>
                  <a:pt x="143" y="388"/>
                  <a:pt x="138" y="391"/>
                </a:cubicBezTo>
                <a:cubicBezTo>
                  <a:pt x="135" y="393"/>
                  <a:pt x="132" y="395"/>
                  <a:pt x="129" y="395"/>
                </a:cubicBezTo>
                <a:cubicBezTo>
                  <a:pt x="124" y="395"/>
                  <a:pt x="119" y="394"/>
                  <a:pt x="123" y="387"/>
                </a:cubicBezTo>
                <a:cubicBezTo>
                  <a:pt x="127" y="380"/>
                  <a:pt x="122" y="374"/>
                  <a:pt x="119" y="369"/>
                </a:cubicBezTo>
                <a:cubicBezTo>
                  <a:pt x="115" y="364"/>
                  <a:pt x="109" y="363"/>
                  <a:pt x="105" y="368"/>
                </a:cubicBezTo>
                <a:cubicBezTo>
                  <a:pt x="101" y="372"/>
                  <a:pt x="99" y="377"/>
                  <a:pt x="92" y="378"/>
                </a:cubicBezTo>
                <a:cubicBezTo>
                  <a:pt x="91" y="378"/>
                  <a:pt x="89" y="384"/>
                  <a:pt x="90" y="386"/>
                </a:cubicBezTo>
                <a:cubicBezTo>
                  <a:pt x="92" y="398"/>
                  <a:pt x="95" y="409"/>
                  <a:pt x="98" y="420"/>
                </a:cubicBezTo>
                <a:cubicBezTo>
                  <a:pt x="99" y="422"/>
                  <a:pt x="101" y="425"/>
                  <a:pt x="101" y="428"/>
                </a:cubicBezTo>
                <a:cubicBezTo>
                  <a:pt x="100" y="436"/>
                  <a:pt x="101" y="442"/>
                  <a:pt x="111" y="445"/>
                </a:cubicBezTo>
                <a:cubicBezTo>
                  <a:pt x="117" y="447"/>
                  <a:pt x="118" y="459"/>
                  <a:pt x="114" y="464"/>
                </a:cubicBezTo>
                <a:cubicBezTo>
                  <a:pt x="110" y="468"/>
                  <a:pt x="107" y="469"/>
                  <a:pt x="102" y="467"/>
                </a:cubicBezTo>
                <a:cubicBezTo>
                  <a:pt x="93" y="462"/>
                  <a:pt x="84" y="457"/>
                  <a:pt x="75" y="453"/>
                </a:cubicBezTo>
                <a:cubicBezTo>
                  <a:pt x="74" y="452"/>
                  <a:pt x="73" y="451"/>
                  <a:pt x="72" y="450"/>
                </a:cubicBezTo>
                <a:cubicBezTo>
                  <a:pt x="68" y="444"/>
                  <a:pt x="68" y="419"/>
                  <a:pt x="73" y="415"/>
                </a:cubicBezTo>
                <a:cubicBezTo>
                  <a:pt x="81" y="407"/>
                  <a:pt x="81" y="398"/>
                  <a:pt x="77" y="389"/>
                </a:cubicBezTo>
                <a:cubicBezTo>
                  <a:pt x="74" y="380"/>
                  <a:pt x="80" y="370"/>
                  <a:pt x="90" y="368"/>
                </a:cubicBezTo>
                <a:cubicBezTo>
                  <a:pt x="99" y="367"/>
                  <a:pt x="106" y="363"/>
                  <a:pt x="108" y="352"/>
                </a:cubicBezTo>
                <a:cubicBezTo>
                  <a:pt x="108" y="349"/>
                  <a:pt x="112" y="347"/>
                  <a:pt x="114" y="343"/>
                </a:cubicBezTo>
                <a:cubicBezTo>
                  <a:pt x="117" y="338"/>
                  <a:pt x="120" y="333"/>
                  <a:pt x="123" y="327"/>
                </a:cubicBezTo>
                <a:cubicBezTo>
                  <a:pt x="124" y="324"/>
                  <a:pt x="123" y="320"/>
                  <a:pt x="125" y="319"/>
                </a:cubicBezTo>
                <a:cubicBezTo>
                  <a:pt x="138" y="309"/>
                  <a:pt x="127" y="300"/>
                  <a:pt x="125" y="291"/>
                </a:cubicBezTo>
                <a:cubicBezTo>
                  <a:pt x="122" y="282"/>
                  <a:pt x="114" y="278"/>
                  <a:pt x="105" y="275"/>
                </a:cubicBezTo>
                <a:cubicBezTo>
                  <a:pt x="94" y="271"/>
                  <a:pt x="82" y="266"/>
                  <a:pt x="71" y="263"/>
                </a:cubicBezTo>
                <a:cubicBezTo>
                  <a:pt x="67" y="261"/>
                  <a:pt x="63" y="261"/>
                  <a:pt x="59" y="261"/>
                </a:cubicBezTo>
                <a:cubicBezTo>
                  <a:pt x="56" y="261"/>
                  <a:pt x="53" y="263"/>
                  <a:pt x="50" y="262"/>
                </a:cubicBezTo>
                <a:cubicBezTo>
                  <a:pt x="40" y="257"/>
                  <a:pt x="32" y="261"/>
                  <a:pt x="24" y="265"/>
                </a:cubicBezTo>
                <a:lnTo>
                  <a:pt x="24" y="26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58AD1CCD-4B68-43E8-B637-D4A15684D059}"/>
              </a:ext>
            </a:extLst>
          </p:cNvPr>
          <p:cNvSpPr>
            <a:spLocks/>
          </p:cNvSpPr>
          <p:nvPr userDrawn="1"/>
        </p:nvSpPr>
        <p:spPr bwMode="auto">
          <a:xfrm>
            <a:off x="7648575" y="4279900"/>
            <a:ext cx="769938" cy="1243013"/>
          </a:xfrm>
          <a:custGeom>
            <a:avLst/>
            <a:gdLst>
              <a:gd name="T0" fmla="*/ 190 w 324"/>
              <a:gd name="T1" fmla="*/ 519 h 525"/>
              <a:gd name="T2" fmla="*/ 147 w 324"/>
              <a:gd name="T3" fmla="*/ 504 h 525"/>
              <a:gd name="T4" fmla="*/ 114 w 324"/>
              <a:gd name="T5" fmla="*/ 491 h 525"/>
              <a:gd name="T6" fmla="*/ 80 w 324"/>
              <a:gd name="T7" fmla="*/ 454 h 525"/>
              <a:gd name="T8" fmla="*/ 42 w 324"/>
              <a:gd name="T9" fmla="*/ 406 h 525"/>
              <a:gd name="T10" fmla="*/ 34 w 324"/>
              <a:gd name="T11" fmla="*/ 343 h 525"/>
              <a:gd name="T12" fmla="*/ 7 w 324"/>
              <a:gd name="T13" fmla="*/ 274 h 525"/>
              <a:gd name="T14" fmla="*/ 12 w 324"/>
              <a:gd name="T15" fmla="*/ 247 h 525"/>
              <a:gd name="T16" fmla="*/ 25 w 324"/>
              <a:gd name="T17" fmla="*/ 182 h 525"/>
              <a:gd name="T18" fmla="*/ 21 w 324"/>
              <a:gd name="T19" fmla="*/ 136 h 525"/>
              <a:gd name="T20" fmla="*/ 42 w 324"/>
              <a:gd name="T21" fmla="*/ 133 h 525"/>
              <a:gd name="T22" fmla="*/ 73 w 324"/>
              <a:gd name="T23" fmla="*/ 112 h 525"/>
              <a:gd name="T24" fmla="*/ 108 w 324"/>
              <a:gd name="T25" fmla="*/ 108 h 525"/>
              <a:gd name="T26" fmla="*/ 119 w 324"/>
              <a:gd name="T27" fmla="*/ 80 h 525"/>
              <a:gd name="T28" fmla="*/ 125 w 324"/>
              <a:gd name="T29" fmla="*/ 74 h 525"/>
              <a:gd name="T30" fmla="*/ 165 w 324"/>
              <a:gd name="T31" fmla="*/ 78 h 525"/>
              <a:gd name="T32" fmla="*/ 176 w 324"/>
              <a:gd name="T33" fmla="*/ 65 h 525"/>
              <a:gd name="T34" fmla="*/ 215 w 324"/>
              <a:gd name="T35" fmla="*/ 40 h 525"/>
              <a:gd name="T36" fmla="*/ 227 w 324"/>
              <a:gd name="T37" fmla="*/ 18 h 525"/>
              <a:gd name="T38" fmla="*/ 251 w 324"/>
              <a:gd name="T39" fmla="*/ 6 h 525"/>
              <a:gd name="T40" fmla="*/ 255 w 324"/>
              <a:gd name="T41" fmla="*/ 52 h 525"/>
              <a:gd name="T42" fmla="*/ 261 w 324"/>
              <a:gd name="T43" fmla="*/ 76 h 525"/>
              <a:gd name="T44" fmla="*/ 249 w 324"/>
              <a:gd name="T45" fmla="*/ 103 h 525"/>
              <a:gd name="T46" fmla="*/ 247 w 324"/>
              <a:gd name="T47" fmla="*/ 162 h 525"/>
              <a:gd name="T48" fmla="*/ 247 w 324"/>
              <a:gd name="T49" fmla="*/ 187 h 525"/>
              <a:gd name="T50" fmla="*/ 219 w 324"/>
              <a:gd name="T51" fmla="*/ 198 h 525"/>
              <a:gd name="T52" fmla="*/ 215 w 324"/>
              <a:gd name="T53" fmla="*/ 237 h 525"/>
              <a:gd name="T54" fmla="*/ 219 w 324"/>
              <a:gd name="T55" fmla="*/ 257 h 525"/>
              <a:gd name="T56" fmla="*/ 202 w 324"/>
              <a:gd name="T57" fmla="*/ 257 h 525"/>
              <a:gd name="T58" fmla="*/ 193 w 324"/>
              <a:gd name="T59" fmla="*/ 284 h 525"/>
              <a:gd name="T60" fmla="*/ 206 w 324"/>
              <a:gd name="T61" fmla="*/ 341 h 525"/>
              <a:gd name="T62" fmla="*/ 210 w 324"/>
              <a:gd name="T63" fmla="*/ 359 h 525"/>
              <a:gd name="T64" fmla="*/ 223 w 324"/>
              <a:gd name="T65" fmla="*/ 343 h 525"/>
              <a:gd name="T66" fmla="*/ 233 w 324"/>
              <a:gd name="T67" fmla="*/ 320 h 525"/>
              <a:gd name="T68" fmla="*/ 242 w 324"/>
              <a:gd name="T69" fmla="*/ 366 h 525"/>
              <a:gd name="T70" fmla="*/ 270 w 324"/>
              <a:gd name="T71" fmla="*/ 358 h 525"/>
              <a:gd name="T72" fmla="*/ 303 w 324"/>
              <a:gd name="T73" fmla="*/ 376 h 525"/>
              <a:gd name="T74" fmla="*/ 319 w 324"/>
              <a:gd name="T75" fmla="*/ 399 h 525"/>
              <a:gd name="T76" fmla="*/ 301 w 324"/>
              <a:gd name="T77" fmla="*/ 435 h 525"/>
              <a:gd name="T78" fmla="*/ 273 w 324"/>
              <a:gd name="T79" fmla="*/ 429 h 525"/>
              <a:gd name="T80" fmla="*/ 246 w 324"/>
              <a:gd name="T81" fmla="*/ 472 h 525"/>
              <a:gd name="T82" fmla="*/ 253 w 324"/>
              <a:gd name="T83" fmla="*/ 485 h 525"/>
              <a:gd name="T84" fmla="*/ 254 w 324"/>
              <a:gd name="T85" fmla="*/ 498 h 525"/>
              <a:gd name="T86" fmla="*/ 215 w 324"/>
              <a:gd name="T87" fmla="*/ 512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4" h="525">
                <a:moveTo>
                  <a:pt x="215" y="512"/>
                </a:moveTo>
                <a:cubicBezTo>
                  <a:pt x="205" y="510"/>
                  <a:pt x="196" y="508"/>
                  <a:pt x="190" y="519"/>
                </a:cubicBezTo>
                <a:cubicBezTo>
                  <a:pt x="186" y="525"/>
                  <a:pt x="169" y="523"/>
                  <a:pt x="161" y="517"/>
                </a:cubicBezTo>
                <a:cubicBezTo>
                  <a:pt x="156" y="512"/>
                  <a:pt x="152" y="507"/>
                  <a:pt x="147" y="504"/>
                </a:cubicBezTo>
                <a:cubicBezTo>
                  <a:pt x="140" y="499"/>
                  <a:pt x="134" y="492"/>
                  <a:pt x="124" y="496"/>
                </a:cubicBezTo>
                <a:cubicBezTo>
                  <a:pt x="121" y="496"/>
                  <a:pt x="117" y="493"/>
                  <a:pt x="114" y="491"/>
                </a:cubicBezTo>
                <a:cubicBezTo>
                  <a:pt x="107" y="486"/>
                  <a:pt x="101" y="480"/>
                  <a:pt x="94" y="475"/>
                </a:cubicBezTo>
                <a:cubicBezTo>
                  <a:pt x="86" y="470"/>
                  <a:pt x="81" y="463"/>
                  <a:pt x="80" y="454"/>
                </a:cubicBezTo>
                <a:cubicBezTo>
                  <a:pt x="79" y="447"/>
                  <a:pt x="75" y="443"/>
                  <a:pt x="69" y="441"/>
                </a:cubicBezTo>
                <a:cubicBezTo>
                  <a:pt x="53" y="435"/>
                  <a:pt x="44" y="424"/>
                  <a:pt x="42" y="406"/>
                </a:cubicBezTo>
                <a:cubicBezTo>
                  <a:pt x="40" y="391"/>
                  <a:pt x="34" y="377"/>
                  <a:pt x="37" y="361"/>
                </a:cubicBezTo>
                <a:cubicBezTo>
                  <a:pt x="38" y="356"/>
                  <a:pt x="37" y="348"/>
                  <a:pt x="34" y="343"/>
                </a:cubicBezTo>
                <a:cubicBezTo>
                  <a:pt x="24" y="326"/>
                  <a:pt x="20" y="307"/>
                  <a:pt x="17" y="288"/>
                </a:cubicBezTo>
                <a:cubicBezTo>
                  <a:pt x="15" y="282"/>
                  <a:pt x="14" y="277"/>
                  <a:pt x="7" y="274"/>
                </a:cubicBezTo>
                <a:cubicBezTo>
                  <a:pt x="1" y="272"/>
                  <a:pt x="0" y="267"/>
                  <a:pt x="6" y="263"/>
                </a:cubicBezTo>
                <a:cubicBezTo>
                  <a:pt x="12" y="259"/>
                  <a:pt x="12" y="254"/>
                  <a:pt x="12" y="247"/>
                </a:cubicBezTo>
                <a:cubicBezTo>
                  <a:pt x="12" y="243"/>
                  <a:pt x="13" y="239"/>
                  <a:pt x="12" y="235"/>
                </a:cubicBezTo>
                <a:cubicBezTo>
                  <a:pt x="12" y="216"/>
                  <a:pt x="12" y="199"/>
                  <a:pt x="25" y="182"/>
                </a:cubicBezTo>
                <a:cubicBezTo>
                  <a:pt x="33" y="171"/>
                  <a:pt x="35" y="157"/>
                  <a:pt x="22" y="145"/>
                </a:cubicBezTo>
                <a:cubicBezTo>
                  <a:pt x="21" y="143"/>
                  <a:pt x="20" y="137"/>
                  <a:pt x="21" y="136"/>
                </a:cubicBezTo>
                <a:cubicBezTo>
                  <a:pt x="24" y="134"/>
                  <a:pt x="30" y="132"/>
                  <a:pt x="31" y="133"/>
                </a:cubicBezTo>
                <a:cubicBezTo>
                  <a:pt x="36" y="137"/>
                  <a:pt x="39" y="136"/>
                  <a:pt x="42" y="133"/>
                </a:cubicBezTo>
                <a:cubicBezTo>
                  <a:pt x="49" y="128"/>
                  <a:pt x="56" y="122"/>
                  <a:pt x="62" y="116"/>
                </a:cubicBezTo>
                <a:cubicBezTo>
                  <a:pt x="65" y="112"/>
                  <a:pt x="68" y="110"/>
                  <a:pt x="73" y="112"/>
                </a:cubicBezTo>
                <a:cubicBezTo>
                  <a:pt x="81" y="115"/>
                  <a:pt x="88" y="117"/>
                  <a:pt x="95" y="110"/>
                </a:cubicBezTo>
                <a:cubicBezTo>
                  <a:pt x="98" y="108"/>
                  <a:pt x="104" y="108"/>
                  <a:pt x="108" y="108"/>
                </a:cubicBezTo>
                <a:cubicBezTo>
                  <a:pt x="120" y="107"/>
                  <a:pt x="120" y="107"/>
                  <a:pt x="121" y="95"/>
                </a:cubicBezTo>
                <a:cubicBezTo>
                  <a:pt x="121" y="90"/>
                  <a:pt x="119" y="85"/>
                  <a:pt x="119" y="80"/>
                </a:cubicBezTo>
                <a:cubicBezTo>
                  <a:pt x="118" y="78"/>
                  <a:pt x="119" y="76"/>
                  <a:pt x="119" y="73"/>
                </a:cubicBezTo>
                <a:cubicBezTo>
                  <a:pt x="121" y="74"/>
                  <a:pt x="123" y="73"/>
                  <a:pt x="125" y="74"/>
                </a:cubicBezTo>
                <a:cubicBezTo>
                  <a:pt x="134" y="81"/>
                  <a:pt x="143" y="83"/>
                  <a:pt x="154" y="77"/>
                </a:cubicBezTo>
                <a:cubicBezTo>
                  <a:pt x="157" y="76"/>
                  <a:pt x="161" y="77"/>
                  <a:pt x="165" y="78"/>
                </a:cubicBezTo>
                <a:cubicBezTo>
                  <a:pt x="176" y="81"/>
                  <a:pt x="176" y="82"/>
                  <a:pt x="176" y="69"/>
                </a:cubicBezTo>
                <a:cubicBezTo>
                  <a:pt x="176" y="68"/>
                  <a:pt x="176" y="67"/>
                  <a:pt x="176" y="65"/>
                </a:cubicBezTo>
                <a:cubicBezTo>
                  <a:pt x="177" y="57"/>
                  <a:pt x="182" y="51"/>
                  <a:pt x="189" y="52"/>
                </a:cubicBezTo>
                <a:cubicBezTo>
                  <a:pt x="201" y="54"/>
                  <a:pt x="206" y="42"/>
                  <a:pt x="215" y="40"/>
                </a:cubicBezTo>
                <a:cubicBezTo>
                  <a:pt x="217" y="40"/>
                  <a:pt x="218" y="34"/>
                  <a:pt x="218" y="31"/>
                </a:cubicBezTo>
                <a:cubicBezTo>
                  <a:pt x="217" y="24"/>
                  <a:pt x="218" y="19"/>
                  <a:pt x="227" y="18"/>
                </a:cubicBezTo>
                <a:cubicBezTo>
                  <a:pt x="231" y="17"/>
                  <a:pt x="235" y="13"/>
                  <a:pt x="239" y="11"/>
                </a:cubicBezTo>
                <a:cubicBezTo>
                  <a:pt x="243" y="10"/>
                  <a:pt x="243" y="0"/>
                  <a:pt x="251" y="6"/>
                </a:cubicBezTo>
                <a:cubicBezTo>
                  <a:pt x="257" y="10"/>
                  <a:pt x="264" y="14"/>
                  <a:pt x="264" y="24"/>
                </a:cubicBezTo>
                <a:cubicBezTo>
                  <a:pt x="263" y="34"/>
                  <a:pt x="263" y="44"/>
                  <a:pt x="255" y="52"/>
                </a:cubicBezTo>
                <a:cubicBezTo>
                  <a:pt x="249" y="58"/>
                  <a:pt x="255" y="62"/>
                  <a:pt x="260" y="65"/>
                </a:cubicBezTo>
                <a:cubicBezTo>
                  <a:pt x="265" y="68"/>
                  <a:pt x="265" y="71"/>
                  <a:pt x="261" y="76"/>
                </a:cubicBezTo>
                <a:cubicBezTo>
                  <a:pt x="258" y="78"/>
                  <a:pt x="256" y="81"/>
                  <a:pt x="254" y="83"/>
                </a:cubicBezTo>
                <a:cubicBezTo>
                  <a:pt x="248" y="89"/>
                  <a:pt x="246" y="94"/>
                  <a:pt x="249" y="103"/>
                </a:cubicBezTo>
                <a:cubicBezTo>
                  <a:pt x="252" y="117"/>
                  <a:pt x="251" y="131"/>
                  <a:pt x="241" y="144"/>
                </a:cubicBezTo>
                <a:cubicBezTo>
                  <a:pt x="233" y="153"/>
                  <a:pt x="235" y="159"/>
                  <a:pt x="247" y="162"/>
                </a:cubicBezTo>
                <a:cubicBezTo>
                  <a:pt x="254" y="163"/>
                  <a:pt x="255" y="165"/>
                  <a:pt x="252" y="171"/>
                </a:cubicBezTo>
                <a:cubicBezTo>
                  <a:pt x="250" y="176"/>
                  <a:pt x="251" y="184"/>
                  <a:pt x="247" y="187"/>
                </a:cubicBezTo>
                <a:cubicBezTo>
                  <a:pt x="245" y="190"/>
                  <a:pt x="237" y="187"/>
                  <a:pt x="231" y="187"/>
                </a:cubicBezTo>
                <a:cubicBezTo>
                  <a:pt x="224" y="186"/>
                  <a:pt x="220" y="190"/>
                  <a:pt x="219" y="198"/>
                </a:cubicBezTo>
                <a:cubicBezTo>
                  <a:pt x="219" y="204"/>
                  <a:pt x="217" y="210"/>
                  <a:pt x="214" y="215"/>
                </a:cubicBezTo>
                <a:cubicBezTo>
                  <a:pt x="207" y="223"/>
                  <a:pt x="210" y="230"/>
                  <a:pt x="215" y="237"/>
                </a:cubicBezTo>
                <a:cubicBezTo>
                  <a:pt x="216" y="238"/>
                  <a:pt x="218" y="240"/>
                  <a:pt x="219" y="241"/>
                </a:cubicBezTo>
                <a:cubicBezTo>
                  <a:pt x="224" y="246"/>
                  <a:pt x="222" y="252"/>
                  <a:pt x="219" y="257"/>
                </a:cubicBezTo>
                <a:cubicBezTo>
                  <a:pt x="217" y="259"/>
                  <a:pt x="212" y="258"/>
                  <a:pt x="208" y="258"/>
                </a:cubicBezTo>
                <a:cubicBezTo>
                  <a:pt x="206" y="259"/>
                  <a:pt x="204" y="258"/>
                  <a:pt x="202" y="257"/>
                </a:cubicBezTo>
                <a:cubicBezTo>
                  <a:pt x="194" y="255"/>
                  <a:pt x="189" y="259"/>
                  <a:pt x="193" y="267"/>
                </a:cubicBezTo>
                <a:cubicBezTo>
                  <a:pt x="196" y="273"/>
                  <a:pt x="196" y="278"/>
                  <a:pt x="193" y="284"/>
                </a:cubicBezTo>
                <a:cubicBezTo>
                  <a:pt x="191" y="287"/>
                  <a:pt x="192" y="293"/>
                  <a:pt x="194" y="295"/>
                </a:cubicBezTo>
                <a:cubicBezTo>
                  <a:pt x="206" y="308"/>
                  <a:pt x="204" y="325"/>
                  <a:pt x="206" y="341"/>
                </a:cubicBezTo>
                <a:cubicBezTo>
                  <a:pt x="206" y="343"/>
                  <a:pt x="205" y="345"/>
                  <a:pt x="206" y="348"/>
                </a:cubicBezTo>
                <a:cubicBezTo>
                  <a:pt x="207" y="351"/>
                  <a:pt x="208" y="355"/>
                  <a:pt x="210" y="359"/>
                </a:cubicBezTo>
                <a:cubicBezTo>
                  <a:pt x="213" y="357"/>
                  <a:pt x="218" y="356"/>
                  <a:pt x="220" y="354"/>
                </a:cubicBezTo>
                <a:cubicBezTo>
                  <a:pt x="223" y="351"/>
                  <a:pt x="223" y="347"/>
                  <a:pt x="223" y="343"/>
                </a:cubicBezTo>
                <a:cubicBezTo>
                  <a:pt x="222" y="337"/>
                  <a:pt x="220" y="331"/>
                  <a:pt x="220" y="325"/>
                </a:cubicBezTo>
                <a:cubicBezTo>
                  <a:pt x="221" y="316"/>
                  <a:pt x="228" y="319"/>
                  <a:pt x="233" y="320"/>
                </a:cubicBezTo>
                <a:cubicBezTo>
                  <a:pt x="240" y="322"/>
                  <a:pt x="235" y="326"/>
                  <a:pt x="233" y="329"/>
                </a:cubicBezTo>
                <a:cubicBezTo>
                  <a:pt x="227" y="343"/>
                  <a:pt x="237" y="354"/>
                  <a:pt x="242" y="366"/>
                </a:cubicBezTo>
                <a:cubicBezTo>
                  <a:pt x="243" y="368"/>
                  <a:pt x="246" y="369"/>
                  <a:pt x="248" y="368"/>
                </a:cubicBezTo>
                <a:cubicBezTo>
                  <a:pt x="255" y="365"/>
                  <a:pt x="263" y="363"/>
                  <a:pt x="270" y="358"/>
                </a:cubicBezTo>
                <a:cubicBezTo>
                  <a:pt x="279" y="351"/>
                  <a:pt x="290" y="353"/>
                  <a:pt x="292" y="365"/>
                </a:cubicBezTo>
                <a:cubicBezTo>
                  <a:pt x="293" y="372"/>
                  <a:pt x="298" y="374"/>
                  <a:pt x="303" y="376"/>
                </a:cubicBezTo>
                <a:cubicBezTo>
                  <a:pt x="310" y="379"/>
                  <a:pt x="315" y="382"/>
                  <a:pt x="313" y="391"/>
                </a:cubicBezTo>
                <a:cubicBezTo>
                  <a:pt x="313" y="393"/>
                  <a:pt x="316" y="397"/>
                  <a:pt x="319" y="399"/>
                </a:cubicBezTo>
                <a:cubicBezTo>
                  <a:pt x="324" y="402"/>
                  <a:pt x="324" y="405"/>
                  <a:pt x="323" y="410"/>
                </a:cubicBezTo>
                <a:cubicBezTo>
                  <a:pt x="320" y="423"/>
                  <a:pt x="310" y="428"/>
                  <a:pt x="301" y="435"/>
                </a:cubicBezTo>
                <a:cubicBezTo>
                  <a:pt x="300" y="436"/>
                  <a:pt x="297" y="435"/>
                  <a:pt x="295" y="435"/>
                </a:cubicBezTo>
                <a:cubicBezTo>
                  <a:pt x="287" y="433"/>
                  <a:pt x="280" y="430"/>
                  <a:pt x="273" y="429"/>
                </a:cubicBezTo>
                <a:cubicBezTo>
                  <a:pt x="261" y="428"/>
                  <a:pt x="248" y="446"/>
                  <a:pt x="251" y="456"/>
                </a:cubicBezTo>
                <a:cubicBezTo>
                  <a:pt x="254" y="463"/>
                  <a:pt x="250" y="467"/>
                  <a:pt x="246" y="472"/>
                </a:cubicBezTo>
                <a:cubicBezTo>
                  <a:pt x="237" y="481"/>
                  <a:pt x="237" y="481"/>
                  <a:pt x="250" y="484"/>
                </a:cubicBezTo>
                <a:cubicBezTo>
                  <a:pt x="251" y="484"/>
                  <a:pt x="252" y="484"/>
                  <a:pt x="253" y="485"/>
                </a:cubicBezTo>
                <a:cubicBezTo>
                  <a:pt x="256" y="486"/>
                  <a:pt x="258" y="487"/>
                  <a:pt x="261" y="489"/>
                </a:cubicBezTo>
                <a:cubicBezTo>
                  <a:pt x="259" y="492"/>
                  <a:pt x="257" y="496"/>
                  <a:pt x="254" y="498"/>
                </a:cubicBezTo>
                <a:cubicBezTo>
                  <a:pt x="248" y="502"/>
                  <a:pt x="242" y="506"/>
                  <a:pt x="236" y="508"/>
                </a:cubicBezTo>
                <a:cubicBezTo>
                  <a:pt x="229" y="510"/>
                  <a:pt x="222" y="511"/>
                  <a:pt x="215" y="51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DA94759-BC8A-4DE9-BC44-D1160882BBB2}"/>
              </a:ext>
            </a:extLst>
          </p:cNvPr>
          <p:cNvSpPr>
            <a:spLocks/>
          </p:cNvSpPr>
          <p:nvPr userDrawn="1"/>
        </p:nvSpPr>
        <p:spPr bwMode="auto">
          <a:xfrm>
            <a:off x="6737350" y="3100388"/>
            <a:ext cx="1042988" cy="819150"/>
          </a:xfrm>
          <a:custGeom>
            <a:avLst/>
            <a:gdLst>
              <a:gd name="T0" fmla="*/ 326 w 439"/>
              <a:gd name="T1" fmla="*/ 307 h 346"/>
              <a:gd name="T2" fmla="*/ 308 w 439"/>
              <a:gd name="T3" fmla="*/ 273 h 346"/>
              <a:gd name="T4" fmla="*/ 322 w 439"/>
              <a:gd name="T5" fmla="*/ 233 h 346"/>
              <a:gd name="T6" fmla="*/ 306 w 439"/>
              <a:gd name="T7" fmla="*/ 230 h 346"/>
              <a:gd name="T8" fmla="*/ 301 w 439"/>
              <a:gd name="T9" fmla="*/ 208 h 346"/>
              <a:gd name="T10" fmla="*/ 316 w 439"/>
              <a:gd name="T11" fmla="*/ 191 h 346"/>
              <a:gd name="T12" fmla="*/ 289 w 439"/>
              <a:gd name="T13" fmla="*/ 180 h 346"/>
              <a:gd name="T14" fmla="*/ 271 w 439"/>
              <a:gd name="T15" fmla="*/ 202 h 346"/>
              <a:gd name="T16" fmla="*/ 266 w 439"/>
              <a:gd name="T17" fmla="*/ 224 h 346"/>
              <a:gd name="T18" fmla="*/ 257 w 439"/>
              <a:gd name="T19" fmla="*/ 265 h 346"/>
              <a:gd name="T20" fmla="*/ 198 w 439"/>
              <a:gd name="T21" fmla="*/ 291 h 346"/>
              <a:gd name="T22" fmla="*/ 108 w 439"/>
              <a:gd name="T23" fmla="*/ 244 h 346"/>
              <a:gd name="T24" fmla="*/ 48 w 439"/>
              <a:gd name="T25" fmla="*/ 166 h 346"/>
              <a:gd name="T26" fmla="*/ 58 w 439"/>
              <a:gd name="T27" fmla="*/ 161 h 346"/>
              <a:gd name="T28" fmla="*/ 114 w 439"/>
              <a:gd name="T29" fmla="*/ 155 h 346"/>
              <a:gd name="T30" fmla="*/ 149 w 439"/>
              <a:gd name="T31" fmla="*/ 130 h 346"/>
              <a:gd name="T32" fmla="*/ 163 w 439"/>
              <a:gd name="T33" fmla="*/ 116 h 346"/>
              <a:gd name="T34" fmla="*/ 150 w 439"/>
              <a:gd name="T35" fmla="*/ 113 h 346"/>
              <a:gd name="T36" fmla="*/ 132 w 439"/>
              <a:gd name="T37" fmla="*/ 117 h 346"/>
              <a:gd name="T38" fmla="*/ 70 w 439"/>
              <a:gd name="T39" fmla="*/ 123 h 346"/>
              <a:gd name="T40" fmla="*/ 27 w 439"/>
              <a:gd name="T41" fmla="*/ 87 h 346"/>
              <a:gd name="T42" fmla="*/ 39 w 439"/>
              <a:gd name="T43" fmla="*/ 49 h 346"/>
              <a:gd name="T44" fmla="*/ 37 w 439"/>
              <a:gd name="T45" fmla="*/ 44 h 346"/>
              <a:gd name="T46" fmla="*/ 3 w 439"/>
              <a:gd name="T47" fmla="*/ 57 h 346"/>
              <a:gd name="T48" fmla="*/ 20 w 439"/>
              <a:gd name="T49" fmla="*/ 34 h 346"/>
              <a:gd name="T50" fmla="*/ 46 w 439"/>
              <a:gd name="T51" fmla="*/ 19 h 346"/>
              <a:gd name="T52" fmla="*/ 98 w 439"/>
              <a:gd name="T53" fmla="*/ 16 h 346"/>
              <a:gd name="T54" fmla="*/ 140 w 439"/>
              <a:gd name="T55" fmla="*/ 21 h 346"/>
              <a:gd name="T56" fmla="*/ 170 w 439"/>
              <a:gd name="T57" fmla="*/ 15 h 346"/>
              <a:gd name="T58" fmla="*/ 204 w 439"/>
              <a:gd name="T59" fmla="*/ 18 h 346"/>
              <a:gd name="T60" fmla="*/ 208 w 439"/>
              <a:gd name="T61" fmla="*/ 0 h 346"/>
              <a:gd name="T62" fmla="*/ 218 w 439"/>
              <a:gd name="T63" fmla="*/ 0 h 346"/>
              <a:gd name="T64" fmla="*/ 298 w 439"/>
              <a:gd name="T65" fmla="*/ 13 h 346"/>
              <a:gd name="T66" fmla="*/ 313 w 439"/>
              <a:gd name="T67" fmla="*/ 21 h 346"/>
              <a:gd name="T68" fmla="*/ 348 w 439"/>
              <a:gd name="T69" fmla="*/ 26 h 346"/>
              <a:gd name="T70" fmla="*/ 363 w 439"/>
              <a:gd name="T71" fmla="*/ 55 h 346"/>
              <a:gd name="T72" fmla="*/ 371 w 439"/>
              <a:gd name="T73" fmla="*/ 79 h 346"/>
              <a:gd name="T74" fmla="*/ 391 w 439"/>
              <a:gd name="T75" fmla="*/ 106 h 346"/>
              <a:gd name="T76" fmla="*/ 426 w 439"/>
              <a:gd name="T77" fmla="*/ 166 h 346"/>
              <a:gd name="T78" fmla="*/ 411 w 439"/>
              <a:gd name="T79" fmla="*/ 172 h 346"/>
              <a:gd name="T80" fmla="*/ 400 w 439"/>
              <a:gd name="T81" fmla="*/ 218 h 346"/>
              <a:gd name="T82" fmla="*/ 391 w 439"/>
              <a:gd name="T83" fmla="*/ 251 h 346"/>
              <a:gd name="T84" fmla="*/ 406 w 439"/>
              <a:gd name="T85" fmla="*/ 251 h 346"/>
              <a:gd name="T86" fmla="*/ 394 w 439"/>
              <a:gd name="T87" fmla="*/ 258 h 346"/>
              <a:gd name="T88" fmla="*/ 367 w 439"/>
              <a:gd name="T89" fmla="*/ 273 h 346"/>
              <a:gd name="T90" fmla="*/ 381 w 439"/>
              <a:gd name="T91" fmla="*/ 287 h 346"/>
              <a:gd name="T92" fmla="*/ 364 w 439"/>
              <a:gd name="T93" fmla="*/ 312 h 346"/>
              <a:gd name="T94" fmla="*/ 350 w 439"/>
              <a:gd name="T95" fmla="*/ 329 h 346"/>
              <a:gd name="T96" fmla="*/ 319 w 439"/>
              <a:gd name="T97" fmla="*/ 333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9" h="346">
                <a:moveTo>
                  <a:pt x="319" y="333"/>
                </a:moveTo>
                <a:cubicBezTo>
                  <a:pt x="316" y="323"/>
                  <a:pt x="318" y="315"/>
                  <a:pt x="326" y="307"/>
                </a:cubicBezTo>
                <a:cubicBezTo>
                  <a:pt x="333" y="301"/>
                  <a:pt x="332" y="296"/>
                  <a:pt x="325" y="289"/>
                </a:cubicBezTo>
                <a:cubicBezTo>
                  <a:pt x="319" y="284"/>
                  <a:pt x="313" y="279"/>
                  <a:pt x="308" y="273"/>
                </a:cubicBezTo>
                <a:cubicBezTo>
                  <a:pt x="298" y="259"/>
                  <a:pt x="300" y="249"/>
                  <a:pt x="314" y="239"/>
                </a:cubicBezTo>
                <a:cubicBezTo>
                  <a:pt x="317" y="238"/>
                  <a:pt x="319" y="235"/>
                  <a:pt x="322" y="233"/>
                </a:cubicBezTo>
                <a:cubicBezTo>
                  <a:pt x="318" y="232"/>
                  <a:pt x="315" y="231"/>
                  <a:pt x="312" y="230"/>
                </a:cubicBezTo>
                <a:cubicBezTo>
                  <a:pt x="310" y="230"/>
                  <a:pt x="308" y="230"/>
                  <a:pt x="306" y="230"/>
                </a:cubicBezTo>
                <a:cubicBezTo>
                  <a:pt x="299" y="230"/>
                  <a:pt x="298" y="225"/>
                  <a:pt x="301" y="221"/>
                </a:cubicBezTo>
                <a:cubicBezTo>
                  <a:pt x="304" y="216"/>
                  <a:pt x="307" y="213"/>
                  <a:pt x="301" y="208"/>
                </a:cubicBezTo>
                <a:cubicBezTo>
                  <a:pt x="296" y="204"/>
                  <a:pt x="300" y="199"/>
                  <a:pt x="307" y="197"/>
                </a:cubicBezTo>
                <a:cubicBezTo>
                  <a:pt x="310" y="196"/>
                  <a:pt x="313" y="193"/>
                  <a:pt x="316" y="191"/>
                </a:cubicBezTo>
                <a:cubicBezTo>
                  <a:pt x="312" y="189"/>
                  <a:pt x="309" y="184"/>
                  <a:pt x="305" y="183"/>
                </a:cubicBezTo>
                <a:cubicBezTo>
                  <a:pt x="300" y="183"/>
                  <a:pt x="295" y="184"/>
                  <a:pt x="289" y="180"/>
                </a:cubicBezTo>
                <a:cubicBezTo>
                  <a:pt x="285" y="176"/>
                  <a:pt x="276" y="184"/>
                  <a:pt x="278" y="190"/>
                </a:cubicBezTo>
                <a:cubicBezTo>
                  <a:pt x="280" y="198"/>
                  <a:pt x="277" y="199"/>
                  <a:pt x="271" y="202"/>
                </a:cubicBezTo>
                <a:cubicBezTo>
                  <a:pt x="267" y="205"/>
                  <a:pt x="264" y="210"/>
                  <a:pt x="261" y="214"/>
                </a:cubicBezTo>
                <a:cubicBezTo>
                  <a:pt x="258" y="219"/>
                  <a:pt x="260" y="222"/>
                  <a:pt x="266" y="224"/>
                </a:cubicBezTo>
                <a:cubicBezTo>
                  <a:pt x="277" y="228"/>
                  <a:pt x="279" y="237"/>
                  <a:pt x="272" y="246"/>
                </a:cubicBezTo>
                <a:cubicBezTo>
                  <a:pt x="268" y="252"/>
                  <a:pt x="262" y="258"/>
                  <a:pt x="257" y="265"/>
                </a:cubicBezTo>
                <a:cubicBezTo>
                  <a:pt x="256" y="266"/>
                  <a:pt x="255" y="266"/>
                  <a:pt x="253" y="267"/>
                </a:cubicBezTo>
                <a:cubicBezTo>
                  <a:pt x="235" y="275"/>
                  <a:pt x="216" y="283"/>
                  <a:pt x="198" y="291"/>
                </a:cubicBezTo>
                <a:cubicBezTo>
                  <a:pt x="175" y="300"/>
                  <a:pt x="155" y="294"/>
                  <a:pt x="138" y="278"/>
                </a:cubicBezTo>
                <a:cubicBezTo>
                  <a:pt x="127" y="268"/>
                  <a:pt x="117" y="256"/>
                  <a:pt x="108" y="244"/>
                </a:cubicBezTo>
                <a:cubicBezTo>
                  <a:pt x="92" y="225"/>
                  <a:pt x="76" y="206"/>
                  <a:pt x="60" y="187"/>
                </a:cubicBezTo>
                <a:cubicBezTo>
                  <a:pt x="55" y="181"/>
                  <a:pt x="51" y="173"/>
                  <a:pt x="48" y="166"/>
                </a:cubicBezTo>
                <a:cubicBezTo>
                  <a:pt x="47" y="163"/>
                  <a:pt x="50" y="159"/>
                  <a:pt x="51" y="155"/>
                </a:cubicBezTo>
                <a:cubicBezTo>
                  <a:pt x="53" y="157"/>
                  <a:pt x="56" y="159"/>
                  <a:pt x="58" y="161"/>
                </a:cubicBezTo>
                <a:cubicBezTo>
                  <a:pt x="62" y="163"/>
                  <a:pt x="66" y="167"/>
                  <a:pt x="69" y="167"/>
                </a:cubicBezTo>
                <a:cubicBezTo>
                  <a:pt x="85" y="164"/>
                  <a:pt x="101" y="165"/>
                  <a:pt x="114" y="155"/>
                </a:cubicBezTo>
                <a:cubicBezTo>
                  <a:pt x="115" y="153"/>
                  <a:pt x="117" y="152"/>
                  <a:pt x="119" y="152"/>
                </a:cubicBezTo>
                <a:cubicBezTo>
                  <a:pt x="134" y="151"/>
                  <a:pt x="141" y="141"/>
                  <a:pt x="149" y="130"/>
                </a:cubicBezTo>
                <a:cubicBezTo>
                  <a:pt x="151" y="127"/>
                  <a:pt x="155" y="126"/>
                  <a:pt x="158" y="123"/>
                </a:cubicBezTo>
                <a:cubicBezTo>
                  <a:pt x="160" y="121"/>
                  <a:pt x="163" y="118"/>
                  <a:pt x="163" y="116"/>
                </a:cubicBezTo>
                <a:cubicBezTo>
                  <a:pt x="163" y="114"/>
                  <a:pt x="160" y="110"/>
                  <a:pt x="157" y="110"/>
                </a:cubicBezTo>
                <a:cubicBezTo>
                  <a:pt x="155" y="109"/>
                  <a:pt x="150" y="111"/>
                  <a:pt x="150" y="113"/>
                </a:cubicBezTo>
                <a:cubicBezTo>
                  <a:pt x="148" y="120"/>
                  <a:pt x="145" y="120"/>
                  <a:pt x="139" y="117"/>
                </a:cubicBezTo>
                <a:cubicBezTo>
                  <a:pt x="137" y="116"/>
                  <a:pt x="134" y="117"/>
                  <a:pt x="132" y="117"/>
                </a:cubicBezTo>
                <a:cubicBezTo>
                  <a:pt x="122" y="121"/>
                  <a:pt x="112" y="126"/>
                  <a:pt x="103" y="129"/>
                </a:cubicBezTo>
                <a:cubicBezTo>
                  <a:pt x="91" y="133"/>
                  <a:pt x="79" y="128"/>
                  <a:pt x="70" y="123"/>
                </a:cubicBezTo>
                <a:cubicBezTo>
                  <a:pt x="56" y="115"/>
                  <a:pt x="40" y="107"/>
                  <a:pt x="31" y="92"/>
                </a:cubicBezTo>
                <a:cubicBezTo>
                  <a:pt x="30" y="90"/>
                  <a:pt x="28" y="89"/>
                  <a:pt x="27" y="87"/>
                </a:cubicBezTo>
                <a:cubicBezTo>
                  <a:pt x="14" y="66"/>
                  <a:pt x="14" y="63"/>
                  <a:pt x="36" y="51"/>
                </a:cubicBezTo>
                <a:cubicBezTo>
                  <a:pt x="37" y="50"/>
                  <a:pt x="38" y="50"/>
                  <a:pt x="39" y="49"/>
                </a:cubicBezTo>
                <a:cubicBezTo>
                  <a:pt x="41" y="48"/>
                  <a:pt x="42" y="47"/>
                  <a:pt x="43" y="45"/>
                </a:cubicBezTo>
                <a:cubicBezTo>
                  <a:pt x="41" y="45"/>
                  <a:pt x="39" y="43"/>
                  <a:pt x="37" y="44"/>
                </a:cubicBezTo>
                <a:cubicBezTo>
                  <a:pt x="27" y="47"/>
                  <a:pt x="14" y="45"/>
                  <a:pt x="7" y="57"/>
                </a:cubicBezTo>
                <a:cubicBezTo>
                  <a:pt x="6" y="57"/>
                  <a:pt x="3" y="58"/>
                  <a:pt x="3" y="57"/>
                </a:cubicBezTo>
                <a:cubicBezTo>
                  <a:pt x="2" y="56"/>
                  <a:pt x="0" y="53"/>
                  <a:pt x="1" y="52"/>
                </a:cubicBezTo>
                <a:cubicBezTo>
                  <a:pt x="1" y="43"/>
                  <a:pt x="12" y="34"/>
                  <a:pt x="20" y="34"/>
                </a:cubicBezTo>
                <a:cubicBezTo>
                  <a:pt x="22" y="34"/>
                  <a:pt x="24" y="34"/>
                  <a:pt x="26" y="34"/>
                </a:cubicBezTo>
                <a:cubicBezTo>
                  <a:pt x="42" y="34"/>
                  <a:pt x="43" y="36"/>
                  <a:pt x="46" y="19"/>
                </a:cubicBezTo>
                <a:cubicBezTo>
                  <a:pt x="47" y="12"/>
                  <a:pt x="50" y="10"/>
                  <a:pt x="58" y="11"/>
                </a:cubicBezTo>
                <a:cubicBezTo>
                  <a:pt x="71" y="13"/>
                  <a:pt x="85" y="14"/>
                  <a:pt x="98" y="16"/>
                </a:cubicBezTo>
                <a:cubicBezTo>
                  <a:pt x="101" y="16"/>
                  <a:pt x="103" y="18"/>
                  <a:pt x="105" y="20"/>
                </a:cubicBezTo>
                <a:cubicBezTo>
                  <a:pt x="116" y="29"/>
                  <a:pt x="128" y="28"/>
                  <a:pt x="140" y="21"/>
                </a:cubicBezTo>
                <a:cubicBezTo>
                  <a:pt x="148" y="16"/>
                  <a:pt x="157" y="13"/>
                  <a:pt x="166" y="10"/>
                </a:cubicBezTo>
                <a:cubicBezTo>
                  <a:pt x="167" y="10"/>
                  <a:pt x="169" y="13"/>
                  <a:pt x="170" y="15"/>
                </a:cubicBezTo>
                <a:cubicBezTo>
                  <a:pt x="174" y="27"/>
                  <a:pt x="182" y="30"/>
                  <a:pt x="192" y="23"/>
                </a:cubicBezTo>
                <a:cubicBezTo>
                  <a:pt x="196" y="21"/>
                  <a:pt x="200" y="19"/>
                  <a:pt x="204" y="18"/>
                </a:cubicBezTo>
                <a:cubicBezTo>
                  <a:pt x="210" y="16"/>
                  <a:pt x="214" y="15"/>
                  <a:pt x="209" y="8"/>
                </a:cubicBezTo>
                <a:cubicBezTo>
                  <a:pt x="208" y="6"/>
                  <a:pt x="208" y="3"/>
                  <a:pt x="208" y="0"/>
                </a:cubicBezTo>
                <a:cubicBezTo>
                  <a:pt x="211" y="0"/>
                  <a:pt x="214" y="0"/>
                  <a:pt x="217" y="0"/>
                </a:cubicBezTo>
                <a:cubicBezTo>
                  <a:pt x="217" y="0"/>
                  <a:pt x="217" y="0"/>
                  <a:pt x="218" y="0"/>
                </a:cubicBezTo>
                <a:cubicBezTo>
                  <a:pt x="235" y="0"/>
                  <a:pt x="252" y="1"/>
                  <a:pt x="270" y="0"/>
                </a:cubicBezTo>
                <a:cubicBezTo>
                  <a:pt x="282" y="0"/>
                  <a:pt x="292" y="3"/>
                  <a:pt x="298" y="13"/>
                </a:cubicBezTo>
                <a:cubicBezTo>
                  <a:pt x="301" y="17"/>
                  <a:pt x="302" y="22"/>
                  <a:pt x="309" y="19"/>
                </a:cubicBezTo>
                <a:cubicBezTo>
                  <a:pt x="310" y="19"/>
                  <a:pt x="313" y="20"/>
                  <a:pt x="313" y="21"/>
                </a:cubicBezTo>
                <a:cubicBezTo>
                  <a:pt x="321" y="32"/>
                  <a:pt x="331" y="29"/>
                  <a:pt x="342" y="26"/>
                </a:cubicBezTo>
                <a:cubicBezTo>
                  <a:pt x="344" y="25"/>
                  <a:pt x="347" y="25"/>
                  <a:pt x="348" y="26"/>
                </a:cubicBezTo>
                <a:cubicBezTo>
                  <a:pt x="349" y="28"/>
                  <a:pt x="350" y="31"/>
                  <a:pt x="349" y="33"/>
                </a:cubicBezTo>
                <a:cubicBezTo>
                  <a:pt x="345" y="48"/>
                  <a:pt x="348" y="53"/>
                  <a:pt x="363" y="55"/>
                </a:cubicBezTo>
                <a:cubicBezTo>
                  <a:pt x="365" y="56"/>
                  <a:pt x="367" y="61"/>
                  <a:pt x="366" y="62"/>
                </a:cubicBezTo>
                <a:cubicBezTo>
                  <a:pt x="360" y="71"/>
                  <a:pt x="363" y="75"/>
                  <a:pt x="371" y="79"/>
                </a:cubicBezTo>
                <a:cubicBezTo>
                  <a:pt x="375" y="82"/>
                  <a:pt x="378" y="87"/>
                  <a:pt x="379" y="92"/>
                </a:cubicBezTo>
                <a:cubicBezTo>
                  <a:pt x="379" y="100"/>
                  <a:pt x="383" y="104"/>
                  <a:pt x="391" y="106"/>
                </a:cubicBezTo>
                <a:cubicBezTo>
                  <a:pt x="414" y="112"/>
                  <a:pt x="424" y="132"/>
                  <a:pt x="436" y="149"/>
                </a:cubicBezTo>
                <a:cubicBezTo>
                  <a:pt x="439" y="155"/>
                  <a:pt x="433" y="164"/>
                  <a:pt x="426" y="166"/>
                </a:cubicBezTo>
                <a:cubicBezTo>
                  <a:pt x="422" y="167"/>
                  <a:pt x="419" y="168"/>
                  <a:pt x="415" y="169"/>
                </a:cubicBezTo>
                <a:cubicBezTo>
                  <a:pt x="414" y="170"/>
                  <a:pt x="411" y="171"/>
                  <a:pt x="411" y="172"/>
                </a:cubicBezTo>
                <a:cubicBezTo>
                  <a:pt x="409" y="183"/>
                  <a:pt x="407" y="194"/>
                  <a:pt x="408" y="205"/>
                </a:cubicBezTo>
                <a:cubicBezTo>
                  <a:pt x="408" y="212"/>
                  <a:pt x="407" y="217"/>
                  <a:pt x="400" y="218"/>
                </a:cubicBezTo>
                <a:cubicBezTo>
                  <a:pt x="385" y="220"/>
                  <a:pt x="388" y="234"/>
                  <a:pt x="383" y="243"/>
                </a:cubicBezTo>
                <a:cubicBezTo>
                  <a:pt x="382" y="244"/>
                  <a:pt x="388" y="249"/>
                  <a:pt x="391" y="251"/>
                </a:cubicBezTo>
                <a:cubicBezTo>
                  <a:pt x="393" y="252"/>
                  <a:pt x="396" y="251"/>
                  <a:pt x="398" y="251"/>
                </a:cubicBezTo>
                <a:cubicBezTo>
                  <a:pt x="401" y="251"/>
                  <a:pt x="403" y="251"/>
                  <a:pt x="406" y="251"/>
                </a:cubicBezTo>
                <a:cubicBezTo>
                  <a:pt x="404" y="252"/>
                  <a:pt x="401" y="254"/>
                  <a:pt x="399" y="255"/>
                </a:cubicBezTo>
                <a:cubicBezTo>
                  <a:pt x="397" y="256"/>
                  <a:pt x="395" y="257"/>
                  <a:pt x="394" y="258"/>
                </a:cubicBezTo>
                <a:cubicBezTo>
                  <a:pt x="393" y="270"/>
                  <a:pt x="384" y="270"/>
                  <a:pt x="375" y="269"/>
                </a:cubicBezTo>
                <a:cubicBezTo>
                  <a:pt x="372" y="269"/>
                  <a:pt x="370" y="272"/>
                  <a:pt x="367" y="273"/>
                </a:cubicBezTo>
                <a:cubicBezTo>
                  <a:pt x="369" y="276"/>
                  <a:pt x="370" y="279"/>
                  <a:pt x="372" y="280"/>
                </a:cubicBezTo>
                <a:cubicBezTo>
                  <a:pt x="375" y="283"/>
                  <a:pt x="378" y="284"/>
                  <a:pt x="381" y="287"/>
                </a:cubicBezTo>
                <a:cubicBezTo>
                  <a:pt x="389" y="294"/>
                  <a:pt x="388" y="307"/>
                  <a:pt x="379" y="314"/>
                </a:cubicBezTo>
                <a:cubicBezTo>
                  <a:pt x="374" y="319"/>
                  <a:pt x="369" y="315"/>
                  <a:pt x="364" y="312"/>
                </a:cubicBezTo>
                <a:cubicBezTo>
                  <a:pt x="354" y="306"/>
                  <a:pt x="353" y="306"/>
                  <a:pt x="351" y="318"/>
                </a:cubicBezTo>
                <a:cubicBezTo>
                  <a:pt x="351" y="322"/>
                  <a:pt x="350" y="325"/>
                  <a:pt x="350" y="329"/>
                </a:cubicBezTo>
                <a:cubicBezTo>
                  <a:pt x="347" y="344"/>
                  <a:pt x="342" y="346"/>
                  <a:pt x="328" y="337"/>
                </a:cubicBezTo>
                <a:cubicBezTo>
                  <a:pt x="326" y="335"/>
                  <a:pt x="322" y="334"/>
                  <a:pt x="319" y="333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443A4C2-0B51-4999-896A-046CDBA6B7E6}"/>
              </a:ext>
            </a:extLst>
          </p:cNvPr>
          <p:cNvSpPr>
            <a:spLocks/>
          </p:cNvSpPr>
          <p:nvPr userDrawn="1"/>
        </p:nvSpPr>
        <p:spPr bwMode="auto">
          <a:xfrm>
            <a:off x="8963025" y="3549650"/>
            <a:ext cx="1019175" cy="850900"/>
          </a:xfrm>
          <a:custGeom>
            <a:avLst/>
            <a:gdLst>
              <a:gd name="T0" fmla="*/ 176 w 429"/>
              <a:gd name="T1" fmla="*/ 276 h 359"/>
              <a:gd name="T2" fmla="*/ 139 w 429"/>
              <a:gd name="T3" fmla="*/ 276 h 359"/>
              <a:gd name="T4" fmla="*/ 112 w 429"/>
              <a:gd name="T5" fmla="*/ 303 h 359"/>
              <a:gd name="T6" fmla="*/ 94 w 429"/>
              <a:gd name="T7" fmla="*/ 315 h 359"/>
              <a:gd name="T8" fmla="*/ 75 w 429"/>
              <a:gd name="T9" fmla="*/ 306 h 359"/>
              <a:gd name="T10" fmla="*/ 62 w 429"/>
              <a:gd name="T11" fmla="*/ 337 h 359"/>
              <a:gd name="T12" fmla="*/ 24 w 429"/>
              <a:gd name="T13" fmla="*/ 351 h 359"/>
              <a:gd name="T14" fmla="*/ 1 w 429"/>
              <a:gd name="T15" fmla="*/ 352 h 359"/>
              <a:gd name="T16" fmla="*/ 12 w 429"/>
              <a:gd name="T17" fmla="*/ 326 h 359"/>
              <a:gd name="T18" fmla="*/ 48 w 429"/>
              <a:gd name="T19" fmla="*/ 288 h 359"/>
              <a:gd name="T20" fmla="*/ 53 w 429"/>
              <a:gd name="T21" fmla="*/ 243 h 359"/>
              <a:gd name="T22" fmla="*/ 43 w 429"/>
              <a:gd name="T23" fmla="*/ 224 h 359"/>
              <a:gd name="T24" fmla="*/ 30 w 429"/>
              <a:gd name="T25" fmla="*/ 195 h 359"/>
              <a:gd name="T26" fmla="*/ 55 w 429"/>
              <a:gd name="T27" fmla="*/ 202 h 359"/>
              <a:gd name="T28" fmla="*/ 75 w 429"/>
              <a:gd name="T29" fmla="*/ 209 h 359"/>
              <a:gd name="T30" fmla="*/ 93 w 429"/>
              <a:gd name="T31" fmla="*/ 198 h 359"/>
              <a:gd name="T32" fmla="*/ 73 w 429"/>
              <a:gd name="T33" fmla="*/ 173 h 359"/>
              <a:gd name="T34" fmla="*/ 75 w 429"/>
              <a:gd name="T35" fmla="*/ 126 h 359"/>
              <a:gd name="T36" fmla="*/ 111 w 429"/>
              <a:gd name="T37" fmla="*/ 104 h 359"/>
              <a:gd name="T38" fmla="*/ 138 w 429"/>
              <a:gd name="T39" fmla="*/ 76 h 359"/>
              <a:gd name="T40" fmla="*/ 153 w 429"/>
              <a:gd name="T41" fmla="*/ 43 h 359"/>
              <a:gd name="T42" fmla="*/ 174 w 429"/>
              <a:gd name="T43" fmla="*/ 16 h 359"/>
              <a:gd name="T44" fmla="*/ 222 w 429"/>
              <a:gd name="T45" fmla="*/ 11 h 359"/>
              <a:gd name="T46" fmla="*/ 257 w 429"/>
              <a:gd name="T47" fmla="*/ 14 h 359"/>
              <a:gd name="T48" fmla="*/ 279 w 429"/>
              <a:gd name="T49" fmla="*/ 32 h 359"/>
              <a:gd name="T50" fmla="*/ 299 w 429"/>
              <a:gd name="T51" fmla="*/ 33 h 359"/>
              <a:gd name="T52" fmla="*/ 328 w 429"/>
              <a:gd name="T53" fmla="*/ 24 h 359"/>
              <a:gd name="T54" fmla="*/ 336 w 429"/>
              <a:gd name="T55" fmla="*/ 2 h 359"/>
              <a:gd name="T56" fmla="*/ 379 w 429"/>
              <a:gd name="T57" fmla="*/ 22 h 359"/>
              <a:gd name="T58" fmla="*/ 399 w 429"/>
              <a:gd name="T59" fmla="*/ 40 h 359"/>
              <a:gd name="T60" fmla="*/ 423 w 429"/>
              <a:gd name="T61" fmla="*/ 64 h 359"/>
              <a:gd name="T62" fmla="*/ 388 w 429"/>
              <a:gd name="T63" fmla="*/ 93 h 359"/>
              <a:gd name="T64" fmla="*/ 396 w 429"/>
              <a:gd name="T65" fmla="*/ 127 h 359"/>
              <a:gd name="T66" fmla="*/ 371 w 429"/>
              <a:gd name="T67" fmla="*/ 170 h 359"/>
              <a:gd name="T68" fmla="*/ 333 w 429"/>
              <a:gd name="T69" fmla="*/ 199 h 359"/>
              <a:gd name="T70" fmla="*/ 298 w 429"/>
              <a:gd name="T71" fmla="*/ 203 h 359"/>
              <a:gd name="T72" fmla="*/ 275 w 429"/>
              <a:gd name="T73" fmla="*/ 221 h 359"/>
              <a:gd name="T74" fmla="*/ 249 w 429"/>
              <a:gd name="T75" fmla="*/ 250 h 359"/>
              <a:gd name="T76" fmla="*/ 215 w 429"/>
              <a:gd name="T77" fmla="*/ 270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29" h="359">
                <a:moveTo>
                  <a:pt x="191" y="284"/>
                </a:moveTo>
                <a:cubicBezTo>
                  <a:pt x="184" y="285"/>
                  <a:pt x="179" y="284"/>
                  <a:pt x="176" y="276"/>
                </a:cubicBezTo>
                <a:cubicBezTo>
                  <a:pt x="173" y="266"/>
                  <a:pt x="161" y="265"/>
                  <a:pt x="153" y="262"/>
                </a:cubicBezTo>
                <a:cubicBezTo>
                  <a:pt x="147" y="260"/>
                  <a:pt x="142" y="269"/>
                  <a:pt x="139" y="276"/>
                </a:cubicBezTo>
                <a:cubicBezTo>
                  <a:pt x="138" y="280"/>
                  <a:pt x="133" y="283"/>
                  <a:pt x="129" y="284"/>
                </a:cubicBezTo>
                <a:cubicBezTo>
                  <a:pt x="117" y="287"/>
                  <a:pt x="113" y="290"/>
                  <a:pt x="112" y="303"/>
                </a:cubicBezTo>
                <a:cubicBezTo>
                  <a:pt x="111" y="310"/>
                  <a:pt x="112" y="316"/>
                  <a:pt x="101" y="312"/>
                </a:cubicBezTo>
                <a:cubicBezTo>
                  <a:pt x="99" y="312"/>
                  <a:pt x="95" y="313"/>
                  <a:pt x="94" y="315"/>
                </a:cubicBezTo>
                <a:cubicBezTo>
                  <a:pt x="88" y="328"/>
                  <a:pt x="86" y="319"/>
                  <a:pt x="82" y="313"/>
                </a:cubicBezTo>
                <a:cubicBezTo>
                  <a:pt x="80" y="310"/>
                  <a:pt x="78" y="307"/>
                  <a:pt x="75" y="306"/>
                </a:cubicBezTo>
                <a:cubicBezTo>
                  <a:pt x="73" y="305"/>
                  <a:pt x="68" y="307"/>
                  <a:pt x="68" y="308"/>
                </a:cubicBezTo>
                <a:cubicBezTo>
                  <a:pt x="67" y="318"/>
                  <a:pt x="56" y="325"/>
                  <a:pt x="62" y="337"/>
                </a:cubicBezTo>
                <a:cubicBezTo>
                  <a:pt x="64" y="342"/>
                  <a:pt x="57" y="346"/>
                  <a:pt x="53" y="344"/>
                </a:cubicBezTo>
                <a:cubicBezTo>
                  <a:pt x="41" y="337"/>
                  <a:pt x="34" y="346"/>
                  <a:pt x="24" y="351"/>
                </a:cubicBezTo>
                <a:cubicBezTo>
                  <a:pt x="19" y="353"/>
                  <a:pt x="13" y="356"/>
                  <a:pt x="7" y="358"/>
                </a:cubicBezTo>
                <a:cubicBezTo>
                  <a:pt x="3" y="359"/>
                  <a:pt x="0" y="358"/>
                  <a:pt x="1" y="352"/>
                </a:cubicBezTo>
                <a:cubicBezTo>
                  <a:pt x="3" y="346"/>
                  <a:pt x="3" y="340"/>
                  <a:pt x="5" y="335"/>
                </a:cubicBezTo>
                <a:cubicBezTo>
                  <a:pt x="6" y="331"/>
                  <a:pt x="9" y="328"/>
                  <a:pt x="12" y="326"/>
                </a:cubicBezTo>
                <a:cubicBezTo>
                  <a:pt x="22" y="320"/>
                  <a:pt x="33" y="314"/>
                  <a:pt x="35" y="300"/>
                </a:cubicBezTo>
                <a:cubicBezTo>
                  <a:pt x="36" y="295"/>
                  <a:pt x="43" y="291"/>
                  <a:pt x="48" y="288"/>
                </a:cubicBezTo>
                <a:cubicBezTo>
                  <a:pt x="55" y="283"/>
                  <a:pt x="58" y="278"/>
                  <a:pt x="54" y="269"/>
                </a:cubicBezTo>
                <a:cubicBezTo>
                  <a:pt x="51" y="261"/>
                  <a:pt x="49" y="252"/>
                  <a:pt x="53" y="243"/>
                </a:cubicBezTo>
                <a:cubicBezTo>
                  <a:pt x="55" y="238"/>
                  <a:pt x="53" y="235"/>
                  <a:pt x="49" y="233"/>
                </a:cubicBezTo>
                <a:cubicBezTo>
                  <a:pt x="46" y="231"/>
                  <a:pt x="43" y="227"/>
                  <a:pt x="43" y="224"/>
                </a:cubicBezTo>
                <a:cubicBezTo>
                  <a:pt x="44" y="215"/>
                  <a:pt x="41" y="208"/>
                  <a:pt x="33" y="202"/>
                </a:cubicBezTo>
                <a:cubicBezTo>
                  <a:pt x="31" y="201"/>
                  <a:pt x="29" y="196"/>
                  <a:pt x="30" y="195"/>
                </a:cubicBezTo>
                <a:cubicBezTo>
                  <a:pt x="31" y="193"/>
                  <a:pt x="35" y="191"/>
                  <a:pt x="37" y="191"/>
                </a:cubicBezTo>
                <a:cubicBezTo>
                  <a:pt x="46" y="189"/>
                  <a:pt x="52" y="194"/>
                  <a:pt x="55" y="202"/>
                </a:cubicBezTo>
                <a:cubicBezTo>
                  <a:pt x="57" y="207"/>
                  <a:pt x="59" y="209"/>
                  <a:pt x="65" y="207"/>
                </a:cubicBezTo>
                <a:cubicBezTo>
                  <a:pt x="67" y="205"/>
                  <a:pt x="73" y="207"/>
                  <a:pt x="75" y="209"/>
                </a:cubicBezTo>
                <a:cubicBezTo>
                  <a:pt x="80" y="213"/>
                  <a:pt x="85" y="212"/>
                  <a:pt x="89" y="209"/>
                </a:cubicBezTo>
                <a:cubicBezTo>
                  <a:pt x="92" y="207"/>
                  <a:pt x="93" y="202"/>
                  <a:pt x="93" y="198"/>
                </a:cubicBezTo>
                <a:cubicBezTo>
                  <a:pt x="94" y="192"/>
                  <a:pt x="89" y="191"/>
                  <a:pt x="84" y="190"/>
                </a:cubicBezTo>
                <a:cubicBezTo>
                  <a:pt x="72" y="186"/>
                  <a:pt x="72" y="186"/>
                  <a:pt x="73" y="173"/>
                </a:cubicBezTo>
                <a:cubicBezTo>
                  <a:pt x="73" y="166"/>
                  <a:pt x="73" y="158"/>
                  <a:pt x="68" y="151"/>
                </a:cubicBezTo>
                <a:cubicBezTo>
                  <a:pt x="62" y="144"/>
                  <a:pt x="67" y="132"/>
                  <a:pt x="75" y="126"/>
                </a:cubicBezTo>
                <a:cubicBezTo>
                  <a:pt x="80" y="123"/>
                  <a:pt x="84" y="118"/>
                  <a:pt x="87" y="113"/>
                </a:cubicBezTo>
                <a:cubicBezTo>
                  <a:pt x="92" y="104"/>
                  <a:pt x="103" y="98"/>
                  <a:pt x="111" y="104"/>
                </a:cubicBezTo>
                <a:cubicBezTo>
                  <a:pt x="121" y="111"/>
                  <a:pt x="126" y="106"/>
                  <a:pt x="132" y="99"/>
                </a:cubicBezTo>
                <a:cubicBezTo>
                  <a:pt x="138" y="92"/>
                  <a:pt x="145" y="86"/>
                  <a:pt x="138" y="76"/>
                </a:cubicBezTo>
                <a:cubicBezTo>
                  <a:pt x="137" y="74"/>
                  <a:pt x="140" y="69"/>
                  <a:pt x="143" y="67"/>
                </a:cubicBezTo>
                <a:cubicBezTo>
                  <a:pt x="151" y="61"/>
                  <a:pt x="154" y="53"/>
                  <a:pt x="153" y="43"/>
                </a:cubicBezTo>
                <a:cubicBezTo>
                  <a:pt x="153" y="36"/>
                  <a:pt x="156" y="30"/>
                  <a:pt x="161" y="26"/>
                </a:cubicBezTo>
                <a:cubicBezTo>
                  <a:pt x="166" y="23"/>
                  <a:pt x="170" y="19"/>
                  <a:pt x="174" y="16"/>
                </a:cubicBezTo>
                <a:cubicBezTo>
                  <a:pt x="180" y="11"/>
                  <a:pt x="185" y="8"/>
                  <a:pt x="195" y="12"/>
                </a:cubicBezTo>
                <a:cubicBezTo>
                  <a:pt x="202" y="16"/>
                  <a:pt x="212" y="18"/>
                  <a:pt x="222" y="11"/>
                </a:cubicBezTo>
                <a:cubicBezTo>
                  <a:pt x="230" y="5"/>
                  <a:pt x="243" y="4"/>
                  <a:pt x="254" y="3"/>
                </a:cubicBezTo>
                <a:cubicBezTo>
                  <a:pt x="260" y="3"/>
                  <a:pt x="259" y="10"/>
                  <a:pt x="257" y="14"/>
                </a:cubicBezTo>
                <a:cubicBezTo>
                  <a:pt x="252" y="23"/>
                  <a:pt x="257" y="28"/>
                  <a:pt x="264" y="32"/>
                </a:cubicBezTo>
                <a:cubicBezTo>
                  <a:pt x="270" y="36"/>
                  <a:pt x="274" y="37"/>
                  <a:pt x="279" y="32"/>
                </a:cubicBezTo>
                <a:cubicBezTo>
                  <a:pt x="283" y="28"/>
                  <a:pt x="286" y="27"/>
                  <a:pt x="291" y="31"/>
                </a:cubicBezTo>
                <a:cubicBezTo>
                  <a:pt x="292" y="33"/>
                  <a:pt x="296" y="33"/>
                  <a:pt x="299" y="33"/>
                </a:cubicBezTo>
                <a:cubicBezTo>
                  <a:pt x="303" y="34"/>
                  <a:pt x="307" y="33"/>
                  <a:pt x="310" y="35"/>
                </a:cubicBezTo>
                <a:cubicBezTo>
                  <a:pt x="319" y="38"/>
                  <a:pt x="327" y="34"/>
                  <a:pt x="328" y="24"/>
                </a:cubicBezTo>
                <a:cubicBezTo>
                  <a:pt x="329" y="19"/>
                  <a:pt x="328" y="12"/>
                  <a:pt x="328" y="6"/>
                </a:cubicBezTo>
                <a:cubicBezTo>
                  <a:pt x="328" y="0"/>
                  <a:pt x="331" y="0"/>
                  <a:pt x="336" y="2"/>
                </a:cubicBezTo>
                <a:cubicBezTo>
                  <a:pt x="337" y="3"/>
                  <a:pt x="338" y="3"/>
                  <a:pt x="339" y="4"/>
                </a:cubicBezTo>
                <a:cubicBezTo>
                  <a:pt x="350" y="14"/>
                  <a:pt x="366" y="15"/>
                  <a:pt x="379" y="22"/>
                </a:cubicBezTo>
                <a:cubicBezTo>
                  <a:pt x="385" y="26"/>
                  <a:pt x="394" y="27"/>
                  <a:pt x="395" y="37"/>
                </a:cubicBezTo>
                <a:cubicBezTo>
                  <a:pt x="395" y="38"/>
                  <a:pt x="398" y="41"/>
                  <a:pt x="399" y="40"/>
                </a:cubicBezTo>
                <a:cubicBezTo>
                  <a:pt x="411" y="37"/>
                  <a:pt x="414" y="50"/>
                  <a:pt x="423" y="53"/>
                </a:cubicBezTo>
                <a:cubicBezTo>
                  <a:pt x="429" y="54"/>
                  <a:pt x="428" y="61"/>
                  <a:pt x="423" y="64"/>
                </a:cubicBezTo>
                <a:cubicBezTo>
                  <a:pt x="421" y="66"/>
                  <a:pt x="417" y="67"/>
                  <a:pt x="414" y="68"/>
                </a:cubicBezTo>
                <a:cubicBezTo>
                  <a:pt x="401" y="72"/>
                  <a:pt x="394" y="82"/>
                  <a:pt x="388" y="93"/>
                </a:cubicBezTo>
                <a:cubicBezTo>
                  <a:pt x="384" y="100"/>
                  <a:pt x="386" y="108"/>
                  <a:pt x="390" y="115"/>
                </a:cubicBezTo>
                <a:cubicBezTo>
                  <a:pt x="392" y="119"/>
                  <a:pt x="394" y="123"/>
                  <a:pt x="396" y="127"/>
                </a:cubicBezTo>
                <a:cubicBezTo>
                  <a:pt x="397" y="129"/>
                  <a:pt x="398" y="133"/>
                  <a:pt x="397" y="134"/>
                </a:cubicBezTo>
                <a:cubicBezTo>
                  <a:pt x="387" y="146"/>
                  <a:pt x="384" y="161"/>
                  <a:pt x="371" y="170"/>
                </a:cubicBezTo>
                <a:cubicBezTo>
                  <a:pt x="367" y="173"/>
                  <a:pt x="363" y="175"/>
                  <a:pt x="361" y="179"/>
                </a:cubicBezTo>
                <a:cubicBezTo>
                  <a:pt x="355" y="191"/>
                  <a:pt x="348" y="199"/>
                  <a:pt x="333" y="199"/>
                </a:cubicBezTo>
                <a:cubicBezTo>
                  <a:pt x="327" y="199"/>
                  <a:pt x="321" y="203"/>
                  <a:pt x="315" y="206"/>
                </a:cubicBezTo>
                <a:cubicBezTo>
                  <a:pt x="309" y="209"/>
                  <a:pt x="303" y="212"/>
                  <a:pt x="298" y="203"/>
                </a:cubicBezTo>
                <a:cubicBezTo>
                  <a:pt x="294" y="197"/>
                  <a:pt x="284" y="197"/>
                  <a:pt x="279" y="201"/>
                </a:cubicBezTo>
                <a:cubicBezTo>
                  <a:pt x="272" y="206"/>
                  <a:pt x="271" y="214"/>
                  <a:pt x="275" y="221"/>
                </a:cubicBezTo>
                <a:cubicBezTo>
                  <a:pt x="276" y="223"/>
                  <a:pt x="276" y="227"/>
                  <a:pt x="276" y="227"/>
                </a:cubicBezTo>
                <a:cubicBezTo>
                  <a:pt x="263" y="231"/>
                  <a:pt x="258" y="243"/>
                  <a:pt x="249" y="250"/>
                </a:cubicBezTo>
                <a:cubicBezTo>
                  <a:pt x="247" y="252"/>
                  <a:pt x="244" y="255"/>
                  <a:pt x="241" y="255"/>
                </a:cubicBezTo>
                <a:cubicBezTo>
                  <a:pt x="229" y="254"/>
                  <a:pt x="221" y="261"/>
                  <a:pt x="215" y="270"/>
                </a:cubicBezTo>
                <a:cubicBezTo>
                  <a:pt x="209" y="280"/>
                  <a:pt x="202" y="285"/>
                  <a:pt x="191" y="284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3C7BAB3D-7AD5-4848-9DF6-008D6CE0CCF8}"/>
              </a:ext>
            </a:extLst>
          </p:cNvPr>
          <p:cNvSpPr>
            <a:spLocks/>
          </p:cNvSpPr>
          <p:nvPr userDrawn="1"/>
        </p:nvSpPr>
        <p:spPr bwMode="auto">
          <a:xfrm>
            <a:off x="8005763" y="5195888"/>
            <a:ext cx="744538" cy="981075"/>
          </a:xfrm>
          <a:custGeom>
            <a:avLst/>
            <a:gdLst>
              <a:gd name="T0" fmla="*/ 145 w 314"/>
              <a:gd name="T1" fmla="*/ 55 h 414"/>
              <a:gd name="T2" fmla="*/ 222 w 314"/>
              <a:gd name="T3" fmla="*/ 30 h 414"/>
              <a:gd name="T4" fmla="*/ 252 w 314"/>
              <a:gd name="T5" fmla="*/ 18 h 414"/>
              <a:gd name="T6" fmla="*/ 288 w 314"/>
              <a:gd name="T7" fmla="*/ 5 h 414"/>
              <a:gd name="T8" fmla="*/ 309 w 314"/>
              <a:gd name="T9" fmla="*/ 22 h 414"/>
              <a:gd name="T10" fmla="*/ 295 w 314"/>
              <a:gd name="T11" fmla="*/ 77 h 414"/>
              <a:gd name="T12" fmla="*/ 260 w 314"/>
              <a:gd name="T13" fmla="*/ 112 h 414"/>
              <a:gd name="T14" fmla="*/ 256 w 314"/>
              <a:gd name="T15" fmla="*/ 135 h 414"/>
              <a:gd name="T16" fmla="*/ 270 w 314"/>
              <a:gd name="T17" fmla="*/ 180 h 414"/>
              <a:gd name="T18" fmla="*/ 266 w 314"/>
              <a:gd name="T19" fmla="*/ 208 h 414"/>
              <a:gd name="T20" fmla="*/ 269 w 314"/>
              <a:gd name="T21" fmla="*/ 238 h 414"/>
              <a:gd name="T22" fmla="*/ 245 w 314"/>
              <a:gd name="T23" fmla="*/ 243 h 414"/>
              <a:gd name="T24" fmla="*/ 215 w 314"/>
              <a:gd name="T25" fmla="*/ 279 h 414"/>
              <a:gd name="T26" fmla="*/ 199 w 314"/>
              <a:gd name="T27" fmla="*/ 316 h 414"/>
              <a:gd name="T28" fmla="*/ 160 w 314"/>
              <a:gd name="T29" fmla="*/ 340 h 414"/>
              <a:gd name="T30" fmla="*/ 119 w 314"/>
              <a:gd name="T31" fmla="*/ 399 h 414"/>
              <a:gd name="T32" fmla="*/ 69 w 314"/>
              <a:gd name="T33" fmla="*/ 411 h 414"/>
              <a:gd name="T34" fmla="*/ 64 w 314"/>
              <a:gd name="T35" fmla="*/ 373 h 414"/>
              <a:gd name="T36" fmla="*/ 65 w 314"/>
              <a:gd name="T37" fmla="*/ 352 h 414"/>
              <a:gd name="T38" fmla="*/ 80 w 314"/>
              <a:gd name="T39" fmla="*/ 312 h 414"/>
              <a:gd name="T40" fmla="*/ 68 w 314"/>
              <a:gd name="T41" fmla="*/ 286 h 414"/>
              <a:gd name="T42" fmla="*/ 72 w 314"/>
              <a:gd name="T43" fmla="*/ 249 h 414"/>
              <a:gd name="T44" fmla="*/ 45 w 314"/>
              <a:gd name="T45" fmla="*/ 243 h 414"/>
              <a:gd name="T46" fmla="*/ 43 w 314"/>
              <a:gd name="T47" fmla="*/ 211 h 414"/>
              <a:gd name="T48" fmla="*/ 31 w 314"/>
              <a:gd name="T49" fmla="*/ 178 h 414"/>
              <a:gd name="T50" fmla="*/ 17 w 314"/>
              <a:gd name="T51" fmla="*/ 163 h 414"/>
              <a:gd name="T52" fmla="*/ 8 w 314"/>
              <a:gd name="T53" fmla="*/ 151 h 414"/>
              <a:gd name="T54" fmla="*/ 14 w 314"/>
              <a:gd name="T55" fmla="*/ 137 h 414"/>
              <a:gd name="T56" fmla="*/ 47 w 314"/>
              <a:gd name="T57" fmla="*/ 132 h 414"/>
              <a:gd name="T58" fmla="*/ 76 w 314"/>
              <a:gd name="T59" fmla="*/ 129 h 414"/>
              <a:gd name="T60" fmla="*/ 104 w 314"/>
              <a:gd name="T61" fmla="*/ 116 h 414"/>
              <a:gd name="T62" fmla="*/ 106 w 314"/>
              <a:gd name="T63" fmla="*/ 93 h 414"/>
              <a:gd name="T64" fmla="*/ 108 w 314"/>
              <a:gd name="T65" fmla="*/ 72 h 414"/>
              <a:gd name="T66" fmla="*/ 128 w 314"/>
              <a:gd name="T67" fmla="*/ 45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14" h="414">
                <a:moveTo>
                  <a:pt x="128" y="45"/>
                </a:moveTo>
                <a:cubicBezTo>
                  <a:pt x="133" y="48"/>
                  <a:pt x="140" y="51"/>
                  <a:pt x="145" y="55"/>
                </a:cubicBezTo>
                <a:cubicBezTo>
                  <a:pt x="159" y="67"/>
                  <a:pt x="169" y="68"/>
                  <a:pt x="178" y="52"/>
                </a:cubicBezTo>
                <a:cubicBezTo>
                  <a:pt x="189" y="34"/>
                  <a:pt x="205" y="32"/>
                  <a:pt x="222" y="30"/>
                </a:cubicBezTo>
                <a:cubicBezTo>
                  <a:pt x="230" y="29"/>
                  <a:pt x="237" y="29"/>
                  <a:pt x="241" y="21"/>
                </a:cubicBezTo>
                <a:cubicBezTo>
                  <a:pt x="243" y="16"/>
                  <a:pt x="248" y="15"/>
                  <a:pt x="252" y="18"/>
                </a:cubicBezTo>
                <a:cubicBezTo>
                  <a:pt x="263" y="24"/>
                  <a:pt x="271" y="20"/>
                  <a:pt x="278" y="13"/>
                </a:cubicBezTo>
                <a:cubicBezTo>
                  <a:pt x="281" y="10"/>
                  <a:pt x="285" y="8"/>
                  <a:pt x="288" y="5"/>
                </a:cubicBezTo>
                <a:cubicBezTo>
                  <a:pt x="294" y="0"/>
                  <a:pt x="301" y="1"/>
                  <a:pt x="307" y="5"/>
                </a:cubicBezTo>
                <a:cubicBezTo>
                  <a:pt x="314" y="9"/>
                  <a:pt x="311" y="16"/>
                  <a:pt x="309" y="22"/>
                </a:cubicBezTo>
                <a:cubicBezTo>
                  <a:pt x="306" y="28"/>
                  <a:pt x="305" y="35"/>
                  <a:pt x="305" y="41"/>
                </a:cubicBezTo>
                <a:cubicBezTo>
                  <a:pt x="305" y="54"/>
                  <a:pt x="303" y="66"/>
                  <a:pt x="295" y="77"/>
                </a:cubicBezTo>
                <a:cubicBezTo>
                  <a:pt x="290" y="84"/>
                  <a:pt x="286" y="90"/>
                  <a:pt x="282" y="97"/>
                </a:cubicBezTo>
                <a:cubicBezTo>
                  <a:pt x="277" y="106"/>
                  <a:pt x="272" y="113"/>
                  <a:pt x="260" y="112"/>
                </a:cubicBezTo>
                <a:cubicBezTo>
                  <a:pt x="253" y="111"/>
                  <a:pt x="250" y="116"/>
                  <a:pt x="251" y="124"/>
                </a:cubicBezTo>
                <a:cubicBezTo>
                  <a:pt x="252" y="128"/>
                  <a:pt x="254" y="132"/>
                  <a:pt x="256" y="135"/>
                </a:cubicBezTo>
                <a:cubicBezTo>
                  <a:pt x="268" y="144"/>
                  <a:pt x="268" y="157"/>
                  <a:pt x="269" y="170"/>
                </a:cubicBezTo>
                <a:cubicBezTo>
                  <a:pt x="269" y="173"/>
                  <a:pt x="269" y="177"/>
                  <a:pt x="270" y="180"/>
                </a:cubicBezTo>
                <a:cubicBezTo>
                  <a:pt x="271" y="185"/>
                  <a:pt x="271" y="189"/>
                  <a:pt x="265" y="192"/>
                </a:cubicBezTo>
                <a:cubicBezTo>
                  <a:pt x="259" y="198"/>
                  <a:pt x="260" y="202"/>
                  <a:pt x="266" y="208"/>
                </a:cubicBezTo>
                <a:cubicBezTo>
                  <a:pt x="268" y="209"/>
                  <a:pt x="269" y="212"/>
                  <a:pt x="269" y="214"/>
                </a:cubicBezTo>
                <a:cubicBezTo>
                  <a:pt x="269" y="222"/>
                  <a:pt x="269" y="230"/>
                  <a:pt x="269" y="238"/>
                </a:cubicBezTo>
                <a:cubicBezTo>
                  <a:pt x="269" y="244"/>
                  <a:pt x="266" y="246"/>
                  <a:pt x="260" y="245"/>
                </a:cubicBezTo>
                <a:cubicBezTo>
                  <a:pt x="255" y="244"/>
                  <a:pt x="250" y="243"/>
                  <a:pt x="245" y="243"/>
                </a:cubicBezTo>
                <a:cubicBezTo>
                  <a:pt x="231" y="243"/>
                  <a:pt x="222" y="251"/>
                  <a:pt x="221" y="265"/>
                </a:cubicBezTo>
                <a:cubicBezTo>
                  <a:pt x="221" y="270"/>
                  <a:pt x="218" y="275"/>
                  <a:pt x="215" y="279"/>
                </a:cubicBezTo>
                <a:cubicBezTo>
                  <a:pt x="211" y="285"/>
                  <a:pt x="204" y="290"/>
                  <a:pt x="201" y="296"/>
                </a:cubicBezTo>
                <a:cubicBezTo>
                  <a:pt x="198" y="302"/>
                  <a:pt x="198" y="310"/>
                  <a:pt x="199" y="316"/>
                </a:cubicBezTo>
                <a:cubicBezTo>
                  <a:pt x="201" y="322"/>
                  <a:pt x="199" y="325"/>
                  <a:pt x="194" y="327"/>
                </a:cubicBezTo>
                <a:cubicBezTo>
                  <a:pt x="182" y="331"/>
                  <a:pt x="171" y="335"/>
                  <a:pt x="160" y="340"/>
                </a:cubicBezTo>
                <a:cubicBezTo>
                  <a:pt x="143" y="346"/>
                  <a:pt x="132" y="361"/>
                  <a:pt x="131" y="379"/>
                </a:cubicBezTo>
                <a:cubicBezTo>
                  <a:pt x="131" y="388"/>
                  <a:pt x="128" y="395"/>
                  <a:pt x="119" y="399"/>
                </a:cubicBezTo>
                <a:cubicBezTo>
                  <a:pt x="108" y="403"/>
                  <a:pt x="98" y="409"/>
                  <a:pt x="87" y="412"/>
                </a:cubicBezTo>
                <a:cubicBezTo>
                  <a:pt x="82" y="414"/>
                  <a:pt x="74" y="413"/>
                  <a:pt x="69" y="411"/>
                </a:cubicBezTo>
                <a:cubicBezTo>
                  <a:pt x="57" y="408"/>
                  <a:pt x="56" y="402"/>
                  <a:pt x="63" y="392"/>
                </a:cubicBezTo>
                <a:cubicBezTo>
                  <a:pt x="68" y="386"/>
                  <a:pt x="72" y="380"/>
                  <a:pt x="64" y="373"/>
                </a:cubicBezTo>
                <a:cubicBezTo>
                  <a:pt x="63" y="373"/>
                  <a:pt x="62" y="372"/>
                  <a:pt x="63" y="371"/>
                </a:cubicBezTo>
                <a:cubicBezTo>
                  <a:pt x="63" y="365"/>
                  <a:pt x="67" y="357"/>
                  <a:pt x="65" y="352"/>
                </a:cubicBezTo>
                <a:cubicBezTo>
                  <a:pt x="61" y="344"/>
                  <a:pt x="64" y="339"/>
                  <a:pt x="68" y="334"/>
                </a:cubicBezTo>
                <a:cubicBezTo>
                  <a:pt x="72" y="326"/>
                  <a:pt x="76" y="319"/>
                  <a:pt x="80" y="312"/>
                </a:cubicBezTo>
                <a:cubicBezTo>
                  <a:pt x="85" y="304"/>
                  <a:pt x="83" y="297"/>
                  <a:pt x="74" y="296"/>
                </a:cubicBezTo>
                <a:cubicBezTo>
                  <a:pt x="66" y="295"/>
                  <a:pt x="67" y="291"/>
                  <a:pt x="68" y="286"/>
                </a:cubicBezTo>
                <a:cubicBezTo>
                  <a:pt x="69" y="278"/>
                  <a:pt x="71" y="270"/>
                  <a:pt x="72" y="262"/>
                </a:cubicBezTo>
                <a:cubicBezTo>
                  <a:pt x="72" y="258"/>
                  <a:pt x="72" y="253"/>
                  <a:pt x="72" y="249"/>
                </a:cubicBezTo>
                <a:cubicBezTo>
                  <a:pt x="68" y="233"/>
                  <a:pt x="68" y="233"/>
                  <a:pt x="54" y="241"/>
                </a:cubicBezTo>
                <a:cubicBezTo>
                  <a:pt x="51" y="242"/>
                  <a:pt x="45" y="244"/>
                  <a:pt x="45" y="243"/>
                </a:cubicBezTo>
                <a:cubicBezTo>
                  <a:pt x="42" y="238"/>
                  <a:pt x="39" y="232"/>
                  <a:pt x="39" y="227"/>
                </a:cubicBezTo>
                <a:cubicBezTo>
                  <a:pt x="38" y="221"/>
                  <a:pt x="41" y="216"/>
                  <a:pt x="43" y="211"/>
                </a:cubicBezTo>
                <a:cubicBezTo>
                  <a:pt x="45" y="205"/>
                  <a:pt x="44" y="200"/>
                  <a:pt x="39" y="196"/>
                </a:cubicBezTo>
                <a:cubicBezTo>
                  <a:pt x="33" y="191"/>
                  <a:pt x="31" y="185"/>
                  <a:pt x="31" y="178"/>
                </a:cubicBezTo>
                <a:cubicBezTo>
                  <a:pt x="32" y="171"/>
                  <a:pt x="31" y="166"/>
                  <a:pt x="21" y="169"/>
                </a:cubicBezTo>
                <a:cubicBezTo>
                  <a:pt x="15" y="171"/>
                  <a:pt x="13" y="167"/>
                  <a:pt x="17" y="163"/>
                </a:cubicBezTo>
                <a:cubicBezTo>
                  <a:pt x="21" y="156"/>
                  <a:pt x="17" y="154"/>
                  <a:pt x="12" y="152"/>
                </a:cubicBezTo>
                <a:cubicBezTo>
                  <a:pt x="11" y="151"/>
                  <a:pt x="9" y="152"/>
                  <a:pt x="8" y="151"/>
                </a:cubicBezTo>
                <a:cubicBezTo>
                  <a:pt x="5" y="149"/>
                  <a:pt x="0" y="146"/>
                  <a:pt x="0" y="144"/>
                </a:cubicBezTo>
                <a:cubicBezTo>
                  <a:pt x="0" y="139"/>
                  <a:pt x="8" y="135"/>
                  <a:pt x="14" y="137"/>
                </a:cubicBezTo>
                <a:cubicBezTo>
                  <a:pt x="18" y="138"/>
                  <a:pt x="22" y="140"/>
                  <a:pt x="26" y="140"/>
                </a:cubicBezTo>
                <a:cubicBezTo>
                  <a:pt x="34" y="141"/>
                  <a:pt x="42" y="141"/>
                  <a:pt x="47" y="132"/>
                </a:cubicBezTo>
                <a:cubicBezTo>
                  <a:pt x="49" y="130"/>
                  <a:pt x="53" y="129"/>
                  <a:pt x="57" y="129"/>
                </a:cubicBezTo>
                <a:cubicBezTo>
                  <a:pt x="63" y="128"/>
                  <a:pt x="70" y="130"/>
                  <a:pt x="76" y="129"/>
                </a:cubicBezTo>
                <a:cubicBezTo>
                  <a:pt x="81" y="129"/>
                  <a:pt x="86" y="126"/>
                  <a:pt x="91" y="124"/>
                </a:cubicBezTo>
                <a:cubicBezTo>
                  <a:pt x="95" y="122"/>
                  <a:pt x="100" y="119"/>
                  <a:pt x="104" y="116"/>
                </a:cubicBezTo>
                <a:cubicBezTo>
                  <a:pt x="107" y="114"/>
                  <a:pt x="111" y="112"/>
                  <a:pt x="113" y="109"/>
                </a:cubicBezTo>
                <a:cubicBezTo>
                  <a:pt x="120" y="98"/>
                  <a:pt x="119" y="96"/>
                  <a:pt x="106" y="93"/>
                </a:cubicBezTo>
                <a:cubicBezTo>
                  <a:pt x="98" y="91"/>
                  <a:pt x="98" y="91"/>
                  <a:pt x="104" y="84"/>
                </a:cubicBezTo>
                <a:cubicBezTo>
                  <a:pt x="107" y="80"/>
                  <a:pt x="110" y="77"/>
                  <a:pt x="108" y="72"/>
                </a:cubicBezTo>
                <a:cubicBezTo>
                  <a:pt x="106" y="68"/>
                  <a:pt x="102" y="63"/>
                  <a:pt x="107" y="58"/>
                </a:cubicBezTo>
                <a:cubicBezTo>
                  <a:pt x="113" y="53"/>
                  <a:pt x="117" y="45"/>
                  <a:pt x="128" y="45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2E24F0AE-E62F-4334-A3C1-00025A2D542A}"/>
              </a:ext>
            </a:extLst>
          </p:cNvPr>
          <p:cNvSpPr>
            <a:spLocks/>
          </p:cNvSpPr>
          <p:nvPr userDrawn="1"/>
        </p:nvSpPr>
        <p:spPr bwMode="auto">
          <a:xfrm>
            <a:off x="8761413" y="3259138"/>
            <a:ext cx="690563" cy="1141413"/>
          </a:xfrm>
          <a:custGeom>
            <a:avLst/>
            <a:gdLst>
              <a:gd name="T0" fmla="*/ 105 w 291"/>
              <a:gd name="T1" fmla="*/ 115 h 482"/>
              <a:gd name="T2" fmla="*/ 130 w 291"/>
              <a:gd name="T3" fmla="*/ 82 h 482"/>
              <a:gd name="T4" fmla="*/ 133 w 291"/>
              <a:gd name="T5" fmla="*/ 56 h 482"/>
              <a:gd name="T6" fmla="*/ 104 w 291"/>
              <a:gd name="T7" fmla="*/ 43 h 482"/>
              <a:gd name="T8" fmla="*/ 105 w 291"/>
              <a:gd name="T9" fmla="*/ 23 h 482"/>
              <a:gd name="T10" fmla="*/ 154 w 291"/>
              <a:gd name="T11" fmla="*/ 29 h 482"/>
              <a:gd name="T12" fmla="*/ 192 w 291"/>
              <a:gd name="T13" fmla="*/ 17 h 482"/>
              <a:gd name="T14" fmla="*/ 228 w 291"/>
              <a:gd name="T15" fmla="*/ 7 h 482"/>
              <a:gd name="T16" fmla="*/ 247 w 291"/>
              <a:gd name="T17" fmla="*/ 39 h 482"/>
              <a:gd name="T18" fmla="*/ 285 w 291"/>
              <a:gd name="T19" fmla="*/ 89 h 482"/>
              <a:gd name="T20" fmla="*/ 271 w 291"/>
              <a:gd name="T21" fmla="*/ 111 h 482"/>
              <a:gd name="T22" fmla="*/ 261 w 291"/>
              <a:gd name="T23" fmla="*/ 131 h 482"/>
              <a:gd name="T24" fmla="*/ 232 w 291"/>
              <a:gd name="T25" fmla="*/ 171 h 482"/>
              <a:gd name="T26" fmla="*/ 219 w 291"/>
              <a:gd name="T27" fmla="*/ 203 h 482"/>
              <a:gd name="T28" fmla="*/ 202 w 291"/>
              <a:gd name="T29" fmla="*/ 224 h 482"/>
              <a:gd name="T30" fmla="*/ 167 w 291"/>
              <a:gd name="T31" fmla="*/ 233 h 482"/>
              <a:gd name="T32" fmla="*/ 148 w 291"/>
              <a:gd name="T33" fmla="*/ 252 h 482"/>
              <a:gd name="T34" fmla="*/ 152 w 291"/>
              <a:gd name="T35" fmla="*/ 300 h 482"/>
              <a:gd name="T36" fmla="*/ 169 w 291"/>
              <a:gd name="T37" fmla="*/ 318 h 482"/>
              <a:gd name="T38" fmla="*/ 164 w 291"/>
              <a:gd name="T39" fmla="*/ 327 h 482"/>
              <a:gd name="T40" fmla="*/ 142 w 291"/>
              <a:gd name="T41" fmla="*/ 317 h 482"/>
              <a:gd name="T42" fmla="*/ 109 w 291"/>
              <a:gd name="T43" fmla="*/ 316 h 482"/>
              <a:gd name="T44" fmla="*/ 122 w 291"/>
              <a:gd name="T45" fmla="*/ 349 h 482"/>
              <a:gd name="T46" fmla="*/ 131 w 291"/>
              <a:gd name="T47" fmla="*/ 375 h 482"/>
              <a:gd name="T48" fmla="*/ 128 w 291"/>
              <a:gd name="T49" fmla="*/ 408 h 482"/>
              <a:gd name="T50" fmla="*/ 96 w 291"/>
              <a:gd name="T51" fmla="*/ 443 h 482"/>
              <a:gd name="T52" fmla="*/ 84 w 291"/>
              <a:gd name="T53" fmla="*/ 463 h 482"/>
              <a:gd name="T54" fmla="*/ 50 w 291"/>
              <a:gd name="T55" fmla="*/ 468 h 482"/>
              <a:gd name="T56" fmla="*/ 31 w 291"/>
              <a:gd name="T57" fmla="*/ 443 h 482"/>
              <a:gd name="T58" fmla="*/ 1 w 291"/>
              <a:gd name="T59" fmla="*/ 413 h 482"/>
              <a:gd name="T60" fmla="*/ 16 w 291"/>
              <a:gd name="T61" fmla="*/ 368 h 482"/>
              <a:gd name="T62" fmla="*/ 36 w 291"/>
              <a:gd name="T63" fmla="*/ 367 h 482"/>
              <a:gd name="T64" fmla="*/ 17 w 291"/>
              <a:gd name="T65" fmla="*/ 331 h 482"/>
              <a:gd name="T66" fmla="*/ 16 w 291"/>
              <a:gd name="T67" fmla="*/ 306 h 482"/>
              <a:gd name="T68" fmla="*/ 24 w 291"/>
              <a:gd name="T69" fmla="*/ 273 h 482"/>
              <a:gd name="T70" fmla="*/ 15 w 291"/>
              <a:gd name="T71" fmla="*/ 238 h 482"/>
              <a:gd name="T72" fmla="*/ 36 w 291"/>
              <a:gd name="T73" fmla="*/ 192 h 482"/>
              <a:gd name="T74" fmla="*/ 44 w 291"/>
              <a:gd name="T75" fmla="*/ 171 h 482"/>
              <a:gd name="T76" fmla="*/ 65 w 291"/>
              <a:gd name="T77" fmla="*/ 133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91" h="482">
                <a:moveTo>
                  <a:pt x="74" y="130"/>
                </a:moveTo>
                <a:cubicBezTo>
                  <a:pt x="88" y="132"/>
                  <a:pt x="98" y="124"/>
                  <a:pt x="105" y="115"/>
                </a:cubicBezTo>
                <a:cubicBezTo>
                  <a:pt x="112" y="106"/>
                  <a:pt x="117" y="96"/>
                  <a:pt x="123" y="87"/>
                </a:cubicBezTo>
                <a:cubicBezTo>
                  <a:pt x="125" y="85"/>
                  <a:pt x="128" y="82"/>
                  <a:pt x="130" y="82"/>
                </a:cubicBezTo>
                <a:cubicBezTo>
                  <a:pt x="136" y="80"/>
                  <a:pt x="138" y="76"/>
                  <a:pt x="139" y="71"/>
                </a:cubicBezTo>
                <a:cubicBezTo>
                  <a:pt x="142" y="63"/>
                  <a:pt x="141" y="58"/>
                  <a:pt x="133" y="56"/>
                </a:cubicBezTo>
                <a:cubicBezTo>
                  <a:pt x="130" y="56"/>
                  <a:pt x="126" y="55"/>
                  <a:pt x="125" y="53"/>
                </a:cubicBezTo>
                <a:cubicBezTo>
                  <a:pt x="121" y="43"/>
                  <a:pt x="114" y="40"/>
                  <a:pt x="104" y="43"/>
                </a:cubicBezTo>
                <a:cubicBezTo>
                  <a:pt x="104" y="43"/>
                  <a:pt x="101" y="41"/>
                  <a:pt x="102" y="40"/>
                </a:cubicBezTo>
                <a:cubicBezTo>
                  <a:pt x="103" y="34"/>
                  <a:pt x="104" y="29"/>
                  <a:pt x="105" y="23"/>
                </a:cubicBezTo>
                <a:cubicBezTo>
                  <a:pt x="114" y="32"/>
                  <a:pt x="123" y="20"/>
                  <a:pt x="132" y="24"/>
                </a:cubicBezTo>
                <a:cubicBezTo>
                  <a:pt x="139" y="27"/>
                  <a:pt x="147" y="27"/>
                  <a:pt x="154" y="29"/>
                </a:cubicBezTo>
                <a:cubicBezTo>
                  <a:pt x="162" y="31"/>
                  <a:pt x="167" y="29"/>
                  <a:pt x="172" y="23"/>
                </a:cubicBezTo>
                <a:cubicBezTo>
                  <a:pt x="177" y="17"/>
                  <a:pt x="183" y="14"/>
                  <a:pt x="192" y="17"/>
                </a:cubicBezTo>
                <a:cubicBezTo>
                  <a:pt x="203" y="19"/>
                  <a:pt x="213" y="17"/>
                  <a:pt x="219" y="6"/>
                </a:cubicBezTo>
                <a:cubicBezTo>
                  <a:pt x="222" y="0"/>
                  <a:pt x="226" y="2"/>
                  <a:pt x="228" y="7"/>
                </a:cubicBezTo>
                <a:cubicBezTo>
                  <a:pt x="234" y="17"/>
                  <a:pt x="247" y="22"/>
                  <a:pt x="245" y="36"/>
                </a:cubicBezTo>
                <a:cubicBezTo>
                  <a:pt x="245" y="37"/>
                  <a:pt x="246" y="39"/>
                  <a:pt x="247" y="39"/>
                </a:cubicBezTo>
                <a:cubicBezTo>
                  <a:pt x="265" y="44"/>
                  <a:pt x="263" y="62"/>
                  <a:pt x="268" y="74"/>
                </a:cubicBezTo>
                <a:cubicBezTo>
                  <a:pt x="272" y="82"/>
                  <a:pt x="274" y="89"/>
                  <a:pt x="285" y="89"/>
                </a:cubicBezTo>
                <a:cubicBezTo>
                  <a:pt x="290" y="89"/>
                  <a:pt x="291" y="92"/>
                  <a:pt x="287" y="95"/>
                </a:cubicBezTo>
                <a:cubicBezTo>
                  <a:pt x="282" y="101"/>
                  <a:pt x="276" y="106"/>
                  <a:pt x="271" y="111"/>
                </a:cubicBezTo>
                <a:cubicBezTo>
                  <a:pt x="269" y="113"/>
                  <a:pt x="268" y="116"/>
                  <a:pt x="268" y="117"/>
                </a:cubicBezTo>
                <a:cubicBezTo>
                  <a:pt x="273" y="126"/>
                  <a:pt x="266" y="128"/>
                  <a:pt x="261" y="131"/>
                </a:cubicBezTo>
                <a:cubicBezTo>
                  <a:pt x="256" y="134"/>
                  <a:pt x="252" y="139"/>
                  <a:pt x="248" y="142"/>
                </a:cubicBezTo>
                <a:cubicBezTo>
                  <a:pt x="237" y="149"/>
                  <a:pt x="230" y="157"/>
                  <a:pt x="232" y="171"/>
                </a:cubicBezTo>
                <a:cubicBezTo>
                  <a:pt x="234" y="179"/>
                  <a:pt x="227" y="183"/>
                  <a:pt x="222" y="187"/>
                </a:cubicBezTo>
                <a:cubicBezTo>
                  <a:pt x="217" y="192"/>
                  <a:pt x="213" y="196"/>
                  <a:pt x="219" y="203"/>
                </a:cubicBezTo>
                <a:cubicBezTo>
                  <a:pt x="223" y="209"/>
                  <a:pt x="218" y="213"/>
                  <a:pt x="215" y="216"/>
                </a:cubicBezTo>
                <a:cubicBezTo>
                  <a:pt x="211" y="220"/>
                  <a:pt x="209" y="226"/>
                  <a:pt x="202" y="224"/>
                </a:cubicBezTo>
                <a:cubicBezTo>
                  <a:pt x="196" y="222"/>
                  <a:pt x="189" y="222"/>
                  <a:pt x="183" y="221"/>
                </a:cubicBezTo>
                <a:cubicBezTo>
                  <a:pt x="175" y="221"/>
                  <a:pt x="169" y="223"/>
                  <a:pt x="167" y="233"/>
                </a:cubicBezTo>
                <a:cubicBezTo>
                  <a:pt x="166" y="237"/>
                  <a:pt x="162" y="241"/>
                  <a:pt x="158" y="245"/>
                </a:cubicBezTo>
                <a:cubicBezTo>
                  <a:pt x="155" y="248"/>
                  <a:pt x="149" y="249"/>
                  <a:pt x="148" y="252"/>
                </a:cubicBezTo>
                <a:cubicBezTo>
                  <a:pt x="146" y="259"/>
                  <a:pt x="144" y="269"/>
                  <a:pt x="147" y="274"/>
                </a:cubicBezTo>
                <a:cubicBezTo>
                  <a:pt x="152" y="283"/>
                  <a:pt x="153" y="291"/>
                  <a:pt x="152" y="300"/>
                </a:cubicBezTo>
                <a:cubicBezTo>
                  <a:pt x="151" y="310"/>
                  <a:pt x="154" y="315"/>
                  <a:pt x="164" y="316"/>
                </a:cubicBezTo>
                <a:cubicBezTo>
                  <a:pt x="165" y="317"/>
                  <a:pt x="168" y="317"/>
                  <a:pt x="169" y="318"/>
                </a:cubicBezTo>
                <a:cubicBezTo>
                  <a:pt x="171" y="320"/>
                  <a:pt x="172" y="323"/>
                  <a:pt x="173" y="325"/>
                </a:cubicBezTo>
                <a:cubicBezTo>
                  <a:pt x="170" y="326"/>
                  <a:pt x="166" y="329"/>
                  <a:pt x="164" y="327"/>
                </a:cubicBezTo>
                <a:cubicBezTo>
                  <a:pt x="159" y="324"/>
                  <a:pt x="154" y="321"/>
                  <a:pt x="148" y="323"/>
                </a:cubicBezTo>
                <a:cubicBezTo>
                  <a:pt x="146" y="323"/>
                  <a:pt x="144" y="319"/>
                  <a:pt x="142" y="317"/>
                </a:cubicBezTo>
                <a:cubicBezTo>
                  <a:pt x="137" y="311"/>
                  <a:pt x="130" y="308"/>
                  <a:pt x="122" y="308"/>
                </a:cubicBezTo>
                <a:cubicBezTo>
                  <a:pt x="115" y="308"/>
                  <a:pt x="112" y="311"/>
                  <a:pt x="109" y="316"/>
                </a:cubicBezTo>
                <a:cubicBezTo>
                  <a:pt x="106" y="322"/>
                  <a:pt x="110" y="325"/>
                  <a:pt x="114" y="328"/>
                </a:cubicBezTo>
                <a:cubicBezTo>
                  <a:pt x="121" y="333"/>
                  <a:pt x="126" y="339"/>
                  <a:pt x="122" y="349"/>
                </a:cubicBezTo>
                <a:cubicBezTo>
                  <a:pt x="122" y="351"/>
                  <a:pt x="123" y="356"/>
                  <a:pt x="124" y="356"/>
                </a:cubicBezTo>
                <a:cubicBezTo>
                  <a:pt x="134" y="360"/>
                  <a:pt x="133" y="366"/>
                  <a:pt x="131" y="375"/>
                </a:cubicBezTo>
                <a:cubicBezTo>
                  <a:pt x="129" y="379"/>
                  <a:pt x="132" y="385"/>
                  <a:pt x="134" y="391"/>
                </a:cubicBezTo>
                <a:cubicBezTo>
                  <a:pt x="137" y="398"/>
                  <a:pt x="135" y="404"/>
                  <a:pt x="128" y="408"/>
                </a:cubicBezTo>
                <a:cubicBezTo>
                  <a:pt x="120" y="412"/>
                  <a:pt x="115" y="418"/>
                  <a:pt x="113" y="428"/>
                </a:cubicBezTo>
                <a:cubicBezTo>
                  <a:pt x="111" y="434"/>
                  <a:pt x="103" y="440"/>
                  <a:pt x="96" y="443"/>
                </a:cubicBezTo>
                <a:cubicBezTo>
                  <a:pt x="88" y="446"/>
                  <a:pt x="85" y="451"/>
                  <a:pt x="85" y="459"/>
                </a:cubicBezTo>
                <a:cubicBezTo>
                  <a:pt x="85" y="460"/>
                  <a:pt x="85" y="462"/>
                  <a:pt x="84" y="463"/>
                </a:cubicBezTo>
                <a:cubicBezTo>
                  <a:pt x="81" y="482"/>
                  <a:pt x="80" y="482"/>
                  <a:pt x="61" y="480"/>
                </a:cubicBezTo>
                <a:cubicBezTo>
                  <a:pt x="53" y="479"/>
                  <a:pt x="49" y="476"/>
                  <a:pt x="50" y="468"/>
                </a:cubicBezTo>
                <a:cubicBezTo>
                  <a:pt x="51" y="460"/>
                  <a:pt x="47" y="457"/>
                  <a:pt x="41" y="455"/>
                </a:cubicBezTo>
                <a:cubicBezTo>
                  <a:pt x="35" y="453"/>
                  <a:pt x="32" y="449"/>
                  <a:pt x="31" y="443"/>
                </a:cubicBezTo>
                <a:cubicBezTo>
                  <a:pt x="28" y="433"/>
                  <a:pt x="20" y="425"/>
                  <a:pt x="9" y="423"/>
                </a:cubicBezTo>
                <a:cubicBezTo>
                  <a:pt x="2" y="422"/>
                  <a:pt x="1" y="418"/>
                  <a:pt x="1" y="413"/>
                </a:cubicBezTo>
                <a:cubicBezTo>
                  <a:pt x="1" y="407"/>
                  <a:pt x="2" y="401"/>
                  <a:pt x="1" y="395"/>
                </a:cubicBezTo>
                <a:cubicBezTo>
                  <a:pt x="0" y="384"/>
                  <a:pt x="7" y="372"/>
                  <a:pt x="16" y="368"/>
                </a:cubicBezTo>
                <a:cubicBezTo>
                  <a:pt x="19" y="367"/>
                  <a:pt x="22" y="369"/>
                  <a:pt x="25" y="369"/>
                </a:cubicBezTo>
                <a:cubicBezTo>
                  <a:pt x="29" y="369"/>
                  <a:pt x="34" y="369"/>
                  <a:pt x="36" y="367"/>
                </a:cubicBezTo>
                <a:cubicBezTo>
                  <a:pt x="46" y="361"/>
                  <a:pt x="46" y="359"/>
                  <a:pt x="37" y="351"/>
                </a:cubicBezTo>
                <a:cubicBezTo>
                  <a:pt x="31" y="344"/>
                  <a:pt x="24" y="338"/>
                  <a:pt x="17" y="331"/>
                </a:cubicBezTo>
                <a:cubicBezTo>
                  <a:pt x="14" y="328"/>
                  <a:pt x="13" y="326"/>
                  <a:pt x="16" y="321"/>
                </a:cubicBezTo>
                <a:cubicBezTo>
                  <a:pt x="19" y="318"/>
                  <a:pt x="17" y="311"/>
                  <a:pt x="16" y="306"/>
                </a:cubicBezTo>
                <a:cubicBezTo>
                  <a:pt x="14" y="302"/>
                  <a:pt x="12" y="300"/>
                  <a:pt x="17" y="298"/>
                </a:cubicBezTo>
                <a:cubicBezTo>
                  <a:pt x="26" y="292"/>
                  <a:pt x="28" y="283"/>
                  <a:pt x="24" y="273"/>
                </a:cubicBezTo>
                <a:cubicBezTo>
                  <a:pt x="23" y="270"/>
                  <a:pt x="22" y="266"/>
                  <a:pt x="22" y="262"/>
                </a:cubicBezTo>
                <a:cubicBezTo>
                  <a:pt x="22" y="253"/>
                  <a:pt x="23" y="245"/>
                  <a:pt x="15" y="238"/>
                </a:cubicBezTo>
                <a:cubicBezTo>
                  <a:pt x="10" y="233"/>
                  <a:pt x="12" y="228"/>
                  <a:pt x="17" y="226"/>
                </a:cubicBezTo>
                <a:cubicBezTo>
                  <a:pt x="33" y="219"/>
                  <a:pt x="33" y="205"/>
                  <a:pt x="36" y="192"/>
                </a:cubicBezTo>
                <a:cubicBezTo>
                  <a:pt x="37" y="187"/>
                  <a:pt x="40" y="183"/>
                  <a:pt x="42" y="179"/>
                </a:cubicBezTo>
                <a:cubicBezTo>
                  <a:pt x="43" y="176"/>
                  <a:pt x="45" y="173"/>
                  <a:pt x="44" y="171"/>
                </a:cubicBezTo>
                <a:cubicBezTo>
                  <a:pt x="42" y="161"/>
                  <a:pt x="49" y="156"/>
                  <a:pt x="54" y="150"/>
                </a:cubicBezTo>
                <a:cubicBezTo>
                  <a:pt x="59" y="145"/>
                  <a:pt x="66" y="142"/>
                  <a:pt x="65" y="133"/>
                </a:cubicBezTo>
                <a:cubicBezTo>
                  <a:pt x="65" y="133"/>
                  <a:pt x="71" y="131"/>
                  <a:pt x="74" y="13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4B7D22B9-0C4F-4C20-888E-AA62C8FDAE4D}"/>
              </a:ext>
            </a:extLst>
          </p:cNvPr>
          <p:cNvSpPr>
            <a:spLocks/>
          </p:cNvSpPr>
          <p:nvPr userDrawn="1"/>
        </p:nvSpPr>
        <p:spPr bwMode="auto">
          <a:xfrm>
            <a:off x="7826375" y="1143000"/>
            <a:ext cx="819150" cy="593725"/>
          </a:xfrm>
          <a:custGeom>
            <a:avLst/>
            <a:gdLst>
              <a:gd name="T0" fmla="*/ 116 w 345"/>
              <a:gd name="T1" fmla="*/ 212 h 251"/>
              <a:gd name="T2" fmla="*/ 104 w 345"/>
              <a:gd name="T3" fmla="*/ 236 h 251"/>
              <a:gd name="T4" fmla="*/ 79 w 345"/>
              <a:gd name="T5" fmla="*/ 238 h 251"/>
              <a:gd name="T6" fmla="*/ 55 w 345"/>
              <a:gd name="T7" fmla="*/ 229 h 251"/>
              <a:gd name="T8" fmla="*/ 39 w 345"/>
              <a:gd name="T9" fmla="*/ 217 h 251"/>
              <a:gd name="T10" fmla="*/ 36 w 345"/>
              <a:gd name="T11" fmla="*/ 210 h 251"/>
              <a:gd name="T12" fmla="*/ 15 w 345"/>
              <a:gd name="T13" fmla="*/ 172 h 251"/>
              <a:gd name="T14" fmla="*/ 14 w 345"/>
              <a:gd name="T15" fmla="*/ 153 h 251"/>
              <a:gd name="T16" fmla="*/ 13 w 345"/>
              <a:gd name="T17" fmla="*/ 121 h 251"/>
              <a:gd name="T18" fmla="*/ 21 w 345"/>
              <a:gd name="T19" fmla="*/ 110 h 251"/>
              <a:gd name="T20" fmla="*/ 23 w 345"/>
              <a:gd name="T21" fmla="*/ 109 h 251"/>
              <a:gd name="T22" fmla="*/ 31 w 345"/>
              <a:gd name="T23" fmla="*/ 98 h 251"/>
              <a:gd name="T24" fmla="*/ 21 w 345"/>
              <a:gd name="T25" fmla="*/ 93 h 251"/>
              <a:gd name="T26" fmla="*/ 11 w 345"/>
              <a:gd name="T27" fmla="*/ 92 h 251"/>
              <a:gd name="T28" fmla="*/ 3 w 345"/>
              <a:gd name="T29" fmla="*/ 77 h 251"/>
              <a:gd name="T30" fmla="*/ 13 w 345"/>
              <a:gd name="T31" fmla="*/ 53 h 251"/>
              <a:gd name="T32" fmla="*/ 46 w 345"/>
              <a:gd name="T33" fmla="*/ 41 h 251"/>
              <a:gd name="T34" fmla="*/ 67 w 345"/>
              <a:gd name="T35" fmla="*/ 48 h 251"/>
              <a:gd name="T36" fmla="*/ 94 w 345"/>
              <a:gd name="T37" fmla="*/ 50 h 251"/>
              <a:gd name="T38" fmla="*/ 131 w 345"/>
              <a:gd name="T39" fmla="*/ 45 h 251"/>
              <a:gd name="T40" fmla="*/ 139 w 345"/>
              <a:gd name="T41" fmla="*/ 46 h 251"/>
              <a:gd name="T42" fmla="*/ 146 w 345"/>
              <a:gd name="T43" fmla="*/ 47 h 251"/>
              <a:gd name="T44" fmla="*/ 178 w 345"/>
              <a:gd name="T45" fmla="*/ 47 h 251"/>
              <a:gd name="T46" fmla="*/ 193 w 345"/>
              <a:gd name="T47" fmla="*/ 41 h 251"/>
              <a:gd name="T48" fmla="*/ 233 w 345"/>
              <a:gd name="T49" fmla="*/ 9 h 251"/>
              <a:gd name="T50" fmla="*/ 250 w 345"/>
              <a:gd name="T51" fmla="*/ 4 h 251"/>
              <a:gd name="T52" fmla="*/ 271 w 345"/>
              <a:gd name="T53" fmla="*/ 16 h 251"/>
              <a:gd name="T54" fmla="*/ 279 w 345"/>
              <a:gd name="T55" fmla="*/ 53 h 251"/>
              <a:gd name="T56" fmla="*/ 303 w 345"/>
              <a:gd name="T57" fmla="*/ 80 h 251"/>
              <a:gd name="T58" fmla="*/ 314 w 345"/>
              <a:gd name="T59" fmla="*/ 101 h 251"/>
              <a:gd name="T60" fmla="*/ 314 w 345"/>
              <a:gd name="T61" fmla="*/ 142 h 251"/>
              <a:gd name="T62" fmla="*/ 319 w 345"/>
              <a:gd name="T63" fmla="*/ 159 h 251"/>
              <a:gd name="T64" fmla="*/ 332 w 345"/>
              <a:gd name="T65" fmla="*/ 178 h 251"/>
              <a:gd name="T66" fmla="*/ 339 w 345"/>
              <a:gd name="T67" fmla="*/ 187 h 251"/>
              <a:gd name="T68" fmla="*/ 342 w 345"/>
              <a:gd name="T69" fmla="*/ 214 h 251"/>
              <a:gd name="T70" fmla="*/ 336 w 345"/>
              <a:gd name="T71" fmla="*/ 236 h 251"/>
              <a:gd name="T72" fmla="*/ 332 w 345"/>
              <a:gd name="T73" fmla="*/ 239 h 251"/>
              <a:gd name="T74" fmla="*/ 320 w 345"/>
              <a:gd name="T75" fmla="*/ 246 h 251"/>
              <a:gd name="T76" fmla="*/ 311 w 345"/>
              <a:gd name="T77" fmla="*/ 229 h 251"/>
              <a:gd name="T78" fmla="*/ 299 w 345"/>
              <a:gd name="T79" fmla="*/ 223 h 251"/>
              <a:gd name="T80" fmla="*/ 292 w 345"/>
              <a:gd name="T81" fmla="*/ 227 h 251"/>
              <a:gd name="T82" fmla="*/ 284 w 345"/>
              <a:gd name="T83" fmla="*/ 234 h 251"/>
              <a:gd name="T84" fmla="*/ 287 w 345"/>
              <a:gd name="T85" fmla="*/ 225 h 251"/>
              <a:gd name="T86" fmla="*/ 285 w 345"/>
              <a:gd name="T87" fmla="*/ 219 h 251"/>
              <a:gd name="T88" fmla="*/ 279 w 345"/>
              <a:gd name="T89" fmla="*/ 220 h 251"/>
              <a:gd name="T90" fmla="*/ 270 w 345"/>
              <a:gd name="T91" fmla="*/ 224 h 251"/>
              <a:gd name="T92" fmla="*/ 258 w 345"/>
              <a:gd name="T93" fmla="*/ 219 h 251"/>
              <a:gd name="T94" fmla="*/ 250 w 345"/>
              <a:gd name="T95" fmla="*/ 206 h 251"/>
              <a:gd name="T96" fmla="*/ 229 w 345"/>
              <a:gd name="T97" fmla="*/ 203 h 251"/>
              <a:gd name="T98" fmla="*/ 213 w 345"/>
              <a:gd name="T99" fmla="*/ 206 h 251"/>
              <a:gd name="T100" fmla="*/ 191 w 345"/>
              <a:gd name="T101" fmla="*/ 192 h 251"/>
              <a:gd name="T102" fmla="*/ 188 w 345"/>
              <a:gd name="T103" fmla="*/ 185 h 251"/>
              <a:gd name="T104" fmla="*/ 178 w 345"/>
              <a:gd name="T105" fmla="*/ 178 h 251"/>
              <a:gd name="T106" fmla="*/ 161 w 345"/>
              <a:gd name="T107" fmla="*/ 179 h 251"/>
              <a:gd name="T108" fmla="*/ 153 w 345"/>
              <a:gd name="T109" fmla="*/ 180 h 251"/>
              <a:gd name="T110" fmla="*/ 119 w 345"/>
              <a:gd name="T111" fmla="*/ 202 h 251"/>
              <a:gd name="T112" fmla="*/ 116 w 345"/>
              <a:gd name="T113" fmla="*/ 212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5" h="251">
                <a:moveTo>
                  <a:pt x="116" y="212"/>
                </a:moveTo>
                <a:cubicBezTo>
                  <a:pt x="120" y="226"/>
                  <a:pt x="112" y="231"/>
                  <a:pt x="104" y="236"/>
                </a:cubicBezTo>
                <a:cubicBezTo>
                  <a:pt x="96" y="241"/>
                  <a:pt x="88" y="243"/>
                  <a:pt x="79" y="238"/>
                </a:cubicBezTo>
                <a:cubicBezTo>
                  <a:pt x="71" y="233"/>
                  <a:pt x="65" y="228"/>
                  <a:pt x="55" y="229"/>
                </a:cubicBezTo>
                <a:cubicBezTo>
                  <a:pt x="49" y="230"/>
                  <a:pt x="40" y="227"/>
                  <a:pt x="39" y="217"/>
                </a:cubicBezTo>
                <a:cubicBezTo>
                  <a:pt x="39" y="214"/>
                  <a:pt x="38" y="211"/>
                  <a:pt x="36" y="210"/>
                </a:cubicBezTo>
                <a:cubicBezTo>
                  <a:pt x="23" y="200"/>
                  <a:pt x="17" y="187"/>
                  <a:pt x="15" y="172"/>
                </a:cubicBezTo>
                <a:cubicBezTo>
                  <a:pt x="14" y="166"/>
                  <a:pt x="15" y="159"/>
                  <a:pt x="14" y="153"/>
                </a:cubicBezTo>
                <a:cubicBezTo>
                  <a:pt x="14" y="143"/>
                  <a:pt x="16" y="132"/>
                  <a:pt x="13" y="121"/>
                </a:cubicBezTo>
                <a:cubicBezTo>
                  <a:pt x="11" y="116"/>
                  <a:pt x="13" y="110"/>
                  <a:pt x="21" y="110"/>
                </a:cubicBezTo>
                <a:cubicBezTo>
                  <a:pt x="22" y="109"/>
                  <a:pt x="23" y="109"/>
                  <a:pt x="23" y="109"/>
                </a:cubicBezTo>
                <a:cubicBezTo>
                  <a:pt x="26" y="105"/>
                  <a:pt x="28" y="102"/>
                  <a:pt x="31" y="98"/>
                </a:cubicBezTo>
                <a:cubicBezTo>
                  <a:pt x="27" y="96"/>
                  <a:pt x="24" y="94"/>
                  <a:pt x="21" y="93"/>
                </a:cubicBezTo>
                <a:cubicBezTo>
                  <a:pt x="18" y="92"/>
                  <a:pt x="14" y="93"/>
                  <a:pt x="11" y="92"/>
                </a:cubicBezTo>
                <a:cubicBezTo>
                  <a:pt x="2" y="91"/>
                  <a:pt x="0" y="86"/>
                  <a:pt x="3" y="77"/>
                </a:cubicBezTo>
                <a:cubicBezTo>
                  <a:pt x="7" y="69"/>
                  <a:pt x="10" y="61"/>
                  <a:pt x="13" y="53"/>
                </a:cubicBezTo>
                <a:cubicBezTo>
                  <a:pt x="19" y="42"/>
                  <a:pt x="34" y="36"/>
                  <a:pt x="46" y="41"/>
                </a:cubicBezTo>
                <a:cubicBezTo>
                  <a:pt x="53" y="43"/>
                  <a:pt x="60" y="47"/>
                  <a:pt x="67" y="48"/>
                </a:cubicBezTo>
                <a:cubicBezTo>
                  <a:pt x="76" y="50"/>
                  <a:pt x="85" y="50"/>
                  <a:pt x="94" y="50"/>
                </a:cubicBezTo>
                <a:cubicBezTo>
                  <a:pt x="106" y="49"/>
                  <a:pt x="118" y="46"/>
                  <a:pt x="131" y="45"/>
                </a:cubicBezTo>
                <a:cubicBezTo>
                  <a:pt x="133" y="45"/>
                  <a:pt x="136" y="46"/>
                  <a:pt x="139" y="46"/>
                </a:cubicBezTo>
                <a:cubicBezTo>
                  <a:pt x="141" y="46"/>
                  <a:pt x="144" y="48"/>
                  <a:pt x="146" y="47"/>
                </a:cubicBezTo>
                <a:cubicBezTo>
                  <a:pt x="157" y="40"/>
                  <a:pt x="167" y="44"/>
                  <a:pt x="178" y="47"/>
                </a:cubicBezTo>
                <a:cubicBezTo>
                  <a:pt x="185" y="50"/>
                  <a:pt x="189" y="48"/>
                  <a:pt x="193" y="41"/>
                </a:cubicBezTo>
                <a:cubicBezTo>
                  <a:pt x="202" y="25"/>
                  <a:pt x="215" y="14"/>
                  <a:pt x="233" y="9"/>
                </a:cubicBezTo>
                <a:cubicBezTo>
                  <a:pt x="238" y="7"/>
                  <a:pt x="244" y="6"/>
                  <a:pt x="250" y="4"/>
                </a:cubicBezTo>
                <a:cubicBezTo>
                  <a:pt x="263" y="0"/>
                  <a:pt x="268" y="3"/>
                  <a:pt x="271" y="16"/>
                </a:cubicBezTo>
                <a:cubicBezTo>
                  <a:pt x="274" y="28"/>
                  <a:pt x="277" y="41"/>
                  <a:pt x="279" y="53"/>
                </a:cubicBezTo>
                <a:cubicBezTo>
                  <a:pt x="281" y="68"/>
                  <a:pt x="287" y="77"/>
                  <a:pt x="303" y="80"/>
                </a:cubicBezTo>
                <a:cubicBezTo>
                  <a:pt x="318" y="83"/>
                  <a:pt x="320" y="88"/>
                  <a:pt x="314" y="101"/>
                </a:cubicBezTo>
                <a:cubicBezTo>
                  <a:pt x="307" y="115"/>
                  <a:pt x="307" y="128"/>
                  <a:pt x="314" y="142"/>
                </a:cubicBezTo>
                <a:cubicBezTo>
                  <a:pt x="317" y="147"/>
                  <a:pt x="318" y="153"/>
                  <a:pt x="319" y="159"/>
                </a:cubicBezTo>
                <a:cubicBezTo>
                  <a:pt x="319" y="172"/>
                  <a:pt x="321" y="175"/>
                  <a:pt x="332" y="178"/>
                </a:cubicBezTo>
                <a:cubicBezTo>
                  <a:pt x="338" y="180"/>
                  <a:pt x="339" y="182"/>
                  <a:pt x="339" y="187"/>
                </a:cubicBezTo>
                <a:cubicBezTo>
                  <a:pt x="339" y="196"/>
                  <a:pt x="340" y="206"/>
                  <a:pt x="342" y="214"/>
                </a:cubicBezTo>
                <a:cubicBezTo>
                  <a:pt x="345" y="224"/>
                  <a:pt x="341" y="230"/>
                  <a:pt x="336" y="236"/>
                </a:cubicBezTo>
                <a:cubicBezTo>
                  <a:pt x="335" y="237"/>
                  <a:pt x="333" y="238"/>
                  <a:pt x="332" y="239"/>
                </a:cubicBezTo>
                <a:cubicBezTo>
                  <a:pt x="329" y="242"/>
                  <a:pt x="327" y="251"/>
                  <a:pt x="320" y="246"/>
                </a:cubicBezTo>
                <a:cubicBezTo>
                  <a:pt x="315" y="242"/>
                  <a:pt x="305" y="240"/>
                  <a:pt x="311" y="229"/>
                </a:cubicBezTo>
                <a:cubicBezTo>
                  <a:pt x="313" y="225"/>
                  <a:pt x="304" y="220"/>
                  <a:pt x="299" y="223"/>
                </a:cubicBezTo>
                <a:cubicBezTo>
                  <a:pt x="297" y="224"/>
                  <a:pt x="295" y="226"/>
                  <a:pt x="292" y="227"/>
                </a:cubicBezTo>
                <a:cubicBezTo>
                  <a:pt x="290" y="230"/>
                  <a:pt x="287" y="232"/>
                  <a:pt x="284" y="234"/>
                </a:cubicBezTo>
                <a:cubicBezTo>
                  <a:pt x="285" y="231"/>
                  <a:pt x="287" y="228"/>
                  <a:pt x="287" y="225"/>
                </a:cubicBezTo>
                <a:cubicBezTo>
                  <a:pt x="287" y="223"/>
                  <a:pt x="286" y="221"/>
                  <a:pt x="285" y="219"/>
                </a:cubicBezTo>
                <a:cubicBezTo>
                  <a:pt x="283" y="219"/>
                  <a:pt x="281" y="219"/>
                  <a:pt x="279" y="220"/>
                </a:cubicBezTo>
                <a:cubicBezTo>
                  <a:pt x="276" y="221"/>
                  <a:pt x="273" y="223"/>
                  <a:pt x="270" y="224"/>
                </a:cubicBezTo>
                <a:cubicBezTo>
                  <a:pt x="265" y="226"/>
                  <a:pt x="261" y="225"/>
                  <a:pt x="258" y="219"/>
                </a:cubicBezTo>
                <a:cubicBezTo>
                  <a:pt x="256" y="215"/>
                  <a:pt x="253" y="211"/>
                  <a:pt x="250" y="206"/>
                </a:cubicBezTo>
                <a:cubicBezTo>
                  <a:pt x="243" y="197"/>
                  <a:pt x="237" y="195"/>
                  <a:pt x="229" y="203"/>
                </a:cubicBezTo>
                <a:cubicBezTo>
                  <a:pt x="224" y="208"/>
                  <a:pt x="219" y="210"/>
                  <a:pt x="213" y="206"/>
                </a:cubicBezTo>
                <a:cubicBezTo>
                  <a:pt x="206" y="201"/>
                  <a:pt x="198" y="197"/>
                  <a:pt x="191" y="192"/>
                </a:cubicBezTo>
                <a:cubicBezTo>
                  <a:pt x="189" y="191"/>
                  <a:pt x="189" y="187"/>
                  <a:pt x="188" y="185"/>
                </a:cubicBezTo>
                <a:cubicBezTo>
                  <a:pt x="187" y="178"/>
                  <a:pt x="184" y="174"/>
                  <a:pt x="178" y="178"/>
                </a:cubicBezTo>
                <a:cubicBezTo>
                  <a:pt x="172" y="181"/>
                  <a:pt x="168" y="181"/>
                  <a:pt x="161" y="179"/>
                </a:cubicBezTo>
                <a:cubicBezTo>
                  <a:pt x="159" y="178"/>
                  <a:pt x="154" y="179"/>
                  <a:pt x="153" y="180"/>
                </a:cubicBezTo>
                <a:cubicBezTo>
                  <a:pt x="143" y="190"/>
                  <a:pt x="132" y="197"/>
                  <a:pt x="119" y="202"/>
                </a:cubicBezTo>
                <a:cubicBezTo>
                  <a:pt x="117" y="203"/>
                  <a:pt x="116" y="210"/>
                  <a:pt x="116" y="21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C21EC646-C792-4103-9819-D86E220310E5}"/>
              </a:ext>
            </a:extLst>
          </p:cNvPr>
          <p:cNvSpPr>
            <a:spLocks/>
          </p:cNvSpPr>
          <p:nvPr userDrawn="1"/>
        </p:nvSpPr>
        <p:spPr bwMode="auto">
          <a:xfrm>
            <a:off x="8116888" y="4035425"/>
            <a:ext cx="1409700" cy="1298575"/>
          </a:xfrm>
          <a:custGeom>
            <a:avLst/>
            <a:gdLst>
              <a:gd name="T0" fmla="*/ 574 w 594"/>
              <a:gd name="T1" fmla="*/ 71 h 548"/>
              <a:gd name="T2" fmla="*/ 531 w 594"/>
              <a:gd name="T3" fmla="*/ 80 h 548"/>
              <a:gd name="T4" fmla="*/ 503 w 594"/>
              <a:gd name="T5" fmla="*/ 70 h 548"/>
              <a:gd name="T6" fmla="*/ 475 w 594"/>
              <a:gd name="T7" fmla="*/ 96 h 548"/>
              <a:gd name="T8" fmla="*/ 461 w 594"/>
              <a:gd name="T9" fmla="*/ 114 h 548"/>
              <a:gd name="T10" fmla="*/ 436 w 594"/>
              <a:gd name="T11" fmla="*/ 112 h 548"/>
              <a:gd name="T12" fmla="*/ 429 w 594"/>
              <a:gd name="T13" fmla="*/ 107 h 548"/>
              <a:gd name="T14" fmla="*/ 423 w 594"/>
              <a:gd name="T15" fmla="*/ 139 h 548"/>
              <a:gd name="T16" fmla="*/ 388 w 594"/>
              <a:gd name="T17" fmla="*/ 148 h 548"/>
              <a:gd name="T18" fmla="*/ 367 w 594"/>
              <a:gd name="T19" fmla="*/ 158 h 548"/>
              <a:gd name="T20" fmla="*/ 355 w 594"/>
              <a:gd name="T21" fmla="*/ 158 h 548"/>
              <a:gd name="T22" fmla="*/ 330 w 594"/>
              <a:gd name="T23" fmla="*/ 157 h 548"/>
              <a:gd name="T24" fmla="*/ 308 w 594"/>
              <a:gd name="T25" fmla="*/ 130 h 548"/>
              <a:gd name="T26" fmla="*/ 280 w 594"/>
              <a:gd name="T27" fmla="*/ 100 h 548"/>
              <a:gd name="T28" fmla="*/ 244 w 594"/>
              <a:gd name="T29" fmla="*/ 77 h 548"/>
              <a:gd name="T30" fmla="*/ 242 w 594"/>
              <a:gd name="T31" fmla="*/ 47 h 548"/>
              <a:gd name="T32" fmla="*/ 222 w 594"/>
              <a:gd name="T33" fmla="*/ 23 h 548"/>
              <a:gd name="T34" fmla="*/ 185 w 594"/>
              <a:gd name="T35" fmla="*/ 19 h 548"/>
              <a:gd name="T36" fmla="*/ 138 w 594"/>
              <a:gd name="T37" fmla="*/ 2 h 548"/>
              <a:gd name="T38" fmla="*/ 118 w 594"/>
              <a:gd name="T39" fmla="*/ 36 h 548"/>
              <a:gd name="T40" fmla="*/ 98 w 594"/>
              <a:gd name="T41" fmla="*/ 40 h 548"/>
              <a:gd name="T42" fmla="*/ 90 w 594"/>
              <a:gd name="T43" fmla="*/ 82 h 548"/>
              <a:gd name="T44" fmla="*/ 70 w 594"/>
              <a:gd name="T45" fmla="*/ 119 h 548"/>
              <a:gd name="T46" fmla="*/ 68 w 594"/>
              <a:gd name="T47" fmla="*/ 166 h 548"/>
              <a:gd name="T48" fmla="*/ 61 w 594"/>
              <a:gd name="T49" fmla="*/ 189 h 548"/>
              <a:gd name="T50" fmla="*/ 48 w 594"/>
              <a:gd name="T51" fmla="*/ 250 h 548"/>
              <a:gd name="T52" fmla="*/ 58 w 594"/>
              <a:gd name="T53" fmla="*/ 261 h 548"/>
              <a:gd name="T54" fmla="*/ 60 w 594"/>
              <a:gd name="T55" fmla="*/ 274 h 548"/>
              <a:gd name="T56" fmla="*/ 57 w 594"/>
              <a:gd name="T57" fmla="*/ 288 h 548"/>
              <a:gd name="T58" fmla="*/ 47 w 594"/>
              <a:gd name="T59" fmla="*/ 296 h 548"/>
              <a:gd name="T60" fmla="*/ 25 w 594"/>
              <a:gd name="T61" fmla="*/ 315 h 548"/>
              <a:gd name="T62" fmla="*/ 26 w 594"/>
              <a:gd name="T63" fmla="*/ 363 h 548"/>
              <a:gd name="T64" fmla="*/ 7 w 594"/>
              <a:gd name="T65" fmla="*/ 366 h 548"/>
              <a:gd name="T66" fmla="*/ 1 w 594"/>
              <a:gd name="T67" fmla="*/ 388 h 548"/>
              <a:gd name="T68" fmla="*/ 15 w 594"/>
              <a:gd name="T69" fmla="*/ 440 h 548"/>
              <a:gd name="T70" fmla="*/ 20 w 594"/>
              <a:gd name="T71" fmla="*/ 453 h 548"/>
              <a:gd name="T72" fmla="*/ 37 w 594"/>
              <a:gd name="T73" fmla="*/ 418 h 548"/>
              <a:gd name="T74" fmla="*/ 48 w 594"/>
              <a:gd name="T75" fmla="*/ 463 h 548"/>
              <a:gd name="T76" fmla="*/ 67 w 594"/>
              <a:gd name="T77" fmla="*/ 459 h 548"/>
              <a:gd name="T78" fmla="*/ 101 w 594"/>
              <a:gd name="T79" fmla="*/ 464 h 548"/>
              <a:gd name="T80" fmla="*/ 133 w 594"/>
              <a:gd name="T81" fmla="*/ 503 h 548"/>
              <a:gd name="T82" fmla="*/ 111 w 594"/>
              <a:gd name="T83" fmla="*/ 539 h 548"/>
              <a:gd name="T84" fmla="*/ 117 w 594"/>
              <a:gd name="T85" fmla="*/ 547 h 548"/>
              <a:gd name="T86" fmla="*/ 159 w 594"/>
              <a:gd name="T87" fmla="*/ 518 h 548"/>
              <a:gd name="T88" fmla="*/ 189 w 594"/>
              <a:gd name="T89" fmla="*/ 507 h 548"/>
              <a:gd name="T90" fmla="*/ 228 w 594"/>
              <a:gd name="T91" fmla="*/ 499 h 548"/>
              <a:gd name="T92" fmla="*/ 255 w 594"/>
              <a:gd name="T93" fmla="*/ 487 h 548"/>
              <a:gd name="T94" fmla="*/ 257 w 594"/>
              <a:gd name="T95" fmla="*/ 463 h 548"/>
              <a:gd name="T96" fmla="*/ 251 w 594"/>
              <a:gd name="T97" fmla="*/ 403 h 548"/>
              <a:gd name="T98" fmla="*/ 263 w 594"/>
              <a:gd name="T99" fmla="*/ 322 h 548"/>
              <a:gd name="T100" fmla="*/ 309 w 594"/>
              <a:gd name="T101" fmla="*/ 313 h 548"/>
              <a:gd name="T102" fmla="*/ 338 w 594"/>
              <a:gd name="T103" fmla="*/ 279 h 548"/>
              <a:gd name="T104" fmla="*/ 399 w 594"/>
              <a:gd name="T105" fmla="*/ 259 h 548"/>
              <a:gd name="T106" fmla="*/ 412 w 594"/>
              <a:gd name="T107" fmla="*/ 247 h 548"/>
              <a:gd name="T108" fmla="*/ 462 w 594"/>
              <a:gd name="T109" fmla="*/ 185 h 548"/>
              <a:gd name="T110" fmla="*/ 529 w 594"/>
              <a:gd name="T111" fmla="*/ 129 h 548"/>
              <a:gd name="T112" fmla="*/ 587 w 594"/>
              <a:gd name="T113" fmla="*/ 70 h 548"/>
              <a:gd name="T114" fmla="*/ 580 w 594"/>
              <a:gd name="T115" fmla="*/ 64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94" h="548">
                <a:moveTo>
                  <a:pt x="580" y="64"/>
                </a:moveTo>
                <a:cubicBezTo>
                  <a:pt x="577" y="66"/>
                  <a:pt x="576" y="69"/>
                  <a:pt x="574" y="71"/>
                </a:cubicBezTo>
                <a:cubicBezTo>
                  <a:pt x="567" y="80"/>
                  <a:pt x="547" y="87"/>
                  <a:pt x="537" y="85"/>
                </a:cubicBezTo>
                <a:cubicBezTo>
                  <a:pt x="534" y="84"/>
                  <a:pt x="531" y="81"/>
                  <a:pt x="531" y="80"/>
                </a:cubicBezTo>
                <a:cubicBezTo>
                  <a:pt x="530" y="71"/>
                  <a:pt x="523" y="69"/>
                  <a:pt x="517" y="66"/>
                </a:cubicBezTo>
                <a:cubicBezTo>
                  <a:pt x="509" y="61"/>
                  <a:pt x="504" y="62"/>
                  <a:pt x="503" y="70"/>
                </a:cubicBezTo>
                <a:cubicBezTo>
                  <a:pt x="501" y="80"/>
                  <a:pt x="494" y="84"/>
                  <a:pt x="485" y="85"/>
                </a:cubicBezTo>
                <a:cubicBezTo>
                  <a:pt x="478" y="86"/>
                  <a:pt x="475" y="90"/>
                  <a:pt x="475" y="96"/>
                </a:cubicBezTo>
                <a:cubicBezTo>
                  <a:pt x="474" y="99"/>
                  <a:pt x="474" y="102"/>
                  <a:pt x="474" y="104"/>
                </a:cubicBezTo>
                <a:cubicBezTo>
                  <a:pt x="473" y="111"/>
                  <a:pt x="470" y="117"/>
                  <a:pt x="461" y="114"/>
                </a:cubicBezTo>
                <a:cubicBezTo>
                  <a:pt x="459" y="114"/>
                  <a:pt x="456" y="115"/>
                  <a:pt x="454" y="117"/>
                </a:cubicBezTo>
                <a:cubicBezTo>
                  <a:pt x="443" y="126"/>
                  <a:pt x="443" y="126"/>
                  <a:pt x="436" y="112"/>
                </a:cubicBezTo>
                <a:cubicBezTo>
                  <a:pt x="435" y="111"/>
                  <a:pt x="435" y="109"/>
                  <a:pt x="433" y="108"/>
                </a:cubicBezTo>
                <a:cubicBezTo>
                  <a:pt x="432" y="107"/>
                  <a:pt x="429" y="107"/>
                  <a:pt x="429" y="107"/>
                </a:cubicBezTo>
                <a:cubicBezTo>
                  <a:pt x="427" y="114"/>
                  <a:pt x="424" y="122"/>
                  <a:pt x="424" y="129"/>
                </a:cubicBezTo>
                <a:cubicBezTo>
                  <a:pt x="424" y="133"/>
                  <a:pt x="427" y="136"/>
                  <a:pt x="423" y="139"/>
                </a:cubicBezTo>
                <a:cubicBezTo>
                  <a:pt x="418" y="142"/>
                  <a:pt x="414" y="149"/>
                  <a:pt x="408" y="145"/>
                </a:cubicBezTo>
                <a:cubicBezTo>
                  <a:pt x="400" y="139"/>
                  <a:pt x="394" y="143"/>
                  <a:pt x="388" y="148"/>
                </a:cubicBezTo>
                <a:cubicBezTo>
                  <a:pt x="386" y="150"/>
                  <a:pt x="383" y="152"/>
                  <a:pt x="381" y="154"/>
                </a:cubicBezTo>
                <a:cubicBezTo>
                  <a:pt x="376" y="156"/>
                  <a:pt x="371" y="157"/>
                  <a:pt x="367" y="158"/>
                </a:cubicBezTo>
                <a:cubicBezTo>
                  <a:pt x="367" y="158"/>
                  <a:pt x="367" y="158"/>
                  <a:pt x="367" y="158"/>
                </a:cubicBezTo>
                <a:cubicBezTo>
                  <a:pt x="363" y="158"/>
                  <a:pt x="359" y="158"/>
                  <a:pt x="355" y="158"/>
                </a:cubicBezTo>
                <a:cubicBezTo>
                  <a:pt x="352" y="158"/>
                  <a:pt x="350" y="158"/>
                  <a:pt x="351" y="158"/>
                </a:cubicBezTo>
                <a:cubicBezTo>
                  <a:pt x="342" y="157"/>
                  <a:pt x="336" y="157"/>
                  <a:pt x="330" y="157"/>
                </a:cubicBezTo>
                <a:cubicBezTo>
                  <a:pt x="321" y="157"/>
                  <a:pt x="316" y="153"/>
                  <a:pt x="317" y="144"/>
                </a:cubicBezTo>
                <a:cubicBezTo>
                  <a:pt x="317" y="137"/>
                  <a:pt x="315" y="132"/>
                  <a:pt x="308" y="130"/>
                </a:cubicBezTo>
                <a:cubicBezTo>
                  <a:pt x="302" y="128"/>
                  <a:pt x="300" y="125"/>
                  <a:pt x="299" y="118"/>
                </a:cubicBezTo>
                <a:cubicBezTo>
                  <a:pt x="297" y="109"/>
                  <a:pt x="290" y="102"/>
                  <a:pt x="280" y="100"/>
                </a:cubicBezTo>
                <a:cubicBezTo>
                  <a:pt x="269" y="97"/>
                  <a:pt x="261" y="89"/>
                  <a:pt x="250" y="85"/>
                </a:cubicBezTo>
                <a:cubicBezTo>
                  <a:pt x="248" y="84"/>
                  <a:pt x="245" y="80"/>
                  <a:pt x="244" y="77"/>
                </a:cubicBezTo>
                <a:cubicBezTo>
                  <a:pt x="243" y="74"/>
                  <a:pt x="244" y="69"/>
                  <a:pt x="242" y="67"/>
                </a:cubicBezTo>
                <a:cubicBezTo>
                  <a:pt x="235" y="60"/>
                  <a:pt x="237" y="54"/>
                  <a:pt x="242" y="47"/>
                </a:cubicBezTo>
                <a:cubicBezTo>
                  <a:pt x="243" y="45"/>
                  <a:pt x="243" y="43"/>
                  <a:pt x="243" y="41"/>
                </a:cubicBezTo>
                <a:cubicBezTo>
                  <a:pt x="245" y="30"/>
                  <a:pt x="234" y="21"/>
                  <a:pt x="222" y="23"/>
                </a:cubicBezTo>
                <a:cubicBezTo>
                  <a:pt x="215" y="24"/>
                  <a:pt x="207" y="22"/>
                  <a:pt x="199" y="21"/>
                </a:cubicBezTo>
                <a:cubicBezTo>
                  <a:pt x="194" y="21"/>
                  <a:pt x="189" y="18"/>
                  <a:pt x="185" y="19"/>
                </a:cubicBezTo>
                <a:cubicBezTo>
                  <a:pt x="176" y="20"/>
                  <a:pt x="171" y="17"/>
                  <a:pt x="167" y="11"/>
                </a:cubicBezTo>
                <a:cubicBezTo>
                  <a:pt x="160" y="0"/>
                  <a:pt x="149" y="2"/>
                  <a:pt x="138" y="2"/>
                </a:cubicBezTo>
                <a:cubicBezTo>
                  <a:pt x="137" y="2"/>
                  <a:pt x="134" y="5"/>
                  <a:pt x="134" y="7"/>
                </a:cubicBezTo>
                <a:cubicBezTo>
                  <a:pt x="131" y="18"/>
                  <a:pt x="123" y="26"/>
                  <a:pt x="118" y="36"/>
                </a:cubicBezTo>
                <a:cubicBezTo>
                  <a:pt x="115" y="41"/>
                  <a:pt x="112" y="42"/>
                  <a:pt x="107" y="40"/>
                </a:cubicBezTo>
                <a:cubicBezTo>
                  <a:pt x="104" y="40"/>
                  <a:pt x="100" y="39"/>
                  <a:pt x="98" y="40"/>
                </a:cubicBezTo>
                <a:cubicBezTo>
                  <a:pt x="91" y="45"/>
                  <a:pt x="88" y="56"/>
                  <a:pt x="92" y="64"/>
                </a:cubicBezTo>
                <a:cubicBezTo>
                  <a:pt x="96" y="71"/>
                  <a:pt x="94" y="77"/>
                  <a:pt x="90" y="82"/>
                </a:cubicBezTo>
                <a:cubicBezTo>
                  <a:pt x="86" y="86"/>
                  <a:pt x="83" y="91"/>
                  <a:pt x="79" y="94"/>
                </a:cubicBezTo>
                <a:cubicBezTo>
                  <a:pt x="67" y="100"/>
                  <a:pt x="68" y="108"/>
                  <a:pt x="70" y="119"/>
                </a:cubicBezTo>
                <a:cubicBezTo>
                  <a:pt x="72" y="130"/>
                  <a:pt x="76" y="142"/>
                  <a:pt x="66" y="152"/>
                </a:cubicBezTo>
                <a:cubicBezTo>
                  <a:pt x="61" y="157"/>
                  <a:pt x="62" y="162"/>
                  <a:pt x="68" y="166"/>
                </a:cubicBezTo>
                <a:cubicBezTo>
                  <a:pt x="76" y="170"/>
                  <a:pt x="74" y="175"/>
                  <a:pt x="69" y="181"/>
                </a:cubicBezTo>
                <a:cubicBezTo>
                  <a:pt x="66" y="183"/>
                  <a:pt x="64" y="186"/>
                  <a:pt x="61" y="189"/>
                </a:cubicBezTo>
                <a:cubicBezTo>
                  <a:pt x="57" y="193"/>
                  <a:pt x="56" y="198"/>
                  <a:pt x="57" y="204"/>
                </a:cubicBezTo>
                <a:cubicBezTo>
                  <a:pt x="59" y="220"/>
                  <a:pt x="60" y="236"/>
                  <a:pt x="48" y="250"/>
                </a:cubicBezTo>
                <a:cubicBezTo>
                  <a:pt x="43" y="256"/>
                  <a:pt x="44" y="258"/>
                  <a:pt x="51" y="260"/>
                </a:cubicBezTo>
                <a:cubicBezTo>
                  <a:pt x="54" y="261"/>
                  <a:pt x="56" y="261"/>
                  <a:pt x="58" y="261"/>
                </a:cubicBezTo>
                <a:cubicBezTo>
                  <a:pt x="64" y="262"/>
                  <a:pt x="66" y="264"/>
                  <a:pt x="63" y="269"/>
                </a:cubicBezTo>
                <a:cubicBezTo>
                  <a:pt x="62" y="271"/>
                  <a:pt x="61" y="273"/>
                  <a:pt x="60" y="274"/>
                </a:cubicBezTo>
                <a:cubicBezTo>
                  <a:pt x="59" y="280"/>
                  <a:pt x="58" y="283"/>
                  <a:pt x="58" y="286"/>
                </a:cubicBezTo>
                <a:cubicBezTo>
                  <a:pt x="58" y="287"/>
                  <a:pt x="58" y="287"/>
                  <a:pt x="57" y="288"/>
                </a:cubicBezTo>
                <a:cubicBezTo>
                  <a:pt x="55" y="291"/>
                  <a:pt x="55" y="294"/>
                  <a:pt x="55" y="297"/>
                </a:cubicBezTo>
                <a:cubicBezTo>
                  <a:pt x="52" y="297"/>
                  <a:pt x="50" y="296"/>
                  <a:pt x="47" y="296"/>
                </a:cubicBezTo>
                <a:cubicBezTo>
                  <a:pt x="32" y="294"/>
                  <a:pt x="31" y="295"/>
                  <a:pt x="27" y="309"/>
                </a:cubicBezTo>
                <a:cubicBezTo>
                  <a:pt x="27" y="311"/>
                  <a:pt x="26" y="313"/>
                  <a:pt x="25" y="315"/>
                </a:cubicBezTo>
                <a:cubicBezTo>
                  <a:pt x="17" y="324"/>
                  <a:pt x="18" y="332"/>
                  <a:pt x="26" y="343"/>
                </a:cubicBezTo>
                <a:cubicBezTo>
                  <a:pt x="30" y="347"/>
                  <a:pt x="28" y="357"/>
                  <a:pt x="26" y="363"/>
                </a:cubicBezTo>
                <a:cubicBezTo>
                  <a:pt x="24" y="370"/>
                  <a:pt x="17" y="368"/>
                  <a:pt x="11" y="367"/>
                </a:cubicBezTo>
                <a:cubicBezTo>
                  <a:pt x="9" y="366"/>
                  <a:pt x="8" y="365"/>
                  <a:pt x="7" y="366"/>
                </a:cubicBezTo>
                <a:cubicBezTo>
                  <a:pt x="5" y="367"/>
                  <a:pt x="2" y="370"/>
                  <a:pt x="2" y="370"/>
                </a:cubicBezTo>
                <a:cubicBezTo>
                  <a:pt x="7" y="376"/>
                  <a:pt x="3" y="382"/>
                  <a:pt x="1" y="388"/>
                </a:cubicBezTo>
                <a:cubicBezTo>
                  <a:pt x="0" y="391"/>
                  <a:pt x="0" y="395"/>
                  <a:pt x="2" y="397"/>
                </a:cubicBezTo>
                <a:cubicBezTo>
                  <a:pt x="14" y="409"/>
                  <a:pt x="11" y="425"/>
                  <a:pt x="15" y="440"/>
                </a:cubicBezTo>
                <a:cubicBezTo>
                  <a:pt x="15" y="442"/>
                  <a:pt x="14" y="445"/>
                  <a:pt x="14" y="448"/>
                </a:cubicBezTo>
                <a:cubicBezTo>
                  <a:pt x="15" y="453"/>
                  <a:pt x="19" y="456"/>
                  <a:pt x="20" y="453"/>
                </a:cubicBezTo>
                <a:cubicBezTo>
                  <a:pt x="21" y="448"/>
                  <a:pt x="19" y="443"/>
                  <a:pt x="18" y="439"/>
                </a:cubicBezTo>
                <a:cubicBezTo>
                  <a:pt x="14" y="423"/>
                  <a:pt x="22" y="414"/>
                  <a:pt x="37" y="418"/>
                </a:cubicBezTo>
                <a:cubicBezTo>
                  <a:pt x="47" y="420"/>
                  <a:pt x="48" y="421"/>
                  <a:pt x="43" y="431"/>
                </a:cubicBezTo>
                <a:cubicBezTo>
                  <a:pt x="36" y="443"/>
                  <a:pt x="43" y="453"/>
                  <a:pt x="48" y="463"/>
                </a:cubicBezTo>
                <a:cubicBezTo>
                  <a:pt x="48" y="465"/>
                  <a:pt x="52" y="466"/>
                  <a:pt x="53" y="465"/>
                </a:cubicBezTo>
                <a:cubicBezTo>
                  <a:pt x="58" y="464"/>
                  <a:pt x="65" y="463"/>
                  <a:pt x="67" y="459"/>
                </a:cubicBezTo>
                <a:cubicBezTo>
                  <a:pt x="73" y="450"/>
                  <a:pt x="82" y="453"/>
                  <a:pt x="90" y="453"/>
                </a:cubicBezTo>
                <a:cubicBezTo>
                  <a:pt x="97" y="454"/>
                  <a:pt x="101" y="456"/>
                  <a:pt x="101" y="464"/>
                </a:cubicBezTo>
                <a:cubicBezTo>
                  <a:pt x="101" y="467"/>
                  <a:pt x="104" y="473"/>
                  <a:pt x="107" y="473"/>
                </a:cubicBezTo>
                <a:cubicBezTo>
                  <a:pt x="124" y="476"/>
                  <a:pt x="117" y="499"/>
                  <a:pt x="133" y="503"/>
                </a:cubicBezTo>
                <a:cubicBezTo>
                  <a:pt x="133" y="503"/>
                  <a:pt x="133" y="507"/>
                  <a:pt x="132" y="509"/>
                </a:cubicBezTo>
                <a:cubicBezTo>
                  <a:pt x="130" y="522"/>
                  <a:pt x="122" y="531"/>
                  <a:pt x="111" y="539"/>
                </a:cubicBezTo>
                <a:cubicBezTo>
                  <a:pt x="110" y="540"/>
                  <a:pt x="109" y="544"/>
                  <a:pt x="108" y="546"/>
                </a:cubicBezTo>
                <a:cubicBezTo>
                  <a:pt x="111" y="547"/>
                  <a:pt x="115" y="548"/>
                  <a:pt x="117" y="547"/>
                </a:cubicBezTo>
                <a:cubicBezTo>
                  <a:pt x="121" y="544"/>
                  <a:pt x="127" y="541"/>
                  <a:pt x="129" y="536"/>
                </a:cubicBezTo>
                <a:cubicBezTo>
                  <a:pt x="136" y="524"/>
                  <a:pt x="146" y="519"/>
                  <a:pt x="159" y="518"/>
                </a:cubicBezTo>
                <a:cubicBezTo>
                  <a:pt x="165" y="517"/>
                  <a:pt x="171" y="517"/>
                  <a:pt x="176" y="515"/>
                </a:cubicBezTo>
                <a:cubicBezTo>
                  <a:pt x="181" y="514"/>
                  <a:pt x="186" y="511"/>
                  <a:pt x="189" y="507"/>
                </a:cubicBezTo>
                <a:cubicBezTo>
                  <a:pt x="194" y="500"/>
                  <a:pt x="200" y="499"/>
                  <a:pt x="207" y="503"/>
                </a:cubicBezTo>
                <a:cubicBezTo>
                  <a:pt x="215" y="507"/>
                  <a:pt x="222" y="506"/>
                  <a:pt x="228" y="499"/>
                </a:cubicBezTo>
                <a:cubicBezTo>
                  <a:pt x="229" y="497"/>
                  <a:pt x="232" y="496"/>
                  <a:pt x="233" y="495"/>
                </a:cubicBezTo>
                <a:cubicBezTo>
                  <a:pt x="240" y="489"/>
                  <a:pt x="246" y="483"/>
                  <a:pt x="255" y="487"/>
                </a:cubicBezTo>
                <a:cubicBezTo>
                  <a:pt x="256" y="488"/>
                  <a:pt x="258" y="487"/>
                  <a:pt x="258" y="486"/>
                </a:cubicBezTo>
                <a:cubicBezTo>
                  <a:pt x="258" y="478"/>
                  <a:pt x="260" y="469"/>
                  <a:pt x="257" y="463"/>
                </a:cubicBezTo>
                <a:cubicBezTo>
                  <a:pt x="251" y="448"/>
                  <a:pt x="252" y="433"/>
                  <a:pt x="253" y="418"/>
                </a:cubicBezTo>
                <a:cubicBezTo>
                  <a:pt x="253" y="413"/>
                  <a:pt x="252" y="408"/>
                  <a:pt x="251" y="403"/>
                </a:cubicBezTo>
                <a:cubicBezTo>
                  <a:pt x="249" y="394"/>
                  <a:pt x="247" y="385"/>
                  <a:pt x="245" y="376"/>
                </a:cubicBezTo>
                <a:cubicBezTo>
                  <a:pt x="247" y="354"/>
                  <a:pt x="251" y="341"/>
                  <a:pt x="263" y="322"/>
                </a:cubicBezTo>
                <a:cubicBezTo>
                  <a:pt x="269" y="314"/>
                  <a:pt x="277" y="308"/>
                  <a:pt x="287" y="306"/>
                </a:cubicBezTo>
                <a:cubicBezTo>
                  <a:pt x="296" y="303"/>
                  <a:pt x="303" y="305"/>
                  <a:pt x="309" y="313"/>
                </a:cubicBezTo>
                <a:cubicBezTo>
                  <a:pt x="313" y="317"/>
                  <a:pt x="318" y="314"/>
                  <a:pt x="321" y="310"/>
                </a:cubicBezTo>
                <a:cubicBezTo>
                  <a:pt x="327" y="300"/>
                  <a:pt x="334" y="290"/>
                  <a:pt x="338" y="279"/>
                </a:cubicBezTo>
                <a:cubicBezTo>
                  <a:pt x="342" y="269"/>
                  <a:pt x="348" y="268"/>
                  <a:pt x="357" y="267"/>
                </a:cubicBezTo>
                <a:cubicBezTo>
                  <a:pt x="371" y="266"/>
                  <a:pt x="385" y="262"/>
                  <a:pt x="399" y="259"/>
                </a:cubicBezTo>
                <a:cubicBezTo>
                  <a:pt x="402" y="258"/>
                  <a:pt x="406" y="255"/>
                  <a:pt x="409" y="253"/>
                </a:cubicBezTo>
                <a:cubicBezTo>
                  <a:pt x="411" y="252"/>
                  <a:pt x="412" y="249"/>
                  <a:pt x="412" y="247"/>
                </a:cubicBezTo>
                <a:cubicBezTo>
                  <a:pt x="407" y="228"/>
                  <a:pt x="414" y="214"/>
                  <a:pt x="430" y="204"/>
                </a:cubicBezTo>
                <a:cubicBezTo>
                  <a:pt x="440" y="197"/>
                  <a:pt x="451" y="191"/>
                  <a:pt x="462" y="185"/>
                </a:cubicBezTo>
                <a:cubicBezTo>
                  <a:pt x="475" y="178"/>
                  <a:pt x="487" y="171"/>
                  <a:pt x="495" y="158"/>
                </a:cubicBezTo>
                <a:cubicBezTo>
                  <a:pt x="503" y="145"/>
                  <a:pt x="514" y="134"/>
                  <a:pt x="529" y="129"/>
                </a:cubicBezTo>
                <a:cubicBezTo>
                  <a:pt x="536" y="126"/>
                  <a:pt x="545" y="123"/>
                  <a:pt x="549" y="117"/>
                </a:cubicBezTo>
                <a:cubicBezTo>
                  <a:pt x="563" y="102"/>
                  <a:pt x="575" y="86"/>
                  <a:pt x="587" y="70"/>
                </a:cubicBezTo>
                <a:cubicBezTo>
                  <a:pt x="590" y="66"/>
                  <a:pt x="592" y="61"/>
                  <a:pt x="594" y="56"/>
                </a:cubicBezTo>
                <a:cubicBezTo>
                  <a:pt x="589" y="59"/>
                  <a:pt x="584" y="61"/>
                  <a:pt x="580" y="64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A9581C23-0817-4B0E-B98D-8C688E299F2A}"/>
              </a:ext>
            </a:extLst>
          </p:cNvPr>
          <p:cNvSpPr>
            <a:spLocks/>
          </p:cNvSpPr>
          <p:nvPr userDrawn="1"/>
        </p:nvSpPr>
        <p:spPr bwMode="auto">
          <a:xfrm>
            <a:off x="9288463" y="2644775"/>
            <a:ext cx="796925" cy="571500"/>
          </a:xfrm>
          <a:custGeom>
            <a:avLst/>
            <a:gdLst>
              <a:gd name="T0" fmla="*/ 17 w 336"/>
              <a:gd name="T1" fmla="*/ 166 h 241"/>
              <a:gd name="T2" fmla="*/ 61 w 336"/>
              <a:gd name="T3" fmla="*/ 141 h 241"/>
              <a:gd name="T4" fmla="*/ 76 w 336"/>
              <a:gd name="T5" fmla="*/ 138 h 241"/>
              <a:gd name="T6" fmla="*/ 83 w 336"/>
              <a:gd name="T7" fmla="*/ 124 h 241"/>
              <a:gd name="T8" fmla="*/ 54 w 336"/>
              <a:gd name="T9" fmla="*/ 107 h 241"/>
              <a:gd name="T10" fmla="*/ 48 w 336"/>
              <a:gd name="T11" fmla="*/ 78 h 241"/>
              <a:gd name="T12" fmla="*/ 48 w 336"/>
              <a:gd name="T13" fmla="*/ 68 h 241"/>
              <a:gd name="T14" fmla="*/ 72 w 336"/>
              <a:gd name="T15" fmla="*/ 64 h 241"/>
              <a:gd name="T16" fmla="*/ 48 w 336"/>
              <a:gd name="T17" fmla="*/ 36 h 241"/>
              <a:gd name="T18" fmla="*/ 40 w 336"/>
              <a:gd name="T19" fmla="*/ 14 h 241"/>
              <a:gd name="T20" fmla="*/ 53 w 336"/>
              <a:gd name="T21" fmla="*/ 2 h 241"/>
              <a:gd name="T22" fmla="*/ 85 w 336"/>
              <a:gd name="T23" fmla="*/ 22 h 241"/>
              <a:gd name="T24" fmla="*/ 129 w 336"/>
              <a:gd name="T25" fmla="*/ 53 h 241"/>
              <a:gd name="T26" fmla="*/ 150 w 336"/>
              <a:gd name="T27" fmla="*/ 49 h 241"/>
              <a:gd name="T28" fmla="*/ 163 w 336"/>
              <a:gd name="T29" fmla="*/ 62 h 241"/>
              <a:gd name="T30" fmla="*/ 220 w 336"/>
              <a:gd name="T31" fmla="*/ 72 h 241"/>
              <a:gd name="T32" fmla="*/ 257 w 336"/>
              <a:gd name="T33" fmla="*/ 74 h 241"/>
              <a:gd name="T34" fmla="*/ 290 w 336"/>
              <a:gd name="T35" fmla="*/ 78 h 241"/>
              <a:gd name="T36" fmla="*/ 318 w 336"/>
              <a:gd name="T37" fmla="*/ 76 h 241"/>
              <a:gd name="T38" fmla="*/ 335 w 336"/>
              <a:gd name="T39" fmla="*/ 71 h 241"/>
              <a:gd name="T40" fmla="*/ 322 w 336"/>
              <a:gd name="T41" fmla="*/ 91 h 241"/>
              <a:gd name="T42" fmla="*/ 326 w 336"/>
              <a:gd name="T43" fmla="*/ 138 h 241"/>
              <a:gd name="T44" fmla="*/ 305 w 336"/>
              <a:gd name="T45" fmla="*/ 155 h 241"/>
              <a:gd name="T46" fmla="*/ 279 w 336"/>
              <a:gd name="T47" fmla="*/ 169 h 241"/>
              <a:gd name="T48" fmla="*/ 257 w 336"/>
              <a:gd name="T49" fmla="*/ 208 h 241"/>
              <a:gd name="T50" fmla="*/ 218 w 336"/>
              <a:gd name="T51" fmla="*/ 228 h 241"/>
              <a:gd name="T52" fmla="*/ 195 w 336"/>
              <a:gd name="T53" fmla="*/ 209 h 241"/>
              <a:gd name="T54" fmla="*/ 172 w 336"/>
              <a:gd name="T55" fmla="*/ 204 h 241"/>
              <a:gd name="T56" fmla="*/ 137 w 336"/>
              <a:gd name="T57" fmla="*/ 226 h 241"/>
              <a:gd name="T58" fmla="*/ 105 w 336"/>
              <a:gd name="T59" fmla="*/ 230 h 241"/>
              <a:gd name="T60" fmla="*/ 92 w 336"/>
              <a:gd name="T61" fmla="*/ 233 h 241"/>
              <a:gd name="T62" fmla="*/ 59 w 336"/>
              <a:gd name="T63" fmla="*/ 223 h 241"/>
              <a:gd name="T64" fmla="*/ 21 w 336"/>
              <a:gd name="T65" fmla="*/ 226 h 241"/>
              <a:gd name="T66" fmla="*/ 6 w 336"/>
              <a:gd name="T67" fmla="*/ 202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36" h="241">
                <a:moveTo>
                  <a:pt x="1" y="190"/>
                </a:moveTo>
                <a:cubicBezTo>
                  <a:pt x="0" y="176"/>
                  <a:pt x="7" y="171"/>
                  <a:pt x="17" y="166"/>
                </a:cubicBezTo>
                <a:cubicBezTo>
                  <a:pt x="27" y="161"/>
                  <a:pt x="35" y="152"/>
                  <a:pt x="44" y="145"/>
                </a:cubicBezTo>
                <a:cubicBezTo>
                  <a:pt x="49" y="140"/>
                  <a:pt x="54" y="135"/>
                  <a:pt x="61" y="141"/>
                </a:cubicBezTo>
                <a:cubicBezTo>
                  <a:pt x="63" y="142"/>
                  <a:pt x="68" y="142"/>
                  <a:pt x="68" y="141"/>
                </a:cubicBezTo>
                <a:cubicBezTo>
                  <a:pt x="70" y="136"/>
                  <a:pt x="73" y="139"/>
                  <a:pt x="76" y="138"/>
                </a:cubicBezTo>
                <a:cubicBezTo>
                  <a:pt x="80" y="138"/>
                  <a:pt x="84" y="136"/>
                  <a:pt x="86" y="133"/>
                </a:cubicBezTo>
                <a:cubicBezTo>
                  <a:pt x="87" y="132"/>
                  <a:pt x="85" y="126"/>
                  <a:pt x="83" y="124"/>
                </a:cubicBezTo>
                <a:cubicBezTo>
                  <a:pt x="79" y="121"/>
                  <a:pt x="75" y="117"/>
                  <a:pt x="70" y="116"/>
                </a:cubicBezTo>
                <a:cubicBezTo>
                  <a:pt x="63" y="115"/>
                  <a:pt x="59" y="111"/>
                  <a:pt x="54" y="107"/>
                </a:cubicBezTo>
                <a:cubicBezTo>
                  <a:pt x="49" y="101"/>
                  <a:pt x="46" y="98"/>
                  <a:pt x="53" y="91"/>
                </a:cubicBezTo>
                <a:cubicBezTo>
                  <a:pt x="58" y="85"/>
                  <a:pt x="56" y="80"/>
                  <a:pt x="48" y="78"/>
                </a:cubicBezTo>
                <a:cubicBezTo>
                  <a:pt x="46" y="77"/>
                  <a:pt x="45" y="75"/>
                  <a:pt x="43" y="74"/>
                </a:cubicBezTo>
                <a:cubicBezTo>
                  <a:pt x="45" y="72"/>
                  <a:pt x="46" y="69"/>
                  <a:pt x="48" y="68"/>
                </a:cubicBezTo>
                <a:cubicBezTo>
                  <a:pt x="53" y="67"/>
                  <a:pt x="59" y="66"/>
                  <a:pt x="64" y="65"/>
                </a:cubicBezTo>
                <a:cubicBezTo>
                  <a:pt x="67" y="65"/>
                  <a:pt x="69" y="64"/>
                  <a:pt x="72" y="64"/>
                </a:cubicBezTo>
                <a:cubicBezTo>
                  <a:pt x="70" y="61"/>
                  <a:pt x="69" y="59"/>
                  <a:pt x="68" y="57"/>
                </a:cubicBezTo>
                <a:cubicBezTo>
                  <a:pt x="61" y="50"/>
                  <a:pt x="60" y="38"/>
                  <a:pt x="48" y="36"/>
                </a:cubicBezTo>
                <a:cubicBezTo>
                  <a:pt x="46" y="36"/>
                  <a:pt x="45" y="31"/>
                  <a:pt x="44" y="29"/>
                </a:cubicBezTo>
                <a:cubicBezTo>
                  <a:pt x="43" y="24"/>
                  <a:pt x="41" y="19"/>
                  <a:pt x="40" y="14"/>
                </a:cubicBezTo>
                <a:cubicBezTo>
                  <a:pt x="39" y="11"/>
                  <a:pt x="38" y="4"/>
                  <a:pt x="39" y="4"/>
                </a:cubicBezTo>
                <a:cubicBezTo>
                  <a:pt x="43" y="2"/>
                  <a:pt x="49" y="0"/>
                  <a:pt x="53" y="2"/>
                </a:cubicBezTo>
                <a:cubicBezTo>
                  <a:pt x="62" y="4"/>
                  <a:pt x="70" y="8"/>
                  <a:pt x="78" y="11"/>
                </a:cubicBezTo>
                <a:cubicBezTo>
                  <a:pt x="84" y="13"/>
                  <a:pt x="86" y="16"/>
                  <a:pt x="85" y="22"/>
                </a:cubicBezTo>
                <a:cubicBezTo>
                  <a:pt x="84" y="30"/>
                  <a:pt x="88" y="32"/>
                  <a:pt x="95" y="35"/>
                </a:cubicBezTo>
                <a:cubicBezTo>
                  <a:pt x="107" y="40"/>
                  <a:pt x="118" y="46"/>
                  <a:pt x="129" y="53"/>
                </a:cubicBezTo>
                <a:cubicBezTo>
                  <a:pt x="135" y="57"/>
                  <a:pt x="138" y="57"/>
                  <a:pt x="143" y="54"/>
                </a:cubicBezTo>
                <a:cubicBezTo>
                  <a:pt x="146" y="52"/>
                  <a:pt x="148" y="51"/>
                  <a:pt x="150" y="49"/>
                </a:cubicBezTo>
                <a:cubicBezTo>
                  <a:pt x="157" y="45"/>
                  <a:pt x="160" y="48"/>
                  <a:pt x="161" y="54"/>
                </a:cubicBezTo>
                <a:cubicBezTo>
                  <a:pt x="162" y="57"/>
                  <a:pt x="162" y="60"/>
                  <a:pt x="163" y="62"/>
                </a:cubicBezTo>
                <a:cubicBezTo>
                  <a:pt x="166" y="67"/>
                  <a:pt x="169" y="71"/>
                  <a:pt x="176" y="69"/>
                </a:cubicBezTo>
                <a:cubicBezTo>
                  <a:pt x="191" y="63"/>
                  <a:pt x="206" y="64"/>
                  <a:pt x="220" y="72"/>
                </a:cubicBezTo>
                <a:cubicBezTo>
                  <a:pt x="229" y="78"/>
                  <a:pt x="237" y="77"/>
                  <a:pt x="245" y="71"/>
                </a:cubicBezTo>
                <a:cubicBezTo>
                  <a:pt x="250" y="67"/>
                  <a:pt x="253" y="67"/>
                  <a:pt x="257" y="74"/>
                </a:cubicBezTo>
                <a:cubicBezTo>
                  <a:pt x="260" y="81"/>
                  <a:pt x="269" y="82"/>
                  <a:pt x="277" y="80"/>
                </a:cubicBezTo>
                <a:cubicBezTo>
                  <a:pt x="281" y="79"/>
                  <a:pt x="285" y="79"/>
                  <a:pt x="290" y="78"/>
                </a:cubicBezTo>
                <a:cubicBezTo>
                  <a:pt x="294" y="78"/>
                  <a:pt x="299" y="78"/>
                  <a:pt x="303" y="77"/>
                </a:cubicBezTo>
                <a:cubicBezTo>
                  <a:pt x="308" y="75"/>
                  <a:pt x="312" y="71"/>
                  <a:pt x="318" y="76"/>
                </a:cubicBezTo>
                <a:cubicBezTo>
                  <a:pt x="319" y="77"/>
                  <a:pt x="324" y="73"/>
                  <a:pt x="328" y="72"/>
                </a:cubicBezTo>
                <a:cubicBezTo>
                  <a:pt x="330" y="71"/>
                  <a:pt x="333" y="71"/>
                  <a:pt x="335" y="71"/>
                </a:cubicBezTo>
                <a:cubicBezTo>
                  <a:pt x="335" y="73"/>
                  <a:pt x="336" y="77"/>
                  <a:pt x="335" y="79"/>
                </a:cubicBezTo>
                <a:cubicBezTo>
                  <a:pt x="331" y="84"/>
                  <a:pt x="326" y="87"/>
                  <a:pt x="322" y="91"/>
                </a:cubicBezTo>
                <a:cubicBezTo>
                  <a:pt x="305" y="106"/>
                  <a:pt x="306" y="118"/>
                  <a:pt x="322" y="133"/>
                </a:cubicBezTo>
                <a:cubicBezTo>
                  <a:pt x="324" y="134"/>
                  <a:pt x="325" y="137"/>
                  <a:pt x="326" y="138"/>
                </a:cubicBezTo>
                <a:cubicBezTo>
                  <a:pt x="324" y="139"/>
                  <a:pt x="321" y="141"/>
                  <a:pt x="319" y="141"/>
                </a:cubicBezTo>
                <a:cubicBezTo>
                  <a:pt x="311" y="142"/>
                  <a:pt x="305" y="145"/>
                  <a:pt x="305" y="155"/>
                </a:cubicBezTo>
                <a:cubicBezTo>
                  <a:pt x="305" y="156"/>
                  <a:pt x="301" y="159"/>
                  <a:pt x="299" y="159"/>
                </a:cubicBezTo>
                <a:cubicBezTo>
                  <a:pt x="290" y="159"/>
                  <a:pt x="284" y="163"/>
                  <a:pt x="279" y="169"/>
                </a:cubicBezTo>
                <a:cubicBezTo>
                  <a:pt x="279" y="170"/>
                  <a:pt x="278" y="170"/>
                  <a:pt x="278" y="170"/>
                </a:cubicBezTo>
                <a:cubicBezTo>
                  <a:pt x="263" y="178"/>
                  <a:pt x="258" y="191"/>
                  <a:pt x="257" y="208"/>
                </a:cubicBezTo>
                <a:cubicBezTo>
                  <a:pt x="257" y="215"/>
                  <a:pt x="247" y="220"/>
                  <a:pt x="240" y="218"/>
                </a:cubicBezTo>
                <a:cubicBezTo>
                  <a:pt x="226" y="216"/>
                  <a:pt x="225" y="216"/>
                  <a:pt x="218" y="228"/>
                </a:cubicBezTo>
                <a:cubicBezTo>
                  <a:pt x="216" y="231"/>
                  <a:pt x="214" y="234"/>
                  <a:pt x="212" y="229"/>
                </a:cubicBezTo>
                <a:cubicBezTo>
                  <a:pt x="207" y="221"/>
                  <a:pt x="195" y="221"/>
                  <a:pt x="195" y="209"/>
                </a:cubicBezTo>
                <a:cubicBezTo>
                  <a:pt x="195" y="208"/>
                  <a:pt x="190" y="206"/>
                  <a:pt x="188" y="207"/>
                </a:cubicBezTo>
                <a:cubicBezTo>
                  <a:pt x="182" y="209"/>
                  <a:pt x="177" y="208"/>
                  <a:pt x="172" y="204"/>
                </a:cubicBezTo>
                <a:cubicBezTo>
                  <a:pt x="172" y="203"/>
                  <a:pt x="166" y="205"/>
                  <a:pt x="166" y="206"/>
                </a:cubicBezTo>
                <a:cubicBezTo>
                  <a:pt x="161" y="222"/>
                  <a:pt x="152" y="227"/>
                  <a:pt x="137" y="226"/>
                </a:cubicBezTo>
                <a:cubicBezTo>
                  <a:pt x="133" y="226"/>
                  <a:pt x="128" y="230"/>
                  <a:pt x="124" y="232"/>
                </a:cubicBezTo>
                <a:cubicBezTo>
                  <a:pt x="115" y="238"/>
                  <a:pt x="114" y="238"/>
                  <a:pt x="105" y="230"/>
                </a:cubicBezTo>
                <a:cubicBezTo>
                  <a:pt x="103" y="228"/>
                  <a:pt x="100" y="228"/>
                  <a:pt x="97" y="229"/>
                </a:cubicBezTo>
                <a:cubicBezTo>
                  <a:pt x="95" y="229"/>
                  <a:pt x="94" y="231"/>
                  <a:pt x="92" y="233"/>
                </a:cubicBezTo>
                <a:cubicBezTo>
                  <a:pt x="80" y="241"/>
                  <a:pt x="79" y="241"/>
                  <a:pt x="70" y="230"/>
                </a:cubicBezTo>
                <a:cubicBezTo>
                  <a:pt x="68" y="226"/>
                  <a:pt x="63" y="223"/>
                  <a:pt x="59" y="223"/>
                </a:cubicBezTo>
                <a:cubicBezTo>
                  <a:pt x="52" y="223"/>
                  <a:pt x="44" y="224"/>
                  <a:pt x="36" y="224"/>
                </a:cubicBezTo>
                <a:cubicBezTo>
                  <a:pt x="31" y="225"/>
                  <a:pt x="26" y="226"/>
                  <a:pt x="21" y="226"/>
                </a:cubicBezTo>
                <a:cubicBezTo>
                  <a:pt x="18" y="225"/>
                  <a:pt x="14" y="222"/>
                  <a:pt x="14" y="219"/>
                </a:cubicBezTo>
                <a:cubicBezTo>
                  <a:pt x="14" y="212"/>
                  <a:pt x="11" y="207"/>
                  <a:pt x="6" y="202"/>
                </a:cubicBezTo>
                <a:cubicBezTo>
                  <a:pt x="3" y="199"/>
                  <a:pt x="2" y="194"/>
                  <a:pt x="1" y="19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A8F73F4D-207B-4DDE-85F7-E190A8EAA09E}"/>
              </a:ext>
            </a:extLst>
          </p:cNvPr>
          <p:cNvSpPr>
            <a:spLocks/>
          </p:cNvSpPr>
          <p:nvPr userDrawn="1"/>
        </p:nvSpPr>
        <p:spPr bwMode="auto">
          <a:xfrm>
            <a:off x="10641013" y="2187575"/>
            <a:ext cx="917575" cy="506413"/>
          </a:xfrm>
          <a:custGeom>
            <a:avLst/>
            <a:gdLst>
              <a:gd name="T0" fmla="*/ 377 w 387"/>
              <a:gd name="T1" fmla="*/ 167 h 214"/>
              <a:gd name="T2" fmla="*/ 366 w 387"/>
              <a:gd name="T3" fmla="*/ 159 h 214"/>
              <a:gd name="T4" fmla="*/ 339 w 387"/>
              <a:gd name="T5" fmla="*/ 155 h 214"/>
              <a:gd name="T6" fmla="*/ 330 w 387"/>
              <a:gd name="T7" fmla="*/ 159 h 214"/>
              <a:gd name="T8" fmla="*/ 294 w 387"/>
              <a:gd name="T9" fmla="*/ 181 h 214"/>
              <a:gd name="T10" fmla="*/ 273 w 387"/>
              <a:gd name="T11" fmla="*/ 205 h 214"/>
              <a:gd name="T12" fmla="*/ 256 w 387"/>
              <a:gd name="T13" fmla="*/ 214 h 214"/>
              <a:gd name="T14" fmla="*/ 253 w 387"/>
              <a:gd name="T15" fmla="*/ 195 h 214"/>
              <a:gd name="T16" fmla="*/ 258 w 387"/>
              <a:gd name="T17" fmla="*/ 187 h 214"/>
              <a:gd name="T18" fmla="*/ 287 w 387"/>
              <a:gd name="T19" fmla="*/ 169 h 214"/>
              <a:gd name="T20" fmla="*/ 295 w 387"/>
              <a:gd name="T21" fmla="*/ 165 h 214"/>
              <a:gd name="T22" fmla="*/ 299 w 387"/>
              <a:gd name="T23" fmla="*/ 148 h 214"/>
              <a:gd name="T24" fmla="*/ 291 w 387"/>
              <a:gd name="T25" fmla="*/ 134 h 214"/>
              <a:gd name="T26" fmla="*/ 292 w 387"/>
              <a:gd name="T27" fmla="*/ 127 h 214"/>
              <a:gd name="T28" fmla="*/ 294 w 387"/>
              <a:gd name="T29" fmla="*/ 112 h 214"/>
              <a:gd name="T30" fmla="*/ 281 w 387"/>
              <a:gd name="T31" fmla="*/ 108 h 214"/>
              <a:gd name="T32" fmla="*/ 275 w 387"/>
              <a:gd name="T33" fmla="*/ 109 h 214"/>
              <a:gd name="T34" fmla="*/ 214 w 387"/>
              <a:gd name="T35" fmla="*/ 137 h 214"/>
              <a:gd name="T36" fmla="*/ 194 w 387"/>
              <a:gd name="T37" fmla="*/ 144 h 214"/>
              <a:gd name="T38" fmla="*/ 176 w 387"/>
              <a:gd name="T39" fmla="*/ 155 h 214"/>
              <a:gd name="T40" fmla="*/ 168 w 387"/>
              <a:gd name="T41" fmla="*/ 166 h 214"/>
              <a:gd name="T42" fmla="*/ 149 w 387"/>
              <a:gd name="T43" fmla="*/ 191 h 214"/>
              <a:gd name="T44" fmla="*/ 129 w 387"/>
              <a:gd name="T45" fmla="*/ 202 h 214"/>
              <a:gd name="T46" fmla="*/ 116 w 387"/>
              <a:gd name="T47" fmla="*/ 201 h 214"/>
              <a:gd name="T48" fmla="*/ 88 w 387"/>
              <a:gd name="T49" fmla="*/ 201 h 214"/>
              <a:gd name="T50" fmla="*/ 68 w 387"/>
              <a:gd name="T51" fmla="*/ 203 h 214"/>
              <a:gd name="T52" fmla="*/ 46 w 387"/>
              <a:gd name="T53" fmla="*/ 208 h 214"/>
              <a:gd name="T54" fmla="*/ 33 w 387"/>
              <a:gd name="T55" fmla="*/ 191 h 214"/>
              <a:gd name="T56" fmla="*/ 34 w 387"/>
              <a:gd name="T57" fmla="*/ 185 h 214"/>
              <a:gd name="T58" fmla="*/ 17 w 387"/>
              <a:gd name="T59" fmla="*/ 171 h 214"/>
              <a:gd name="T60" fmla="*/ 3 w 387"/>
              <a:gd name="T61" fmla="*/ 158 h 214"/>
              <a:gd name="T62" fmla="*/ 11 w 387"/>
              <a:gd name="T63" fmla="*/ 152 h 214"/>
              <a:gd name="T64" fmla="*/ 17 w 387"/>
              <a:gd name="T65" fmla="*/ 153 h 214"/>
              <a:gd name="T66" fmla="*/ 59 w 387"/>
              <a:gd name="T67" fmla="*/ 139 h 214"/>
              <a:gd name="T68" fmla="*/ 73 w 387"/>
              <a:gd name="T69" fmla="*/ 123 h 214"/>
              <a:gd name="T70" fmla="*/ 81 w 387"/>
              <a:gd name="T71" fmla="*/ 115 h 214"/>
              <a:gd name="T72" fmla="*/ 104 w 387"/>
              <a:gd name="T73" fmla="*/ 83 h 214"/>
              <a:gd name="T74" fmla="*/ 111 w 387"/>
              <a:gd name="T75" fmla="*/ 76 h 214"/>
              <a:gd name="T76" fmla="*/ 130 w 387"/>
              <a:gd name="T77" fmla="*/ 73 h 214"/>
              <a:gd name="T78" fmla="*/ 160 w 387"/>
              <a:gd name="T79" fmla="*/ 49 h 214"/>
              <a:gd name="T80" fmla="*/ 178 w 387"/>
              <a:gd name="T81" fmla="*/ 32 h 214"/>
              <a:gd name="T82" fmla="*/ 195 w 387"/>
              <a:gd name="T83" fmla="*/ 23 h 214"/>
              <a:gd name="T84" fmla="*/ 202 w 387"/>
              <a:gd name="T85" fmla="*/ 24 h 214"/>
              <a:gd name="T86" fmla="*/ 226 w 387"/>
              <a:gd name="T87" fmla="*/ 32 h 214"/>
              <a:gd name="T88" fmla="*/ 231 w 387"/>
              <a:gd name="T89" fmla="*/ 32 h 214"/>
              <a:gd name="T90" fmla="*/ 261 w 387"/>
              <a:gd name="T91" fmla="*/ 19 h 214"/>
              <a:gd name="T92" fmla="*/ 290 w 387"/>
              <a:gd name="T93" fmla="*/ 2 h 214"/>
              <a:gd name="T94" fmla="*/ 302 w 387"/>
              <a:gd name="T95" fmla="*/ 19 h 214"/>
              <a:gd name="T96" fmla="*/ 298 w 387"/>
              <a:gd name="T97" fmla="*/ 25 h 214"/>
              <a:gd name="T98" fmla="*/ 300 w 387"/>
              <a:gd name="T99" fmla="*/ 35 h 214"/>
              <a:gd name="T100" fmla="*/ 308 w 387"/>
              <a:gd name="T101" fmla="*/ 33 h 214"/>
              <a:gd name="T102" fmla="*/ 324 w 387"/>
              <a:gd name="T103" fmla="*/ 33 h 214"/>
              <a:gd name="T104" fmla="*/ 324 w 387"/>
              <a:gd name="T105" fmla="*/ 53 h 214"/>
              <a:gd name="T106" fmla="*/ 316 w 387"/>
              <a:gd name="T107" fmla="*/ 69 h 214"/>
              <a:gd name="T108" fmla="*/ 329 w 387"/>
              <a:gd name="T109" fmla="*/ 77 h 214"/>
              <a:gd name="T110" fmla="*/ 348 w 387"/>
              <a:gd name="T111" fmla="*/ 75 h 214"/>
              <a:gd name="T112" fmla="*/ 372 w 387"/>
              <a:gd name="T113" fmla="*/ 78 h 214"/>
              <a:gd name="T114" fmla="*/ 379 w 387"/>
              <a:gd name="T115" fmla="*/ 80 h 214"/>
              <a:gd name="T116" fmla="*/ 381 w 387"/>
              <a:gd name="T117" fmla="*/ 110 h 214"/>
              <a:gd name="T118" fmla="*/ 366 w 387"/>
              <a:gd name="T119" fmla="*/ 123 h 214"/>
              <a:gd name="T120" fmla="*/ 364 w 387"/>
              <a:gd name="T121" fmla="*/ 151 h 214"/>
              <a:gd name="T122" fmla="*/ 377 w 387"/>
              <a:gd name="T123" fmla="*/ 167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87" h="214">
                <a:moveTo>
                  <a:pt x="377" y="167"/>
                </a:moveTo>
                <a:cubicBezTo>
                  <a:pt x="373" y="164"/>
                  <a:pt x="369" y="162"/>
                  <a:pt x="366" y="159"/>
                </a:cubicBezTo>
                <a:cubicBezTo>
                  <a:pt x="358" y="151"/>
                  <a:pt x="349" y="151"/>
                  <a:pt x="339" y="155"/>
                </a:cubicBezTo>
                <a:cubicBezTo>
                  <a:pt x="336" y="157"/>
                  <a:pt x="333" y="159"/>
                  <a:pt x="330" y="159"/>
                </a:cubicBezTo>
                <a:cubicBezTo>
                  <a:pt x="314" y="159"/>
                  <a:pt x="304" y="170"/>
                  <a:pt x="294" y="181"/>
                </a:cubicBezTo>
                <a:cubicBezTo>
                  <a:pt x="287" y="189"/>
                  <a:pt x="281" y="198"/>
                  <a:pt x="273" y="205"/>
                </a:cubicBezTo>
                <a:cubicBezTo>
                  <a:pt x="269" y="209"/>
                  <a:pt x="262" y="211"/>
                  <a:pt x="256" y="214"/>
                </a:cubicBezTo>
                <a:cubicBezTo>
                  <a:pt x="255" y="207"/>
                  <a:pt x="254" y="201"/>
                  <a:pt x="253" y="195"/>
                </a:cubicBezTo>
                <a:cubicBezTo>
                  <a:pt x="253" y="192"/>
                  <a:pt x="256" y="189"/>
                  <a:pt x="258" y="187"/>
                </a:cubicBezTo>
                <a:cubicBezTo>
                  <a:pt x="266" y="179"/>
                  <a:pt x="273" y="168"/>
                  <a:pt x="287" y="169"/>
                </a:cubicBezTo>
                <a:cubicBezTo>
                  <a:pt x="290" y="169"/>
                  <a:pt x="292" y="166"/>
                  <a:pt x="295" y="165"/>
                </a:cubicBezTo>
                <a:cubicBezTo>
                  <a:pt x="307" y="159"/>
                  <a:pt x="307" y="159"/>
                  <a:pt x="299" y="148"/>
                </a:cubicBezTo>
                <a:cubicBezTo>
                  <a:pt x="296" y="143"/>
                  <a:pt x="293" y="139"/>
                  <a:pt x="291" y="134"/>
                </a:cubicBezTo>
                <a:cubicBezTo>
                  <a:pt x="290" y="132"/>
                  <a:pt x="290" y="128"/>
                  <a:pt x="292" y="127"/>
                </a:cubicBezTo>
                <a:cubicBezTo>
                  <a:pt x="297" y="122"/>
                  <a:pt x="298" y="117"/>
                  <a:pt x="294" y="112"/>
                </a:cubicBezTo>
                <a:cubicBezTo>
                  <a:pt x="292" y="109"/>
                  <a:pt x="286" y="109"/>
                  <a:pt x="281" y="108"/>
                </a:cubicBezTo>
                <a:cubicBezTo>
                  <a:pt x="279" y="108"/>
                  <a:pt x="276" y="108"/>
                  <a:pt x="275" y="109"/>
                </a:cubicBezTo>
                <a:cubicBezTo>
                  <a:pt x="256" y="123"/>
                  <a:pt x="232" y="122"/>
                  <a:pt x="214" y="137"/>
                </a:cubicBezTo>
                <a:cubicBezTo>
                  <a:pt x="209" y="142"/>
                  <a:pt x="201" y="143"/>
                  <a:pt x="194" y="144"/>
                </a:cubicBezTo>
                <a:cubicBezTo>
                  <a:pt x="186" y="145"/>
                  <a:pt x="180" y="147"/>
                  <a:pt x="176" y="155"/>
                </a:cubicBezTo>
                <a:cubicBezTo>
                  <a:pt x="175" y="159"/>
                  <a:pt x="171" y="163"/>
                  <a:pt x="168" y="166"/>
                </a:cubicBezTo>
                <a:cubicBezTo>
                  <a:pt x="159" y="173"/>
                  <a:pt x="152" y="179"/>
                  <a:pt x="149" y="191"/>
                </a:cubicBezTo>
                <a:cubicBezTo>
                  <a:pt x="147" y="201"/>
                  <a:pt x="139" y="203"/>
                  <a:pt x="129" y="202"/>
                </a:cubicBezTo>
                <a:cubicBezTo>
                  <a:pt x="125" y="201"/>
                  <a:pt x="120" y="201"/>
                  <a:pt x="116" y="201"/>
                </a:cubicBezTo>
                <a:cubicBezTo>
                  <a:pt x="106" y="203"/>
                  <a:pt x="98" y="206"/>
                  <a:pt x="88" y="201"/>
                </a:cubicBezTo>
                <a:cubicBezTo>
                  <a:pt x="83" y="198"/>
                  <a:pt x="75" y="201"/>
                  <a:pt x="68" y="203"/>
                </a:cubicBezTo>
                <a:cubicBezTo>
                  <a:pt x="61" y="204"/>
                  <a:pt x="53" y="207"/>
                  <a:pt x="46" y="208"/>
                </a:cubicBezTo>
                <a:cubicBezTo>
                  <a:pt x="36" y="209"/>
                  <a:pt x="30" y="201"/>
                  <a:pt x="33" y="191"/>
                </a:cubicBezTo>
                <a:cubicBezTo>
                  <a:pt x="33" y="189"/>
                  <a:pt x="34" y="187"/>
                  <a:pt x="34" y="185"/>
                </a:cubicBezTo>
                <a:cubicBezTo>
                  <a:pt x="34" y="174"/>
                  <a:pt x="28" y="169"/>
                  <a:pt x="17" y="171"/>
                </a:cubicBezTo>
                <a:cubicBezTo>
                  <a:pt x="7" y="172"/>
                  <a:pt x="0" y="166"/>
                  <a:pt x="3" y="158"/>
                </a:cubicBezTo>
                <a:cubicBezTo>
                  <a:pt x="4" y="155"/>
                  <a:pt x="8" y="153"/>
                  <a:pt x="11" y="152"/>
                </a:cubicBezTo>
                <a:cubicBezTo>
                  <a:pt x="12" y="151"/>
                  <a:pt x="15" y="153"/>
                  <a:pt x="17" y="153"/>
                </a:cubicBezTo>
                <a:cubicBezTo>
                  <a:pt x="31" y="149"/>
                  <a:pt x="45" y="145"/>
                  <a:pt x="59" y="139"/>
                </a:cubicBezTo>
                <a:cubicBezTo>
                  <a:pt x="66" y="137"/>
                  <a:pt x="73" y="133"/>
                  <a:pt x="73" y="123"/>
                </a:cubicBezTo>
                <a:cubicBezTo>
                  <a:pt x="74" y="120"/>
                  <a:pt x="78" y="118"/>
                  <a:pt x="81" y="115"/>
                </a:cubicBezTo>
                <a:cubicBezTo>
                  <a:pt x="91" y="106"/>
                  <a:pt x="104" y="100"/>
                  <a:pt x="104" y="83"/>
                </a:cubicBezTo>
                <a:cubicBezTo>
                  <a:pt x="104" y="81"/>
                  <a:pt x="108" y="77"/>
                  <a:pt x="111" y="76"/>
                </a:cubicBezTo>
                <a:cubicBezTo>
                  <a:pt x="117" y="74"/>
                  <a:pt x="123" y="74"/>
                  <a:pt x="130" y="73"/>
                </a:cubicBezTo>
                <a:cubicBezTo>
                  <a:pt x="143" y="69"/>
                  <a:pt x="155" y="64"/>
                  <a:pt x="160" y="49"/>
                </a:cubicBezTo>
                <a:cubicBezTo>
                  <a:pt x="163" y="42"/>
                  <a:pt x="171" y="37"/>
                  <a:pt x="178" y="32"/>
                </a:cubicBezTo>
                <a:cubicBezTo>
                  <a:pt x="183" y="28"/>
                  <a:pt x="189" y="25"/>
                  <a:pt x="195" y="23"/>
                </a:cubicBezTo>
                <a:cubicBezTo>
                  <a:pt x="196" y="22"/>
                  <a:pt x="200" y="22"/>
                  <a:pt x="202" y="24"/>
                </a:cubicBezTo>
                <a:cubicBezTo>
                  <a:pt x="208" y="31"/>
                  <a:pt x="217" y="31"/>
                  <a:pt x="226" y="32"/>
                </a:cubicBezTo>
                <a:cubicBezTo>
                  <a:pt x="228" y="32"/>
                  <a:pt x="230" y="31"/>
                  <a:pt x="231" y="32"/>
                </a:cubicBezTo>
                <a:cubicBezTo>
                  <a:pt x="245" y="37"/>
                  <a:pt x="253" y="32"/>
                  <a:pt x="261" y="19"/>
                </a:cubicBezTo>
                <a:cubicBezTo>
                  <a:pt x="267" y="11"/>
                  <a:pt x="280" y="7"/>
                  <a:pt x="290" y="2"/>
                </a:cubicBezTo>
                <a:cubicBezTo>
                  <a:pt x="296" y="0"/>
                  <a:pt x="304" y="13"/>
                  <a:pt x="302" y="19"/>
                </a:cubicBezTo>
                <a:cubicBezTo>
                  <a:pt x="301" y="21"/>
                  <a:pt x="298" y="23"/>
                  <a:pt x="298" y="25"/>
                </a:cubicBezTo>
                <a:cubicBezTo>
                  <a:pt x="298" y="28"/>
                  <a:pt x="299" y="32"/>
                  <a:pt x="300" y="35"/>
                </a:cubicBezTo>
                <a:cubicBezTo>
                  <a:pt x="303" y="34"/>
                  <a:pt x="306" y="34"/>
                  <a:pt x="308" y="33"/>
                </a:cubicBezTo>
                <a:cubicBezTo>
                  <a:pt x="314" y="29"/>
                  <a:pt x="319" y="27"/>
                  <a:pt x="324" y="33"/>
                </a:cubicBezTo>
                <a:cubicBezTo>
                  <a:pt x="329" y="40"/>
                  <a:pt x="329" y="46"/>
                  <a:pt x="324" y="53"/>
                </a:cubicBezTo>
                <a:cubicBezTo>
                  <a:pt x="320" y="58"/>
                  <a:pt x="317" y="63"/>
                  <a:pt x="316" y="69"/>
                </a:cubicBezTo>
                <a:cubicBezTo>
                  <a:pt x="315" y="78"/>
                  <a:pt x="322" y="82"/>
                  <a:pt x="329" y="77"/>
                </a:cubicBezTo>
                <a:cubicBezTo>
                  <a:pt x="336" y="72"/>
                  <a:pt x="341" y="72"/>
                  <a:pt x="348" y="75"/>
                </a:cubicBezTo>
                <a:cubicBezTo>
                  <a:pt x="355" y="79"/>
                  <a:pt x="363" y="82"/>
                  <a:pt x="372" y="78"/>
                </a:cubicBezTo>
                <a:cubicBezTo>
                  <a:pt x="373" y="77"/>
                  <a:pt x="377" y="78"/>
                  <a:pt x="379" y="80"/>
                </a:cubicBezTo>
                <a:cubicBezTo>
                  <a:pt x="386" y="85"/>
                  <a:pt x="387" y="105"/>
                  <a:pt x="381" y="110"/>
                </a:cubicBezTo>
                <a:cubicBezTo>
                  <a:pt x="376" y="115"/>
                  <a:pt x="371" y="119"/>
                  <a:pt x="366" y="123"/>
                </a:cubicBezTo>
                <a:cubicBezTo>
                  <a:pt x="356" y="132"/>
                  <a:pt x="356" y="140"/>
                  <a:pt x="364" y="151"/>
                </a:cubicBezTo>
                <a:cubicBezTo>
                  <a:pt x="369" y="156"/>
                  <a:pt x="373" y="162"/>
                  <a:pt x="377" y="167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7A2613D5-7657-4D3E-895F-2F229132BD55}"/>
              </a:ext>
            </a:extLst>
          </p:cNvPr>
          <p:cNvSpPr>
            <a:spLocks/>
          </p:cNvSpPr>
          <p:nvPr userDrawn="1"/>
        </p:nvSpPr>
        <p:spPr bwMode="auto">
          <a:xfrm>
            <a:off x="10334625" y="2457450"/>
            <a:ext cx="1008063" cy="730250"/>
          </a:xfrm>
          <a:custGeom>
            <a:avLst/>
            <a:gdLst>
              <a:gd name="T0" fmla="*/ 154 w 425"/>
              <a:gd name="T1" fmla="*/ 165 h 308"/>
              <a:gd name="T2" fmla="*/ 96 w 425"/>
              <a:gd name="T3" fmla="*/ 182 h 308"/>
              <a:gd name="T4" fmla="*/ 54 w 425"/>
              <a:gd name="T5" fmla="*/ 177 h 308"/>
              <a:gd name="T6" fmla="*/ 22 w 425"/>
              <a:gd name="T7" fmla="*/ 179 h 308"/>
              <a:gd name="T8" fmla="*/ 14 w 425"/>
              <a:gd name="T9" fmla="*/ 132 h 308"/>
              <a:gd name="T10" fmla="*/ 47 w 425"/>
              <a:gd name="T11" fmla="*/ 112 h 308"/>
              <a:gd name="T12" fmla="*/ 115 w 425"/>
              <a:gd name="T13" fmla="*/ 112 h 308"/>
              <a:gd name="T14" fmla="*/ 162 w 425"/>
              <a:gd name="T15" fmla="*/ 106 h 308"/>
              <a:gd name="T16" fmla="*/ 195 w 425"/>
              <a:gd name="T17" fmla="*/ 96 h 308"/>
              <a:gd name="T18" fmla="*/ 225 w 425"/>
              <a:gd name="T19" fmla="*/ 96 h 308"/>
              <a:gd name="T20" fmla="*/ 284 w 425"/>
              <a:gd name="T21" fmla="*/ 77 h 308"/>
              <a:gd name="T22" fmla="*/ 311 w 425"/>
              <a:gd name="T23" fmla="*/ 42 h 308"/>
              <a:gd name="T24" fmla="*/ 355 w 425"/>
              <a:gd name="T25" fmla="*/ 23 h 308"/>
              <a:gd name="T26" fmla="*/ 398 w 425"/>
              <a:gd name="T27" fmla="*/ 5 h 308"/>
              <a:gd name="T28" fmla="*/ 419 w 425"/>
              <a:gd name="T29" fmla="*/ 2 h 308"/>
              <a:gd name="T30" fmla="*/ 412 w 425"/>
              <a:gd name="T31" fmla="*/ 19 h 308"/>
              <a:gd name="T32" fmla="*/ 423 w 425"/>
              <a:gd name="T33" fmla="*/ 45 h 308"/>
              <a:gd name="T34" fmla="*/ 394 w 425"/>
              <a:gd name="T35" fmla="*/ 57 h 308"/>
              <a:gd name="T36" fmla="*/ 355 w 425"/>
              <a:gd name="T37" fmla="*/ 84 h 308"/>
              <a:gd name="T38" fmla="*/ 323 w 425"/>
              <a:gd name="T39" fmla="*/ 117 h 308"/>
              <a:gd name="T40" fmla="*/ 298 w 425"/>
              <a:gd name="T41" fmla="*/ 162 h 308"/>
              <a:gd name="T42" fmla="*/ 279 w 425"/>
              <a:gd name="T43" fmla="*/ 167 h 308"/>
              <a:gd name="T44" fmla="*/ 260 w 425"/>
              <a:gd name="T45" fmla="*/ 206 h 308"/>
              <a:gd name="T46" fmla="*/ 245 w 425"/>
              <a:gd name="T47" fmla="*/ 268 h 308"/>
              <a:gd name="T48" fmla="*/ 211 w 425"/>
              <a:gd name="T49" fmla="*/ 300 h 308"/>
              <a:gd name="T50" fmla="*/ 185 w 425"/>
              <a:gd name="T51" fmla="*/ 271 h 308"/>
              <a:gd name="T52" fmla="*/ 203 w 425"/>
              <a:gd name="T53" fmla="*/ 249 h 308"/>
              <a:gd name="T54" fmla="*/ 216 w 425"/>
              <a:gd name="T55" fmla="*/ 230 h 308"/>
              <a:gd name="T56" fmla="*/ 214 w 425"/>
              <a:gd name="T57" fmla="*/ 199 h 308"/>
              <a:gd name="T58" fmla="*/ 199 w 425"/>
              <a:gd name="T59" fmla="*/ 191 h 308"/>
              <a:gd name="T60" fmla="*/ 177 w 425"/>
              <a:gd name="T61" fmla="*/ 182 h 308"/>
              <a:gd name="T62" fmla="*/ 166 w 425"/>
              <a:gd name="T63" fmla="*/ 166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25" h="308">
                <a:moveTo>
                  <a:pt x="166" y="166"/>
                </a:moveTo>
                <a:cubicBezTo>
                  <a:pt x="164" y="165"/>
                  <a:pt x="159" y="165"/>
                  <a:pt x="154" y="165"/>
                </a:cubicBezTo>
                <a:cubicBezTo>
                  <a:pt x="144" y="165"/>
                  <a:pt x="136" y="171"/>
                  <a:pt x="128" y="177"/>
                </a:cubicBezTo>
                <a:cubicBezTo>
                  <a:pt x="118" y="186"/>
                  <a:pt x="108" y="191"/>
                  <a:pt x="96" y="182"/>
                </a:cubicBezTo>
                <a:cubicBezTo>
                  <a:pt x="93" y="180"/>
                  <a:pt x="89" y="180"/>
                  <a:pt x="85" y="180"/>
                </a:cubicBezTo>
                <a:cubicBezTo>
                  <a:pt x="75" y="179"/>
                  <a:pt x="64" y="177"/>
                  <a:pt x="54" y="177"/>
                </a:cubicBezTo>
                <a:cubicBezTo>
                  <a:pt x="46" y="177"/>
                  <a:pt x="38" y="180"/>
                  <a:pt x="31" y="182"/>
                </a:cubicBezTo>
                <a:cubicBezTo>
                  <a:pt x="27" y="184"/>
                  <a:pt x="24" y="184"/>
                  <a:pt x="22" y="179"/>
                </a:cubicBezTo>
                <a:cubicBezTo>
                  <a:pt x="21" y="176"/>
                  <a:pt x="20" y="172"/>
                  <a:pt x="18" y="171"/>
                </a:cubicBezTo>
                <a:cubicBezTo>
                  <a:pt x="0" y="159"/>
                  <a:pt x="8" y="143"/>
                  <a:pt x="14" y="132"/>
                </a:cubicBezTo>
                <a:cubicBezTo>
                  <a:pt x="20" y="123"/>
                  <a:pt x="35" y="118"/>
                  <a:pt x="46" y="112"/>
                </a:cubicBezTo>
                <a:cubicBezTo>
                  <a:pt x="46" y="112"/>
                  <a:pt x="47" y="112"/>
                  <a:pt x="47" y="112"/>
                </a:cubicBezTo>
                <a:cubicBezTo>
                  <a:pt x="63" y="123"/>
                  <a:pt x="79" y="118"/>
                  <a:pt x="96" y="117"/>
                </a:cubicBezTo>
                <a:cubicBezTo>
                  <a:pt x="102" y="117"/>
                  <a:pt x="109" y="114"/>
                  <a:pt x="115" y="112"/>
                </a:cubicBezTo>
                <a:cubicBezTo>
                  <a:pt x="119" y="111"/>
                  <a:pt x="123" y="109"/>
                  <a:pt x="126" y="110"/>
                </a:cubicBezTo>
                <a:cubicBezTo>
                  <a:pt x="139" y="116"/>
                  <a:pt x="150" y="110"/>
                  <a:pt x="162" y="106"/>
                </a:cubicBezTo>
                <a:cubicBezTo>
                  <a:pt x="168" y="104"/>
                  <a:pt x="175" y="102"/>
                  <a:pt x="182" y="100"/>
                </a:cubicBezTo>
                <a:cubicBezTo>
                  <a:pt x="187" y="99"/>
                  <a:pt x="192" y="99"/>
                  <a:pt x="195" y="96"/>
                </a:cubicBezTo>
                <a:cubicBezTo>
                  <a:pt x="205" y="89"/>
                  <a:pt x="214" y="89"/>
                  <a:pt x="223" y="96"/>
                </a:cubicBezTo>
                <a:cubicBezTo>
                  <a:pt x="224" y="96"/>
                  <a:pt x="224" y="97"/>
                  <a:pt x="225" y="96"/>
                </a:cubicBezTo>
                <a:cubicBezTo>
                  <a:pt x="241" y="95"/>
                  <a:pt x="257" y="94"/>
                  <a:pt x="273" y="90"/>
                </a:cubicBezTo>
                <a:cubicBezTo>
                  <a:pt x="278" y="89"/>
                  <a:pt x="283" y="82"/>
                  <a:pt x="284" y="77"/>
                </a:cubicBezTo>
                <a:cubicBezTo>
                  <a:pt x="285" y="68"/>
                  <a:pt x="291" y="64"/>
                  <a:pt x="296" y="59"/>
                </a:cubicBezTo>
                <a:cubicBezTo>
                  <a:pt x="301" y="54"/>
                  <a:pt x="306" y="48"/>
                  <a:pt x="311" y="42"/>
                </a:cubicBezTo>
                <a:cubicBezTo>
                  <a:pt x="314" y="40"/>
                  <a:pt x="317" y="37"/>
                  <a:pt x="320" y="37"/>
                </a:cubicBezTo>
                <a:cubicBezTo>
                  <a:pt x="333" y="36"/>
                  <a:pt x="344" y="29"/>
                  <a:pt x="355" y="23"/>
                </a:cubicBezTo>
                <a:cubicBezTo>
                  <a:pt x="364" y="17"/>
                  <a:pt x="375" y="15"/>
                  <a:pt x="386" y="11"/>
                </a:cubicBezTo>
                <a:cubicBezTo>
                  <a:pt x="390" y="10"/>
                  <a:pt x="394" y="7"/>
                  <a:pt x="398" y="5"/>
                </a:cubicBezTo>
                <a:cubicBezTo>
                  <a:pt x="401" y="4"/>
                  <a:pt x="404" y="1"/>
                  <a:pt x="407" y="0"/>
                </a:cubicBezTo>
                <a:cubicBezTo>
                  <a:pt x="411" y="0"/>
                  <a:pt x="415" y="1"/>
                  <a:pt x="419" y="2"/>
                </a:cubicBezTo>
                <a:cubicBezTo>
                  <a:pt x="417" y="5"/>
                  <a:pt x="415" y="8"/>
                  <a:pt x="414" y="11"/>
                </a:cubicBezTo>
                <a:cubicBezTo>
                  <a:pt x="413" y="13"/>
                  <a:pt x="411" y="17"/>
                  <a:pt x="412" y="19"/>
                </a:cubicBezTo>
                <a:cubicBezTo>
                  <a:pt x="416" y="26"/>
                  <a:pt x="421" y="32"/>
                  <a:pt x="425" y="39"/>
                </a:cubicBezTo>
                <a:cubicBezTo>
                  <a:pt x="425" y="41"/>
                  <a:pt x="425" y="45"/>
                  <a:pt x="423" y="45"/>
                </a:cubicBezTo>
                <a:cubicBezTo>
                  <a:pt x="417" y="48"/>
                  <a:pt x="411" y="50"/>
                  <a:pt x="404" y="52"/>
                </a:cubicBezTo>
                <a:cubicBezTo>
                  <a:pt x="401" y="54"/>
                  <a:pt x="395" y="54"/>
                  <a:pt x="394" y="57"/>
                </a:cubicBezTo>
                <a:cubicBezTo>
                  <a:pt x="387" y="70"/>
                  <a:pt x="374" y="76"/>
                  <a:pt x="361" y="81"/>
                </a:cubicBezTo>
                <a:cubicBezTo>
                  <a:pt x="359" y="81"/>
                  <a:pt x="357" y="82"/>
                  <a:pt x="355" y="84"/>
                </a:cubicBezTo>
                <a:cubicBezTo>
                  <a:pt x="346" y="94"/>
                  <a:pt x="336" y="103"/>
                  <a:pt x="327" y="113"/>
                </a:cubicBezTo>
                <a:cubicBezTo>
                  <a:pt x="325" y="115"/>
                  <a:pt x="324" y="117"/>
                  <a:pt x="323" y="117"/>
                </a:cubicBezTo>
                <a:cubicBezTo>
                  <a:pt x="312" y="116"/>
                  <a:pt x="312" y="126"/>
                  <a:pt x="308" y="131"/>
                </a:cubicBezTo>
                <a:cubicBezTo>
                  <a:pt x="299" y="141"/>
                  <a:pt x="298" y="151"/>
                  <a:pt x="298" y="162"/>
                </a:cubicBezTo>
                <a:cubicBezTo>
                  <a:pt x="297" y="168"/>
                  <a:pt x="295" y="171"/>
                  <a:pt x="289" y="166"/>
                </a:cubicBezTo>
                <a:cubicBezTo>
                  <a:pt x="285" y="161"/>
                  <a:pt x="282" y="163"/>
                  <a:pt x="279" y="167"/>
                </a:cubicBezTo>
                <a:cubicBezTo>
                  <a:pt x="273" y="176"/>
                  <a:pt x="266" y="185"/>
                  <a:pt x="260" y="195"/>
                </a:cubicBezTo>
                <a:cubicBezTo>
                  <a:pt x="258" y="198"/>
                  <a:pt x="258" y="204"/>
                  <a:pt x="260" y="206"/>
                </a:cubicBezTo>
                <a:cubicBezTo>
                  <a:pt x="267" y="214"/>
                  <a:pt x="263" y="221"/>
                  <a:pt x="259" y="228"/>
                </a:cubicBezTo>
                <a:cubicBezTo>
                  <a:pt x="251" y="240"/>
                  <a:pt x="245" y="253"/>
                  <a:pt x="245" y="268"/>
                </a:cubicBezTo>
                <a:cubicBezTo>
                  <a:pt x="245" y="281"/>
                  <a:pt x="239" y="286"/>
                  <a:pt x="227" y="288"/>
                </a:cubicBezTo>
                <a:cubicBezTo>
                  <a:pt x="219" y="289"/>
                  <a:pt x="215" y="294"/>
                  <a:pt x="211" y="300"/>
                </a:cubicBezTo>
                <a:cubicBezTo>
                  <a:pt x="205" y="308"/>
                  <a:pt x="200" y="308"/>
                  <a:pt x="193" y="302"/>
                </a:cubicBezTo>
                <a:cubicBezTo>
                  <a:pt x="187" y="297"/>
                  <a:pt x="183" y="278"/>
                  <a:pt x="185" y="271"/>
                </a:cubicBezTo>
                <a:cubicBezTo>
                  <a:pt x="188" y="263"/>
                  <a:pt x="191" y="258"/>
                  <a:pt x="200" y="258"/>
                </a:cubicBezTo>
                <a:cubicBezTo>
                  <a:pt x="207" y="258"/>
                  <a:pt x="208" y="255"/>
                  <a:pt x="203" y="249"/>
                </a:cubicBezTo>
                <a:cubicBezTo>
                  <a:pt x="197" y="242"/>
                  <a:pt x="197" y="241"/>
                  <a:pt x="206" y="236"/>
                </a:cubicBezTo>
                <a:cubicBezTo>
                  <a:pt x="209" y="234"/>
                  <a:pt x="213" y="232"/>
                  <a:pt x="216" y="230"/>
                </a:cubicBezTo>
                <a:cubicBezTo>
                  <a:pt x="221" y="226"/>
                  <a:pt x="223" y="221"/>
                  <a:pt x="220" y="216"/>
                </a:cubicBezTo>
                <a:cubicBezTo>
                  <a:pt x="217" y="211"/>
                  <a:pt x="211" y="207"/>
                  <a:pt x="214" y="199"/>
                </a:cubicBezTo>
                <a:cubicBezTo>
                  <a:pt x="214" y="199"/>
                  <a:pt x="211" y="198"/>
                  <a:pt x="209" y="197"/>
                </a:cubicBezTo>
                <a:cubicBezTo>
                  <a:pt x="206" y="195"/>
                  <a:pt x="202" y="194"/>
                  <a:pt x="199" y="191"/>
                </a:cubicBezTo>
                <a:cubicBezTo>
                  <a:pt x="194" y="187"/>
                  <a:pt x="190" y="185"/>
                  <a:pt x="183" y="188"/>
                </a:cubicBezTo>
                <a:cubicBezTo>
                  <a:pt x="177" y="191"/>
                  <a:pt x="176" y="188"/>
                  <a:pt x="177" y="182"/>
                </a:cubicBezTo>
                <a:cubicBezTo>
                  <a:pt x="178" y="179"/>
                  <a:pt x="179" y="176"/>
                  <a:pt x="179" y="173"/>
                </a:cubicBezTo>
                <a:cubicBezTo>
                  <a:pt x="179" y="167"/>
                  <a:pt x="176" y="163"/>
                  <a:pt x="166" y="166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835EFB95-44DC-412D-B03F-B8FAE62BFEE6}"/>
              </a:ext>
            </a:extLst>
          </p:cNvPr>
          <p:cNvSpPr>
            <a:spLocks/>
          </p:cNvSpPr>
          <p:nvPr userDrawn="1"/>
        </p:nvSpPr>
        <p:spPr bwMode="auto">
          <a:xfrm>
            <a:off x="9297988" y="3030538"/>
            <a:ext cx="747713" cy="592138"/>
          </a:xfrm>
          <a:custGeom>
            <a:avLst/>
            <a:gdLst>
              <a:gd name="T0" fmla="*/ 169 w 315"/>
              <a:gd name="T1" fmla="*/ 152 h 250"/>
              <a:gd name="T2" fmla="*/ 186 w 315"/>
              <a:gd name="T3" fmla="*/ 175 h 250"/>
              <a:gd name="T4" fmla="*/ 200 w 315"/>
              <a:gd name="T5" fmla="*/ 180 h 250"/>
              <a:gd name="T6" fmla="*/ 214 w 315"/>
              <a:gd name="T7" fmla="*/ 192 h 250"/>
              <a:gd name="T8" fmla="*/ 229 w 315"/>
              <a:gd name="T9" fmla="*/ 209 h 250"/>
              <a:gd name="T10" fmla="*/ 238 w 315"/>
              <a:gd name="T11" fmla="*/ 220 h 250"/>
              <a:gd name="T12" fmla="*/ 238 w 315"/>
              <a:gd name="T13" fmla="*/ 232 h 250"/>
              <a:gd name="T14" fmla="*/ 228 w 315"/>
              <a:gd name="T15" fmla="*/ 231 h 250"/>
              <a:gd name="T16" fmla="*/ 195 w 315"/>
              <a:gd name="T17" fmla="*/ 215 h 250"/>
              <a:gd name="T18" fmla="*/ 183 w 315"/>
              <a:gd name="T19" fmla="*/ 222 h 250"/>
              <a:gd name="T20" fmla="*/ 183 w 315"/>
              <a:gd name="T21" fmla="*/ 242 h 250"/>
              <a:gd name="T22" fmla="*/ 172 w 315"/>
              <a:gd name="T23" fmla="*/ 248 h 250"/>
              <a:gd name="T24" fmla="*/ 160 w 315"/>
              <a:gd name="T25" fmla="*/ 247 h 250"/>
              <a:gd name="T26" fmla="*/ 152 w 315"/>
              <a:gd name="T27" fmla="*/ 245 h 250"/>
              <a:gd name="T28" fmla="*/ 135 w 315"/>
              <a:gd name="T29" fmla="*/ 246 h 250"/>
              <a:gd name="T30" fmla="*/ 125 w 315"/>
              <a:gd name="T31" fmla="*/ 246 h 250"/>
              <a:gd name="T32" fmla="*/ 121 w 315"/>
              <a:gd name="T33" fmla="*/ 236 h 250"/>
              <a:gd name="T34" fmla="*/ 123 w 315"/>
              <a:gd name="T35" fmla="*/ 230 h 250"/>
              <a:gd name="T36" fmla="*/ 108 w 315"/>
              <a:gd name="T37" fmla="*/ 217 h 250"/>
              <a:gd name="T38" fmla="*/ 88 w 315"/>
              <a:gd name="T39" fmla="*/ 221 h 250"/>
              <a:gd name="T40" fmla="*/ 76 w 315"/>
              <a:gd name="T41" fmla="*/ 226 h 250"/>
              <a:gd name="T42" fmla="*/ 57 w 315"/>
              <a:gd name="T43" fmla="*/ 227 h 250"/>
              <a:gd name="T44" fmla="*/ 52 w 315"/>
              <a:gd name="T45" fmla="*/ 210 h 250"/>
              <a:gd name="T46" fmla="*/ 64 w 315"/>
              <a:gd name="T47" fmla="*/ 196 h 250"/>
              <a:gd name="T48" fmla="*/ 69 w 315"/>
              <a:gd name="T49" fmla="*/ 188 h 250"/>
              <a:gd name="T50" fmla="*/ 62 w 315"/>
              <a:gd name="T51" fmla="*/ 180 h 250"/>
              <a:gd name="T52" fmla="*/ 46 w 315"/>
              <a:gd name="T53" fmla="*/ 164 h 250"/>
              <a:gd name="T54" fmla="*/ 38 w 315"/>
              <a:gd name="T55" fmla="*/ 138 h 250"/>
              <a:gd name="T56" fmla="*/ 36 w 315"/>
              <a:gd name="T57" fmla="*/ 134 h 250"/>
              <a:gd name="T58" fmla="*/ 21 w 315"/>
              <a:gd name="T59" fmla="*/ 117 h 250"/>
              <a:gd name="T60" fmla="*/ 5 w 315"/>
              <a:gd name="T61" fmla="*/ 98 h 250"/>
              <a:gd name="T62" fmla="*/ 2 w 315"/>
              <a:gd name="T63" fmla="*/ 83 h 250"/>
              <a:gd name="T64" fmla="*/ 5 w 315"/>
              <a:gd name="T65" fmla="*/ 68 h 250"/>
              <a:gd name="T66" fmla="*/ 21 w 315"/>
              <a:gd name="T67" fmla="*/ 69 h 250"/>
              <a:gd name="T68" fmla="*/ 40 w 315"/>
              <a:gd name="T69" fmla="*/ 65 h 250"/>
              <a:gd name="T70" fmla="*/ 64 w 315"/>
              <a:gd name="T71" fmla="*/ 72 h 250"/>
              <a:gd name="T72" fmla="*/ 88 w 315"/>
              <a:gd name="T73" fmla="*/ 76 h 250"/>
              <a:gd name="T74" fmla="*/ 102 w 315"/>
              <a:gd name="T75" fmla="*/ 76 h 250"/>
              <a:gd name="T76" fmla="*/ 119 w 315"/>
              <a:gd name="T77" fmla="*/ 76 h 250"/>
              <a:gd name="T78" fmla="*/ 142 w 315"/>
              <a:gd name="T79" fmla="*/ 68 h 250"/>
              <a:gd name="T80" fmla="*/ 163 w 315"/>
              <a:gd name="T81" fmla="*/ 52 h 250"/>
              <a:gd name="T82" fmla="*/ 172 w 315"/>
              <a:gd name="T83" fmla="*/ 49 h 250"/>
              <a:gd name="T84" fmla="*/ 205 w 315"/>
              <a:gd name="T85" fmla="*/ 72 h 250"/>
              <a:gd name="T86" fmla="*/ 218 w 315"/>
              <a:gd name="T87" fmla="*/ 70 h 250"/>
              <a:gd name="T88" fmla="*/ 237 w 315"/>
              <a:gd name="T89" fmla="*/ 61 h 250"/>
              <a:gd name="T90" fmla="*/ 259 w 315"/>
              <a:gd name="T91" fmla="*/ 47 h 250"/>
              <a:gd name="T92" fmla="*/ 260 w 315"/>
              <a:gd name="T93" fmla="*/ 35 h 250"/>
              <a:gd name="T94" fmla="*/ 270 w 315"/>
              <a:gd name="T95" fmla="*/ 17 h 250"/>
              <a:gd name="T96" fmla="*/ 281 w 315"/>
              <a:gd name="T97" fmla="*/ 7 h 250"/>
              <a:gd name="T98" fmla="*/ 301 w 315"/>
              <a:gd name="T99" fmla="*/ 3 h 250"/>
              <a:gd name="T100" fmla="*/ 304 w 315"/>
              <a:gd name="T101" fmla="*/ 5 h 250"/>
              <a:gd name="T102" fmla="*/ 306 w 315"/>
              <a:gd name="T103" fmla="*/ 48 h 250"/>
              <a:gd name="T104" fmla="*/ 303 w 315"/>
              <a:gd name="T105" fmla="*/ 58 h 250"/>
              <a:gd name="T106" fmla="*/ 275 w 315"/>
              <a:gd name="T107" fmla="*/ 93 h 250"/>
              <a:gd name="T108" fmla="*/ 269 w 315"/>
              <a:gd name="T109" fmla="*/ 103 h 250"/>
              <a:gd name="T110" fmla="*/ 258 w 315"/>
              <a:gd name="T111" fmla="*/ 109 h 250"/>
              <a:gd name="T112" fmla="*/ 252 w 315"/>
              <a:gd name="T113" fmla="*/ 105 h 250"/>
              <a:gd name="T114" fmla="*/ 243 w 315"/>
              <a:gd name="T115" fmla="*/ 108 h 250"/>
              <a:gd name="T116" fmla="*/ 222 w 315"/>
              <a:gd name="T117" fmla="*/ 124 h 250"/>
              <a:gd name="T118" fmla="*/ 205 w 315"/>
              <a:gd name="T119" fmla="*/ 135 h 250"/>
              <a:gd name="T120" fmla="*/ 197 w 315"/>
              <a:gd name="T121" fmla="*/ 136 h 250"/>
              <a:gd name="T122" fmla="*/ 176 w 315"/>
              <a:gd name="T123" fmla="*/ 137 h 250"/>
              <a:gd name="T124" fmla="*/ 169 w 315"/>
              <a:gd name="T125" fmla="*/ 152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15" h="250">
                <a:moveTo>
                  <a:pt x="169" y="152"/>
                </a:moveTo>
                <a:cubicBezTo>
                  <a:pt x="168" y="165"/>
                  <a:pt x="178" y="170"/>
                  <a:pt x="186" y="175"/>
                </a:cubicBezTo>
                <a:cubicBezTo>
                  <a:pt x="190" y="178"/>
                  <a:pt x="195" y="179"/>
                  <a:pt x="200" y="180"/>
                </a:cubicBezTo>
                <a:cubicBezTo>
                  <a:pt x="208" y="180"/>
                  <a:pt x="215" y="179"/>
                  <a:pt x="214" y="192"/>
                </a:cubicBezTo>
                <a:cubicBezTo>
                  <a:pt x="214" y="197"/>
                  <a:pt x="224" y="203"/>
                  <a:pt x="229" y="209"/>
                </a:cubicBezTo>
                <a:cubicBezTo>
                  <a:pt x="232" y="212"/>
                  <a:pt x="236" y="216"/>
                  <a:pt x="238" y="220"/>
                </a:cubicBezTo>
                <a:cubicBezTo>
                  <a:pt x="240" y="223"/>
                  <a:pt x="238" y="228"/>
                  <a:pt x="238" y="232"/>
                </a:cubicBezTo>
                <a:cubicBezTo>
                  <a:pt x="234" y="231"/>
                  <a:pt x="231" y="231"/>
                  <a:pt x="228" y="231"/>
                </a:cubicBezTo>
                <a:cubicBezTo>
                  <a:pt x="215" y="230"/>
                  <a:pt x="206" y="220"/>
                  <a:pt x="195" y="215"/>
                </a:cubicBezTo>
                <a:cubicBezTo>
                  <a:pt x="184" y="211"/>
                  <a:pt x="184" y="212"/>
                  <a:pt x="183" y="222"/>
                </a:cubicBezTo>
                <a:cubicBezTo>
                  <a:pt x="183" y="229"/>
                  <a:pt x="183" y="235"/>
                  <a:pt x="183" y="242"/>
                </a:cubicBezTo>
                <a:cubicBezTo>
                  <a:pt x="182" y="249"/>
                  <a:pt x="179" y="250"/>
                  <a:pt x="172" y="248"/>
                </a:cubicBezTo>
                <a:cubicBezTo>
                  <a:pt x="168" y="247"/>
                  <a:pt x="164" y="247"/>
                  <a:pt x="160" y="247"/>
                </a:cubicBezTo>
                <a:cubicBezTo>
                  <a:pt x="157" y="246"/>
                  <a:pt x="153" y="247"/>
                  <a:pt x="152" y="245"/>
                </a:cubicBezTo>
                <a:cubicBezTo>
                  <a:pt x="145" y="238"/>
                  <a:pt x="140" y="241"/>
                  <a:pt x="135" y="246"/>
                </a:cubicBezTo>
                <a:cubicBezTo>
                  <a:pt x="132" y="250"/>
                  <a:pt x="129" y="249"/>
                  <a:pt x="125" y="246"/>
                </a:cubicBezTo>
                <a:cubicBezTo>
                  <a:pt x="121" y="244"/>
                  <a:pt x="118" y="241"/>
                  <a:pt x="121" y="236"/>
                </a:cubicBezTo>
                <a:cubicBezTo>
                  <a:pt x="122" y="234"/>
                  <a:pt x="123" y="232"/>
                  <a:pt x="123" y="230"/>
                </a:cubicBezTo>
                <a:cubicBezTo>
                  <a:pt x="124" y="220"/>
                  <a:pt x="118" y="215"/>
                  <a:pt x="108" y="217"/>
                </a:cubicBezTo>
                <a:cubicBezTo>
                  <a:pt x="102" y="219"/>
                  <a:pt x="95" y="219"/>
                  <a:pt x="88" y="221"/>
                </a:cubicBezTo>
                <a:cubicBezTo>
                  <a:pt x="84" y="222"/>
                  <a:pt x="80" y="225"/>
                  <a:pt x="76" y="226"/>
                </a:cubicBezTo>
                <a:cubicBezTo>
                  <a:pt x="70" y="227"/>
                  <a:pt x="63" y="229"/>
                  <a:pt x="57" y="227"/>
                </a:cubicBezTo>
                <a:cubicBezTo>
                  <a:pt x="50" y="226"/>
                  <a:pt x="47" y="217"/>
                  <a:pt x="52" y="210"/>
                </a:cubicBezTo>
                <a:cubicBezTo>
                  <a:pt x="56" y="205"/>
                  <a:pt x="60" y="200"/>
                  <a:pt x="64" y="196"/>
                </a:cubicBezTo>
                <a:cubicBezTo>
                  <a:pt x="66" y="193"/>
                  <a:pt x="70" y="190"/>
                  <a:pt x="69" y="188"/>
                </a:cubicBezTo>
                <a:cubicBezTo>
                  <a:pt x="68" y="185"/>
                  <a:pt x="64" y="180"/>
                  <a:pt x="62" y="180"/>
                </a:cubicBezTo>
                <a:cubicBezTo>
                  <a:pt x="50" y="180"/>
                  <a:pt x="48" y="172"/>
                  <a:pt x="46" y="164"/>
                </a:cubicBezTo>
                <a:cubicBezTo>
                  <a:pt x="44" y="155"/>
                  <a:pt x="40" y="147"/>
                  <a:pt x="38" y="138"/>
                </a:cubicBezTo>
                <a:cubicBezTo>
                  <a:pt x="37" y="137"/>
                  <a:pt x="36" y="135"/>
                  <a:pt x="36" y="134"/>
                </a:cubicBezTo>
                <a:cubicBezTo>
                  <a:pt x="25" y="134"/>
                  <a:pt x="25" y="123"/>
                  <a:pt x="21" y="117"/>
                </a:cubicBezTo>
                <a:cubicBezTo>
                  <a:pt x="17" y="110"/>
                  <a:pt x="11" y="104"/>
                  <a:pt x="5" y="98"/>
                </a:cubicBezTo>
                <a:cubicBezTo>
                  <a:pt x="0" y="93"/>
                  <a:pt x="0" y="89"/>
                  <a:pt x="2" y="83"/>
                </a:cubicBezTo>
                <a:cubicBezTo>
                  <a:pt x="4" y="78"/>
                  <a:pt x="2" y="70"/>
                  <a:pt x="5" y="68"/>
                </a:cubicBezTo>
                <a:cubicBezTo>
                  <a:pt x="9" y="65"/>
                  <a:pt x="16" y="69"/>
                  <a:pt x="21" y="69"/>
                </a:cubicBezTo>
                <a:cubicBezTo>
                  <a:pt x="28" y="68"/>
                  <a:pt x="34" y="66"/>
                  <a:pt x="40" y="65"/>
                </a:cubicBezTo>
                <a:cubicBezTo>
                  <a:pt x="49" y="63"/>
                  <a:pt x="58" y="63"/>
                  <a:pt x="64" y="72"/>
                </a:cubicBezTo>
                <a:cubicBezTo>
                  <a:pt x="71" y="83"/>
                  <a:pt x="76" y="84"/>
                  <a:pt x="88" y="76"/>
                </a:cubicBezTo>
                <a:cubicBezTo>
                  <a:pt x="93" y="73"/>
                  <a:pt x="96" y="69"/>
                  <a:pt x="102" y="76"/>
                </a:cubicBezTo>
                <a:cubicBezTo>
                  <a:pt x="106" y="82"/>
                  <a:pt x="114" y="80"/>
                  <a:pt x="119" y="76"/>
                </a:cubicBezTo>
                <a:cubicBezTo>
                  <a:pt x="126" y="70"/>
                  <a:pt x="134" y="69"/>
                  <a:pt x="142" y="68"/>
                </a:cubicBezTo>
                <a:cubicBezTo>
                  <a:pt x="152" y="67"/>
                  <a:pt x="160" y="63"/>
                  <a:pt x="163" y="52"/>
                </a:cubicBezTo>
                <a:cubicBezTo>
                  <a:pt x="164" y="48"/>
                  <a:pt x="167" y="48"/>
                  <a:pt x="172" y="49"/>
                </a:cubicBezTo>
                <a:cubicBezTo>
                  <a:pt x="188" y="50"/>
                  <a:pt x="195" y="63"/>
                  <a:pt x="205" y="72"/>
                </a:cubicBezTo>
                <a:cubicBezTo>
                  <a:pt x="213" y="80"/>
                  <a:pt x="213" y="81"/>
                  <a:pt x="218" y="70"/>
                </a:cubicBezTo>
                <a:cubicBezTo>
                  <a:pt x="223" y="58"/>
                  <a:pt x="224" y="57"/>
                  <a:pt x="237" y="61"/>
                </a:cubicBezTo>
                <a:cubicBezTo>
                  <a:pt x="247" y="64"/>
                  <a:pt x="257" y="57"/>
                  <a:pt x="259" y="47"/>
                </a:cubicBezTo>
                <a:cubicBezTo>
                  <a:pt x="259" y="43"/>
                  <a:pt x="259" y="39"/>
                  <a:pt x="260" y="35"/>
                </a:cubicBezTo>
                <a:cubicBezTo>
                  <a:pt x="261" y="27"/>
                  <a:pt x="263" y="20"/>
                  <a:pt x="270" y="17"/>
                </a:cubicBezTo>
                <a:cubicBezTo>
                  <a:pt x="274" y="15"/>
                  <a:pt x="278" y="11"/>
                  <a:pt x="281" y="7"/>
                </a:cubicBezTo>
                <a:cubicBezTo>
                  <a:pt x="286" y="0"/>
                  <a:pt x="294" y="3"/>
                  <a:pt x="301" y="3"/>
                </a:cubicBezTo>
                <a:cubicBezTo>
                  <a:pt x="302" y="3"/>
                  <a:pt x="304" y="4"/>
                  <a:pt x="304" y="5"/>
                </a:cubicBezTo>
                <a:cubicBezTo>
                  <a:pt x="308" y="19"/>
                  <a:pt x="315" y="33"/>
                  <a:pt x="306" y="48"/>
                </a:cubicBezTo>
                <a:cubicBezTo>
                  <a:pt x="304" y="51"/>
                  <a:pt x="303" y="54"/>
                  <a:pt x="303" y="58"/>
                </a:cubicBezTo>
                <a:cubicBezTo>
                  <a:pt x="302" y="77"/>
                  <a:pt x="294" y="89"/>
                  <a:pt x="275" y="93"/>
                </a:cubicBezTo>
                <a:cubicBezTo>
                  <a:pt x="269" y="94"/>
                  <a:pt x="269" y="98"/>
                  <a:pt x="269" y="103"/>
                </a:cubicBezTo>
                <a:cubicBezTo>
                  <a:pt x="269" y="113"/>
                  <a:pt x="266" y="114"/>
                  <a:pt x="258" y="109"/>
                </a:cubicBezTo>
                <a:cubicBezTo>
                  <a:pt x="256" y="108"/>
                  <a:pt x="254" y="107"/>
                  <a:pt x="252" y="105"/>
                </a:cubicBezTo>
                <a:cubicBezTo>
                  <a:pt x="248" y="103"/>
                  <a:pt x="245" y="103"/>
                  <a:pt x="243" y="108"/>
                </a:cubicBezTo>
                <a:cubicBezTo>
                  <a:pt x="240" y="119"/>
                  <a:pt x="231" y="122"/>
                  <a:pt x="222" y="124"/>
                </a:cubicBezTo>
                <a:cubicBezTo>
                  <a:pt x="215" y="126"/>
                  <a:pt x="208" y="127"/>
                  <a:pt x="205" y="135"/>
                </a:cubicBezTo>
                <a:cubicBezTo>
                  <a:pt x="204" y="136"/>
                  <a:pt x="198" y="137"/>
                  <a:pt x="197" y="136"/>
                </a:cubicBezTo>
                <a:cubicBezTo>
                  <a:pt x="189" y="130"/>
                  <a:pt x="182" y="132"/>
                  <a:pt x="176" y="137"/>
                </a:cubicBezTo>
                <a:cubicBezTo>
                  <a:pt x="172" y="140"/>
                  <a:pt x="171" y="147"/>
                  <a:pt x="169" y="15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D685991C-22A3-493A-B989-A60D4FBBF353}"/>
              </a:ext>
            </a:extLst>
          </p:cNvPr>
          <p:cNvSpPr>
            <a:spLocks/>
          </p:cNvSpPr>
          <p:nvPr userDrawn="1"/>
        </p:nvSpPr>
        <p:spPr bwMode="auto">
          <a:xfrm>
            <a:off x="9710738" y="2857500"/>
            <a:ext cx="552450" cy="839788"/>
          </a:xfrm>
          <a:custGeom>
            <a:avLst/>
            <a:gdLst>
              <a:gd name="T0" fmla="*/ 150 w 233"/>
              <a:gd name="T1" fmla="*/ 16 h 354"/>
              <a:gd name="T2" fmla="*/ 177 w 233"/>
              <a:gd name="T3" fmla="*/ 47 h 354"/>
              <a:gd name="T4" fmla="*/ 202 w 233"/>
              <a:gd name="T5" fmla="*/ 60 h 354"/>
              <a:gd name="T6" fmla="*/ 206 w 233"/>
              <a:gd name="T7" fmla="*/ 74 h 354"/>
              <a:gd name="T8" fmla="*/ 176 w 233"/>
              <a:gd name="T9" fmla="*/ 84 h 354"/>
              <a:gd name="T10" fmla="*/ 153 w 233"/>
              <a:gd name="T11" fmla="*/ 121 h 354"/>
              <a:gd name="T12" fmla="*/ 198 w 233"/>
              <a:gd name="T13" fmla="*/ 158 h 354"/>
              <a:gd name="T14" fmla="*/ 197 w 233"/>
              <a:gd name="T15" fmla="*/ 205 h 354"/>
              <a:gd name="T16" fmla="*/ 210 w 233"/>
              <a:gd name="T17" fmla="*/ 230 h 354"/>
              <a:gd name="T18" fmla="*/ 216 w 233"/>
              <a:gd name="T19" fmla="*/ 252 h 354"/>
              <a:gd name="T20" fmla="*/ 220 w 233"/>
              <a:gd name="T21" fmla="*/ 285 h 354"/>
              <a:gd name="T22" fmla="*/ 224 w 233"/>
              <a:gd name="T23" fmla="*/ 345 h 354"/>
              <a:gd name="T24" fmla="*/ 209 w 233"/>
              <a:gd name="T25" fmla="*/ 341 h 354"/>
              <a:gd name="T26" fmla="*/ 202 w 233"/>
              <a:gd name="T27" fmla="*/ 311 h 354"/>
              <a:gd name="T28" fmla="*/ 195 w 233"/>
              <a:gd name="T29" fmla="*/ 328 h 354"/>
              <a:gd name="T30" fmla="*/ 172 w 233"/>
              <a:gd name="T31" fmla="*/ 344 h 354"/>
              <a:gd name="T32" fmla="*/ 153 w 233"/>
              <a:gd name="T33" fmla="*/ 300 h 354"/>
              <a:gd name="T34" fmla="*/ 150 w 233"/>
              <a:gd name="T35" fmla="*/ 309 h 354"/>
              <a:gd name="T36" fmla="*/ 123 w 233"/>
              <a:gd name="T37" fmla="*/ 351 h 354"/>
              <a:gd name="T38" fmla="*/ 104 w 233"/>
              <a:gd name="T39" fmla="*/ 335 h 354"/>
              <a:gd name="T40" fmla="*/ 85 w 233"/>
              <a:gd name="T41" fmla="*/ 326 h 354"/>
              <a:gd name="T42" fmla="*/ 70 w 233"/>
              <a:gd name="T43" fmla="*/ 304 h 354"/>
              <a:gd name="T44" fmla="*/ 47 w 233"/>
              <a:gd name="T45" fmla="*/ 268 h 354"/>
              <a:gd name="T46" fmla="*/ 33 w 233"/>
              <a:gd name="T47" fmla="*/ 249 h 354"/>
              <a:gd name="T48" fmla="*/ 2 w 233"/>
              <a:gd name="T49" fmla="*/ 218 h 354"/>
              <a:gd name="T50" fmla="*/ 37 w 233"/>
              <a:gd name="T51" fmla="*/ 209 h 354"/>
              <a:gd name="T52" fmla="*/ 73 w 233"/>
              <a:gd name="T53" fmla="*/ 187 h 354"/>
              <a:gd name="T54" fmla="*/ 100 w 233"/>
              <a:gd name="T55" fmla="*/ 177 h 354"/>
              <a:gd name="T56" fmla="*/ 135 w 233"/>
              <a:gd name="T57" fmla="*/ 135 h 354"/>
              <a:gd name="T58" fmla="*/ 141 w 233"/>
              <a:gd name="T59" fmla="*/ 93 h 354"/>
              <a:gd name="T60" fmla="*/ 141 w 233"/>
              <a:gd name="T61" fmla="*/ 56 h 354"/>
              <a:gd name="T62" fmla="*/ 150 w 233"/>
              <a:gd name="T63" fmla="*/ 40 h 354"/>
              <a:gd name="T64" fmla="*/ 154 w 233"/>
              <a:gd name="T65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3" h="354">
                <a:moveTo>
                  <a:pt x="154" y="0"/>
                </a:moveTo>
                <a:cubicBezTo>
                  <a:pt x="153" y="5"/>
                  <a:pt x="152" y="11"/>
                  <a:pt x="150" y="16"/>
                </a:cubicBezTo>
                <a:cubicBezTo>
                  <a:pt x="148" y="24"/>
                  <a:pt x="150" y="32"/>
                  <a:pt x="158" y="34"/>
                </a:cubicBezTo>
                <a:cubicBezTo>
                  <a:pt x="167" y="36"/>
                  <a:pt x="172" y="41"/>
                  <a:pt x="177" y="47"/>
                </a:cubicBezTo>
                <a:cubicBezTo>
                  <a:pt x="182" y="53"/>
                  <a:pt x="187" y="57"/>
                  <a:pt x="196" y="57"/>
                </a:cubicBezTo>
                <a:cubicBezTo>
                  <a:pt x="198" y="57"/>
                  <a:pt x="201" y="58"/>
                  <a:pt x="202" y="60"/>
                </a:cubicBezTo>
                <a:cubicBezTo>
                  <a:pt x="205" y="63"/>
                  <a:pt x="207" y="67"/>
                  <a:pt x="210" y="71"/>
                </a:cubicBezTo>
                <a:cubicBezTo>
                  <a:pt x="210" y="71"/>
                  <a:pt x="207" y="73"/>
                  <a:pt x="206" y="74"/>
                </a:cubicBezTo>
                <a:cubicBezTo>
                  <a:pt x="200" y="74"/>
                  <a:pt x="195" y="75"/>
                  <a:pt x="189" y="74"/>
                </a:cubicBezTo>
                <a:cubicBezTo>
                  <a:pt x="182" y="74"/>
                  <a:pt x="178" y="77"/>
                  <a:pt x="176" y="84"/>
                </a:cubicBezTo>
                <a:cubicBezTo>
                  <a:pt x="175" y="91"/>
                  <a:pt x="173" y="98"/>
                  <a:pt x="162" y="97"/>
                </a:cubicBezTo>
                <a:cubicBezTo>
                  <a:pt x="156" y="97"/>
                  <a:pt x="149" y="113"/>
                  <a:pt x="153" y="121"/>
                </a:cubicBezTo>
                <a:cubicBezTo>
                  <a:pt x="160" y="136"/>
                  <a:pt x="172" y="144"/>
                  <a:pt x="187" y="147"/>
                </a:cubicBezTo>
                <a:cubicBezTo>
                  <a:pt x="195" y="149"/>
                  <a:pt x="199" y="150"/>
                  <a:pt x="198" y="158"/>
                </a:cubicBezTo>
                <a:cubicBezTo>
                  <a:pt x="197" y="165"/>
                  <a:pt x="202" y="175"/>
                  <a:pt x="191" y="179"/>
                </a:cubicBezTo>
                <a:cubicBezTo>
                  <a:pt x="193" y="188"/>
                  <a:pt x="193" y="197"/>
                  <a:pt x="197" y="205"/>
                </a:cubicBezTo>
                <a:cubicBezTo>
                  <a:pt x="200" y="210"/>
                  <a:pt x="203" y="213"/>
                  <a:pt x="201" y="219"/>
                </a:cubicBezTo>
                <a:cubicBezTo>
                  <a:pt x="199" y="226"/>
                  <a:pt x="204" y="229"/>
                  <a:pt x="210" y="230"/>
                </a:cubicBezTo>
                <a:cubicBezTo>
                  <a:pt x="215" y="231"/>
                  <a:pt x="216" y="233"/>
                  <a:pt x="214" y="237"/>
                </a:cubicBezTo>
                <a:cubicBezTo>
                  <a:pt x="210" y="243"/>
                  <a:pt x="211" y="248"/>
                  <a:pt x="216" y="252"/>
                </a:cubicBezTo>
                <a:cubicBezTo>
                  <a:pt x="221" y="258"/>
                  <a:pt x="221" y="265"/>
                  <a:pt x="220" y="272"/>
                </a:cubicBezTo>
                <a:cubicBezTo>
                  <a:pt x="219" y="276"/>
                  <a:pt x="218" y="282"/>
                  <a:pt x="220" y="285"/>
                </a:cubicBezTo>
                <a:cubicBezTo>
                  <a:pt x="231" y="302"/>
                  <a:pt x="228" y="321"/>
                  <a:pt x="232" y="339"/>
                </a:cubicBezTo>
                <a:cubicBezTo>
                  <a:pt x="233" y="347"/>
                  <a:pt x="231" y="348"/>
                  <a:pt x="224" y="345"/>
                </a:cubicBezTo>
                <a:cubicBezTo>
                  <a:pt x="222" y="344"/>
                  <a:pt x="219" y="345"/>
                  <a:pt x="217" y="346"/>
                </a:cubicBezTo>
                <a:cubicBezTo>
                  <a:pt x="210" y="351"/>
                  <a:pt x="210" y="346"/>
                  <a:pt x="209" y="341"/>
                </a:cubicBezTo>
                <a:cubicBezTo>
                  <a:pt x="208" y="332"/>
                  <a:pt x="207" y="324"/>
                  <a:pt x="205" y="315"/>
                </a:cubicBezTo>
                <a:cubicBezTo>
                  <a:pt x="205" y="314"/>
                  <a:pt x="203" y="311"/>
                  <a:pt x="202" y="311"/>
                </a:cubicBezTo>
                <a:cubicBezTo>
                  <a:pt x="201" y="311"/>
                  <a:pt x="198" y="313"/>
                  <a:pt x="198" y="314"/>
                </a:cubicBezTo>
                <a:cubicBezTo>
                  <a:pt x="197" y="319"/>
                  <a:pt x="197" y="324"/>
                  <a:pt x="195" y="328"/>
                </a:cubicBezTo>
                <a:cubicBezTo>
                  <a:pt x="193" y="334"/>
                  <a:pt x="192" y="341"/>
                  <a:pt x="188" y="347"/>
                </a:cubicBezTo>
                <a:cubicBezTo>
                  <a:pt x="183" y="354"/>
                  <a:pt x="175" y="353"/>
                  <a:pt x="172" y="344"/>
                </a:cubicBezTo>
                <a:cubicBezTo>
                  <a:pt x="170" y="336"/>
                  <a:pt x="169" y="327"/>
                  <a:pt x="169" y="319"/>
                </a:cubicBezTo>
                <a:cubicBezTo>
                  <a:pt x="169" y="313"/>
                  <a:pt x="158" y="299"/>
                  <a:pt x="153" y="300"/>
                </a:cubicBezTo>
                <a:cubicBezTo>
                  <a:pt x="151" y="300"/>
                  <a:pt x="149" y="302"/>
                  <a:pt x="148" y="304"/>
                </a:cubicBezTo>
                <a:cubicBezTo>
                  <a:pt x="148" y="305"/>
                  <a:pt x="149" y="307"/>
                  <a:pt x="150" y="309"/>
                </a:cubicBezTo>
                <a:cubicBezTo>
                  <a:pt x="153" y="315"/>
                  <a:pt x="160" y="320"/>
                  <a:pt x="155" y="328"/>
                </a:cubicBezTo>
                <a:cubicBezTo>
                  <a:pt x="148" y="340"/>
                  <a:pt x="138" y="349"/>
                  <a:pt x="123" y="351"/>
                </a:cubicBezTo>
                <a:cubicBezTo>
                  <a:pt x="122" y="351"/>
                  <a:pt x="119" y="350"/>
                  <a:pt x="119" y="350"/>
                </a:cubicBezTo>
                <a:cubicBezTo>
                  <a:pt x="117" y="341"/>
                  <a:pt x="108" y="340"/>
                  <a:pt x="104" y="335"/>
                </a:cubicBezTo>
                <a:cubicBezTo>
                  <a:pt x="100" y="329"/>
                  <a:pt x="97" y="326"/>
                  <a:pt x="90" y="327"/>
                </a:cubicBezTo>
                <a:cubicBezTo>
                  <a:pt x="88" y="328"/>
                  <a:pt x="85" y="327"/>
                  <a:pt x="85" y="326"/>
                </a:cubicBezTo>
                <a:cubicBezTo>
                  <a:pt x="83" y="319"/>
                  <a:pt x="78" y="314"/>
                  <a:pt x="71" y="312"/>
                </a:cubicBezTo>
                <a:cubicBezTo>
                  <a:pt x="70" y="311"/>
                  <a:pt x="69" y="307"/>
                  <a:pt x="70" y="304"/>
                </a:cubicBezTo>
                <a:cubicBezTo>
                  <a:pt x="73" y="291"/>
                  <a:pt x="67" y="283"/>
                  <a:pt x="57" y="277"/>
                </a:cubicBezTo>
                <a:cubicBezTo>
                  <a:pt x="53" y="274"/>
                  <a:pt x="50" y="271"/>
                  <a:pt x="47" y="268"/>
                </a:cubicBezTo>
                <a:cubicBezTo>
                  <a:pt x="45" y="266"/>
                  <a:pt x="45" y="264"/>
                  <a:pt x="45" y="262"/>
                </a:cubicBezTo>
                <a:cubicBezTo>
                  <a:pt x="45" y="250"/>
                  <a:pt x="45" y="251"/>
                  <a:pt x="33" y="249"/>
                </a:cubicBezTo>
                <a:cubicBezTo>
                  <a:pt x="25" y="247"/>
                  <a:pt x="16" y="244"/>
                  <a:pt x="9" y="240"/>
                </a:cubicBezTo>
                <a:cubicBezTo>
                  <a:pt x="2" y="235"/>
                  <a:pt x="0" y="225"/>
                  <a:pt x="2" y="218"/>
                </a:cubicBezTo>
                <a:cubicBezTo>
                  <a:pt x="5" y="212"/>
                  <a:pt x="13" y="209"/>
                  <a:pt x="19" y="213"/>
                </a:cubicBezTo>
                <a:cubicBezTo>
                  <a:pt x="27" y="220"/>
                  <a:pt x="32" y="218"/>
                  <a:pt x="37" y="209"/>
                </a:cubicBezTo>
                <a:cubicBezTo>
                  <a:pt x="38" y="206"/>
                  <a:pt x="44" y="204"/>
                  <a:pt x="48" y="203"/>
                </a:cubicBezTo>
                <a:cubicBezTo>
                  <a:pt x="57" y="199"/>
                  <a:pt x="68" y="197"/>
                  <a:pt x="73" y="187"/>
                </a:cubicBezTo>
                <a:cubicBezTo>
                  <a:pt x="74" y="186"/>
                  <a:pt x="80" y="186"/>
                  <a:pt x="82" y="187"/>
                </a:cubicBezTo>
                <a:cubicBezTo>
                  <a:pt x="94" y="192"/>
                  <a:pt x="98" y="190"/>
                  <a:pt x="100" y="177"/>
                </a:cubicBezTo>
                <a:cubicBezTo>
                  <a:pt x="101" y="175"/>
                  <a:pt x="104" y="171"/>
                  <a:pt x="106" y="170"/>
                </a:cubicBezTo>
                <a:cubicBezTo>
                  <a:pt x="122" y="165"/>
                  <a:pt x="133" y="151"/>
                  <a:pt x="135" y="135"/>
                </a:cubicBezTo>
                <a:cubicBezTo>
                  <a:pt x="135" y="130"/>
                  <a:pt x="138" y="125"/>
                  <a:pt x="139" y="119"/>
                </a:cubicBezTo>
                <a:cubicBezTo>
                  <a:pt x="140" y="111"/>
                  <a:pt x="142" y="102"/>
                  <a:pt x="141" y="93"/>
                </a:cubicBezTo>
                <a:cubicBezTo>
                  <a:pt x="140" y="83"/>
                  <a:pt x="136" y="74"/>
                  <a:pt x="133" y="65"/>
                </a:cubicBezTo>
                <a:cubicBezTo>
                  <a:pt x="132" y="59"/>
                  <a:pt x="136" y="57"/>
                  <a:pt x="141" y="56"/>
                </a:cubicBezTo>
                <a:cubicBezTo>
                  <a:pt x="145" y="56"/>
                  <a:pt x="149" y="56"/>
                  <a:pt x="152" y="54"/>
                </a:cubicBezTo>
                <a:cubicBezTo>
                  <a:pt x="156" y="51"/>
                  <a:pt x="155" y="44"/>
                  <a:pt x="150" y="40"/>
                </a:cubicBezTo>
                <a:cubicBezTo>
                  <a:pt x="146" y="38"/>
                  <a:pt x="143" y="35"/>
                  <a:pt x="141" y="32"/>
                </a:cubicBezTo>
                <a:cubicBezTo>
                  <a:pt x="134" y="18"/>
                  <a:pt x="137" y="12"/>
                  <a:pt x="154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042CC3C-C706-41DD-B3BB-5D219ACDC75D}"/>
              </a:ext>
            </a:extLst>
          </p:cNvPr>
          <p:cNvSpPr>
            <a:spLocks/>
          </p:cNvSpPr>
          <p:nvPr userDrawn="1"/>
        </p:nvSpPr>
        <p:spPr bwMode="auto">
          <a:xfrm>
            <a:off x="7634288" y="836613"/>
            <a:ext cx="669925" cy="415925"/>
          </a:xfrm>
          <a:custGeom>
            <a:avLst/>
            <a:gdLst>
              <a:gd name="T0" fmla="*/ 54 w 282"/>
              <a:gd name="T1" fmla="*/ 22 h 175"/>
              <a:gd name="T2" fmla="*/ 82 w 282"/>
              <a:gd name="T3" fmla="*/ 25 h 175"/>
              <a:gd name="T4" fmla="*/ 90 w 282"/>
              <a:gd name="T5" fmla="*/ 22 h 175"/>
              <a:gd name="T6" fmla="*/ 85 w 282"/>
              <a:gd name="T7" fmla="*/ 14 h 175"/>
              <a:gd name="T8" fmla="*/ 82 w 282"/>
              <a:gd name="T9" fmla="*/ 10 h 175"/>
              <a:gd name="T10" fmla="*/ 88 w 282"/>
              <a:gd name="T11" fmla="*/ 10 h 175"/>
              <a:gd name="T12" fmla="*/ 118 w 282"/>
              <a:gd name="T13" fmla="*/ 9 h 175"/>
              <a:gd name="T14" fmla="*/ 139 w 282"/>
              <a:gd name="T15" fmla="*/ 1 h 175"/>
              <a:gd name="T16" fmla="*/ 146 w 282"/>
              <a:gd name="T17" fmla="*/ 3 h 175"/>
              <a:gd name="T18" fmla="*/ 156 w 282"/>
              <a:gd name="T19" fmla="*/ 12 h 175"/>
              <a:gd name="T20" fmla="*/ 172 w 282"/>
              <a:gd name="T21" fmla="*/ 6 h 175"/>
              <a:gd name="T22" fmla="*/ 185 w 282"/>
              <a:gd name="T23" fmla="*/ 10 h 175"/>
              <a:gd name="T24" fmla="*/ 210 w 282"/>
              <a:gd name="T25" fmla="*/ 45 h 175"/>
              <a:gd name="T26" fmla="*/ 213 w 282"/>
              <a:gd name="T27" fmla="*/ 68 h 175"/>
              <a:gd name="T28" fmla="*/ 215 w 282"/>
              <a:gd name="T29" fmla="*/ 83 h 175"/>
              <a:gd name="T30" fmla="*/ 235 w 282"/>
              <a:gd name="T31" fmla="*/ 104 h 175"/>
              <a:gd name="T32" fmla="*/ 252 w 282"/>
              <a:gd name="T33" fmla="*/ 107 h 175"/>
              <a:gd name="T34" fmla="*/ 261 w 282"/>
              <a:gd name="T35" fmla="*/ 110 h 175"/>
              <a:gd name="T36" fmla="*/ 276 w 282"/>
              <a:gd name="T37" fmla="*/ 144 h 175"/>
              <a:gd name="T38" fmla="*/ 268 w 282"/>
              <a:gd name="T39" fmla="*/ 168 h 175"/>
              <a:gd name="T40" fmla="*/ 253 w 282"/>
              <a:gd name="T41" fmla="*/ 169 h 175"/>
              <a:gd name="T42" fmla="*/ 228 w 282"/>
              <a:gd name="T43" fmla="*/ 169 h 175"/>
              <a:gd name="T44" fmla="*/ 214 w 282"/>
              <a:gd name="T45" fmla="*/ 168 h 175"/>
              <a:gd name="T46" fmla="*/ 193 w 282"/>
              <a:gd name="T47" fmla="*/ 171 h 175"/>
              <a:gd name="T48" fmla="*/ 173 w 282"/>
              <a:gd name="T49" fmla="*/ 169 h 175"/>
              <a:gd name="T50" fmla="*/ 123 w 282"/>
              <a:gd name="T51" fmla="*/ 152 h 175"/>
              <a:gd name="T52" fmla="*/ 79 w 282"/>
              <a:gd name="T53" fmla="*/ 138 h 175"/>
              <a:gd name="T54" fmla="*/ 74 w 282"/>
              <a:gd name="T55" fmla="*/ 126 h 175"/>
              <a:gd name="T56" fmla="*/ 68 w 282"/>
              <a:gd name="T57" fmla="*/ 113 h 175"/>
              <a:gd name="T58" fmla="*/ 53 w 282"/>
              <a:gd name="T59" fmla="*/ 109 h 175"/>
              <a:gd name="T60" fmla="*/ 38 w 282"/>
              <a:gd name="T61" fmla="*/ 96 h 175"/>
              <a:gd name="T62" fmla="*/ 33 w 282"/>
              <a:gd name="T63" fmla="*/ 85 h 175"/>
              <a:gd name="T64" fmla="*/ 13 w 282"/>
              <a:gd name="T65" fmla="*/ 83 h 175"/>
              <a:gd name="T66" fmla="*/ 3 w 282"/>
              <a:gd name="T67" fmla="*/ 75 h 175"/>
              <a:gd name="T68" fmla="*/ 16 w 282"/>
              <a:gd name="T69" fmla="*/ 52 h 175"/>
              <a:gd name="T70" fmla="*/ 36 w 282"/>
              <a:gd name="T71" fmla="*/ 32 h 175"/>
              <a:gd name="T72" fmla="*/ 54 w 282"/>
              <a:gd name="T73" fmla="*/ 22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2" h="175">
                <a:moveTo>
                  <a:pt x="54" y="22"/>
                </a:moveTo>
                <a:cubicBezTo>
                  <a:pt x="63" y="23"/>
                  <a:pt x="73" y="25"/>
                  <a:pt x="82" y="25"/>
                </a:cubicBezTo>
                <a:cubicBezTo>
                  <a:pt x="84" y="25"/>
                  <a:pt x="87" y="23"/>
                  <a:pt x="90" y="22"/>
                </a:cubicBezTo>
                <a:cubicBezTo>
                  <a:pt x="88" y="19"/>
                  <a:pt x="87" y="17"/>
                  <a:pt x="85" y="14"/>
                </a:cubicBezTo>
                <a:cubicBezTo>
                  <a:pt x="84" y="13"/>
                  <a:pt x="83" y="12"/>
                  <a:pt x="82" y="10"/>
                </a:cubicBezTo>
                <a:cubicBezTo>
                  <a:pt x="84" y="10"/>
                  <a:pt x="87" y="9"/>
                  <a:pt x="88" y="10"/>
                </a:cubicBezTo>
                <a:cubicBezTo>
                  <a:pt x="98" y="18"/>
                  <a:pt x="108" y="15"/>
                  <a:pt x="118" y="9"/>
                </a:cubicBezTo>
                <a:cubicBezTo>
                  <a:pt x="124" y="6"/>
                  <a:pt x="132" y="3"/>
                  <a:pt x="139" y="1"/>
                </a:cubicBezTo>
                <a:cubicBezTo>
                  <a:pt x="141" y="1"/>
                  <a:pt x="144" y="2"/>
                  <a:pt x="146" y="3"/>
                </a:cubicBezTo>
                <a:cubicBezTo>
                  <a:pt x="150" y="6"/>
                  <a:pt x="153" y="12"/>
                  <a:pt x="156" y="12"/>
                </a:cubicBezTo>
                <a:cubicBezTo>
                  <a:pt x="162" y="12"/>
                  <a:pt x="168" y="9"/>
                  <a:pt x="172" y="6"/>
                </a:cubicBezTo>
                <a:cubicBezTo>
                  <a:pt x="179" y="0"/>
                  <a:pt x="181" y="2"/>
                  <a:pt x="185" y="10"/>
                </a:cubicBezTo>
                <a:cubicBezTo>
                  <a:pt x="192" y="22"/>
                  <a:pt x="201" y="34"/>
                  <a:pt x="210" y="45"/>
                </a:cubicBezTo>
                <a:cubicBezTo>
                  <a:pt x="218" y="55"/>
                  <a:pt x="219" y="58"/>
                  <a:pt x="213" y="68"/>
                </a:cubicBezTo>
                <a:cubicBezTo>
                  <a:pt x="209" y="74"/>
                  <a:pt x="210" y="78"/>
                  <a:pt x="215" y="83"/>
                </a:cubicBezTo>
                <a:cubicBezTo>
                  <a:pt x="222" y="90"/>
                  <a:pt x="228" y="97"/>
                  <a:pt x="235" y="104"/>
                </a:cubicBezTo>
                <a:cubicBezTo>
                  <a:pt x="240" y="110"/>
                  <a:pt x="246" y="109"/>
                  <a:pt x="252" y="107"/>
                </a:cubicBezTo>
                <a:cubicBezTo>
                  <a:pt x="256" y="105"/>
                  <a:pt x="257" y="106"/>
                  <a:pt x="261" y="110"/>
                </a:cubicBezTo>
                <a:cubicBezTo>
                  <a:pt x="270" y="120"/>
                  <a:pt x="270" y="133"/>
                  <a:pt x="276" y="144"/>
                </a:cubicBezTo>
                <a:cubicBezTo>
                  <a:pt x="282" y="155"/>
                  <a:pt x="272" y="161"/>
                  <a:pt x="268" y="168"/>
                </a:cubicBezTo>
                <a:cubicBezTo>
                  <a:pt x="265" y="175"/>
                  <a:pt x="258" y="170"/>
                  <a:pt x="253" y="169"/>
                </a:cubicBezTo>
                <a:cubicBezTo>
                  <a:pt x="245" y="167"/>
                  <a:pt x="237" y="166"/>
                  <a:pt x="228" y="169"/>
                </a:cubicBezTo>
                <a:cubicBezTo>
                  <a:pt x="224" y="171"/>
                  <a:pt x="218" y="168"/>
                  <a:pt x="214" y="168"/>
                </a:cubicBezTo>
                <a:cubicBezTo>
                  <a:pt x="207" y="168"/>
                  <a:pt x="200" y="170"/>
                  <a:pt x="193" y="171"/>
                </a:cubicBezTo>
                <a:cubicBezTo>
                  <a:pt x="186" y="171"/>
                  <a:pt x="179" y="171"/>
                  <a:pt x="173" y="169"/>
                </a:cubicBezTo>
                <a:cubicBezTo>
                  <a:pt x="156" y="164"/>
                  <a:pt x="140" y="156"/>
                  <a:pt x="123" y="152"/>
                </a:cubicBezTo>
                <a:cubicBezTo>
                  <a:pt x="108" y="148"/>
                  <a:pt x="94" y="141"/>
                  <a:pt x="79" y="138"/>
                </a:cubicBezTo>
                <a:cubicBezTo>
                  <a:pt x="68" y="135"/>
                  <a:pt x="72" y="129"/>
                  <a:pt x="74" y="126"/>
                </a:cubicBezTo>
                <a:cubicBezTo>
                  <a:pt x="79" y="117"/>
                  <a:pt x="74" y="115"/>
                  <a:pt x="68" y="113"/>
                </a:cubicBezTo>
                <a:cubicBezTo>
                  <a:pt x="63" y="112"/>
                  <a:pt x="57" y="112"/>
                  <a:pt x="53" y="109"/>
                </a:cubicBezTo>
                <a:cubicBezTo>
                  <a:pt x="48" y="106"/>
                  <a:pt x="43" y="101"/>
                  <a:pt x="38" y="96"/>
                </a:cubicBezTo>
                <a:cubicBezTo>
                  <a:pt x="36" y="93"/>
                  <a:pt x="36" y="86"/>
                  <a:pt x="33" y="85"/>
                </a:cubicBezTo>
                <a:cubicBezTo>
                  <a:pt x="27" y="83"/>
                  <a:pt x="20" y="83"/>
                  <a:pt x="13" y="83"/>
                </a:cubicBezTo>
                <a:cubicBezTo>
                  <a:pt x="3" y="85"/>
                  <a:pt x="5" y="85"/>
                  <a:pt x="3" y="75"/>
                </a:cubicBezTo>
                <a:cubicBezTo>
                  <a:pt x="0" y="61"/>
                  <a:pt x="7" y="58"/>
                  <a:pt x="16" y="52"/>
                </a:cubicBezTo>
                <a:cubicBezTo>
                  <a:pt x="24" y="47"/>
                  <a:pt x="33" y="41"/>
                  <a:pt x="36" y="32"/>
                </a:cubicBezTo>
                <a:cubicBezTo>
                  <a:pt x="40" y="22"/>
                  <a:pt x="46" y="22"/>
                  <a:pt x="54" y="2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EE21D32F-2276-45E3-9C9A-EC9225A03E6D}"/>
              </a:ext>
            </a:extLst>
          </p:cNvPr>
          <p:cNvSpPr>
            <a:spLocks/>
          </p:cNvSpPr>
          <p:nvPr userDrawn="1"/>
        </p:nvSpPr>
        <p:spPr bwMode="auto">
          <a:xfrm>
            <a:off x="8050213" y="1576388"/>
            <a:ext cx="519113" cy="520700"/>
          </a:xfrm>
          <a:custGeom>
            <a:avLst/>
            <a:gdLst>
              <a:gd name="T0" fmla="*/ 184 w 219"/>
              <a:gd name="T1" fmla="*/ 45 h 220"/>
              <a:gd name="T2" fmla="*/ 185 w 219"/>
              <a:gd name="T3" fmla="*/ 61 h 220"/>
              <a:gd name="T4" fmla="*/ 205 w 219"/>
              <a:gd name="T5" fmla="*/ 98 h 220"/>
              <a:gd name="T6" fmla="*/ 207 w 219"/>
              <a:gd name="T7" fmla="*/ 135 h 220"/>
              <a:gd name="T8" fmla="*/ 213 w 219"/>
              <a:gd name="T9" fmla="*/ 152 h 220"/>
              <a:gd name="T10" fmla="*/ 218 w 219"/>
              <a:gd name="T11" fmla="*/ 157 h 220"/>
              <a:gd name="T12" fmla="*/ 218 w 219"/>
              <a:gd name="T13" fmla="*/ 162 h 220"/>
              <a:gd name="T14" fmla="*/ 213 w 219"/>
              <a:gd name="T15" fmla="*/ 161 h 220"/>
              <a:gd name="T16" fmla="*/ 162 w 219"/>
              <a:gd name="T17" fmla="*/ 156 h 220"/>
              <a:gd name="T18" fmla="*/ 147 w 219"/>
              <a:gd name="T19" fmla="*/ 161 h 220"/>
              <a:gd name="T20" fmla="*/ 139 w 219"/>
              <a:gd name="T21" fmla="*/ 197 h 220"/>
              <a:gd name="T22" fmla="*/ 136 w 219"/>
              <a:gd name="T23" fmla="*/ 214 h 220"/>
              <a:gd name="T24" fmla="*/ 120 w 219"/>
              <a:gd name="T25" fmla="*/ 216 h 220"/>
              <a:gd name="T26" fmla="*/ 96 w 219"/>
              <a:gd name="T27" fmla="*/ 191 h 220"/>
              <a:gd name="T28" fmla="*/ 76 w 219"/>
              <a:gd name="T29" fmla="*/ 170 h 220"/>
              <a:gd name="T30" fmla="*/ 68 w 219"/>
              <a:gd name="T31" fmla="*/ 160 h 220"/>
              <a:gd name="T32" fmla="*/ 41 w 219"/>
              <a:gd name="T33" fmla="*/ 141 h 220"/>
              <a:gd name="T34" fmla="*/ 35 w 219"/>
              <a:gd name="T35" fmla="*/ 137 h 220"/>
              <a:gd name="T36" fmla="*/ 26 w 219"/>
              <a:gd name="T37" fmla="*/ 102 h 220"/>
              <a:gd name="T38" fmla="*/ 14 w 219"/>
              <a:gd name="T39" fmla="*/ 89 h 220"/>
              <a:gd name="T40" fmla="*/ 11 w 219"/>
              <a:gd name="T41" fmla="*/ 71 h 220"/>
              <a:gd name="T42" fmla="*/ 28 w 219"/>
              <a:gd name="T43" fmla="*/ 29 h 220"/>
              <a:gd name="T44" fmla="*/ 29 w 219"/>
              <a:gd name="T45" fmla="*/ 24 h 220"/>
              <a:gd name="T46" fmla="*/ 50 w 219"/>
              <a:gd name="T47" fmla="*/ 12 h 220"/>
              <a:gd name="T48" fmla="*/ 81 w 219"/>
              <a:gd name="T49" fmla="*/ 2 h 220"/>
              <a:gd name="T50" fmla="*/ 88 w 219"/>
              <a:gd name="T51" fmla="*/ 7 h 220"/>
              <a:gd name="T52" fmla="*/ 92 w 219"/>
              <a:gd name="T53" fmla="*/ 12 h 220"/>
              <a:gd name="T54" fmla="*/ 116 w 219"/>
              <a:gd name="T55" fmla="*/ 27 h 220"/>
              <a:gd name="T56" fmla="*/ 137 w 219"/>
              <a:gd name="T57" fmla="*/ 25 h 220"/>
              <a:gd name="T58" fmla="*/ 151 w 219"/>
              <a:gd name="T59" fmla="*/ 27 h 220"/>
              <a:gd name="T60" fmla="*/ 155 w 219"/>
              <a:gd name="T61" fmla="*/ 32 h 220"/>
              <a:gd name="T62" fmla="*/ 184 w 219"/>
              <a:gd name="T63" fmla="*/ 46 h 220"/>
              <a:gd name="T64" fmla="*/ 184 w 219"/>
              <a:gd name="T65" fmla="*/ 45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9" h="220">
                <a:moveTo>
                  <a:pt x="184" y="45"/>
                </a:moveTo>
                <a:cubicBezTo>
                  <a:pt x="182" y="51"/>
                  <a:pt x="184" y="56"/>
                  <a:pt x="185" y="61"/>
                </a:cubicBezTo>
                <a:cubicBezTo>
                  <a:pt x="189" y="75"/>
                  <a:pt x="194" y="88"/>
                  <a:pt x="205" y="98"/>
                </a:cubicBezTo>
                <a:cubicBezTo>
                  <a:pt x="203" y="111"/>
                  <a:pt x="213" y="122"/>
                  <a:pt x="207" y="135"/>
                </a:cubicBezTo>
                <a:cubicBezTo>
                  <a:pt x="204" y="141"/>
                  <a:pt x="204" y="149"/>
                  <a:pt x="213" y="152"/>
                </a:cubicBezTo>
                <a:cubicBezTo>
                  <a:pt x="215" y="153"/>
                  <a:pt x="217" y="155"/>
                  <a:pt x="218" y="157"/>
                </a:cubicBezTo>
                <a:cubicBezTo>
                  <a:pt x="219" y="159"/>
                  <a:pt x="218" y="161"/>
                  <a:pt x="218" y="162"/>
                </a:cubicBezTo>
                <a:cubicBezTo>
                  <a:pt x="217" y="162"/>
                  <a:pt x="215" y="162"/>
                  <a:pt x="213" y="161"/>
                </a:cubicBezTo>
                <a:cubicBezTo>
                  <a:pt x="197" y="153"/>
                  <a:pt x="180" y="147"/>
                  <a:pt x="162" y="156"/>
                </a:cubicBezTo>
                <a:cubicBezTo>
                  <a:pt x="157" y="158"/>
                  <a:pt x="151" y="158"/>
                  <a:pt x="147" y="161"/>
                </a:cubicBezTo>
                <a:cubicBezTo>
                  <a:pt x="135" y="171"/>
                  <a:pt x="134" y="184"/>
                  <a:pt x="139" y="197"/>
                </a:cubicBezTo>
                <a:cubicBezTo>
                  <a:pt x="141" y="203"/>
                  <a:pt x="143" y="209"/>
                  <a:pt x="136" y="214"/>
                </a:cubicBezTo>
                <a:cubicBezTo>
                  <a:pt x="130" y="219"/>
                  <a:pt x="126" y="220"/>
                  <a:pt x="120" y="216"/>
                </a:cubicBezTo>
                <a:cubicBezTo>
                  <a:pt x="110" y="209"/>
                  <a:pt x="101" y="203"/>
                  <a:pt x="96" y="191"/>
                </a:cubicBezTo>
                <a:cubicBezTo>
                  <a:pt x="92" y="183"/>
                  <a:pt x="83" y="177"/>
                  <a:pt x="76" y="170"/>
                </a:cubicBezTo>
                <a:cubicBezTo>
                  <a:pt x="73" y="167"/>
                  <a:pt x="69" y="164"/>
                  <a:pt x="68" y="160"/>
                </a:cubicBezTo>
                <a:cubicBezTo>
                  <a:pt x="62" y="147"/>
                  <a:pt x="56" y="142"/>
                  <a:pt x="41" y="141"/>
                </a:cubicBezTo>
                <a:cubicBezTo>
                  <a:pt x="39" y="141"/>
                  <a:pt x="36" y="139"/>
                  <a:pt x="35" y="137"/>
                </a:cubicBezTo>
                <a:cubicBezTo>
                  <a:pt x="32" y="125"/>
                  <a:pt x="28" y="114"/>
                  <a:pt x="26" y="102"/>
                </a:cubicBezTo>
                <a:cubicBezTo>
                  <a:pt x="25" y="94"/>
                  <a:pt x="19" y="92"/>
                  <a:pt x="14" y="89"/>
                </a:cubicBezTo>
                <a:cubicBezTo>
                  <a:pt x="1" y="83"/>
                  <a:pt x="0" y="81"/>
                  <a:pt x="11" y="71"/>
                </a:cubicBezTo>
                <a:cubicBezTo>
                  <a:pt x="23" y="59"/>
                  <a:pt x="32" y="47"/>
                  <a:pt x="28" y="29"/>
                </a:cubicBezTo>
                <a:cubicBezTo>
                  <a:pt x="27" y="27"/>
                  <a:pt x="28" y="25"/>
                  <a:pt x="29" y="24"/>
                </a:cubicBezTo>
                <a:cubicBezTo>
                  <a:pt x="36" y="20"/>
                  <a:pt x="45" y="18"/>
                  <a:pt x="50" y="12"/>
                </a:cubicBezTo>
                <a:cubicBezTo>
                  <a:pt x="59" y="2"/>
                  <a:pt x="69" y="1"/>
                  <a:pt x="81" y="2"/>
                </a:cubicBezTo>
                <a:cubicBezTo>
                  <a:pt x="86" y="3"/>
                  <a:pt x="89" y="0"/>
                  <a:pt x="88" y="7"/>
                </a:cubicBezTo>
                <a:cubicBezTo>
                  <a:pt x="88" y="9"/>
                  <a:pt x="91" y="11"/>
                  <a:pt x="92" y="12"/>
                </a:cubicBezTo>
                <a:cubicBezTo>
                  <a:pt x="100" y="17"/>
                  <a:pt x="108" y="21"/>
                  <a:pt x="116" y="27"/>
                </a:cubicBezTo>
                <a:cubicBezTo>
                  <a:pt x="124" y="34"/>
                  <a:pt x="131" y="32"/>
                  <a:pt x="137" y="25"/>
                </a:cubicBezTo>
                <a:cubicBezTo>
                  <a:pt x="143" y="19"/>
                  <a:pt x="147" y="20"/>
                  <a:pt x="151" y="27"/>
                </a:cubicBezTo>
                <a:cubicBezTo>
                  <a:pt x="153" y="28"/>
                  <a:pt x="154" y="30"/>
                  <a:pt x="155" y="32"/>
                </a:cubicBezTo>
                <a:cubicBezTo>
                  <a:pt x="160" y="47"/>
                  <a:pt x="170" y="51"/>
                  <a:pt x="184" y="46"/>
                </a:cubicBezTo>
                <a:lnTo>
                  <a:pt x="184" y="4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2F47AADF-114A-4816-9057-41BEF3A1857D}"/>
              </a:ext>
            </a:extLst>
          </p:cNvPr>
          <p:cNvSpPr>
            <a:spLocks/>
          </p:cNvSpPr>
          <p:nvPr userDrawn="1"/>
        </p:nvSpPr>
        <p:spPr bwMode="auto">
          <a:xfrm>
            <a:off x="8372475" y="1917700"/>
            <a:ext cx="511175" cy="482600"/>
          </a:xfrm>
          <a:custGeom>
            <a:avLst/>
            <a:gdLst>
              <a:gd name="T0" fmla="*/ 6 w 215"/>
              <a:gd name="T1" fmla="*/ 114 h 204"/>
              <a:gd name="T2" fmla="*/ 13 w 215"/>
              <a:gd name="T3" fmla="*/ 96 h 204"/>
              <a:gd name="T4" fmla="*/ 11 w 215"/>
              <a:gd name="T5" fmla="*/ 82 h 204"/>
              <a:gd name="T6" fmla="*/ 9 w 215"/>
              <a:gd name="T7" fmla="*/ 69 h 204"/>
              <a:gd name="T8" fmla="*/ 10 w 215"/>
              <a:gd name="T9" fmla="*/ 60 h 204"/>
              <a:gd name="T10" fmla="*/ 6 w 215"/>
              <a:gd name="T11" fmla="*/ 46 h 204"/>
              <a:gd name="T12" fmla="*/ 23 w 215"/>
              <a:gd name="T13" fmla="*/ 18 h 204"/>
              <a:gd name="T14" fmla="*/ 30 w 215"/>
              <a:gd name="T15" fmla="*/ 15 h 204"/>
              <a:gd name="T16" fmla="*/ 48 w 215"/>
              <a:gd name="T17" fmla="*/ 14 h 204"/>
              <a:gd name="T18" fmla="*/ 58 w 215"/>
              <a:gd name="T19" fmla="*/ 15 h 204"/>
              <a:gd name="T20" fmla="*/ 75 w 215"/>
              <a:gd name="T21" fmla="*/ 21 h 204"/>
              <a:gd name="T22" fmla="*/ 88 w 215"/>
              <a:gd name="T23" fmla="*/ 24 h 204"/>
              <a:gd name="T24" fmla="*/ 88 w 215"/>
              <a:gd name="T25" fmla="*/ 14 h 204"/>
              <a:gd name="T26" fmla="*/ 92 w 215"/>
              <a:gd name="T27" fmla="*/ 4 h 204"/>
              <a:gd name="T28" fmla="*/ 101 w 215"/>
              <a:gd name="T29" fmla="*/ 9 h 204"/>
              <a:gd name="T30" fmla="*/ 116 w 215"/>
              <a:gd name="T31" fmla="*/ 29 h 204"/>
              <a:gd name="T32" fmla="*/ 137 w 215"/>
              <a:gd name="T33" fmla="*/ 36 h 204"/>
              <a:gd name="T34" fmla="*/ 169 w 215"/>
              <a:gd name="T35" fmla="*/ 59 h 204"/>
              <a:gd name="T36" fmla="*/ 178 w 215"/>
              <a:gd name="T37" fmla="*/ 69 h 204"/>
              <a:gd name="T38" fmla="*/ 204 w 215"/>
              <a:gd name="T39" fmla="*/ 82 h 204"/>
              <a:gd name="T40" fmla="*/ 206 w 215"/>
              <a:gd name="T41" fmla="*/ 101 h 204"/>
              <a:gd name="T42" fmla="*/ 181 w 215"/>
              <a:gd name="T43" fmla="*/ 125 h 204"/>
              <a:gd name="T44" fmla="*/ 168 w 215"/>
              <a:gd name="T45" fmla="*/ 157 h 204"/>
              <a:gd name="T46" fmla="*/ 162 w 215"/>
              <a:gd name="T47" fmla="*/ 175 h 204"/>
              <a:gd name="T48" fmla="*/ 155 w 215"/>
              <a:gd name="T49" fmla="*/ 198 h 204"/>
              <a:gd name="T50" fmla="*/ 151 w 215"/>
              <a:gd name="T51" fmla="*/ 204 h 204"/>
              <a:gd name="T52" fmla="*/ 123 w 215"/>
              <a:gd name="T53" fmla="*/ 195 h 204"/>
              <a:gd name="T54" fmla="*/ 109 w 215"/>
              <a:gd name="T55" fmla="*/ 186 h 204"/>
              <a:gd name="T56" fmla="*/ 88 w 215"/>
              <a:gd name="T57" fmla="*/ 175 h 204"/>
              <a:gd name="T58" fmla="*/ 79 w 215"/>
              <a:gd name="T59" fmla="*/ 167 h 204"/>
              <a:gd name="T60" fmla="*/ 78 w 215"/>
              <a:gd name="T61" fmla="*/ 157 h 204"/>
              <a:gd name="T62" fmla="*/ 75 w 215"/>
              <a:gd name="T63" fmla="*/ 151 h 204"/>
              <a:gd name="T64" fmla="*/ 57 w 215"/>
              <a:gd name="T65" fmla="*/ 131 h 204"/>
              <a:gd name="T66" fmla="*/ 35 w 215"/>
              <a:gd name="T67" fmla="*/ 112 h 204"/>
              <a:gd name="T68" fmla="*/ 27 w 215"/>
              <a:gd name="T69" fmla="*/ 118 h 204"/>
              <a:gd name="T70" fmla="*/ 18 w 215"/>
              <a:gd name="T71" fmla="*/ 125 h 204"/>
              <a:gd name="T72" fmla="*/ 14 w 215"/>
              <a:gd name="T73" fmla="*/ 126 h 204"/>
              <a:gd name="T74" fmla="*/ 5 w 215"/>
              <a:gd name="T75" fmla="*/ 118 h 204"/>
              <a:gd name="T76" fmla="*/ 6 w 215"/>
              <a:gd name="T77" fmla="*/ 114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5" h="204">
                <a:moveTo>
                  <a:pt x="6" y="114"/>
                </a:moveTo>
                <a:cubicBezTo>
                  <a:pt x="2" y="105"/>
                  <a:pt x="9" y="101"/>
                  <a:pt x="13" y="96"/>
                </a:cubicBezTo>
                <a:cubicBezTo>
                  <a:pt x="20" y="88"/>
                  <a:pt x="20" y="87"/>
                  <a:pt x="11" y="82"/>
                </a:cubicBezTo>
                <a:cubicBezTo>
                  <a:pt x="5" y="78"/>
                  <a:pt x="0" y="76"/>
                  <a:pt x="9" y="69"/>
                </a:cubicBezTo>
                <a:cubicBezTo>
                  <a:pt x="11" y="68"/>
                  <a:pt x="11" y="63"/>
                  <a:pt x="10" y="60"/>
                </a:cubicBezTo>
                <a:cubicBezTo>
                  <a:pt x="9" y="55"/>
                  <a:pt x="7" y="51"/>
                  <a:pt x="6" y="46"/>
                </a:cubicBezTo>
                <a:cubicBezTo>
                  <a:pt x="2" y="32"/>
                  <a:pt x="9" y="21"/>
                  <a:pt x="23" y="18"/>
                </a:cubicBezTo>
                <a:cubicBezTo>
                  <a:pt x="25" y="17"/>
                  <a:pt x="28" y="17"/>
                  <a:pt x="30" y="15"/>
                </a:cubicBezTo>
                <a:cubicBezTo>
                  <a:pt x="36" y="10"/>
                  <a:pt x="42" y="11"/>
                  <a:pt x="48" y="14"/>
                </a:cubicBezTo>
                <a:cubicBezTo>
                  <a:pt x="51" y="15"/>
                  <a:pt x="54" y="16"/>
                  <a:pt x="58" y="15"/>
                </a:cubicBezTo>
                <a:cubicBezTo>
                  <a:pt x="64" y="15"/>
                  <a:pt x="70" y="17"/>
                  <a:pt x="75" y="21"/>
                </a:cubicBezTo>
                <a:cubicBezTo>
                  <a:pt x="78" y="24"/>
                  <a:pt x="84" y="23"/>
                  <a:pt x="88" y="24"/>
                </a:cubicBezTo>
                <a:cubicBezTo>
                  <a:pt x="88" y="21"/>
                  <a:pt x="87" y="17"/>
                  <a:pt x="88" y="14"/>
                </a:cubicBezTo>
                <a:cubicBezTo>
                  <a:pt x="89" y="10"/>
                  <a:pt x="89" y="5"/>
                  <a:pt x="92" y="4"/>
                </a:cubicBezTo>
                <a:cubicBezTo>
                  <a:pt x="97" y="0"/>
                  <a:pt x="99" y="6"/>
                  <a:pt x="101" y="9"/>
                </a:cubicBezTo>
                <a:cubicBezTo>
                  <a:pt x="106" y="15"/>
                  <a:pt x="111" y="22"/>
                  <a:pt x="116" y="29"/>
                </a:cubicBezTo>
                <a:cubicBezTo>
                  <a:pt x="121" y="36"/>
                  <a:pt x="127" y="39"/>
                  <a:pt x="137" y="36"/>
                </a:cubicBezTo>
                <a:cubicBezTo>
                  <a:pt x="147" y="34"/>
                  <a:pt x="168" y="49"/>
                  <a:pt x="169" y="59"/>
                </a:cubicBezTo>
                <a:cubicBezTo>
                  <a:pt x="170" y="65"/>
                  <a:pt x="174" y="67"/>
                  <a:pt x="178" y="69"/>
                </a:cubicBezTo>
                <a:cubicBezTo>
                  <a:pt x="187" y="73"/>
                  <a:pt x="196" y="77"/>
                  <a:pt x="204" y="82"/>
                </a:cubicBezTo>
                <a:cubicBezTo>
                  <a:pt x="215" y="88"/>
                  <a:pt x="215" y="92"/>
                  <a:pt x="206" y="101"/>
                </a:cubicBezTo>
                <a:cubicBezTo>
                  <a:pt x="198" y="109"/>
                  <a:pt x="187" y="116"/>
                  <a:pt x="181" y="125"/>
                </a:cubicBezTo>
                <a:cubicBezTo>
                  <a:pt x="174" y="135"/>
                  <a:pt x="168" y="146"/>
                  <a:pt x="168" y="157"/>
                </a:cubicBezTo>
                <a:cubicBezTo>
                  <a:pt x="168" y="165"/>
                  <a:pt x="166" y="169"/>
                  <a:pt x="162" y="175"/>
                </a:cubicBezTo>
                <a:cubicBezTo>
                  <a:pt x="158" y="182"/>
                  <a:pt x="157" y="191"/>
                  <a:pt x="155" y="198"/>
                </a:cubicBezTo>
                <a:cubicBezTo>
                  <a:pt x="154" y="200"/>
                  <a:pt x="152" y="202"/>
                  <a:pt x="151" y="204"/>
                </a:cubicBezTo>
                <a:cubicBezTo>
                  <a:pt x="144" y="193"/>
                  <a:pt x="132" y="199"/>
                  <a:pt x="123" y="195"/>
                </a:cubicBezTo>
                <a:cubicBezTo>
                  <a:pt x="119" y="192"/>
                  <a:pt x="113" y="190"/>
                  <a:pt x="109" y="186"/>
                </a:cubicBezTo>
                <a:cubicBezTo>
                  <a:pt x="103" y="181"/>
                  <a:pt x="95" y="179"/>
                  <a:pt x="88" y="175"/>
                </a:cubicBezTo>
                <a:cubicBezTo>
                  <a:pt x="85" y="173"/>
                  <a:pt x="82" y="170"/>
                  <a:pt x="79" y="167"/>
                </a:cubicBezTo>
                <a:cubicBezTo>
                  <a:pt x="75" y="164"/>
                  <a:pt x="74" y="161"/>
                  <a:pt x="78" y="157"/>
                </a:cubicBezTo>
                <a:cubicBezTo>
                  <a:pt x="79" y="157"/>
                  <a:pt x="77" y="152"/>
                  <a:pt x="75" y="151"/>
                </a:cubicBezTo>
                <a:cubicBezTo>
                  <a:pt x="66" y="147"/>
                  <a:pt x="62" y="139"/>
                  <a:pt x="57" y="131"/>
                </a:cubicBezTo>
                <a:cubicBezTo>
                  <a:pt x="52" y="123"/>
                  <a:pt x="43" y="118"/>
                  <a:pt x="35" y="112"/>
                </a:cubicBezTo>
                <a:cubicBezTo>
                  <a:pt x="31" y="108"/>
                  <a:pt x="26" y="112"/>
                  <a:pt x="27" y="118"/>
                </a:cubicBezTo>
                <a:cubicBezTo>
                  <a:pt x="28" y="126"/>
                  <a:pt x="30" y="132"/>
                  <a:pt x="18" y="125"/>
                </a:cubicBezTo>
                <a:cubicBezTo>
                  <a:pt x="17" y="125"/>
                  <a:pt x="16" y="125"/>
                  <a:pt x="14" y="126"/>
                </a:cubicBezTo>
                <a:cubicBezTo>
                  <a:pt x="6" y="129"/>
                  <a:pt x="4" y="125"/>
                  <a:pt x="5" y="118"/>
                </a:cubicBezTo>
                <a:cubicBezTo>
                  <a:pt x="5" y="116"/>
                  <a:pt x="5" y="115"/>
                  <a:pt x="6" y="114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A963E531-79FD-4C4B-BABE-55290095BB6E}"/>
              </a:ext>
            </a:extLst>
          </p:cNvPr>
          <p:cNvSpPr>
            <a:spLocks/>
          </p:cNvSpPr>
          <p:nvPr userDrawn="1"/>
        </p:nvSpPr>
        <p:spPr bwMode="auto">
          <a:xfrm>
            <a:off x="7762875" y="1704975"/>
            <a:ext cx="469900" cy="498475"/>
          </a:xfrm>
          <a:custGeom>
            <a:avLst/>
            <a:gdLst>
              <a:gd name="T0" fmla="*/ 198 w 198"/>
              <a:gd name="T1" fmla="*/ 138 h 211"/>
              <a:gd name="T2" fmla="*/ 189 w 198"/>
              <a:gd name="T3" fmla="*/ 161 h 211"/>
              <a:gd name="T4" fmla="*/ 188 w 198"/>
              <a:gd name="T5" fmla="*/ 163 h 211"/>
              <a:gd name="T6" fmla="*/ 161 w 198"/>
              <a:gd name="T7" fmla="*/ 179 h 211"/>
              <a:gd name="T8" fmla="*/ 152 w 198"/>
              <a:gd name="T9" fmla="*/ 190 h 211"/>
              <a:gd name="T10" fmla="*/ 152 w 198"/>
              <a:gd name="T11" fmla="*/ 199 h 211"/>
              <a:gd name="T12" fmla="*/ 137 w 198"/>
              <a:gd name="T13" fmla="*/ 208 h 211"/>
              <a:gd name="T14" fmla="*/ 95 w 198"/>
              <a:gd name="T15" fmla="*/ 208 h 211"/>
              <a:gd name="T16" fmla="*/ 87 w 198"/>
              <a:gd name="T17" fmla="*/ 208 h 211"/>
              <a:gd name="T18" fmla="*/ 51 w 198"/>
              <a:gd name="T19" fmla="*/ 188 h 211"/>
              <a:gd name="T20" fmla="*/ 13 w 198"/>
              <a:gd name="T21" fmla="*/ 187 h 211"/>
              <a:gd name="T22" fmla="*/ 2 w 198"/>
              <a:gd name="T23" fmla="*/ 173 h 211"/>
              <a:gd name="T24" fmla="*/ 40 w 198"/>
              <a:gd name="T25" fmla="*/ 115 h 211"/>
              <a:gd name="T26" fmla="*/ 50 w 198"/>
              <a:gd name="T27" fmla="*/ 107 h 211"/>
              <a:gd name="T28" fmla="*/ 53 w 198"/>
              <a:gd name="T29" fmla="*/ 96 h 211"/>
              <a:gd name="T30" fmla="*/ 52 w 198"/>
              <a:gd name="T31" fmla="*/ 86 h 211"/>
              <a:gd name="T32" fmla="*/ 52 w 198"/>
              <a:gd name="T33" fmla="*/ 58 h 211"/>
              <a:gd name="T34" fmla="*/ 60 w 198"/>
              <a:gd name="T35" fmla="*/ 42 h 211"/>
              <a:gd name="T36" fmla="*/ 93 w 198"/>
              <a:gd name="T37" fmla="*/ 28 h 211"/>
              <a:gd name="T38" fmla="*/ 109 w 198"/>
              <a:gd name="T39" fmla="*/ 14 h 211"/>
              <a:gd name="T40" fmla="*/ 112 w 198"/>
              <a:gd name="T41" fmla="*/ 10 h 211"/>
              <a:gd name="T42" fmla="*/ 138 w 198"/>
              <a:gd name="T43" fmla="*/ 1 h 211"/>
              <a:gd name="T44" fmla="*/ 140 w 198"/>
              <a:gd name="T45" fmla="*/ 1 h 211"/>
              <a:gd name="T46" fmla="*/ 138 w 198"/>
              <a:gd name="T47" fmla="*/ 3 h 211"/>
              <a:gd name="T48" fmla="*/ 124 w 198"/>
              <a:gd name="T49" fmla="*/ 18 h 211"/>
              <a:gd name="T50" fmla="*/ 127 w 198"/>
              <a:gd name="T51" fmla="*/ 37 h 211"/>
              <a:gd name="T52" fmla="*/ 143 w 198"/>
              <a:gd name="T53" fmla="*/ 59 h 211"/>
              <a:gd name="T54" fmla="*/ 153 w 198"/>
              <a:gd name="T55" fmla="*/ 88 h 211"/>
              <a:gd name="T56" fmla="*/ 163 w 198"/>
              <a:gd name="T57" fmla="*/ 94 h 211"/>
              <a:gd name="T58" fmla="*/ 183 w 198"/>
              <a:gd name="T59" fmla="*/ 106 h 211"/>
              <a:gd name="T60" fmla="*/ 193 w 198"/>
              <a:gd name="T61" fmla="*/ 121 h 211"/>
              <a:gd name="T62" fmla="*/ 198 w 198"/>
              <a:gd name="T63" fmla="*/ 138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98" h="211">
                <a:moveTo>
                  <a:pt x="198" y="138"/>
                </a:moveTo>
                <a:cubicBezTo>
                  <a:pt x="196" y="145"/>
                  <a:pt x="193" y="153"/>
                  <a:pt x="189" y="161"/>
                </a:cubicBezTo>
                <a:cubicBezTo>
                  <a:pt x="189" y="162"/>
                  <a:pt x="189" y="163"/>
                  <a:pt x="188" y="163"/>
                </a:cubicBezTo>
                <a:cubicBezTo>
                  <a:pt x="182" y="173"/>
                  <a:pt x="173" y="179"/>
                  <a:pt x="161" y="179"/>
                </a:cubicBezTo>
                <a:cubicBezTo>
                  <a:pt x="154" y="180"/>
                  <a:pt x="151" y="183"/>
                  <a:pt x="152" y="190"/>
                </a:cubicBezTo>
                <a:cubicBezTo>
                  <a:pt x="152" y="193"/>
                  <a:pt x="152" y="196"/>
                  <a:pt x="152" y="199"/>
                </a:cubicBezTo>
                <a:cubicBezTo>
                  <a:pt x="151" y="207"/>
                  <a:pt x="144" y="211"/>
                  <a:pt x="137" y="208"/>
                </a:cubicBezTo>
                <a:cubicBezTo>
                  <a:pt x="123" y="200"/>
                  <a:pt x="109" y="203"/>
                  <a:pt x="95" y="208"/>
                </a:cubicBezTo>
                <a:cubicBezTo>
                  <a:pt x="93" y="209"/>
                  <a:pt x="88" y="209"/>
                  <a:pt x="87" y="208"/>
                </a:cubicBezTo>
                <a:cubicBezTo>
                  <a:pt x="80" y="191"/>
                  <a:pt x="65" y="190"/>
                  <a:pt x="51" y="188"/>
                </a:cubicBezTo>
                <a:cubicBezTo>
                  <a:pt x="38" y="187"/>
                  <a:pt x="26" y="188"/>
                  <a:pt x="13" y="187"/>
                </a:cubicBezTo>
                <a:cubicBezTo>
                  <a:pt x="0" y="187"/>
                  <a:pt x="0" y="186"/>
                  <a:pt x="2" y="173"/>
                </a:cubicBezTo>
                <a:cubicBezTo>
                  <a:pt x="5" y="147"/>
                  <a:pt x="22" y="130"/>
                  <a:pt x="40" y="115"/>
                </a:cubicBezTo>
                <a:cubicBezTo>
                  <a:pt x="44" y="112"/>
                  <a:pt x="47" y="110"/>
                  <a:pt x="50" y="107"/>
                </a:cubicBezTo>
                <a:cubicBezTo>
                  <a:pt x="54" y="104"/>
                  <a:pt x="57" y="102"/>
                  <a:pt x="53" y="96"/>
                </a:cubicBezTo>
                <a:cubicBezTo>
                  <a:pt x="52" y="94"/>
                  <a:pt x="51" y="89"/>
                  <a:pt x="52" y="86"/>
                </a:cubicBezTo>
                <a:cubicBezTo>
                  <a:pt x="57" y="77"/>
                  <a:pt x="55" y="68"/>
                  <a:pt x="52" y="58"/>
                </a:cubicBezTo>
                <a:cubicBezTo>
                  <a:pt x="48" y="47"/>
                  <a:pt x="49" y="47"/>
                  <a:pt x="60" y="42"/>
                </a:cubicBezTo>
                <a:cubicBezTo>
                  <a:pt x="71" y="37"/>
                  <a:pt x="82" y="32"/>
                  <a:pt x="93" y="28"/>
                </a:cubicBezTo>
                <a:cubicBezTo>
                  <a:pt x="100" y="25"/>
                  <a:pt x="106" y="22"/>
                  <a:pt x="109" y="14"/>
                </a:cubicBezTo>
                <a:cubicBezTo>
                  <a:pt x="110" y="13"/>
                  <a:pt x="111" y="10"/>
                  <a:pt x="112" y="10"/>
                </a:cubicBezTo>
                <a:cubicBezTo>
                  <a:pt x="122" y="11"/>
                  <a:pt x="131" y="7"/>
                  <a:pt x="138" y="1"/>
                </a:cubicBezTo>
                <a:cubicBezTo>
                  <a:pt x="138" y="0"/>
                  <a:pt x="139" y="1"/>
                  <a:pt x="140" y="1"/>
                </a:cubicBezTo>
                <a:cubicBezTo>
                  <a:pt x="139" y="2"/>
                  <a:pt x="139" y="3"/>
                  <a:pt x="138" y="3"/>
                </a:cubicBezTo>
                <a:cubicBezTo>
                  <a:pt x="133" y="8"/>
                  <a:pt x="128" y="13"/>
                  <a:pt x="124" y="18"/>
                </a:cubicBezTo>
                <a:cubicBezTo>
                  <a:pt x="116" y="26"/>
                  <a:pt x="117" y="32"/>
                  <a:pt x="127" y="37"/>
                </a:cubicBezTo>
                <a:cubicBezTo>
                  <a:pt x="137" y="41"/>
                  <a:pt x="142" y="48"/>
                  <a:pt x="143" y="59"/>
                </a:cubicBezTo>
                <a:cubicBezTo>
                  <a:pt x="145" y="69"/>
                  <a:pt x="148" y="79"/>
                  <a:pt x="153" y="88"/>
                </a:cubicBezTo>
                <a:cubicBezTo>
                  <a:pt x="154" y="91"/>
                  <a:pt x="160" y="94"/>
                  <a:pt x="163" y="94"/>
                </a:cubicBezTo>
                <a:cubicBezTo>
                  <a:pt x="174" y="94"/>
                  <a:pt x="180" y="96"/>
                  <a:pt x="183" y="106"/>
                </a:cubicBezTo>
                <a:cubicBezTo>
                  <a:pt x="185" y="112"/>
                  <a:pt x="187" y="117"/>
                  <a:pt x="193" y="121"/>
                </a:cubicBezTo>
                <a:cubicBezTo>
                  <a:pt x="196" y="124"/>
                  <a:pt x="196" y="131"/>
                  <a:pt x="198" y="138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89D5A7F4-9387-4099-8017-683B4B4DA006}"/>
              </a:ext>
            </a:extLst>
          </p:cNvPr>
          <p:cNvSpPr>
            <a:spLocks/>
          </p:cNvSpPr>
          <p:nvPr userDrawn="1"/>
        </p:nvSpPr>
        <p:spPr bwMode="auto">
          <a:xfrm>
            <a:off x="7850188" y="2012950"/>
            <a:ext cx="496888" cy="563563"/>
          </a:xfrm>
          <a:custGeom>
            <a:avLst/>
            <a:gdLst>
              <a:gd name="T0" fmla="*/ 119 w 209"/>
              <a:gd name="T1" fmla="*/ 67 h 238"/>
              <a:gd name="T2" fmla="*/ 133 w 209"/>
              <a:gd name="T3" fmla="*/ 58 h 238"/>
              <a:gd name="T4" fmla="*/ 151 w 209"/>
              <a:gd name="T5" fmla="*/ 50 h 238"/>
              <a:gd name="T6" fmla="*/ 159 w 209"/>
              <a:gd name="T7" fmla="*/ 31 h 238"/>
              <a:gd name="T8" fmla="*/ 166 w 209"/>
              <a:gd name="T9" fmla="*/ 6 h 238"/>
              <a:gd name="T10" fmla="*/ 168 w 209"/>
              <a:gd name="T11" fmla="*/ 0 h 238"/>
              <a:gd name="T12" fmla="*/ 173 w 209"/>
              <a:gd name="T13" fmla="*/ 4 h 238"/>
              <a:gd name="T14" fmla="*/ 175 w 209"/>
              <a:gd name="T15" fmla="*/ 6 h 238"/>
              <a:gd name="T16" fmla="*/ 203 w 209"/>
              <a:gd name="T17" fmla="*/ 36 h 238"/>
              <a:gd name="T18" fmla="*/ 203 w 209"/>
              <a:gd name="T19" fmla="*/ 46 h 238"/>
              <a:gd name="T20" fmla="*/ 177 w 209"/>
              <a:gd name="T21" fmla="*/ 87 h 238"/>
              <a:gd name="T22" fmla="*/ 175 w 209"/>
              <a:gd name="T23" fmla="*/ 111 h 238"/>
              <a:gd name="T24" fmla="*/ 179 w 209"/>
              <a:gd name="T25" fmla="*/ 141 h 238"/>
              <a:gd name="T26" fmla="*/ 173 w 209"/>
              <a:gd name="T27" fmla="*/ 149 h 238"/>
              <a:gd name="T28" fmla="*/ 154 w 209"/>
              <a:gd name="T29" fmla="*/ 161 h 238"/>
              <a:gd name="T30" fmla="*/ 153 w 209"/>
              <a:gd name="T31" fmla="*/ 176 h 238"/>
              <a:gd name="T32" fmla="*/ 161 w 209"/>
              <a:gd name="T33" fmla="*/ 181 h 238"/>
              <a:gd name="T34" fmla="*/ 189 w 209"/>
              <a:gd name="T35" fmla="*/ 185 h 238"/>
              <a:gd name="T36" fmla="*/ 194 w 209"/>
              <a:gd name="T37" fmla="*/ 189 h 238"/>
              <a:gd name="T38" fmla="*/ 198 w 209"/>
              <a:gd name="T39" fmla="*/ 217 h 238"/>
              <a:gd name="T40" fmla="*/ 192 w 209"/>
              <a:gd name="T41" fmla="*/ 224 h 238"/>
              <a:gd name="T42" fmla="*/ 170 w 209"/>
              <a:gd name="T43" fmla="*/ 235 h 238"/>
              <a:gd name="T44" fmla="*/ 163 w 209"/>
              <a:gd name="T45" fmla="*/ 229 h 238"/>
              <a:gd name="T46" fmla="*/ 165 w 209"/>
              <a:gd name="T47" fmla="*/ 213 h 238"/>
              <a:gd name="T48" fmla="*/ 159 w 209"/>
              <a:gd name="T49" fmla="*/ 202 h 238"/>
              <a:gd name="T50" fmla="*/ 149 w 209"/>
              <a:gd name="T51" fmla="*/ 206 h 238"/>
              <a:gd name="T52" fmla="*/ 144 w 209"/>
              <a:gd name="T53" fmla="*/ 211 h 238"/>
              <a:gd name="T54" fmla="*/ 135 w 209"/>
              <a:gd name="T55" fmla="*/ 211 h 238"/>
              <a:gd name="T56" fmla="*/ 120 w 209"/>
              <a:gd name="T57" fmla="*/ 203 h 238"/>
              <a:gd name="T58" fmla="*/ 107 w 209"/>
              <a:gd name="T59" fmla="*/ 219 h 238"/>
              <a:gd name="T60" fmla="*/ 101 w 209"/>
              <a:gd name="T61" fmla="*/ 225 h 238"/>
              <a:gd name="T62" fmla="*/ 95 w 209"/>
              <a:gd name="T63" fmla="*/ 217 h 238"/>
              <a:gd name="T64" fmla="*/ 98 w 209"/>
              <a:gd name="T65" fmla="*/ 210 h 238"/>
              <a:gd name="T66" fmla="*/ 88 w 209"/>
              <a:gd name="T67" fmla="*/ 181 h 238"/>
              <a:gd name="T68" fmla="*/ 75 w 209"/>
              <a:gd name="T69" fmla="*/ 167 h 238"/>
              <a:gd name="T70" fmla="*/ 63 w 209"/>
              <a:gd name="T71" fmla="*/ 122 h 238"/>
              <a:gd name="T72" fmla="*/ 49 w 209"/>
              <a:gd name="T73" fmla="*/ 113 h 238"/>
              <a:gd name="T74" fmla="*/ 31 w 209"/>
              <a:gd name="T75" fmla="*/ 107 h 238"/>
              <a:gd name="T76" fmla="*/ 17 w 209"/>
              <a:gd name="T77" fmla="*/ 103 h 238"/>
              <a:gd name="T78" fmla="*/ 7 w 209"/>
              <a:gd name="T79" fmla="*/ 102 h 238"/>
              <a:gd name="T80" fmla="*/ 9 w 209"/>
              <a:gd name="T81" fmla="*/ 94 h 238"/>
              <a:gd name="T82" fmla="*/ 7 w 209"/>
              <a:gd name="T83" fmla="*/ 82 h 238"/>
              <a:gd name="T84" fmla="*/ 5 w 209"/>
              <a:gd name="T85" fmla="*/ 68 h 238"/>
              <a:gd name="T86" fmla="*/ 16 w 209"/>
              <a:gd name="T87" fmla="*/ 64 h 238"/>
              <a:gd name="T88" fmla="*/ 46 w 209"/>
              <a:gd name="T89" fmla="*/ 82 h 238"/>
              <a:gd name="T90" fmla="*/ 55 w 209"/>
              <a:gd name="T91" fmla="*/ 86 h 238"/>
              <a:gd name="T92" fmla="*/ 88 w 209"/>
              <a:gd name="T93" fmla="*/ 78 h 238"/>
              <a:gd name="T94" fmla="*/ 95 w 209"/>
              <a:gd name="T95" fmla="*/ 81 h 238"/>
              <a:gd name="T96" fmla="*/ 119 w 209"/>
              <a:gd name="T97" fmla="*/ 67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09" h="238">
                <a:moveTo>
                  <a:pt x="119" y="67"/>
                </a:moveTo>
                <a:cubicBezTo>
                  <a:pt x="119" y="54"/>
                  <a:pt x="122" y="53"/>
                  <a:pt x="133" y="58"/>
                </a:cubicBezTo>
                <a:cubicBezTo>
                  <a:pt x="140" y="60"/>
                  <a:pt x="149" y="56"/>
                  <a:pt x="151" y="50"/>
                </a:cubicBezTo>
                <a:cubicBezTo>
                  <a:pt x="153" y="43"/>
                  <a:pt x="155" y="37"/>
                  <a:pt x="159" y="31"/>
                </a:cubicBezTo>
                <a:cubicBezTo>
                  <a:pt x="163" y="23"/>
                  <a:pt x="167" y="15"/>
                  <a:pt x="166" y="6"/>
                </a:cubicBezTo>
                <a:cubicBezTo>
                  <a:pt x="165" y="4"/>
                  <a:pt x="167" y="2"/>
                  <a:pt x="168" y="0"/>
                </a:cubicBezTo>
                <a:cubicBezTo>
                  <a:pt x="169" y="1"/>
                  <a:pt x="171" y="2"/>
                  <a:pt x="173" y="4"/>
                </a:cubicBezTo>
                <a:cubicBezTo>
                  <a:pt x="174" y="4"/>
                  <a:pt x="174" y="5"/>
                  <a:pt x="175" y="6"/>
                </a:cubicBezTo>
                <a:cubicBezTo>
                  <a:pt x="178" y="21"/>
                  <a:pt x="189" y="30"/>
                  <a:pt x="203" y="36"/>
                </a:cubicBezTo>
                <a:cubicBezTo>
                  <a:pt x="209" y="39"/>
                  <a:pt x="208" y="43"/>
                  <a:pt x="203" y="46"/>
                </a:cubicBezTo>
                <a:cubicBezTo>
                  <a:pt x="189" y="56"/>
                  <a:pt x="181" y="71"/>
                  <a:pt x="177" y="87"/>
                </a:cubicBezTo>
                <a:cubicBezTo>
                  <a:pt x="175" y="95"/>
                  <a:pt x="174" y="103"/>
                  <a:pt x="175" y="111"/>
                </a:cubicBezTo>
                <a:cubicBezTo>
                  <a:pt x="175" y="121"/>
                  <a:pt x="178" y="131"/>
                  <a:pt x="179" y="141"/>
                </a:cubicBezTo>
                <a:cubicBezTo>
                  <a:pt x="179" y="144"/>
                  <a:pt x="176" y="147"/>
                  <a:pt x="173" y="149"/>
                </a:cubicBezTo>
                <a:cubicBezTo>
                  <a:pt x="167" y="153"/>
                  <a:pt x="159" y="156"/>
                  <a:pt x="154" y="161"/>
                </a:cubicBezTo>
                <a:cubicBezTo>
                  <a:pt x="152" y="164"/>
                  <a:pt x="153" y="171"/>
                  <a:pt x="153" y="176"/>
                </a:cubicBezTo>
                <a:cubicBezTo>
                  <a:pt x="153" y="181"/>
                  <a:pt x="157" y="181"/>
                  <a:pt x="161" y="181"/>
                </a:cubicBezTo>
                <a:cubicBezTo>
                  <a:pt x="171" y="180"/>
                  <a:pt x="179" y="189"/>
                  <a:pt x="189" y="185"/>
                </a:cubicBezTo>
                <a:cubicBezTo>
                  <a:pt x="190" y="185"/>
                  <a:pt x="192" y="188"/>
                  <a:pt x="194" y="189"/>
                </a:cubicBezTo>
                <a:cubicBezTo>
                  <a:pt x="200" y="198"/>
                  <a:pt x="199" y="208"/>
                  <a:pt x="198" y="217"/>
                </a:cubicBezTo>
                <a:cubicBezTo>
                  <a:pt x="198" y="220"/>
                  <a:pt x="195" y="223"/>
                  <a:pt x="192" y="224"/>
                </a:cubicBezTo>
                <a:cubicBezTo>
                  <a:pt x="185" y="228"/>
                  <a:pt x="177" y="231"/>
                  <a:pt x="170" y="235"/>
                </a:cubicBezTo>
                <a:cubicBezTo>
                  <a:pt x="163" y="238"/>
                  <a:pt x="163" y="234"/>
                  <a:pt x="163" y="229"/>
                </a:cubicBezTo>
                <a:cubicBezTo>
                  <a:pt x="164" y="224"/>
                  <a:pt x="166" y="218"/>
                  <a:pt x="165" y="213"/>
                </a:cubicBezTo>
                <a:cubicBezTo>
                  <a:pt x="165" y="209"/>
                  <a:pt x="162" y="204"/>
                  <a:pt x="159" y="202"/>
                </a:cubicBezTo>
                <a:cubicBezTo>
                  <a:pt x="157" y="201"/>
                  <a:pt x="152" y="204"/>
                  <a:pt x="149" y="206"/>
                </a:cubicBezTo>
                <a:cubicBezTo>
                  <a:pt x="147" y="207"/>
                  <a:pt x="145" y="209"/>
                  <a:pt x="144" y="211"/>
                </a:cubicBezTo>
                <a:cubicBezTo>
                  <a:pt x="141" y="214"/>
                  <a:pt x="138" y="216"/>
                  <a:pt x="135" y="211"/>
                </a:cubicBezTo>
                <a:cubicBezTo>
                  <a:pt x="132" y="204"/>
                  <a:pt x="126" y="200"/>
                  <a:pt x="120" y="203"/>
                </a:cubicBezTo>
                <a:cubicBezTo>
                  <a:pt x="114" y="206"/>
                  <a:pt x="104" y="208"/>
                  <a:pt x="107" y="219"/>
                </a:cubicBezTo>
                <a:cubicBezTo>
                  <a:pt x="108" y="223"/>
                  <a:pt x="106" y="227"/>
                  <a:pt x="101" y="225"/>
                </a:cubicBezTo>
                <a:cubicBezTo>
                  <a:pt x="98" y="224"/>
                  <a:pt x="96" y="220"/>
                  <a:pt x="95" y="217"/>
                </a:cubicBezTo>
                <a:cubicBezTo>
                  <a:pt x="94" y="215"/>
                  <a:pt x="97" y="212"/>
                  <a:pt x="98" y="210"/>
                </a:cubicBezTo>
                <a:cubicBezTo>
                  <a:pt x="105" y="198"/>
                  <a:pt x="101" y="185"/>
                  <a:pt x="88" y="181"/>
                </a:cubicBezTo>
                <a:cubicBezTo>
                  <a:pt x="81" y="178"/>
                  <a:pt x="77" y="174"/>
                  <a:pt x="75" y="167"/>
                </a:cubicBezTo>
                <a:cubicBezTo>
                  <a:pt x="72" y="152"/>
                  <a:pt x="67" y="137"/>
                  <a:pt x="63" y="122"/>
                </a:cubicBezTo>
                <a:cubicBezTo>
                  <a:pt x="60" y="111"/>
                  <a:pt x="60" y="110"/>
                  <a:pt x="49" y="113"/>
                </a:cubicBezTo>
                <a:cubicBezTo>
                  <a:pt x="40" y="116"/>
                  <a:pt x="35" y="115"/>
                  <a:pt x="31" y="107"/>
                </a:cubicBezTo>
                <a:cubicBezTo>
                  <a:pt x="28" y="101"/>
                  <a:pt x="23" y="102"/>
                  <a:pt x="17" y="103"/>
                </a:cubicBezTo>
                <a:cubicBezTo>
                  <a:pt x="14" y="104"/>
                  <a:pt x="11" y="102"/>
                  <a:pt x="7" y="102"/>
                </a:cubicBezTo>
                <a:cubicBezTo>
                  <a:pt x="8" y="99"/>
                  <a:pt x="8" y="96"/>
                  <a:pt x="9" y="94"/>
                </a:cubicBezTo>
                <a:cubicBezTo>
                  <a:pt x="14" y="88"/>
                  <a:pt x="9" y="85"/>
                  <a:pt x="7" y="82"/>
                </a:cubicBezTo>
                <a:cubicBezTo>
                  <a:pt x="3" y="77"/>
                  <a:pt x="0" y="72"/>
                  <a:pt x="5" y="68"/>
                </a:cubicBezTo>
                <a:cubicBezTo>
                  <a:pt x="7" y="65"/>
                  <a:pt x="13" y="64"/>
                  <a:pt x="16" y="64"/>
                </a:cubicBezTo>
                <a:cubicBezTo>
                  <a:pt x="28" y="66"/>
                  <a:pt x="42" y="67"/>
                  <a:pt x="46" y="82"/>
                </a:cubicBezTo>
                <a:cubicBezTo>
                  <a:pt x="47" y="88"/>
                  <a:pt x="52" y="89"/>
                  <a:pt x="55" y="86"/>
                </a:cubicBezTo>
                <a:cubicBezTo>
                  <a:pt x="65" y="76"/>
                  <a:pt x="77" y="80"/>
                  <a:pt x="88" y="78"/>
                </a:cubicBezTo>
                <a:cubicBezTo>
                  <a:pt x="90" y="78"/>
                  <a:pt x="93" y="80"/>
                  <a:pt x="95" y="81"/>
                </a:cubicBezTo>
                <a:cubicBezTo>
                  <a:pt x="109" y="89"/>
                  <a:pt x="119" y="82"/>
                  <a:pt x="119" y="67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0EE5CDDF-0500-4E9C-AF64-185755644653}"/>
              </a:ext>
            </a:extLst>
          </p:cNvPr>
          <p:cNvSpPr>
            <a:spLocks/>
          </p:cNvSpPr>
          <p:nvPr userDrawn="1"/>
        </p:nvSpPr>
        <p:spPr bwMode="auto">
          <a:xfrm>
            <a:off x="7772400" y="5319713"/>
            <a:ext cx="417513" cy="814388"/>
          </a:xfrm>
          <a:custGeom>
            <a:avLst/>
            <a:gdLst>
              <a:gd name="T0" fmla="*/ 165 w 176"/>
              <a:gd name="T1" fmla="*/ 207 h 344"/>
              <a:gd name="T2" fmla="*/ 160 w 176"/>
              <a:gd name="T3" fmla="*/ 235 h 344"/>
              <a:gd name="T4" fmla="*/ 169 w 176"/>
              <a:gd name="T5" fmla="*/ 249 h 344"/>
              <a:gd name="T6" fmla="*/ 173 w 176"/>
              <a:gd name="T7" fmla="*/ 259 h 344"/>
              <a:gd name="T8" fmla="*/ 160 w 176"/>
              <a:gd name="T9" fmla="*/ 281 h 344"/>
              <a:gd name="T10" fmla="*/ 156 w 176"/>
              <a:gd name="T11" fmla="*/ 289 h 344"/>
              <a:gd name="T12" fmla="*/ 157 w 176"/>
              <a:gd name="T13" fmla="*/ 307 h 344"/>
              <a:gd name="T14" fmla="*/ 159 w 176"/>
              <a:gd name="T15" fmla="*/ 326 h 344"/>
              <a:gd name="T16" fmla="*/ 151 w 176"/>
              <a:gd name="T17" fmla="*/ 344 h 344"/>
              <a:gd name="T18" fmla="*/ 147 w 176"/>
              <a:gd name="T19" fmla="*/ 341 h 344"/>
              <a:gd name="T20" fmla="*/ 95 w 176"/>
              <a:gd name="T21" fmla="*/ 252 h 344"/>
              <a:gd name="T22" fmla="*/ 93 w 176"/>
              <a:gd name="T23" fmla="*/ 240 h 344"/>
              <a:gd name="T24" fmla="*/ 84 w 176"/>
              <a:gd name="T25" fmla="*/ 186 h 344"/>
              <a:gd name="T26" fmla="*/ 57 w 176"/>
              <a:gd name="T27" fmla="*/ 111 h 344"/>
              <a:gd name="T28" fmla="*/ 22 w 176"/>
              <a:gd name="T29" fmla="*/ 50 h 344"/>
              <a:gd name="T30" fmla="*/ 1 w 176"/>
              <a:gd name="T31" fmla="*/ 4 h 344"/>
              <a:gd name="T32" fmla="*/ 1 w 176"/>
              <a:gd name="T33" fmla="*/ 0 h 344"/>
              <a:gd name="T34" fmla="*/ 5 w 176"/>
              <a:gd name="T35" fmla="*/ 1 h 344"/>
              <a:gd name="T36" fmla="*/ 25 w 176"/>
              <a:gd name="T37" fmla="*/ 23 h 344"/>
              <a:gd name="T38" fmla="*/ 32 w 176"/>
              <a:gd name="T39" fmla="*/ 34 h 344"/>
              <a:gd name="T40" fmla="*/ 61 w 176"/>
              <a:gd name="T41" fmla="*/ 58 h 344"/>
              <a:gd name="T42" fmla="*/ 72 w 176"/>
              <a:gd name="T43" fmla="*/ 61 h 344"/>
              <a:gd name="T44" fmla="*/ 99 w 176"/>
              <a:gd name="T45" fmla="*/ 75 h 344"/>
              <a:gd name="T46" fmla="*/ 98 w 176"/>
              <a:gd name="T47" fmla="*/ 83 h 344"/>
              <a:gd name="T48" fmla="*/ 104 w 176"/>
              <a:gd name="T49" fmla="*/ 104 h 344"/>
              <a:gd name="T50" fmla="*/ 108 w 176"/>
              <a:gd name="T51" fmla="*/ 111 h 344"/>
              <a:gd name="T52" fmla="*/ 118 w 176"/>
              <a:gd name="T53" fmla="*/ 122 h 344"/>
              <a:gd name="T54" fmla="*/ 125 w 176"/>
              <a:gd name="T55" fmla="*/ 129 h 344"/>
              <a:gd name="T56" fmla="*/ 131 w 176"/>
              <a:gd name="T57" fmla="*/ 144 h 344"/>
              <a:gd name="T58" fmla="*/ 134 w 176"/>
              <a:gd name="T59" fmla="*/ 165 h 344"/>
              <a:gd name="T60" fmla="*/ 135 w 176"/>
              <a:gd name="T61" fmla="*/ 190 h 344"/>
              <a:gd name="T62" fmla="*/ 153 w 176"/>
              <a:gd name="T63" fmla="*/ 194 h 344"/>
              <a:gd name="T64" fmla="*/ 165 w 176"/>
              <a:gd name="T65" fmla="*/ 199 h 344"/>
              <a:gd name="T66" fmla="*/ 165 w 176"/>
              <a:gd name="T67" fmla="*/ 207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6" h="344">
                <a:moveTo>
                  <a:pt x="165" y="207"/>
                </a:moveTo>
                <a:cubicBezTo>
                  <a:pt x="164" y="215"/>
                  <a:pt x="162" y="225"/>
                  <a:pt x="160" y="235"/>
                </a:cubicBezTo>
                <a:cubicBezTo>
                  <a:pt x="158" y="247"/>
                  <a:pt x="158" y="247"/>
                  <a:pt x="169" y="249"/>
                </a:cubicBezTo>
                <a:cubicBezTo>
                  <a:pt x="176" y="250"/>
                  <a:pt x="176" y="254"/>
                  <a:pt x="173" y="259"/>
                </a:cubicBezTo>
                <a:cubicBezTo>
                  <a:pt x="169" y="266"/>
                  <a:pt x="164" y="274"/>
                  <a:pt x="160" y="281"/>
                </a:cubicBezTo>
                <a:cubicBezTo>
                  <a:pt x="159" y="284"/>
                  <a:pt x="156" y="286"/>
                  <a:pt x="156" y="289"/>
                </a:cubicBezTo>
                <a:cubicBezTo>
                  <a:pt x="156" y="295"/>
                  <a:pt x="159" y="302"/>
                  <a:pt x="157" y="307"/>
                </a:cubicBezTo>
                <a:cubicBezTo>
                  <a:pt x="153" y="315"/>
                  <a:pt x="153" y="320"/>
                  <a:pt x="159" y="326"/>
                </a:cubicBezTo>
                <a:cubicBezTo>
                  <a:pt x="162" y="330"/>
                  <a:pt x="155" y="343"/>
                  <a:pt x="151" y="344"/>
                </a:cubicBezTo>
                <a:cubicBezTo>
                  <a:pt x="150" y="344"/>
                  <a:pt x="148" y="342"/>
                  <a:pt x="147" y="341"/>
                </a:cubicBezTo>
                <a:cubicBezTo>
                  <a:pt x="125" y="314"/>
                  <a:pt x="104" y="287"/>
                  <a:pt x="95" y="252"/>
                </a:cubicBezTo>
                <a:cubicBezTo>
                  <a:pt x="94" y="248"/>
                  <a:pt x="93" y="244"/>
                  <a:pt x="93" y="240"/>
                </a:cubicBezTo>
                <a:cubicBezTo>
                  <a:pt x="94" y="221"/>
                  <a:pt x="91" y="204"/>
                  <a:pt x="84" y="186"/>
                </a:cubicBezTo>
                <a:cubicBezTo>
                  <a:pt x="74" y="161"/>
                  <a:pt x="66" y="136"/>
                  <a:pt x="57" y="111"/>
                </a:cubicBezTo>
                <a:cubicBezTo>
                  <a:pt x="49" y="88"/>
                  <a:pt x="35" y="70"/>
                  <a:pt x="22" y="50"/>
                </a:cubicBezTo>
                <a:cubicBezTo>
                  <a:pt x="12" y="37"/>
                  <a:pt x="8" y="19"/>
                  <a:pt x="1" y="4"/>
                </a:cubicBezTo>
                <a:cubicBezTo>
                  <a:pt x="0" y="3"/>
                  <a:pt x="1" y="1"/>
                  <a:pt x="1" y="0"/>
                </a:cubicBezTo>
                <a:cubicBezTo>
                  <a:pt x="2" y="0"/>
                  <a:pt x="3" y="0"/>
                  <a:pt x="5" y="1"/>
                </a:cubicBezTo>
                <a:cubicBezTo>
                  <a:pt x="14" y="6"/>
                  <a:pt x="24" y="10"/>
                  <a:pt x="25" y="23"/>
                </a:cubicBezTo>
                <a:cubicBezTo>
                  <a:pt x="25" y="27"/>
                  <a:pt x="29" y="31"/>
                  <a:pt x="32" y="34"/>
                </a:cubicBezTo>
                <a:cubicBezTo>
                  <a:pt x="41" y="42"/>
                  <a:pt x="51" y="50"/>
                  <a:pt x="61" y="58"/>
                </a:cubicBezTo>
                <a:cubicBezTo>
                  <a:pt x="64" y="60"/>
                  <a:pt x="69" y="62"/>
                  <a:pt x="72" y="61"/>
                </a:cubicBezTo>
                <a:cubicBezTo>
                  <a:pt x="85" y="59"/>
                  <a:pt x="91" y="68"/>
                  <a:pt x="99" y="75"/>
                </a:cubicBezTo>
                <a:cubicBezTo>
                  <a:pt x="100" y="76"/>
                  <a:pt x="100" y="81"/>
                  <a:pt x="98" y="83"/>
                </a:cubicBezTo>
                <a:cubicBezTo>
                  <a:pt x="89" y="95"/>
                  <a:pt x="89" y="98"/>
                  <a:pt x="104" y="104"/>
                </a:cubicBezTo>
                <a:cubicBezTo>
                  <a:pt x="108" y="105"/>
                  <a:pt x="110" y="106"/>
                  <a:pt x="108" y="111"/>
                </a:cubicBezTo>
                <a:cubicBezTo>
                  <a:pt x="105" y="119"/>
                  <a:pt x="109" y="122"/>
                  <a:pt x="118" y="122"/>
                </a:cubicBezTo>
                <a:cubicBezTo>
                  <a:pt x="124" y="122"/>
                  <a:pt x="125" y="124"/>
                  <a:pt x="125" y="129"/>
                </a:cubicBezTo>
                <a:cubicBezTo>
                  <a:pt x="126" y="135"/>
                  <a:pt x="127" y="141"/>
                  <a:pt x="131" y="144"/>
                </a:cubicBezTo>
                <a:cubicBezTo>
                  <a:pt x="138" y="151"/>
                  <a:pt x="138" y="158"/>
                  <a:pt x="134" y="165"/>
                </a:cubicBezTo>
                <a:cubicBezTo>
                  <a:pt x="130" y="174"/>
                  <a:pt x="130" y="182"/>
                  <a:pt x="135" y="190"/>
                </a:cubicBezTo>
                <a:cubicBezTo>
                  <a:pt x="142" y="200"/>
                  <a:pt x="143" y="202"/>
                  <a:pt x="153" y="194"/>
                </a:cubicBezTo>
                <a:cubicBezTo>
                  <a:pt x="162" y="188"/>
                  <a:pt x="163" y="189"/>
                  <a:pt x="165" y="199"/>
                </a:cubicBezTo>
                <a:cubicBezTo>
                  <a:pt x="165" y="201"/>
                  <a:pt x="165" y="203"/>
                  <a:pt x="165" y="207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7453EAEB-F0EA-4A39-B0F9-9D159CCD24D5}"/>
              </a:ext>
            </a:extLst>
          </p:cNvPr>
          <p:cNvSpPr>
            <a:spLocks/>
          </p:cNvSpPr>
          <p:nvPr userDrawn="1"/>
        </p:nvSpPr>
        <p:spPr bwMode="auto">
          <a:xfrm>
            <a:off x="8464550" y="1031875"/>
            <a:ext cx="344488" cy="434975"/>
          </a:xfrm>
          <a:custGeom>
            <a:avLst/>
            <a:gdLst>
              <a:gd name="T0" fmla="*/ 50 w 145"/>
              <a:gd name="T1" fmla="*/ 184 h 184"/>
              <a:gd name="T2" fmla="*/ 47 w 145"/>
              <a:gd name="T3" fmla="*/ 156 h 184"/>
              <a:gd name="T4" fmla="*/ 50 w 145"/>
              <a:gd name="T5" fmla="*/ 148 h 184"/>
              <a:gd name="T6" fmla="*/ 38 w 145"/>
              <a:gd name="T7" fmla="*/ 123 h 184"/>
              <a:gd name="T8" fmla="*/ 14 w 145"/>
              <a:gd name="T9" fmla="*/ 95 h 184"/>
              <a:gd name="T10" fmla="*/ 4 w 145"/>
              <a:gd name="T11" fmla="*/ 54 h 184"/>
              <a:gd name="T12" fmla="*/ 7 w 145"/>
              <a:gd name="T13" fmla="*/ 48 h 184"/>
              <a:gd name="T14" fmla="*/ 11 w 145"/>
              <a:gd name="T15" fmla="*/ 43 h 184"/>
              <a:gd name="T16" fmla="*/ 40 w 145"/>
              <a:gd name="T17" fmla="*/ 25 h 184"/>
              <a:gd name="T18" fmla="*/ 58 w 145"/>
              <a:gd name="T19" fmla="*/ 13 h 184"/>
              <a:gd name="T20" fmla="*/ 87 w 145"/>
              <a:gd name="T21" fmla="*/ 14 h 184"/>
              <a:gd name="T22" fmla="*/ 122 w 145"/>
              <a:gd name="T23" fmla="*/ 31 h 184"/>
              <a:gd name="T24" fmla="*/ 126 w 145"/>
              <a:gd name="T25" fmla="*/ 31 h 184"/>
              <a:gd name="T26" fmla="*/ 143 w 145"/>
              <a:gd name="T27" fmla="*/ 50 h 184"/>
              <a:gd name="T28" fmla="*/ 144 w 145"/>
              <a:gd name="T29" fmla="*/ 60 h 184"/>
              <a:gd name="T30" fmla="*/ 129 w 145"/>
              <a:gd name="T31" fmla="*/ 104 h 184"/>
              <a:gd name="T32" fmla="*/ 117 w 145"/>
              <a:gd name="T33" fmla="*/ 116 h 184"/>
              <a:gd name="T34" fmla="*/ 110 w 145"/>
              <a:gd name="T35" fmla="*/ 122 h 184"/>
              <a:gd name="T36" fmla="*/ 96 w 145"/>
              <a:gd name="T37" fmla="*/ 131 h 184"/>
              <a:gd name="T38" fmla="*/ 92 w 145"/>
              <a:gd name="T39" fmla="*/ 141 h 184"/>
              <a:gd name="T40" fmla="*/ 81 w 145"/>
              <a:gd name="T41" fmla="*/ 165 h 184"/>
              <a:gd name="T42" fmla="*/ 78 w 145"/>
              <a:gd name="T43" fmla="*/ 165 h 184"/>
              <a:gd name="T44" fmla="*/ 75 w 145"/>
              <a:gd name="T45" fmla="*/ 164 h 184"/>
              <a:gd name="T46" fmla="*/ 50 w 145"/>
              <a:gd name="T47" fmla="*/ 184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5" h="184">
                <a:moveTo>
                  <a:pt x="50" y="184"/>
                </a:moveTo>
                <a:cubicBezTo>
                  <a:pt x="42" y="176"/>
                  <a:pt x="45" y="166"/>
                  <a:pt x="47" y="156"/>
                </a:cubicBezTo>
                <a:cubicBezTo>
                  <a:pt x="47" y="153"/>
                  <a:pt x="49" y="151"/>
                  <a:pt x="50" y="148"/>
                </a:cubicBezTo>
                <a:cubicBezTo>
                  <a:pt x="57" y="135"/>
                  <a:pt x="52" y="126"/>
                  <a:pt x="38" y="123"/>
                </a:cubicBezTo>
                <a:cubicBezTo>
                  <a:pt x="19" y="118"/>
                  <a:pt x="17" y="113"/>
                  <a:pt x="14" y="95"/>
                </a:cubicBezTo>
                <a:cubicBezTo>
                  <a:pt x="13" y="81"/>
                  <a:pt x="8" y="67"/>
                  <a:pt x="4" y="54"/>
                </a:cubicBezTo>
                <a:cubicBezTo>
                  <a:pt x="2" y="50"/>
                  <a:pt x="0" y="47"/>
                  <a:pt x="7" y="48"/>
                </a:cubicBezTo>
                <a:cubicBezTo>
                  <a:pt x="8" y="48"/>
                  <a:pt x="10" y="45"/>
                  <a:pt x="11" y="43"/>
                </a:cubicBezTo>
                <a:cubicBezTo>
                  <a:pt x="20" y="35"/>
                  <a:pt x="28" y="27"/>
                  <a:pt x="40" y="25"/>
                </a:cubicBezTo>
                <a:cubicBezTo>
                  <a:pt x="48" y="24"/>
                  <a:pt x="53" y="19"/>
                  <a:pt x="58" y="13"/>
                </a:cubicBezTo>
                <a:cubicBezTo>
                  <a:pt x="69" y="0"/>
                  <a:pt x="76" y="0"/>
                  <a:pt x="87" y="14"/>
                </a:cubicBezTo>
                <a:cubicBezTo>
                  <a:pt x="96" y="25"/>
                  <a:pt x="106" y="35"/>
                  <a:pt x="122" y="31"/>
                </a:cubicBezTo>
                <a:cubicBezTo>
                  <a:pt x="123" y="30"/>
                  <a:pt x="126" y="31"/>
                  <a:pt x="126" y="31"/>
                </a:cubicBezTo>
                <a:cubicBezTo>
                  <a:pt x="128" y="41"/>
                  <a:pt x="138" y="43"/>
                  <a:pt x="143" y="50"/>
                </a:cubicBezTo>
                <a:cubicBezTo>
                  <a:pt x="145" y="52"/>
                  <a:pt x="145" y="57"/>
                  <a:pt x="144" y="60"/>
                </a:cubicBezTo>
                <a:cubicBezTo>
                  <a:pt x="139" y="75"/>
                  <a:pt x="134" y="89"/>
                  <a:pt x="129" y="104"/>
                </a:cubicBezTo>
                <a:cubicBezTo>
                  <a:pt x="127" y="110"/>
                  <a:pt x="124" y="115"/>
                  <a:pt x="117" y="116"/>
                </a:cubicBezTo>
                <a:cubicBezTo>
                  <a:pt x="114" y="117"/>
                  <a:pt x="111" y="120"/>
                  <a:pt x="110" y="122"/>
                </a:cubicBezTo>
                <a:cubicBezTo>
                  <a:pt x="107" y="128"/>
                  <a:pt x="106" y="136"/>
                  <a:pt x="96" y="131"/>
                </a:cubicBezTo>
                <a:cubicBezTo>
                  <a:pt x="95" y="135"/>
                  <a:pt x="91" y="139"/>
                  <a:pt x="92" y="141"/>
                </a:cubicBezTo>
                <a:cubicBezTo>
                  <a:pt x="97" y="154"/>
                  <a:pt x="83" y="156"/>
                  <a:pt x="81" y="165"/>
                </a:cubicBezTo>
                <a:cubicBezTo>
                  <a:pt x="81" y="166"/>
                  <a:pt x="79" y="166"/>
                  <a:pt x="78" y="165"/>
                </a:cubicBezTo>
                <a:cubicBezTo>
                  <a:pt x="77" y="165"/>
                  <a:pt x="76" y="165"/>
                  <a:pt x="75" y="164"/>
                </a:cubicBezTo>
                <a:cubicBezTo>
                  <a:pt x="56" y="160"/>
                  <a:pt x="50" y="165"/>
                  <a:pt x="50" y="184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AE9A28F3-86C2-44F7-8096-6F64570A7287}"/>
              </a:ext>
            </a:extLst>
          </p:cNvPr>
          <p:cNvSpPr>
            <a:spLocks/>
          </p:cNvSpPr>
          <p:nvPr userDrawn="1"/>
        </p:nvSpPr>
        <p:spPr bwMode="auto">
          <a:xfrm>
            <a:off x="10910888" y="2909888"/>
            <a:ext cx="263525" cy="301625"/>
          </a:xfrm>
          <a:custGeom>
            <a:avLst/>
            <a:gdLst>
              <a:gd name="T0" fmla="*/ 0 w 111"/>
              <a:gd name="T1" fmla="*/ 109 h 127"/>
              <a:gd name="T2" fmla="*/ 1 w 111"/>
              <a:gd name="T3" fmla="*/ 97 h 127"/>
              <a:gd name="T4" fmla="*/ 15 w 111"/>
              <a:gd name="T5" fmla="*/ 49 h 127"/>
              <a:gd name="T6" fmla="*/ 33 w 111"/>
              <a:gd name="T7" fmla="*/ 31 h 127"/>
              <a:gd name="T8" fmla="*/ 45 w 111"/>
              <a:gd name="T9" fmla="*/ 21 h 127"/>
              <a:gd name="T10" fmla="*/ 75 w 111"/>
              <a:gd name="T11" fmla="*/ 9 h 127"/>
              <a:gd name="T12" fmla="*/ 91 w 111"/>
              <a:gd name="T13" fmla="*/ 3 h 127"/>
              <a:gd name="T14" fmla="*/ 97 w 111"/>
              <a:gd name="T15" fmla="*/ 4 h 127"/>
              <a:gd name="T16" fmla="*/ 101 w 111"/>
              <a:gd name="T17" fmla="*/ 18 h 127"/>
              <a:gd name="T18" fmla="*/ 105 w 111"/>
              <a:gd name="T19" fmla="*/ 38 h 127"/>
              <a:gd name="T20" fmla="*/ 105 w 111"/>
              <a:gd name="T21" fmla="*/ 60 h 127"/>
              <a:gd name="T22" fmla="*/ 85 w 111"/>
              <a:gd name="T23" fmla="*/ 108 h 127"/>
              <a:gd name="T24" fmla="*/ 61 w 111"/>
              <a:gd name="T25" fmla="*/ 124 h 127"/>
              <a:gd name="T26" fmla="*/ 37 w 111"/>
              <a:gd name="T27" fmla="*/ 125 h 127"/>
              <a:gd name="T28" fmla="*/ 4 w 111"/>
              <a:gd name="T29" fmla="*/ 120 h 127"/>
              <a:gd name="T30" fmla="*/ 0 w 111"/>
              <a:gd name="T31" fmla="*/ 109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1" h="127">
                <a:moveTo>
                  <a:pt x="0" y="109"/>
                </a:moveTo>
                <a:cubicBezTo>
                  <a:pt x="0" y="103"/>
                  <a:pt x="0" y="100"/>
                  <a:pt x="1" y="97"/>
                </a:cubicBezTo>
                <a:cubicBezTo>
                  <a:pt x="5" y="81"/>
                  <a:pt x="9" y="64"/>
                  <a:pt x="15" y="49"/>
                </a:cubicBezTo>
                <a:cubicBezTo>
                  <a:pt x="18" y="41"/>
                  <a:pt x="21" y="31"/>
                  <a:pt x="33" y="31"/>
                </a:cubicBezTo>
                <a:cubicBezTo>
                  <a:pt x="37" y="31"/>
                  <a:pt x="42" y="25"/>
                  <a:pt x="45" y="21"/>
                </a:cubicBezTo>
                <a:cubicBezTo>
                  <a:pt x="56" y="6"/>
                  <a:pt x="59" y="4"/>
                  <a:pt x="75" y="9"/>
                </a:cubicBezTo>
                <a:cubicBezTo>
                  <a:pt x="82" y="10"/>
                  <a:pt x="87" y="9"/>
                  <a:pt x="91" y="3"/>
                </a:cubicBezTo>
                <a:cubicBezTo>
                  <a:pt x="94" y="0"/>
                  <a:pt x="96" y="0"/>
                  <a:pt x="97" y="4"/>
                </a:cubicBezTo>
                <a:cubicBezTo>
                  <a:pt x="98" y="8"/>
                  <a:pt x="102" y="14"/>
                  <a:pt x="101" y="18"/>
                </a:cubicBezTo>
                <a:cubicBezTo>
                  <a:pt x="98" y="26"/>
                  <a:pt x="102" y="32"/>
                  <a:pt x="105" y="38"/>
                </a:cubicBezTo>
                <a:cubicBezTo>
                  <a:pt x="109" y="46"/>
                  <a:pt x="111" y="53"/>
                  <a:pt x="105" y="60"/>
                </a:cubicBezTo>
                <a:cubicBezTo>
                  <a:pt x="92" y="74"/>
                  <a:pt x="90" y="91"/>
                  <a:pt x="85" y="108"/>
                </a:cubicBezTo>
                <a:cubicBezTo>
                  <a:pt x="80" y="126"/>
                  <a:pt x="80" y="127"/>
                  <a:pt x="61" y="124"/>
                </a:cubicBezTo>
                <a:cubicBezTo>
                  <a:pt x="53" y="123"/>
                  <a:pt x="45" y="125"/>
                  <a:pt x="37" y="125"/>
                </a:cubicBezTo>
                <a:cubicBezTo>
                  <a:pt x="26" y="125"/>
                  <a:pt x="15" y="123"/>
                  <a:pt x="4" y="120"/>
                </a:cubicBezTo>
                <a:cubicBezTo>
                  <a:pt x="1" y="119"/>
                  <a:pt x="1" y="112"/>
                  <a:pt x="0" y="109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20A72008-4FA0-4322-9F23-DB9EB678721B}"/>
              </a:ext>
            </a:extLst>
          </p:cNvPr>
          <p:cNvSpPr>
            <a:spLocks/>
          </p:cNvSpPr>
          <p:nvPr userDrawn="1"/>
        </p:nvSpPr>
        <p:spPr bwMode="auto">
          <a:xfrm>
            <a:off x="10371138" y="2857500"/>
            <a:ext cx="481013" cy="171450"/>
          </a:xfrm>
          <a:custGeom>
            <a:avLst/>
            <a:gdLst>
              <a:gd name="T0" fmla="*/ 36 w 203"/>
              <a:gd name="T1" fmla="*/ 15 h 72"/>
              <a:gd name="T2" fmla="*/ 70 w 203"/>
              <a:gd name="T3" fmla="*/ 15 h 72"/>
              <a:gd name="T4" fmla="*/ 79 w 203"/>
              <a:gd name="T5" fmla="*/ 18 h 72"/>
              <a:gd name="T6" fmla="*/ 114 w 203"/>
              <a:gd name="T7" fmla="*/ 15 h 72"/>
              <a:gd name="T8" fmla="*/ 148 w 203"/>
              <a:gd name="T9" fmla="*/ 1 h 72"/>
              <a:gd name="T10" fmla="*/ 157 w 203"/>
              <a:gd name="T11" fmla="*/ 12 h 72"/>
              <a:gd name="T12" fmla="*/ 167 w 203"/>
              <a:gd name="T13" fmla="*/ 25 h 72"/>
              <a:gd name="T14" fmla="*/ 191 w 203"/>
              <a:gd name="T15" fmla="*/ 37 h 72"/>
              <a:gd name="T16" fmla="*/ 195 w 203"/>
              <a:gd name="T17" fmla="*/ 44 h 72"/>
              <a:gd name="T18" fmla="*/ 193 w 203"/>
              <a:gd name="T19" fmla="*/ 60 h 72"/>
              <a:gd name="T20" fmla="*/ 162 w 203"/>
              <a:gd name="T21" fmla="*/ 63 h 72"/>
              <a:gd name="T22" fmla="*/ 147 w 203"/>
              <a:gd name="T23" fmla="*/ 63 h 72"/>
              <a:gd name="T24" fmla="*/ 101 w 203"/>
              <a:gd name="T25" fmla="*/ 64 h 72"/>
              <a:gd name="T26" fmla="*/ 86 w 203"/>
              <a:gd name="T27" fmla="*/ 66 h 72"/>
              <a:gd name="T28" fmla="*/ 65 w 203"/>
              <a:gd name="T29" fmla="*/ 69 h 72"/>
              <a:gd name="T30" fmla="*/ 41 w 203"/>
              <a:gd name="T31" fmla="*/ 71 h 72"/>
              <a:gd name="T32" fmla="*/ 34 w 203"/>
              <a:gd name="T33" fmla="*/ 70 h 72"/>
              <a:gd name="T34" fmla="*/ 10 w 203"/>
              <a:gd name="T35" fmla="*/ 63 h 72"/>
              <a:gd name="T36" fmla="*/ 4 w 203"/>
              <a:gd name="T37" fmla="*/ 51 h 72"/>
              <a:gd name="T38" fmla="*/ 9 w 203"/>
              <a:gd name="T39" fmla="*/ 32 h 72"/>
              <a:gd name="T40" fmla="*/ 18 w 203"/>
              <a:gd name="T41" fmla="*/ 18 h 72"/>
              <a:gd name="T42" fmla="*/ 36 w 203"/>
              <a:gd name="T43" fmla="*/ 12 h 72"/>
              <a:gd name="T44" fmla="*/ 36 w 203"/>
              <a:gd name="T45" fmla="*/ 15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03" h="72">
                <a:moveTo>
                  <a:pt x="36" y="15"/>
                </a:moveTo>
                <a:cubicBezTo>
                  <a:pt x="48" y="15"/>
                  <a:pt x="59" y="15"/>
                  <a:pt x="70" y="15"/>
                </a:cubicBezTo>
                <a:cubicBezTo>
                  <a:pt x="73" y="15"/>
                  <a:pt x="77" y="16"/>
                  <a:pt x="79" y="18"/>
                </a:cubicBezTo>
                <a:cubicBezTo>
                  <a:pt x="92" y="30"/>
                  <a:pt x="103" y="22"/>
                  <a:pt x="114" y="15"/>
                </a:cubicBezTo>
                <a:cubicBezTo>
                  <a:pt x="125" y="8"/>
                  <a:pt x="134" y="0"/>
                  <a:pt x="148" y="1"/>
                </a:cubicBezTo>
                <a:cubicBezTo>
                  <a:pt x="160" y="2"/>
                  <a:pt x="160" y="2"/>
                  <a:pt x="157" y="12"/>
                </a:cubicBezTo>
                <a:cubicBezTo>
                  <a:pt x="154" y="23"/>
                  <a:pt x="158" y="28"/>
                  <a:pt x="167" y="25"/>
                </a:cubicBezTo>
                <a:cubicBezTo>
                  <a:pt x="180" y="21"/>
                  <a:pt x="184" y="31"/>
                  <a:pt x="191" y="37"/>
                </a:cubicBezTo>
                <a:cubicBezTo>
                  <a:pt x="193" y="39"/>
                  <a:pt x="193" y="42"/>
                  <a:pt x="195" y="44"/>
                </a:cubicBezTo>
                <a:cubicBezTo>
                  <a:pt x="203" y="53"/>
                  <a:pt x="203" y="53"/>
                  <a:pt x="193" y="60"/>
                </a:cubicBezTo>
                <a:cubicBezTo>
                  <a:pt x="183" y="68"/>
                  <a:pt x="173" y="71"/>
                  <a:pt x="162" y="63"/>
                </a:cubicBezTo>
                <a:cubicBezTo>
                  <a:pt x="158" y="61"/>
                  <a:pt x="152" y="62"/>
                  <a:pt x="147" y="63"/>
                </a:cubicBezTo>
                <a:cubicBezTo>
                  <a:pt x="132" y="65"/>
                  <a:pt x="117" y="69"/>
                  <a:pt x="101" y="64"/>
                </a:cubicBezTo>
                <a:cubicBezTo>
                  <a:pt x="97" y="63"/>
                  <a:pt x="91" y="65"/>
                  <a:pt x="86" y="66"/>
                </a:cubicBezTo>
                <a:cubicBezTo>
                  <a:pt x="79" y="67"/>
                  <a:pt x="72" y="68"/>
                  <a:pt x="65" y="69"/>
                </a:cubicBezTo>
                <a:cubicBezTo>
                  <a:pt x="57" y="69"/>
                  <a:pt x="48" y="65"/>
                  <a:pt x="41" y="71"/>
                </a:cubicBezTo>
                <a:cubicBezTo>
                  <a:pt x="39" y="72"/>
                  <a:pt x="36" y="71"/>
                  <a:pt x="34" y="70"/>
                </a:cubicBezTo>
                <a:cubicBezTo>
                  <a:pt x="26" y="68"/>
                  <a:pt x="18" y="65"/>
                  <a:pt x="10" y="63"/>
                </a:cubicBezTo>
                <a:cubicBezTo>
                  <a:pt x="2" y="61"/>
                  <a:pt x="0" y="58"/>
                  <a:pt x="4" y="51"/>
                </a:cubicBezTo>
                <a:cubicBezTo>
                  <a:pt x="8" y="45"/>
                  <a:pt x="9" y="39"/>
                  <a:pt x="9" y="32"/>
                </a:cubicBezTo>
                <a:cubicBezTo>
                  <a:pt x="9" y="27"/>
                  <a:pt x="13" y="21"/>
                  <a:pt x="18" y="18"/>
                </a:cubicBezTo>
                <a:cubicBezTo>
                  <a:pt x="23" y="15"/>
                  <a:pt x="30" y="14"/>
                  <a:pt x="36" y="12"/>
                </a:cubicBezTo>
                <a:cubicBezTo>
                  <a:pt x="36" y="13"/>
                  <a:pt x="36" y="14"/>
                  <a:pt x="36" y="15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24" name="Freeform 31">
            <a:extLst>
              <a:ext uri="{FF2B5EF4-FFF2-40B4-BE49-F238E27FC236}">
                <a16:creationId xmlns:a16="http://schemas.microsoft.com/office/drawing/2014/main" id="{107992B4-0DA3-4BAB-80D3-88A71D15A632}"/>
              </a:ext>
            </a:extLst>
          </p:cNvPr>
          <p:cNvSpPr>
            <a:spLocks/>
          </p:cNvSpPr>
          <p:nvPr userDrawn="1"/>
        </p:nvSpPr>
        <p:spPr bwMode="auto">
          <a:xfrm>
            <a:off x="10790238" y="3149600"/>
            <a:ext cx="195263" cy="414338"/>
          </a:xfrm>
          <a:custGeom>
            <a:avLst/>
            <a:gdLst>
              <a:gd name="T0" fmla="*/ 81 w 82"/>
              <a:gd name="T1" fmla="*/ 70 h 175"/>
              <a:gd name="T2" fmla="*/ 80 w 82"/>
              <a:gd name="T3" fmla="*/ 88 h 175"/>
              <a:gd name="T4" fmla="*/ 70 w 82"/>
              <a:gd name="T5" fmla="*/ 98 h 175"/>
              <a:gd name="T6" fmla="*/ 62 w 82"/>
              <a:gd name="T7" fmla="*/ 107 h 175"/>
              <a:gd name="T8" fmla="*/ 67 w 82"/>
              <a:gd name="T9" fmla="*/ 146 h 175"/>
              <a:gd name="T10" fmla="*/ 63 w 82"/>
              <a:gd name="T11" fmla="*/ 165 h 175"/>
              <a:gd name="T12" fmla="*/ 58 w 82"/>
              <a:gd name="T13" fmla="*/ 171 h 175"/>
              <a:gd name="T14" fmla="*/ 56 w 82"/>
              <a:gd name="T15" fmla="*/ 174 h 175"/>
              <a:gd name="T16" fmla="*/ 51 w 82"/>
              <a:gd name="T17" fmla="*/ 174 h 175"/>
              <a:gd name="T18" fmla="*/ 32 w 82"/>
              <a:gd name="T19" fmla="*/ 162 h 175"/>
              <a:gd name="T20" fmla="*/ 26 w 82"/>
              <a:gd name="T21" fmla="*/ 134 h 175"/>
              <a:gd name="T22" fmla="*/ 21 w 82"/>
              <a:gd name="T23" fmla="*/ 120 h 175"/>
              <a:gd name="T24" fmla="*/ 12 w 82"/>
              <a:gd name="T25" fmla="*/ 89 h 175"/>
              <a:gd name="T26" fmla="*/ 7 w 82"/>
              <a:gd name="T27" fmla="*/ 67 h 175"/>
              <a:gd name="T28" fmla="*/ 4 w 82"/>
              <a:gd name="T29" fmla="*/ 38 h 175"/>
              <a:gd name="T30" fmla="*/ 7 w 82"/>
              <a:gd name="T31" fmla="*/ 29 h 175"/>
              <a:gd name="T32" fmla="*/ 14 w 82"/>
              <a:gd name="T33" fmla="*/ 21 h 175"/>
              <a:gd name="T34" fmla="*/ 20 w 82"/>
              <a:gd name="T35" fmla="*/ 14 h 175"/>
              <a:gd name="T36" fmla="*/ 27 w 82"/>
              <a:gd name="T37" fmla="*/ 6 h 175"/>
              <a:gd name="T38" fmla="*/ 44 w 82"/>
              <a:gd name="T39" fmla="*/ 0 h 175"/>
              <a:gd name="T40" fmla="*/ 46 w 82"/>
              <a:gd name="T41" fmla="*/ 12 h 175"/>
              <a:gd name="T42" fmla="*/ 59 w 82"/>
              <a:gd name="T43" fmla="*/ 25 h 175"/>
              <a:gd name="T44" fmla="*/ 76 w 82"/>
              <a:gd name="T45" fmla="*/ 39 h 175"/>
              <a:gd name="T46" fmla="*/ 82 w 82"/>
              <a:gd name="T47" fmla="*/ 70 h 175"/>
              <a:gd name="T48" fmla="*/ 81 w 82"/>
              <a:gd name="T49" fmla="*/ 70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2" h="175">
                <a:moveTo>
                  <a:pt x="81" y="70"/>
                </a:moveTo>
                <a:cubicBezTo>
                  <a:pt x="81" y="76"/>
                  <a:pt x="81" y="82"/>
                  <a:pt x="80" y="88"/>
                </a:cubicBezTo>
                <a:cubicBezTo>
                  <a:pt x="79" y="93"/>
                  <a:pt x="79" y="99"/>
                  <a:pt x="70" y="98"/>
                </a:cubicBezTo>
                <a:cubicBezTo>
                  <a:pt x="67" y="98"/>
                  <a:pt x="62" y="104"/>
                  <a:pt x="62" y="107"/>
                </a:cubicBezTo>
                <a:cubicBezTo>
                  <a:pt x="62" y="120"/>
                  <a:pt x="59" y="134"/>
                  <a:pt x="67" y="146"/>
                </a:cubicBezTo>
                <a:cubicBezTo>
                  <a:pt x="71" y="153"/>
                  <a:pt x="72" y="160"/>
                  <a:pt x="63" y="165"/>
                </a:cubicBezTo>
                <a:cubicBezTo>
                  <a:pt x="61" y="166"/>
                  <a:pt x="60" y="169"/>
                  <a:pt x="58" y="171"/>
                </a:cubicBezTo>
                <a:cubicBezTo>
                  <a:pt x="57" y="172"/>
                  <a:pt x="57" y="174"/>
                  <a:pt x="56" y="174"/>
                </a:cubicBezTo>
                <a:cubicBezTo>
                  <a:pt x="54" y="175"/>
                  <a:pt x="51" y="174"/>
                  <a:pt x="51" y="174"/>
                </a:cubicBezTo>
                <a:cubicBezTo>
                  <a:pt x="47" y="165"/>
                  <a:pt x="34" y="173"/>
                  <a:pt x="32" y="162"/>
                </a:cubicBezTo>
                <a:cubicBezTo>
                  <a:pt x="30" y="153"/>
                  <a:pt x="29" y="143"/>
                  <a:pt x="26" y="134"/>
                </a:cubicBezTo>
                <a:cubicBezTo>
                  <a:pt x="25" y="129"/>
                  <a:pt x="24" y="124"/>
                  <a:pt x="21" y="120"/>
                </a:cubicBezTo>
                <a:cubicBezTo>
                  <a:pt x="13" y="111"/>
                  <a:pt x="11" y="101"/>
                  <a:pt x="12" y="89"/>
                </a:cubicBezTo>
                <a:cubicBezTo>
                  <a:pt x="13" y="81"/>
                  <a:pt x="11" y="74"/>
                  <a:pt x="7" y="67"/>
                </a:cubicBezTo>
                <a:cubicBezTo>
                  <a:pt x="1" y="58"/>
                  <a:pt x="0" y="48"/>
                  <a:pt x="4" y="38"/>
                </a:cubicBezTo>
                <a:cubicBezTo>
                  <a:pt x="6" y="35"/>
                  <a:pt x="7" y="32"/>
                  <a:pt x="7" y="29"/>
                </a:cubicBezTo>
                <a:cubicBezTo>
                  <a:pt x="7" y="23"/>
                  <a:pt x="7" y="20"/>
                  <a:pt x="14" y="21"/>
                </a:cubicBezTo>
                <a:cubicBezTo>
                  <a:pt x="16" y="21"/>
                  <a:pt x="18" y="17"/>
                  <a:pt x="20" y="14"/>
                </a:cubicBezTo>
                <a:cubicBezTo>
                  <a:pt x="23" y="12"/>
                  <a:pt x="24" y="7"/>
                  <a:pt x="27" y="6"/>
                </a:cubicBezTo>
                <a:cubicBezTo>
                  <a:pt x="32" y="3"/>
                  <a:pt x="38" y="2"/>
                  <a:pt x="44" y="0"/>
                </a:cubicBezTo>
                <a:cubicBezTo>
                  <a:pt x="44" y="4"/>
                  <a:pt x="46" y="8"/>
                  <a:pt x="46" y="12"/>
                </a:cubicBezTo>
                <a:cubicBezTo>
                  <a:pt x="47" y="23"/>
                  <a:pt x="47" y="24"/>
                  <a:pt x="59" y="25"/>
                </a:cubicBezTo>
                <a:cubicBezTo>
                  <a:pt x="73" y="26"/>
                  <a:pt x="73" y="25"/>
                  <a:pt x="76" y="39"/>
                </a:cubicBezTo>
                <a:cubicBezTo>
                  <a:pt x="79" y="49"/>
                  <a:pt x="80" y="59"/>
                  <a:pt x="82" y="70"/>
                </a:cubicBezTo>
                <a:cubicBezTo>
                  <a:pt x="82" y="70"/>
                  <a:pt x="82" y="70"/>
                  <a:pt x="81" y="7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25" name="Freeform 32">
            <a:extLst>
              <a:ext uri="{FF2B5EF4-FFF2-40B4-BE49-F238E27FC236}">
                <a16:creationId xmlns:a16="http://schemas.microsoft.com/office/drawing/2014/main" id="{6D08C61C-1423-4C91-AE9F-DEB680D1CF62}"/>
              </a:ext>
            </a:extLst>
          </p:cNvPr>
          <p:cNvSpPr>
            <a:spLocks/>
          </p:cNvSpPr>
          <p:nvPr userDrawn="1"/>
        </p:nvSpPr>
        <p:spPr bwMode="auto">
          <a:xfrm>
            <a:off x="10956925" y="2651125"/>
            <a:ext cx="282575" cy="325438"/>
          </a:xfrm>
          <a:custGeom>
            <a:avLst/>
            <a:gdLst>
              <a:gd name="T0" fmla="*/ 117 w 119"/>
              <a:gd name="T1" fmla="*/ 15 h 137"/>
              <a:gd name="T2" fmla="*/ 112 w 119"/>
              <a:gd name="T3" fmla="*/ 29 h 137"/>
              <a:gd name="T4" fmla="*/ 112 w 119"/>
              <a:gd name="T5" fmla="*/ 46 h 137"/>
              <a:gd name="T6" fmla="*/ 118 w 119"/>
              <a:gd name="T7" fmla="*/ 70 h 137"/>
              <a:gd name="T8" fmla="*/ 115 w 119"/>
              <a:gd name="T9" fmla="*/ 79 h 137"/>
              <a:gd name="T10" fmla="*/ 107 w 119"/>
              <a:gd name="T11" fmla="*/ 93 h 137"/>
              <a:gd name="T12" fmla="*/ 95 w 119"/>
              <a:gd name="T13" fmla="*/ 108 h 137"/>
              <a:gd name="T14" fmla="*/ 82 w 119"/>
              <a:gd name="T15" fmla="*/ 103 h 137"/>
              <a:gd name="T16" fmla="*/ 76 w 119"/>
              <a:gd name="T17" fmla="*/ 101 h 137"/>
              <a:gd name="T18" fmla="*/ 72 w 119"/>
              <a:gd name="T19" fmla="*/ 105 h 137"/>
              <a:gd name="T20" fmla="*/ 51 w 119"/>
              <a:gd name="T21" fmla="*/ 111 h 137"/>
              <a:gd name="T22" fmla="*/ 23 w 119"/>
              <a:gd name="T23" fmla="*/ 125 h 137"/>
              <a:gd name="T24" fmla="*/ 18 w 119"/>
              <a:gd name="T25" fmla="*/ 131 h 137"/>
              <a:gd name="T26" fmla="*/ 7 w 119"/>
              <a:gd name="T27" fmla="*/ 131 h 137"/>
              <a:gd name="T28" fmla="*/ 8 w 119"/>
              <a:gd name="T29" fmla="*/ 106 h 137"/>
              <a:gd name="T30" fmla="*/ 18 w 119"/>
              <a:gd name="T31" fmla="*/ 92 h 137"/>
              <a:gd name="T32" fmla="*/ 26 w 119"/>
              <a:gd name="T33" fmla="*/ 91 h 137"/>
              <a:gd name="T34" fmla="*/ 40 w 119"/>
              <a:gd name="T35" fmla="*/ 85 h 137"/>
              <a:gd name="T36" fmla="*/ 42 w 119"/>
              <a:gd name="T37" fmla="*/ 76 h 137"/>
              <a:gd name="T38" fmla="*/ 54 w 119"/>
              <a:gd name="T39" fmla="*/ 43 h 137"/>
              <a:gd name="T40" fmla="*/ 55 w 119"/>
              <a:gd name="T41" fmla="*/ 42 h 137"/>
              <a:gd name="T42" fmla="*/ 77 w 119"/>
              <a:gd name="T43" fmla="*/ 25 h 137"/>
              <a:gd name="T44" fmla="*/ 92 w 119"/>
              <a:gd name="T45" fmla="*/ 11 h 137"/>
              <a:gd name="T46" fmla="*/ 97 w 119"/>
              <a:gd name="T47" fmla="*/ 6 h 137"/>
              <a:gd name="T48" fmla="*/ 113 w 119"/>
              <a:gd name="T49" fmla="*/ 0 h 137"/>
              <a:gd name="T50" fmla="*/ 117 w 119"/>
              <a:gd name="T51" fmla="*/ 15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9" h="137">
                <a:moveTo>
                  <a:pt x="117" y="15"/>
                </a:moveTo>
                <a:cubicBezTo>
                  <a:pt x="116" y="20"/>
                  <a:pt x="115" y="25"/>
                  <a:pt x="112" y="29"/>
                </a:cubicBezTo>
                <a:cubicBezTo>
                  <a:pt x="107" y="35"/>
                  <a:pt x="109" y="40"/>
                  <a:pt x="112" y="46"/>
                </a:cubicBezTo>
                <a:cubicBezTo>
                  <a:pt x="115" y="54"/>
                  <a:pt x="117" y="62"/>
                  <a:pt x="118" y="70"/>
                </a:cubicBezTo>
                <a:cubicBezTo>
                  <a:pt x="119" y="73"/>
                  <a:pt x="116" y="76"/>
                  <a:pt x="115" y="79"/>
                </a:cubicBezTo>
                <a:cubicBezTo>
                  <a:pt x="113" y="83"/>
                  <a:pt x="110" y="88"/>
                  <a:pt x="107" y="93"/>
                </a:cubicBezTo>
                <a:cubicBezTo>
                  <a:pt x="104" y="98"/>
                  <a:pt x="100" y="104"/>
                  <a:pt x="95" y="108"/>
                </a:cubicBezTo>
                <a:cubicBezTo>
                  <a:pt x="86" y="115"/>
                  <a:pt x="84" y="114"/>
                  <a:pt x="82" y="103"/>
                </a:cubicBezTo>
                <a:cubicBezTo>
                  <a:pt x="81" y="98"/>
                  <a:pt x="79" y="98"/>
                  <a:pt x="76" y="101"/>
                </a:cubicBezTo>
                <a:cubicBezTo>
                  <a:pt x="74" y="102"/>
                  <a:pt x="73" y="103"/>
                  <a:pt x="72" y="105"/>
                </a:cubicBezTo>
                <a:cubicBezTo>
                  <a:pt x="67" y="113"/>
                  <a:pt x="61" y="115"/>
                  <a:pt x="51" y="111"/>
                </a:cubicBezTo>
                <a:cubicBezTo>
                  <a:pt x="41" y="106"/>
                  <a:pt x="28" y="113"/>
                  <a:pt x="23" y="125"/>
                </a:cubicBezTo>
                <a:cubicBezTo>
                  <a:pt x="22" y="127"/>
                  <a:pt x="20" y="129"/>
                  <a:pt x="18" y="131"/>
                </a:cubicBezTo>
                <a:cubicBezTo>
                  <a:pt x="14" y="137"/>
                  <a:pt x="11" y="137"/>
                  <a:pt x="7" y="131"/>
                </a:cubicBezTo>
                <a:cubicBezTo>
                  <a:pt x="2" y="122"/>
                  <a:pt x="0" y="114"/>
                  <a:pt x="8" y="106"/>
                </a:cubicBezTo>
                <a:cubicBezTo>
                  <a:pt x="12" y="102"/>
                  <a:pt x="14" y="97"/>
                  <a:pt x="18" y="92"/>
                </a:cubicBezTo>
                <a:cubicBezTo>
                  <a:pt x="20" y="89"/>
                  <a:pt x="22" y="87"/>
                  <a:pt x="26" y="91"/>
                </a:cubicBezTo>
                <a:cubicBezTo>
                  <a:pt x="33" y="96"/>
                  <a:pt x="37" y="91"/>
                  <a:pt x="40" y="85"/>
                </a:cubicBezTo>
                <a:cubicBezTo>
                  <a:pt x="42" y="83"/>
                  <a:pt x="42" y="79"/>
                  <a:pt x="42" y="76"/>
                </a:cubicBezTo>
                <a:cubicBezTo>
                  <a:pt x="39" y="62"/>
                  <a:pt x="51" y="55"/>
                  <a:pt x="54" y="43"/>
                </a:cubicBezTo>
                <a:cubicBezTo>
                  <a:pt x="54" y="43"/>
                  <a:pt x="54" y="42"/>
                  <a:pt x="55" y="42"/>
                </a:cubicBezTo>
                <a:cubicBezTo>
                  <a:pt x="67" y="43"/>
                  <a:pt x="69" y="30"/>
                  <a:pt x="77" y="25"/>
                </a:cubicBezTo>
                <a:cubicBezTo>
                  <a:pt x="83" y="22"/>
                  <a:pt x="87" y="16"/>
                  <a:pt x="92" y="11"/>
                </a:cubicBezTo>
                <a:cubicBezTo>
                  <a:pt x="94" y="10"/>
                  <a:pt x="95" y="7"/>
                  <a:pt x="97" y="6"/>
                </a:cubicBezTo>
                <a:cubicBezTo>
                  <a:pt x="102" y="4"/>
                  <a:pt x="108" y="2"/>
                  <a:pt x="113" y="0"/>
                </a:cubicBezTo>
                <a:cubicBezTo>
                  <a:pt x="114" y="5"/>
                  <a:pt x="116" y="10"/>
                  <a:pt x="117" y="15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26" name="Freeform 33">
            <a:extLst>
              <a:ext uri="{FF2B5EF4-FFF2-40B4-BE49-F238E27FC236}">
                <a16:creationId xmlns:a16="http://schemas.microsoft.com/office/drawing/2014/main" id="{7836A3F6-61E9-407E-928C-36542D00E56D}"/>
              </a:ext>
            </a:extLst>
          </p:cNvPr>
          <p:cNvSpPr>
            <a:spLocks/>
          </p:cNvSpPr>
          <p:nvPr userDrawn="1"/>
        </p:nvSpPr>
        <p:spPr bwMode="auto">
          <a:xfrm>
            <a:off x="7747000" y="1192213"/>
            <a:ext cx="280988" cy="422275"/>
          </a:xfrm>
          <a:custGeom>
            <a:avLst/>
            <a:gdLst>
              <a:gd name="T0" fmla="*/ 9 w 119"/>
              <a:gd name="T1" fmla="*/ 133 h 178"/>
              <a:gd name="T2" fmla="*/ 9 w 119"/>
              <a:gd name="T3" fmla="*/ 87 h 178"/>
              <a:gd name="T4" fmla="*/ 4 w 119"/>
              <a:gd name="T5" fmla="*/ 62 h 178"/>
              <a:gd name="T6" fmla="*/ 15 w 119"/>
              <a:gd name="T7" fmla="*/ 42 h 178"/>
              <a:gd name="T8" fmla="*/ 21 w 119"/>
              <a:gd name="T9" fmla="*/ 36 h 178"/>
              <a:gd name="T10" fmla="*/ 32 w 119"/>
              <a:gd name="T11" fmla="*/ 25 h 178"/>
              <a:gd name="T12" fmla="*/ 46 w 119"/>
              <a:gd name="T13" fmla="*/ 10 h 178"/>
              <a:gd name="T14" fmla="*/ 58 w 119"/>
              <a:gd name="T15" fmla="*/ 3 h 178"/>
              <a:gd name="T16" fmla="*/ 114 w 119"/>
              <a:gd name="T17" fmla="*/ 21 h 178"/>
              <a:gd name="T18" fmla="*/ 119 w 119"/>
              <a:gd name="T19" fmla="*/ 24 h 178"/>
              <a:gd name="T20" fmla="*/ 114 w 119"/>
              <a:gd name="T21" fmla="*/ 25 h 178"/>
              <a:gd name="T22" fmla="*/ 84 w 119"/>
              <a:gd name="T23" fmla="*/ 15 h 178"/>
              <a:gd name="T24" fmla="*/ 47 w 119"/>
              <a:gd name="T25" fmla="*/ 24 h 178"/>
              <a:gd name="T26" fmla="*/ 42 w 119"/>
              <a:gd name="T27" fmla="*/ 32 h 178"/>
              <a:gd name="T28" fmla="*/ 33 w 119"/>
              <a:gd name="T29" fmla="*/ 52 h 178"/>
              <a:gd name="T30" fmla="*/ 46 w 119"/>
              <a:gd name="T31" fmla="*/ 77 h 178"/>
              <a:gd name="T32" fmla="*/ 53 w 119"/>
              <a:gd name="T33" fmla="*/ 77 h 178"/>
              <a:gd name="T34" fmla="*/ 57 w 119"/>
              <a:gd name="T35" fmla="*/ 79 h 178"/>
              <a:gd name="T36" fmla="*/ 53 w 119"/>
              <a:gd name="T37" fmla="*/ 83 h 178"/>
              <a:gd name="T38" fmla="*/ 41 w 119"/>
              <a:gd name="T39" fmla="*/ 105 h 178"/>
              <a:gd name="T40" fmla="*/ 43 w 119"/>
              <a:gd name="T41" fmla="*/ 136 h 178"/>
              <a:gd name="T42" fmla="*/ 51 w 119"/>
              <a:gd name="T43" fmla="*/ 174 h 178"/>
              <a:gd name="T44" fmla="*/ 51 w 119"/>
              <a:gd name="T45" fmla="*/ 178 h 178"/>
              <a:gd name="T46" fmla="*/ 49 w 119"/>
              <a:gd name="T47" fmla="*/ 177 h 178"/>
              <a:gd name="T48" fmla="*/ 15 w 119"/>
              <a:gd name="T49" fmla="*/ 155 h 178"/>
              <a:gd name="T50" fmla="*/ 9 w 119"/>
              <a:gd name="T51" fmla="*/ 133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9" h="178">
                <a:moveTo>
                  <a:pt x="9" y="133"/>
                </a:moveTo>
                <a:cubicBezTo>
                  <a:pt x="9" y="118"/>
                  <a:pt x="10" y="103"/>
                  <a:pt x="9" y="87"/>
                </a:cubicBezTo>
                <a:cubicBezTo>
                  <a:pt x="9" y="79"/>
                  <a:pt x="6" y="70"/>
                  <a:pt x="4" y="62"/>
                </a:cubicBezTo>
                <a:cubicBezTo>
                  <a:pt x="0" y="49"/>
                  <a:pt x="2" y="45"/>
                  <a:pt x="15" y="42"/>
                </a:cubicBezTo>
                <a:cubicBezTo>
                  <a:pt x="18" y="41"/>
                  <a:pt x="21" y="38"/>
                  <a:pt x="21" y="36"/>
                </a:cubicBezTo>
                <a:cubicBezTo>
                  <a:pt x="22" y="29"/>
                  <a:pt x="24" y="25"/>
                  <a:pt x="32" y="25"/>
                </a:cubicBezTo>
                <a:cubicBezTo>
                  <a:pt x="40" y="24"/>
                  <a:pt x="45" y="18"/>
                  <a:pt x="46" y="10"/>
                </a:cubicBezTo>
                <a:cubicBezTo>
                  <a:pt x="46" y="1"/>
                  <a:pt x="51" y="0"/>
                  <a:pt x="58" y="3"/>
                </a:cubicBezTo>
                <a:cubicBezTo>
                  <a:pt x="77" y="9"/>
                  <a:pt x="95" y="15"/>
                  <a:pt x="114" y="21"/>
                </a:cubicBezTo>
                <a:cubicBezTo>
                  <a:pt x="116" y="22"/>
                  <a:pt x="117" y="23"/>
                  <a:pt x="119" y="24"/>
                </a:cubicBezTo>
                <a:cubicBezTo>
                  <a:pt x="117" y="24"/>
                  <a:pt x="115" y="25"/>
                  <a:pt x="114" y="25"/>
                </a:cubicBezTo>
                <a:cubicBezTo>
                  <a:pt x="104" y="22"/>
                  <a:pt x="93" y="19"/>
                  <a:pt x="84" y="15"/>
                </a:cubicBezTo>
                <a:cubicBezTo>
                  <a:pt x="69" y="10"/>
                  <a:pt x="57" y="13"/>
                  <a:pt x="47" y="24"/>
                </a:cubicBezTo>
                <a:cubicBezTo>
                  <a:pt x="45" y="27"/>
                  <a:pt x="44" y="29"/>
                  <a:pt x="42" y="32"/>
                </a:cubicBezTo>
                <a:cubicBezTo>
                  <a:pt x="39" y="39"/>
                  <a:pt x="37" y="46"/>
                  <a:pt x="33" y="52"/>
                </a:cubicBezTo>
                <a:cubicBezTo>
                  <a:pt x="27" y="65"/>
                  <a:pt x="32" y="75"/>
                  <a:pt x="46" y="77"/>
                </a:cubicBezTo>
                <a:cubicBezTo>
                  <a:pt x="48" y="78"/>
                  <a:pt x="50" y="77"/>
                  <a:pt x="53" y="77"/>
                </a:cubicBezTo>
                <a:cubicBezTo>
                  <a:pt x="54" y="78"/>
                  <a:pt x="56" y="78"/>
                  <a:pt x="57" y="79"/>
                </a:cubicBezTo>
                <a:cubicBezTo>
                  <a:pt x="56" y="81"/>
                  <a:pt x="55" y="82"/>
                  <a:pt x="53" y="83"/>
                </a:cubicBezTo>
                <a:cubicBezTo>
                  <a:pt x="43" y="88"/>
                  <a:pt x="40" y="93"/>
                  <a:pt x="41" y="105"/>
                </a:cubicBezTo>
                <a:cubicBezTo>
                  <a:pt x="42" y="115"/>
                  <a:pt x="43" y="125"/>
                  <a:pt x="43" y="136"/>
                </a:cubicBezTo>
                <a:cubicBezTo>
                  <a:pt x="42" y="149"/>
                  <a:pt x="44" y="162"/>
                  <a:pt x="51" y="174"/>
                </a:cubicBezTo>
                <a:cubicBezTo>
                  <a:pt x="51" y="175"/>
                  <a:pt x="51" y="177"/>
                  <a:pt x="51" y="178"/>
                </a:cubicBezTo>
                <a:cubicBezTo>
                  <a:pt x="50" y="178"/>
                  <a:pt x="49" y="178"/>
                  <a:pt x="49" y="177"/>
                </a:cubicBezTo>
                <a:cubicBezTo>
                  <a:pt x="37" y="170"/>
                  <a:pt x="26" y="163"/>
                  <a:pt x="15" y="155"/>
                </a:cubicBezTo>
                <a:cubicBezTo>
                  <a:pt x="8" y="150"/>
                  <a:pt x="6" y="142"/>
                  <a:pt x="9" y="133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27" name="Freeform 34">
            <a:extLst>
              <a:ext uri="{FF2B5EF4-FFF2-40B4-BE49-F238E27FC236}">
                <a16:creationId xmlns:a16="http://schemas.microsoft.com/office/drawing/2014/main" id="{8F4941D6-3EC6-4C32-9C27-FB8B491FE721}"/>
              </a:ext>
            </a:extLst>
          </p:cNvPr>
          <p:cNvSpPr>
            <a:spLocks/>
          </p:cNvSpPr>
          <p:nvPr userDrawn="1"/>
        </p:nvSpPr>
        <p:spPr bwMode="auto">
          <a:xfrm>
            <a:off x="10066338" y="2665413"/>
            <a:ext cx="287338" cy="209550"/>
          </a:xfrm>
          <a:custGeom>
            <a:avLst/>
            <a:gdLst>
              <a:gd name="T0" fmla="*/ 4 w 121"/>
              <a:gd name="T1" fmla="*/ 81 h 88"/>
              <a:gd name="T2" fmla="*/ 11 w 121"/>
              <a:gd name="T3" fmla="*/ 73 h 88"/>
              <a:gd name="T4" fmla="*/ 12 w 121"/>
              <a:gd name="T5" fmla="*/ 59 h 88"/>
              <a:gd name="T6" fmla="*/ 8 w 121"/>
              <a:gd name="T7" fmla="*/ 45 h 88"/>
              <a:gd name="T8" fmla="*/ 1 w 121"/>
              <a:gd name="T9" fmla="*/ 15 h 88"/>
              <a:gd name="T10" fmla="*/ 0 w 121"/>
              <a:gd name="T11" fmla="*/ 12 h 88"/>
              <a:gd name="T12" fmla="*/ 5 w 121"/>
              <a:gd name="T13" fmla="*/ 10 h 88"/>
              <a:gd name="T14" fmla="*/ 10 w 121"/>
              <a:gd name="T15" fmla="*/ 12 h 88"/>
              <a:gd name="T16" fmla="*/ 28 w 121"/>
              <a:gd name="T17" fmla="*/ 9 h 88"/>
              <a:gd name="T18" fmla="*/ 32 w 121"/>
              <a:gd name="T19" fmla="*/ 6 h 88"/>
              <a:gd name="T20" fmla="*/ 48 w 121"/>
              <a:gd name="T21" fmla="*/ 8 h 88"/>
              <a:gd name="T22" fmla="*/ 77 w 121"/>
              <a:gd name="T23" fmla="*/ 30 h 88"/>
              <a:gd name="T24" fmla="*/ 92 w 121"/>
              <a:gd name="T25" fmla="*/ 31 h 88"/>
              <a:gd name="T26" fmla="*/ 102 w 121"/>
              <a:gd name="T27" fmla="*/ 33 h 88"/>
              <a:gd name="T28" fmla="*/ 120 w 121"/>
              <a:gd name="T29" fmla="*/ 44 h 88"/>
              <a:gd name="T30" fmla="*/ 110 w 121"/>
              <a:gd name="T31" fmla="*/ 70 h 88"/>
              <a:gd name="T32" fmla="*/ 100 w 121"/>
              <a:gd name="T33" fmla="*/ 83 h 88"/>
              <a:gd name="T34" fmla="*/ 90 w 121"/>
              <a:gd name="T35" fmla="*/ 87 h 88"/>
              <a:gd name="T36" fmla="*/ 77 w 121"/>
              <a:gd name="T37" fmla="*/ 71 h 88"/>
              <a:gd name="T38" fmla="*/ 66 w 121"/>
              <a:gd name="T39" fmla="*/ 57 h 88"/>
              <a:gd name="T40" fmla="*/ 59 w 121"/>
              <a:gd name="T41" fmla="*/ 55 h 88"/>
              <a:gd name="T42" fmla="*/ 51 w 121"/>
              <a:gd name="T43" fmla="*/ 62 h 88"/>
              <a:gd name="T44" fmla="*/ 38 w 121"/>
              <a:gd name="T45" fmla="*/ 54 h 88"/>
              <a:gd name="T46" fmla="*/ 26 w 121"/>
              <a:gd name="T47" fmla="*/ 44 h 88"/>
              <a:gd name="T48" fmla="*/ 24 w 121"/>
              <a:gd name="T49" fmla="*/ 42 h 88"/>
              <a:gd name="T50" fmla="*/ 16 w 121"/>
              <a:gd name="T51" fmla="*/ 42 h 88"/>
              <a:gd name="T52" fmla="*/ 14 w 121"/>
              <a:gd name="T53" fmla="*/ 52 h 88"/>
              <a:gd name="T54" fmla="*/ 21 w 121"/>
              <a:gd name="T55" fmla="*/ 67 h 88"/>
              <a:gd name="T56" fmla="*/ 5 w 121"/>
              <a:gd name="T57" fmla="*/ 81 h 88"/>
              <a:gd name="T58" fmla="*/ 4 w 121"/>
              <a:gd name="T59" fmla="*/ 81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1" h="88">
                <a:moveTo>
                  <a:pt x="4" y="81"/>
                </a:moveTo>
                <a:cubicBezTo>
                  <a:pt x="6" y="79"/>
                  <a:pt x="9" y="75"/>
                  <a:pt x="11" y="73"/>
                </a:cubicBezTo>
                <a:cubicBezTo>
                  <a:pt x="17" y="69"/>
                  <a:pt x="16" y="65"/>
                  <a:pt x="12" y="59"/>
                </a:cubicBezTo>
                <a:cubicBezTo>
                  <a:pt x="9" y="56"/>
                  <a:pt x="8" y="50"/>
                  <a:pt x="8" y="45"/>
                </a:cubicBezTo>
                <a:cubicBezTo>
                  <a:pt x="7" y="35"/>
                  <a:pt x="9" y="24"/>
                  <a:pt x="1" y="15"/>
                </a:cubicBezTo>
                <a:cubicBezTo>
                  <a:pt x="0" y="14"/>
                  <a:pt x="0" y="12"/>
                  <a:pt x="0" y="12"/>
                </a:cubicBezTo>
                <a:cubicBezTo>
                  <a:pt x="2" y="11"/>
                  <a:pt x="3" y="10"/>
                  <a:pt x="5" y="10"/>
                </a:cubicBezTo>
                <a:cubicBezTo>
                  <a:pt x="7" y="11"/>
                  <a:pt x="9" y="11"/>
                  <a:pt x="10" y="12"/>
                </a:cubicBezTo>
                <a:cubicBezTo>
                  <a:pt x="17" y="18"/>
                  <a:pt x="23" y="15"/>
                  <a:pt x="28" y="9"/>
                </a:cubicBezTo>
                <a:cubicBezTo>
                  <a:pt x="29" y="8"/>
                  <a:pt x="31" y="7"/>
                  <a:pt x="32" y="6"/>
                </a:cubicBezTo>
                <a:cubicBezTo>
                  <a:pt x="38" y="0"/>
                  <a:pt x="43" y="1"/>
                  <a:pt x="48" y="8"/>
                </a:cubicBezTo>
                <a:cubicBezTo>
                  <a:pt x="55" y="19"/>
                  <a:pt x="63" y="28"/>
                  <a:pt x="77" y="30"/>
                </a:cubicBezTo>
                <a:cubicBezTo>
                  <a:pt x="82" y="31"/>
                  <a:pt x="87" y="31"/>
                  <a:pt x="92" y="31"/>
                </a:cubicBezTo>
                <a:cubicBezTo>
                  <a:pt x="95" y="31"/>
                  <a:pt x="99" y="31"/>
                  <a:pt x="102" y="33"/>
                </a:cubicBezTo>
                <a:cubicBezTo>
                  <a:pt x="108" y="36"/>
                  <a:pt x="119" y="34"/>
                  <a:pt x="120" y="44"/>
                </a:cubicBezTo>
                <a:cubicBezTo>
                  <a:pt x="121" y="54"/>
                  <a:pt x="118" y="63"/>
                  <a:pt x="110" y="70"/>
                </a:cubicBezTo>
                <a:cubicBezTo>
                  <a:pt x="105" y="74"/>
                  <a:pt x="101" y="76"/>
                  <a:pt x="100" y="83"/>
                </a:cubicBezTo>
                <a:cubicBezTo>
                  <a:pt x="99" y="85"/>
                  <a:pt x="93" y="88"/>
                  <a:pt x="90" y="87"/>
                </a:cubicBezTo>
                <a:cubicBezTo>
                  <a:pt x="83" y="84"/>
                  <a:pt x="80" y="78"/>
                  <a:pt x="77" y="71"/>
                </a:cubicBezTo>
                <a:cubicBezTo>
                  <a:pt x="75" y="66"/>
                  <a:pt x="70" y="61"/>
                  <a:pt x="66" y="57"/>
                </a:cubicBezTo>
                <a:cubicBezTo>
                  <a:pt x="65" y="55"/>
                  <a:pt x="62" y="56"/>
                  <a:pt x="59" y="55"/>
                </a:cubicBezTo>
                <a:cubicBezTo>
                  <a:pt x="54" y="54"/>
                  <a:pt x="54" y="65"/>
                  <a:pt x="51" y="62"/>
                </a:cubicBezTo>
                <a:cubicBezTo>
                  <a:pt x="47" y="56"/>
                  <a:pt x="42" y="56"/>
                  <a:pt x="38" y="54"/>
                </a:cubicBezTo>
                <a:cubicBezTo>
                  <a:pt x="33" y="52"/>
                  <a:pt x="30" y="47"/>
                  <a:pt x="26" y="44"/>
                </a:cubicBezTo>
                <a:cubicBezTo>
                  <a:pt x="25" y="44"/>
                  <a:pt x="25" y="42"/>
                  <a:pt x="24" y="42"/>
                </a:cubicBezTo>
                <a:cubicBezTo>
                  <a:pt x="21" y="42"/>
                  <a:pt x="16" y="41"/>
                  <a:pt x="16" y="42"/>
                </a:cubicBezTo>
                <a:cubicBezTo>
                  <a:pt x="14" y="45"/>
                  <a:pt x="13" y="49"/>
                  <a:pt x="14" y="52"/>
                </a:cubicBezTo>
                <a:cubicBezTo>
                  <a:pt x="16" y="57"/>
                  <a:pt x="23" y="64"/>
                  <a:pt x="21" y="67"/>
                </a:cubicBezTo>
                <a:cubicBezTo>
                  <a:pt x="18" y="73"/>
                  <a:pt x="11" y="76"/>
                  <a:pt x="5" y="81"/>
                </a:cubicBezTo>
                <a:cubicBezTo>
                  <a:pt x="5" y="81"/>
                  <a:pt x="4" y="81"/>
                  <a:pt x="4" y="81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28" name="Freeform 35">
            <a:extLst>
              <a:ext uri="{FF2B5EF4-FFF2-40B4-BE49-F238E27FC236}">
                <a16:creationId xmlns:a16="http://schemas.microsoft.com/office/drawing/2014/main" id="{7836143C-77E7-44DF-80E0-22D84FF9AE9C}"/>
              </a:ext>
            </a:extLst>
          </p:cNvPr>
          <p:cNvSpPr>
            <a:spLocks/>
          </p:cNvSpPr>
          <p:nvPr userDrawn="1"/>
        </p:nvSpPr>
        <p:spPr bwMode="auto">
          <a:xfrm>
            <a:off x="10602913" y="3154363"/>
            <a:ext cx="190500" cy="255588"/>
          </a:xfrm>
          <a:custGeom>
            <a:avLst/>
            <a:gdLst>
              <a:gd name="T0" fmla="*/ 80 w 80"/>
              <a:gd name="T1" fmla="*/ 22 h 108"/>
              <a:gd name="T2" fmla="*/ 66 w 80"/>
              <a:gd name="T3" fmla="*/ 50 h 108"/>
              <a:gd name="T4" fmla="*/ 60 w 80"/>
              <a:gd name="T5" fmla="*/ 51 h 108"/>
              <a:gd name="T6" fmla="*/ 53 w 80"/>
              <a:gd name="T7" fmla="*/ 58 h 108"/>
              <a:gd name="T8" fmla="*/ 47 w 80"/>
              <a:gd name="T9" fmla="*/ 76 h 108"/>
              <a:gd name="T10" fmla="*/ 44 w 80"/>
              <a:gd name="T11" fmla="*/ 95 h 108"/>
              <a:gd name="T12" fmla="*/ 39 w 80"/>
              <a:gd name="T13" fmla="*/ 107 h 108"/>
              <a:gd name="T14" fmla="*/ 35 w 80"/>
              <a:gd name="T15" fmla="*/ 108 h 108"/>
              <a:gd name="T16" fmla="*/ 12 w 80"/>
              <a:gd name="T17" fmla="*/ 87 h 108"/>
              <a:gd name="T18" fmla="*/ 3 w 80"/>
              <a:gd name="T19" fmla="*/ 60 h 108"/>
              <a:gd name="T20" fmla="*/ 24 w 80"/>
              <a:gd name="T21" fmla="*/ 28 h 108"/>
              <a:gd name="T22" fmla="*/ 36 w 80"/>
              <a:gd name="T23" fmla="*/ 21 h 108"/>
              <a:gd name="T24" fmla="*/ 52 w 80"/>
              <a:gd name="T25" fmla="*/ 14 h 108"/>
              <a:gd name="T26" fmla="*/ 66 w 80"/>
              <a:gd name="T27" fmla="*/ 2 h 108"/>
              <a:gd name="T28" fmla="*/ 70 w 80"/>
              <a:gd name="T29" fmla="*/ 1 h 108"/>
              <a:gd name="T30" fmla="*/ 80 w 80"/>
              <a:gd name="T31" fmla="*/ 22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0" h="108">
                <a:moveTo>
                  <a:pt x="80" y="22"/>
                </a:moveTo>
                <a:cubicBezTo>
                  <a:pt x="80" y="36"/>
                  <a:pt x="77" y="45"/>
                  <a:pt x="66" y="50"/>
                </a:cubicBezTo>
                <a:cubicBezTo>
                  <a:pt x="64" y="51"/>
                  <a:pt x="61" y="51"/>
                  <a:pt x="60" y="51"/>
                </a:cubicBezTo>
                <a:cubicBezTo>
                  <a:pt x="52" y="48"/>
                  <a:pt x="51" y="53"/>
                  <a:pt x="53" y="58"/>
                </a:cubicBezTo>
                <a:cubicBezTo>
                  <a:pt x="56" y="66"/>
                  <a:pt x="54" y="71"/>
                  <a:pt x="47" y="76"/>
                </a:cubicBezTo>
                <a:cubicBezTo>
                  <a:pt x="41" y="80"/>
                  <a:pt x="40" y="88"/>
                  <a:pt x="44" y="95"/>
                </a:cubicBezTo>
                <a:cubicBezTo>
                  <a:pt x="47" y="101"/>
                  <a:pt x="44" y="104"/>
                  <a:pt x="39" y="107"/>
                </a:cubicBezTo>
                <a:cubicBezTo>
                  <a:pt x="38" y="107"/>
                  <a:pt x="36" y="107"/>
                  <a:pt x="35" y="108"/>
                </a:cubicBezTo>
                <a:cubicBezTo>
                  <a:pt x="32" y="96"/>
                  <a:pt x="15" y="100"/>
                  <a:pt x="12" y="87"/>
                </a:cubicBezTo>
                <a:cubicBezTo>
                  <a:pt x="10" y="77"/>
                  <a:pt x="6" y="69"/>
                  <a:pt x="3" y="60"/>
                </a:cubicBezTo>
                <a:cubicBezTo>
                  <a:pt x="0" y="46"/>
                  <a:pt x="10" y="32"/>
                  <a:pt x="24" y="28"/>
                </a:cubicBezTo>
                <a:cubicBezTo>
                  <a:pt x="28" y="27"/>
                  <a:pt x="32" y="23"/>
                  <a:pt x="36" y="21"/>
                </a:cubicBezTo>
                <a:cubicBezTo>
                  <a:pt x="41" y="18"/>
                  <a:pt x="49" y="18"/>
                  <a:pt x="52" y="14"/>
                </a:cubicBezTo>
                <a:cubicBezTo>
                  <a:pt x="56" y="8"/>
                  <a:pt x="59" y="3"/>
                  <a:pt x="66" y="2"/>
                </a:cubicBezTo>
                <a:cubicBezTo>
                  <a:pt x="67" y="1"/>
                  <a:pt x="70" y="0"/>
                  <a:pt x="70" y="1"/>
                </a:cubicBezTo>
                <a:cubicBezTo>
                  <a:pt x="74" y="9"/>
                  <a:pt x="78" y="17"/>
                  <a:pt x="80" y="2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0" name="Freeform 36">
            <a:extLst>
              <a:ext uri="{FF2B5EF4-FFF2-40B4-BE49-F238E27FC236}">
                <a16:creationId xmlns:a16="http://schemas.microsoft.com/office/drawing/2014/main" id="{D4222B42-76D2-44F8-9C40-EB7121684382}"/>
              </a:ext>
            </a:extLst>
          </p:cNvPr>
          <p:cNvSpPr>
            <a:spLocks/>
          </p:cNvSpPr>
          <p:nvPr userDrawn="1"/>
        </p:nvSpPr>
        <p:spPr bwMode="auto">
          <a:xfrm>
            <a:off x="10055225" y="2514600"/>
            <a:ext cx="123825" cy="177800"/>
          </a:xfrm>
          <a:custGeom>
            <a:avLst/>
            <a:gdLst>
              <a:gd name="T0" fmla="*/ 52 w 52"/>
              <a:gd name="T1" fmla="*/ 26 h 75"/>
              <a:gd name="T2" fmla="*/ 43 w 52"/>
              <a:gd name="T3" fmla="*/ 58 h 75"/>
              <a:gd name="T4" fmla="*/ 24 w 52"/>
              <a:gd name="T5" fmla="*/ 73 h 75"/>
              <a:gd name="T6" fmla="*/ 3 w 52"/>
              <a:gd name="T7" fmla="*/ 68 h 75"/>
              <a:gd name="T8" fmla="*/ 1 w 52"/>
              <a:gd name="T9" fmla="*/ 64 h 75"/>
              <a:gd name="T10" fmla="*/ 2 w 52"/>
              <a:gd name="T11" fmla="*/ 38 h 75"/>
              <a:gd name="T12" fmla="*/ 10 w 52"/>
              <a:gd name="T13" fmla="*/ 15 h 75"/>
              <a:gd name="T14" fmla="*/ 17 w 52"/>
              <a:gd name="T15" fmla="*/ 11 h 75"/>
              <a:gd name="T16" fmla="*/ 33 w 52"/>
              <a:gd name="T17" fmla="*/ 4 h 75"/>
              <a:gd name="T18" fmla="*/ 49 w 52"/>
              <a:gd name="T19" fmla="*/ 12 h 75"/>
              <a:gd name="T20" fmla="*/ 50 w 52"/>
              <a:gd name="T21" fmla="*/ 26 h 75"/>
              <a:gd name="T22" fmla="*/ 52 w 52"/>
              <a:gd name="T23" fmla="*/ 2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2" h="75">
                <a:moveTo>
                  <a:pt x="52" y="26"/>
                </a:moveTo>
                <a:cubicBezTo>
                  <a:pt x="49" y="37"/>
                  <a:pt x="48" y="48"/>
                  <a:pt x="43" y="58"/>
                </a:cubicBezTo>
                <a:cubicBezTo>
                  <a:pt x="39" y="64"/>
                  <a:pt x="32" y="71"/>
                  <a:pt x="24" y="73"/>
                </a:cubicBezTo>
                <a:cubicBezTo>
                  <a:pt x="18" y="75"/>
                  <a:pt x="10" y="70"/>
                  <a:pt x="3" y="68"/>
                </a:cubicBezTo>
                <a:cubicBezTo>
                  <a:pt x="2" y="68"/>
                  <a:pt x="1" y="65"/>
                  <a:pt x="1" y="64"/>
                </a:cubicBezTo>
                <a:cubicBezTo>
                  <a:pt x="1" y="55"/>
                  <a:pt x="0" y="46"/>
                  <a:pt x="2" y="38"/>
                </a:cubicBezTo>
                <a:cubicBezTo>
                  <a:pt x="4" y="30"/>
                  <a:pt x="11" y="24"/>
                  <a:pt x="10" y="15"/>
                </a:cubicBezTo>
                <a:cubicBezTo>
                  <a:pt x="10" y="14"/>
                  <a:pt x="15" y="12"/>
                  <a:pt x="17" y="11"/>
                </a:cubicBezTo>
                <a:cubicBezTo>
                  <a:pt x="22" y="8"/>
                  <a:pt x="28" y="6"/>
                  <a:pt x="33" y="4"/>
                </a:cubicBezTo>
                <a:cubicBezTo>
                  <a:pt x="42" y="0"/>
                  <a:pt x="47" y="3"/>
                  <a:pt x="49" y="12"/>
                </a:cubicBezTo>
                <a:cubicBezTo>
                  <a:pt x="50" y="17"/>
                  <a:pt x="50" y="21"/>
                  <a:pt x="50" y="26"/>
                </a:cubicBezTo>
                <a:cubicBezTo>
                  <a:pt x="51" y="26"/>
                  <a:pt x="51" y="26"/>
                  <a:pt x="52" y="26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1" name="Freeform 37">
            <a:extLst>
              <a:ext uri="{FF2B5EF4-FFF2-40B4-BE49-F238E27FC236}">
                <a16:creationId xmlns:a16="http://schemas.microsoft.com/office/drawing/2014/main" id="{CB1E8A4E-841E-4A9F-AF97-6D1DFE71F9A7}"/>
              </a:ext>
            </a:extLst>
          </p:cNvPr>
          <p:cNvSpPr>
            <a:spLocks/>
          </p:cNvSpPr>
          <p:nvPr userDrawn="1"/>
        </p:nvSpPr>
        <p:spPr bwMode="auto">
          <a:xfrm>
            <a:off x="8145463" y="976313"/>
            <a:ext cx="222250" cy="163513"/>
          </a:xfrm>
          <a:custGeom>
            <a:avLst/>
            <a:gdLst>
              <a:gd name="T0" fmla="*/ 54 w 94"/>
              <a:gd name="T1" fmla="*/ 30 h 69"/>
              <a:gd name="T2" fmla="*/ 66 w 94"/>
              <a:gd name="T3" fmla="*/ 48 h 69"/>
              <a:gd name="T4" fmla="*/ 83 w 94"/>
              <a:gd name="T5" fmla="*/ 53 h 69"/>
              <a:gd name="T6" fmla="*/ 92 w 94"/>
              <a:gd name="T7" fmla="*/ 59 h 69"/>
              <a:gd name="T8" fmla="*/ 93 w 94"/>
              <a:gd name="T9" fmla="*/ 66 h 69"/>
              <a:gd name="T10" fmla="*/ 87 w 94"/>
              <a:gd name="T11" fmla="*/ 68 h 69"/>
              <a:gd name="T12" fmla="*/ 50 w 94"/>
              <a:gd name="T13" fmla="*/ 44 h 69"/>
              <a:gd name="T14" fmla="*/ 38 w 94"/>
              <a:gd name="T15" fmla="*/ 40 h 69"/>
              <a:gd name="T16" fmla="*/ 21 w 94"/>
              <a:gd name="T17" fmla="*/ 36 h 69"/>
              <a:gd name="T18" fmla="*/ 5 w 94"/>
              <a:gd name="T19" fmla="*/ 22 h 69"/>
              <a:gd name="T20" fmla="*/ 3 w 94"/>
              <a:gd name="T21" fmla="*/ 10 h 69"/>
              <a:gd name="T22" fmla="*/ 23 w 94"/>
              <a:gd name="T23" fmla="*/ 2 h 69"/>
              <a:gd name="T24" fmla="*/ 37 w 94"/>
              <a:gd name="T25" fmla="*/ 12 h 69"/>
              <a:gd name="T26" fmla="*/ 48 w 94"/>
              <a:gd name="T27" fmla="*/ 21 h 69"/>
              <a:gd name="T28" fmla="*/ 54 w 94"/>
              <a:gd name="T29" fmla="*/ 3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4" h="69">
                <a:moveTo>
                  <a:pt x="54" y="30"/>
                </a:moveTo>
                <a:cubicBezTo>
                  <a:pt x="51" y="42"/>
                  <a:pt x="59" y="45"/>
                  <a:pt x="66" y="48"/>
                </a:cubicBezTo>
                <a:cubicBezTo>
                  <a:pt x="71" y="51"/>
                  <a:pt x="77" y="51"/>
                  <a:pt x="83" y="53"/>
                </a:cubicBezTo>
                <a:cubicBezTo>
                  <a:pt x="86" y="54"/>
                  <a:pt x="89" y="56"/>
                  <a:pt x="92" y="59"/>
                </a:cubicBezTo>
                <a:cubicBezTo>
                  <a:pt x="93" y="60"/>
                  <a:pt x="94" y="64"/>
                  <a:pt x="93" y="66"/>
                </a:cubicBezTo>
                <a:cubicBezTo>
                  <a:pt x="93" y="67"/>
                  <a:pt x="90" y="68"/>
                  <a:pt x="87" y="68"/>
                </a:cubicBezTo>
                <a:cubicBezTo>
                  <a:pt x="75" y="69"/>
                  <a:pt x="55" y="56"/>
                  <a:pt x="50" y="44"/>
                </a:cubicBezTo>
                <a:cubicBezTo>
                  <a:pt x="48" y="39"/>
                  <a:pt x="45" y="34"/>
                  <a:pt x="38" y="40"/>
                </a:cubicBezTo>
                <a:cubicBezTo>
                  <a:pt x="31" y="47"/>
                  <a:pt x="27" y="44"/>
                  <a:pt x="21" y="36"/>
                </a:cubicBezTo>
                <a:cubicBezTo>
                  <a:pt x="17" y="31"/>
                  <a:pt x="11" y="26"/>
                  <a:pt x="5" y="22"/>
                </a:cubicBezTo>
                <a:cubicBezTo>
                  <a:pt x="1" y="18"/>
                  <a:pt x="0" y="15"/>
                  <a:pt x="3" y="10"/>
                </a:cubicBezTo>
                <a:cubicBezTo>
                  <a:pt x="8" y="2"/>
                  <a:pt x="14" y="0"/>
                  <a:pt x="23" y="2"/>
                </a:cubicBezTo>
                <a:cubicBezTo>
                  <a:pt x="30" y="3"/>
                  <a:pt x="33" y="7"/>
                  <a:pt x="37" y="12"/>
                </a:cubicBezTo>
                <a:cubicBezTo>
                  <a:pt x="39" y="16"/>
                  <a:pt x="45" y="18"/>
                  <a:pt x="48" y="21"/>
                </a:cubicBezTo>
                <a:cubicBezTo>
                  <a:pt x="51" y="24"/>
                  <a:pt x="53" y="28"/>
                  <a:pt x="54" y="3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2" name="Freeform 38">
            <a:extLst>
              <a:ext uri="{FF2B5EF4-FFF2-40B4-BE49-F238E27FC236}">
                <a16:creationId xmlns:a16="http://schemas.microsoft.com/office/drawing/2014/main" id="{B30856AD-E618-4C3C-A563-CD4261A58DE0}"/>
              </a:ext>
            </a:extLst>
          </p:cNvPr>
          <p:cNvSpPr>
            <a:spLocks/>
          </p:cNvSpPr>
          <p:nvPr userDrawn="1"/>
        </p:nvSpPr>
        <p:spPr bwMode="auto">
          <a:xfrm>
            <a:off x="7580313" y="4748213"/>
            <a:ext cx="85725" cy="147638"/>
          </a:xfrm>
          <a:custGeom>
            <a:avLst/>
            <a:gdLst>
              <a:gd name="T0" fmla="*/ 35 w 36"/>
              <a:gd name="T1" fmla="*/ 36 h 62"/>
              <a:gd name="T2" fmla="*/ 35 w 36"/>
              <a:gd name="T3" fmla="*/ 54 h 62"/>
              <a:gd name="T4" fmla="*/ 30 w 36"/>
              <a:gd name="T5" fmla="*/ 61 h 62"/>
              <a:gd name="T6" fmla="*/ 23 w 36"/>
              <a:gd name="T7" fmla="*/ 57 h 62"/>
              <a:gd name="T8" fmla="*/ 17 w 36"/>
              <a:gd name="T9" fmla="*/ 41 h 62"/>
              <a:gd name="T10" fmla="*/ 11 w 36"/>
              <a:gd name="T11" fmla="*/ 26 h 62"/>
              <a:gd name="T12" fmla="*/ 1 w 36"/>
              <a:gd name="T13" fmla="*/ 10 h 62"/>
              <a:gd name="T14" fmla="*/ 3 w 36"/>
              <a:gd name="T15" fmla="*/ 2 h 62"/>
              <a:gd name="T16" fmla="*/ 11 w 36"/>
              <a:gd name="T17" fmla="*/ 3 h 62"/>
              <a:gd name="T18" fmla="*/ 24 w 36"/>
              <a:gd name="T19" fmla="*/ 9 h 62"/>
              <a:gd name="T20" fmla="*/ 36 w 36"/>
              <a:gd name="T21" fmla="*/ 21 h 62"/>
              <a:gd name="T22" fmla="*/ 36 w 36"/>
              <a:gd name="T23" fmla="*/ 36 h 62"/>
              <a:gd name="T24" fmla="*/ 35 w 36"/>
              <a:gd name="T25" fmla="*/ 36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6" h="62">
                <a:moveTo>
                  <a:pt x="35" y="36"/>
                </a:moveTo>
                <a:cubicBezTo>
                  <a:pt x="35" y="42"/>
                  <a:pt x="36" y="48"/>
                  <a:pt x="35" y="54"/>
                </a:cubicBezTo>
                <a:cubicBezTo>
                  <a:pt x="35" y="57"/>
                  <a:pt x="32" y="60"/>
                  <a:pt x="30" y="61"/>
                </a:cubicBezTo>
                <a:cubicBezTo>
                  <a:pt x="28" y="62"/>
                  <a:pt x="24" y="59"/>
                  <a:pt x="23" y="57"/>
                </a:cubicBezTo>
                <a:cubicBezTo>
                  <a:pt x="21" y="52"/>
                  <a:pt x="19" y="46"/>
                  <a:pt x="17" y="41"/>
                </a:cubicBezTo>
                <a:cubicBezTo>
                  <a:pt x="15" y="36"/>
                  <a:pt x="14" y="31"/>
                  <a:pt x="11" y="26"/>
                </a:cubicBezTo>
                <a:cubicBezTo>
                  <a:pt x="8" y="21"/>
                  <a:pt x="3" y="16"/>
                  <a:pt x="1" y="10"/>
                </a:cubicBezTo>
                <a:cubicBezTo>
                  <a:pt x="0" y="8"/>
                  <a:pt x="1" y="3"/>
                  <a:pt x="3" y="2"/>
                </a:cubicBezTo>
                <a:cubicBezTo>
                  <a:pt x="4" y="0"/>
                  <a:pt x="10" y="1"/>
                  <a:pt x="11" y="3"/>
                </a:cubicBezTo>
                <a:cubicBezTo>
                  <a:pt x="14" y="8"/>
                  <a:pt x="18" y="9"/>
                  <a:pt x="24" y="9"/>
                </a:cubicBezTo>
                <a:cubicBezTo>
                  <a:pt x="34" y="9"/>
                  <a:pt x="36" y="11"/>
                  <a:pt x="36" y="21"/>
                </a:cubicBezTo>
                <a:cubicBezTo>
                  <a:pt x="36" y="26"/>
                  <a:pt x="36" y="31"/>
                  <a:pt x="36" y="36"/>
                </a:cubicBezTo>
                <a:cubicBezTo>
                  <a:pt x="36" y="36"/>
                  <a:pt x="36" y="36"/>
                  <a:pt x="35" y="36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3" name="Freeform 39">
            <a:extLst>
              <a:ext uri="{FF2B5EF4-FFF2-40B4-BE49-F238E27FC236}">
                <a16:creationId xmlns:a16="http://schemas.microsoft.com/office/drawing/2014/main" id="{894EE53E-A602-4D29-865E-AF5E607EF24C}"/>
              </a:ext>
            </a:extLst>
          </p:cNvPr>
          <p:cNvSpPr>
            <a:spLocks/>
          </p:cNvSpPr>
          <p:nvPr userDrawn="1"/>
        </p:nvSpPr>
        <p:spPr bwMode="auto">
          <a:xfrm>
            <a:off x="8218488" y="2376488"/>
            <a:ext cx="76200" cy="65088"/>
          </a:xfrm>
          <a:custGeom>
            <a:avLst/>
            <a:gdLst>
              <a:gd name="T0" fmla="*/ 32 w 32"/>
              <a:gd name="T1" fmla="*/ 18 h 27"/>
              <a:gd name="T2" fmla="*/ 21 w 32"/>
              <a:gd name="T3" fmla="*/ 25 h 27"/>
              <a:gd name="T4" fmla="*/ 10 w 32"/>
              <a:gd name="T5" fmla="*/ 21 h 27"/>
              <a:gd name="T6" fmla="*/ 3 w 32"/>
              <a:gd name="T7" fmla="*/ 11 h 27"/>
              <a:gd name="T8" fmla="*/ 21 w 32"/>
              <a:gd name="T9" fmla="*/ 1 h 27"/>
              <a:gd name="T10" fmla="*/ 32 w 32"/>
              <a:gd name="T11" fmla="*/ 1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2" h="27">
                <a:moveTo>
                  <a:pt x="32" y="18"/>
                </a:moveTo>
                <a:cubicBezTo>
                  <a:pt x="32" y="25"/>
                  <a:pt x="28" y="27"/>
                  <a:pt x="21" y="25"/>
                </a:cubicBezTo>
                <a:cubicBezTo>
                  <a:pt x="17" y="24"/>
                  <a:pt x="13" y="22"/>
                  <a:pt x="10" y="21"/>
                </a:cubicBezTo>
                <a:cubicBezTo>
                  <a:pt x="3" y="20"/>
                  <a:pt x="0" y="16"/>
                  <a:pt x="3" y="11"/>
                </a:cubicBezTo>
                <a:cubicBezTo>
                  <a:pt x="6" y="5"/>
                  <a:pt x="15" y="0"/>
                  <a:pt x="21" y="1"/>
                </a:cubicBezTo>
                <a:cubicBezTo>
                  <a:pt x="27" y="3"/>
                  <a:pt x="32" y="10"/>
                  <a:pt x="32" y="18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4" name="Freeform 40">
            <a:extLst>
              <a:ext uri="{FF2B5EF4-FFF2-40B4-BE49-F238E27FC236}">
                <a16:creationId xmlns:a16="http://schemas.microsoft.com/office/drawing/2014/main" id="{AAABAF2F-63AF-41CE-B404-0DBEF7A30EDE}"/>
              </a:ext>
            </a:extLst>
          </p:cNvPr>
          <p:cNvSpPr>
            <a:spLocks/>
          </p:cNvSpPr>
          <p:nvPr userDrawn="1"/>
        </p:nvSpPr>
        <p:spPr bwMode="auto">
          <a:xfrm>
            <a:off x="8640763" y="1577975"/>
            <a:ext cx="42863" cy="117475"/>
          </a:xfrm>
          <a:custGeom>
            <a:avLst/>
            <a:gdLst>
              <a:gd name="T0" fmla="*/ 8 w 18"/>
              <a:gd name="T1" fmla="*/ 6 h 49"/>
              <a:gd name="T2" fmla="*/ 14 w 18"/>
              <a:gd name="T3" fmla="*/ 30 h 49"/>
              <a:gd name="T4" fmla="*/ 13 w 18"/>
              <a:gd name="T5" fmla="*/ 45 h 49"/>
              <a:gd name="T6" fmla="*/ 5 w 18"/>
              <a:gd name="T7" fmla="*/ 49 h 49"/>
              <a:gd name="T8" fmla="*/ 5 w 18"/>
              <a:gd name="T9" fmla="*/ 42 h 49"/>
              <a:gd name="T10" fmla="*/ 4 w 18"/>
              <a:gd name="T11" fmla="*/ 30 h 49"/>
              <a:gd name="T12" fmla="*/ 2 w 18"/>
              <a:gd name="T13" fmla="*/ 5 h 49"/>
              <a:gd name="T14" fmla="*/ 4 w 18"/>
              <a:gd name="T15" fmla="*/ 0 h 49"/>
              <a:gd name="T16" fmla="*/ 8 w 18"/>
              <a:gd name="T17" fmla="*/ 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49">
                <a:moveTo>
                  <a:pt x="8" y="6"/>
                </a:moveTo>
                <a:cubicBezTo>
                  <a:pt x="0" y="16"/>
                  <a:pt x="8" y="23"/>
                  <a:pt x="14" y="30"/>
                </a:cubicBezTo>
                <a:cubicBezTo>
                  <a:pt x="18" y="35"/>
                  <a:pt x="17" y="41"/>
                  <a:pt x="13" y="45"/>
                </a:cubicBezTo>
                <a:cubicBezTo>
                  <a:pt x="11" y="47"/>
                  <a:pt x="8" y="47"/>
                  <a:pt x="5" y="49"/>
                </a:cubicBezTo>
                <a:cubicBezTo>
                  <a:pt x="5" y="46"/>
                  <a:pt x="5" y="44"/>
                  <a:pt x="5" y="42"/>
                </a:cubicBezTo>
                <a:cubicBezTo>
                  <a:pt x="5" y="38"/>
                  <a:pt x="5" y="34"/>
                  <a:pt x="4" y="30"/>
                </a:cubicBezTo>
                <a:cubicBezTo>
                  <a:pt x="4" y="22"/>
                  <a:pt x="2" y="14"/>
                  <a:pt x="2" y="5"/>
                </a:cubicBezTo>
                <a:cubicBezTo>
                  <a:pt x="2" y="4"/>
                  <a:pt x="3" y="2"/>
                  <a:pt x="4" y="0"/>
                </a:cubicBezTo>
                <a:cubicBezTo>
                  <a:pt x="5" y="2"/>
                  <a:pt x="6" y="4"/>
                  <a:pt x="8" y="6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5" name="Freeform 41">
            <a:extLst>
              <a:ext uri="{FF2B5EF4-FFF2-40B4-BE49-F238E27FC236}">
                <a16:creationId xmlns:a16="http://schemas.microsoft.com/office/drawing/2014/main" id="{36E68104-750F-415F-951C-70B93BC5BA17}"/>
              </a:ext>
            </a:extLst>
          </p:cNvPr>
          <p:cNvSpPr>
            <a:spLocks/>
          </p:cNvSpPr>
          <p:nvPr userDrawn="1"/>
        </p:nvSpPr>
        <p:spPr bwMode="auto">
          <a:xfrm>
            <a:off x="8289925" y="1130300"/>
            <a:ext cx="63500" cy="55563"/>
          </a:xfrm>
          <a:custGeom>
            <a:avLst/>
            <a:gdLst>
              <a:gd name="T0" fmla="*/ 27 w 27"/>
              <a:gd name="T1" fmla="*/ 11 h 23"/>
              <a:gd name="T2" fmla="*/ 25 w 27"/>
              <a:gd name="T3" fmla="*/ 13 h 23"/>
              <a:gd name="T4" fmla="*/ 13 w 27"/>
              <a:gd name="T5" fmla="*/ 21 h 23"/>
              <a:gd name="T6" fmla="*/ 9 w 27"/>
              <a:gd name="T7" fmla="*/ 23 h 23"/>
              <a:gd name="T8" fmla="*/ 1 w 27"/>
              <a:gd name="T9" fmla="*/ 9 h 23"/>
              <a:gd name="T10" fmla="*/ 0 w 27"/>
              <a:gd name="T11" fmla="*/ 0 h 23"/>
              <a:gd name="T12" fmla="*/ 4 w 27"/>
              <a:gd name="T13" fmla="*/ 1 h 23"/>
              <a:gd name="T14" fmla="*/ 24 w 27"/>
              <a:gd name="T15" fmla="*/ 9 h 23"/>
              <a:gd name="T16" fmla="*/ 27 w 27"/>
              <a:gd name="T17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7" h="23">
                <a:moveTo>
                  <a:pt x="27" y="11"/>
                </a:moveTo>
                <a:cubicBezTo>
                  <a:pt x="26" y="12"/>
                  <a:pt x="25" y="12"/>
                  <a:pt x="25" y="13"/>
                </a:cubicBezTo>
                <a:cubicBezTo>
                  <a:pt x="21" y="16"/>
                  <a:pt x="17" y="19"/>
                  <a:pt x="13" y="21"/>
                </a:cubicBezTo>
                <a:cubicBezTo>
                  <a:pt x="11" y="22"/>
                  <a:pt x="10" y="23"/>
                  <a:pt x="9" y="23"/>
                </a:cubicBezTo>
                <a:cubicBezTo>
                  <a:pt x="6" y="19"/>
                  <a:pt x="4" y="14"/>
                  <a:pt x="1" y="9"/>
                </a:cubicBezTo>
                <a:cubicBezTo>
                  <a:pt x="0" y="7"/>
                  <a:pt x="0" y="3"/>
                  <a:pt x="0" y="0"/>
                </a:cubicBezTo>
                <a:cubicBezTo>
                  <a:pt x="1" y="1"/>
                  <a:pt x="3" y="0"/>
                  <a:pt x="4" y="1"/>
                </a:cubicBezTo>
                <a:cubicBezTo>
                  <a:pt x="10" y="3"/>
                  <a:pt x="17" y="6"/>
                  <a:pt x="24" y="9"/>
                </a:cubicBezTo>
                <a:cubicBezTo>
                  <a:pt x="25" y="9"/>
                  <a:pt x="26" y="10"/>
                  <a:pt x="27" y="11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6" name="Freeform 42">
            <a:extLst>
              <a:ext uri="{FF2B5EF4-FFF2-40B4-BE49-F238E27FC236}">
                <a16:creationId xmlns:a16="http://schemas.microsoft.com/office/drawing/2014/main" id="{BF9DB851-9574-44C3-A43B-AB1D4665669D}"/>
              </a:ext>
            </a:extLst>
          </p:cNvPr>
          <p:cNvSpPr>
            <a:spLocks/>
          </p:cNvSpPr>
          <p:nvPr userDrawn="1"/>
        </p:nvSpPr>
        <p:spPr bwMode="auto">
          <a:xfrm>
            <a:off x="8612188" y="5465763"/>
            <a:ext cx="33338" cy="50800"/>
          </a:xfrm>
          <a:custGeom>
            <a:avLst/>
            <a:gdLst>
              <a:gd name="T0" fmla="*/ 7 w 14"/>
              <a:gd name="T1" fmla="*/ 0 h 21"/>
              <a:gd name="T2" fmla="*/ 13 w 14"/>
              <a:gd name="T3" fmla="*/ 6 h 21"/>
              <a:gd name="T4" fmla="*/ 8 w 14"/>
              <a:gd name="T5" fmla="*/ 21 h 21"/>
              <a:gd name="T6" fmla="*/ 1 w 14"/>
              <a:gd name="T7" fmla="*/ 7 h 21"/>
              <a:gd name="T8" fmla="*/ 7 w 14"/>
              <a:gd name="T9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21">
                <a:moveTo>
                  <a:pt x="7" y="0"/>
                </a:moveTo>
                <a:cubicBezTo>
                  <a:pt x="10" y="3"/>
                  <a:pt x="14" y="5"/>
                  <a:pt x="13" y="6"/>
                </a:cubicBezTo>
                <a:cubicBezTo>
                  <a:pt x="12" y="11"/>
                  <a:pt x="10" y="16"/>
                  <a:pt x="8" y="21"/>
                </a:cubicBezTo>
                <a:cubicBezTo>
                  <a:pt x="6" y="16"/>
                  <a:pt x="2" y="12"/>
                  <a:pt x="1" y="7"/>
                </a:cubicBezTo>
                <a:cubicBezTo>
                  <a:pt x="0" y="6"/>
                  <a:pt x="4" y="3"/>
                  <a:pt x="7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7" name="Freeform 43">
            <a:extLst>
              <a:ext uri="{FF2B5EF4-FFF2-40B4-BE49-F238E27FC236}">
                <a16:creationId xmlns:a16="http://schemas.microsoft.com/office/drawing/2014/main" id="{5D43C097-9CB2-435D-87EF-1F24865580D7}"/>
              </a:ext>
            </a:extLst>
          </p:cNvPr>
          <p:cNvSpPr>
            <a:spLocks/>
          </p:cNvSpPr>
          <p:nvPr userDrawn="1"/>
        </p:nvSpPr>
        <p:spPr bwMode="auto">
          <a:xfrm>
            <a:off x="7488238" y="3906838"/>
            <a:ext cx="49213" cy="36513"/>
          </a:xfrm>
          <a:custGeom>
            <a:avLst/>
            <a:gdLst>
              <a:gd name="T0" fmla="*/ 14 w 21"/>
              <a:gd name="T1" fmla="*/ 15 h 15"/>
              <a:gd name="T2" fmla="*/ 1 w 21"/>
              <a:gd name="T3" fmla="*/ 6 h 15"/>
              <a:gd name="T4" fmla="*/ 3 w 21"/>
              <a:gd name="T5" fmla="*/ 0 h 15"/>
              <a:gd name="T6" fmla="*/ 7 w 21"/>
              <a:gd name="T7" fmla="*/ 0 h 15"/>
              <a:gd name="T8" fmla="*/ 20 w 21"/>
              <a:gd name="T9" fmla="*/ 8 h 15"/>
              <a:gd name="T10" fmla="*/ 14 w 21"/>
              <a:gd name="T11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" h="15">
                <a:moveTo>
                  <a:pt x="14" y="15"/>
                </a:moveTo>
                <a:cubicBezTo>
                  <a:pt x="9" y="12"/>
                  <a:pt x="5" y="9"/>
                  <a:pt x="1" y="6"/>
                </a:cubicBezTo>
                <a:cubicBezTo>
                  <a:pt x="0" y="5"/>
                  <a:pt x="2" y="2"/>
                  <a:pt x="3" y="0"/>
                </a:cubicBezTo>
                <a:cubicBezTo>
                  <a:pt x="4" y="0"/>
                  <a:pt x="5" y="0"/>
                  <a:pt x="7" y="0"/>
                </a:cubicBezTo>
                <a:cubicBezTo>
                  <a:pt x="6" y="11"/>
                  <a:pt x="19" y="0"/>
                  <a:pt x="20" y="8"/>
                </a:cubicBezTo>
                <a:cubicBezTo>
                  <a:pt x="21" y="10"/>
                  <a:pt x="17" y="12"/>
                  <a:pt x="14" y="15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8" name="Freeform 44">
            <a:extLst>
              <a:ext uri="{FF2B5EF4-FFF2-40B4-BE49-F238E27FC236}">
                <a16:creationId xmlns:a16="http://schemas.microsoft.com/office/drawing/2014/main" id="{7DBBDC3E-2027-43E6-8612-279D061C1073}"/>
              </a:ext>
            </a:extLst>
          </p:cNvPr>
          <p:cNvSpPr>
            <a:spLocks/>
          </p:cNvSpPr>
          <p:nvPr userDrawn="1"/>
        </p:nvSpPr>
        <p:spPr bwMode="auto">
          <a:xfrm>
            <a:off x="8583613" y="1466850"/>
            <a:ext cx="12700" cy="28575"/>
          </a:xfrm>
          <a:custGeom>
            <a:avLst/>
            <a:gdLst>
              <a:gd name="T0" fmla="*/ 0 w 5"/>
              <a:gd name="T1" fmla="*/ 0 h 12"/>
              <a:gd name="T2" fmla="*/ 4 w 5"/>
              <a:gd name="T3" fmla="*/ 4 h 12"/>
              <a:gd name="T4" fmla="*/ 5 w 5"/>
              <a:gd name="T5" fmla="*/ 12 h 12"/>
              <a:gd name="T6" fmla="*/ 1 w 5"/>
              <a:gd name="T7" fmla="*/ 5 h 12"/>
              <a:gd name="T8" fmla="*/ 0 w 5"/>
              <a:gd name="T9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12">
                <a:moveTo>
                  <a:pt x="0" y="0"/>
                </a:moveTo>
                <a:cubicBezTo>
                  <a:pt x="2" y="1"/>
                  <a:pt x="4" y="2"/>
                  <a:pt x="4" y="4"/>
                </a:cubicBezTo>
                <a:cubicBezTo>
                  <a:pt x="5" y="6"/>
                  <a:pt x="5" y="9"/>
                  <a:pt x="5" y="12"/>
                </a:cubicBezTo>
                <a:cubicBezTo>
                  <a:pt x="4" y="10"/>
                  <a:pt x="3" y="8"/>
                  <a:pt x="1" y="5"/>
                </a:cubicBezTo>
                <a:cubicBezTo>
                  <a:pt x="1" y="4"/>
                  <a:pt x="1" y="2"/>
                  <a:pt x="0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39" name="Freeform 45">
            <a:extLst>
              <a:ext uri="{FF2B5EF4-FFF2-40B4-BE49-F238E27FC236}">
                <a16:creationId xmlns:a16="http://schemas.microsoft.com/office/drawing/2014/main" id="{68708311-4E68-40D0-BF98-3CD6BEF22F2F}"/>
              </a:ext>
            </a:extLst>
          </p:cNvPr>
          <p:cNvSpPr>
            <a:spLocks/>
          </p:cNvSpPr>
          <p:nvPr userDrawn="1"/>
        </p:nvSpPr>
        <p:spPr bwMode="auto">
          <a:xfrm>
            <a:off x="8639175" y="5665788"/>
            <a:ext cx="9525" cy="9525"/>
          </a:xfrm>
          <a:custGeom>
            <a:avLst/>
            <a:gdLst>
              <a:gd name="T0" fmla="*/ 1 w 4"/>
              <a:gd name="T1" fmla="*/ 4 h 4"/>
              <a:gd name="T2" fmla="*/ 0 w 4"/>
              <a:gd name="T3" fmla="*/ 1 h 4"/>
              <a:gd name="T4" fmla="*/ 3 w 4"/>
              <a:gd name="T5" fmla="*/ 0 h 4"/>
              <a:gd name="T6" fmla="*/ 4 w 4"/>
              <a:gd name="T7" fmla="*/ 3 h 4"/>
              <a:gd name="T8" fmla="*/ 1 w 4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4">
                <a:moveTo>
                  <a:pt x="1" y="4"/>
                </a:moveTo>
                <a:cubicBezTo>
                  <a:pt x="1" y="3"/>
                  <a:pt x="0" y="2"/>
                  <a:pt x="0" y="1"/>
                </a:cubicBezTo>
                <a:cubicBezTo>
                  <a:pt x="1" y="0"/>
                  <a:pt x="2" y="0"/>
                  <a:pt x="3" y="0"/>
                </a:cubicBezTo>
                <a:cubicBezTo>
                  <a:pt x="3" y="1"/>
                  <a:pt x="4" y="2"/>
                  <a:pt x="4" y="3"/>
                </a:cubicBezTo>
                <a:cubicBezTo>
                  <a:pt x="4" y="4"/>
                  <a:pt x="2" y="4"/>
                  <a:pt x="1" y="4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0" name="Freeform 46">
            <a:extLst>
              <a:ext uri="{FF2B5EF4-FFF2-40B4-BE49-F238E27FC236}">
                <a16:creationId xmlns:a16="http://schemas.microsoft.com/office/drawing/2014/main" id="{9C484B27-BCD3-462D-90E8-7B2B41634CD0}"/>
              </a:ext>
            </a:extLst>
          </p:cNvPr>
          <p:cNvSpPr>
            <a:spLocks/>
          </p:cNvSpPr>
          <p:nvPr userDrawn="1"/>
        </p:nvSpPr>
        <p:spPr bwMode="auto">
          <a:xfrm>
            <a:off x="7469188" y="3879850"/>
            <a:ext cx="9525" cy="11113"/>
          </a:xfrm>
          <a:custGeom>
            <a:avLst/>
            <a:gdLst>
              <a:gd name="T0" fmla="*/ 3 w 4"/>
              <a:gd name="T1" fmla="*/ 0 h 5"/>
              <a:gd name="T2" fmla="*/ 3 w 4"/>
              <a:gd name="T3" fmla="*/ 3 h 5"/>
              <a:gd name="T4" fmla="*/ 1 w 4"/>
              <a:gd name="T5" fmla="*/ 5 h 5"/>
              <a:gd name="T6" fmla="*/ 1 w 4"/>
              <a:gd name="T7" fmla="*/ 1 h 5"/>
              <a:gd name="T8" fmla="*/ 3 w 4"/>
              <a:gd name="T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5">
                <a:moveTo>
                  <a:pt x="3" y="0"/>
                </a:moveTo>
                <a:cubicBezTo>
                  <a:pt x="3" y="1"/>
                  <a:pt x="4" y="2"/>
                  <a:pt x="3" y="3"/>
                </a:cubicBezTo>
                <a:cubicBezTo>
                  <a:pt x="3" y="4"/>
                  <a:pt x="2" y="4"/>
                  <a:pt x="1" y="5"/>
                </a:cubicBezTo>
                <a:cubicBezTo>
                  <a:pt x="1" y="3"/>
                  <a:pt x="0" y="2"/>
                  <a:pt x="1" y="1"/>
                </a:cubicBezTo>
                <a:cubicBezTo>
                  <a:pt x="1" y="0"/>
                  <a:pt x="2" y="0"/>
                  <a:pt x="3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1" name="Freeform 47">
            <a:extLst>
              <a:ext uri="{FF2B5EF4-FFF2-40B4-BE49-F238E27FC236}">
                <a16:creationId xmlns:a16="http://schemas.microsoft.com/office/drawing/2014/main" id="{A61845A3-834A-4FF1-ADCC-55359E440450}"/>
              </a:ext>
            </a:extLst>
          </p:cNvPr>
          <p:cNvSpPr>
            <a:spLocks/>
          </p:cNvSpPr>
          <p:nvPr userDrawn="1"/>
        </p:nvSpPr>
        <p:spPr bwMode="auto">
          <a:xfrm>
            <a:off x="9099550" y="4598988"/>
            <a:ext cx="11113" cy="12700"/>
          </a:xfrm>
          <a:custGeom>
            <a:avLst/>
            <a:gdLst>
              <a:gd name="T0" fmla="*/ 5 w 5"/>
              <a:gd name="T1" fmla="*/ 2 h 5"/>
              <a:gd name="T2" fmla="*/ 3 w 5"/>
              <a:gd name="T3" fmla="*/ 5 h 5"/>
              <a:gd name="T4" fmla="*/ 1 w 5"/>
              <a:gd name="T5" fmla="*/ 3 h 5"/>
              <a:gd name="T6" fmla="*/ 2 w 5"/>
              <a:gd name="T7" fmla="*/ 0 h 5"/>
              <a:gd name="T8" fmla="*/ 5 w 5"/>
              <a:gd name="T9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5">
                <a:moveTo>
                  <a:pt x="5" y="2"/>
                </a:moveTo>
                <a:cubicBezTo>
                  <a:pt x="4" y="4"/>
                  <a:pt x="4" y="4"/>
                  <a:pt x="3" y="5"/>
                </a:cubicBezTo>
                <a:cubicBezTo>
                  <a:pt x="2" y="4"/>
                  <a:pt x="1" y="4"/>
                  <a:pt x="1" y="3"/>
                </a:cubicBezTo>
                <a:cubicBezTo>
                  <a:pt x="0" y="2"/>
                  <a:pt x="1" y="1"/>
                  <a:pt x="2" y="0"/>
                </a:cubicBezTo>
                <a:cubicBezTo>
                  <a:pt x="3" y="1"/>
                  <a:pt x="4" y="2"/>
                  <a:pt x="5" y="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2" name="Freeform 48">
            <a:extLst>
              <a:ext uri="{FF2B5EF4-FFF2-40B4-BE49-F238E27FC236}">
                <a16:creationId xmlns:a16="http://schemas.microsoft.com/office/drawing/2014/main" id="{4906687F-6179-417A-9BF5-3CFAB6FF01AE}"/>
              </a:ext>
            </a:extLst>
          </p:cNvPr>
          <p:cNvSpPr>
            <a:spLocks/>
          </p:cNvSpPr>
          <p:nvPr userDrawn="1"/>
        </p:nvSpPr>
        <p:spPr bwMode="auto">
          <a:xfrm>
            <a:off x="6765925" y="3227388"/>
            <a:ext cx="14288" cy="12700"/>
          </a:xfrm>
          <a:custGeom>
            <a:avLst/>
            <a:gdLst>
              <a:gd name="T0" fmla="*/ 6 w 6"/>
              <a:gd name="T1" fmla="*/ 2 h 5"/>
              <a:gd name="T2" fmla="*/ 2 w 6"/>
              <a:gd name="T3" fmla="*/ 5 h 5"/>
              <a:gd name="T4" fmla="*/ 1 w 6"/>
              <a:gd name="T5" fmla="*/ 4 h 5"/>
              <a:gd name="T6" fmla="*/ 3 w 6"/>
              <a:gd name="T7" fmla="*/ 1 h 5"/>
              <a:gd name="T8" fmla="*/ 6 w 6"/>
              <a:gd name="T9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5">
                <a:moveTo>
                  <a:pt x="6" y="2"/>
                </a:moveTo>
                <a:cubicBezTo>
                  <a:pt x="4" y="3"/>
                  <a:pt x="3" y="4"/>
                  <a:pt x="2" y="5"/>
                </a:cubicBezTo>
                <a:cubicBezTo>
                  <a:pt x="1" y="5"/>
                  <a:pt x="0" y="4"/>
                  <a:pt x="1" y="4"/>
                </a:cubicBezTo>
                <a:cubicBezTo>
                  <a:pt x="1" y="2"/>
                  <a:pt x="2" y="1"/>
                  <a:pt x="3" y="1"/>
                </a:cubicBezTo>
                <a:cubicBezTo>
                  <a:pt x="3" y="0"/>
                  <a:pt x="4" y="1"/>
                  <a:pt x="6" y="2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3" name="Freeform 49">
            <a:extLst>
              <a:ext uri="{FF2B5EF4-FFF2-40B4-BE49-F238E27FC236}">
                <a16:creationId xmlns:a16="http://schemas.microsoft.com/office/drawing/2014/main" id="{56F862E7-791F-4741-A1D4-4F549F38D2EE}"/>
              </a:ext>
            </a:extLst>
          </p:cNvPr>
          <p:cNvSpPr>
            <a:spLocks/>
          </p:cNvSpPr>
          <p:nvPr userDrawn="1"/>
        </p:nvSpPr>
        <p:spPr bwMode="auto">
          <a:xfrm>
            <a:off x="7104063" y="3375025"/>
            <a:ext cx="6350" cy="4763"/>
          </a:xfrm>
          <a:custGeom>
            <a:avLst/>
            <a:gdLst>
              <a:gd name="T0" fmla="*/ 3 w 3"/>
              <a:gd name="T1" fmla="*/ 1 h 2"/>
              <a:gd name="T2" fmla="*/ 1 w 3"/>
              <a:gd name="T3" fmla="*/ 2 h 2"/>
              <a:gd name="T4" fmla="*/ 0 w 3"/>
              <a:gd name="T5" fmla="*/ 0 h 2"/>
              <a:gd name="T6" fmla="*/ 1 w 3"/>
              <a:gd name="T7" fmla="*/ 0 h 2"/>
              <a:gd name="T8" fmla="*/ 3 w 3"/>
              <a:gd name="T9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3" y="1"/>
                </a:moveTo>
                <a:cubicBezTo>
                  <a:pt x="2" y="1"/>
                  <a:pt x="2" y="2"/>
                  <a:pt x="1" y="2"/>
                </a:cubicBezTo>
                <a:cubicBezTo>
                  <a:pt x="1" y="2"/>
                  <a:pt x="0" y="1"/>
                  <a:pt x="0" y="0"/>
                </a:cubicBezTo>
                <a:cubicBezTo>
                  <a:pt x="0" y="0"/>
                  <a:pt x="1" y="0"/>
                  <a:pt x="1" y="0"/>
                </a:cubicBezTo>
                <a:cubicBezTo>
                  <a:pt x="2" y="0"/>
                  <a:pt x="2" y="1"/>
                  <a:pt x="3" y="1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4" name="Freeform 50">
            <a:extLst>
              <a:ext uri="{FF2B5EF4-FFF2-40B4-BE49-F238E27FC236}">
                <a16:creationId xmlns:a16="http://schemas.microsoft.com/office/drawing/2014/main" id="{B4B19A8E-6F57-46AE-92E8-1F222CA570BB}"/>
              </a:ext>
            </a:extLst>
          </p:cNvPr>
          <p:cNvSpPr>
            <a:spLocks/>
          </p:cNvSpPr>
          <p:nvPr userDrawn="1"/>
        </p:nvSpPr>
        <p:spPr bwMode="auto">
          <a:xfrm>
            <a:off x="10094913" y="3598863"/>
            <a:ext cx="4763" cy="12700"/>
          </a:xfrm>
          <a:custGeom>
            <a:avLst/>
            <a:gdLst>
              <a:gd name="T0" fmla="*/ 0 w 2"/>
              <a:gd name="T1" fmla="*/ 0 h 5"/>
              <a:gd name="T2" fmla="*/ 2 w 2"/>
              <a:gd name="T3" fmla="*/ 4 h 5"/>
              <a:gd name="T4" fmla="*/ 1 w 2"/>
              <a:gd name="T5" fmla="*/ 5 h 5"/>
              <a:gd name="T6" fmla="*/ 0 w 2"/>
              <a:gd name="T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5">
                <a:moveTo>
                  <a:pt x="0" y="0"/>
                </a:moveTo>
                <a:cubicBezTo>
                  <a:pt x="1" y="2"/>
                  <a:pt x="2" y="3"/>
                  <a:pt x="2" y="4"/>
                </a:cubicBezTo>
                <a:cubicBezTo>
                  <a:pt x="2" y="5"/>
                  <a:pt x="2" y="5"/>
                  <a:pt x="1" y="5"/>
                </a:cubicBezTo>
                <a:cubicBezTo>
                  <a:pt x="1" y="4"/>
                  <a:pt x="1" y="2"/>
                  <a:pt x="0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5" name="Freeform 51">
            <a:extLst>
              <a:ext uri="{FF2B5EF4-FFF2-40B4-BE49-F238E27FC236}">
                <a16:creationId xmlns:a16="http://schemas.microsoft.com/office/drawing/2014/main" id="{1F8B3A63-3156-4B15-A906-5F575B99ECAB}"/>
              </a:ext>
            </a:extLst>
          </p:cNvPr>
          <p:cNvSpPr>
            <a:spLocks/>
          </p:cNvSpPr>
          <p:nvPr userDrawn="1"/>
        </p:nvSpPr>
        <p:spPr bwMode="auto">
          <a:xfrm>
            <a:off x="7473950" y="3902075"/>
            <a:ext cx="6350" cy="12700"/>
          </a:xfrm>
          <a:custGeom>
            <a:avLst/>
            <a:gdLst>
              <a:gd name="T0" fmla="*/ 0 w 3"/>
              <a:gd name="T1" fmla="*/ 5 h 5"/>
              <a:gd name="T2" fmla="*/ 3 w 3"/>
              <a:gd name="T3" fmla="*/ 0 h 5"/>
              <a:gd name="T4" fmla="*/ 3 w 3"/>
              <a:gd name="T5" fmla="*/ 0 h 5"/>
              <a:gd name="T6" fmla="*/ 0 w 3"/>
              <a:gd name="T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5">
                <a:moveTo>
                  <a:pt x="0" y="5"/>
                </a:moveTo>
                <a:cubicBezTo>
                  <a:pt x="1" y="3"/>
                  <a:pt x="2" y="2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2" y="1"/>
                  <a:pt x="1" y="3"/>
                  <a:pt x="0" y="5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6" name="Freeform 52">
            <a:extLst>
              <a:ext uri="{FF2B5EF4-FFF2-40B4-BE49-F238E27FC236}">
                <a16:creationId xmlns:a16="http://schemas.microsoft.com/office/drawing/2014/main" id="{FCC378BF-3BA8-4D03-B520-57C4FF73F7FD}"/>
              </a:ext>
            </a:extLst>
          </p:cNvPr>
          <p:cNvSpPr>
            <a:spLocks/>
          </p:cNvSpPr>
          <p:nvPr userDrawn="1"/>
        </p:nvSpPr>
        <p:spPr bwMode="auto">
          <a:xfrm>
            <a:off x="10083800" y="3592513"/>
            <a:ext cx="11113" cy="6350"/>
          </a:xfrm>
          <a:custGeom>
            <a:avLst/>
            <a:gdLst>
              <a:gd name="T0" fmla="*/ 5 w 5"/>
              <a:gd name="T1" fmla="*/ 3 h 3"/>
              <a:gd name="T2" fmla="*/ 0 w 5"/>
              <a:gd name="T3" fmla="*/ 0 h 3"/>
              <a:gd name="T4" fmla="*/ 0 w 5"/>
              <a:gd name="T5" fmla="*/ 0 h 3"/>
              <a:gd name="T6" fmla="*/ 5 w 5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3">
                <a:moveTo>
                  <a:pt x="5" y="3"/>
                </a:moveTo>
                <a:cubicBezTo>
                  <a:pt x="3" y="2"/>
                  <a:pt x="2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1"/>
                  <a:pt x="3" y="2"/>
                  <a:pt x="5" y="3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7" name="Freeform 53">
            <a:extLst>
              <a:ext uri="{FF2B5EF4-FFF2-40B4-BE49-F238E27FC236}">
                <a16:creationId xmlns:a16="http://schemas.microsoft.com/office/drawing/2014/main" id="{F825991D-B7B7-441C-BA1F-20A63E9A82BD}"/>
              </a:ext>
            </a:extLst>
          </p:cNvPr>
          <p:cNvSpPr>
            <a:spLocks/>
          </p:cNvSpPr>
          <p:nvPr userDrawn="1"/>
        </p:nvSpPr>
        <p:spPr bwMode="auto">
          <a:xfrm>
            <a:off x="8318500" y="2740025"/>
            <a:ext cx="4763" cy="1588"/>
          </a:xfrm>
          <a:custGeom>
            <a:avLst/>
            <a:gdLst>
              <a:gd name="T0" fmla="*/ 2 w 2"/>
              <a:gd name="T1" fmla="*/ 0 h 1"/>
              <a:gd name="T2" fmla="*/ 0 w 2"/>
              <a:gd name="T3" fmla="*/ 1 h 1"/>
              <a:gd name="T4" fmla="*/ 0 w 2"/>
              <a:gd name="T5" fmla="*/ 1 h 1"/>
              <a:gd name="T6" fmla="*/ 2 w 2"/>
              <a:gd name="T7" fmla="*/ 1 h 1"/>
              <a:gd name="T8" fmla="*/ 2 w 2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1">
                <a:moveTo>
                  <a:pt x="2" y="0"/>
                </a:moveTo>
                <a:cubicBezTo>
                  <a:pt x="1" y="1"/>
                  <a:pt x="0" y="1"/>
                  <a:pt x="0" y="1"/>
                </a:cubicBezTo>
                <a:cubicBezTo>
                  <a:pt x="0" y="1"/>
                  <a:pt x="0" y="1"/>
                  <a:pt x="0" y="1"/>
                </a:cubicBezTo>
                <a:cubicBezTo>
                  <a:pt x="1" y="1"/>
                  <a:pt x="1" y="1"/>
                  <a:pt x="2" y="1"/>
                </a:cubicBezTo>
                <a:lnTo>
                  <a:pt x="2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8" name="Freeform 54">
            <a:extLst>
              <a:ext uri="{FF2B5EF4-FFF2-40B4-BE49-F238E27FC236}">
                <a16:creationId xmlns:a16="http://schemas.microsoft.com/office/drawing/2014/main" id="{60AA231E-DF3F-4510-8AF6-B18FCF3A0EE2}"/>
              </a:ext>
            </a:extLst>
          </p:cNvPr>
          <p:cNvSpPr>
            <a:spLocks/>
          </p:cNvSpPr>
          <p:nvPr userDrawn="1"/>
        </p:nvSpPr>
        <p:spPr bwMode="auto">
          <a:xfrm>
            <a:off x="7488238" y="3887788"/>
            <a:ext cx="6350" cy="7938"/>
          </a:xfrm>
          <a:custGeom>
            <a:avLst/>
            <a:gdLst>
              <a:gd name="T0" fmla="*/ 0 w 3"/>
              <a:gd name="T1" fmla="*/ 3 h 3"/>
              <a:gd name="T2" fmla="*/ 3 w 3"/>
              <a:gd name="T3" fmla="*/ 0 h 3"/>
              <a:gd name="T4" fmla="*/ 3 w 3"/>
              <a:gd name="T5" fmla="*/ 0 h 3"/>
              <a:gd name="T6" fmla="*/ 0 w 3"/>
              <a:gd name="T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3">
                <a:moveTo>
                  <a:pt x="0" y="3"/>
                </a:moveTo>
                <a:cubicBezTo>
                  <a:pt x="1" y="2"/>
                  <a:pt x="2" y="1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2" y="1"/>
                  <a:pt x="1" y="2"/>
                  <a:pt x="0" y="3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49" name="Freeform 55">
            <a:extLst>
              <a:ext uri="{FF2B5EF4-FFF2-40B4-BE49-F238E27FC236}">
                <a16:creationId xmlns:a16="http://schemas.microsoft.com/office/drawing/2014/main" id="{32048304-343E-4232-B540-2736425D2223}"/>
              </a:ext>
            </a:extLst>
          </p:cNvPr>
          <p:cNvSpPr>
            <a:spLocks/>
          </p:cNvSpPr>
          <p:nvPr userDrawn="1"/>
        </p:nvSpPr>
        <p:spPr bwMode="auto">
          <a:xfrm>
            <a:off x="11534775" y="2582863"/>
            <a:ext cx="3175" cy="3175"/>
          </a:xfrm>
          <a:custGeom>
            <a:avLst/>
            <a:gdLst>
              <a:gd name="T0" fmla="*/ 0 w 2"/>
              <a:gd name="T1" fmla="*/ 0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0" name="Freeform 56">
            <a:extLst>
              <a:ext uri="{FF2B5EF4-FFF2-40B4-BE49-F238E27FC236}">
                <a16:creationId xmlns:a16="http://schemas.microsoft.com/office/drawing/2014/main" id="{F7608E84-1782-4E6E-916B-3D71DBB6AA85}"/>
              </a:ext>
            </a:extLst>
          </p:cNvPr>
          <p:cNvSpPr>
            <a:spLocks/>
          </p:cNvSpPr>
          <p:nvPr userDrawn="1"/>
        </p:nvSpPr>
        <p:spPr bwMode="auto">
          <a:xfrm>
            <a:off x="8486775" y="1677988"/>
            <a:ext cx="6350" cy="7938"/>
          </a:xfrm>
          <a:custGeom>
            <a:avLst/>
            <a:gdLst>
              <a:gd name="T0" fmla="*/ 0 w 3"/>
              <a:gd name="T1" fmla="*/ 3 h 3"/>
              <a:gd name="T2" fmla="*/ 3 w 3"/>
              <a:gd name="T3" fmla="*/ 0 h 3"/>
              <a:gd name="T4" fmla="*/ 2 w 3"/>
              <a:gd name="T5" fmla="*/ 0 h 3"/>
              <a:gd name="T6" fmla="*/ 0 w 3"/>
              <a:gd name="T7" fmla="*/ 2 h 3"/>
              <a:gd name="T8" fmla="*/ 0 w 3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0" y="3"/>
                </a:moveTo>
                <a:cubicBezTo>
                  <a:pt x="1" y="2"/>
                  <a:pt x="2" y="1"/>
                  <a:pt x="3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1"/>
                  <a:pt x="1" y="2"/>
                  <a:pt x="0" y="2"/>
                </a:cubicBez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1" name="Freeform 57">
            <a:extLst>
              <a:ext uri="{FF2B5EF4-FFF2-40B4-BE49-F238E27FC236}">
                <a16:creationId xmlns:a16="http://schemas.microsoft.com/office/drawing/2014/main" id="{63972EDD-9A62-4C46-B5FA-FB520BE14A05}"/>
              </a:ext>
            </a:extLst>
          </p:cNvPr>
          <p:cNvSpPr>
            <a:spLocks/>
          </p:cNvSpPr>
          <p:nvPr userDrawn="1"/>
        </p:nvSpPr>
        <p:spPr bwMode="auto">
          <a:xfrm>
            <a:off x="8491538" y="1677988"/>
            <a:ext cx="1588" cy="0"/>
          </a:xfrm>
          <a:custGeom>
            <a:avLst/>
            <a:gdLst>
              <a:gd name="T0" fmla="*/ 1 w 1"/>
              <a:gd name="T1" fmla="*/ 0 w 1"/>
              <a:gd name="T2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2" name="Freeform 58">
            <a:extLst>
              <a:ext uri="{FF2B5EF4-FFF2-40B4-BE49-F238E27FC236}">
                <a16:creationId xmlns:a16="http://schemas.microsoft.com/office/drawing/2014/main" id="{269229AD-B45A-4BBC-9585-0266C32E37B5}"/>
              </a:ext>
            </a:extLst>
          </p:cNvPr>
          <p:cNvSpPr>
            <a:spLocks/>
          </p:cNvSpPr>
          <p:nvPr userDrawn="1"/>
        </p:nvSpPr>
        <p:spPr bwMode="auto">
          <a:xfrm>
            <a:off x="7473950" y="3914775"/>
            <a:ext cx="0" cy="1588"/>
          </a:xfrm>
          <a:custGeom>
            <a:avLst/>
            <a:gdLst>
              <a:gd name="T0" fmla="*/ 0 h 1"/>
              <a:gd name="T1" fmla="*/ 1 h 1"/>
              <a:gd name="T2" fmla="*/ 0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0"/>
                </a:moveTo>
                <a:cubicBezTo>
                  <a:pt x="0" y="0"/>
                  <a:pt x="0" y="1"/>
                  <a:pt x="0" y="1"/>
                </a:cubicBezTo>
                <a:cubicBezTo>
                  <a:pt x="0" y="1"/>
                  <a:pt x="0" y="1"/>
                  <a:pt x="0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3" name="Freeform 59">
            <a:extLst>
              <a:ext uri="{FF2B5EF4-FFF2-40B4-BE49-F238E27FC236}">
                <a16:creationId xmlns:a16="http://schemas.microsoft.com/office/drawing/2014/main" id="{4E2B80F1-2487-4099-ADCE-E27541F809BF}"/>
              </a:ext>
            </a:extLst>
          </p:cNvPr>
          <p:cNvSpPr>
            <a:spLocks/>
          </p:cNvSpPr>
          <p:nvPr userDrawn="1"/>
        </p:nvSpPr>
        <p:spPr bwMode="auto">
          <a:xfrm>
            <a:off x="7480300" y="3895725"/>
            <a:ext cx="7938" cy="6350"/>
          </a:xfrm>
          <a:custGeom>
            <a:avLst/>
            <a:gdLst>
              <a:gd name="T0" fmla="*/ 3 w 3"/>
              <a:gd name="T1" fmla="*/ 0 h 3"/>
              <a:gd name="T2" fmla="*/ 0 w 3"/>
              <a:gd name="T3" fmla="*/ 3 h 3"/>
              <a:gd name="T4" fmla="*/ 0 w 3"/>
              <a:gd name="T5" fmla="*/ 3 h 3"/>
              <a:gd name="T6" fmla="*/ 3 w 3"/>
              <a:gd name="T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3">
                <a:moveTo>
                  <a:pt x="3" y="0"/>
                </a:moveTo>
                <a:cubicBezTo>
                  <a:pt x="2" y="1"/>
                  <a:pt x="1" y="2"/>
                  <a:pt x="0" y="3"/>
                </a:cubicBezTo>
                <a:cubicBezTo>
                  <a:pt x="0" y="3"/>
                  <a:pt x="0" y="3"/>
                  <a:pt x="0" y="3"/>
                </a:cubicBezTo>
                <a:cubicBezTo>
                  <a:pt x="1" y="2"/>
                  <a:pt x="2" y="1"/>
                  <a:pt x="3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4" name="Freeform 60">
            <a:extLst>
              <a:ext uri="{FF2B5EF4-FFF2-40B4-BE49-F238E27FC236}">
                <a16:creationId xmlns:a16="http://schemas.microsoft.com/office/drawing/2014/main" id="{7B94AC88-2780-4BA3-955E-1ACECE4387AB}"/>
              </a:ext>
            </a:extLst>
          </p:cNvPr>
          <p:cNvSpPr>
            <a:spLocks/>
          </p:cNvSpPr>
          <p:nvPr userDrawn="1"/>
        </p:nvSpPr>
        <p:spPr bwMode="auto">
          <a:xfrm>
            <a:off x="10080625" y="3592513"/>
            <a:ext cx="3175" cy="0"/>
          </a:xfrm>
          <a:custGeom>
            <a:avLst/>
            <a:gdLst>
              <a:gd name="T0" fmla="*/ 2 w 2"/>
              <a:gd name="T1" fmla="*/ 0 w 2"/>
              <a:gd name="T2" fmla="*/ 2 w 2"/>
              <a:gd name="T3" fmla="*/ 2 w 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5" name="Freeform 61">
            <a:extLst>
              <a:ext uri="{FF2B5EF4-FFF2-40B4-BE49-F238E27FC236}">
                <a16:creationId xmlns:a16="http://schemas.microsoft.com/office/drawing/2014/main" id="{26E15B10-D737-42A2-9996-7ABC432213F4}"/>
              </a:ext>
            </a:extLst>
          </p:cNvPr>
          <p:cNvSpPr>
            <a:spLocks/>
          </p:cNvSpPr>
          <p:nvPr userDrawn="1"/>
        </p:nvSpPr>
        <p:spPr bwMode="auto">
          <a:xfrm>
            <a:off x="7915275" y="3067050"/>
            <a:ext cx="0" cy="1588"/>
          </a:xfrm>
          <a:custGeom>
            <a:avLst/>
            <a:gdLst>
              <a:gd name="T0" fmla="*/ 1 h 1"/>
              <a:gd name="T1" fmla="*/ 0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1"/>
                  <a:pt x="0" y="0"/>
                  <a:pt x="0" y="0"/>
                </a:cubicBezTo>
                <a:cubicBezTo>
                  <a:pt x="0" y="0"/>
                  <a:pt x="0" y="1"/>
                  <a:pt x="0" y="1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056" name="Freeform 62">
            <a:extLst>
              <a:ext uri="{FF2B5EF4-FFF2-40B4-BE49-F238E27FC236}">
                <a16:creationId xmlns:a16="http://schemas.microsoft.com/office/drawing/2014/main" id="{EB7BAB34-B42D-4914-A2D0-6F75522B7FF3}"/>
              </a:ext>
            </a:extLst>
          </p:cNvPr>
          <p:cNvSpPr>
            <a:spLocks/>
          </p:cNvSpPr>
          <p:nvPr userDrawn="1"/>
        </p:nvSpPr>
        <p:spPr bwMode="auto">
          <a:xfrm>
            <a:off x="8616950" y="304958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92" name="Parallelogram 91">
            <a:extLst>
              <a:ext uri="{FF2B5EF4-FFF2-40B4-BE49-F238E27FC236}">
                <a16:creationId xmlns:a16="http://schemas.microsoft.com/office/drawing/2014/main" id="{F80A7950-7F7E-4AE5-A970-A5028F4CD8E9}"/>
              </a:ext>
            </a:extLst>
          </p:cNvPr>
          <p:cNvSpPr/>
          <p:nvPr userDrawn="1"/>
        </p:nvSpPr>
        <p:spPr>
          <a:xfrm>
            <a:off x="971551" y="1660837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3" name="Parallelogram 92">
            <a:extLst>
              <a:ext uri="{FF2B5EF4-FFF2-40B4-BE49-F238E27FC236}">
                <a16:creationId xmlns:a16="http://schemas.microsoft.com/office/drawing/2014/main" id="{4C209F1D-82C4-4801-A011-9F658496F5A9}"/>
              </a:ext>
            </a:extLst>
          </p:cNvPr>
          <p:cNvSpPr/>
          <p:nvPr userDrawn="1"/>
        </p:nvSpPr>
        <p:spPr>
          <a:xfrm>
            <a:off x="461464" y="1631009"/>
            <a:ext cx="911373" cy="589442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4" name="Parallelogram 93">
            <a:extLst>
              <a:ext uri="{FF2B5EF4-FFF2-40B4-BE49-F238E27FC236}">
                <a16:creationId xmlns:a16="http://schemas.microsoft.com/office/drawing/2014/main" id="{9DCC0248-1B18-4BA8-9ADD-DD87F9BD2987}"/>
              </a:ext>
            </a:extLst>
          </p:cNvPr>
          <p:cNvSpPr/>
          <p:nvPr userDrawn="1"/>
        </p:nvSpPr>
        <p:spPr>
          <a:xfrm>
            <a:off x="971551" y="2470902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5" name="Parallelogram 94">
            <a:extLst>
              <a:ext uri="{FF2B5EF4-FFF2-40B4-BE49-F238E27FC236}">
                <a16:creationId xmlns:a16="http://schemas.microsoft.com/office/drawing/2014/main" id="{506EC090-D3BD-4C09-B73C-F747493CDD79}"/>
              </a:ext>
            </a:extLst>
          </p:cNvPr>
          <p:cNvSpPr/>
          <p:nvPr userDrawn="1"/>
        </p:nvSpPr>
        <p:spPr>
          <a:xfrm>
            <a:off x="461464" y="2441074"/>
            <a:ext cx="911373" cy="589442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6" name="Parallelogram 95">
            <a:extLst>
              <a:ext uri="{FF2B5EF4-FFF2-40B4-BE49-F238E27FC236}">
                <a16:creationId xmlns:a16="http://schemas.microsoft.com/office/drawing/2014/main" id="{DD977C1F-E246-4C6C-BF2F-68FF6C0198E9}"/>
              </a:ext>
            </a:extLst>
          </p:cNvPr>
          <p:cNvSpPr/>
          <p:nvPr userDrawn="1"/>
        </p:nvSpPr>
        <p:spPr>
          <a:xfrm>
            <a:off x="971551" y="3310795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7" name="Parallelogram 96">
            <a:extLst>
              <a:ext uri="{FF2B5EF4-FFF2-40B4-BE49-F238E27FC236}">
                <a16:creationId xmlns:a16="http://schemas.microsoft.com/office/drawing/2014/main" id="{F3E0AF4B-4758-417D-992D-E73BB7E3C34C}"/>
              </a:ext>
            </a:extLst>
          </p:cNvPr>
          <p:cNvSpPr/>
          <p:nvPr userDrawn="1"/>
        </p:nvSpPr>
        <p:spPr>
          <a:xfrm>
            <a:off x="461464" y="3280967"/>
            <a:ext cx="911373" cy="589442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58" name="Text Placeholder 1057">
            <a:extLst>
              <a:ext uri="{FF2B5EF4-FFF2-40B4-BE49-F238E27FC236}">
                <a16:creationId xmlns:a16="http://schemas.microsoft.com/office/drawing/2014/main" id="{D976D1DD-496C-4997-831A-F4C18AF1D1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44246" y="4662488"/>
            <a:ext cx="4243137" cy="1066800"/>
          </a:xfrm>
        </p:spPr>
        <p:txBody>
          <a:bodyPr anchor="ctr">
            <a:normAutofit/>
          </a:bodyPr>
          <a:lstStyle>
            <a:lvl1pPr>
              <a:lnSpc>
                <a:spcPct val="150000"/>
              </a:lnSpc>
              <a:defRPr lang="en-IN" sz="1200" b="0" i="0" smtClean="0">
                <a:effectLst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ante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haretr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cip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t a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emp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nenat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lac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qu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endParaRPr lang="en-IN" dirty="0"/>
          </a:p>
        </p:txBody>
      </p:sp>
      <p:sp>
        <p:nvSpPr>
          <p:cNvPr id="1060" name="Text Placeholder 1059">
            <a:extLst>
              <a:ext uri="{FF2B5EF4-FFF2-40B4-BE49-F238E27FC236}">
                <a16:creationId xmlns:a16="http://schemas.microsoft.com/office/drawing/2014/main" id="{A8DCC2BA-9CD4-49F3-875C-E9E3FAD1C6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437" y="4662488"/>
            <a:ext cx="1828800" cy="1076325"/>
          </a:xfrm>
        </p:spPr>
        <p:txBody>
          <a:bodyPr anchor="ctr">
            <a:noAutofit/>
          </a:bodyPr>
          <a:lstStyle>
            <a:lvl1pPr>
              <a:defRPr sz="6000" b="1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 dirty="0"/>
              <a:t>00m</a:t>
            </a:r>
          </a:p>
        </p:txBody>
      </p:sp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39376739-C9FE-4776-91FB-2FAAB17A86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70" name="Text Placeholder 7">
            <a:extLst>
              <a:ext uri="{FF2B5EF4-FFF2-40B4-BE49-F238E27FC236}">
                <a16:creationId xmlns:a16="http://schemas.microsoft.com/office/drawing/2014/main" id="{A9D39D63-737B-4B0D-BB76-750E8A8A3A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810317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 P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arallelogram 13">
            <a:extLst>
              <a:ext uri="{FF2B5EF4-FFF2-40B4-BE49-F238E27FC236}">
                <a16:creationId xmlns:a16="http://schemas.microsoft.com/office/drawing/2014/main" id="{5A8D9B40-7AB2-4CD2-8322-1443813A513C}"/>
              </a:ext>
            </a:extLst>
          </p:cNvPr>
          <p:cNvSpPr/>
          <p:nvPr userDrawn="1"/>
        </p:nvSpPr>
        <p:spPr>
          <a:xfrm>
            <a:off x="7958611" y="1353302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Flowchart: Process 6">
            <a:extLst>
              <a:ext uri="{FF2B5EF4-FFF2-40B4-BE49-F238E27FC236}">
                <a16:creationId xmlns:a16="http://schemas.microsoft.com/office/drawing/2014/main" id="{92B9C876-9F13-46FD-AFDA-C4890F90D80D}"/>
              </a:ext>
            </a:extLst>
          </p:cNvPr>
          <p:cNvSpPr/>
          <p:nvPr userDrawn="1"/>
        </p:nvSpPr>
        <p:spPr>
          <a:xfrm>
            <a:off x="0" y="4150895"/>
            <a:ext cx="12192000" cy="2707105"/>
          </a:xfrm>
          <a:prstGeom prst="flowChartProcess">
            <a:avLst/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8C559CA-829E-4075-86CD-9E9434AC4774}"/>
              </a:ext>
            </a:extLst>
          </p:cNvPr>
          <p:cNvSpPr/>
          <p:nvPr userDrawn="1"/>
        </p:nvSpPr>
        <p:spPr>
          <a:xfrm flipV="1">
            <a:off x="4644190" y="4151689"/>
            <a:ext cx="7540216" cy="2706309"/>
          </a:xfrm>
          <a:custGeom>
            <a:avLst/>
            <a:gdLst>
              <a:gd name="connsiteX0" fmla="*/ 0 w 4974502"/>
              <a:gd name="connsiteY0" fmla="*/ 0 h 3609474"/>
              <a:gd name="connsiteX1" fmla="*/ 4974502 w 4974502"/>
              <a:gd name="connsiteY1" fmla="*/ 0 h 3609474"/>
              <a:gd name="connsiteX2" fmla="*/ 4974502 w 4974502"/>
              <a:gd name="connsiteY2" fmla="*/ 3609474 h 3609474"/>
              <a:gd name="connsiteX3" fmla="*/ 1527096 w 4974502"/>
              <a:gd name="connsiteY3" fmla="*/ 3609474 h 3609474"/>
              <a:gd name="connsiteX4" fmla="*/ 0 w 4974502"/>
              <a:gd name="connsiteY4" fmla="*/ 0 h 3609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4502" h="3609474">
                <a:moveTo>
                  <a:pt x="0" y="0"/>
                </a:moveTo>
                <a:lnTo>
                  <a:pt x="4974502" y="0"/>
                </a:lnTo>
                <a:lnTo>
                  <a:pt x="4974502" y="3609474"/>
                </a:lnTo>
                <a:lnTo>
                  <a:pt x="1527096" y="3609474"/>
                </a:lnTo>
                <a:lnTo>
                  <a:pt x="0" y="0"/>
                </a:lnTo>
                <a:close/>
              </a:path>
            </a:pathLst>
          </a:custGeom>
          <a:solidFill>
            <a:srgbClr val="0979BF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C2E8EC-230E-4B35-9312-9C3A3EB38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575953-9E2E-4FC5-9D3A-B1765E3C50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981F499-E358-448D-9715-C3B4B716C0F5}"/>
              </a:ext>
            </a:extLst>
          </p:cNvPr>
          <p:cNvGrpSpPr/>
          <p:nvPr userDrawn="1"/>
        </p:nvGrpSpPr>
        <p:grpSpPr>
          <a:xfrm>
            <a:off x="0" y="1335506"/>
            <a:ext cx="7448524" cy="4872790"/>
            <a:chOff x="649599" y="997592"/>
            <a:chExt cx="10892802" cy="7126020"/>
          </a:xfrm>
          <a:effectLst>
            <a:outerShdw blurRad="3937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92562F9-EEF0-4AC5-BCCD-A99A17D7ECA8}"/>
                </a:ext>
              </a:extLst>
            </p:cNvPr>
            <p:cNvSpPr/>
            <p:nvPr/>
          </p:nvSpPr>
          <p:spPr>
            <a:xfrm>
              <a:off x="1844566" y="1434662"/>
              <a:ext cx="8592206" cy="449317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19965FC-BF0C-49BF-B082-84914D5169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9599" y="997592"/>
              <a:ext cx="10892802" cy="7126020"/>
            </a:xfrm>
            <a:prstGeom prst="rect">
              <a:avLst/>
            </a:prstGeom>
          </p:spPr>
        </p:pic>
      </p:grp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75DEB2C-09FB-47B7-9491-5F3E3E7882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48984" y="5090083"/>
            <a:ext cx="4350920" cy="1230754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Nunc </a:t>
            </a:r>
            <a:r>
              <a:rPr lang="en-US" dirty="0" err="1"/>
              <a:t>venenatis</a:t>
            </a:r>
            <a:r>
              <a:rPr lang="en-US" dirty="0"/>
              <a:t> ligula vel</a:t>
            </a:r>
            <a:endParaRPr lang="en-IN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9E17C96-74CF-4548-A652-87ABAB4142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336923" y="4450492"/>
            <a:ext cx="4350920" cy="398234"/>
          </a:xfrm>
        </p:spPr>
        <p:txBody>
          <a:bodyPr anchor="ctr">
            <a:norm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449D2E61-0F0D-4EBB-920A-1F58B22195AE}"/>
              </a:ext>
            </a:extLst>
          </p:cNvPr>
          <p:cNvSpPr/>
          <p:nvPr userDrawn="1"/>
        </p:nvSpPr>
        <p:spPr>
          <a:xfrm>
            <a:off x="7448524" y="1323474"/>
            <a:ext cx="911373" cy="589442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368B285C-887A-4876-91A8-014AC3DA0CBB}"/>
              </a:ext>
            </a:extLst>
          </p:cNvPr>
          <p:cNvSpPr/>
          <p:nvPr userDrawn="1"/>
        </p:nvSpPr>
        <p:spPr>
          <a:xfrm>
            <a:off x="7958611" y="2184101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13DE7A96-2355-4B43-877B-15EC2CA0AC5B}"/>
              </a:ext>
            </a:extLst>
          </p:cNvPr>
          <p:cNvSpPr/>
          <p:nvPr userDrawn="1"/>
        </p:nvSpPr>
        <p:spPr>
          <a:xfrm>
            <a:off x="7448524" y="2154273"/>
            <a:ext cx="911373" cy="589442"/>
          </a:xfrm>
          <a:prstGeom prst="parallelogram">
            <a:avLst>
              <a:gd name="adj" fmla="val 42022"/>
            </a:avLst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C23C08A6-601D-484B-876F-D412F2EA2AE7}"/>
              </a:ext>
            </a:extLst>
          </p:cNvPr>
          <p:cNvSpPr/>
          <p:nvPr userDrawn="1"/>
        </p:nvSpPr>
        <p:spPr>
          <a:xfrm>
            <a:off x="7958611" y="3014900"/>
            <a:ext cx="4674547" cy="529786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Parallelogram 17">
            <a:extLst>
              <a:ext uri="{FF2B5EF4-FFF2-40B4-BE49-F238E27FC236}">
                <a16:creationId xmlns:a16="http://schemas.microsoft.com/office/drawing/2014/main" id="{38CCED46-3718-464C-8576-3948424373F1}"/>
              </a:ext>
            </a:extLst>
          </p:cNvPr>
          <p:cNvSpPr/>
          <p:nvPr userDrawn="1"/>
        </p:nvSpPr>
        <p:spPr>
          <a:xfrm>
            <a:off x="7448524" y="2985072"/>
            <a:ext cx="911373" cy="589442"/>
          </a:xfrm>
          <a:prstGeom prst="parallelogram">
            <a:avLst>
              <a:gd name="adj" fmla="val 42022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F5F7E7E-8310-46D2-9AE9-7B1F7EA017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06326" y="1473271"/>
            <a:ext cx="3368174" cy="295371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6CC660F-6E5D-46CF-BDD4-BE5A0A948B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05825" y="2311831"/>
            <a:ext cx="3368675" cy="295275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0884FF8-35C7-4AB4-9E4B-397880A057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05825" y="3132903"/>
            <a:ext cx="3368675" cy="307975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9521098-2BBA-400D-AEC0-48D30FDE24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8464" y="1706567"/>
            <a:ext cx="5663865" cy="3000251"/>
          </a:xfrm>
          <a:solidFill>
            <a:srgbClr val="D9D9D9"/>
          </a:solidFill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234389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Mob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Process 7">
            <a:extLst>
              <a:ext uri="{FF2B5EF4-FFF2-40B4-BE49-F238E27FC236}">
                <a16:creationId xmlns:a16="http://schemas.microsoft.com/office/drawing/2014/main" id="{D12D6D9D-1167-48B5-B079-5FAE1F89F2D1}"/>
              </a:ext>
            </a:extLst>
          </p:cNvPr>
          <p:cNvSpPr/>
          <p:nvPr userDrawn="1"/>
        </p:nvSpPr>
        <p:spPr>
          <a:xfrm>
            <a:off x="0" y="3693695"/>
            <a:ext cx="12192000" cy="2638682"/>
          </a:xfrm>
          <a:prstGeom prst="flowChartProcess">
            <a:avLst/>
          </a:prstGeom>
          <a:solidFill>
            <a:srgbClr val="09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37D897-42C0-4D27-8C2A-98223B9E9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578E8E-073F-4DF3-A641-DABFF17053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605CE0-6E5C-4E1E-A231-8EC783EF28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7683" y="1175972"/>
            <a:ext cx="2139018" cy="40730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8A61FF2-E9C9-4356-98C4-9AB86735D1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49071" y="1175972"/>
            <a:ext cx="2139018" cy="40730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9DF3395-CC2C-4760-B1BF-197BCFAFEC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0459" y="1175972"/>
            <a:ext cx="2139018" cy="407300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874925-4BCA-44C0-9E35-8D7B7D8E02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91847" y="1175972"/>
            <a:ext cx="2139018" cy="4073002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576C1D-5395-43A9-B1C6-BB3C377F7C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6751" y="5376281"/>
            <a:ext cx="2139950" cy="305747"/>
          </a:xfrm>
        </p:spPr>
        <p:txBody>
          <a:bodyPr anchor="ctr">
            <a:no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3567DDD-9B1A-422B-BC08-5144EF9CD1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48140" y="5375916"/>
            <a:ext cx="2139949" cy="305747"/>
          </a:xfrm>
        </p:spPr>
        <p:txBody>
          <a:bodyPr>
            <a:no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49BD787-20EB-4BF3-95F3-A664FAC5C9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67787" y="5375275"/>
            <a:ext cx="2138362" cy="306388"/>
          </a:xfrm>
        </p:spPr>
        <p:txBody>
          <a:bodyPr>
            <a:no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D08461F-0A15-4486-8E2F-54F6278185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92503" y="5375275"/>
            <a:ext cx="2138362" cy="306388"/>
          </a:xfrm>
        </p:spPr>
        <p:txBody>
          <a:bodyPr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CACC7D7-4EDA-42BD-8A5A-75CEE19C57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7075" y="5809335"/>
            <a:ext cx="2141538" cy="286422"/>
          </a:xfrm>
        </p:spPr>
        <p:txBody>
          <a:bodyPr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 algn="ctr">
              <a:defRPr sz="12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200">
                <a:solidFill>
                  <a:schemeClr val="bg1"/>
                </a:solidFill>
              </a:defRPr>
            </a:lvl4pPr>
            <a:lvl5pPr algn="ctr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9E150A3-4BB2-4696-8940-4E9C40FB7E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48139" y="5808663"/>
            <a:ext cx="2139950" cy="306387"/>
          </a:xfrm>
        </p:spPr>
        <p:txBody>
          <a:bodyPr>
            <a:norm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E7F8A2B-F25C-4247-9886-7F1FC96381A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67787" y="5808663"/>
            <a:ext cx="2138362" cy="306387"/>
          </a:xfrm>
        </p:spPr>
        <p:txBody>
          <a:bodyPr>
            <a:norm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7436B8B-D895-4919-9092-577F4CC670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185847" y="5808663"/>
            <a:ext cx="2138362" cy="306387"/>
          </a:xfrm>
        </p:spPr>
        <p:txBody>
          <a:bodyPr>
            <a:norm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6A3E46E-BA7F-4B35-8181-9E12A3402E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6BD1AE45-FD8C-41E5-B0C4-CDFBB0DD3BA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861000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 Mobile and p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lowchart: Process 11">
            <a:extLst>
              <a:ext uri="{FF2B5EF4-FFF2-40B4-BE49-F238E27FC236}">
                <a16:creationId xmlns:a16="http://schemas.microsoft.com/office/drawing/2014/main" id="{81FC6466-15C5-4D5A-9125-C8927B9BE43C}"/>
              </a:ext>
            </a:extLst>
          </p:cNvPr>
          <p:cNvSpPr/>
          <p:nvPr userDrawn="1"/>
        </p:nvSpPr>
        <p:spPr>
          <a:xfrm>
            <a:off x="8458200" y="0"/>
            <a:ext cx="3733800" cy="6858000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8780F8-F96D-428F-9EFC-01A562A1FE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2294A0-18C6-4C7D-82FA-0BFB0F6E42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ABF571E-C8A3-4D79-A9CF-B83B26D654E1}"/>
              </a:ext>
            </a:extLst>
          </p:cNvPr>
          <p:cNvGrpSpPr/>
          <p:nvPr userDrawn="1"/>
        </p:nvGrpSpPr>
        <p:grpSpPr>
          <a:xfrm>
            <a:off x="0" y="1315208"/>
            <a:ext cx="7448524" cy="4872790"/>
            <a:chOff x="649599" y="997592"/>
            <a:chExt cx="10892802" cy="7126020"/>
          </a:xfrm>
          <a:effectLst/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A67CBF8-F34E-4C8E-853E-D753384B017B}"/>
                </a:ext>
              </a:extLst>
            </p:cNvPr>
            <p:cNvSpPr/>
            <p:nvPr/>
          </p:nvSpPr>
          <p:spPr>
            <a:xfrm>
              <a:off x="1844566" y="1434662"/>
              <a:ext cx="8592206" cy="449317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867048D-0E3C-4753-8593-344CD6E4ED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9599" y="997592"/>
              <a:ext cx="10892802" cy="7126020"/>
            </a:xfrm>
            <a:prstGeom prst="rect">
              <a:avLst/>
            </a:prstGeom>
          </p:spPr>
        </p:pic>
      </p:grp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EDEDD60-EABA-40E1-97EE-BBA07BB8F8B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90546" y="1665026"/>
            <a:ext cx="5735442" cy="3021273"/>
          </a:xfrm>
          <a:solidFill>
            <a:schemeClr val="bg1">
              <a:lumMod val="50000"/>
            </a:schemeClr>
          </a:solidFill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BF49936-396E-4D38-855F-98AE266AE192}"/>
              </a:ext>
            </a:extLst>
          </p:cNvPr>
          <p:cNvSpPr/>
          <p:nvPr userDrawn="1"/>
        </p:nvSpPr>
        <p:spPr>
          <a:xfrm>
            <a:off x="9781952" y="1"/>
            <a:ext cx="2410047" cy="772746"/>
          </a:xfrm>
          <a:custGeom>
            <a:avLst/>
            <a:gdLst>
              <a:gd name="connsiteX0" fmla="*/ 0 w 4974502"/>
              <a:gd name="connsiteY0" fmla="*/ 0 h 3609474"/>
              <a:gd name="connsiteX1" fmla="*/ 4974502 w 4974502"/>
              <a:gd name="connsiteY1" fmla="*/ 0 h 3609474"/>
              <a:gd name="connsiteX2" fmla="*/ 4974502 w 4974502"/>
              <a:gd name="connsiteY2" fmla="*/ 3609474 h 3609474"/>
              <a:gd name="connsiteX3" fmla="*/ 1527096 w 4974502"/>
              <a:gd name="connsiteY3" fmla="*/ 3609474 h 3609474"/>
              <a:gd name="connsiteX4" fmla="*/ 0 w 4974502"/>
              <a:gd name="connsiteY4" fmla="*/ 0 h 3609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74502" h="3609474">
                <a:moveTo>
                  <a:pt x="0" y="0"/>
                </a:moveTo>
                <a:lnTo>
                  <a:pt x="4974502" y="0"/>
                </a:lnTo>
                <a:lnTo>
                  <a:pt x="4974502" y="3609474"/>
                </a:lnTo>
                <a:lnTo>
                  <a:pt x="1527096" y="360947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006E04B-CBE0-4EF9-823F-EA59CA3610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0964" y="217023"/>
            <a:ext cx="1360409" cy="370833"/>
          </a:xfrm>
          <a:prstGeom prst="rect">
            <a:avLst/>
          </a:prstGeom>
        </p:spPr>
      </p:pic>
      <p:sp>
        <p:nvSpPr>
          <p:cNvPr id="15" name="Flowchart: Process 14">
            <a:extLst>
              <a:ext uri="{FF2B5EF4-FFF2-40B4-BE49-F238E27FC236}">
                <a16:creationId xmlns:a16="http://schemas.microsoft.com/office/drawing/2014/main" id="{2D858AA9-49B4-4E46-80BC-864CAF2A8B1C}"/>
              </a:ext>
            </a:extLst>
          </p:cNvPr>
          <p:cNvSpPr/>
          <p:nvPr userDrawn="1"/>
        </p:nvSpPr>
        <p:spPr>
          <a:xfrm>
            <a:off x="0" y="0"/>
            <a:ext cx="10058400" cy="45719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22AC6D32-93F5-442A-B0E9-2B55347D164E}"/>
              </a:ext>
            </a:extLst>
          </p:cNvPr>
          <p:cNvSpPr/>
          <p:nvPr userDrawn="1"/>
        </p:nvSpPr>
        <p:spPr>
          <a:xfrm>
            <a:off x="9288379" y="1850106"/>
            <a:ext cx="2903620" cy="377796"/>
          </a:xfrm>
          <a:prstGeom prst="flowChartProcess">
            <a:avLst/>
          </a:prstGeom>
          <a:solidFill>
            <a:srgbClr val="062E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F51B29E-7A7B-43F6-AFE7-CE8108A3E9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09852" y="1862138"/>
            <a:ext cx="2133600" cy="369190"/>
          </a:xfrm>
        </p:spPr>
        <p:txBody>
          <a:bodyPr anchor="ctr">
            <a:normAutofit/>
          </a:bodyPr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Flowchart: Process 18">
            <a:extLst>
              <a:ext uri="{FF2B5EF4-FFF2-40B4-BE49-F238E27FC236}">
                <a16:creationId xmlns:a16="http://schemas.microsoft.com/office/drawing/2014/main" id="{BE841E86-3298-43EB-9B05-E4C93477BDB4}"/>
              </a:ext>
            </a:extLst>
          </p:cNvPr>
          <p:cNvSpPr/>
          <p:nvPr userDrawn="1"/>
        </p:nvSpPr>
        <p:spPr>
          <a:xfrm>
            <a:off x="9288379" y="2533389"/>
            <a:ext cx="2903620" cy="377796"/>
          </a:xfrm>
          <a:prstGeom prst="flowChartProcess">
            <a:avLst/>
          </a:prstGeom>
          <a:solidFill>
            <a:srgbClr val="062E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D6584C1-0D75-4385-8471-2D57A3C81C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09175" y="2530632"/>
            <a:ext cx="2133600" cy="385763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Flowchart: Process 21">
            <a:extLst>
              <a:ext uri="{FF2B5EF4-FFF2-40B4-BE49-F238E27FC236}">
                <a16:creationId xmlns:a16="http://schemas.microsoft.com/office/drawing/2014/main" id="{8A573C22-1FC9-45CB-AD79-96FEF12BE2AE}"/>
              </a:ext>
            </a:extLst>
          </p:cNvPr>
          <p:cNvSpPr/>
          <p:nvPr userDrawn="1"/>
        </p:nvSpPr>
        <p:spPr>
          <a:xfrm>
            <a:off x="9288379" y="3240102"/>
            <a:ext cx="2903620" cy="377796"/>
          </a:xfrm>
          <a:prstGeom prst="flowChartProcess">
            <a:avLst/>
          </a:prstGeom>
          <a:solidFill>
            <a:srgbClr val="062E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02FF308-2757-4FA0-960A-7F06DDAF939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196136" y="1392498"/>
            <a:ext cx="2518452" cy="479549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5FF137D-4C21-4512-B3E8-6CCD0A8EC22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383439" y="1841500"/>
            <a:ext cx="2097445" cy="3921126"/>
          </a:xfrm>
          <a:solidFill>
            <a:schemeClr val="bg1">
              <a:lumMod val="5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D44AD38-C39B-43FF-909A-2F7561346F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909175" y="3232135"/>
            <a:ext cx="2133600" cy="385763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EC5BE98-FCDD-4FA3-9AD9-841A6AAAE4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09175" y="3958516"/>
            <a:ext cx="2133600" cy="180975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98987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09247E-B11A-4992-93FA-6E99DE252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AC9856-1F8F-4E0D-93AC-8B225B5350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7FC23B4-7F74-4EA8-BF34-711BEFCB3504}"/>
              </a:ext>
            </a:extLst>
          </p:cNvPr>
          <p:cNvGrpSpPr/>
          <p:nvPr userDrawn="1"/>
        </p:nvGrpSpPr>
        <p:grpSpPr>
          <a:xfrm>
            <a:off x="493294" y="5919538"/>
            <a:ext cx="11206609" cy="96252"/>
            <a:chOff x="493295" y="5955632"/>
            <a:chExt cx="12212050" cy="96252"/>
          </a:xfrm>
        </p:grpSpPr>
        <p:sp>
          <p:nvSpPr>
            <p:cNvPr id="4" name="Flowchart: Process 3">
              <a:extLst>
                <a:ext uri="{FF2B5EF4-FFF2-40B4-BE49-F238E27FC236}">
                  <a16:creationId xmlns:a16="http://schemas.microsoft.com/office/drawing/2014/main" id="{86BBF0D1-7D05-467E-B928-6E529D8AE107}"/>
                </a:ext>
              </a:extLst>
            </p:cNvPr>
            <p:cNvSpPr/>
            <p:nvPr userDrawn="1"/>
          </p:nvSpPr>
          <p:spPr>
            <a:xfrm>
              <a:off x="493295" y="5955632"/>
              <a:ext cx="2442410" cy="96252"/>
            </a:xfrm>
            <a:prstGeom prst="flowChartProcess">
              <a:avLst/>
            </a:prstGeom>
            <a:solidFill>
              <a:srgbClr val="097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" name="Flowchart: Process 4">
              <a:extLst>
                <a:ext uri="{FF2B5EF4-FFF2-40B4-BE49-F238E27FC236}">
                  <a16:creationId xmlns:a16="http://schemas.microsoft.com/office/drawing/2014/main" id="{943209DF-4C03-4682-A1B3-74172C718B91}"/>
                </a:ext>
              </a:extLst>
            </p:cNvPr>
            <p:cNvSpPr/>
            <p:nvPr userDrawn="1"/>
          </p:nvSpPr>
          <p:spPr>
            <a:xfrm>
              <a:off x="2935705" y="5955632"/>
              <a:ext cx="2442410" cy="96252"/>
            </a:xfrm>
            <a:prstGeom prst="flowChartProcess">
              <a:avLst/>
            </a:prstGeom>
            <a:solidFill>
              <a:srgbClr val="062E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" name="Flowchart: Process 5">
              <a:extLst>
                <a:ext uri="{FF2B5EF4-FFF2-40B4-BE49-F238E27FC236}">
                  <a16:creationId xmlns:a16="http://schemas.microsoft.com/office/drawing/2014/main" id="{77566417-DBB7-4D69-BE17-E6C871ABE5B6}"/>
                </a:ext>
              </a:extLst>
            </p:cNvPr>
            <p:cNvSpPr/>
            <p:nvPr userDrawn="1"/>
          </p:nvSpPr>
          <p:spPr>
            <a:xfrm>
              <a:off x="5378115" y="5955632"/>
              <a:ext cx="2442410" cy="96252"/>
            </a:xfrm>
            <a:prstGeom prst="flowChartProcess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" name="Flowchart: Process 6">
              <a:extLst>
                <a:ext uri="{FF2B5EF4-FFF2-40B4-BE49-F238E27FC236}">
                  <a16:creationId xmlns:a16="http://schemas.microsoft.com/office/drawing/2014/main" id="{B0EC5D2E-35C7-4F2D-A629-CBEC128C5FCC}"/>
                </a:ext>
              </a:extLst>
            </p:cNvPr>
            <p:cNvSpPr/>
            <p:nvPr userDrawn="1"/>
          </p:nvSpPr>
          <p:spPr>
            <a:xfrm>
              <a:off x="7820525" y="5955632"/>
              <a:ext cx="2442410" cy="96252"/>
            </a:xfrm>
            <a:prstGeom prst="flowChartProcess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8" name="Flowchart: Process 7">
              <a:extLst>
                <a:ext uri="{FF2B5EF4-FFF2-40B4-BE49-F238E27FC236}">
                  <a16:creationId xmlns:a16="http://schemas.microsoft.com/office/drawing/2014/main" id="{3BF74527-229E-4AA4-9877-07AA004C41EF}"/>
                </a:ext>
              </a:extLst>
            </p:cNvPr>
            <p:cNvSpPr/>
            <p:nvPr userDrawn="1"/>
          </p:nvSpPr>
          <p:spPr>
            <a:xfrm>
              <a:off x="10262935" y="5955632"/>
              <a:ext cx="2442410" cy="96252"/>
            </a:xfrm>
            <a:prstGeom prst="flowChartProcess">
              <a:avLst/>
            </a:prstGeom>
            <a:solidFill>
              <a:srgbClr val="0979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067D6A-5E67-4AD9-8B6F-E59A1A626658}"/>
              </a:ext>
            </a:extLst>
          </p:cNvPr>
          <p:cNvCxnSpPr>
            <a:stCxn id="4" idx="1"/>
          </p:cNvCxnSpPr>
          <p:nvPr userDrawn="1"/>
        </p:nvCxnSpPr>
        <p:spPr>
          <a:xfrm flipV="1">
            <a:off x="493294" y="1888958"/>
            <a:ext cx="0" cy="4078706"/>
          </a:xfrm>
          <a:prstGeom prst="line">
            <a:avLst/>
          </a:prstGeom>
          <a:ln>
            <a:solidFill>
              <a:srgbClr val="0979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FFA1FCD-6D70-48E6-8DEA-BDECEF6AA933}"/>
              </a:ext>
            </a:extLst>
          </p:cNvPr>
          <p:cNvGrpSpPr/>
          <p:nvPr userDrawn="1"/>
        </p:nvGrpSpPr>
        <p:grpSpPr>
          <a:xfrm>
            <a:off x="493294" y="1888958"/>
            <a:ext cx="300778" cy="1394108"/>
            <a:chOff x="493294" y="1888958"/>
            <a:chExt cx="300778" cy="139410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BE48CEF-CD91-4D6C-91EF-A8F854DE4357}"/>
                </a:ext>
              </a:extLst>
            </p:cNvPr>
            <p:cNvSpPr/>
            <p:nvPr userDrawn="1"/>
          </p:nvSpPr>
          <p:spPr>
            <a:xfrm>
              <a:off x="493294" y="1888958"/>
              <a:ext cx="300778" cy="10948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9EFDD7FB-E5A7-4CE6-8335-2A5B73DE8509}"/>
                </a:ext>
              </a:extLst>
            </p:cNvPr>
            <p:cNvSpPr/>
            <p:nvPr userDrawn="1"/>
          </p:nvSpPr>
          <p:spPr>
            <a:xfrm flipV="1">
              <a:off x="493294" y="2982288"/>
              <a:ext cx="300778" cy="300778"/>
            </a:xfrm>
            <a:prstGeom prst="rt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A403265-7B67-4E14-B093-113374213A57}"/>
              </a:ext>
            </a:extLst>
          </p:cNvPr>
          <p:cNvCxnSpPr/>
          <p:nvPr userDrawn="1"/>
        </p:nvCxnSpPr>
        <p:spPr>
          <a:xfrm flipV="1">
            <a:off x="2734616" y="1888958"/>
            <a:ext cx="0" cy="4078706"/>
          </a:xfrm>
          <a:prstGeom prst="line">
            <a:avLst/>
          </a:prstGeom>
          <a:ln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7C296F1-45C2-459C-8E11-81E8D74672CA}"/>
              </a:ext>
            </a:extLst>
          </p:cNvPr>
          <p:cNvGrpSpPr/>
          <p:nvPr userDrawn="1"/>
        </p:nvGrpSpPr>
        <p:grpSpPr>
          <a:xfrm>
            <a:off x="2734616" y="1888958"/>
            <a:ext cx="300778" cy="1394108"/>
            <a:chOff x="493294" y="1888958"/>
            <a:chExt cx="300778" cy="139410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E42CC36-CCB6-4D03-8431-A07BDAC1507C}"/>
                </a:ext>
              </a:extLst>
            </p:cNvPr>
            <p:cNvSpPr/>
            <p:nvPr userDrawn="1"/>
          </p:nvSpPr>
          <p:spPr>
            <a:xfrm>
              <a:off x="493294" y="1888958"/>
              <a:ext cx="300778" cy="1094874"/>
            </a:xfrm>
            <a:prstGeom prst="rect">
              <a:avLst/>
            </a:prstGeom>
            <a:solidFill>
              <a:srgbClr val="062E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8" name="Right Triangle 17">
              <a:extLst>
                <a:ext uri="{FF2B5EF4-FFF2-40B4-BE49-F238E27FC236}">
                  <a16:creationId xmlns:a16="http://schemas.microsoft.com/office/drawing/2014/main" id="{95CBFA15-2355-48CA-8A8C-E85ABD46DA9E}"/>
                </a:ext>
              </a:extLst>
            </p:cNvPr>
            <p:cNvSpPr/>
            <p:nvPr userDrawn="1"/>
          </p:nvSpPr>
          <p:spPr>
            <a:xfrm flipV="1">
              <a:off x="493294" y="2982288"/>
              <a:ext cx="300778" cy="300778"/>
            </a:xfrm>
            <a:prstGeom prst="rtTriangle">
              <a:avLst/>
            </a:prstGeom>
            <a:solidFill>
              <a:srgbClr val="062E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AC85AA4-9E2F-4A3F-A0AA-0900FBE57D89}"/>
              </a:ext>
            </a:extLst>
          </p:cNvPr>
          <p:cNvCxnSpPr/>
          <p:nvPr userDrawn="1"/>
        </p:nvCxnSpPr>
        <p:spPr>
          <a:xfrm flipV="1">
            <a:off x="4975938" y="1888958"/>
            <a:ext cx="0" cy="4078706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B168E65-4420-4D6C-8ACA-9CED2EECE195}"/>
              </a:ext>
            </a:extLst>
          </p:cNvPr>
          <p:cNvGrpSpPr/>
          <p:nvPr userDrawn="1"/>
        </p:nvGrpSpPr>
        <p:grpSpPr>
          <a:xfrm>
            <a:off x="4975938" y="1888958"/>
            <a:ext cx="300778" cy="1394108"/>
            <a:chOff x="493294" y="1888958"/>
            <a:chExt cx="300778" cy="1394108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2E009EE-24FE-423F-9B79-F78F5124308A}"/>
                </a:ext>
              </a:extLst>
            </p:cNvPr>
            <p:cNvSpPr/>
            <p:nvPr userDrawn="1"/>
          </p:nvSpPr>
          <p:spPr>
            <a:xfrm>
              <a:off x="493294" y="1888958"/>
              <a:ext cx="300778" cy="1094874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2" name="Right Triangle 21">
              <a:extLst>
                <a:ext uri="{FF2B5EF4-FFF2-40B4-BE49-F238E27FC236}">
                  <a16:creationId xmlns:a16="http://schemas.microsoft.com/office/drawing/2014/main" id="{C6F8FC01-A9DB-4F4A-9CE8-0A81B94F883E}"/>
                </a:ext>
              </a:extLst>
            </p:cNvPr>
            <p:cNvSpPr/>
            <p:nvPr userDrawn="1"/>
          </p:nvSpPr>
          <p:spPr>
            <a:xfrm flipV="1">
              <a:off x="493294" y="2982288"/>
              <a:ext cx="300778" cy="300778"/>
            </a:xfrm>
            <a:prstGeom prst="rtTriangle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30E5CA8-65DD-4AC0-9026-F9AA0A269BD8}"/>
              </a:ext>
            </a:extLst>
          </p:cNvPr>
          <p:cNvCxnSpPr/>
          <p:nvPr userDrawn="1"/>
        </p:nvCxnSpPr>
        <p:spPr>
          <a:xfrm flipV="1">
            <a:off x="7216063" y="1888958"/>
            <a:ext cx="0" cy="4078706"/>
          </a:xfrm>
          <a:prstGeom prst="line">
            <a:avLst/>
          </a:prstGeom>
          <a:ln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C8E9A0B-DD95-4AF3-82E3-6220AFD9C4AA}"/>
              </a:ext>
            </a:extLst>
          </p:cNvPr>
          <p:cNvGrpSpPr/>
          <p:nvPr userDrawn="1"/>
        </p:nvGrpSpPr>
        <p:grpSpPr>
          <a:xfrm>
            <a:off x="7216063" y="1888958"/>
            <a:ext cx="300778" cy="1394108"/>
            <a:chOff x="493294" y="1888958"/>
            <a:chExt cx="300778" cy="139410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B9126C8-C7F2-4E57-9E28-2764B26E642E}"/>
                </a:ext>
              </a:extLst>
            </p:cNvPr>
            <p:cNvSpPr/>
            <p:nvPr userDrawn="1"/>
          </p:nvSpPr>
          <p:spPr>
            <a:xfrm>
              <a:off x="493294" y="1888958"/>
              <a:ext cx="300778" cy="1094874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6" name="Right Triangle 25">
              <a:extLst>
                <a:ext uri="{FF2B5EF4-FFF2-40B4-BE49-F238E27FC236}">
                  <a16:creationId xmlns:a16="http://schemas.microsoft.com/office/drawing/2014/main" id="{3230A573-600F-44D4-8794-9A4C485718C9}"/>
                </a:ext>
              </a:extLst>
            </p:cNvPr>
            <p:cNvSpPr/>
            <p:nvPr userDrawn="1"/>
          </p:nvSpPr>
          <p:spPr>
            <a:xfrm flipV="1">
              <a:off x="493294" y="2982288"/>
              <a:ext cx="300778" cy="300778"/>
            </a:xfrm>
            <a:prstGeom prst="rtTriangle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24C252D-A014-4D1C-A589-1E8366AAF492}"/>
              </a:ext>
            </a:extLst>
          </p:cNvPr>
          <p:cNvCxnSpPr/>
          <p:nvPr userDrawn="1"/>
        </p:nvCxnSpPr>
        <p:spPr>
          <a:xfrm flipV="1">
            <a:off x="9456188" y="1888958"/>
            <a:ext cx="0" cy="4078706"/>
          </a:xfrm>
          <a:prstGeom prst="line">
            <a:avLst/>
          </a:prstGeom>
          <a:ln>
            <a:solidFill>
              <a:srgbClr val="0979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78FEF24-D267-41BF-9C66-78A873C5B3EC}"/>
              </a:ext>
            </a:extLst>
          </p:cNvPr>
          <p:cNvGrpSpPr/>
          <p:nvPr userDrawn="1"/>
        </p:nvGrpSpPr>
        <p:grpSpPr>
          <a:xfrm>
            <a:off x="9456188" y="1888958"/>
            <a:ext cx="300778" cy="1394108"/>
            <a:chOff x="493294" y="1888958"/>
            <a:chExt cx="300778" cy="1394108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91193D2-1341-4087-88C8-0CC3CE52E908}"/>
                </a:ext>
              </a:extLst>
            </p:cNvPr>
            <p:cNvSpPr/>
            <p:nvPr userDrawn="1"/>
          </p:nvSpPr>
          <p:spPr>
            <a:xfrm>
              <a:off x="493294" y="1888958"/>
              <a:ext cx="300778" cy="109487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0" name="Right Triangle 29">
              <a:extLst>
                <a:ext uri="{FF2B5EF4-FFF2-40B4-BE49-F238E27FC236}">
                  <a16:creationId xmlns:a16="http://schemas.microsoft.com/office/drawing/2014/main" id="{DE4F97C2-9B30-4103-9896-4C37F1B1D4F1}"/>
                </a:ext>
              </a:extLst>
            </p:cNvPr>
            <p:cNvSpPr/>
            <p:nvPr userDrawn="1"/>
          </p:nvSpPr>
          <p:spPr>
            <a:xfrm flipV="1">
              <a:off x="493294" y="2982288"/>
              <a:ext cx="300778" cy="300778"/>
            </a:xfrm>
            <a:prstGeom prst="rt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D6E8595-DFD4-49E6-8181-C0A4976927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613" y="3862137"/>
            <a:ext cx="2021299" cy="1938337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1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endParaRPr lang="en-IN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B6E0219-A4EE-42A3-A33A-61E38FBBE2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3613" y="3362700"/>
            <a:ext cx="2021637" cy="361032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BD47B2B-CAE7-4633-AF08-6FB2EC7132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44235" y="3362325"/>
            <a:ext cx="2020887" cy="36195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20DF0699-5B80-4FE6-B3E1-9A4E640EF9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9811" y="3862388"/>
            <a:ext cx="2024029" cy="1938337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10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2B42F75-3903-43E6-AC81-E28D503AF1A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86755" y="3362325"/>
            <a:ext cx="2028825" cy="36195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BBDF245C-115B-48F4-9FC3-2FA406C1A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76422" y="3862388"/>
            <a:ext cx="2028825" cy="1957387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10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E27D5830-6F39-45E6-8C3F-A2BFC44FDD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33620" y="3362325"/>
            <a:ext cx="2020888" cy="361950"/>
          </a:xfrm>
        </p:spPr>
        <p:txBody>
          <a:bodyPr anchor="ctr"/>
          <a:lstStyle>
            <a:lvl1pPr>
              <a:defRPr lang="en-US" sz="1400" b="1" kern="1200" smtClean="0">
                <a:solidFill>
                  <a:srgbClr val="0979BF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A322CDF2-74DB-449B-8A69-7CF75A9142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22" y="3862388"/>
            <a:ext cx="2104167" cy="1957387"/>
          </a:xfrm>
        </p:spPr>
        <p:txBody>
          <a:bodyPr/>
          <a:lstStyle>
            <a:lvl1pPr>
              <a:lnSpc>
                <a:spcPct val="150000"/>
              </a:lnSpc>
              <a:defRPr lang="en-US" sz="110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8BA44C2D-3D4D-4B3A-BEC5-46631B929BE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580486" y="3362325"/>
            <a:ext cx="2012950" cy="361950"/>
          </a:xfrm>
        </p:spPr>
        <p:txBody>
          <a:bodyPr anchor="ctr"/>
          <a:lstStyle>
            <a:lvl1pPr>
              <a:defRPr lang="en-US" sz="1400" b="1" kern="1200" dirty="0" smtClean="0">
                <a:solidFill>
                  <a:srgbClr val="0979BF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EB778F74-39C1-4610-B401-5FF02921342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80486" y="3862388"/>
            <a:ext cx="2035175" cy="19573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11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>
              <a:lnSpc>
                <a:spcPct val="150000"/>
              </a:lnSpc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AE0E0430-0F22-4EFE-9F45-3C8DBBE9CE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rot="16200000">
            <a:off x="156524" y="2285209"/>
            <a:ext cx="986503" cy="288590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AN 0000</a:t>
            </a:r>
            <a:endParaRPr lang="en-IN" dirty="0"/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E122DA8A-875A-4122-8EBC-96D30A9C35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16200000">
            <a:off x="2383267" y="2285210"/>
            <a:ext cx="986503" cy="288590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EB 0000</a:t>
            </a:r>
            <a:endParaRPr lang="en-IN" dirty="0"/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ADBD5C67-27F6-402E-BE38-EE68E4D8E5C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4645263" y="2285211"/>
            <a:ext cx="986503" cy="288590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MAR 0000</a:t>
            </a:r>
            <a:endParaRPr lang="en-IN" dirty="0"/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0A00043B-0F4F-487E-BD9E-63C470FCC74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rot="16200000">
            <a:off x="6885388" y="2285211"/>
            <a:ext cx="986503" cy="288590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PR 0000</a:t>
            </a:r>
            <a:endParaRPr lang="en-IN" dirty="0"/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4B640772-1F57-4366-BA06-B00DE05CBC7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rot="16200000">
            <a:off x="9125513" y="2285211"/>
            <a:ext cx="986503" cy="288590"/>
          </a:xfrm>
        </p:spPr>
        <p:txBody>
          <a:bodyPr anchor="ctr"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AY 0000</a:t>
            </a:r>
            <a:endParaRPr lang="en-IN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77F162A6-8C20-4A67-8B59-239BB9AB9DC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93750" y="1309887"/>
            <a:ext cx="1804988" cy="167302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3F2F3459-6A7A-480A-8FFA-21A08131585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035885" y="1309688"/>
            <a:ext cx="1820863" cy="16732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IN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B5387CF7-5233-4AF8-851A-F043135A38E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282810" y="1309688"/>
            <a:ext cx="1838325" cy="16859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19D2E1FE-D6F4-430A-9889-9A2F28710B5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526123" y="1309688"/>
            <a:ext cx="1846263" cy="16859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071C4F4C-1DB4-4D88-8B46-A0EB9373147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775246" y="1309688"/>
            <a:ext cx="1865312" cy="16859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8A431315-FDE7-41E5-AF9D-04DE76C585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9B54DDD2-84D2-4D59-9B57-E37C195E8D6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789597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897B1-89F8-44B9-BA35-168BB2E99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568A82-E209-49EA-9FC9-8CF3264173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C9E39FF7-5C7B-4AA3-8C1E-1878959262DA}"/>
              </a:ext>
            </a:extLst>
          </p:cNvPr>
          <p:cNvSpPr/>
          <p:nvPr userDrawn="1"/>
        </p:nvSpPr>
        <p:spPr>
          <a:xfrm>
            <a:off x="639679" y="3834861"/>
            <a:ext cx="1664640" cy="120316"/>
          </a:xfrm>
          <a:prstGeom prst="parallelogram">
            <a:avLst/>
          </a:prstGeom>
          <a:solidFill>
            <a:srgbClr val="09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ED87A302-F5D5-4D69-8AA8-D95E1665EF56}"/>
              </a:ext>
            </a:extLst>
          </p:cNvPr>
          <p:cNvSpPr/>
          <p:nvPr userDrawn="1"/>
        </p:nvSpPr>
        <p:spPr>
          <a:xfrm>
            <a:off x="2489279" y="3834861"/>
            <a:ext cx="1664640" cy="120316"/>
          </a:xfrm>
          <a:prstGeom prst="parallelogram">
            <a:avLst/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45416FE7-B8BE-423F-B885-D6514AA3AF2C}"/>
              </a:ext>
            </a:extLst>
          </p:cNvPr>
          <p:cNvSpPr/>
          <p:nvPr userDrawn="1"/>
        </p:nvSpPr>
        <p:spPr>
          <a:xfrm>
            <a:off x="4338880" y="3834861"/>
            <a:ext cx="1664640" cy="120316"/>
          </a:xfrm>
          <a:prstGeom prst="parallelogram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482C24D8-FFA0-49C3-A1BA-5EF22A462DA9}"/>
              </a:ext>
            </a:extLst>
          </p:cNvPr>
          <p:cNvSpPr/>
          <p:nvPr userDrawn="1"/>
        </p:nvSpPr>
        <p:spPr>
          <a:xfrm>
            <a:off x="6188480" y="3834861"/>
            <a:ext cx="1664640" cy="120316"/>
          </a:xfrm>
          <a:prstGeom prst="parallelogram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15DF4424-0251-49E7-B82D-1990C6374010}"/>
              </a:ext>
            </a:extLst>
          </p:cNvPr>
          <p:cNvSpPr/>
          <p:nvPr userDrawn="1"/>
        </p:nvSpPr>
        <p:spPr>
          <a:xfrm>
            <a:off x="8038080" y="3834861"/>
            <a:ext cx="1664640" cy="120316"/>
          </a:xfrm>
          <a:prstGeom prst="parallelogram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32225223-B41B-4908-A03F-8F1D4C22E7D6}"/>
              </a:ext>
            </a:extLst>
          </p:cNvPr>
          <p:cNvSpPr/>
          <p:nvPr userDrawn="1"/>
        </p:nvSpPr>
        <p:spPr>
          <a:xfrm>
            <a:off x="9887681" y="3834861"/>
            <a:ext cx="1664640" cy="120316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12D8CA-7B6A-4D49-9052-354E6F57A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680" y="4232320"/>
            <a:ext cx="1664640" cy="2290762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5953887-9FAA-4874-B36E-3F58D87DF9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89279" y="4231819"/>
            <a:ext cx="1665287" cy="2290762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lang="en-US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r>
              <a:rPr lang="en-US" dirty="0"/>
              <a:t>.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770BD33-65DD-4DF2-8EC1-77FFD35861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8232" y="4231819"/>
            <a:ext cx="1665288" cy="2290762"/>
          </a:xfrm>
        </p:spPr>
        <p:txBody>
          <a:bodyPr>
            <a:normAutofit/>
          </a:bodyPr>
          <a:lstStyle>
            <a:lvl1pPr>
              <a:defRPr lang="en-I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endParaRPr lang="en-IN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3E6F96C-E10E-44CA-89EA-0C12BDFA9E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9420" y="4231819"/>
            <a:ext cx="1663700" cy="2290762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endParaRPr lang="en-IN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AF653BC-DD40-4C57-AB1D-5EC4A248DE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39020" y="4231819"/>
            <a:ext cx="1663700" cy="2290762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12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endParaRPr lang="en-IN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FD16226-6688-4950-BFFF-83D5C691A0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88620" y="4231819"/>
            <a:ext cx="1663700" cy="229076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consectetu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a ant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 pharetra </a:t>
            </a:r>
            <a:r>
              <a:rPr lang="en-US" dirty="0" err="1"/>
              <a:t>suscipit</a:t>
            </a:r>
            <a:r>
              <a:rPr lang="en-US" dirty="0"/>
              <a:t> et at </a:t>
            </a:r>
            <a:r>
              <a:rPr lang="en-US" dirty="0" err="1"/>
              <a:t>justo</a:t>
            </a:r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03BFB308-5E36-4567-8D48-14DE8CBF1B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3" y="3318916"/>
            <a:ext cx="1663700" cy="337383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72BCCA93-938F-4C07-9354-1FDD4CF629B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489279" y="3319162"/>
            <a:ext cx="1663700" cy="336550"/>
          </a:xfrm>
        </p:spPr>
        <p:txBody>
          <a:bodyPr anchor="ctr"/>
          <a:lstStyle>
            <a:lvl1pPr>
              <a:defRPr b="1">
                <a:solidFill>
                  <a:srgbClr val="062E58"/>
                </a:solidFill>
              </a:defRPr>
            </a:lvl1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2DB26707-41BC-4AA1-A46C-0793C3B79A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9820" y="3319162"/>
            <a:ext cx="1663700" cy="336550"/>
          </a:xfrm>
        </p:spPr>
        <p:txBody>
          <a:bodyPr anchor="ctr">
            <a:normAutofit/>
          </a:bodyPr>
          <a:lstStyle>
            <a:lvl1pPr>
              <a:defRPr lang="en-IN" sz="1400" b="1" kern="1200" dirty="0"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DA1D03E1-7328-4FF6-8017-81E649FF82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89420" y="3319162"/>
            <a:ext cx="1663700" cy="336550"/>
          </a:xfrm>
        </p:spPr>
        <p:txBody>
          <a:bodyPr anchor="ctr"/>
          <a:lstStyle>
            <a:lvl1pPr>
              <a:defRPr b="1">
                <a:solidFill>
                  <a:srgbClr val="D9D9D9"/>
                </a:solidFill>
              </a:defRPr>
            </a:lvl1pPr>
          </a:lstStyle>
          <a:p>
            <a:pPr lvl="0"/>
            <a:r>
              <a:rPr lang="en-US" dirty="0"/>
              <a:t>Edit Master text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9BB27E9-9718-429F-9E54-52E1D6389B6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39020" y="3319162"/>
            <a:ext cx="1663700" cy="336550"/>
          </a:xfrm>
        </p:spPr>
        <p:txBody>
          <a:bodyPr anchor="ctr">
            <a:noAutofit/>
          </a:bodyPr>
          <a:lstStyle>
            <a:lvl1pPr>
              <a:defRPr lang="en-US" sz="1400" b="1" kern="1200" dirty="0" smtClean="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Edit Master text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0AABD052-A0F5-40FF-B110-24D99D844B7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885606" y="3319162"/>
            <a:ext cx="1663700" cy="336550"/>
          </a:xfrm>
        </p:spPr>
        <p:txBody>
          <a:bodyPr anchor="ctr"/>
          <a:lstStyle>
            <a:lvl1pPr>
              <a:defRPr lang="en-US" sz="1400" b="1" kern="1200" dirty="0" smtClean="0">
                <a:solidFill>
                  <a:srgbClr val="0079C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Master text</a:t>
            </a:r>
            <a:endParaRPr lang="en-IN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CBE98A1E-1679-42A5-A180-781ABB0CFE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9763" y="2710905"/>
            <a:ext cx="1662112" cy="469440"/>
          </a:xfrm>
        </p:spPr>
        <p:txBody>
          <a:bodyPr>
            <a:normAutofit/>
          </a:bodyPr>
          <a:lstStyle>
            <a:lvl1pPr>
              <a:defRPr sz="3600" b="1"/>
            </a:lvl1pPr>
          </a:lstStyle>
          <a:p>
            <a:pPr lvl="0"/>
            <a:r>
              <a:rPr lang="en-US" dirty="0"/>
              <a:t>0000</a:t>
            </a:r>
            <a:endParaRPr lang="en-IN" dirty="0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DA023151-317C-4E04-9BA3-F522ECCFB67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89279" y="2711609"/>
            <a:ext cx="1662112" cy="468313"/>
          </a:xfrm>
        </p:spPr>
        <p:txBody>
          <a:bodyPr>
            <a:noAutofit/>
          </a:bodyPr>
          <a:lstStyle>
            <a:lvl1pPr>
              <a:defRPr lang="en-IN" sz="3600" b="1" kern="1200" dirty="0">
                <a:solidFill>
                  <a:srgbClr val="062E58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0000</a:t>
            </a:r>
            <a:endParaRPr lang="en-IN" dirty="0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5D8AC348-7119-41F6-A361-C7CD2ED801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38232" y="2711609"/>
            <a:ext cx="1662113" cy="468313"/>
          </a:xfrm>
        </p:spPr>
        <p:txBody>
          <a:bodyPr/>
          <a:lstStyle>
            <a:lvl1pPr>
              <a:defRPr lang="en-IN" sz="3600" b="1" kern="1200" dirty="0"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0000</a:t>
            </a:r>
            <a:endParaRPr lang="en-IN" dirty="0"/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858BEC65-AA25-4802-84E8-8DC706B318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7186" y="2711609"/>
            <a:ext cx="1662112" cy="468313"/>
          </a:xfrm>
        </p:spPr>
        <p:txBody>
          <a:bodyPr>
            <a:noAutofit/>
          </a:bodyPr>
          <a:lstStyle>
            <a:lvl1pPr>
              <a:defRPr lang="en-IN" sz="3600" b="1" kern="1200" dirty="0">
                <a:solidFill>
                  <a:srgbClr val="D9D9D9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0000</a:t>
            </a:r>
            <a:endParaRPr lang="en-IN" dirty="0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8E822187-6B47-4AB7-BD68-54BC72062B4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34743" y="2711609"/>
            <a:ext cx="1662112" cy="468313"/>
          </a:xfrm>
        </p:spPr>
        <p:txBody>
          <a:bodyPr>
            <a:noAutofit/>
          </a:bodyPr>
          <a:lstStyle>
            <a:lvl1pPr>
              <a:defRPr lang="en-IN" sz="3600" b="1" kern="1200" dirty="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0000</a:t>
            </a:r>
            <a:endParaRPr lang="en-IN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582AE23-15E1-4A3A-978B-C43F7CCFB5F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881490" y="2711609"/>
            <a:ext cx="1662112" cy="468313"/>
          </a:xfrm>
        </p:spPr>
        <p:txBody>
          <a:bodyPr>
            <a:noAutofit/>
          </a:bodyPr>
          <a:lstStyle>
            <a:lvl1pPr>
              <a:defRPr sz="3600" b="1"/>
            </a:lvl1pPr>
          </a:lstStyle>
          <a:p>
            <a:pPr lvl="0"/>
            <a:r>
              <a:rPr lang="en-US" dirty="0"/>
              <a:t>0000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D752B16-F6CA-4497-847B-56A0D2E3265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9763" y="1091895"/>
            <a:ext cx="1662112" cy="14446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51616EC-1652-4047-A78A-42114D8BC57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2489279" y="1092200"/>
            <a:ext cx="1662112" cy="143986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00280D5-C13C-4F7A-AABD-8C0FF9BBE69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38231" y="1092200"/>
            <a:ext cx="1662113" cy="143351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B14961F-F252-4BC9-8F6B-84B3815A1A6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87184" y="1092200"/>
            <a:ext cx="1662112" cy="143351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4ACADFA-83E9-4C62-A755-D3C8176DD1E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034743" y="1092200"/>
            <a:ext cx="1662112" cy="143986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07C0B10C-4CCA-4F80-B020-330BA6F3C4A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881490" y="1092200"/>
            <a:ext cx="1662112" cy="1439863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0D61E914-F33B-4770-8C8C-1AB17DC3B2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E8B9306E-8F14-4163-B1D2-42CEE0184C2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6956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65A7D-0128-4C99-A929-FA2E2F0A2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AC4B1C-095F-4E64-AD56-3C133FC070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A5C9B33-046F-4B35-8BC7-44E14D7FEF97}"/>
              </a:ext>
            </a:extLst>
          </p:cNvPr>
          <p:cNvSpPr/>
          <p:nvPr userDrawn="1"/>
        </p:nvSpPr>
        <p:spPr>
          <a:xfrm>
            <a:off x="1945105" y="1182741"/>
            <a:ext cx="1010654" cy="101065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A2E053B-DAB7-47A2-AE93-E14CA12AE95E}"/>
              </a:ext>
            </a:extLst>
          </p:cNvPr>
          <p:cNvSpPr/>
          <p:nvPr userDrawn="1"/>
        </p:nvSpPr>
        <p:spPr>
          <a:xfrm>
            <a:off x="4375484" y="1182741"/>
            <a:ext cx="1010654" cy="1010654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03B78DA-815D-462B-B8EE-89AD064485B8}"/>
              </a:ext>
            </a:extLst>
          </p:cNvPr>
          <p:cNvSpPr/>
          <p:nvPr userDrawn="1"/>
        </p:nvSpPr>
        <p:spPr>
          <a:xfrm>
            <a:off x="6805863" y="1182741"/>
            <a:ext cx="1010654" cy="1010654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46367C8-A132-4348-9F9A-7E8B64AAFA4F}"/>
              </a:ext>
            </a:extLst>
          </p:cNvPr>
          <p:cNvSpPr/>
          <p:nvPr userDrawn="1"/>
        </p:nvSpPr>
        <p:spPr>
          <a:xfrm>
            <a:off x="9236242" y="1182741"/>
            <a:ext cx="1010654" cy="1010654"/>
          </a:xfrm>
          <a:prstGeom prst="ellipse">
            <a:avLst/>
          </a:prstGeom>
          <a:solidFill>
            <a:srgbClr val="025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0B63D3E-734E-4249-87C7-8F91EBE7E0D4}"/>
              </a:ext>
            </a:extLst>
          </p:cNvPr>
          <p:cNvSpPr/>
          <p:nvPr userDrawn="1"/>
        </p:nvSpPr>
        <p:spPr>
          <a:xfrm>
            <a:off x="1945105" y="3782870"/>
            <a:ext cx="1010654" cy="1010654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N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C56BC7B-A316-4DDB-B7A6-EC759FAF0F85}"/>
              </a:ext>
            </a:extLst>
          </p:cNvPr>
          <p:cNvSpPr/>
          <p:nvPr userDrawn="1"/>
        </p:nvSpPr>
        <p:spPr>
          <a:xfrm>
            <a:off x="4375484" y="3782870"/>
            <a:ext cx="1010654" cy="1010654"/>
          </a:xfrm>
          <a:prstGeom prst="ellipse">
            <a:avLst/>
          </a:prstGeom>
          <a:solidFill>
            <a:srgbClr val="025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232CBCF-8759-457B-A13C-EB9564CD24EB}"/>
              </a:ext>
            </a:extLst>
          </p:cNvPr>
          <p:cNvSpPr/>
          <p:nvPr userDrawn="1"/>
        </p:nvSpPr>
        <p:spPr>
          <a:xfrm>
            <a:off x="6805863" y="3782870"/>
            <a:ext cx="1010654" cy="1010654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0164859-C4E3-4412-8665-61468BC3260A}"/>
              </a:ext>
            </a:extLst>
          </p:cNvPr>
          <p:cNvSpPr/>
          <p:nvPr userDrawn="1"/>
        </p:nvSpPr>
        <p:spPr>
          <a:xfrm>
            <a:off x="9236242" y="3782870"/>
            <a:ext cx="1010654" cy="101065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7AD55A4-1D01-41B6-9069-F2A4A659B827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59653" y="2406898"/>
            <a:ext cx="2189663" cy="1163164"/>
          </a:xfr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lang="en-IN" sz="1200" b="0" i="0" smtClean="0">
                <a:effectLst/>
                <a:latin typeface="Open Sans bold" panose="020B08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B310ED5-F013-4198-814C-BF7BF0DB8D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5436" y="2406314"/>
            <a:ext cx="2190750" cy="1163637"/>
          </a:xfr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ED4FDDF-EE3A-4C20-B2E6-0255D77E6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2306" y="2406314"/>
            <a:ext cx="2189162" cy="1163637"/>
          </a:xfr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B2B62EB-3AE2-4D68-A33C-F6A74052A0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6277" y="2406314"/>
            <a:ext cx="2198687" cy="1168400"/>
          </a:xfr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lang="en-IN" sz="1200" b="1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1016AB1-0729-468C-8B28-308C336E75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8900" y="5006332"/>
            <a:ext cx="2190750" cy="1163637"/>
          </a:xfrm>
        </p:spPr>
        <p:txBody>
          <a:bodyPr>
            <a:normAutofit/>
          </a:bodyPr>
          <a:lstStyle>
            <a:lvl1pPr algn="ctr"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F7C18A7-5B10-4CFD-AC42-B80115879C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86188" y="5006332"/>
            <a:ext cx="2217570" cy="1162050"/>
          </a:xfrm>
        </p:spPr>
        <p:txBody>
          <a:bodyPr>
            <a:normAutofit/>
          </a:bodyPr>
          <a:lstStyle>
            <a:lvl1pPr algn="ctr">
              <a:lnSpc>
                <a:spcPct val="150000"/>
              </a:lnSpc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537480C1-17CC-4901-9DFE-CEAC2E6432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2306" y="5006975"/>
            <a:ext cx="2217737" cy="1162050"/>
          </a:xfrm>
        </p:spPr>
        <p:txBody>
          <a:bodyPr>
            <a:normAutofit/>
          </a:bodyPr>
          <a:lstStyle>
            <a:lvl1pPr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77AE0AD-0A12-4122-9697-678150B9BB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6414" y="5006975"/>
            <a:ext cx="2217737" cy="1162050"/>
          </a:xfr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IN" sz="1200" b="0" i="0" kern="1200" dirty="0"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A5F33FFE-6655-43A9-975E-560560B00D7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89763" y="312738"/>
            <a:ext cx="2671762" cy="376237"/>
          </a:xfrm>
        </p:spPr>
        <p:txBody>
          <a:bodyPr/>
          <a:lstStyle/>
          <a:p>
            <a:pPr lvl="0"/>
            <a:r>
              <a:rPr lang="en-US" dirty="0"/>
              <a:t>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94F4E16E-E732-4193-A8F8-CA54526263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E1CCBDC-1FD5-408F-BE58-0F1A9AA656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831892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D4C04-5C1E-43EA-AE45-7507819D36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6B363C-4587-4946-85CB-1310565F49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1AFC7BE0-3FA0-47D6-A21D-248E61BCACED}"/>
              </a:ext>
            </a:extLst>
          </p:cNvPr>
          <p:cNvGrpSpPr/>
          <p:nvPr userDrawn="1"/>
        </p:nvGrpSpPr>
        <p:grpSpPr>
          <a:xfrm>
            <a:off x="1307092" y="1519568"/>
            <a:ext cx="9733431" cy="4812809"/>
            <a:chOff x="1307092" y="1717562"/>
            <a:chExt cx="9733431" cy="4812809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462C9565-3AC7-4C6C-9492-9E853458F2C1}"/>
                </a:ext>
              </a:extLst>
            </p:cNvPr>
            <p:cNvGrpSpPr/>
            <p:nvPr userDrawn="1"/>
          </p:nvGrpSpPr>
          <p:grpSpPr>
            <a:xfrm>
              <a:off x="1307092" y="1717562"/>
              <a:ext cx="9733431" cy="4812809"/>
              <a:chOff x="15793010" y="1450997"/>
              <a:chExt cx="10523950" cy="5203690"/>
            </a:xfrm>
            <a:solidFill>
              <a:srgbClr val="D9D9D9"/>
            </a:solidFill>
          </p:grpSpPr>
          <p:grpSp>
            <p:nvGrpSpPr>
              <p:cNvPr id="154" name="Group 153">
                <a:extLst>
                  <a:ext uri="{FF2B5EF4-FFF2-40B4-BE49-F238E27FC236}">
                    <a16:creationId xmlns:a16="http://schemas.microsoft.com/office/drawing/2014/main" id="{1AA452EF-28C0-4245-8706-C8D8F32B7C05}"/>
                  </a:ext>
                </a:extLst>
              </p:cNvPr>
              <p:cNvGrpSpPr/>
              <p:nvPr/>
            </p:nvGrpSpPr>
            <p:grpSpPr>
              <a:xfrm>
                <a:off x="15793010" y="1450997"/>
                <a:ext cx="10523950" cy="5203690"/>
                <a:chOff x="-19432366" y="-14195247"/>
                <a:chExt cx="17860360" cy="8831264"/>
              </a:xfrm>
              <a:grpFill/>
            </p:grpSpPr>
            <p:sp>
              <p:nvSpPr>
                <p:cNvPr id="174" name="Freeform 56">
                  <a:extLst>
                    <a:ext uri="{FF2B5EF4-FFF2-40B4-BE49-F238E27FC236}">
                      <a16:creationId xmlns:a16="http://schemas.microsoft.com/office/drawing/2014/main" id="{EFF770A4-E044-45D2-A953-93D2895BCC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303819" y="-10309880"/>
                  <a:ext cx="74595" cy="90810"/>
                </a:xfrm>
                <a:custGeom>
                  <a:avLst/>
                  <a:gdLst>
                    <a:gd name="T0" fmla="*/ 10 w 12"/>
                    <a:gd name="T1" fmla="*/ 6 h 15"/>
                    <a:gd name="T2" fmla="*/ 6 w 12"/>
                    <a:gd name="T3" fmla="*/ 0 h 15"/>
                    <a:gd name="T4" fmla="*/ 6 w 12"/>
                    <a:gd name="T5" fmla="*/ 1 h 15"/>
                    <a:gd name="T6" fmla="*/ 0 w 12"/>
                    <a:gd name="T7" fmla="*/ 13 h 15"/>
                    <a:gd name="T8" fmla="*/ 4 w 12"/>
                    <a:gd name="T9" fmla="*/ 15 h 15"/>
                    <a:gd name="T10" fmla="*/ 10 w 12"/>
                    <a:gd name="T11" fmla="*/ 6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15">
                      <a:moveTo>
                        <a:pt x="10" y="6"/>
                      </a:moveTo>
                      <a:cubicBezTo>
                        <a:pt x="11" y="5"/>
                        <a:pt x="12" y="0"/>
                        <a:pt x="6" y="0"/>
                      </a:cubicBezTo>
                      <a:cubicBezTo>
                        <a:pt x="6" y="0"/>
                        <a:pt x="6" y="1"/>
                        <a:pt x="6" y="1"/>
                      </a:cubicBezTo>
                      <a:cubicBezTo>
                        <a:pt x="6" y="3"/>
                        <a:pt x="2" y="9"/>
                        <a:pt x="0" y="13"/>
                      </a:cubicBezTo>
                      <a:cubicBezTo>
                        <a:pt x="4" y="15"/>
                        <a:pt x="4" y="15"/>
                        <a:pt x="4" y="15"/>
                      </a:cubicBezTo>
                      <a:cubicBezTo>
                        <a:pt x="6" y="11"/>
                        <a:pt x="9" y="7"/>
                        <a:pt x="10" y="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75" name="Freeform 57">
                  <a:extLst>
                    <a:ext uri="{FF2B5EF4-FFF2-40B4-BE49-F238E27FC236}">
                      <a16:creationId xmlns:a16="http://schemas.microsoft.com/office/drawing/2014/main" id="{01D6940C-217F-4ADA-9F9A-FBB35495B3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277874" y="-10452582"/>
                  <a:ext cx="340538" cy="278916"/>
                </a:xfrm>
                <a:custGeom>
                  <a:avLst/>
                  <a:gdLst>
                    <a:gd name="T0" fmla="*/ 6 w 55"/>
                    <a:gd name="T1" fmla="*/ 29 h 45"/>
                    <a:gd name="T2" fmla="*/ 0 w 55"/>
                    <a:gd name="T3" fmla="*/ 38 h 45"/>
                    <a:gd name="T4" fmla="*/ 0 w 55"/>
                    <a:gd name="T5" fmla="*/ 38 h 45"/>
                    <a:gd name="T6" fmla="*/ 1 w 55"/>
                    <a:gd name="T7" fmla="*/ 41 h 45"/>
                    <a:gd name="T8" fmla="*/ 8 w 55"/>
                    <a:gd name="T9" fmla="*/ 45 h 45"/>
                    <a:gd name="T10" fmla="*/ 16 w 55"/>
                    <a:gd name="T11" fmla="*/ 40 h 45"/>
                    <a:gd name="T12" fmla="*/ 43 w 55"/>
                    <a:gd name="T13" fmla="*/ 26 h 45"/>
                    <a:gd name="T14" fmla="*/ 45 w 55"/>
                    <a:gd name="T15" fmla="*/ 22 h 45"/>
                    <a:gd name="T16" fmla="*/ 46 w 55"/>
                    <a:gd name="T17" fmla="*/ 15 h 45"/>
                    <a:gd name="T18" fmla="*/ 45 w 55"/>
                    <a:gd name="T19" fmla="*/ 9 h 45"/>
                    <a:gd name="T20" fmla="*/ 50 w 55"/>
                    <a:gd name="T21" fmla="*/ 5 h 45"/>
                    <a:gd name="T22" fmla="*/ 55 w 55"/>
                    <a:gd name="T23" fmla="*/ 1 h 45"/>
                    <a:gd name="T24" fmla="*/ 52 w 55"/>
                    <a:gd name="T25" fmla="*/ 0 h 45"/>
                    <a:gd name="T26" fmla="*/ 43 w 55"/>
                    <a:gd name="T27" fmla="*/ 2 h 45"/>
                    <a:gd name="T28" fmla="*/ 32 w 55"/>
                    <a:gd name="T29" fmla="*/ 5 h 45"/>
                    <a:gd name="T30" fmla="*/ 23 w 55"/>
                    <a:gd name="T31" fmla="*/ 5 h 45"/>
                    <a:gd name="T32" fmla="*/ 18 w 55"/>
                    <a:gd name="T33" fmla="*/ 6 h 45"/>
                    <a:gd name="T34" fmla="*/ 11 w 55"/>
                    <a:gd name="T35" fmla="*/ 6 h 45"/>
                    <a:gd name="T36" fmla="*/ 7 w 55"/>
                    <a:gd name="T37" fmla="*/ 7 h 45"/>
                    <a:gd name="T38" fmla="*/ 3 w 55"/>
                    <a:gd name="T39" fmla="*/ 13 h 45"/>
                    <a:gd name="T40" fmla="*/ 3 w 55"/>
                    <a:gd name="T41" fmla="*/ 17 h 45"/>
                    <a:gd name="T42" fmla="*/ 2 w 55"/>
                    <a:gd name="T43" fmla="*/ 23 h 45"/>
                    <a:gd name="T44" fmla="*/ 6 w 55"/>
                    <a:gd name="T45" fmla="*/ 29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5" h="45">
                      <a:moveTo>
                        <a:pt x="6" y="29"/>
                      </a:moveTo>
                      <a:cubicBezTo>
                        <a:pt x="5" y="30"/>
                        <a:pt x="2" y="34"/>
                        <a:pt x="0" y="38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1" y="41"/>
                        <a:pt x="1" y="41"/>
                        <a:pt x="1" y="41"/>
                      </a:cubicBezTo>
                      <a:cubicBezTo>
                        <a:pt x="8" y="45"/>
                        <a:pt x="8" y="45"/>
                        <a:pt x="8" y="45"/>
                      </a:cubicBezTo>
                      <a:cubicBezTo>
                        <a:pt x="8" y="45"/>
                        <a:pt x="13" y="41"/>
                        <a:pt x="16" y="40"/>
                      </a:cubicBezTo>
                      <a:cubicBezTo>
                        <a:pt x="18" y="40"/>
                        <a:pt x="43" y="26"/>
                        <a:pt x="43" y="26"/>
                      </a:cubicBezTo>
                      <a:cubicBezTo>
                        <a:pt x="43" y="26"/>
                        <a:pt x="45" y="23"/>
                        <a:pt x="45" y="22"/>
                      </a:cubicBezTo>
                      <a:cubicBezTo>
                        <a:pt x="45" y="20"/>
                        <a:pt x="45" y="17"/>
                        <a:pt x="46" y="15"/>
                      </a:cubicBezTo>
                      <a:cubicBezTo>
                        <a:pt x="47" y="14"/>
                        <a:pt x="44" y="11"/>
                        <a:pt x="45" y="9"/>
                      </a:cubicBezTo>
                      <a:cubicBezTo>
                        <a:pt x="46" y="6"/>
                        <a:pt x="50" y="5"/>
                        <a:pt x="50" y="5"/>
                      </a:cubicBezTo>
                      <a:cubicBezTo>
                        <a:pt x="55" y="1"/>
                        <a:pt x="55" y="1"/>
                        <a:pt x="55" y="1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2" y="0"/>
                        <a:pt x="48" y="2"/>
                        <a:pt x="43" y="2"/>
                      </a:cubicBezTo>
                      <a:cubicBezTo>
                        <a:pt x="38" y="1"/>
                        <a:pt x="37" y="5"/>
                        <a:pt x="32" y="5"/>
                      </a:cubicBezTo>
                      <a:cubicBezTo>
                        <a:pt x="27" y="5"/>
                        <a:pt x="24" y="6"/>
                        <a:pt x="23" y="5"/>
                      </a:cubicBezTo>
                      <a:cubicBezTo>
                        <a:pt x="22" y="3"/>
                        <a:pt x="21" y="4"/>
                        <a:pt x="18" y="6"/>
                      </a:cubicBezTo>
                      <a:cubicBezTo>
                        <a:pt x="14" y="7"/>
                        <a:pt x="12" y="7"/>
                        <a:pt x="11" y="6"/>
                      </a:cubicBezTo>
                      <a:cubicBezTo>
                        <a:pt x="9" y="4"/>
                        <a:pt x="8" y="6"/>
                        <a:pt x="7" y="7"/>
                      </a:cubicBezTo>
                      <a:cubicBezTo>
                        <a:pt x="7" y="9"/>
                        <a:pt x="8" y="12"/>
                        <a:pt x="3" y="13"/>
                      </a:cubicBezTo>
                      <a:cubicBezTo>
                        <a:pt x="2" y="14"/>
                        <a:pt x="2" y="16"/>
                        <a:pt x="3" y="17"/>
                      </a:cubicBezTo>
                      <a:cubicBezTo>
                        <a:pt x="4" y="19"/>
                        <a:pt x="2" y="20"/>
                        <a:pt x="2" y="23"/>
                      </a:cubicBezTo>
                      <a:cubicBezTo>
                        <a:pt x="8" y="23"/>
                        <a:pt x="7" y="28"/>
                        <a:pt x="6" y="2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76" name="Freeform 58">
                  <a:extLst>
                    <a:ext uri="{FF2B5EF4-FFF2-40B4-BE49-F238E27FC236}">
                      <a16:creationId xmlns:a16="http://schemas.microsoft.com/office/drawing/2014/main" id="{286D9925-BF9F-4FD4-85E4-39E14A7F83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811974" y="-10507715"/>
                  <a:ext cx="194593" cy="233511"/>
                </a:xfrm>
                <a:custGeom>
                  <a:avLst/>
                  <a:gdLst>
                    <a:gd name="T0" fmla="*/ 8 w 31"/>
                    <a:gd name="T1" fmla="*/ 3 h 38"/>
                    <a:gd name="T2" fmla="*/ 3 w 31"/>
                    <a:gd name="T3" fmla="*/ 6 h 38"/>
                    <a:gd name="T4" fmla="*/ 6 w 31"/>
                    <a:gd name="T5" fmla="*/ 11 h 38"/>
                    <a:gd name="T6" fmla="*/ 5 w 31"/>
                    <a:gd name="T7" fmla="*/ 14 h 38"/>
                    <a:gd name="T8" fmla="*/ 5 w 31"/>
                    <a:gd name="T9" fmla="*/ 21 h 38"/>
                    <a:gd name="T10" fmla="*/ 2 w 31"/>
                    <a:gd name="T11" fmla="*/ 31 h 38"/>
                    <a:gd name="T12" fmla="*/ 4 w 31"/>
                    <a:gd name="T13" fmla="*/ 37 h 38"/>
                    <a:gd name="T14" fmla="*/ 19 w 31"/>
                    <a:gd name="T15" fmla="*/ 32 h 38"/>
                    <a:gd name="T16" fmla="*/ 27 w 31"/>
                    <a:gd name="T17" fmla="*/ 28 h 38"/>
                    <a:gd name="T18" fmla="*/ 30 w 31"/>
                    <a:gd name="T19" fmla="*/ 25 h 38"/>
                    <a:gd name="T20" fmla="*/ 28 w 31"/>
                    <a:gd name="T21" fmla="*/ 13 h 38"/>
                    <a:gd name="T22" fmla="*/ 20 w 31"/>
                    <a:gd name="T23" fmla="*/ 0 h 38"/>
                    <a:gd name="T24" fmla="*/ 15 w 31"/>
                    <a:gd name="T25" fmla="*/ 1 h 38"/>
                    <a:gd name="T26" fmla="*/ 8 w 31"/>
                    <a:gd name="T27" fmla="*/ 3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" h="38">
                      <a:moveTo>
                        <a:pt x="8" y="3"/>
                      </a:moveTo>
                      <a:cubicBezTo>
                        <a:pt x="7" y="3"/>
                        <a:pt x="5" y="5"/>
                        <a:pt x="3" y="6"/>
                      </a:cubicBezTo>
                      <a:cubicBezTo>
                        <a:pt x="4" y="8"/>
                        <a:pt x="4" y="10"/>
                        <a:pt x="6" y="11"/>
                      </a:cubicBezTo>
                      <a:cubicBezTo>
                        <a:pt x="8" y="11"/>
                        <a:pt x="8" y="15"/>
                        <a:pt x="5" y="14"/>
                      </a:cubicBezTo>
                      <a:cubicBezTo>
                        <a:pt x="3" y="13"/>
                        <a:pt x="3" y="18"/>
                        <a:pt x="5" y="21"/>
                      </a:cubicBezTo>
                      <a:cubicBezTo>
                        <a:pt x="7" y="25"/>
                        <a:pt x="0" y="29"/>
                        <a:pt x="2" y="31"/>
                      </a:cubicBezTo>
                      <a:cubicBezTo>
                        <a:pt x="4" y="33"/>
                        <a:pt x="3" y="35"/>
                        <a:pt x="4" y="37"/>
                      </a:cubicBezTo>
                      <a:cubicBezTo>
                        <a:pt x="4" y="38"/>
                        <a:pt x="14" y="36"/>
                        <a:pt x="19" y="32"/>
                      </a:cubicBezTo>
                      <a:cubicBezTo>
                        <a:pt x="23" y="27"/>
                        <a:pt x="24" y="28"/>
                        <a:pt x="27" y="28"/>
                      </a:cubicBezTo>
                      <a:cubicBezTo>
                        <a:pt x="29" y="29"/>
                        <a:pt x="31" y="27"/>
                        <a:pt x="30" y="25"/>
                      </a:cubicBezTo>
                      <a:cubicBezTo>
                        <a:pt x="29" y="23"/>
                        <a:pt x="28" y="19"/>
                        <a:pt x="28" y="13"/>
                      </a:cubicBezTo>
                      <a:cubicBezTo>
                        <a:pt x="28" y="10"/>
                        <a:pt x="24" y="4"/>
                        <a:pt x="20" y="0"/>
                      </a:cubicBezTo>
                      <a:cubicBezTo>
                        <a:pt x="18" y="1"/>
                        <a:pt x="17" y="1"/>
                        <a:pt x="15" y="1"/>
                      </a:cubicBezTo>
                      <a:cubicBezTo>
                        <a:pt x="12" y="1"/>
                        <a:pt x="9" y="1"/>
                        <a:pt x="8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77" name="Freeform 59">
                  <a:extLst>
                    <a:ext uri="{FF2B5EF4-FFF2-40B4-BE49-F238E27FC236}">
                      <a16:creationId xmlns:a16="http://schemas.microsoft.com/office/drawing/2014/main" id="{8104C36B-EA4E-4642-8E11-F69E123608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676819" y="-9849345"/>
                  <a:ext cx="223783" cy="291889"/>
                </a:xfrm>
                <a:custGeom>
                  <a:avLst/>
                  <a:gdLst>
                    <a:gd name="T0" fmla="*/ 36 w 36"/>
                    <a:gd name="T1" fmla="*/ 40 h 47"/>
                    <a:gd name="T2" fmla="*/ 33 w 36"/>
                    <a:gd name="T3" fmla="*/ 24 h 47"/>
                    <a:gd name="T4" fmla="*/ 27 w 36"/>
                    <a:gd name="T5" fmla="*/ 30 h 47"/>
                    <a:gd name="T6" fmla="*/ 27 w 36"/>
                    <a:gd name="T7" fmla="*/ 22 h 47"/>
                    <a:gd name="T8" fmla="*/ 33 w 36"/>
                    <a:gd name="T9" fmla="*/ 14 h 47"/>
                    <a:gd name="T10" fmla="*/ 28 w 36"/>
                    <a:gd name="T11" fmla="*/ 12 h 47"/>
                    <a:gd name="T12" fmla="*/ 19 w 36"/>
                    <a:gd name="T13" fmla="*/ 12 h 47"/>
                    <a:gd name="T14" fmla="*/ 15 w 36"/>
                    <a:gd name="T15" fmla="*/ 8 h 47"/>
                    <a:gd name="T16" fmla="*/ 9 w 36"/>
                    <a:gd name="T17" fmla="*/ 4 h 47"/>
                    <a:gd name="T18" fmla="*/ 3 w 36"/>
                    <a:gd name="T19" fmla="*/ 4 h 47"/>
                    <a:gd name="T20" fmla="*/ 8 w 36"/>
                    <a:gd name="T21" fmla="*/ 11 h 47"/>
                    <a:gd name="T22" fmla="*/ 4 w 36"/>
                    <a:gd name="T23" fmla="*/ 14 h 47"/>
                    <a:gd name="T24" fmla="*/ 6 w 36"/>
                    <a:gd name="T25" fmla="*/ 26 h 47"/>
                    <a:gd name="T26" fmla="*/ 8 w 36"/>
                    <a:gd name="T27" fmla="*/ 41 h 47"/>
                    <a:gd name="T28" fmla="*/ 14 w 36"/>
                    <a:gd name="T29" fmla="*/ 39 h 47"/>
                    <a:gd name="T30" fmla="*/ 20 w 36"/>
                    <a:gd name="T31" fmla="*/ 36 h 47"/>
                    <a:gd name="T32" fmla="*/ 25 w 36"/>
                    <a:gd name="T33" fmla="*/ 32 h 47"/>
                    <a:gd name="T34" fmla="*/ 29 w 36"/>
                    <a:gd name="T35" fmla="*/ 43 h 47"/>
                    <a:gd name="T36" fmla="*/ 31 w 36"/>
                    <a:gd name="T37" fmla="*/ 47 h 47"/>
                    <a:gd name="T38" fmla="*/ 33 w 36"/>
                    <a:gd name="T39" fmla="*/ 45 h 47"/>
                    <a:gd name="T40" fmla="*/ 36 w 36"/>
                    <a:gd name="T41" fmla="*/ 4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6" h="47">
                      <a:moveTo>
                        <a:pt x="36" y="40"/>
                      </a:moveTo>
                      <a:cubicBezTo>
                        <a:pt x="34" y="32"/>
                        <a:pt x="34" y="24"/>
                        <a:pt x="33" y="24"/>
                      </a:cubicBezTo>
                      <a:cubicBezTo>
                        <a:pt x="31" y="24"/>
                        <a:pt x="29" y="31"/>
                        <a:pt x="27" y="30"/>
                      </a:cubicBezTo>
                      <a:cubicBezTo>
                        <a:pt x="24" y="30"/>
                        <a:pt x="24" y="22"/>
                        <a:pt x="27" y="22"/>
                      </a:cubicBezTo>
                      <a:cubicBezTo>
                        <a:pt x="30" y="22"/>
                        <a:pt x="33" y="16"/>
                        <a:pt x="33" y="14"/>
                      </a:cubicBezTo>
                      <a:cubicBezTo>
                        <a:pt x="33" y="12"/>
                        <a:pt x="31" y="12"/>
                        <a:pt x="28" y="12"/>
                      </a:cubicBezTo>
                      <a:cubicBezTo>
                        <a:pt x="25" y="12"/>
                        <a:pt x="19" y="12"/>
                        <a:pt x="19" y="12"/>
                      </a:cubicBezTo>
                      <a:cubicBezTo>
                        <a:pt x="19" y="12"/>
                        <a:pt x="15" y="11"/>
                        <a:pt x="15" y="8"/>
                      </a:cubicBezTo>
                      <a:cubicBezTo>
                        <a:pt x="15" y="6"/>
                        <a:pt x="13" y="4"/>
                        <a:pt x="9" y="4"/>
                      </a:cubicBezTo>
                      <a:cubicBezTo>
                        <a:pt x="6" y="4"/>
                        <a:pt x="6" y="0"/>
                        <a:pt x="3" y="4"/>
                      </a:cubicBezTo>
                      <a:cubicBezTo>
                        <a:pt x="0" y="8"/>
                        <a:pt x="9" y="8"/>
                        <a:pt x="8" y="11"/>
                      </a:cubicBezTo>
                      <a:cubicBezTo>
                        <a:pt x="7" y="14"/>
                        <a:pt x="4" y="12"/>
                        <a:pt x="4" y="14"/>
                      </a:cubicBezTo>
                      <a:cubicBezTo>
                        <a:pt x="3" y="16"/>
                        <a:pt x="4" y="23"/>
                        <a:pt x="6" y="26"/>
                      </a:cubicBezTo>
                      <a:cubicBezTo>
                        <a:pt x="7" y="29"/>
                        <a:pt x="8" y="35"/>
                        <a:pt x="8" y="41"/>
                      </a:cubicBezTo>
                      <a:cubicBezTo>
                        <a:pt x="11" y="40"/>
                        <a:pt x="12" y="39"/>
                        <a:pt x="14" y="39"/>
                      </a:cubicBezTo>
                      <a:cubicBezTo>
                        <a:pt x="16" y="39"/>
                        <a:pt x="20" y="39"/>
                        <a:pt x="20" y="36"/>
                      </a:cubicBezTo>
                      <a:cubicBezTo>
                        <a:pt x="20" y="34"/>
                        <a:pt x="23" y="32"/>
                        <a:pt x="25" y="32"/>
                      </a:cubicBezTo>
                      <a:cubicBezTo>
                        <a:pt x="27" y="33"/>
                        <a:pt x="29" y="40"/>
                        <a:pt x="29" y="43"/>
                      </a:cubicBezTo>
                      <a:cubicBezTo>
                        <a:pt x="29" y="44"/>
                        <a:pt x="30" y="46"/>
                        <a:pt x="31" y="47"/>
                      </a:cubicBezTo>
                      <a:cubicBezTo>
                        <a:pt x="32" y="46"/>
                        <a:pt x="33" y="45"/>
                        <a:pt x="33" y="45"/>
                      </a:cubicBezTo>
                      <a:cubicBezTo>
                        <a:pt x="33" y="45"/>
                        <a:pt x="34" y="41"/>
                        <a:pt x="36" y="4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78" name="Freeform 61">
                  <a:extLst>
                    <a:ext uri="{FF2B5EF4-FFF2-40B4-BE49-F238E27FC236}">
                      <a16:creationId xmlns:a16="http://schemas.microsoft.com/office/drawing/2014/main" id="{679270FA-DC15-4B4A-BEB2-FFDE325B25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676819" y="-11360681"/>
                  <a:ext cx="1563227" cy="668101"/>
                </a:xfrm>
                <a:custGeom>
                  <a:avLst/>
                  <a:gdLst>
                    <a:gd name="T0" fmla="*/ 235 w 253"/>
                    <a:gd name="T1" fmla="*/ 46 h 108"/>
                    <a:gd name="T2" fmla="*/ 219 w 253"/>
                    <a:gd name="T3" fmla="*/ 45 h 108"/>
                    <a:gd name="T4" fmla="*/ 220 w 253"/>
                    <a:gd name="T5" fmla="*/ 36 h 108"/>
                    <a:gd name="T6" fmla="*/ 221 w 253"/>
                    <a:gd name="T7" fmla="*/ 23 h 108"/>
                    <a:gd name="T8" fmla="*/ 204 w 253"/>
                    <a:gd name="T9" fmla="*/ 21 h 108"/>
                    <a:gd name="T10" fmla="*/ 191 w 253"/>
                    <a:gd name="T11" fmla="*/ 28 h 108"/>
                    <a:gd name="T12" fmla="*/ 170 w 253"/>
                    <a:gd name="T13" fmla="*/ 30 h 108"/>
                    <a:gd name="T14" fmla="*/ 155 w 253"/>
                    <a:gd name="T15" fmla="*/ 24 h 108"/>
                    <a:gd name="T16" fmla="*/ 143 w 253"/>
                    <a:gd name="T17" fmla="*/ 19 h 108"/>
                    <a:gd name="T18" fmla="*/ 128 w 253"/>
                    <a:gd name="T19" fmla="*/ 18 h 108"/>
                    <a:gd name="T20" fmla="*/ 115 w 253"/>
                    <a:gd name="T21" fmla="*/ 19 h 108"/>
                    <a:gd name="T22" fmla="*/ 109 w 253"/>
                    <a:gd name="T23" fmla="*/ 8 h 108"/>
                    <a:gd name="T24" fmla="*/ 95 w 253"/>
                    <a:gd name="T25" fmla="*/ 4 h 108"/>
                    <a:gd name="T26" fmla="*/ 84 w 253"/>
                    <a:gd name="T27" fmla="*/ 0 h 108"/>
                    <a:gd name="T28" fmla="*/ 77 w 253"/>
                    <a:gd name="T29" fmla="*/ 6 h 108"/>
                    <a:gd name="T30" fmla="*/ 77 w 253"/>
                    <a:gd name="T31" fmla="*/ 16 h 108"/>
                    <a:gd name="T32" fmla="*/ 70 w 253"/>
                    <a:gd name="T33" fmla="*/ 24 h 108"/>
                    <a:gd name="T34" fmla="*/ 58 w 253"/>
                    <a:gd name="T35" fmla="*/ 23 h 108"/>
                    <a:gd name="T36" fmla="*/ 48 w 253"/>
                    <a:gd name="T37" fmla="*/ 16 h 108"/>
                    <a:gd name="T38" fmla="*/ 31 w 253"/>
                    <a:gd name="T39" fmla="*/ 15 h 108"/>
                    <a:gd name="T40" fmla="*/ 21 w 253"/>
                    <a:gd name="T41" fmla="*/ 21 h 108"/>
                    <a:gd name="T42" fmla="*/ 7 w 253"/>
                    <a:gd name="T43" fmla="*/ 28 h 108"/>
                    <a:gd name="T44" fmla="*/ 0 w 253"/>
                    <a:gd name="T45" fmla="*/ 31 h 108"/>
                    <a:gd name="T46" fmla="*/ 6 w 253"/>
                    <a:gd name="T47" fmla="*/ 39 h 108"/>
                    <a:gd name="T48" fmla="*/ 20 w 253"/>
                    <a:gd name="T49" fmla="*/ 48 h 108"/>
                    <a:gd name="T50" fmla="*/ 24 w 253"/>
                    <a:gd name="T51" fmla="*/ 63 h 108"/>
                    <a:gd name="T52" fmla="*/ 41 w 253"/>
                    <a:gd name="T53" fmla="*/ 74 h 108"/>
                    <a:gd name="T54" fmla="*/ 52 w 253"/>
                    <a:gd name="T55" fmla="*/ 81 h 108"/>
                    <a:gd name="T56" fmla="*/ 63 w 253"/>
                    <a:gd name="T57" fmla="*/ 96 h 108"/>
                    <a:gd name="T58" fmla="*/ 92 w 253"/>
                    <a:gd name="T59" fmla="*/ 97 h 108"/>
                    <a:gd name="T60" fmla="*/ 115 w 253"/>
                    <a:gd name="T61" fmla="*/ 103 h 108"/>
                    <a:gd name="T62" fmla="*/ 130 w 253"/>
                    <a:gd name="T63" fmla="*/ 108 h 108"/>
                    <a:gd name="T64" fmla="*/ 162 w 253"/>
                    <a:gd name="T65" fmla="*/ 100 h 108"/>
                    <a:gd name="T66" fmla="*/ 186 w 253"/>
                    <a:gd name="T67" fmla="*/ 86 h 108"/>
                    <a:gd name="T68" fmla="*/ 192 w 253"/>
                    <a:gd name="T69" fmla="*/ 75 h 108"/>
                    <a:gd name="T70" fmla="*/ 217 w 253"/>
                    <a:gd name="T71" fmla="*/ 70 h 108"/>
                    <a:gd name="T72" fmla="*/ 234 w 253"/>
                    <a:gd name="T73" fmla="*/ 59 h 108"/>
                    <a:gd name="T74" fmla="*/ 253 w 253"/>
                    <a:gd name="T75" fmla="*/ 56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53" h="108">
                      <a:moveTo>
                        <a:pt x="242" y="45"/>
                      </a:moveTo>
                      <a:cubicBezTo>
                        <a:pt x="240" y="42"/>
                        <a:pt x="236" y="44"/>
                        <a:pt x="235" y="46"/>
                      </a:cubicBezTo>
                      <a:cubicBezTo>
                        <a:pt x="234" y="49"/>
                        <a:pt x="232" y="45"/>
                        <a:pt x="227" y="45"/>
                      </a:cubicBezTo>
                      <a:cubicBezTo>
                        <a:pt x="222" y="45"/>
                        <a:pt x="222" y="48"/>
                        <a:pt x="219" y="45"/>
                      </a:cubicBezTo>
                      <a:cubicBezTo>
                        <a:pt x="215" y="42"/>
                        <a:pt x="220" y="40"/>
                        <a:pt x="220" y="40"/>
                      </a:cubicBezTo>
                      <a:cubicBezTo>
                        <a:pt x="220" y="36"/>
                        <a:pt x="220" y="36"/>
                        <a:pt x="220" y="36"/>
                      </a:cubicBezTo>
                      <a:cubicBezTo>
                        <a:pt x="227" y="23"/>
                        <a:pt x="227" y="23"/>
                        <a:pt x="227" y="23"/>
                      </a:cubicBezTo>
                      <a:cubicBezTo>
                        <a:pt x="225" y="23"/>
                        <a:pt x="222" y="22"/>
                        <a:pt x="221" y="23"/>
                      </a:cubicBezTo>
                      <a:cubicBezTo>
                        <a:pt x="219" y="24"/>
                        <a:pt x="214" y="23"/>
                        <a:pt x="214" y="21"/>
                      </a:cubicBezTo>
                      <a:cubicBezTo>
                        <a:pt x="213" y="20"/>
                        <a:pt x="206" y="20"/>
                        <a:pt x="204" y="21"/>
                      </a:cubicBezTo>
                      <a:cubicBezTo>
                        <a:pt x="202" y="22"/>
                        <a:pt x="198" y="24"/>
                        <a:pt x="197" y="25"/>
                      </a:cubicBezTo>
                      <a:cubicBezTo>
                        <a:pt x="197" y="27"/>
                        <a:pt x="193" y="26"/>
                        <a:pt x="191" y="28"/>
                      </a:cubicBezTo>
                      <a:cubicBezTo>
                        <a:pt x="189" y="29"/>
                        <a:pt x="181" y="29"/>
                        <a:pt x="181" y="30"/>
                      </a:cubicBezTo>
                      <a:cubicBezTo>
                        <a:pt x="180" y="31"/>
                        <a:pt x="171" y="31"/>
                        <a:pt x="170" y="30"/>
                      </a:cubicBezTo>
                      <a:cubicBezTo>
                        <a:pt x="168" y="29"/>
                        <a:pt x="161" y="30"/>
                        <a:pt x="160" y="28"/>
                      </a:cubicBezTo>
                      <a:cubicBezTo>
                        <a:pt x="159" y="26"/>
                        <a:pt x="155" y="26"/>
                        <a:pt x="155" y="24"/>
                      </a:cubicBezTo>
                      <a:cubicBezTo>
                        <a:pt x="155" y="22"/>
                        <a:pt x="149" y="22"/>
                        <a:pt x="149" y="21"/>
                      </a:cubicBezTo>
                      <a:cubicBezTo>
                        <a:pt x="148" y="19"/>
                        <a:pt x="143" y="19"/>
                        <a:pt x="143" y="19"/>
                      </a:cubicBezTo>
                      <a:cubicBezTo>
                        <a:pt x="142" y="20"/>
                        <a:pt x="137" y="18"/>
                        <a:pt x="135" y="17"/>
                      </a:cubicBezTo>
                      <a:cubicBezTo>
                        <a:pt x="134" y="17"/>
                        <a:pt x="129" y="18"/>
                        <a:pt x="128" y="18"/>
                      </a:cubicBezTo>
                      <a:cubicBezTo>
                        <a:pt x="126" y="18"/>
                        <a:pt x="124" y="21"/>
                        <a:pt x="122" y="21"/>
                      </a:cubicBezTo>
                      <a:cubicBezTo>
                        <a:pt x="120" y="21"/>
                        <a:pt x="116" y="18"/>
                        <a:pt x="115" y="19"/>
                      </a:cubicBezTo>
                      <a:cubicBezTo>
                        <a:pt x="114" y="20"/>
                        <a:pt x="111" y="17"/>
                        <a:pt x="110" y="15"/>
                      </a:cubicBezTo>
                      <a:cubicBezTo>
                        <a:pt x="109" y="14"/>
                        <a:pt x="110" y="10"/>
                        <a:pt x="109" y="8"/>
                      </a:cubicBezTo>
                      <a:cubicBezTo>
                        <a:pt x="108" y="7"/>
                        <a:pt x="103" y="7"/>
                        <a:pt x="101" y="6"/>
                      </a:cubicBezTo>
                      <a:cubicBezTo>
                        <a:pt x="99" y="5"/>
                        <a:pt x="97" y="4"/>
                        <a:pt x="95" y="4"/>
                      </a:cubicBezTo>
                      <a:cubicBezTo>
                        <a:pt x="94" y="4"/>
                        <a:pt x="91" y="3"/>
                        <a:pt x="90" y="2"/>
                      </a:cubicBezTo>
                      <a:cubicBezTo>
                        <a:pt x="89" y="2"/>
                        <a:pt x="86" y="1"/>
                        <a:pt x="84" y="0"/>
                      </a:cubicBezTo>
                      <a:cubicBezTo>
                        <a:pt x="83" y="0"/>
                        <a:pt x="82" y="2"/>
                        <a:pt x="81" y="3"/>
                      </a:cubicBezTo>
                      <a:cubicBezTo>
                        <a:pt x="80" y="4"/>
                        <a:pt x="78" y="4"/>
                        <a:pt x="77" y="6"/>
                      </a:cubicBezTo>
                      <a:cubicBezTo>
                        <a:pt x="77" y="7"/>
                        <a:pt x="73" y="8"/>
                        <a:pt x="74" y="10"/>
                      </a:cubicBezTo>
                      <a:cubicBezTo>
                        <a:pt x="74" y="11"/>
                        <a:pt x="75" y="15"/>
                        <a:pt x="77" y="16"/>
                      </a:cubicBezTo>
                      <a:cubicBezTo>
                        <a:pt x="78" y="17"/>
                        <a:pt x="77" y="20"/>
                        <a:pt x="76" y="21"/>
                      </a:cubicBezTo>
                      <a:cubicBezTo>
                        <a:pt x="76" y="22"/>
                        <a:pt x="71" y="23"/>
                        <a:pt x="70" y="24"/>
                      </a:cubicBezTo>
                      <a:cubicBezTo>
                        <a:pt x="69" y="26"/>
                        <a:pt x="66" y="24"/>
                        <a:pt x="64" y="23"/>
                      </a:cubicBezTo>
                      <a:cubicBezTo>
                        <a:pt x="62" y="21"/>
                        <a:pt x="59" y="22"/>
                        <a:pt x="58" y="23"/>
                      </a:cubicBezTo>
                      <a:cubicBezTo>
                        <a:pt x="56" y="24"/>
                        <a:pt x="52" y="21"/>
                        <a:pt x="51" y="21"/>
                      </a:cubicBezTo>
                      <a:cubicBezTo>
                        <a:pt x="50" y="20"/>
                        <a:pt x="50" y="16"/>
                        <a:pt x="48" y="16"/>
                      </a:cubicBezTo>
                      <a:cubicBezTo>
                        <a:pt x="47" y="16"/>
                        <a:pt x="39" y="15"/>
                        <a:pt x="37" y="14"/>
                      </a:cubicBezTo>
                      <a:cubicBezTo>
                        <a:pt x="35" y="14"/>
                        <a:pt x="32" y="14"/>
                        <a:pt x="31" y="15"/>
                      </a:cubicBezTo>
                      <a:cubicBezTo>
                        <a:pt x="31" y="16"/>
                        <a:pt x="27" y="16"/>
                        <a:pt x="26" y="17"/>
                      </a:cubicBezTo>
                      <a:cubicBezTo>
                        <a:pt x="25" y="19"/>
                        <a:pt x="22" y="20"/>
                        <a:pt x="21" y="21"/>
                      </a:cubicBezTo>
                      <a:cubicBezTo>
                        <a:pt x="20" y="22"/>
                        <a:pt x="16" y="22"/>
                        <a:pt x="15" y="25"/>
                      </a:cubicBezTo>
                      <a:cubicBezTo>
                        <a:pt x="14" y="27"/>
                        <a:pt x="9" y="28"/>
                        <a:pt x="7" y="28"/>
                      </a:cubicBezTo>
                      <a:cubicBezTo>
                        <a:pt x="6" y="28"/>
                        <a:pt x="2" y="29"/>
                        <a:pt x="2" y="30"/>
                      </a:cubicBezTo>
                      <a:cubicBezTo>
                        <a:pt x="2" y="31"/>
                        <a:pt x="1" y="31"/>
                        <a:pt x="0" y="31"/>
                      </a:cubicBezTo>
                      <a:cubicBezTo>
                        <a:pt x="0" y="31"/>
                        <a:pt x="0" y="31"/>
                        <a:pt x="1" y="31"/>
                      </a:cubicBezTo>
                      <a:cubicBezTo>
                        <a:pt x="2" y="37"/>
                        <a:pt x="4" y="37"/>
                        <a:pt x="6" y="39"/>
                      </a:cubicBezTo>
                      <a:cubicBezTo>
                        <a:pt x="9" y="41"/>
                        <a:pt x="11" y="43"/>
                        <a:pt x="14" y="43"/>
                      </a:cubicBezTo>
                      <a:cubicBezTo>
                        <a:pt x="16" y="43"/>
                        <a:pt x="20" y="46"/>
                        <a:pt x="20" y="48"/>
                      </a:cubicBezTo>
                      <a:cubicBezTo>
                        <a:pt x="21" y="51"/>
                        <a:pt x="23" y="53"/>
                        <a:pt x="25" y="55"/>
                      </a:cubicBezTo>
                      <a:cubicBezTo>
                        <a:pt x="26" y="56"/>
                        <a:pt x="24" y="60"/>
                        <a:pt x="24" y="63"/>
                      </a:cubicBezTo>
                      <a:cubicBezTo>
                        <a:pt x="24" y="66"/>
                        <a:pt x="21" y="66"/>
                        <a:pt x="22" y="69"/>
                      </a:cubicBezTo>
                      <a:cubicBezTo>
                        <a:pt x="24" y="72"/>
                        <a:pt x="37" y="74"/>
                        <a:pt x="41" y="74"/>
                      </a:cubicBezTo>
                      <a:cubicBezTo>
                        <a:pt x="44" y="74"/>
                        <a:pt x="45" y="77"/>
                        <a:pt x="47" y="77"/>
                      </a:cubicBezTo>
                      <a:cubicBezTo>
                        <a:pt x="49" y="78"/>
                        <a:pt x="49" y="80"/>
                        <a:pt x="52" y="81"/>
                      </a:cubicBezTo>
                      <a:cubicBezTo>
                        <a:pt x="54" y="81"/>
                        <a:pt x="57" y="83"/>
                        <a:pt x="58" y="88"/>
                      </a:cubicBezTo>
                      <a:cubicBezTo>
                        <a:pt x="59" y="92"/>
                        <a:pt x="62" y="94"/>
                        <a:pt x="63" y="96"/>
                      </a:cubicBezTo>
                      <a:cubicBezTo>
                        <a:pt x="63" y="98"/>
                        <a:pt x="69" y="96"/>
                        <a:pt x="73" y="97"/>
                      </a:cubicBezTo>
                      <a:cubicBezTo>
                        <a:pt x="77" y="97"/>
                        <a:pt x="89" y="97"/>
                        <a:pt x="92" y="97"/>
                      </a:cubicBezTo>
                      <a:cubicBezTo>
                        <a:pt x="95" y="98"/>
                        <a:pt x="103" y="97"/>
                        <a:pt x="107" y="101"/>
                      </a:cubicBezTo>
                      <a:cubicBezTo>
                        <a:pt x="111" y="104"/>
                        <a:pt x="113" y="101"/>
                        <a:pt x="115" y="103"/>
                      </a:cubicBezTo>
                      <a:cubicBezTo>
                        <a:pt x="118" y="104"/>
                        <a:pt x="120" y="105"/>
                        <a:pt x="124" y="105"/>
                      </a:cubicBezTo>
                      <a:cubicBezTo>
                        <a:pt x="127" y="104"/>
                        <a:pt x="127" y="107"/>
                        <a:pt x="130" y="108"/>
                      </a:cubicBezTo>
                      <a:cubicBezTo>
                        <a:pt x="133" y="108"/>
                        <a:pt x="137" y="104"/>
                        <a:pt x="144" y="101"/>
                      </a:cubicBezTo>
                      <a:cubicBezTo>
                        <a:pt x="151" y="97"/>
                        <a:pt x="158" y="100"/>
                        <a:pt x="162" y="100"/>
                      </a:cubicBezTo>
                      <a:cubicBezTo>
                        <a:pt x="166" y="101"/>
                        <a:pt x="172" y="99"/>
                        <a:pt x="177" y="94"/>
                      </a:cubicBezTo>
                      <a:cubicBezTo>
                        <a:pt x="181" y="89"/>
                        <a:pt x="186" y="90"/>
                        <a:pt x="186" y="86"/>
                      </a:cubicBezTo>
                      <a:cubicBezTo>
                        <a:pt x="187" y="82"/>
                        <a:pt x="182" y="80"/>
                        <a:pt x="184" y="77"/>
                      </a:cubicBezTo>
                      <a:cubicBezTo>
                        <a:pt x="186" y="73"/>
                        <a:pt x="190" y="74"/>
                        <a:pt x="192" y="75"/>
                      </a:cubicBezTo>
                      <a:cubicBezTo>
                        <a:pt x="194" y="76"/>
                        <a:pt x="200" y="77"/>
                        <a:pt x="205" y="74"/>
                      </a:cubicBezTo>
                      <a:cubicBezTo>
                        <a:pt x="210" y="70"/>
                        <a:pt x="212" y="71"/>
                        <a:pt x="217" y="70"/>
                      </a:cubicBezTo>
                      <a:cubicBezTo>
                        <a:pt x="222" y="69"/>
                        <a:pt x="221" y="66"/>
                        <a:pt x="224" y="63"/>
                      </a:cubicBezTo>
                      <a:cubicBezTo>
                        <a:pt x="227" y="60"/>
                        <a:pt x="231" y="59"/>
                        <a:pt x="234" y="59"/>
                      </a:cubicBezTo>
                      <a:cubicBezTo>
                        <a:pt x="237" y="59"/>
                        <a:pt x="241" y="56"/>
                        <a:pt x="244" y="57"/>
                      </a:cubicBezTo>
                      <a:cubicBezTo>
                        <a:pt x="248" y="58"/>
                        <a:pt x="252" y="59"/>
                        <a:pt x="253" y="56"/>
                      </a:cubicBezTo>
                      <a:cubicBezTo>
                        <a:pt x="253" y="53"/>
                        <a:pt x="245" y="48"/>
                        <a:pt x="242" y="4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79" name="Freeform 62">
                  <a:extLst>
                    <a:ext uri="{FF2B5EF4-FFF2-40B4-BE49-F238E27FC236}">
                      <a16:creationId xmlns:a16="http://schemas.microsoft.com/office/drawing/2014/main" id="{3DAC2088-936A-4DDE-95DF-A1BFD85D90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310306" y="-10186638"/>
                  <a:ext cx="25946" cy="68108"/>
                </a:xfrm>
                <a:custGeom>
                  <a:avLst/>
                  <a:gdLst>
                    <a:gd name="T0" fmla="*/ 2 w 4"/>
                    <a:gd name="T1" fmla="*/ 0 h 11"/>
                    <a:gd name="T2" fmla="*/ 0 w 4"/>
                    <a:gd name="T3" fmla="*/ 6 h 11"/>
                    <a:gd name="T4" fmla="*/ 3 w 4"/>
                    <a:gd name="T5" fmla="*/ 11 h 11"/>
                    <a:gd name="T6" fmla="*/ 4 w 4"/>
                    <a:gd name="T7" fmla="*/ 2 h 11"/>
                    <a:gd name="T8" fmla="*/ 4 w 4"/>
                    <a:gd name="T9" fmla="*/ 0 h 11"/>
                    <a:gd name="T10" fmla="*/ 2 w 4"/>
                    <a:gd name="T11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11">
                      <a:moveTo>
                        <a:pt x="2" y="0"/>
                      </a:moveTo>
                      <a:cubicBezTo>
                        <a:pt x="1" y="1"/>
                        <a:pt x="0" y="5"/>
                        <a:pt x="0" y="6"/>
                      </a:cubicBezTo>
                      <a:cubicBezTo>
                        <a:pt x="0" y="7"/>
                        <a:pt x="1" y="9"/>
                        <a:pt x="3" y="11"/>
                      </a:cubicBezTo>
                      <a:cubicBezTo>
                        <a:pt x="4" y="8"/>
                        <a:pt x="4" y="3"/>
                        <a:pt x="4" y="2"/>
                      </a:cubicBezTo>
                      <a:cubicBezTo>
                        <a:pt x="4" y="1"/>
                        <a:pt x="4" y="1"/>
                        <a:pt x="4" y="0"/>
                      </a:cubicBezTo>
                      <a:cubicBezTo>
                        <a:pt x="3" y="0"/>
                        <a:pt x="2" y="0"/>
                        <a:pt x="2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0" name="Freeform 63">
                  <a:extLst>
                    <a:ext uri="{FF2B5EF4-FFF2-40B4-BE49-F238E27FC236}">
                      <a16:creationId xmlns:a16="http://schemas.microsoft.com/office/drawing/2014/main" id="{F254E89F-603E-439A-8964-28E337ABA1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352468" y="-10232043"/>
                  <a:ext cx="74595" cy="210810"/>
                </a:xfrm>
                <a:custGeom>
                  <a:avLst/>
                  <a:gdLst>
                    <a:gd name="T0" fmla="*/ 6 w 12"/>
                    <a:gd name="T1" fmla="*/ 33 h 34"/>
                    <a:gd name="T2" fmla="*/ 7 w 12"/>
                    <a:gd name="T3" fmla="*/ 34 h 34"/>
                    <a:gd name="T4" fmla="*/ 9 w 12"/>
                    <a:gd name="T5" fmla="*/ 22 h 34"/>
                    <a:gd name="T6" fmla="*/ 10 w 12"/>
                    <a:gd name="T7" fmla="*/ 18 h 34"/>
                    <a:gd name="T8" fmla="*/ 7 w 12"/>
                    <a:gd name="T9" fmla="*/ 13 h 34"/>
                    <a:gd name="T10" fmla="*/ 9 w 12"/>
                    <a:gd name="T11" fmla="*/ 7 h 34"/>
                    <a:gd name="T12" fmla="*/ 11 w 12"/>
                    <a:gd name="T13" fmla="*/ 7 h 34"/>
                    <a:gd name="T14" fmla="*/ 12 w 12"/>
                    <a:gd name="T15" fmla="*/ 2 h 34"/>
                    <a:gd name="T16" fmla="*/ 8 w 12"/>
                    <a:gd name="T17" fmla="*/ 0 h 34"/>
                    <a:gd name="T18" fmla="*/ 7 w 12"/>
                    <a:gd name="T19" fmla="*/ 4 h 34"/>
                    <a:gd name="T20" fmla="*/ 0 w 12"/>
                    <a:gd name="T21" fmla="*/ 18 h 34"/>
                    <a:gd name="T22" fmla="*/ 6 w 12"/>
                    <a:gd name="T23" fmla="*/ 32 h 34"/>
                    <a:gd name="T24" fmla="*/ 6 w 12"/>
                    <a:gd name="T25" fmla="*/ 3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34">
                      <a:moveTo>
                        <a:pt x="6" y="33"/>
                      </a:moveTo>
                      <a:cubicBezTo>
                        <a:pt x="6" y="33"/>
                        <a:pt x="6" y="34"/>
                        <a:pt x="7" y="34"/>
                      </a:cubicBezTo>
                      <a:cubicBezTo>
                        <a:pt x="7" y="29"/>
                        <a:pt x="8" y="23"/>
                        <a:pt x="9" y="22"/>
                      </a:cubicBezTo>
                      <a:cubicBezTo>
                        <a:pt x="10" y="21"/>
                        <a:pt x="10" y="20"/>
                        <a:pt x="10" y="18"/>
                      </a:cubicBezTo>
                      <a:cubicBezTo>
                        <a:pt x="8" y="16"/>
                        <a:pt x="7" y="14"/>
                        <a:pt x="7" y="13"/>
                      </a:cubicBezTo>
                      <a:cubicBezTo>
                        <a:pt x="7" y="12"/>
                        <a:pt x="8" y="8"/>
                        <a:pt x="9" y="7"/>
                      </a:cubicBezTo>
                      <a:cubicBezTo>
                        <a:pt x="9" y="7"/>
                        <a:pt x="10" y="7"/>
                        <a:pt x="11" y="7"/>
                      </a:cubicBezTo>
                      <a:cubicBezTo>
                        <a:pt x="11" y="6"/>
                        <a:pt x="12" y="4"/>
                        <a:pt x="12" y="2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7" y="1"/>
                        <a:pt x="7" y="3"/>
                        <a:pt x="7" y="4"/>
                      </a:cubicBezTo>
                      <a:cubicBezTo>
                        <a:pt x="6" y="8"/>
                        <a:pt x="2" y="15"/>
                        <a:pt x="0" y="18"/>
                      </a:cubicBezTo>
                      <a:cubicBezTo>
                        <a:pt x="6" y="32"/>
                        <a:pt x="6" y="32"/>
                        <a:pt x="6" y="32"/>
                      </a:cubicBezTo>
                      <a:lnTo>
                        <a:pt x="6" y="33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1" name="Freeform 64">
                  <a:extLst>
                    <a:ext uri="{FF2B5EF4-FFF2-40B4-BE49-F238E27FC236}">
                      <a16:creationId xmlns:a16="http://schemas.microsoft.com/office/drawing/2014/main" id="{0EC78701-65F5-487E-9AE9-F67329F77B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310306" y="-10232043"/>
                  <a:ext cx="204323" cy="230269"/>
                </a:xfrm>
                <a:custGeom>
                  <a:avLst/>
                  <a:gdLst>
                    <a:gd name="T0" fmla="*/ 31 w 33"/>
                    <a:gd name="T1" fmla="*/ 0 h 37"/>
                    <a:gd name="T2" fmla="*/ 21 w 33"/>
                    <a:gd name="T3" fmla="*/ 4 h 37"/>
                    <a:gd name="T4" fmla="*/ 13 w 33"/>
                    <a:gd name="T5" fmla="*/ 9 h 37"/>
                    <a:gd name="T6" fmla="*/ 6 w 33"/>
                    <a:gd name="T7" fmla="*/ 5 h 37"/>
                    <a:gd name="T8" fmla="*/ 5 w 33"/>
                    <a:gd name="T9" fmla="*/ 2 h 37"/>
                    <a:gd name="T10" fmla="*/ 5 w 33"/>
                    <a:gd name="T11" fmla="*/ 2 h 37"/>
                    <a:gd name="T12" fmla="*/ 4 w 33"/>
                    <a:gd name="T13" fmla="*/ 9 h 37"/>
                    <a:gd name="T14" fmla="*/ 2 w 33"/>
                    <a:gd name="T15" fmla="*/ 22 h 37"/>
                    <a:gd name="T16" fmla="*/ 0 w 33"/>
                    <a:gd name="T17" fmla="*/ 34 h 37"/>
                    <a:gd name="T18" fmla="*/ 7 w 33"/>
                    <a:gd name="T19" fmla="*/ 37 h 37"/>
                    <a:gd name="T20" fmla="*/ 13 w 33"/>
                    <a:gd name="T21" fmla="*/ 32 h 37"/>
                    <a:gd name="T22" fmla="*/ 18 w 33"/>
                    <a:gd name="T23" fmla="*/ 30 h 37"/>
                    <a:gd name="T24" fmla="*/ 23 w 33"/>
                    <a:gd name="T25" fmla="*/ 26 h 37"/>
                    <a:gd name="T26" fmla="*/ 17 w 33"/>
                    <a:gd name="T27" fmla="*/ 19 h 37"/>
                    <a:gd name="T28" fmla="*/ 25 w 33"/>
                    <a:gd name="T29" fmla="*/ 14 h 37"/>
                    <a:gd name="T30" fmla="*/ 33 w 33"/>
                    <a:gd name="T31" fmla="*/ 11 h 37"/>
                    <a:gd name="T32" fmla="*/ 33 w 33"/>
                    <a:gd name="T33" fmla="*/ 11 h 37"/>
                    <a:gd name="T34" fmla="*/ 32 w 33"/>
                    <a:gd name="T35" fmla="*/ 4 h 37"/>
                    <a:gd name="T36" fmla="*/ 31 w 33"/>
                    <a:gd name="T3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3" h="37">
                      <a:moveTo>
                        <a:pt x="31" y="0"/>
                      </a:moveTo>
                      <a:cubicBezTo>
                        <a:pt x="26" y="2"/>
                        <a:pt x="21" y="4"/>
                        <a:pt x="21" y="4"/>
                      </a:cubicBezTo>
                      <a:cubicBezTo>
                        <a:pt x="18" y="5"/>
                        <a:pt x="13" y="9"/>
                        <a:pt x="13" y="9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5" y="2"/>
                        <a:pt x="5" y="2"/>
                        <a:pt x="5" y="2"/>
                      </a:cubicBezTo>
                      <a:cubicBezTo>
                        <a:pt x="5" y="2"/>
                        <a:pt x="5" y="2"/>
                        <a:pt x="5" y="2"/>
                      </a:cubicBezTo>
                      <a:cubicBezTo>
                        <a:pt x="5" y="5"/>
                        <a:pt x="4" y="8"/>
                        <a:pt x="4" y="9"/>
                      </a:cubicBezTo>
                      <a:cubicBezTo>
                        <a:pt x="4" y="11"/>
                        <a:pt x="4" y="20"/>
                        <a:pt x="2" y="22"/>
                      </a:cubicBezTo>
                      <a:cubicBezTo>
                        <a:pt x="1" y="23"/>
                        <a:pt x="0" y="29"/>
                        <a:pt x="0" y="34"/>
                      </a:cubicBezTo>
                      <a:cubicBezTo>
                        <a:pt x="2" y="35"/>
                        <a:pt x="5" y="37"/>
                        <a:pt x="7" y="37"/>
                      </a:cubicBezTo>
                      <a:cubicBezTo>
                        <a:pt x="10" y="37"/>
                        <a:pt x="13" y="34"/>
                        <a:pt x="13" y="32"/>
                      </a:cubicBezTo>
                      <a:cubicBezTo>
                        <a:pt x="13" y="30"/>
                        <a:pt x="16" y="30"/>
                        <a:pt x="18" y="30"/>
                      </a:cubicBezTo>
                      <a:cubicBezTo>
                        <a:pt x="21" y="30"/>
                        <a:pt x="21" y="27"/>
                        <a:pt x="23" y="26"/>
                      </a:cubicBezTo>
                      <a:cubicBezTo>
                        <a:pt x="25" y="25"/>
                        <a:pt x="19" y="20"/>
                        <a:pt x="17" y="19"/>
                      </a:cubicBezTo>
                      <a:cubicBezTo>
                        <a:pt x="15" y="18"/>
                        <a:pt x="18" y="14"/>
                        <a:pt x="25" y="14"/>
                      </a:cubicBezTo>
                      <a:cubicBezTo>
                        <a:pt x="31" y="14"/>
                        <a:pt x="30" y="11"/>
                        <a:pt x="33" y="11"/>
                      </a:cubicBezTo>
                      <a:cubicBezTo>
                        <a:pt x="33" y="11"/>
                        <a:pt x="33" y="11"/>
                        <a:pt x="33" y="11"/>
                      </a:cubicBezTo>
                      <a:cubicBezTo>
                        <a:pt x="33" y="9"/>
                        <a:pt x="32" y="5"/>
                        <a:pt x="32" y="4"/>
                      </a:cubicBezTo>
                      <a:cubicBezTo>
                        <a:pt x="31" y="2"/>
                        <a:pt x="31" y="1"/>
                        <a:pt x="31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2" name="Freeform 65">
                  <a:extLst>
                    <a:ext uri="{FF2B5EF4-FFF2-40B4-BE49-F238E27FC236}">
                      <a16:creationId xmlns:a16="http://schemas.microsoft.com/office/drawing/2014/main" id="{8F6568EB-61C6-437F-B5E9-606D71855D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78431" y="-10799604"/>
                  <a:ext cx="541617" cy="236755"/>
                </a:xfrm>
                <a:custGeom>
                  <a:avLst/>
                  <a:gdLst>
                    <a:gd name="T0" fmla="*/ 82 w 88"/>
                    <a:gd name="T1" fmla="*/ 7 h 38"/>
                    <a:gd name="T2" fmla="*/ 74 w 88"/>
                    <a:gd name="T3" fmla="*/ 5 h 38"/>
                    <a:gd name="T4" fmla="*/ 53 w 88"/>
                    <a:gd name="T5" fmla="*/ 4 h 38"/>
                    <a:gd name="T6" fmla="*/ 43 w 88"/>
                    <a:gd name="T7" fmla="*/ 1 h 38"/>
                    <a:gd name="T8" fmla="*/ 34 w 88"/>
                    <a:gd name="T9" fmla="*/ 4 h 38"/>
                    <a:gd name="T10" fmla="*/ 27 w 88"/>
                    <a:gd name="T11" fmla="*/ 5 h 38"/>
                    <a:gd name="T12" fmla="*/ 16 w 88"/>
                    <a:gd name="T13" fmla="*/ 5 h 38"/>
                    <a:gd name="T14" fmla="*/ 11 w 88"/>
                    <a:gd name="T15" fmla="*/ 11 h 38"/>
                    <a:gd name="T16" fmla="*/ 9 w 88"/>
                    <a:gd name="T17" fmla="*/ 15 h 38"/>
                    <a:gd name="T18" fmla="*/ 12 w 88"/>
                    <a:gd name="T19" fmla="*/ 18 h 38"/>
                    <a:gd name="T20" fmla="*/ 18 w 88"/>
                    <a:gd name="T21" fmla="*/ 18 h 38"/>
                    <a:gd name="T22" fmla="*/ 29 w 88"/>
                    <a:gd name="T23" fmla="*/ 23 h 38"/>
                    <a:gd name="T24" fmla="*/ 26 w 88"/>
                    <a:gd name="T25" fmla="*/ 27 h 38"/>
                    <a:gd name="T26" fmla="*/ 18 w 88"/>
                    <a:gd name="T27" fmla="*/ 28 h 38"/>
                    <a:gd name="T28" fmla="*/ 6 w 88"/>
                    <a:gd name="T29" fmla="*/ 30 h 38"/>
                    <a:gd name="T30" fmla="*/ 1 w 88"/>
                    <a:gd name="T31" fmla="*/ 35 h 38"/>
                    <a:gd name="T32" fmla="*/ 12 w 88"/>
                    <a:gd name="T33" fmla="*/ 35 h 38"/>
                    <a:gd name="T34" fmla="*/ 19 w 88"/>
                    <a:gd name="T35" fmla="*/ 36 h 38"/>
                    <a:gd name="T36" fmla="*/ 26 w 88"/>
                    <a:gd name="T37" fmla="*/ 37 h 38"/>
                    <a:gd name="T38" fmla="*/ 37 w 88"/>
                    <a:gd name="T39" fmla="*/ 36 h 38"/>
                    <a:gd name="T40" fmla="*/ 38 w 88"/>
                    <a:gd name="T41" fmla="*/ 32 h 38"/>
                    <a:gd name="T42" fmla="*/ 41 w 88"/>
                    <a:gd name="T43" fmla="*/ 30 h 38"/>
                    <a:gd name="T44" fmla="*/ 46 w 88"/>
                    <a:gd name="T45" fmla="*/ 27 h 38"/>
                    <a:gd name="T46" fmla="*/ 51 w 88"/>
                    <a:gd name="T47" fmla="*/ 26 h 38"/>
                    <a:gd name="T48" fmla="*/ 56 w 88"/>
                    <a:gd name="T49" fmla="*/ 27 h 38"/>
                    <a:gd name="T50" fmla="*/ 61 w 88"/>
                    <a:gd name="T51" fmla="*/ 24 h 38"/>
                    <a:gd name="T52" fmla="*/ 68 w 88"/>
                    <a:gd name="T53" fmla="*/ 22 h 38"/>
                    <a:gd name="T54" fmla="*/ 74 w 88"/>
                    <a:gd name="T55" fmla="*/ 19 h 38"/>
                    <a:gd name="T56" fmla="*/ 80 w 88"/>
                    <a:gd name="T57" fmla="*/ 15 h 38"/>
                    <a:gd name="T58" fmla="*/ 88 w 88"/>
                    <a:gd name="T59" fmla="*/ 11 h 38"/>
                    <a:gd name="T60" fmla="*/ 88 w 88"/>
                    <a:gd name="T61" fmla="*/ 10 h 38"/>
                    <a:gd name="T62" fmla="*/ 82 w 88"/>
                    <a:gd name="T63" fmla="*/ 7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8" h="38">
                      <a:moveTo>
                        <a:pt x="82" y="7"/>
                      </a:moveTo>
                      <a:cubicBezTo>
                        <a:pt x="79" y="3"/>
                        <a:pt x="78" y="6"/>
                        <a:pt x="74" y="5"/>
                      </a:cubicBezTo>
                      <a:cubicBezTo>
                        <a:pt x="70" y="4"/>
                        <a:pt x="56" y="3"/>
                        <a:pt x="53" y="4"/>
                      </a:cubicBezTo>
                      <a:cubicBezTo>
                        <a:pt x="50" y="5"/>
                        <a:pt x="45" y="2"/>
                        <a:pt x="43" y="1"/>
                      </a:cubicBezTo>
                      <a:cubicBezTo>
                        <a:pt x="41" y="0"/>
                        <a:pt x="35" y="1"/>
                        <a:pt x="34" y="4"/>
                      </a:cubicBezTo>
                      <a:cubicBezTo>
                        <a:pt x="34" y="7"/>
                        <a:pt x="31" y="7"/>
                        <a:pt x="27" y="5"/>
                      </a:cubicBezTo>
                      <a:cubicBezTo>
                        <a:pt x="23" y="3"/>
                        <a:pt x="16" y="3"/>
                        <a:pt x="16" y="5"/>
                      </a:cubicBezTo>
                      <a:cubicBezTo>
                        <a:pt x="16" y="8"/>
                        <a:pt x="13" y="10"/>
                        <a:pt x="11" y="11"/>
                      </a:cubicBezTo>
                      <a:cubicBezTo>
                        <a:pt x="11" y="11"/>
                        <a:pt x="10" y="13"/>
                        <a:pt x="9" y="15"/>
                      </a:cubicBezTo>
                      <a:cubicBezTo>
                        <a:pt x="10" y="16"/>
                        <a:pt x="11" y="17"/>
                        <a:pt x="12" y="18"/>
                      </a:cubicBezTo>
                      <a:cubicBezTo>
                        <a:pt x="13" y="20"/>
                        <a:pt x="18" y="20"/>
                        <a:pt x="18" y="18"/>
                      </a:cubicBezTo>
                      <a:cubicBezTo>
                        <a:pt x="19" y="16"/>
                        <a:pt x="25" y="20"/>
                        <a:pt x="29" y="23"/>
                      </a:cubicBezTo>
                      <a:cubicBezTo>
                        <a:pt x="33" y="26"/>
                        <a:pt x="27" y="24"/>
                        <a:pt x="26" y="27"/>
                      </a:cubicBezTo>
                      <a:cubicBezTo>
                        <a:pt x="24" y="30"/>
                        <a:pt x="19" y="27"/>
                        <a:pt x="18" y="28"/>
                      </a:cubicBezTo>
                      <a:cubicBezTo>
                        <a:pt x="17" y="29"/>
                        <a:pt x="9" y="30"/>
                        <a:pt x="6" y="30"/>
                      </a:cubicBezTo>
                      <a:cubicBezTo>
                        <a:pt x="4" y="29"/>
                        <a:pt x="0" y="33"/>
                        <a:pt x="1" y="35"/>
                      </a:cubicBezTo>
                      <a:cubicBezTo>
                        <a:pt x="1" y="36"/>
                        <a:pt x="9" y="34"/>
                        <a:pt x="12" y="35"/>
                      </a:cubicBezTo>
                      <a:cubicBezTo>
                        <a:pt x="15" y="37"/>
                        <a:pt x="18" y="34"/>
                        <a:pt x="19" y="36"/>
                      </a:cubicBezTo>
                      <a:cubicBezTo>
                        <a:pt x="21" y="38"/>
                        <a:pt x="24" y="36"/>
                        <a:pt x="26" y="37"/>
                      </a:cubicBezTo>
                      <a:cubicBezTo>
                        <a:pt x="28" y="38"/>
                        <a:pt x="36" y="36"/>
                        <a:pt x="37" y="36"/>
                      </a:cubicBezTo>
                      <a:cubicBezTo>
                        <a:pt x="38" y="35"/>
                        <a:pt x="38" y="34"/>
                        <a:pt x="38" y="32"/>
                      </a:cubicBezTo>
                      <a:cubicBezTo>
                        <a:pt x="38" y="30"/>
                        <a:pt x="40" y="31"/>
                        <a:pt x="41" y="30"/>
                      </a:cubicBezTo>
                      <a:cubicBezTo>
                        <a:pt x="43" y="30"/>
                        <a:pt x="44" y="27"/>
                        <a:pt x="46" y="27"/>
                      </a:cubicBezTo>
                      <a:cubicBezTo>
                        <a:pt x="47" y="27"/>
                        <a:pt x="49" y="25"/>
                        <a:pt x="51" y="26"/>
                      </a:cubicBezTo>
                      <a:cubicBezTo>
                        <a:pt x="52" y="26"/>
                        <a:pt x="54" y="29"/>
                        <a:pt x="56" y="27"/>
                      </a:cubicBezTo>
                      <a:cubicBezTo>
                        <a:pt x="57" y="26"/>
                        <a:pt x="58" y="27"/>
                        <a:pt x="61" y="24"/>
                      </a:cubicBezTo>
                      <a:cubicBezTo>
                        <a:pt x="63" y="21"/>
                        <a:pt x="65" y="22"/>
                        <a:pt x="68" y="22"/>
                      </a:cubicBezTo>
                      <a:cubicBezTo>
                        <a:pt x="72" y="23"/>
                        <a:pt x="73" y="21"/>
                        <a:pt x="74" y="19"/>
                      </a:cubicBezTo>
                      <a:cubicBezTo>
                        <a:pt x="75" y="16"/>
                        <a:pt x="79" y="16"/>
                        <a:pt x="80" y="15"/>
                      </a:cubicBezTo>
                      <a:cubicBezTo>
                        <a:pt x="82" y="14"/>
                        <a:pt x="86" y="12"/>
                        <a:pt x="88" y="11"/>
                      </a:cubicBezTo>
                      <a:cubicBezTo>
                        <a:pt x="88" y="11"/>
                        <a:pt x="88" y="11"/>
                        <a:pt x="88" y="10"/>
                      </a:cubicBezTo>
                      <a:cubicBezTo>
                        <a:pt x="85" y="7"/>
                        <a:pt x="84" y="10"/>
                        <a:pt x="82" y="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3" name="Freeform 66">
                  <a:extLst>
                    <a:ext uri="{FF2B5EF4-FFF2-40B4-BE49-F238E27FC236}">
                      <a16:creationId xmlns:a16="http://schemas.microsoft.com/office/drawing/2014/main" id="{03923AD2-BAF4-480B-9DFC-CA4BC16B02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067066" y="-10828794"/>
                  <a:ext cx="343780" cy="152432"/>
                </a:xfrm>
                <a:custGeom>
                  <a:avLst/>
                  <a:gdLst>
                    <a:gd name="T0" fmla="*/ 23 w 56"/>
                    <a:gd name="T1" fmla="*/ 20 h 25"/>
                    <a:gd name="T2" fmla="*/ 28 w 56"/>
                    <a:gd name="T3" fmla="*/ 24 h 25"/>
                    <a:gd name="T4" fmla="*/ 29 w 56"/>
                    <a:gd name="T5" fmla="*/ 25 h 25"/>
                    <a:gd name="T6" fmla="*/ 37 w 56"/>
                    <a:gd name="T7" fmla="*/ 23 h 25"/>
                    <a:gd name="T8" fmla="*/ 44 w 56"/>
                    <a:gd name="T9" fmla="*/ 24 h 25"/>
                    <a:gd name="T10" fmla="*/ 43 w 56"/>
                    <a:gd name="T11" fmla="*/ 22 h 25"/>
                    <a:gd name="T12" fmla="*/ 49 w 56"/>
                    <a:gd name="T13" fmla="*/ 24 h 25"/>
                    <a:gd name="T14" fmla="*/ 55 w 56"/>
                    <a:gd name="T15" fmla="*/ 24 h 25"/>
                    <a:gd name="T16" fmla="*/ 52 w 56"/>
                    <a:gd name="T17" fmla="*/ 21 h 25"/>
                    <a:gd name="T18" fmla="*/ 54 w 56"/>
                    <a:gd name="T19" fmla="*/ 18 h 25"/>
                    <a:gd name="T20" fmla="*/ 49 w 56"/>
                    <a:gd name="T21" fmla="*/ 15 h 25"/>
                    <a:gd name="T22" fmla="*/ 47 w 56"/>
                    <a:gd name="T23" fmla="*/ 10 h 25"/>
                    <a:gd name="T24" fmla="*/ 44 w 56"/>
                    <a:gd name="T25" fmla="*/ 9 h 25"/>
                    <a:gd name="T26" fmla="*/ 36 w 56"/>
                    <a:gd name="T27" fmla="*/ 10 h 25"/>
                    <a:gd name="T28" fmla="*/ 31 w 56"/>
                    <a:gd name="T29" fmla="*/ 8 h 25"/>
                    <a:gd name="T30" fmla="*/ 26 w 56"/>
                    <a:gd name="T31" fmla="*/ 4 h 25"/>
                    <a:gd name="T32" fmla="*/ 13 w 56"/>
                    <a:gd name="T33" fmla="*/ 3 h 25"/>
                    <a:gd name="T34" fmla="*/ 4 w 56"/>
                    <a:gd name="T35" fmla="*/ 1 h 25"/>
                    <a:gd name="T36" fmla="*/ 0 w 56"/>
                    <a:gd name="T37" fmla="*/ 2 h 25"/>
                    <a:gd name="T38" fmla="*/ 13 w 56"/>
                    <a:gd name="T39" fmla="*/ 9 h 25"/>
                    <a:gd name="T40" fmla="*/ 16 w 56"/>
                    <a:gd name="T41" fmla="*/ 17 h 25"/>
                    <a:gd name="T42" fmla="*/ 14 w 56"/>
                    <a:gd name="T43" fmla="*/ 20 h 25"/>
                    <a:gd name="T44" fmla="*/ 23 w 56"/>
                    <a:gd name="T45" fmla="*/ 2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6" h="25">
                      <a:moveTo>
                        <a:pt x="23" y="20"/>
                      </a:moveTo>
                      <a:cubicBezTo>
                        <a:pt x="25" y="18"/>
                        <a:pt x="26" y="21"/>
                        <a:pt x="28" y="24"/>
                      </a:cubicBezTo>
                      <a:cubicBezTo>
                        <a:pt x="28" y="24"/>
                        <a:pt x="28" y="25"/>
                        <a:pt x="29" y="25"/>
                      </a:cubicBezTo>
                      <a:cubicBezTo>
                        <a:pt x="32" y="24"/>
                        <a:pt x="34" y="23"/>
                        <a:pt x="37" y="23"/>
                      </a:cubicBezTo>
                      <a:cubicBezTo>
                        <a:pt x="39" y="23"/>
                        <a:pt x="42" y="23"/>
                        <a:pt x="44" y="24"/>
                      </a:cubicBezTo>
                      <a:cubicBezTo>
                        <a:pt x="43" y="23"/>
                        <a:pt x="43" y="22"/>
                        <a:pt x="43" y="22"/>
                      </a:cubicBezTo>
                      <a:cubicBezTo>
                        <a:pt x="44" y="21"/>
                        <a:pt x="48" y="23"/>
                        <a:pt x="49" y="24"/>
                      </a:cubicBezTo>
                      <a:cubicBezTo>
                        <a:pt x="50" y="25"/>
                        <a:pt x="54" y="25"/>
                        <a:pt x="55" y="24"/>
                      </a:cubicBezTo>
                      <a:cubicBezTo>
                        <a:pt x="56" y="23"/>
                        <a:pt x="53" y="22"/>
                        <a:pt x="52" y="21"/>
                      </a:cubicBezTo>
                      <a:cubicBezTo>
                        <a:pt x="52" y="20"/>
                        <a:pt x="53" y="19"/>
                        <a:pt x="54" y="18"/>
                      </a:cubicBezTo>
                      <a:cubicBezTo>
                        <a:pt x="52" y="17"/>
                        <a:pt x="50" y="15"/>
                        <a:pt x="49" y="15"/>
                      </a:cubicBezTo>
                      <a:cubicBezTo>
                        <a:pt x="48" y="15"/>
                        <a:pt x="48" y="10"/>
                        <a:pt x="47" y="10"/>
                      </a:cubicBezTo>
                      <a:cubicBezTo>
                        <a:pt x="45" y="10"/>
                        <a:pt x="45" y="9"/>
                        <a:pt x="44" y="9"/>
                      </a:cubicBezTo>
                      <a:cubicBezTo>
                        <a:pt x="42" y="9"/>
                        <a:pt x="37" y="9"/>
                        <a:pt x="36" y="10"/>
                      </a:cubicBezTo>
                      <a:cubicBezTo>
                        <a:pt x="34" y="11"/>
                        <a:pt x="32" y="8"/>
                        <a:pt x="31" y="8"/>
                      </a:cubicBezTo>
                      <a:cubicBezTo>
                        <a:pt x="29" y="8"/>
                        <a:pt x="27" y="6"/>
                        <a:pt x="26" y="4"/>
                      </a:cubicBezTo>
                      <a:cubicBezTo>
                        <a:pt x="25" y="3"/>
                        <a:pt x="16" y="5"/>
                        <a:pt x="13" y="3"/>
                      </a:cubicBezTo>
                      <a:cubicBezTo>
                        <a:pt x="11" y="2"/>
                        <a:pt x="6" y="0"/>
                        <a:pt x="4" y="1"/>
                      </a:cubicBezTo>
                      <a:cubicBezTo>
                        <a:pt x="3" y="1"/>
                        <a:pt x="2" y="1"/>
                        <a:pt x="0" y="2"/>
                      </a:cubicBezTo>
                      <a:cubicBezTo>
                        <a:pt x="5" y="5"/>
                        <a:pt x="12" y="4"/>
                        <a:pt x="13" y="9"/>
                      </a:cubicBezTo>
                      <a:cubicBezTo>
                        <a:pt x="14" y="15"/>
                        <a:pt x="17" y="12"/>
                        <a:pt x="16" y="17"/>
                      </a:cubicBezTo>
                      <a:cubicBezTo>
                        <a:pt x="16" y="18"/>
                        <a:pt x="15" y="19"/>
                        <a:pt x="14" y="20"/>
                      </a:cubicBezTo>
                      <a:cubicBezTo>
                        <a:pt x="18" y="20"/>
                        <a:pt x="21" y="20"/>
                        <a:pt x="23" y="2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4" name="Freeform 67">
                  <a:extLst>
                    <a:ext uri="{FF2B5EF4-FFF2-40B4-BE49-F238E27FC236}">
                      <a16:creationId xmlns:a16="http://schemas.microsoft.com/office/drawing/2014/main" id="{D227F4FA-41FF-45E6-B8F9-FB74E10AA7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9754627" y="-10744471"/>
                  <a:ext cx="934045" cy="372970"/>
                </a:xfrm>
                <a:custGeom>
                  <a:avLst/>
                  <a:gdLst>
                    <a:gd name="T0" fmla="*/ 147 w 151"/>
                    <a:gd name="T1" fmla="*/ 42 h 60"/>
                    <a:gd name="T2" fmla="*/ 147 w 151"/>
                    <a:gd name="T3" fmla="*/ 33 h 60"/>
                    <a:gd name="T4" fmla="*/ 147 w 151"/>
                    <a:gd name="T5" fmla="*/ 27 h 60"/>
                    <a:gd name="T6" fmla="*/ 149 w 151"/>
                    <a:gd name="T7" fmla="*/ 23 h 60"/>
                    <a:gd name="T8" fmla="*/ 148 w 151"/>
                    <a:gd name="T9" fmla="*/ 20 h 60"/>
                    <a:gd name="T10" fmla="*/ 141 w 151"/>
                    <a:gd name="T11" fmla="*/ 17 h 60"/>
                    <a:gd name="T12" fmla="*/ 139 w 151"/>
                    <a:gd name="T13" fmla="*/ 10 h 60"/>
                    <a:gd name="T14" fmla="*/ 134 w 151"/>
                    <a:gd name="T15" fmla="*/ 6 h 60"/>
                    <a:gd name="T16" fmla="*/ 125 w 151"/>
                    <a:gd name="T17" fmla="*/ 6 h 60"/>
                    <a:gd name="T18" fmla="*/ 110 w 151"/>
                    <a:gd name="T19" fmla="*/ 11 h 60"/>
                    <a:gd name="T20" fmla="*/ 96 w 151"/>
                    <a:gd name="T21" fmla="*/ 11 h 60"/>
                    <a:gd name="T22" fmla="*/ 87 w 151"/>
                    <a:gd name="T23" fmla="*/ 8 h 60"/>
                    <a:gd name="T24" fmla="*/ 80 w 151"/>
                    <a:gd name="T25" fmla="*/ 5 h 60"/>
                    <a:gd name="T26" fmla="*/ 68 w 151"/>
                    <a:gd name="T27" fmla="*/ 2 h 60"/>
                    <a:gd name="T28" fmla="*/ 43 w 151"/>
                    <a:gd name="T29" fmla="*/ 9 h 60"/>
                    <a:gd name="T30" fmla="*/ 26 w 151"/>
                    <a:gd name="T31" fmla="*/ 10 h 60"/>
                    <a:gd name="T32" fmla="*/ 22 w 151"/>
                    <a:gd name="T33" fmla="*/ 16 h 60"/>
                    <a:gd name="T34" fmla="*/ 5 w 151"/>
                    <a:gd name="T35" fmla="*/ 18 h 60"/>
                    <a:gd name="T36" fmla="*/ 3 w 151"/>
                    <a:gd name="T37" fmla="*/ 24 h 60"/>
                    <a:gd name="T38" fmla="*/ 6 w 151"/>
                    <a:gd name="T39" fmla="*/ 26 h 60"/>
                    <a:gd name="T40" fmla="*/ 7 w 151"/>
                    <a:gd name="T41" fmla="*/ 32 h 60"/>
                    <a:gd name="T42" fmla="*/ 7 w 151"/>
                    <a:gd name="T43" fmla="*/ 38 h 60"/>
                    <a:gd name="T44" fmla="*/ 7 w 151"/>
                    <a:gd name="T45" fmla="*/ 42 h 60"/>
                    <a:gd name="T46" fmla="*/ 11 w 151"/>
                    <a:gd name="T47" fmla="*/ 46 h 60"/>
                    <a:gd name="T48" fmla="*/ 17 w 151"/>
                    <a:gd name="T49" fmla="*/ 49 h 60"/>
                    <a:gd name="T50" fmla="*/ 21 w 151"/>
                    <a:gd name="T51" fmla="*/ 50 h 60"/>
                    <a:gd name="T52" fmla="*/ 26 w 151"/>
                    <a:gd name="T53" fmla="*/ 56 h 60"/>
                    <a:gd name="T54" fmla="*/ 36 w 151"/>
                    <a:gd name="T55" fmla="*/ 54 h 60"/>
                    <a:gd name="T56" fmla="*/ 42 w 151"/>
                    <a:gd name="T57" fmla="*/ 51 h 60"/>
                    <a:gd name="T58" fmla="*/ 53 w 151"/>
                    <a:gd name="T59" fmla="*/ 57 h 60"/>
                    <a:gd name="T60" fmla="*/ 62 w 151"/>
                    <a:gd name="T61" fmla="*/ 56 h 60"/>
                    <a:gd name="T62" fmla="*/ 69 w 151"/>
                    <a:gd name="T63" fmla="*/ 51 h 60"/>
                    <a:gd name="T64" fmla="*/ 75 w 151"/>
                    <a:gd name="T65" fmla="*/ 53 h 60"/>
                    <a:gd name="T66" fmla="*/ 82 w 151"/>
                    <a:gd name="T67" fmla="*/ 51 h 60"/>
                    <a:gd name="T68" fmla="*/ 79 w 151"/>
                    <a:gd name="T69" fmla="*/ 57 h 60"/>
                    <a:gd name="T70" fmla="*/ 80 w 151"/>
                    <a:gd name="T71" fmla="*/ 60 h 60"/>
                    <a:gd name="T72" fmla="*/ 84 w 151"/>
                    <a:gd name="T73" fmla="*/ 54 h 60"/>
                    <a:gd name="T74" fmla="*/ 88 w 151"/>
                    <a:gd name="T75" fmla="*/ 53 h 60"/>
                    <a:gd name="T76" fmla="*/ 95 w 151"/>
                    <a:gd name="T77" fmla="*/ 53 h 60"/>
                    <a:gd name="T78" fmla="*/ 100 w 151"/>
                    <a:gd name="T79" fmla="*/ 52 h 60"/>
                    <a:gd name="T80" fmla="*/ 109 w 151"/>
                    <a:gd name="T81" fmla="*/ 52 h 60"/>
                    <a:gd name="T82" fmla="*/ 120 w 151"/>
                    <a:gd name="T83" fmla="*/ 49 h 60"/>
                    <a:gd name="T84" fmla="*/ 129 w 151"/>
                    <a:gd name="T85" fmla="*/ 47 h 60"/>
                    <a:gd name="T86" fmla="*/ 132 w 151"/>
                    <a:gd name="T87" fmla="*/ 48 h 60"/>
                    <a:gd name="T88" fmla="*/ 135 w 151"/>
                    <a:gd name="T89" fmla="*/ 46 h 60"/>
                    <a:gd name="T90" fmla="*/ 143 w 151"/>
                    <a:gd name="T91" fmla="*/ 47 h 60"/>
                    <a:gd name="T92" fmla="*/ 151 w 151"/>
                    <a:gd name="T93" fmla="*/ 48 h 60"/>
                    <a:gd name="T94" fmla="*/ 147 w 151"/>
                    <a:gd name="T95" fmla="*/ 42 h 60"/>
                    <a:gd name="T96" fmla="*/ 13 w 151"/>
                    <a:gd name="T97" fmla="*/ 11 h 60"/>
                    <a:gd name="T98" fmla="*/ 24 w 151"/>
                    <a:gd name="T99" fmla="*/ 10 h 60"/>
                    <a:gd name="T100" fmla="*/ 18 w 151"/>
                    <a:gd name="T101" fmla="*/ 5 h 60"/>
                    <a:gd name="T102" fmla="*/ 16 w 151"/>
                    <a:gd name="T103" fmla="*/ 1 h 60"/>
                    <a:gd name="T104" fmla="*/ 13 w 151"/>
                    <a:gd name="T105" fmla="*/ 2 h 60"/>
                    <a:gd name="T106" fmla="*/ 5 w 151"/>
                    <a:gd name="T107" fmla="*/ 2 h 60"/>
                    <a:gd name="T108" fmla="*/ 5 w 151"/>
                    <a:gd name="T109" fmla="*/ 7 h 60"/>
                    <a:gd name="T110" fmla="*/ 3 w 151"/>
                    <a:gd name="T111" fmla="*/ 11 h 60"/>
                    <a:gd name="T112" fmla="*/ 1 w 151"/>
                    <a:gd name="T113" fmla="*/ 14 h 60"/>
                    <a:gd name="T114" fmla="*/ 6 w 151"/>
                    <a:gd name="T115" fmla="*/ 16 h 60"/>
                    <a:gd name="T116" fmla="*/ 13 w 151"/>
                    <a:gd name="T117" fmla="*/ 11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51" h="60">
                      <a:moveTo>
                        <a:pt x="147" y="42"/>
                      </a:moveTo>
                      <a:cubicBezTo>
                        <a:pt x="146" y="42"/>
                        <a:pt x="148" y="35"/>
                        <a:pt x="147" y="33"/>
                      </a:cubicBezTo>
                      <a:cubicBezTo>
                        <a:pt x="147" y="32"/>
                        <a:pt x="145" y="27"/>
                        <a:pt x="147" y="27"/>
                      </a:cubicBezTo>
                      <a:cubicBezTo>
                        <a:pt x="149" y="27"/>
                        <a:pt x="147" y="23"/>
                        <a:pt x="149" y="23"/>
                      </a:cubicBezTo>
                      <a:cubicBezTo>
                        <a:pt x="149" y="21"/>
                        <a:pt x="148" y="20"/>
                        <a:pt x="148" y="20"/>
                      </a:cubicBezTo>
                      <a:cubicBezTo>
                        <a:pt x="146" y="19"/>
                        <a:pt x="143" y="21"/>
                        <a:pt x="141" y="17"/>
                      </a:cubicBezTo>
                      <a:cubicBezTo>
                        <a:pt x="140" y="14"/>
                        <a:pt x="141" y="13"/>
                        <a:pt x="139" y="10"/>
                      </a:cubicBezTo>
                      <a:cubicBezTo>
                        <a:pt x="137" y="7"/>
                        <a:pt x="136" y="4"/>
                        <a:pt x="134" y="6"/>
                      </a:cubicBezTo>
                      <a:cubicBezTo>
                        <a:pt x="132" y="6"/>
                        <a:pt x="129" y="6"/>
                        <a:pt x="125" y="6"/>
                      </a:cubicBezTo>
                      <a:cubicBezTo>
                        <a:pt x="121" y="9"/>
                        <a:pt x="113" y="12"/>
                        <a:pt x="110" y="11"/>
                      </a:cubicBezTo>
                      <a:cubicBezTo>
                        <a:pt x="107" y="10"/>
                        <a:pt x="101" y="11"/>
                        <a:pt x="96" y="11"/>
                      </a:cubicBezTo>
                      <a:cubicBezTo>
                        <a:pt x="92" y="11"/>
                        <a:pt x="90" y="8"/>
                        <a:pt x="87" y="8"/>
                      </a:cubicBezTo>
                      <a:cubicBezTo>
                        <a:pt x="83" y="8"/>
                        <a:pt x="83" y="5"/>
                        <a:pt x="80" y="5"/>
                      </a:cubicBezTo>
                      <a:cubicBezTo>
                        <a:pt x="76" y="5"/>
                        <a:pt x="79" y="3"/>
                        <a:pt x="68" y="2"/>
                      </a:cubicBezTo>
                      <a:cubicBezTo>
                        <a:pt x="56" y="0"/>
                        <a:pt x="47" y="6"/>
                        <a:pt x="43" y="9"/>
                      </a:cubicBezTo>
                      <a:cubicBezTo>
                        <a:pt x="40" y="12"/>
                        <a:pt x="27" y="9"/>
                        <a:pt x="26" y="10"/>
                      </a:cubicBezTo>
                      <a:cubicBezTo>
                        <a:pt x="24" y="11"/>
                        <a:pt x="26" y="15"/>
                        <a:pt x="22" y="16"/>
                      </a:cubicBezTo>
                      <a:cubicBezTo>
                        <a:pt x="17" y="18"/>
                        <a:pt x="8" y="16"/>
                        <a:pt x="5" y="18"/>
                      </a:cubicBezTo>
                      <a:cubicBezTo>
                        <a:pt x="1" y="19"/>
                        <a:pt x="0" y="24"/>
                        <a:pt x="3" y="24"/>
                      </a:cubicBezTo>
                      <a:cubicBezTo>
                        <a:pt x="6" y="23"/>
                        <a:pt x="7" y="25"/>
                        <a:pt x="6" y="26"/>
                      </a:cubicBezTo>
                      <a:cubicBezTo>
                        <a:pt x="5" y="27"/>
                        <a:pt x="9" y="31"/>
                        <a:pt x="7" y="32"/>
                      </a:cubicBezTo>
                      <a:cubicBezTo>
                        <a:pt x="5" y="33"/>
                        <a:pt x="5" y="36"/>
                        <a:pt x="7" y="38"/>
                      </a:cubicBezTo>
                      <a:cubicBezTo>
                        <a:pt x="9" y="39"/>
                        <a:pt x="10" y="42"/>
                        <a:pt x="7" y="42"/>
                      </a:cubicBezTo>
                      <a:cubicBezTo>
                        <a:pt x="5" y="42"/>
                        <a:pt x="11" y="45"/>
                        <a:pt x="11" y="46"/>
                      </a:cubicBezTo>
                      <a:cubicBezTo>
                        <a:pt x="11" y="47"/>
                        <a:pt x="17" y="48"/>
                        <a:pt x="17" y="49"/>
                      </a:cubicBezTo>
                      <a:cubicBezTo>
                        <a:pt x="17" y="51"/>
                        <a:pt x="18" y="51"/>
                        <a:pt x="21" y="50"/>
                      </a:cubicBezTo>
                      <a:cubicBezTo>
                        <a:pt x="23" y="50"/>
                        <a:pt x="24" y="53"/>
                        <a:pt x="26" y="56"/>
                      </a:cubicBezTo>
                      <a:cubicBezTo>
                        <a:pt x="27" y="58"/>
                        <a:pt x="36" y="56"/>
                        <a:pt x="36" y="54"/>
                      </a:cubicBezTo>
                      <a:cubicBezTo>
                        <a:pt x="36" y="51"/>
                        <a:pt x="39" y="50"/>
                        <a:pt x="42" y="51"/>
                      </a:cubicBezTo>
                      <a:cubicBezTo>
                        <a:pt x="46" y="51"/>
                        <a:pt x="51" y="56"/>
                        <a:pt x="53" y="57"/>
                      </a:cubicBezTo>
                      <a:cubicBezTo>
                        <a:pt x="55" y="58"/>
                        <a:pt x="59" y="56"/>
                        <a:pt x="62" y="56"/>
                      </a:cubicBezTo>
                      <a:cubicBezTo>
                        <a:pt x="64" y="56"/>
                        <a:pt x="68" y="52"/>
                        <a:pt x="69" y="51"/>
                      </a:cubicBezTo>
                      <a:cubicBezTo>
                        <a:pt x="71" y="50"/>
                        <a:pt x="73" y="54"/>
                        <a:pt x="75" y="53"/>
                      </a:cubicBezTo>
                      <a:cubicBezTo>
                        <a:pt x="78" y="51"/>
                        <a:pt x="80" y="50"/>
                        <a:pt x="82" y="51"/>
                      </a:cubicBezTo>
                      <a:cubicBezTo>
                        <a:pt x="83" y="52"/>
                        <a:pt x="78" y="55"/>
                        <a:pt x="79" y="57"/>
                      </a:cubicBezTo>
                      <a:cubicBezTo>
                        <a:pt x="80" y="58"/>
                        <a:pt x="80" y="59"/>
                        <a:pt x="80" y="60"/>
                      </a:cubicBezTo>
                      <a:cubicBezTo>
                        <a:pt x="85" y="59"/>
                        <a:pt x="84" y="56"/>
                        <a:pt x="84" y="54"/>
                      </a:cubicBezTo>
                      <a:cubicBezTo>
                        <a:pt x="85" y="53"/>
                        <a:pt x="86" y="51"/>
                        <a:pt x="88" y="53"/>
                      </a:cubicBezTo>
                      <a:cubicBezTo>
                        <a:pt x="89" y="54"/>
                        <a:pt x="91" y="54"/>
                        <a:pt x="95" y="53"/>
                      </a:cubicBezTo>
                      <a:cubicBezTo>
                        <a:pt x="98" y="51"/>
                        <a:pt x="99" y="50"/>
                        <a:pt x="100" y="52"/>
                      </a:cubicBezTo>
                      <a:cubicBezTo>
                        <a:pt x="101" y="53"/>
                        <a:pt x="104" y="52"/>
                        <a:pt x="109" y="52"/>
                      </a:cubicBezTo>
                      <a:cubicBezTo>
                        <a:pt x="114" y="52"/>
                        <a:pt x="115" y="48"/>
                        <a:pt x="120" y="49"/>
                      </a:cubicBezTo>
                      <a:cubicBezTo>
                        <a:pt x="125" y="49"/>
                        <a:pt x="129" y="47"/>
                        <a:pt x="129" y="47"/>
                      </a:cubicBezTo>
                      <a:cubicBezTo>
                        <a:pt x="132" y="48"/>
                        <a:pt x="132" y="48"/>
                        <a:pt x="132" y="48"/>
                      </a:cubicBezTo>
                      <a:cubicBezTo>
                        <a:pt x="133" y="47"/>
                        <a:pt x="133" y="46"/>
                        <a:pt x="135" y="46"/>
                      </a:cubicBezTo>
                      <a:cubicBezTo>
                        <a:pt x="139" y="45"/>
                        <a:pt x="141" y="48"/>
                        <a:pt x="143" y="47"/>
                      </a:cubicBezTo>
                      <a:cubicBezTo>
                        <a:pt x="144" y="46"/>
                        <a:pt x="151" y="53"/>
                        <a:pt x="151" y="48"/>
                      </a:cubicBezTo>
                      <a:cubicBezTo>
                        <a:pt x="151" y="47"/>
                        <a:pt x="149" y="42"/>
                        <a:pt x="147" y="42"/>
                      </a:cubicBezTo>
                      <a:close/>
                      <a:moveTo>
                        <a:pt x="13" y="11"/>
                      </a:moveTo>
                      <a:cubicBezTo>
                        <a:pt x="16" y="10"/>
                        <a:pt x="23" y="12"/>
                        <a:pt x="24" y="10"/>
                      </a:cubicBezTo>
                      <a:cubicBezTo>
                        <a:pt x="26" y="9"/>
                        <a:pt x="20" y="7"/>
                        <a:pt x="18" y="5"/>
                      </a:cubicBezTo>
                      <a:cubicBezTo>
                        <a:pt x="17" y="4"/>
                        <a:pt x="16" y="3"/>
                        <a:pt x="16" y="1"/>
                      </a:cubicBezTo>
                      <a:cubicBezTo>
                        <a:pt x="15" y="2"/>
                        <a:pt x="14" y="2"/>
                        <a:pt x="13" y="2"/>
                      </a:cubicBezTo>
                      <a:cubicBezTo>
                        <a:pt x="11" y="1"/>
                        <a:pt x="6" y="1"/>
                        <a:pt x="5" y="2"/>
                      </a:cubicBezTo>
                      <a:cubicBezTo>
                        <a:pt x="4" y="2"/>
                        <a:pt x="5" y="5"/>
                        <a:pt x="5" y="7"/>
                      </a:cubicBezTo>
                      <a:cubicBezTo>
                        <a:pt x="5" y="9"/>
                        <a:pt x="3" y="10"/>
                        <a:pt x="3" y="11"/>
                      </a:cubicBezTo>
                      <a:cubicBezTo>
                        <a:pt x="3" y="12"/>
                        <a:pt x="2" y="13"/>
                        <a:pt x="1" y="14"/>
                      </a:cubicBezTo>
                      <a:cubicBezTo>
                        <a:pt x="3" y="15"/>
                        <a:pt x="4" y="16"/>
                        <a:pt x="6" y="16"/>
                      </a:cubicBezTo>
                      <a:cubicBezTo>
                        <a:pt x="9" y="16"/>
                        <a:pt x="10" y="12"/>
                        <a:pt x="13" y="1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5" name="Freeform 68">
                  <a:extLst>
                    <a:ext uri="{FF2B5EF4-FFF2-40B4-BE49-F238E27FC236}">
                      <a16:creationId xmlns:a16="http://schemas.microsoft.com/office/drawing/2014/main" id="{4882C449-0C77-49BF-A042-C33E31A0C8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47085" y="-10365014"/>
                  <a:ext cx="116756" cy="110269"/>
                </a:xfrm>
                <a:custGeom>
                  <a:avLst/>
                  <a:gdLst>
                    <a:gd name="T0" fmla="*/ 9 w 19"/>
                    <a:gd name="T1" fmla="*/ 0 h 18"/>
                    <a:gd name="T2" fmla="*/ 0 w 19"/>
                    <a:gd name="T3" fmla="*/ 5 h 18"/>
                    <a:gd name="T4" fmla="*/ 1 w 19"/>
                    <a:gd name="T5" fmla="*/ 7 h 18"/>
                    <a:gd name="T6" fmla="*/ 6 w 19"/>
                    <a:gd name="T7" fmla="*/ 13 h 18"/>
                    <a:gd name="T8" fmla="*/ 7 w 19"/>
                    <a:gd name="T9" fmla="*/ 18 h 18"/>
                    <a:gd name="T10" fmla="*/ 10 w 19"/>
                    <a:gd name="T11" fmla="*/ 17 h 18"/>
                    <a:gd name="T12" fmla="*/ 19 w 19"/>
                    <a:gd name="T13" fmla="*/ 8 h 18"/>
                    <a:gd name="T14" fmla="*/ 9 w 19"/>
                    <a:gd name="T1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" h="18">
                      <a:moveTo>
                        <a:pt x="9" y="0"/>
                      </a:moveTo>
                      <a:cubicBezTo>
                        <a:pt x="6" y="0"/>
                        <a:pt x="1" y="3"/>
                        <a:pt x="0" y="5"/>
                      </a:cubicBezTo>
                      <a:cubicBezTo>
                        <a:pt x="1" y="6"/>
                        <a:pt x="1" y="7"/>
                        <a:pt x="1" y="7"/>
                      </a:cubicBezTo>
                      <a:cubicBezTo>
                        <a:pt x="2" y="10"/>
                        <a:pt x="4" y="12"/>
                        <a:pt x="6" y="13"/>
                      </a:cubicBezTo>
                      <a:cubicBezTo>
                        <a:pt x="8" y="14"/>
                        <a:pt x="7" y="16"/>
                        <a:pt x="7" y="18"/>
                      </a:cubicBezTo>
                      <a:cubicBezTo>
                        <a:pt x="8" y="17"/>
                        <a:pt x="10" y="17"/>
                        <a:pt x="10" y="17"/>
                      </a:cubicBezTo>
                      <a:cubicBezTo>
                        <a:pt x="13" y="17"/>
                        <a:pt x="18" y="10"/>
                        <a:pt x="19" y="8"/>
                      </a:cubicBezTo>
                      <a:cubicBezTo>
                        <a:pt x="19" y="6"/>
                        <a:pt x="12" y="0"/>
                        <a:pt x="9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6" name="Freeform 69">
                  <a:extLst>
                    <a:ext uri="{FF2B5EF4-FFF2-40B4-BE49-F238E27FC236}">
                      <a16:creationId xmlns:a16="http://schemas.microsoft.com/office/drawing/2014/main" id="{C98053B2-DBDC-4EEE-9826-7D3E903401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902784" y="-10780145"/>
                  <a:ext cx="347025" cy="321079"/>
                </a:xfrm>
                <a:custGeom>
                  <a:avLst/>
                  <a:gdLst>
                    <a:gd name="T0" fmla="*/ 53 w 56"/>
                    <a:gd name="T1" fmla="*/ 2 h 52"/>
                    <a:gd name="T2" fmla="*/ 47 w 56"/>
                    <a:gd name="T3" fmla="*/ 0 h 52"/>
                    <a:gd name="T4" fmla="*/ 42 w 56"/>
                    <a:gd name="T5" fmla="*/ 6 h 52"/>
                    <a:gd name="T6" fmla="*/ 36 w 56"/>
                    <a:gd name="T7" fmla="*/ 10 h 52"/>
                    <a:gd name="T8" fmla="*/ 33 w 56"/>
                    <a:gd name="T9" fmla="*/ 13 h 52"/>
                    <a:gd name="T10" fmla="*/ 28 w 56"/>
                    <a:gd name="T11" fmla="*/ 15 h 52"/>
                    <a:gd name="T12" fmla="*/ 23 w 56"/>
                    <a:gd name="T13" fmla="*/ 13 h 52"/>
                    <a:gd name="T14" fmla="*/ 18 w 56"/>
                    <a:gd name="T15" fmla="*/ 18 h 52"/>
                    <a:gd name="T16" fmla="*/ 3 w 56"/>
                    <a:gd name="T17" fmla="*/ 27 h 52"/>
                    <a:gd name="T18" fmla="*/ 0 w 56"/>
                    <a:gd name="T19" fmla="*/ 30 h 52"/>
                    <a:gd name="T20" fmla="*/ 9 w 56"/>
                    <a:gd name="T21" fmla="*/ 35 h 52"/>
                    <a:gd name="T22" fmla="*/ 5 w 56"/>
                    <a:gd name="T23" fmla="*/ 44 h 52"/>
                    <a:gd name="T24" fmla="*/ 6 w 56"/>
                    <a:gd name="T25" fmla="*/ 48 h 52"/>
                    <a:gd name="T26" fmla="*/ 10 w 56"/>
                    <a:gd name="T27" fmla="*/ 50 h 52"/>
                    <a:gd name="T28" fmla="*/ 16 w 56"/>
                    <a:gd name="T29" fmla="*/ 49 h 52"/>
                    <a:gd name="T30" fmla="*/ 18 w 56"/>
                    <a:gd name="T31" fmla="*/ 50 h 52"/>
                    <a:gd name="T32" fmla="*/ 23 w 56"/>
                    <a:gd name="T33" fmla="*/ 47 h 52"/>
                    <a:gd name="T34" fmla="*/ 30 w 56"/>
                    <a:gd name="T35" fmla="*/ 45 h 52"/>
                    <a:gd name="T36" fmla="*/ 35 w 56"/>
                    <a:gd name="T37" fmla="*/ 44 h 52"/>
                    <a:gd name="T38" fmla="*/ 27 w 56"/>
                    <a:gd name="T39" fmla="*/ 37 h 52"/>
                    <a:gd name="T40" fmla="*/ 30 w 56"/>
                    <a:gd name="T41" fmla="*/ 30 h 52"/>
                    <a:gd name="T42" fmla="*/ 44 w 56"/>
                    <a:gd name="T43" fmla="*/ 21 h 52"/>
                    <a:gd name="T44" fmla="*/ 47 w 56"/>
                    <a:gd name="T45" fmla="*/ 11 h 52"/>
                    <a:gd name="T46" fmla="*/ 56 w 56"/>
                    <a:gd name="T47" fmla="*/ 3 h 52"/>
                    <a:gd name="T48" fmla="*/ 53 w 56"/>
                    <a:gd name="T49" fmla="*/ 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6" h="52">
                      <a:moveTo>
                        <a:pt x="53" y="2"/>
                      </a:moveTo>
                      <a:cubicBezTo>
                        <a:pt x="50" y="3"/>
                        <a:pt x="49" y="0"/>
                        <a:pt x="47" y="0"/>
                      </a:cubicBezTo>
                      <a:cubicBezTo>
                        <a:pt x="44" y="0"/>
                        <a:pt x="45" y="6"/>
                        <a:pt x="42" y="6"/>
                      </a:cubicBezTo>
                      <a:cubicBezTo>
                        <a:pt x="39" y="6"/>
                        <a:pt x="40" y="10"/>
                        <a:pt x="36" y="10"/>
                      </a:cubicBezTo>
                      <a:cubicBezTo>
                        <a:pt x="33" y="11"/>
                        <a:pt x="32" y="11"/>
                        <a:pt x="33" y="13"/>
                      </a:cubicBezTo>
                      <a:cubicBezTo>
                        <a:pt x="35" y="16"/>
                        <a:pt x="31" y="15"/>
                        <a:pt x="28" y="15"/>
                      </a:cubicBezTo>
                      <a:cubicBezTo>
                        <a:pt x="25" y="15"/>
                        <a:pt x="25" y="13"/>
                        <a:pt x="23" y="13"/>
                      </a:cubicBezTo>
                      <a:cubicBezTo>
                        <a:pt x="21" y="13"/>
                        <a:pt x="19" y="16"/>
                        <a:pt x="18" y="18"/>
                      </a:cubicBezTo>
                      <a:cubicBezTo>
                        <a:pt x="16" y="21"/>
                        <a:pt x="6" y="25"/>
                        <a:pt x="3" y="27"/>
                      </a:cubicBezTo>
                      <a:cubicBezTo>
                        <a:pt x="2" y="27"/>
                        <a:pt x="1" y="29"/>
                        <a:pt x="0" y="30"/>
                      </a:cubicBezTo>
                      <a:cubicBezTo>
                        <a:pt x="4" y="31"/>
                        <a:pt x="8" y="33"/>
                        <a:pt x="9" y="35"/>
                      </a:cubicBezTo>
                      <a:cubicBezTo>
                        <a:pt x="12" y="38"/>
                        <a:pt x="7" y="41"/>
                        <a:pt x="5" y="44"/>
                      </a:cubicBezTo>
                      <a:cubicBezTo>
                        <a:pt x="3" y="46"/>
                        <a:pt x="6" y="46"/>
                        <a:pt x="6" y="48"/>
                      </a:cubicBezTo>
                      <a:cubicBezTo>
                        <a:pt x="6" y="51"/>
                        <a:pt x="9" y="52"/>
                        <a:pt x="10" y="50"/>
                      </a:cubicBezTo>
                      <a:cubicBezTo>
                        <a:pt x="11" y="49"/>
                        <a:pt x="13" y="49"/>
                        <a:pt x="16" y="49"/>
                      </a:cubicBezTo>
                      <a:cubicBezTo>
                        <a:pt x="17" y="49"/>
                        <a:pt x="18" y="50"/>
                        <a:pt x="18" y="50"/>
                      </a:cubicBezTo>
                      <a:cubicBezTo>
                        <a:pt x="20" y="49"/>
                        <a:pt x="22" y="47"/>
                        <a:pt x="23" y="47"/>
                      </a:cubicBezTo>
                      <a:cubicBezTo>
                        <a:pt x="24" y="45"/>
                        <a:pt x="27" y="45"/>
                        <a:pt x="30" y="45"/>
                      </a:cubicBezTo>
                      <a:cubicBezTo>
                        <a:pt x="32" y="45"/>
                        <a:pt x="33" y="45"/>
                        <a:pt x="35" y="44"/>
                      </a:cubicBezTo>
                      <a:cubicBezTo>
                        <a:pt x="32" y="40"/>
                        <a:pt x="29" y="38"/>
                        <a:pt x="27" y="37"/>
                      </a:cubicBezTo>
                      <a:cubicBezTo>
                        <a:pt x="25" y="35"/>
                        <a:pt x="26" y="31"/>
                        <a:pt x="30" y="30"/>
                      </a:cubicBezTo>
                      <a:cubicBezTo>
                        <a:pt x="33" y="29"/>
                        <a:pt x="41" y="23"/>
                        <a:pt x="44" y="21"/>
                      </a:cubicBezTo>
                      <a:cubicBezTo>
                        <a:pt x="46" y="20"/>
                        <a:pt x="45" y="15"/>
                        <a:pt x="47" y="11"/>
                      </a:cubicBezTo>
                      <a:cubicBezTo>
                        <a:pt x="48" y="9"/>
                        <a:pt x="52" y="6"/>
                        <a:pt x="56" y="3"/>
                      </a:cubicBezTo>
                      <a:cubicBezTo>
                        <a:pt x="55" y="2"/>
                        <a:pt x="54" y="2"/>
                        <a:pt x="53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7" name="Freeform 70">
                  <a:extLst>
                    <a:ext uri="{FF2B5EF4-FFF2-40B4-BE49-F238E27FC236}">
                      <a16:creationId xmlns:a16="http://schemas.microsoft.com/office/drawing/2014/main" id="{BFD115A9-D989-43AE-B8C9-85676DD9F2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40059" y="-10056910"/>
                  <a:ext cx="382699" cy="220538"/>
                </a:xfrm>
                <a:custGeom>
                  <a:avLst/>
                  <a:gdLst>
                    <a:gd name="T0" fmla="*/ 61 w 62"/>
                    <a:gd name="T1" fmla="*/ 23 h 36"/>
                    <a:gd name="T2" fmla="*/ 59 w 62"/>
                    <a:gd name="T3" fmla="*/ 23 h 36"/>
                    <a:gd name="T4" fmla="*/ 48 w 62"/>
                    <a:gd name="T5" fmla="*/ 21 h 36"/>
                    <a:gd name="T6" fmla="*/ 33 w 62"/>
                    <a:gd name="T7" fmla="*/ 15 h 36"/>
                    <a:gd name="T8" fmla="*/ 16 w 62"/>
                    <a:gd name="T9" fmla="*/ 3 h 36"/>
                    <a:gd name="T10" fmla="*/ 10 w 62"/>
                    <a:gd name="T11" fmla="*/ 1 h 36"/>
                    <a:gd name="T12" fmla="*/ 5 w 62"/>
                    <a:gd name="T13" fmla="*/ 3 h 36"/>
                    <a:gd name="T14" fmla="*/ 1 w 62"/>
                    <a:gd name="T15" fmla="*/ 8 h 36"/>
                    <a:gd name="T16" fmla="*/ 0 w 62"/>
                    <a:gd name="T17" fmla="*/ 14 h 36"/>
                    <a:gd name="T18" fmla="*/ 4 w 62"/>
                    <a:gd name="T19" fmla="*/ 17 h 36"/>
                    <a:gd name="T20" fmla="*/ 11 w 62"/>
                    <a:gd name="T21" fmla="*/ 20 h 36"/>
                    <a:gd name="T22" fmla="*/ 17 w 62"/>
                    <a:gd name="T23" fmla="*/ 23 h 36"/>
                    <a:gd name="T24" fmla="*/ 23 w 62"/>
                    <a:gd name="T25" fmla="*/ 27 h 36"/>
                    <a:gd name="T26" fmla="*/ 31 w 62"/>
                    <a:gd name="T27" fmla="*/ 26 h 36"/>
                    <a:gd name="T28" fmla="*/ 35 w 62"/>
                    <a:gd name="T29" fmla="*/ 30 h 36"/>
                    <a:gd name="T30" fmla="*/ 46 w 62"/>
                    <a:gd name="T31" fmla="*/ 34 h 36"/>
                    <a:gd name="T32" fmla="*/ 60 w 62"/>
                    <a:gd name="T33" fmla="*/ 33 h 36"/>
                    <a:gd name="T34" fmla="*/ 60 w 62"/>
                    <a:gd name="T35" fmla="*/ 25 h 36"/>
                    <a:gd name="T36" fmla="*/ 61 w 62"/>
                    <a:gd name="T37" fmla="*/ 23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2" h="36">
                      <a:moveTo>
                        <a:pt x="61" y="23"/>
                      </a:moveTo>
                      <a:cubicBezTo>
                        <a:pt x="60" y="23"/>
                        <a:pt x="59" y="23"/>
                        <a:pt x="59" y="23"/>
                      </a:cubicBezTo>
                      <a:cubicBezTo>
                        <a:pt x="54" y="23"/>
                        <a:pt x="51" y="21"/>
                        <a:pt x="48" y="21"/>
                      </a:cubicBezTo>
                      <a:cubicBezTo>
                        <a:pt x="45" y="21"/>
                        <a:pt x="36" y="18"/>
                        <a:pt x="33" y="15"/>
                      </a:cubicBezTo>
                      <a:cubicBezTo>
                        <a:pt x="29" y="12"/>
                        <a:pt x="19" y="5"/>
                        <a:pt x="16" y="3"/>
                      </a:cubicBezTo>
                      <a:cubicBezTo>
                        <a:pt x="14" y="0"/>
                        <a:pt x="10" y="0"/>
                        <a:pt x="10" y="1"/>
                      </a:cubicBezTo>
                      <a:cubicBezTo>
                        <a:pt x="10" y="3"/>
                        <a:pt x="8" y="3"/>
                        <a:pt x="5" y="3"/>
                      </a:cubicBezTo>
                      <a:cubicBezTo>
                        <a:pt x="4" y="4"/>
                        <a:pt x="1" y="6"/>
                        <a:pt x="1" y="8"/>
                      </a:cubicBezTo>
                      <a:cubicBezTo>
                        <a:pt x="1" y="9"/>
                        <a:pt x="0" y="12"/>
                        <a:pt x="0" y="14"/>
                      </a:cubicBezTo>
                      <a:cubicBezTo>
                        <a:pt x="0" y="15"/>
                        <a:pt x="3" y="15"/>
                        <a:pt x="4" y="17"/>
                      </a:cubicBezTo>
                      <a:cubicBezTo>
                        <a:pt x="5" y="18"/>
                        <a:pt x="10" y="19"/>
                        <a:pt x="11" y="20"/>
                      </a:cubicBezTo>
                      <a:cubicBezTo>
                        <a:pt x="11" y="21"/>
                        <a:pt x="14" y="23"/>
                        <a:pt x="17" y="23"/>
                      </a:cubicBezTo>
                      <a:cubicBezTo>
                        <a:pt x="19" y="23"/>
                        <a:pt x="22" y="26"/>
                        <a:pt x="23" y="27"/>
                      </a:cubicBezTo>
                      <a:cubicBezTo>
                        <a:pt x="24" y="28"/>
                        <a:pt x="29" y="26"/>
                        <a:pt x="31" y="26"/>
                      </a:cubicBezTo>
                      <a:cubicBezTo>
                        <a:pt x="32" y="26"/>
                        <a:pt x="35" y="29"/>
                        <a:pt x="35" y="30"/>
                      </a:cubicBezTo>
                      <a:cubicBezTo>
                        <a:pt x="36" y="32"/>
                        <a:pt x="44" y="33"/>
                        <a:pt x="46" y="34"/>
                      </a:cubicBezTo>
                      <a:cubicBezTo>
                        <a:pt x="48" y="36"/>
                        <a:pt x="58" y="35"/>
                        <a:pt x="60" y="33"/>
                      </a:cubicBezTo>
                      <a:cubicBezTo>
                        <a:pt x="62" y="31"/>
                        <a:pt x="60" y="28"/>
                        <a:pt x="60" y="25"/>
                      </a:cubicBezTo>
                      <a:cubicBezTo>
                        <a:pt x="60" y="24"/>
                        <a:pt x="60" y="23"/>
                        <a:pt x="61" y="2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8" name="Freeform 71">
                  <a:extLst>
                    <a:ext uri="{FF2B5EF4-FFF2-40B4-BE49-F238E27FC236}">
                      <a16:creationId xmlns:a16="http://schemas.microsoft.com/office/drawing/2014/main" id="{F05223B5-5596-486B-8DD4-E8E024D7CA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634658" y="-9940154"/>
                  <a:ext cx="155674" cy="90810"/>
                </a:xfrm>
                <a:custGeom>
                  <a:avLst/>
                  <a:gdLst>
                    <a:gd name="T0" fmla="*/ 24 w 25"/>
                    <a:gd name="T1" fmla="*/ 5 h 15"/>
                    <a:gd name="T2" fmla="*/ 14 w 25"/>
                    <a:gd name="T3" fmla="*/ 2 h 15"/>
                    <a:gd name="T4" fmla="*/ 8 w 25"/>
                    <a:gd name="T5" fmla="*/ 1 h 15"/>
                    <a:gd name="T6" fmla="*/ 2 w 25"/>
                    <a:gd name="T7" fmla="*/ 6 h 15"/>
                    <a:gd name="T8" fmla="*/ 0 w 25"/>
                    <a:gd name="T9" fmla="*/ 10 h 15"/>
                    <a:gd name="T10" fmla="*/ 2 w 25"/>
                    <a:gd name="T11" fmla="*/ 11 h 15"/>
                    <a:gd name="T12" fmla="*/ 8 w 25"/>
                    <a:gd name="T13" fmla="*/ 13 h 15"/>
                    <a:gd name="T14" fmla="*/ 15 w 25"/>
                    <a:gd name="T15" fmla="*/ 13 h 15"/>
                    <a:gd name="T16" fmla="*/ 23 w 25"/>
                    <a:gd name="T17" fmla="*/ 12 h 15"/>
                    <a:gd name="T18" fmla="*/ 22 w 25"/>
                    <a:gd name="T19" fmla="*/ 5 h 15"/>
                    <a:gd name="T20" fmla="*/ 24 w 25"/>
                    <a:gd name="T21" fmla="*/ 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15">
                      <a:moveTo>
                        <a:pt x="24" y="5"/>
                      </a:moveTo>
                      <a:cubicBezTo>
                        <a:pt x="19" y="0"/>
                        <a:pt x="18" y="4"/>
                        <a:pt x="14" y="2"/>
                      </a:cubicBezTo>
                      <a:cubicBezTo>
                        <a:pt x="11" y="0"/>
                        <a:pt x="9" y="0"/>
                        <a:pt x="8" y="1"/>
                      </a:cubicBezTo>
                      <a:cubicBezTo>
                        <a:pt x="6" y="2"/>
                        <a:pt x="4" y="2"/>
                        <a:pt x="2" y="6"/>
                      </a:cubicBezTo>
                      <a:cubicBezTo>
                        <a:pt x="2" y="7"/>
                        <a:pt x="1" y="9"/>
                        <a:pt x="0" y="10"/>
                      </a:cubicBezTo>
                      <a:cubicBezTo>
                        <a:pt x="1" y="11"/>
                        <a:pt x="2" y="12"/>
                        <a:pt x="2" y="11"/>
                      </a:cubicBezTo>
                      <a:cubicBezTo>
                        <a:pt x="4" y="11"/>
                        <a:pt x="5" y="13"/>
                        <a:pt x="8" y="13"/>
                      </a:cubicBezTo>
                      <a:cubicBezTo>
                        <a:pt x="10" y="12"/>
                        <a:pt x="12" y="14"/>
                        <a:pt x="15" y="13"/>
                      </a:cubicBezTo>
                      <a:cubicBezTo>
                        <a:pt x="19" y="12"/>
                        <a:pt x="22" y="15"/>
                        <a:pt x="23" y="12"/>
                      </a:cubicBezTo>
                      <a:cubicBezTo>
                        <a:pt x="25" y="10"/>
                        <a:pt x="22" y="5"/>
                        <a:pt x="22" y="5"/>
                      </a:cubicBezTo>
                      <a:cubicBezTo>
                        <a:pt x="22" y="5"/>
                        <a:pt x="23" y="5"/>
                        <a:pt x="24" y="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89" name="Freeform 72">
                  <a:extLst>
                    <a:ext uri="{FF2B5EF4-FFF2-40B4-BE49-F238E27FC236}">
                      <a16:creationId xmlns:a16="http://schemas.microsoft.com/office/drawing/2014/main" id="{275788A8-D971-454E-83B4-B215791A2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322187" y="-11571488"/>
                  <a:ext cx="479995" cy="395672"/>
                </a:xfrm>
                <a:custGeom>
                  <a:avLst/>
                  <a:gdLst>
                    <a:gd name="T0" fmla="*/ 2 w 78"/>
                    <a:gd name="T1" fmla="*/ 14 h 64"/>
                    <a:gd name="T2" fmla="*/ 2 w 78"/>
                    <a:gd name="T3" fmla="*/ 22 h 64"/>
                    <a:gd name="T4" fmla="*/ 2 w 78"/>
                    <a:gd name="T5" fmla="*/ 25 h 64"/>
                    <a:gd name="T6" fmla="*/ 4 w 78"/>
                    <a:gd name="T7" fmla="*/ 29 h 64"/>
                    <a:gd name="T8" fmla="*/ 5 w 78"/>
                    <a:gd name="T9" fmla="*/ 33 h 64"/>
                    <a:gd name="T10" fmla="*/ 7 w 78"/>
                    <a:gd name="T11" fmla="*/ 40 h 64"/>
                    <a:gd name="T12" fmla="*/ 7 w 78"/>
                    <a:gd name="T13" fmla="*/ 44 h 64"/>
                    <a:gd name="T14" fmla="*/ 12 w 78"/>
                    <a:gd name="T15" fmla="*/ 46 h 64"/>
                    <a:gd name="T16" fmla="*/ 17 w 78"/>
                    <a:gd name="T17" fmla="*/ 50 h 64"/>
                    <a:gd name="T18" fmla="*/ 21 w 78"/>
                    <a:gd name="T19" fmla="*/ 52 h 64"/>
                    <a:gd name="T20" fmla="*/ 26 w 78"/>
                    <a:gd name="T21" fmla="*/ 51 h 64"/>
                    <a:gd name="T22" fmla="*/ 28 w 78"/>
                    <a:gd name="T23" fmla="*/ 54 h 64"/>
                    <a:gd name="T24" fmla="*/ 33 w 78"/>
                    <a:gd name="T25" fmla="*/ 55 h 64"/>
                    <a:gd name="T26" fmla="*/ 37 w 78"/>
                    <a:gd name="T27" fmla="*/ 60 h 64"/>
                    <a:gd name="T28" fmla="*/ 42 w 78"/>
                    <a:gd name="T29" fmla="*/ 59 h 64"/>
                    <a:gd name="T30" fmla="*/ 49 w 78"/>
                    <a:gd name="T31" fmla="*/ 60 h 64"/>
                    <a:gd name="T32" fmla="*/ 55 w 78"/>
                    <a:gd name="T33" fmla="*/ 61 h 64"/>
                    <a:gd name="T34" fmla="*/ 62 w 78"/>
                    <a:gd name="T35" fmla="*/ 62 h 64"/>
                    <a:gd name="T36" fmla="*/ 66 w 78"/>
                    <a:gd name="T37" fmla="*/ 64 h 64"/>
                    <a:gd name="T38" fmla="*/ 66 w 78"/>
                    <a:gd name="T39" fmla="*/ 58 h 64"/>
                    <a:gd name="T40" fmla="*/ 74 w 78"/>
                    <a:gd name="T41" fmla="*/ 51 h 64"/>
                    <a:gd name="T42" fmla="*/ 77 w 78"/>
                    <a:gd name="T43" fmla="*/ 48 h 64"/>
                    <a:gd name="T44" fmla="*/ 74 w 78"/>
                    <a:gd name="T45" fmla="*/ 40 h 64"/>
                    <a:gd name="T46" fmla="*/ 73 w 78"/>
                    <a:gd name="T47" fmla="*/ 33 h 64"/>
                    <a:gd name="T48" fmla="*/ 71 w 78"/>
                    <a:gd name="T49" fmla="*/ 29 h 64"/>
                    <a:gd name="T50" fmla="*/ 75 w 78"/>
                    <a:gd name="T51" fmla="*/ 25 h 64"/>
                    <a:gd name="T52" fmla="*/ 75 w 78"/>
                    <a:gd name="T53" fmla="*/ 18 h 64"/>
                    <a:gd name="T54" fmla="*/ 74 w 78"/>
                    <a:gd name="T55" fmla="*/ 12 h 64"/>
                    <a:gd name="T56" fmla="*/ 68 w 78"/>
                    <a:gd name="T57" fmla="*/ 7 h 64"/>
                    <a:gd name="T58" fmla="*/ 67 w 78"/>
                    <a:gd name="T59" fmla="*/ 7 h 64"/>
                    <a:gd name="T60" fmla="*/ 46 w 78"/>
                    <a:gd name="T61" fmla="*/ 6 h 64"/>
                    <a:gd name="T62" fmla="*/ 42 w 78"/>
                    <a:gd name="T63" fmla="*/ 4 h 64"/>
                    <a:gd name="T64" fmla="*/ 38 w 78"/>
                    <a:gd name="T65" fmla="*/ 7 h 64"/>
                    <a:gd name="T66" fmla="*/ 34 w 78"/>
                    <a:gd name="T67" fmla="*/ 2 h 64"/>
                    <a:gd name="T68" fmla="*/ 17 w 78"/>
                    <a:gd name="T69" fmla="*/ 7 h 64"/>
                    <a:gd name="T70" fmla="*/ 4 w 78"/>
                    <a:gd name="T71" fmla="*/ 11 h 64"/>
                    <a:gd name="T72" fmla="*/ 2 w 78"/>
                    <a:gd name="T73" fmla="*/ 13 h 64"/>
                    <a:gd name="T74" fmla="*/ 2 w 78"/>
                    <a:gd name="T75" fmla="*/ 1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78" h="64">
                      <a:moveTo>
                        <a:pt x="2" y="14"/>
                      </a:moveTo>
                      <a:cubicBezTo>
                        <a:pt x="2" y="15"/>
                        <a:pt x="3" y="20"/>
                        <a:pt x="2" y="22"/>
                      </a:cubicBezTo>
                      <a:cubicBezTo>
                        <a:pt x="0" y="24"/>
                        <a:pt x="1" y="25"/>
                        <a:pt x="2" y="25"/>
                      </a:cubicBezTo>
                      <a:cubicBezTo>
                        <a:pt x="3" y="26"/>
                        <a:pt x="4" y="28"/>
                        <a:pt x="4" y="29"/>
                      </a:cubicBezTo>
                      <a:cubicBezTo>
                        <a:pt x="4" y="31"/>
                        <a:pt x="5" y="30"/>
                        <a:pt x="5" y="33"/>
                      </a:cubicBezTo>
                      <a:cubicBezTo>
                        <a:pt x="5" y="37"/>
                        <a:pt x="6" y="39"/>
                        <a:pt x="7" y="40"/>
                      </a:cubicBezTo>
                      <a:cubicBezTo>
                        <a:pt x="8" y="41"/>
                        <a:pt x="8" y="42"/>
                        <a:pt x="7" y="44"/>
                      </a:cubicBezTo>
                      <a:cubicBezTo>
                        <a:pt x="9" y="45"/>
                        <a:pt x="10" y="46"/>
                        <a:pt x="12" y="46"/>
                      </a:cubicBezTo>
                      <a:cubicBezTo>
                        <a:pt x="16" y="48"/>
                        <a:pt x="17" y="49"/>
                        <a:pt x="17" y="50"/>
                      </a:cubicBezTo>
                      <a:cubicBezTo>
                        <a:pt x="17" y="51"/>
                        <a:pt x="21" y="54"/>
                        <a:pt x="21" y="52"/>
                      </a:cubicBezTo>
                      <a:cubicBezTo>
                        <a:pt x="22" y="50"/>
                        <a:pt x="24" y="51"/>
                        <a:pt x="26" y="51"/>
                      </a:cubicBezTo>
                      <a:cubicBezTo>
                        <a:pt x="28" y="51"/>
                        <a:pt x="28" y="53"/>
                        <a:pt x="28" y="54"/>
                      </a:cubicBezTo>
                      <a:cubicBezTo>
                        <a:pt x="28" y="55"/>
                        <a:pt x="32" y="54"/>
                        <a:pt x="33" y="55"/>
                      </a:cubicBezTo>
                      <a:cubicBezTo>
                        <a:pt x="35" y="56"/>
                        <a:pt x="35" y="59"/>
                        <a:pt x="37" y="60"/>
                      </a:cubicBezTo>
                      <a:cubicBezTo>
                        <a:pt x="39" y="61"/>
                        <a:pt x="41" y="59"/>
                        <a:pt x="42" y="59"/>
                      </a:cubicBezTo>
                      <a:cubicBezTo>
                        <a:pt x="43" y="60"/>
                        <a:pt x="47" y="61"/>
                        <a:pt x="49" y="60"/>
                      </a:cubicBezTo>
                      <a:cubicBezTo>
                        <a:pt x="51" y="59"/>
                        <a:pt x="52" y="61"/>
                        <a:pt x="55" y="61"/>
                      </a:cubicBezTo>
                      <a:cubicBezTo>
                        <a:pt x="58" y="61"/>
                        <a:pt x="61" y="62"/>
                        <a:pt x="62" y="62"/>
                      </a:cubicBezTo>
                      <a:cubicBezTo>
                        <a:pt x="62" y="63"/>
                        <a:pt x="64" y="63"/>
                        <a:pt x="66" y="64"/>
                      </a:cubicBezTo>
                      <a:cubicBezTo>
                        <a:pt x="67" y="62"/>
                        <a:pt x="66" y="59"/>
                        <a:pt x="66" y="58"/>
                      </a:cubicBezTo>
                      <a:cubicBezTo>
                        <a:pt x="66" y="57"/>
                        <a:pt x="73" y="52"/>
                        <a:pt x="74" y="51"/>
                      </a:cubicBezTo>
                      <a:cubicBezTo>
                        <a:pt x="75" y="49"/>
                        <a:pt x="76" y="49"/>
                        <a:pt x="77" y="48"/>
                      </a:cubicBezTo>
                      <a:cubicBezTo>
                        <a:pt x="78" y="46"/>
                        <a:pt x="75" y="41"/>
                        <a:pt x="74" y="40"/>
                      </a:cubicBezTo>
                      <a:cubicBezTo>
                        <a:pt x="73" y="39"/>
                        <a:pt x="73" y="35"/>
                        <a:pt x="73" y="33"/>
                      </a:cubicBezTo>
                      <a:cubicBezTo>
                        <a:pt x="74" y="31"/>
                        <a:pt x="71" y="30"/>
                        <a:pt x="71" y="29"/>
                      </a:cubicBezTo>
                      <a:cubicBezTo>
                        <a:pt x="71" y="27"/>
                        <a:pt x="74" y="25"/>
                        <a:pt x="75" y="25"/>
                      </a:cubicBezTo>
                      <a:cubicBezTo>
                        <a:pt x="77" y="24"/>
                        <a:pt x="76" y="19"/>
                        <a:pt x="75" y="18"/>
                      </a:cubicBezTo>
                      <a:cubicBezTo>
                        <a:pt x="74" y="16"/>
                        <a:pt x="73" y="14"/>
                        <a:pt x="74" y="12"/>
                      </a:cubicBezTo>
                      <a:cubicBezTo>
                        <a:pt x="75" y="9"/>
                        <a:pt x="68" y="7"/>
                        <a:pt x="68" y="7"/>
                      </a:cubicBezTo>
                      <a:cubicBezTo>
                        <a:pt x="67" y="7"/>
                        <a:pt x="67" y="7"/>
                        <a:pt x="67" y="7"/>
                      </a:cubicBezTo>
                      <a:cubicBezTo>
                        <a:pt x="62" y="8"/>
                        <a:pt x="47" y="6"/>
                        <a:pt x="46" y="6"/>
                      </a:cubicBezTo>
                      <a:cubicBezTo>
                        <a:pt x="46" y="6"/>
                        <a:pt x="44" y="5"/>
                        <a:pt x="42" y="4"/>
                      </a:cubicBezTo>
                      <a:cubicBezTo>
                        <a:pt x="42" y="6"/>
                        <a:pt x="40" y="7"/>
                        <a:pt x="38" y="7"/>
                      </a:cubicBezTo>
                      <a:cubicBezTo>
                        <a:pt x="34" y="7"/>
                        <a:pt x="34" y="3"/>
                        <a:pt x="34" y="2"/>
                      </a:cubicBezTo>
                      <a:cubicBezTo>
                        <a:pt x="34" y="0"/>
                        <a:pt x="20" y="3"/>
                        <a:pt x="17" y="7"/>
                      </a:cubicBezTo>
                      <a:cubicBezTo>
                        <a:pt x="13" y="10"/>
                        <a:pt x="4" y="9"/>
                        <a:pt x="4" y="11"/>
                      </a:cubicBezTo>
                      <a:cubicBezTo>
                        <a:pt x="4" y="12"/>
                        <a:pt x="3" y="13"/>
                        <a:pt x="2" y="13"/>
                      </a:cubicBezTo>
                      <a:cubicBezTo>
                        <a:pt x="2" y="13"/>
                        <a:pt x="2" y="13"/>
                        <a:pt x="2" y="1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0" name="Freeform 73">
                  <a:extLst>
                    <a:ext uri="{FF2B5EF4-FFF2-40B4-BE49-F238E27FC236}">
                      <a16:creationId xmlns:a16="http://schemas.microsoft.com/office/drawing/2014/main" id="{99CAFACA-A088-4566-A5CC-75545A44DC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247595" y="-10935819"/>
                  <a:ext cx="178378" cy="175133"/>
                </a:xfrm>
                <a:custGeom>
                  <a:avLst/>
                  <a:gdLst>
                    <a:gd name="T0" fmla="*/ 21 w 29"/>
                    <a:gd name="T1" fmla="*/ 25 h 28"/>
                    <a:gd name="T2" fmla="*/ 27 w 29"/>
                    <a:gd name="T3" fmla="*/ 16 h 28"/>
                    <a:gd name="T4" fmla="*/ 28 w 29"/>
                    <a:gd name="T5" fmla="*/ 6 h 28"/>
                    <a:gd name="T6" fmla="*/ 21 w 29"/>
                    <a:gd name="T7" fmla="*/ 2 h 28"/>
                    <a:gd name="T8" fmla="*/ 9 w 29"/>
                    <a:gd name="T9" fmla="*/ 1 h 28"/>
                    <a:gd name="T10" fmla="*/ 4 w 29"/>
                    <a:gd name="T11" fmla="*/ 2 h 28"/>
                    <a:gd name="T12" fmla="*/ 0 w 29"/>
                    <a:gd name="T13" fmla="*/ 4 h 28"/>
                    <a:gd name="T14" fmla="*/ 4 w 29"/>
                    <a:gd name="T15" fmla="*/ 10 h 28"/>
                    <a:gd name="T16" fmla="*/ 10 w 29"/>
                    <a:gd name="T17" fmla="*/ 18 h 28"/>
                    <a:gd name="T18" fmla="*/ 17 w 29"/>
                    <a:gd name="T19" fmla="*/ 25 h 28"/>
                    <a:gd name="T20" fmla="*/ 21 w 29"/>
                    <a:gd name="T21" fmla="*/ 28 h 28"/>
                    <a:gd name="T22" fmla="*/ 21 w 29"/>
                    <a:gd name="T23" fmla="*/ 25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9" h="28">
                      <a:moveTo>
                        <a:pt x="21" y="25"/>
                      </a:moveTo>
                      <a:cubicBezTo>
                        <a:pt x="21" y="24"/>
                        <a:pt x="26" y="16"/>
                        <a:pt x="27" y="16"/>
                      </a:cubicBezTo>
                      <a:cubicBezTo>
                        <a:pt x="28" y="16"/>
                        <a:pt x="29" y="9"/>
                        <a:pt x="28" y="6"/>
                      </a:cubicBezTo>
                      <a:cubicBezTo>
                        <a:pt x="24" y="3"/>
                        <a:pt x="21" y="2"/>
                        <a:pt x="21" y="2"/>
                      </a:cubicBezTo>
                      <a:cubicBezTo>
                        <a:pt x="21" y="2"/>
                        <a:pt x="10" y="2"/>
                        <a:pt x="9" y="1"/>
                      </a:cubicBezTo>
                      <a:cubicBezTo>
                        <a:pt x="7" y="0"/>
                        <a:pt x="5" y="3"/>
                        <a:pt x="4" y="2"/>
                      </a:cubicBezTo>
                      <a:cubicBezTo>
                        <a:pt x="2" y="1"/>
                        <a:pt x="0" y="2"/>
                        <a:pt x="0" y="4"/>
                      </a:cubicBezTo>
                      <a:cubicBezTo>
                        <a:pt x="0" y="6"/>
                        <a:pt x="4" y="7"/>
                        <a:pt x="4" y="10"/>
                      </a:cubicBezTo>
                      <a:cubicBezTo>
                        <a:pt x="4" y="12"/>
                        <a:pt x="10" y="16"/>
                        <a:pt x="10" y="18"/>
                      </a:cubicBezTo>
                      <a:cubicBezTo>
                        <a:pt x="10" y="19"/>
                        <a:pt x="14" y="21"/>
                        <a:pt x="17" y="25"/>
                      </a:cubicBezTo>
                      <a:cubicBezTo>
                        <a:pt x="18" y="26"/>
                        <a:pt x="20" y="27"/>
                        <a:pt x="21" y="28"/>
                      </a:cubicBezTo>
                      <a:cubicBezTo>
                        <a:pt x="21" y="27"/>
                        <a:pt x="21" y="26"/>
                        <a:pt x="21" y="2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1" name="Freeform 74">
                  <a:extLst>
                    <a:ext uri="{FF2B5EF4-FFF2-40B4-BE49-F238E27FC236}">
                      <a16:creationId xmlns:a16="http://schemas.microsoft.com/office/drawing/2014/main" id="{7D59A80C-D2E0-4D88-9F09-4167EEC41C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341647" y="-11013656"/>
                  <a:ext cx="265943" cy="233511"/>
                </a:xfrm>
                <a:custGeom>
                  <a:avLst/>
                  <a:gdLst>
                    <a:gd name="T0" fmla="*/ 25 w 43"/>
                    <a:gd name="T1" fmla="*/ 31 h 38"/>
                    <a:gd name="T2" fmla="*/ 19 w 43"/>
                    <a:gd name="T3" fmla="*/ 23 h 38"/>
                    <a:gd name="T4" fmla="*/ 15 w 43"/>
                    <a:gd name="T5" fmla="*/ 17 h 38"/>
                    <a:gd name="T6" fmla="*/ 19 w 43"/>
                    <a:gd name="T7" fmla="*/ 15 h 38"/>
                    <a:gd name="T8" fmla="*/ 24 w 43"/>
                    <a:gd name="T9" fmla="*/ 14 h 38"/>
                    <a:gd name="T10" fmla="*/ 36 w 43"/>
                    <a:gd name="T11" fmla="*/ 15 h 38"/>
                    <a:gd name="T12" fmla="*/ 43 w 43"/>
                    <a:gd name="T13" fmla="*/ 19 h 38"/>
                    <a:gd name="T14" fmla="*/ 43 w 43"/>
                    <a:gd name="T15" fmla="*/ 17 h 38"/>
                    <a:gd name="T16" fmla="*/ 40 w 43"/>
                    <a:gd name="T17" fmla="*/ 11 h 38"/>
                    <a:gd name="T18" fmla="*/ 38 w 43"/>
                    <a:gd name="T19" fmla="*/ 6 h 38"/>
                    <a:gd name="T20" fmla="*/ 36 w 43"/>
                    <a:gd name="T21" fmla="*/ 7 h 38"/>
                    <a:gd name="T22" fmla="*/ 27 w 43"/>
                    <a:gd name="T23" fmla="*/ 5 h 38"/>
                    <a:gd name="T24" fmla="*/ 21 w 43"/>
                    <a:gd name="T25" fmla="*/ 0 h 38"/>
                    <a:gd name="T26" fmla="*/ 16 w 43"/>
                    <a:gd name="T27" fmla="*/ 4 h 38"/>
                    <a:gd name="T28" fmla="*/ 14 w 43"/>
                    <a:gd name="T29" fmla="*/ 8 h 38"/>
                    <a:gd name="T30" fmla="*/ 11 w 43"/>
                    <a:gd name="T31" fmla="*/ 11 h 38"/>
                    <a:gd name="T32" fmla="*/ 6 w 43"/>
                    <a:gd name="T33" fmla="*/ 11 h 38"/>
                    <a:gd name="T34" fmla="*/ 0 w 43"/>
                    <a:gd name="T35" fmla="*/ 12 h 38"/>
                    <a:gd name="T36" fmla="*/ 2 w 43"/>
                    <a:gd name="T37" fmla="*/ 15 h 38"/>
                    <a:gd name="T38" fmla="*/ 8 w 43"/>
                    <a:gd name="T39" fmla="*/ 18 h 38"/>
                    <a:gd name="T40" fmla="*/ 15 w 43"/>
                    <a:gd name="T41" fmla="*/ 29 h 38"/>
                    <a:gd name="T42" fmla="*/ 22 w 43"/>
                    <a:gd name="T43" fmla="*/ 33 h 38"/>
                    <a:gd name="T44" fmla="*/ 28 w 43"/>
                    <a:gd name="T45" fmla="*/ 36 h 38"/>
                    <a:gd name="T46" fmla="*/ 32 w 43"/>
                    <a:gd name="T47" fmla="*/ 38 h 38"/>
                    <a:gd name="T48" fmla="*/ 25 w 43"/>
                    <a:gd name="T49" fmla="*/ 31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3" h="38">
                      <a:moveTo>
                        <a:pt x="25" y="31"/>
                      </a:moveTo>
                      <a:cubicBezTo>
                        <a:pt x="25" y="29"/>
                        <a:pt x="19" y="25"/>
                        <a:pt x="19" y="23"/>
                      </a:cubicBezTo>
                      <a:cubicBezTo>
                        <a:pt x="19" y="20"/>
                        <a:pt x="15" y="19"/>
                        <a:pt x="15" y="17"/>
                      </a:cubicBezTo>
                      <a:cubicBezTo>
                        <a:pt x="15" y="15"/>
                        <a:pt x="17" y="14"/>
                        <a:pt x="19" y="15"/>
                      </a:cubicBezTo>
                      <a:cubicBezTo>
                        <a:pt x="20" y="16"/>
                        <a:pt x="22" y="13"/>
                        <a:pt x="24" y="14"/>
                      </a:cubicBezTo>
                      <a:cubicBezTo>
                        <a:pt x="25" y="15"/>
                        <a:pt x="36" y="15"/>
                        <a:pt x="36" y="15"/>
                      </a:cubicBezTo>
                      <a:cubicBezTo>
                        <a:pt x="36" y="15"/>
                        <a:pt x="39" y="16"/>
                        <a:pt x="43" y="19"/>
                      </a:cubicBezTo>
                      <a:cubicBezTo>
                        <a:pt x="43" y="18"/>
                        <a:pt x="43" y="17"/>
                        <a:pt x="43" y="17"/>
                      </a:cubicBezTo>
                      <a:cubicBezTo>
                        <a:pt x="42" y="15"/>
                        <a:pt x="43" y="12"/>
                        <a:pt x="40" y="11"/>
                      </a:cubicBezTo>
                      <a:cubicBezTo>
                        <a:pt x="39" y="11"/>
                        <a:pt x="39" y="8"/>
                        <a:pt x="38" y="6"/>
                      </a:cubicBezTo>
                      <a:cubicBezTo>
                        <a:pt x="37" y="7"/>
                        <a:pt x="36" y="7"/>
                        <a:pt x="36" y="7"/>
                      </a:cubicBezTo>
                      <a:cubicBezTo>
                        <a:pt x="33" y="8"/>
                        <a:pt x="29" y="7"/>
                        <a:pt x="27" y="5"/>
                      </a:cubicBezTo>
                      <a:cubicBezTo>
                        <a:pt x="26" y="4"/>
                        <a:pt x="22" y="1"/>
                        <a:pt x="21" y="0"/>
                      </a:cubicBezTo>
                      <a:cubicBezTo>
                        <a:pt x="20" y="1"/>
                        <a:pt x="17" y="3"/>
                        <a:pt x="16" y="4"/>
                      </a:cubicBezTo>
                      <a:cubicBezTo>
                        <a:pt x="14" y="4"/>
                        <a:pt x="15" y="8"/>
                        <a:pt x="14" y="8"/>
                      </a:cubicBezTo>
                      <a:cubicBezTo>
                        <a:pt x="12" y="8"/>
                        <a:pt x="11" y="10"/>
                        <a:pt x="11" y="11"/>
                      </a:cubicBezTo>
                      <a:cubicBezTo>
                        <a:pt x="11" y="12"/>
                        <a:pt x="7" y="10"/>
                        <a:pt x="6" y="11"/>
                      </a:cubicBezTo>
                      <a:cubicBezTo>
                        <a:pt x="5" y="11"/>
                        <a:pt x="2" y="12"/>
                        <a:pt x="0" y="12"/>
                      </a:cubicBezTo>
                      <a:cubicBezTo>
                        <a:pt x="1" y="14"/>
                        <a:pt x="0" y="15"/>
                        <a:pt x="2" y="15"/>
                      </a:cubicBezTo>
                      <a:cubicBezTo>
                        <a:pt x="4" y="15"/>
                        <a:pt x="8" y="15"/>
                        <a:pt x="8" y="18"/>
                      </a:cubicBezTo>
                      <a:cubicBezTo>
                        <a:pt x="8" y="21"/>
                        <a:pt x="13" y="27"/>
                        <a:pt x="15" y="29"/>
                      </a:cubicBezTo>
                      <a:cubicBezTo>
                        <a:pt x="17" y="31"/>
                        <a:pt x="21" y="31"/>
                        <a:pt x="22" y="33"/>
                      </a:cubicBezTo>
                      <a:cubicBezTo>
                        <a:pt x="22" y="35"/>
                        <a:pt x="25" y="36"/>
                        <a:pt x="28" y="36"/>
                      </a:cubicBezTo>
                      <a:cubicBezTo>
                        <a:pt x="29" y="37"/>
                        <a:pt x="31" y="37"/>
                        <a:pt x="32" y="38"/>
                      </a:cubicBezTo>
                      <a:cubicBezTo>
                        <a:pt x="29" y="34"/>
                        <a:pt x="25" y="32"/>
                        <a:pt x="25" y="3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2" name="Freeform 75">
                  <a:extLst>
                    <a:ext uri="{FF2B5EF4-FFF2-40B4-BE49-F238E27FC236}">
                      <a16:creationId xmlns:a16="http://schemas.microsoft.com/office/drawing/2014/main" id="{D0A40E36-E6C4-4CE3-8278-0F101CBA4D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082190" y="-10767172"/>
                  <a:ext cx="94054" cy="178378"/>
                </a:xfrm>
                <a:custGeom>
                  <a:avLst/>
                  <a:gdLst>
                    <a:gd name="T0" fmla="*/ 10 w 15"/>
                    <a:gd name="T1" fmla="*/ 25 h 29"/>
                    <a:gd name="T2" fmla="*/ 12 w 15"/>
                    <a:gd name="T3" fmla="*/ 22 h 29"/>
                    <a:gd name="T4" fmla="*/ 14 w 15"/>
                    <a:gd name="T5" fmla="*/ 17 h 29"/>
                    <a:gd name="T6" fmla="*/ 15 w 15"/>
                    <a:gd name="T7" fmla="*/ 17 h 29"/>
                    <a:gd name="T8" fmla="*/ 10 w 15"/>
                    <a:gd name="T9" fmla="*/ 12 h 29"/>
                    <a:gd name="T10" fmla="*/ 11 w 15"/>
                    <a:gd name="T11" fmla="*/ 4 h 29"/>
                    <a:gd name="T12" fmla="*/ 4 w 15"/>
                    <a:gd name="T13" fmla="*/ 0 h 29"/>
                    <a:gd name="T14" fmla="*/ 0 w 15"/>
                    <a:gd name="T15" fmla="*/ 5 h 29"/>
                    <a:gd name="T16" fmla="*/ 2 w 15"/>
                    <a:gd name="T17" fmla="*/ 10 h 29"/>
                    <a:gd name="T18" fmla="*/ 2 w 15"/>
                    <a:gd name="T19" fmla="*/ 22 h 29"/>
                    <a:gd name="T20" fmla="*/ 7 w 15"/>
                    <a:gd name="T21" fmla="*/ 29 h 29"/>
                    <a:gd name="T22" fmla="*/ 10 w 15"/>
                    <a:gd name="T23" fmla="*/ 25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" h="29">
                      <a:moveTo>
                        <a:pt x="10" y="25"/>
                      </a:moveTo>
                      <a:cubicBezTo>
                        <a:pt x="11" y="24"/>
                        <a:pt x="10" y="23"/>
                        <a:pt x="12" y="22"/>
                      </a:cubicBezTo>
                      <a:cubicBezTo>
                        <a:pt x="13" y="20"/>
                        <a:pt x="14" y="18"/>
                        <a:pt x="14" y="17"/>
                      </a:cubicBezTo>
                      <a:cubicBezTo>
                        <a:pt x="15" y="17"/>
                        <a:pt x="15" y="17"/>
                        <a:pt x="15" y="17"/>
                      </a:cubicBezTo>
                      <a:cubicBezTo>
                        <a:pt x="12" y="15"/>
                        <a:pt x="11" y="14"/>
                        <a:pt x="10" y="12"/>
                      </a:cubicBezTo>
                      <a:cubicBezTo>
                        <a:pt x="9" y="10"/>
                        <a:pt x="10" y="6"/>
                        <a:pt x="11" y="4"/>
                      </a:cubicBezTo>
                      <a:cubicBezTo>
                        <a:pt x="9" y="3"/>
                        <a:pt x="5" y="0"/>
                        <a:pt x="4" y="0"/>
                      </a:cubicBezTo>
                      <a:cubicBezTo>
                        <a:pt x="3" y="0"/>
                        <a:pt x="1" y="3"/>
                        <a:pt x="0" y="5"/>
                      </a:cubicBezTo>
                      <a:cubicBezTo>
                        <a:pt x="3" y="7"/>
                        <a:pt x="4" y="8"/>
                        <a:pt x="2" y="10"/>
                      </a:cubicBezTo>
                      <a:cubicBezTo>
                        <a:pt x="0" y="13"/>
                        <a:pt x="0" y="20"/>
                        <a:pt x="2" y="22"/>
                      </a:cubicBezTo>
                      <a:cubicBezTo>
                        <a:pt x="4" y="24"/>
                        <a:pt x="5" y="28"/>
                        <a:pt x="7" y="29"/>
                      </a:cubicBezTo>
                      <a:cubicBezTo>
                        <a:pt x="8" y="27"/>
                        <a:pt x="8" y="25"/>
                        <a:pt x="10" y="2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3" name="Freeform 76">
                  <a:extLst>
                    <a:ext uri="{FF2B5EF4-FFF2-40B4-BE49-F238E27FC236}">
                      <a16:creationId xmlns:a16="http://schemas.microsoft.com/office/drawing/2014/main" id="{9F19C163-1725-49D1-A75D-14B43D4B03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545970" y="-11169330"/>
                  <a:ext cx="369726" cy="162161"/>
                </a:xfrm>
                <a:custGeom>
                  <a:avLst/>
                  <a:gdLst>
                    <a:gd name="T0" fmla="*/ 51 w 60"/>
                    <a:gd name="T1" fmla="*/ 2 h 26"/>
                    <a:gd name="T2" fmla="*/ 43 w 60"/>
                    <a:gd name="T3" fmla="*/ 0 h 26"/>
                    <a:gd name="T4" fmla="*/ 42 w 60"/>
                    <a:gd name="T5" fmla="*/ 3 h 26"/>
                    <a:gd name="T6" fmla="*/ 35 w 60"/>
                    <a:gd name="T7" fmla="*/ 4 h 26"/>
                    <a:gd name="T8" fmla="*/ 31 w 60"/>
                    <a:gd name="T9" fmla="*/ 7 h 26"/>
                    <a:gd name="T10" fmla="*/ 27 w 60"/>
                    <a:gd name="T11" fmla="*/ 12 h 26"/>
                    <a:gd name="T12" fmla="*/ 24 w 60"/>
                    <a:gd name="T13" fmla="*/ 14 h 26"/>
                    <a:gd name="T14" fmla="*/ 16 w 60"/>
                    <a:gd name="T15" fmla="*/ 16 h 26"/>
                    <a:gd name="T16" fmla="*/ 11 w 60"/>
                    <a:gd name="T17" fmla="*/ 16 h 26"/>
                    <a:gd name="T18" fmla="*/ 7 w 60"/>
                    <a:gd name="T19" fmla="*/ 17 h 26"/>
                    <a:gd name="T20" fmla="*/ 2 w 60"/>
                    <a:gd name="T21" fmla="*/ 15 h 26"/>
                    <a:gd name="T22" fmla="*/ 1 w 60"/>
                    <a:gd name="T23" fmla="*/ 20 h 26"/>
                    <a:gd name="T24" fmla="*/ 5 w 60"/>
                    <a:gd name="T25" fmla="*/ 22 h 26"/>
                    <a:gd name="T26" fmla="*/ 10 w 60"/>
                    <a:gd name="T27" fmla="*/ 23 h 26"/>
                    <a:gd name="T28" fmla="*/ 15 w 60"/>
                    <a:gd name="T29" fmla="*/ 21 h 26"/>
                    <a:gd name="T30" fmla="*/ 22 w 60"/>
                    <a:gd name="T31" fmla="*/ 20 h 26"/>
                    <a:gd name="T32" fmla="*/ 23 w 60"/>
                    <a:gd name="T33" fmla="*/ 24 h 26"/>
                    <a:gd name="T34" fmla="*/ 30 w 60"/>
                    <a:gd name="T35" fmla="*/ 25 h 26"/>
                    <a:gd name="T36" fmla="*/ 39 w 60"/>
                    <a:gd name="T37" fmla="*/ 26 h 26"/>
                    <a:gd name="T38" fmla="*/ 46 w 60"/>
                    <a:gd name="T39" fmla="*/ 24 h 26"/>
                    <a:gd name="T40" fmla="*/ 52 w 60"/>
                    <a:gd name="T41" fmla="*/ 22 h 26"/>
                    <a:gd name="T42" fmla="*/ 52 w 60"/>
                    <a:gd name="T43" fmla="*/ 22 h 26"/>
                    <a:gd name="T44" fmla="*/ 53 w 60"/>
                    <a:gd name="T45" fmla="*/ 20 h 26"/>
                    <a:gd name="T46" fmla="*/ 54 w 60"/>
                    <a:gd name="T47" fmla="*/ 17 h 26"/>
                    <a:gd name="T48" fmla="*/ 55 w 60"/>
                    <a:gd name="T49" fmla="*/ 14 h 26"/>
                    <a:gd name="T50" fmla="*/ 59 w 60"/>
                    <a:gd name="T51" fmla="*/ 12 h 26"/>
                    <a:gd name="T52" fmla="*/ 60 w 60"/>
                    <a:gd name="T53" fmla="*/ 9 h 26"/>
                    <a:gd name="T54" fmla="*/ 57 w 60"/>
                    <a:gd name="T55" fmla="*/ 3 h 26"/>
                    <a:gd name="T56" fmla="*/ 51 w 60"/>
                    <a:gd name="T57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0" h="26">
                      <a:moveTo>
                        <a:pt x="51" y="2"/>
                      </a:moveTo>
                      <a:cubicBezTo>
                        <a:pt x="49" y="0"/>
                        <a:pt x="43" y="0"/>
                        <a:pt x="43" y="0"/>
                      </a:cubicBezTo>
                      <a:cubicBezTo>
                        <a:pt x="43" y="0"/>
                        <a:pt x="43" y="2"/>
                        <a:pt x="42" y="3"/>
                      </a:cubicBezTo>
                      <a:cubicBezTo>
                        <a:pt x="41" y="4"/>
                        <a:pt x="37" y="4"/>
                        <a:pt x="35" y="4"/>
                      </a:cubicBezTo>
                      <a:cubicBezTo>
                        <a:pt x="34" y="5"/>
                        <a:pt x="31" y="5"/>
                        <a:pt x="31" y="7"/>
                      </a:cubicBezTo>
                      <a:cubicBezTo>
                        <a:pt x="30" y="8"/>
                        <a:pt x="26" y="7"/>
                        <a:pt x="27" y="12"/>
                      </a:cubicBezTo>
                      <a:cubicBezTo>
                        <a:pt x="29" y="16"/>
                        <a:pt x="25" y="14"/>
                        <a:pt x="24" y="14"/>
                      </a:cubicBezTo>
                      <a:cubicBezTo>
                        <a:pt x="23" y="13"/>
                        <a:pt x="17" y="14"/>
                        <a:pt x="16" y="16"/>
                      </a:cubicBezTo>
                      <a:cubicBezTo>
                        <a:pt x="15" y="17"/>
                        <a:pt x="13" y="17"/>
                        <a:pt x="11" y="16"/>
                      </a:cubicBezTo>
                      <a:cubicBezTo>
                        <a:pt x="10" y="15"/>
                        <a:pt x="8" y="15"/>
                        <a:pt x="7" y="17"/>
                      </a:cubicBezTo>
                      <a:cubicBezTo>
                        <a:pt x="5" y="18"/>
                        <a:pt x="4" y="15"/>
                        <a:pt x="2" y="15"/>
                      </a:cubicBezTo>
                      <a:cubicBezTo>
                        <a:pt x="0" y="16"/>
                        <a:pt x="1" y="19"/>
                        <a:pt x="1" y="20"/>
                      </a:cubicBezTo>
                      <a:cubicBezTo>
                        <a:pt x="1" y="20"/>
                        <a:pt x="4" y="23"/>
                        <a:pt x="5" y="22"/>
                      </a:cubicBezTo>
                      <a:cubicBezTo>
                        <a:pt x="7" y="21"/>
                        <a:pt x="9" y="22"/>
                        <a:pt x="10" y="23"/>
                      </a:cubicBezTo>
                      <a:cubicBezTo>
                        <a:pt x="12" y="24"/>
                        <a:pt x="14" y="22"/>
                        <a:pt x="15" y="21"/>
                      </a:cubicBezTo>
                      <a:cubicBezTo>
                        <a:pt x="16" y="20"/>
                        <a:pt x="21" y="20"/>
                        <a:pt x="22" y="20"/>
                      </a:cubicBezTo>
                      <a:cubicBezTo>
                        <a:pt x="22" y="20"/>
                        <a:pt x="22" y="23"/>
                        <a:pt x="23" y="24"/>
                      </a:cubicBezTo>
                      <a:cubicBezTo>
                        <a:pt x="24" y="24"/>
                        <a:pt x="27" y="25"/>
                        <a:pt x="30" y="25"/>
                      </a:cubicBezTo>
                      <a:cubicBezTo>
                        <a:pt x="33" y="25"/>
                        <a:pt x="38" y="26"/>
                        <a:pt x="39" y="26"/>
                      </a:cubicBezTo>
                      <a:cubicBezTo>
                        <a:pt x="41" y="26"/>
                        <a:pt x="43" y="24"/>
                        <a:pt x="46" y="24"/>
                      </a:cubicBezTo>
                      <a:cubicBezTo>
                        <a:pt x="50" y="24"/>
                        <a:pt x="51" y="22"/>
                        <a:pt x="52" y="22"/>
                      </a:cubicBezTo>
                      <a:cubicBezTo>
                        <a:pt x="52" y="22"/>
                        <a:pt x="52" y="22"/>
                        <a:pt x="52" y="22"/>
                      </a:cubicBezTo>
                      <a:cubicBezTo>
                        <a:pt x="52" y="21"/>
                        <a:pt x="52" y="20"/>
                        <a:pt x="53" y="20"/>
                      </a:cubicBezTo>
                      <a:cubicBezTo>
                        <a:pt x="54" y="20"/>
                        <a:pt x="54" y="18"/>
                        <a:pt x="54" y="17"/>
                      </a:cubicBezTo>
                      <a:cubicBezTo>
                        <a:pt x="55" y="16"/>
                        <a:pt x="54" y="13"/>
                        <a:pt x="55" y="14"/>
                      </a:cubicBezTo>
                      <a:cubicBezTo>
                        <a:pt x="57" y="14"/>
                        <a:pt x="59" y="14"/>
                        <a:pt x="59" y="12"/>
                      </a:cubicBezTo>
                      <a:cubicBezTo>
                        <a:pt x="59" y="11"/>
                        <a:pt x="59" y="10"/>
                        <a:pt x="60" y="9"/>
                      </a:cubicBezTo>
                      <a:cubicBezTo>
                        <a:pt x="58" y="7"/>
                        <a:pt x="57" y="3"/>
                        <a:pt x="57" y="3"/>
                      </a:cubicBezTo>
                      <a:cubicBezTo>
                        <a:pt x="57" y="3"/>
                        <a:pt x="53" y="4"/>
                        <a:pt x="51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4" name="Freeform 77">
                  <a:extLst>
                    <a:ext uri="{FF2B5EF4-FFF2-40B4-BE49-F238E27FC236}">
                      <a16:creationId xmlns:a16="http://schemas.microsoft.com/office/drawing/2014/main" id="{A0858B20-55C5-4D30-B92A-98447AC48E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224891" y="-11149871"/>
                  <a:ext cx="321079" cy="184864"/>
                </a:xfrm>
                <a:custGeom>
                  <a:avLst/>
                  <a:gdLst>
                    <a:gd name="T0" fmla="*/ 50 w 52"/>
                    <a:gd name="T1" fmla="*/ 6 h 30"/>
                    <a:gd name="T2" fmla="*/ 48 w 52"/>
                    <a:gd name="T3" fmla="*/ 4 h 30"/>
                    <a:gd name="T4" fmla="*/ 43 w 52"/>
                    <a:gd name="T5" fmla="*/ 3 h 30"/>
                    <a:gd name="T6" fmla="*/ 36 w 52"/>
                    <a:gd name="T7" fmla="*/ 0 h 30"/>
                    <a:gd name="T8" fmla="*/ 29 w 52"/>
                    <a:gd name="T9" fmla="*/ 5 h 30"/>
                    <a:gd name="T10" fmla="*/ 20 w 52"/>
                    <a:gd name="T11" fmla="*/ 8 h 30"/>
                    <a:gd name="T12" fmla="*/ 9 w 52"/>
                    <a:gd name="T13" fmla="*/ 8 h 30"/>
                    <a:gd name="T14" fmla="*/ 8 w 52"/>
                    <a:gd name="T15" fmla="*/ 6 h 30"/>
                    <a:gd name="T16" fmla="*/ 7 w 52"/>
                    <a:gd name="T17" fmla="*/ 9 h 30"/>
                    <a:gd name="T18" fmla="*/ 3 w 52"/>
                    <a:gd name="T19" fmla="*/ 11 h 30"/>
                    <a:gd name="T20" fmla="*/ 2 w 52"/>
                    <a:gd name="T21" fmla="*/ 14 h 30"/>
                    <a:gd name="T22" fmla="*/ 1 w 52"/>
                    <a:gd name="T23" fmla="*/ 17 h 30"/>
                    <a:gd name="T24" fmla="*/ 0 w 52"/>
                    <a:gd name="T25" fmla="*/ 19 h 30"/>
                    <a:gd name="T26" fmla="*/ 2 w 52"/>
                    <a:gd name="T27" fmla="*/ 22 h 30"/>
                    <a:gd name="T28" fmla="*/ 2 w 52"/>
                    <a:gd name="T29" fmla="*/ 22 h 30"/>
                    <a:gd name="T30" fmla="*/ 8 w 52"/>
                    <a:gd name="T31" fmla="*/ 27 h 30"/>
                    <a:gd name="T32" fmla="*/ 17 w 52"/>
                    <a:gd name="T33" fmla="*/ 29 h 30"/>
                    <a:gd name="T34" fmla="*/ 28 w 52"/>
                    <a:gd name="T35" fmla="*/ 26 h 30"/>
                    <a:gd name="T36" fmla="*/ 31 w 52"/>
                    <a:gd name="T37" fmla="*/ 27 h 30"/>
                    <a:gd name="T38" fmla="*/ 33 w 52"/>
                    <a:gd name="T39" fmla="*/ 27 h 30"/>
                    <a:gd name="T40" fmla="*/ 38 w 52"/>
                    <a:gd name="T41" fmla="*/ 24 h 30"/>
                    <a:gd name="T42" fmla="*/ 46 w 52"/>
                    <a:gd name="T43" fmla="*/ 12 h 30"/>
                    <a:gd name="T44" fmla="*/ 51 w 52"/>
                    <a:gd name="T45" fmla="*/ 8 h 30"/>
                    <a:gd name="T46" fmla="*/ 50 w 52"/>
                    <a:gd name="T47" fmla="*/ 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2" h="30">
                      <a:moveTo>
                        <a:pt x="50" y="6"/>
                      </a:moveTo>
                      <a:cubicBezTo>
                        <a:pt x="50" y="5"/>
                        <a:pt x="49" y="5"/>
                        <a:pt x="48" y="4"/>
                      </a:cubicBezTo>
                      <a:cubicBezTo>
                        <a:pt x="46" y="4"/>
                        <a:pt x="44" y="3"/>
                        <a:pt x="43" y="3"/>
                      </a:cubicBezTo>
                      <a:cubicBezTo>
                        <a:pt x="42" y="1"/>
                        <a:pt x="37" y="1"/>
                        <a:pt x="36" y="0"/>
                      </a:cubicBezTo>
                      <a:cubicBezTo>
                        <a:pt x="35" y="0"/>
                        <a:pt x="30" y="5"/>
                        <a:pt x="29" y="5"/>
                      </a:cubicBezTo>
                      <a:cubicBezTo>
                        <a:pt x="27" y="5"/>
                        <a:pt x="20" y="6"/>
                        <a:pt x="20" y="8"/>
                      </a:cubicBezTo>
                      <a:cubicBezTo>
                        <a:pt x="20" y="10"/>
                        <a:pt x="12" y="10"/>
                        <a:pt x="9" y="8"/>
                      </a:cubicBezTo>
                      <a:cubicBezTo>
                        <a:pt x="9" y="7"/>
                        <a:pt x="8" y="7"/>
                        <a:pt x="8" y="6"/>
                      </a:cubicBezTo>
                      <a:cubicBezTo>
                        <a:pt x="7" y="7"/>
                        <a:pt x="7" y="8"/>
                        <a:pt x="7" y="9"/>
                      </a:cubicBezTo>
                      <a:cubicBezTo>
                        <a:pt x="7" y="11"/>
                        <a:pt x="5" y="11"/>
                        <a:pt x="3" y="11"/>
                      </a:cubicBezTo>
                      <a:cubicBezTo>
                        <a:pt x="2" y="10"/>
                        <a:pt x="3" y="13"/>
                        <a:pt x="2" y="14"/>
                      </a:cubicBezTo>
                      <a:cubicBezTo>
                        <a:pt x="2" y="15"/>
                        <a:pt x="2" y="17"/>
                        <a:pt x="1" y="17"/>
                      </a:cubicBezTo>
                      <a:cubicBezTo>
                        <a:pt x="0" y="17"/>
                        <a:pt x="0" y="18"/>
                        <a:pt x="0" y="19"/>
                      </a:cubicBezTo>
                      <a:cubicBezTo>
                        <a:pt x="0" y="19"/>
                        <a:pt x="2" y="22"/>
                        <a:pt x="2" y="22"/>
                      </a:cubicBezTo>
                      <a:cubicBezTo>
                        <a:pt x="2" y="22"/>
                        <a:pt x="2" y="22"/>
                        <a:pt x="2" y="22"/>
                      </a:cubicBezTo>
                      <a:cubicBezTo>
                        <a:pt x="3" y="23"/>
                        <a:pt x="7" y="26"/>
                        <a:pt x="8" y="27"/>
                      </a:cubicBezTo>
                      <a:cubicBezTo>
                        <a:pt x="10" y="29"/>
                        <a:pt x="14" y="30"/>
                        <a:pt x="17" y="29"/>
                      </a:cubicBezTo>
                      <a:cubicBezTo>
                        <a:pt x="19" y="29"/>
                        <a:pt x="28" y="26"/>
                        <a:pt x="28" y="26"/>
                      </a:cubicBezTo>
                      <a:cubicBezTo>
                        <a:pt x="28" y="26"/>
                        <a:pt x="30" y="27"/>
                        <a:pt x="31" y="27"/>
                      </a:cubicBezTo>
                      <a:cubicBezTo>
                        <a:pt x="31" y="27"/>
                        <a:pt x="32" y="27"/>
                        <a:pt x="33" y="27"/>
                      </a:cubicBezTo>
                      <a:cubicBezTo>
                        <a:pt x="34" y="27"/>
                        <a:pt x="36" y="26"/>
                        <a:pt x="38" y="24"/>
                      </a:cubicBezTo>
                      <a:cubicBezTo>
                        <a:pt x="41" y="21"/>
                        <a:pt x="44" y="12"/>
                        <a:pt x="46" y="12"/>
                      </a:cubicBezTo>
                      <a:cubicBezTo>
                        <a:pt x="47" y="11"/>
                        <a:pt x="49" y="9"/>
                        <a:pt x="51" y="8"/>
                      </a:cubicBezTo>
                      <a:cubicBezTo>
                        <a:pt x="52" y="7"/>
                        <a:pt x="52" y="6"/>
                        <a:pt x="50" y="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5" name="Freeform 78">
                  <a:extLst>
                    <a:ext uri="{FF2B5EF4-FFF2-40B4-BE49-F238E27FC236}">
                      <a16:creationId xmlns:a16="http://schemas.microsoft.com/office/drawing/2014/main" id="{64E0E162-5091-4076-805C-4C0D966E4C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416241" y="-11305545"/>
                  <a:ext cx="314592" cy="162161"/>
                </a:xfrm>
                <a:custGeom>
                  <a:avLst/>
                  <a:gdLst>
                    <a:gd name="T0" fmla="*/ 48 w 51"/>
                    <a:gd name="T1" fmla="*/ 12 h 26"/>
                    <a:gd name="T2" fmla="*/ 43 w 51"/>
                    <a:gd name="T3" fmla="*/ 11 h 26"/>
                    <a:gd name="T4" fmla="*/ 41 w 51"/>
                    <a:gd name="T5" fmla="*/ 8 h 26"/>
                    <a:gd name="T6" fmla="*/ 36 w 51"/>
                    <a:gd name="T7" fmla="*/ 9 h 26"/>
                    <a:gd name="T8" fmla="*/ 32 w 51"/>
                    <a:gd name="T9" fmla="*/ 7 h 26"/>
                    <a:gd name="T10" fmla="*/ 27 w 51"/>
                    <a:gd name="T11" fmla="*/ 3 h 26"/>
                    <a:gd name="T12" fmla="*/ 22 w 51"/>
                    <a:gd name="T13" fmla="*/ 1 h 26"/>
                    <a:gd name="T14" fmla="*/ 22 w 51"/>
                    <a:gd name="T15" fmla="*/ 1 h 26"/>
                    <a:gd name="T16" fmla="*/ 17 w 51"/>
                    <a:gd name="T17" fmla="*/ 2 h 26"/>
                    <a:gd name="T18" fmla="*/ 11 w 51"/>
                    <a:gd name="T19" fmla="*/ 5 h 26"/>
                    <a:gd name="T20" fmla="*/ 2 w 51"/>
                    <a:gd name="T21" fmla="*/ 8 h 26"/>
                    <a:gd name="T22" fmla="*/ 3 w 51"/>
                    <a:gd name="T23" fmla="*/ 12 h 26"/>
                    <a:gd name="T24" fmla="*/ 6 w 51"/>
                    <a:gd name="T25" fmla="*/ 19 h 26"/>
                    <a:gd name="T26" fmla="*/ 14 w 51"/>
                    <a:gd name="T27" fmla="*/ 25 h 26"/>
                    <a:gd name="T28" fmla="*/ 14 w 51"/>
                    <a:gd name="T29" fmla="*/ 26 h 26"/>
                    <a:gd name="T30" fmla="*/ 21 w 51"/>
                    <a:gd name="T31" fmla="*/ 25 h 26"/>
                    <a:gd name="T32" fmla="*/ 22 w 51"/>
                    <a:gd name="T33" fmla="*/ 22 h 26"/>
                    <a:gd name="T34" fmla="*/ 30 w 51"/>
                    <a:gd name="T35" fmla="*/ 24 h 26"/>
                    <a:gd name="T36" fmla="*/ 36 w 51"/>
                    <a:gd name="T37" fmla="*/ 25 h 26"/>
                    <a:gd name="T38" fmla="*/ 36 w 51"/>
                    <a:gd name="T39" fmla="*/ 26 h 26"/>
                    <a:gd name="T40" fmla="*/ 39 w 51"/>
                    <a:gd name="T41" fmla="*/ 24 h 26"/>
                    <a:gd name="T42" fmla="*/ 46 w 51"/>
                    <a:gd name="T43" fmla="*/ 20 h 26"/>
                    <a:gd name="T44" fmla="*/ 51 w 51"/>
                    <a:gd name="T45" fmla="*/ 16 h 26"/>
                    <a:gd name="T46" fmla="*/ 48 w 51"/>
                    <a:gd name="T47" fmla="*/ 1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1" h="26">
                      <a:moveTo>
                        <a:pt x="48" y="12"/>
                      </a:moveTo>
                      <a:cubicBezTo>
                        <a:pt x="47" y="11"/>
                        <a:pt x="43" y="12"/>
                        <a:pt x="43" y="11"/>
                      </a:cubicBezTo>
                      <a:cubicBezTo>
                        <a:pt x="43" y="10"/>
                        <a:pt x="43" y="8"/>
                        <a:pt x="41" y="8"/>
                      </a:cubicBezTo>
                      <a:cubicBezTo>
                        <a:pt x="39" y="8"/>
                        <a:pt x="37" y="7"/>
                        <a:pt x="36" y="9"/>
                      </a:cubicBezTo>
                      <a:cubicBezTo>
                        <a:pt x="36" y="11"/>
                        <a:pt x="32" y="8"/>
                        <a:pt x="32" y="7"/>
                      </a:cubicBezTo>
                      <a:cubicBezTo>
                        <a:pt x="32" y="6"/>
                        <a:pt x="31" y="5"/>
                        <a:pt x="27" y="3"/>
                      </a:cubicBezTo>
                      <a:cubicBezTo>
                        <a:pt x="25" y="3"/>
                        <a:pt x="24" y="2"/>
                        <a:pt x="22" y="1"/>
                      </a:cubicBezTo>
                      <a:cubicBezTo>
                        <a:pt x="22" y="1"/>
                        <a:pt x="22" y="1"/>
                        <a:pt x="22" y="1"/>
                      </a:cubicBezTo>
                      <a:cubicBezTo>
                        <a:pt x="21" y="2"/>
                        <a:pt x="19" y="0"/>
                        <a:pt x="17" y="2"/>
                      </a:cubicBezTo>
                      <a:cubicBezTo>
                        <a:pt x="16" y="3"/>
                        <a:pt x="13" y="3"/>
                        <a:pt x="11" y="5"/>
                      </a:cubicBezTo>
                      <a:cubicBezTo>
                        <a:pt x="9" y="6"/>
                        <a:pt x="5" y="7"/>
                        <a:pt x="2" y="8"/>
                      </a:cubicBezTo>
                      <a:cubicBezTo>
                        <a:pt x="0" y="8"/>
                        <a:pt x="2" y="10"/>
                        <a:pt x="3" y="12"/>
                      </a:cubicBezTo>
                      <a:cubicBezTo>
                        <a:pt x="4" y="14"/>
                        <a:pt x="4" y="18"/>
                        <a:pt x="6" y="19"/>
                      </a:cubicBezTo>
                      <a:cubicBezTo>
                        <a:pt x="7" y="20"/>
                        <a:pt x="13" y="24"/>
                        <a:pt x="14" y="25"/>
                      </a:cubicBezTo>
                      <a:cubicBezTo>
                        <a:pt x="14" y="25"/>
                        <a:pt x="14" y="25"/>
                        <a:pt x="14" y="26"/>
                      </a:cubicBezTo>
                      <a:cubicBezTo>
                        <a:pt x="16" y="26"/>
                        <a:pt x="20" y="26"/>
                        <a:pt x="21" y="25"/>
                      </a:cubicBezTo>
                      <a:cubicBezTo>
                        <a:pt x="22" y="24"/>
                        <a:pt x="22" y="22"/>
                        <a:pt x="22" y="22"/>
                      </a:cubicBezTo>
                      <a:cubicBezTo>
                        <a:pt x="22" y="22"/>
                        <a:pt x="28" y="22"/>
                        <a:pt x="30" y="24"/>
                      </a:cubicBezTo>
                      <a:cubicBezTo>
                        <a:pt x="32" y="26"/>
                        <a:pt x="36" y="25"/>
                        <a:pt x="36" y="25"/>
                      </a:cubicBezTo>
                      <a:cubicBezTo>
                        <a:pt x="36" y="25"/>
                        <a:pt x="36" y="25"/>
                        <a:pt x="36" y="26"/>
                      </a:cubicBezTo>
                      <a:cubicBezTo>
                        <a:pt x="37" y="25"/>
                        <a:pt x="38" y="24"/>
                        <a:pt x="39" y="24"/>
                      </a:cubicBezTo>
                      <a:cubicBezTo>
                        <a:pt x="41" y="23"/>
                        <a:pt x="44" y="23"/>
                        <a:pt x="46" y="20"/>
                      </a:cubicBezTo>
                      <a:cubicBezTo>
                        <a:pt x="48" y="18"/>
                        <a:pt x="49" y="17"/>
                        <a:pt x="51" y="16"/>
                      </a:cubicBezTo>
                      <a:cubicBezTo>
                        <a:pt x="50" y="15"/>
                        <a:pt x="49" y="13"/>
                        <a:pt x="48" y="1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6" name="Freeform 79">
                  <a:extLst>
                    <a:ext uri="{FF2B5EF4-FFF2-40B4-BE49-F238E27FC236}">
                      <a16:creationId xmlns:a16="http://schemas.microsoft.com/office/drawing/2014/main" id="{FCD27014-D83A-4E54-B260-C0B14DA4CD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192459" y="-11205007"/>
                  <a:ext cx="275674" cy="116756"/>
                </a:xfrm>
                <a:custGeom>
                  <a:avLst/>
                  <a:gdLst>
                    <a:gd name="T0" fmla="*/ 34 w 45"/>
                    <a:gd name="T1" fmla="*/ 2 h 19"/>
                    <a:gd name="T2" fmla="*/ 28 w 45"/>
                    <a:gd name="T3" fmla="*/ 1 h 19"/>
                    <a:gd name="T4" fmla="*/ 21 w 45"/>
                    <a:gd name="T5" fmla="*/ 0 h 19"/>
                    <a:gd name="T6" fmla="*/ 16 w 45"/>
                    <a:gd name="T7" fmla="*/ 1 h 19"/>
                    <a:gd name="T8" fmla="*/ 15 w 45"/>
                    <a:gd name="T9" fmla="*/ 0 h 19"/>
                    <a:gd name="T10" fmla="*/ 10 w 45"/>
                    <a:gd name="T11" fmla="*/ 4 h 19"/>
                    <a:gd name="T12" fmla="*/ 3 w 45"/>
                    <a:gd name="T13" fmla="*/ 8 h 19"/>
                    <a:gd name="T14" fmla="*/ 0 w 45"/>
                    <a:gd name="T15" fmla="*/ 10 h 19"/>
                    <a:gd name="T16" fmla="*/ 4 w 45"/>
                    <a:gd name="T17" fmla="*/ 17 h 19"/>
                    <a:gd name="T18" fmla="*/ 15 w 45"/>
                    <a:gd name="T19" fmla="*/ 17 h 19"/>
                    <a:gd name="T20" fmla="*/ 24 w 45"/>
                    <a:gd name="T21" fmla="*/ 14 h 19"/>
                    <a:gd name="T22" fmla="*/ 31 w 45"/>
                    <a:gd name="T23" fmla="*/ 9 h 19"/>
                    <a:gd name="T24" fmla="*/ 38 w 45"/>
                    <a:gd name="T25" fmla="*/ 12 h 19"/>
                    <a:gd name="T26" fmla="*/ 43 w 45"/>
                    <a:gd name="T27" fmla="*/ 13 h 19"/>
                    <a:gd name="T28" fmla="*/ 42 w 45"/>
                    <a:gd name="T29" fmla="*/ 11 h 19"/>
                    <a:gd name="T30" fmla="*/ 45 w 45"/>
                    <a:gd name="T31" fmla="*/ 5 h 19"/>
                    <a:gd name="T32" fmla="*/ 45 w 45"/>
                    <a:gd name="T33" fmla="*/ 5 h 19"/>
                    <a:gd name="T34" fmla="*/ 41 w 45"/>
                    <a:gd name="T35" fmla="*/ 3 h 19"/>
                    <a:gd name="T36" fmla="*/ 34 w 45"/>
                    <a:gd name="T37" fmla="*/ 2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5" h="19">
                      <a:moveTo>
                        <a:pt x="34" y="2"/>
                      </a:moveTo>
                      <a:cubicBezTo>
                        <a:pt x="31" y="2"/>
                        <a:pt x="30" y="0"/>
                        <a:pt x="28" y="1"/>
                      </a:cubicBezTo>
                      <a:cubicBezTo>
                        <a:pt x="26" y="2"/>
                        <a:pt x="22" y="1"/>
                        <a:pt x="21" y="0"/>
                      </a:cubicBezTo>
                      <a:cubicBezTo>
                        <a:pt x="20" y="0"/>
                        <a:pt x="18" y="2"/>
                        <a:pt x="16" y="1"/>
                      </a:cubicBezTo>
                      <a:cubicBezTo>
                        <a:pt x="16" y="1"/>
                        <a:pt x="15" y="0"/>
                        <a:pt x="15" y="0"/>
                      </a:cubicBezTo>
                      <a:cubicBezTo>
                        <a:pt x="13" y="1"/>
                        <a:pt x="12" y="2"/>
                        <a:pt x="10" y="4"/>
                      </a:cubicBezTo>
                      <a:cubicBezTo>
                        <a:pt x="8" y="7"/>
                        <a:pt x="5" y="7"/>
                        <a:pt x="3" y="8"/>
                      </a:cubicBezTo>
                      <a:cubicBezTo>
                        <a:pt x="2" y="8"/>
                        <a:pt x="1" y="9"/>
                        <a:pt x="0" y="10"/>
                      </a:cubicBezTo>
                      <a:cubicBezTo>
                        <a:pt x="1" y="12"/>
                        <a:pt x="3" y="15"/>
                        <a:pt x="4" y="17"/>
                      </a:cubicBezTo>
                      <a:cubicBezTo>
                        <a:pt x="7" y="19"/>
                        <a:pt x="15" y="19"/>
                        <a:pt x="15" y="17"/>
                      </a:cubicBezTo>
                      <a:cubicBezTo>
                        <a:pt x="15" y="15"/>
                        <a:pt x="22" y="14"/>
                        <a:pt x="24" y="14"/>
                      </a:cubicBezTo>
                      <a:cubicBezTo>
                        <a:pt x="25" y="14"/>
                        <a:pt x="30" y="9"/>
                        <a:pt x="31" y="9"/>
                      </a:cubicBezTo>
                      <a:cubicBezTo>
                        <a:pt x="32" y="10"/>
                        <a:pt x="37" y="10"/>
                        <a:pt x="38" y="12"/>
                      </a:cubicBezTo>
                      <a:cubicBezTo>
                        <a:pt x="39" y="12"/>
                        <a:pt x="41" y="13"/>
                        <a:pt x="43" y="13"/>
                      </a:cubicBezTo>
                      <a:cubicBezTo>
                        <a:pt x="42" y="13"/>
                        <a:pt x="42" y="12"/>
                        <a:pt x="42" y="11"/>
                      </a:cubicBezTo>
                      <a:cubicBezTo>
                        <a:pt x="42" y="9"/>
                        <a:pt x="44" y="6"/>
                        <a:pt x="45" y="5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3" y="4"/>
                        <a:pt x="41" y="4"/>
                        <a:pt x="41" y="3"/>
                      </a:cubicBezTo>
                      <a:cubicBezTo>
                        <a:pt x="40" y="3"/>
                        <a:pt x="37" y="2"/>
                        <a:pt x="34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7" name="Freeform 80">
                  <a:extLst>
                    <a:ext uri="{FF2B5EF4-FFF2-40B4-BE49-F238E27FC236}">
                      <a16:creationId xmlns:a16="http://schemas.microsoft.com/office/drawing/2014/main" id="{FD355C01-68EC-47EA-BAE4-FAE1C2B678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1509202" y="-10744471"/>
                  <a:ext cx="184864" cy="311348"/>
                </a:xfrm>
                <a:custGeom>
                  <a:avLst/>
                  <a:gdLst>
                    <a:gd name="T0" fmla="*/ 22 w 30"/>
                    <a:gd name="T1" fmla="*/ 41 h 50"/>
                    <a:gd name="T2" fmla="*/ 20 w 30"/>
                    <a:gd name="T3" fmla="*/ 37 h 50"/>
                    <a:gd name="T4" fmla="*/ 22 w 30"/>
                    <a:gd name="T5" fmla="*/ 32 h 50"/>
                    <a:gd name="T6" fmla="*/ 20 w 30"/>
                    <a:gd name="T7" fmla="*/ 28 h 50"/>
                    <a:gd name="T8" fmla="*/ 22 w 30"/>
                    <a:gd name="T9" fmla="*/ 25 h 50"/>
                    <a:gd name="T10" fmla="*/ 23 w 30"/>
                    <a:gd name="T11" fmla="*/ 19 h 50"/>
                    <a:gd name="T12" fmla="*/ 23 w 30"/>
                    <a:gd name="T13" fmla="*/ 12 h 50"/>
                    <a:gd name="T14" fmla="*/ 28 w 30"/>
                    <a:gd name="T15" fmla="*/ 7 h 50"/>
                    <a:gd name="T16" fmla="*/ 26 w 30"/>
                    <a:gd name="T17" fmla="*/ 4 h 50"/>
                    <a:gd name="T18" fmla="*/ 21 w 30"/>
                    <a:gd name="T19" fmla="*/ 3 h 50"/>
                    <a:gd name="T20" fmla="*/ 18 w 30"/>
                    <a:gd name="T21" fmla="*/ 3 h 50"/>
                    <a:gd name="T22" fmla="*/ 13 w 30"/>
                    <a:gd name="T23" fmla="*/ 2 h 50"/>
                    <a:gd name="T24" fmla="*/ 10 w 30"/>
                    <a:gd name="T25" fmla="*/ 2 h 50"/>
                    <a:gd name="T26" fmla="*/ 8 w 30"/>
                    <a:gd name="T27" fmla="*/ 3 h 50"/>
                    <a:gd name="T28" fmla="*/ 8 w 30"/>
                    <a:gd name="T29" fmla="*/ 8 h 50"/>
                    <a:gd name="T30" fmla="*/ 3 w 30"/>
                    <a:gd name="T31" fmla="*/ 27 h 50"/>
                    <a:gd name="T32" fmla="*/ 6 w 30"/>
                    <a:gd name="T33" fmla="*/ 34 h 50"/>
                    <a:gd name="T34" fmla="*/ 7 w 30"/>
                    <a:gd name="T35" fmla="*/ 48 h 50"/>
                    <a:gd name="T36" fmla="*/ 13 w 30"/>
                    <a:gd name="T37" fmla="*/ 50 h 50"/>
                    <a:gd name="T38" fmla="*/ 20 w 30"/>
                    <a:gd name="T39" fmla="*/ 48 h 50"/>
                    <a:gd name="T40" fmla="*/ 19 w 30"/>
                    <a:gd name="T41" fmla="*/ 46 h 50"/>
                    <a:gd name="T42" fmla="*/ 22 w 30"/>
                    <a:gd name="T43" fmla="*/ 41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0" h="50">
                      <a:moveTo>
                        <a:pt x="22" y="41"/>
                      </a:moveTo>
                      <a:cubicBezTo>
                        <a:pt x="25" y="40"/>
                        <a:pt x="21" y="38"/>
                        <a:pt x="20" y="37"/>
                      </a:cubicBezTo>
                      <a:cubicBezTo>
                        <a:pt x="19" y="36"/>
                        <a:pt x="20" y="32"/>
                        <a:pt x="22" y="32"/>
                      </a:cubicBezTo>
                      <a:cubicBezTo>
                        <a:pt x="24" y="32"/>
                        <a:pt x="22" y="30"/>
                        <a:pt x="20" y="28"/>
                      </a:cubicBezTo>
                      <a:cubicBezTo>
                        <a:pt x="17" y="26"/>
                        <a:pt x="20" y="25"/>
                        <a:pt x="22" y="25"/>
                      </a:cubicBezTo>
                      <a:cubicBezTo>
                        <a:pt x="24" y="25"/>
                        <a:pt x="21" y="21"/>
                        <a:pt x="23" y="19"/>
                      </a:cubicBezTo>
                      <a:cubicBezTo>
                        <a:pt x="25" y="17"/>
                        <a:pt x="23" y="14"/>
                        <a:pt x="23" y="12"/>
                      </a:cubicBezTo>
                      <a:cubicBezTo>
                        <a:pt x="23" y="10"/>
                        <a:pt x="25" y="10"/>
                        <a:pt x="28" y="7"/>
                      </a:cubicBezTo>
                      <a:cubicBezTo>
                        <a:pt x="30" y="5"/>
                        <a:pt x="26" y="6"/>
                        <a:pt x="26" y="4"/>
                      </a:cubicBezTo>
                      <a:cubicBezTo>
                        <a:pt x="26" y="2"/>
                        <a:pt x="23" y="2"/>
                        <a:pt x="21" y="3"/>
                      </a:cubicBezTo>
                      <a:cubicBezTo>
                        <a:pt x="19" y="5"/>
                        <a:pt x="19" y="3"/>
                        <a:pt x="18" y="3"/>
                      </a:cubicBezTo>
                      <a:cubicBezTo>
                        <a:pt x="16" y="3"/>
                        <a:pt x="13" y="4"/>
                        <a:pt x="13" y="2"/>
                      </a:cubicBezTo>
                      <a:cubicBezTo>
                        <a:pt x="13" y="0"/>
                        <a:pt x="11" y="0"/>
                        <a:pt x="10" y="2"/>
                      </a:cubicBezTo>
                      <a:cubicBezTo>
                        <a:pt x="9" y="2"/>
                        <a:pt x="9" y="3"/>
                        <a:pt x="8" y="3"/>
                      </a:cubicBezTo>
                      <a:cubicBezTo>
                        <a:pt x="7" y="5"/>
                        <a:pt x="7" y="7"/>
                        <a:pt x="8" y="8"/>
                      </a:cubicBezTo>
                      <a:cubicBezTo>
                        <a:pt x="9" y="11"/>
                        <a:pt x="6" y="24"/>
                        <a:pt x="3" y="27"/>
                      </a:cubicBezTo>
                      <a:cubicBezTo>
                        <a:pt x="0" y="31"/>
                        <a:pt x="3" y="32"/>
                        <a:pt x="6" y="34"/>
                      </a:cubicBezTo>
                      <a:cubicBezTo>
                        <a:pt x="9" y="37"/>
                        <a:pt x="7" y="46"/>
                        <a:pt x="7" y="48"/>
                      </a:cubicBezTo>
                      <a:cubicBezTo>
                        <a:pt x="7" y="50"/>
                        <a:pt x="10" y="50"/>
                        <a:pt x="13" y="50"/>
                      </a:cubicBezTo>
                      <a:cubicBezTo>
                        <a:pt x="15" y="50"/>
                        <a:pt x="18" y="49"/>
                        <a:pt x="20" y="48"/>
                      </a:cubicBezTo>
                      <a:cubicBezTo>
                        <a:pt x="19" y="47"/>
                        <a:pt x="19" y="46"/>
                        <a:pt x="19" y="46"/>
                      </a:cubicBezTo>
                      <a:cubicBezTo>
                        <a:pt x="19" y="44"/>
                        <a:pt x="19" y="41"/>
                        <a:pt x="22" y="4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8" name="Freeform 81">
                  <a:extLst>
                    <a:ext uri="{FF2B5EF4-FFF2-40B4-BE49-F238E27FC236}">
                      <a16:creationId xmlns:a16="http://schemas.microsoft.com/office/drawing/2014/main" id="{35FA721D-28CC-4625-9757-66458F566E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860560" y="-11464464"/>
                  <a:ext cx="204323" cy="178378"/>
                </a:xfrm>
                <a:custGeom>
                  <a:avLst/>
                  <a:gdLst>
                    <a:gd name="T0" fmla="*/ 10 w 33"/>
                    <a:gd name="T1" fmla="*/ 22 h 29"/>
                    <a:gd name="T2" fmla="*/ 16 w 33"/>
                    <a:gd name="T3" fmla="*/ 23 h 29"/>
                    <a:gd name="T4" fmla="*/ 21 w 33"/>
                    <a:gd name="T5" fmla="*/ 27 h 29"/>
                    <a:gd name="T6" fmla="*/ 23 w 33"/>
                    <a:gd name="T7" fmla="*/ 29 h 29"/>
                    <a:gd name="T8" fmla="*/ 24 w 33"/>
                    <a:gd name="T9" fmla="*/ 23 h 29"/>
                    <a:gd name="T10" fmla="*/ 25 w 33"/>
                    <a:gd name="T11" fmla="*/ 19 h 29"/>
                    <a:gd name="T12" fmla="*/ 29 w 33"/>
                    <a:gd name="T13" fmla="*/ 17 h 29"/>
                    <a:gd name="T14" fmla="*/ 31 w 33"/>
                    <a:gd name="T15" fmla="*/ 14 h 29"/>
                    <a:gd name="T16" fmla="*/ 28 w 33"/>
                    <a:gd name="T17" fmla="*/ 10 h 29"/>
                    <a:gd name="T18" fmla="*/ 32 w 33"/>
                    <a:gd name="T19" fmla="*/ 6 h 29"/>
                    <a:gd name="T20" fmla="*/ 32 w 33"/>
                    <a:gd name="T21" fmla="*/ 0 h 29"/>
                    <a:gd name="T22" fmla="*/ 30 w 33"/>
                    <a:gd name="T23" fmla="*/ 1 h 29"/>
                    <a:gd name="T24" fmla="*/ 22 w 33"/>
                    <a:gd name="T25" fmla="*/ 2 h 29"/>
                    <a:gd name="T26" fmla="*/ 18 w 33"/>
                    <a:gd name="T27" fmla="*/ 7 h 29"/>
                    <a:gd name="T28" fmla="*/ 15 w 33"/>
                    <a:gd name="T29" fmla="*/ 7 h 29"/>
                    <a:gd name="T30" fmla="*/ 11 w 33"/>
                    <a:gd name="T31" fmla="*/ 9 h 29"/>
                    <a:gd name="T32" fmla="*/ 7 w 33"/>
                    <a:gd name="T33" fmla="*/ 16 h 29"/>
                    <a:gd name="T34" fmla="*/ 1 w 33"/>
                    <a:gd name="T35" fmla="*/ 23 h 29"/>
                    <a:gd name="T36" fmla="*/ 0 w 33"/>
                    <a:gd name="T37" fmla="*/ 24 h 29"/>
                    <a:gd name="T38" fmla="*/ 3 w 33"/>
                    <a:gd name="T39" fmla="*/ 25 h 29"/>
                    <a:gd name="T40" fmla="*/ 10 w 33"/>
                    <a:gd name="T41" fmla="*/ 22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3" h="29">
                      <a:moveTo>
                        <a:pt x="10" y="22"/>
                      </a:moveTo>
                      <a:cubicBezTo>
                        <a:pt x="12" y="21"/>
                        <a:pt x="14" y="22"/>
                        <a:pt x="16" y="23"/>
                      </a:cubicBezTo>
                      <a:cubicBezTo>
                        <a:pt x="17" y="25"/>
                        <a:pt x="19" y="25"/>
                        <a:pt x="21" y="27"/>
                      </a:cubicBezTo>
                      <a:cubicBezTo>
                        <a:pt x="22" y="28"/>
                        <a:pt x="23" y="28"/>
                        <a:pt x="23" y="29"/>
                      </a:cubicBezTo>
                      <a:cubicBezTo>
                        <a:pt x="23" y="27"/>
                        <a:pt x="23" y="24"/>
                        <a:pt x="24" y="23"/>
                      </a:cubicBezTo>
                      <a:cubicBezTo>
                        <a:pt x="25" y="21"/>
                        <a:pt x="23" y="19"/>
                        <a:pt x="25" y="19"/>
                      </a:cubicBezTo>
                      <a:cubicBezTo>
                        <a:pt x="26" y="19"/>
                        <a:pt x="29" y="19"/>
                        <a:pt x="29" y="17"/>
                      </a:cubicBezTo>
                      <a:cubicBezTo>
                        <a:pt x="29" y="14"/>
                        <a:pt x="30" y="15"/>
                        <a:pt x="31" y="14"/>
                      </a:cubicBezTo>
                      <a:cubicBezTo>
                        <a:pt x="31" y="13"/>
                        <a:pt x="29" y="10"/>
                        <a:pt x="28" y="10"/>
                      </a:cubicBezTo>
                      <a:cubicBezTo>
                        <a:pt x="28" y="9"/>
                        <a:pt x="30" y="9"/>
                        <a:pt x="32" y="6"/>
                      </a:cubicBezTo>
                      <a:cubicBezTo>
                        <a:pt x="33" y="5"/>
                        <a:pt x="33" y="3"/>
                        <a:pt x="32" y="0"/>
                      </a:cubicBezTo>
                      <a:cubicBezTo>
                        <a:pt x="32" y="1"/>
                        <a:pt x="31" y="2"/>
                        <a:pt x="30" y="1"/>
                      </a:cubicBezTo>
                      <a:cubicBezTo>
                        <a:pt x="28" y="0"/>
                        <a:pt x="25" y="1"/>
                        <a:pt x="22" y="2"/>
                      </a:cubicBezTo>
                      <a:cubicBezTo>
                        <a:pt x="18" y="2"/>
                        <a:pt x="17" y="6"/>
                        <a:pt x="18" y="7"/>
                      </a:cubicBezTo>
                      <a:cubicBezTo>
                        <a:pt x="20" y="9"/>
                        <a:pt x="15" y="9"/>
                        <a:pt x="15" y="7"/>
                      </a:cubicBezTo>
                      <a:cubicBezTo>
                        <a:pt x="14" y="5"/>
                        <a:pt x="11" y="7"/>
                        <a:pt x="11" y="9"/>
                      </a:cubicBezTo>
                      <a:cubicBezTo>
                        <a:pt x="11" y="12"/>
                        <a:pt x="7" y="13"/>
                        <a:pt x="7" y="16"/>
                      </a:cubicBezTo>
                      <a:cubicBezTo>
                        <a:pt x="8" y="19"/>
                        <a:pt x="4" y="22"/>
                        <a:pt x="1" y="23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1" y="25"/>
                        <a:pt x="2" y="25"/>
                        <a:pt x="3" y="25"/>
                      </a:cubicBezTo>
                      <a:cubicBezTo>
                        <a:pt x="5" y="25"/>
                        <a:pt x="9" y="24"/>
                        <a:pt x="10" y="2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199" name="Freeform 82">
                  <a:extLst>
                    <a:ext uri="{FF2B5EF4-FFF2-40B4-BE49-F238E27FC236}">
                      <a16:creationId xmlns:a16="http://schemas.microsoft.com/office/drawing/2014/main" id="{F56B97A4-52F8-44DA-9727-E19858F0AB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730832" y="-11243925"/>
                  <a:ext cx="29190" cy="48649"/>
                </a:xfrm>
                <a:custGeom>
                  <a:avLst/>
                  <a:gdLst>
                    <a:gd name="T0" fmla="*/ 3 w 5"/>
                    <a:gd name="T1" fmla="*/ 0 h 8"/>
                    <a:gd name="T2" fmla="*/ 0 w 5"/>
                    <a:gd name="T3" fmla="*/ 7 h 8"/>
                    <a:gd name="T4" fmla="*/ 5 w 5"/>
                    <a:gd name="T5" fmla="*/ 8 h 8"/>
                    <a:gd name="T6" fmla="*/ 3 w 5"/>
                    <a:gd name="T7" fmla="*/ 1 h 8"/>
                    <a:gd name="T8" fmla="*/ 3 w 5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8">
                      <a:moveTo>
                        <a:pt x="3" y="0"/>
                      </a:moveTo>
                      <a:cubicBezTo>
                        <a:pt x="1" y="1"/>
                        <a:pt x="0" y="3"/>
                        <a:pt x="0" y="7"/>
                      </a:cubicBezTo>
                      <a:cubicBezTo>
                        <a:pt x="1" y="7"/>
                        <a:pt x="4" y="7"/>
                        <a:pt x="5" y="8"/>
                      </a:cubicBezTo>
                      <a:cubicBezTo>
                        <a:pt x="5" y="3"/>
                        <a:pt x="3" y="2"/>
                        <a:pt x="3" y="1"/>
                      </a:cubicBezTo>
                      <a:cubicBezTo>
                        <a:pt x="2" y="1"/>
                        <a:pt x="3" y="1"/>
                        <a:pt x="3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0" name="Freeform 83">
                  <a:extLst>
                    <a:ext uri="{FF2B5EF4-FFF2-40B4-BE49-F238E27FC236}">
                      <a16:creationId xmlns:a16="http://schemas.microsoft.com/office/drawing/2014/main" id="{9FF23F5D-EF6F-46A8-8516-4E2B5DE3AD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899479" y="-11334735"/>
                  <a:ext cx="197837" cy="139459"/>
                </a:xfrm>
                <a:custGeom>
                  <a:avLst/>
                  <a:gdLst>
                    <a:gd name="T0" fmla="*/ 1 w 32"/>
                    <a:gd name="T1" fmla="*/ 6 h 23"/>
                    <a:gd name="T2" fmla="*/ 4 w 32"/>
                    <a:gd name="T3" fmla="*/ 9 h 23"/>
                    <a:gd name="T4" fmla="*/ 8 w 32"/>
                    <a:gd name="T5" fmla="*/ 12 h 23"/>
                    <a:gd name="T6" fmla="*/ 13 w 32"/>
                    <a:gd name="T7" fmla="*/ 15 h 23"/>
                    <a:gd name="T8" fmla="*/ 16 w 32"/>
                    <a:gd name="T9" fmla="*/ 18 h 23"/>
                    <a:gd name="T10" fmla="*/ 19 w 32"/>
                    <a:gd name="T11" fmla="*/ 16 h 23"/>
                    <a:gd name="T12" fmla="*/ 21 w 32"/>
                    <a:gd name="T13" fmla="*/ 20 h 23"/>
                    <a:gd name="T14" fmla="*/ 26 w 32"/>
                    <a:gd name="T15" fmla="*/ 22 h 23"/>
                    <a:gd name="T16" fmla="*/ 27 w 32"/>
                    <a:gd name="T17" fmla="*/ 22 h 23"/>
                    <a:gd name="T18" fmla="*/ 30 w 32"/>
                    <a:gd name="T19" fmla="*/ 15 h 23"/>
                    <a:gd name="T20" fmla="*/ 31 w 32"/>
                    <a:gd name="T21" fmla="*/ 13 h 23"/>
                    <a:gd name="T22" fmla="*/ 29 w 32"/>
                    <a:gd name="T23" fmla="*/ 8 h 23"/>
                    <a:gd name="T24" fmla="*/ 29 w 32"/>
                    <a:gd name="T25" fmla="*/ 8 h 23"/>
                    <a:gd name="T26" fmla="*/ 27 w 32"/>
                    <a:gd name="T27" fmla="*/ 6 h 23"/>
                    <a:gd name="T28" fmla="*/ 22 w 32"/>
                    <a:gd name="T29" fmla="*/ 2 h 23"/>
                    <a:gd name="T30" fmla="*/ 16 w 32"/>
                    <a:gd name="T31" fmla="*/ 1 h 23"/>
                    <a:gd name="T32" fmla="*/ 9 w 32"/>
                    <a:gd name="T33" fmla="*/ 4 h 23"/>
                    <a:gd name="T34" fmla="*/ 6 w 32"/>
                    <a:gd name="T35" fmla="*/ 3 h 23"/>
                    <a:gd name="T36" fmla="*/ 0 w 32"/>
                    <a:gd name="T37" fmla="*/ 5 h 23"/>
                    <a:gd name="T38" fmla="*/ 1 w 32"/>
                    <a:gd name="T39" fmla="*/ 6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2" h="23">
                      <a:moveTo>
                        <a:pt x="1" y="6"/>
                      </a:moveTo>
                      <a:cubicBezTo>
                        <a:pt x="1" y="8"/>
                        <a:pt x="3" y="11"/>
                        <a:pt x="4" y="9"/>
                      </a:cubicBezTo>
                      <a:cubicBezTo>
                        <a:pt x="5" y="8"/>
                        <a:pt x="7" y="11"/>
                        <a:pt x="8" y="12"/>
                      </a:cubicBezTo>
                      <a:cubicBezTo>
                        <a:pt x="10" y="13"/>
                        <a:pt x="13" y="14"/>
                        <a:pt x="13" y="15"/>
                      </a:cubicBezTo>
                      <a:cubicBezTo>
                        <a:pt x="13" y="16"/>
                        <a:pt x="14" y="18"/>
                        <a:pt x="16" y="18"/>
                      </a:cubicBezTo>
                      <a:cubicBezTo>
                        <a:pt x="17" y="17"/>
                        <a:pt x="19" y="14"/>
                        <a:pt x="19" y="16"/>
                      </a:cubicBezTo>
                      <a:cubicBezTo>
                        <a:pt x="19" y="17"/>
                        <a:pt x="20" y="20"/>
                        <a:pt x="21" y="20"/>
                      </a:cubicBezTo>
                      <a:cubicBezTo>
                        <a:pt x="23" y="19"/>
                        <a:pt x="24" y="23"/>
                        <a:pt x="26" y="22"/>
                      </a:cubicBezTo>
                      <a:cubicBezTo>
                        <a:pt x="26" y="22"/>
                        <a:pt x="26" y="22"/>
                        <a:pt x="27" y="22"/>
                      </a:cubicBezTo>
                      <a:cubicBezTo>
                        <a:pt x="27" y="18"/>
                        <a:pt x="28" y="16"/>
                        <a:pt x="30" y="15"/>
                      </a:cubicBezTo>
                      <a:cubicBezTo>
                        <a:pt x="30" y="15"/>
                        <a:pt x="31" y="14"/>
                        <a:pt x="31" y="13"/>
                      </a:cubicBezTo>
                      <a:cubicBezTo>
                        <a:pt x="32" y="12"/>
                        <a:pt x="29" y="9"/>
                        <a:pt x="29" y="8"/>
                      </a:cubicBezTo>
                      <a:cubicBezTo>
                        <a:pt x="29" y="8"/>
                        <a:pt x="29" y="8"/>
                        <a:pt x="29" y="8"/>
                      </a:cubicBezTo>
                      <a:cubicBezTo>
                        <a:pt x="29" y="7"/>
                        <a:pt x="28" y="7"/>
                        <a:pt x="27" y="6"/>
                      </a:cubicBezTo>
                      <a:cubicBezTo>
                        <a:pt x="25" y="4"/>
                        <a:pt x="23" y="4"/>
                        <a:pt x="22" y="2"/>
                      </a:cubicBezTo>
                      <a:cubicBezTo>
                        <a:pt x="20" y="1"/>
                        <a:pt x="18" y="0"/>
                        <a:pt x="16" y="1"/>
                      </a:cubicBezTo>
                      <a:cubicBezTo>
                        <a:pt x="15" y="3"/>
                        <a:pt x="11" y="4"/>
                        <a:pt x="9" y="4"/>
                      </a:cubicBezTo>
                      <a:cubicBezTo>
                        <a:pt x="8" y="4"/>
                        <a:pt x="7" y="4"/>
                        <a:pt x="6" y="3"/>
                      </a:cubicBezTo>
                      <a:cubicBezTo>
                        <a:pt x="4" y="4"/>
                        <a:pt x="2" y="5"/>
                        <a:pt x="0" y="5"/>
                      </a:cubicBezTo>
                      <a:cubicBezTo>
                        <a:pt x="1" y="6"/>
                        <a:pt x="1" y="6"/>
                        <a:pt x="1" y="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1" name="Freeform 84">
                  <a:extLst>
                    <a:ext uri="{FF2B5EF4-FFF2-40B4-BE49-F238E27FC236}">
                      <a16:creationId xmlns:a16="http://schemas.microsoft.com/office/drawing/2014/main" id="{25E92B9A-5FED-4B30-8C74-59CDABD754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020570" y="-11133656"/>
                  <a:ext cx="450807" cy="298375"/>
                </a:xfrm>
                <a:custGeom>
                  <a:avLst/>
                  <a:gdLst>
                    <a:gd name="T0" fmla="*/ 65 w 73"/>
                    <a:gd name="T1" fmla="*/ 32 h 48"/>
                    <a:gd name="T2" fmla="*/ 62 w 73"/>
                    <a:gd name="T3" fmla="*/ 30 h 48"/>
                    <a:gd name="T4" fmla="*/ 62 w 73"/>
                    <a:gd name="T5" fmla="*/ 30 h 48"/>
                    <a:gd name="T6" fmla="*/ 61 w 73"/>
                    <a:gd name="T7" fmla="*/ 21 h 48"/>
                    <a:gd name="T8" fmla="*/ 56 w 73"/>
                    <a:gd name="T9" fmla="*/ 10 h 48"/>
                    <a:gd name="T10" fmla="*/ 51 w 73"/>
                    <a:gd name="T11" fmla="*/ 0 h 48"/>
                    <a:gd name="T12" fmla="*/ 47 w 73"/>
                    <a:gd name="T13" fmla="*/ 2 h 48"/>
                    <a:gd name="T14" fmla="*/ 42 w 73"/>
                    <a:gd name="T15" fmla="*/ 5 h 48"/>
                    <a:gd name="T16" fmla="*/ 38 w 73"/>
                    <a:gd name="T17" fmla="*/ 5 h 48"/>
                    <a:gd name="T18" fmla="*/ 35 w 73"/>
                    <a:gd name="T19" fmla="*/ 6 h 48"/>
                    <a:gd name="T20" fmla="*/ 30 w 73"/>
                    <a:gd name="T21" fmla="*/ 5 h 48"/>
                    <a:gd name="T22" fmla="*/ 22 w 73"/>
                    <a:gd name="T23" fmla="*/ 3 h 48"/>
                    <a:gd name="T24" fmla="*/ 19 w 73"/>
                    <a:gd name="T25" fmla="*/ 4 h 48"/>
                    <a:gd name="T26" fmla="*/ 18 w 73"/>
                    <a:gd name="T27" fmla="*/ 5 h 48"/>
                    <a:gd name="T28" fmla="*/ 13 w 73"/>
                    <a:gd name="T29" fmla="*/ 9 h 48"/>
                    <a:gd name="T30" fmla="*/ 5 w 73"/>
                    <a:gd name="T31" fmla="*/ 21 h 48"/>
                    <a:gd name="T32" fmla="*/ 0 w 73"/>
                    <a:gd name="T33" fmla="*/ 25 h 48"/>
                    <a:gd name="T34" fmla="*/ 3 w 73"/>
                    <a:gd name="T35" fmla="*/ 29 h 48"/>
                    <a:gd name="T36" fmla="*/ 6 w 73"/>
                    <a:gd name="T37" fmla="*/ 32 h 48"/>
                    <a:gd name="T38" fmla="*/ 7 w 73"/>
                    <a:gd name="T39" fmla="*/ 37 h 48"/>
                    <a:gd name="T40" fmla="*/ 16 w 73"/>
                    <a:gd name="T41" fmla="*/ 40 h 48"/>
                    <a:gd name="T42" fmla="*/ 16 w 73"/>
                    <a:gd name="T43" fmla="*/ 43 h 48"/>
                    <a:gd name="T44" fmla="*/ 21 w 73"/>
                    <a:gd name="T45" fmla="*/ 46 h 48"/>
                    <a:gd name="T46" fmla="*/ 29 w 73"/>
                    <a:gd name="T47" fmla="*/ 47 h 48"/>
                    <a:gd name="T48" fmla="*/ 38 w 73"/>
                    <a:gd name="T49" fmla="*/ 47 h 48"/>
                    <a:gd name="T50" fmla="*/ 44 w 73"/>
                    <a:gd name="T51" fmla="*/ 45 h 48"/>
                    <a:gd name="T52" fmla="*/ 53 w 73"/>
                    <a:gd name="T53" fmla="*/ 43 h 48"/>
                    <a:gd name="T54" fmla="*/ 60 w 73"/>
                    <a:gd name="T55" fmla="*/ 45 h 48"/>
                    <a:gd name="T56" fmla="*/ 64 w 73"/>
                    <a:gd name="T57" fmla="*/ 48 h 48"/>
                    <a:gd name="T58" fmla="*/ 64 w 73"/>
                    <a:gd name="T59" fmla="*/ 43 h 48"/>
                    <a:gd name="T60" fmla="*/ 68 w 73"/>
                    <a:gd name="T61" fmla="*/ 37 h 48"/>
                    <a:gd name="T62" fmla="*/ 73 w 73"/>
                    <a:gd name="T63" fmla="*/ 33 h 48"/>
                    <a:gd name="T64" fmla="*/ 73 w 73"/>
                    <a:gd name="T65" fmla="*/ 32 h 48"/>
                    <a:gd name="T66" fmla="*/ 70 w 73"/>
                    <a:gd name="T67" fmla="*/ 30 h 48"/>
                    <a:gd name="T68" fmla="*/ 65 w 73"/>
                    <a:gd name="T69" fmla="*/ 3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3" h="48">
                      <a:moveTo>
                        <a:pt x="65" y="32"/>
                      </a:moveTo>
                      <a:cubicBezTo>
                        <a:pt x="64" y="32"/>
                        <a:pt x="61" y="31"/>
                        <a:pt x="62" y="30"/>
                      </a:cubicBezTo>
                      <a:cubicBezTo>
                        <a:pt x="62" y="30"/>
                        <a:pt x="62" y="30"/>
                        <a:pt x="62" y="30"/>
                      </a:cubicBezTo>
                      <a:cubicBezTo>
                        <a:pt x="60" y="28"/>
                        <a:pt x="60" y="22"/>
                        <a:pt x="61" y="21"/>
                      </a:cubicBezTo>
                      <a:cubicBezTo>
                        <a:pt x="63" y="19"/>
                        <a:pt x="58" y="12"/>
                        <a:pt x="56" y="10"/>
                      </a:cubicBezTo>
                      <a:cubicBezTo>
                        <a:pt x="55" y="8"/>
                        <a:pt x="53" y="4"/>
                        <a:pt x="51" y="0"/>
                      </a:cubicBezTo>
                      <a:cubicBezTo>
                        <a:pt x="49" y="1"/>
                        <a:pt x="47" y="2"/>
                        <a:pt x="47" y="2"/>
                      </a:cubicBezTo>
                      <a:cubicBezTo>
                        <a:pt x="46" y="4"/>
                        <a:pt x="44" y="5"/>
                        <a:pt x="42" y="5"/>
                      </a:cubicBezTo>
                      <a:cubicBezTo>
                        <a:pt x="41" y="5"/>
                        <a:pt x="39" y="4"/>
                        <a:pt x="38" y="5"/>
                      </a:cubicBezTo>
                      <a:cubicBezTo>
                        <a:pt x="37" y="6"/>
                        <a:pt x="35" y="7"/>
                        <a:pt x="35" y="6"/>
                      </a:cubicBezTo>
                      <a:cubicBezTo>
                        <a:pt x="34" y="5"/>
                        <a:pt x="31" y="5"/>
                        <a:pt x="30" y="5"/>
                      </a:cubicBezTo>
                      <a:cubicBezTo>
                        <a:pt x="28" y="5"/>
                        <a:pt x="23" y="3"/>
                        <a:pt x="22" y="3"/>
                      </a:cubicBezTo>
                      <a:cubicBezTo>
                        <a:pt x="21" y="3"/>
                        <a:pt x="20" y="3"/>
                        <a:pt x="19" y="4"/>
                      </a:cubicBezTo>
                      <a:cubicBezTo>
                        <a:pt x="19" y="4"/>
                        <a:pt x="19" y="5"/>
                        <a:pt x="18" y="5"/>
                      </a:cubicBezTo>
                      <a:cubicBezTo>
                        <a:pt x="16" y="6"/>
                        <a:pt x="14" y="8"/>
                        <a:pt x="13" y="9"/>
                      </a:cubicBezTo>
                      <a:cubicBezTo>
                        <a:pt x="11" y="9"/>
                        <a:pt x="8" y="18"/>
                        <a:pt x="5" y="21"/>
                      </a:cubicBezTo>
                      <a:cubicBezTo>
                        <a:pt x="3" y="23"/>
                        <a:pt x="0" y="24"/>
                        <a:pt x="0" y="25"/>
                      </a:cubicBezTo>
                      <a:cubicBezTo>
                        <a:pt x="0" y="25"/>
                        <a:pt x="3" y="28"/>
                        <a:pt x="3" y="29"/>
                      </a:cubicBezTo>
                      <a:cubicBezTo>
                        <a:pt x="3" y="31"/>
                        <a:pt x="4" y="32"/>
                        <a:pt x="6" y="32"/>
                      </a:cubicBezTo>
                      <a:cubicBezTo>
                        <a:pt x="8" y="32"/>
                        <a:pt x="6" y="37"/>
                        <a:pt x="7" y="37"/>
                      </a:cubicBezTo>
                      <a:cubicBezTo>
                        <a:pt x="8" y="37"/>
                        <a:pt x="16" y="38"/>
                        <a:pt x="16" y="40"/>
                      </a:cubicBezTo>
                      <a:cubicBezTo>
                        <a:pt x="16" y="41"/>
                        <a:pt x="17" y="42"/>
                        <a:pt x="16" y="43"/>
                      </a:cubicBezTo>
                      <a:cubicBezTo>
                        <a:pt x="18" y="44"/>
                        <a:pt x="20" y="47"/>
                        <a:pt x="21" y="46"/>
                      </a:cubicBezTo>
                      <a:cubicBezTo>
                        <a:pt x="22" y="46"/>
                        <a:pt x="28" y="47"/>
                        <a:pt x="29" y="47"/>
                      </a:cubicBezTo>
                      <a:cubicBezTo>
                        <a:pt x="31" y="47"/>
                        <a:pt x="36" y="47"/>
                        <a:pt x="38" y="47"/>
                      </a:cubicBezTo>
                      <a:cubicBezTo>
                        <a:pt x="40" y="48"/>
                        <a:pt x="42" y="47"/>
                        <a:pt x="44" y="45"/>
                      </a:cubicBezTo>
                      <a:cubicBezTo>
                        <a:pt x="45" y="43"/>
                        <a:pt x="51" y="43"/>
                        <a:pt x="53" y="43"/>
                      </a:cubicBezTo>
                      <a:cubicBezTo>
                        <a:pt x="55" y="44"/>
                        <a:pt x="59" y="44"/>
                        <a:pt x="60" y="45"/>
                      </a:cubicBezTo>
                      <a:cubicBezTo>
                        <a:pt x="60" y="46"/>
                        <a:pt x="62" y="47"/>
                        <a:pt x="64" y="48"/>
                      </a:cubicBezTo>
                      <a:cubicBezTo>
                        <a:pt x="65" y="46"/>
                        <a:pt x="64" y="45"/>
                        <a:pt x="64" y="43"/>
                      </a:cubicBezTo>
                      <a:cubicBezTo>
                        <a:pt x="65" y="41"/>
                        <a:pt x="66" y="37"/>
                        <a:pt x="68" y="37"/>
                      </a:cubicBezTo>
                      <a:cubicBezTo>
                        <a:pt x="71" y="37"/>
                        <a:pt x="73" y="37"/>
                        <a:pt x="73" y="33"/>
                      </a:cubicBezTo>
                      <a:cubicBezTo>
                        <a:pt x="73" y="32"/>
                        <a:pt x="73" y="32"/>
                        <a:pt x="73" y="32"/>
                      </a:cubicBezTo>
                      <a:cubicBezTo>
                        <a:pt x="71" y="31"/>
                        <a:pt x="70" y="30"/>
                        <a:pt x="70" y="30"/>
                      </a:cubicBezTo>
                      <a:cubicBezTo>
                        <a:pt x="69" y="30"/>
                        <a:pt x="66" y="32"/>
                        <a:pt x="65" y="3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2" name="Freeform 85">
                  <a:extLst>
                    <a:ext uri="{FF2B5EF4-FFF2-40B4-BE49-F238E27FC236}">
                      <a16:creationId xmlns:a16="http://schemas.microsoft.com/office/drawing/2014/main" id="{A521BEF6-DC87-4C9A-8A85-030C30E54E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705977" y="-11136898"/>
                  <a:ext cx="149188" cy="191350"/>
                </a:xfrm>
                <a:custGeom>
                  <a:avLst/>
                  <a:gdLst>
                    <a:gd name="T0" fmla="*/ 18 w 24"/>
                    <a:gd name="T1" fmla="*/ 8 h 31"/>
                    <a:gd name="T2" fmla="*/ 12 w 24"/>
                    <a:gd name="T3" fmla="*/ 4 h 31"/>
                    <a:gd name="T4" fmla="*/ 5 w 24"/>
                    <a:gd name="T5" fmla="*/ 0 h 31"/>
                    <a:gd name="T6" fmla="*/ 0 w 24"/>
                    <a:gd name="T7" fmla="*/ 1 h 31"/>
                    <a:gd name="T8" fmla="*/ 5 w 24"/>
                    <a:gd name="T9" fmla="*/ 11 h 31"/>
                    <a:gd name="T10" fmla="*/ 10 w 24"/>
                    <a:gd name="T11" fmla="*/ 22 h 31"/>
                    <a:gd name="T12" fmla="*/ 11 w 24"/>
                    <a:gd name="T13" fmla="*/ 31 h 31"/>
                    <a:gd name="T14" fmla="*/ 16 w 24"/>
                    <a:gd name="T15" fmla="*/ 24 h 31"/>
                    <a:gd name="T16" fmla="*/ 19 w 24"/>
                    <a:gd name="T17" fmla="*/ 20 h 31"/>
                    <a:gd name="T18" fmla="*/ 24 w 24"/>
                    <a:gd name="T19" fmla="*/ 21 h 31"/>
                    <a:gd name="T20" fmla="*/ 23 w 24"/>
                    <a:gd name="T21" fmla="*/ 16 h 31"/>
                    <a:gd name="T22" fmla="*/ 18 w 24"/>
                    <a:gd name="T23" fmla="*/ 8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31">
                      <a:moveTo>
                        <a:pt x="18" y="8"/>
                      </a:moveTo>
                      <a:cubicBezTo>
                        <a:pt x="17" y="5"/>
                        <a:pt x="14" y="4"/>
                        <a:pt x="12" y="4"/>
                      </a:cubicBezTo>
                      <a:cubicBezTo>
                        <a:pt x="10" y="4"/>
                        <a:pt x="7" y="0"/>
                        <a:pt x="5" y="0"/>
                      </a:cubicBezTo>
                      <a:cubicBezTo>
                        <a:pt x="4" y="0"/>
                        <a:pt x="2" y="1"/>
                        <a:pt x="0" y="1"/>
                      </a:cubicBezTo>
                      <a:cubicBezTo>
                        <a:pt x="2" y="5"/>
                        <a:pt x="4" y="9"/>
                        <a:pt x="5" y="11"/>
                      </a:cubicBezTo>
                      <a:cubicBezTo>
                        <a:pt x="7" y="13"/>
                        <a:pt x="12" y="20"/>
                        <a:pt x="10" y="22"/>
                      </a:cubicBezTo>
                      <a:cubicBezTo>
                        <a:pt x="9" y="23"/>
                        <a:pt x="9" y="29"/>
                        <a:pt x="11" y="31"/>
                      </a:cubicBezTo>
                      <a:cubicBezTo>
                        <a:pt x="12" y="30"/>
                        <a:pt x="16" y="25"/>
                        <a:pt x="16" y="24"/>
                      </a:cubicBezTo>
                      <a:cubicBezTo>
                        <a:pt x="16" y="22"/>
                        <a:pt x="16" y="19"/>
                        <a:pt x="19" y="20"/>
                      </a:cubicBezTo>
                      <a:cubicBezTo>
                        <a:pt x="22" y="21"/>
                        <a:pt x="24" y="22"/>
                        <a:pt x="24" y="21"/>
                      </a:cubicBezTo>
                      <a:cubicBezTo>
                        <a:pt x="24" y="20"/>
                        <a:pt x="24" y="17"/>
                        <a:pt x="23" y="16"/>
                      </a:cubicBezTo>
                      <a:cubicBezTo>
                        <a:pt x="21" y="15"/>
                        <a:pt x="19" y="11"/>
                        <a:pt x="18" y="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3" name="Freeform 86">
                  <a:extLst>
                    <a:ext uri="{FF2B5EF4-FFF2-40B4-BE49-F238E27FC236}">
                      <a16:creationId xmlns:a16="http://schemas.microsoft.com/office/drawing/2014/main" id="{5C90AD58-F5C7-41C5-9D6B-AA7C809E4F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933002" y="-10867713"/>
                  <a:ext cx="308106" cy="175133"/>
                </a:xfrm>
                <a:custGeom>
                  <a:avLst/>
                  <a:gdLst>
                    <a:gd name="T0" fmla="*/ 39 w 50"/>
                    <a:gd name="T1" fmla="*/ 0 h 28"/>
                    <a:gd name="T2" fmla="*/ 30 w 50"/>
                    <a:gd name="T3" fmla="*/ 2 h 28"/>
                    <a:gd name="T4" fmla="*/ 24 w 50"/>
                    <a:gd name="T5" fmla="*/ 4 h 28"/>
                    <a:gd name="T6" fmla="*/ 15 w 50"/>
                    <a:gd name="T7" fmla="*/ 4 h 28"/>
                    <a:gd name="T8" fmla="*/ 7 w 50"/>
                    <a:gd name="T9" fmla="*/ 3 h 28"/>
                    <a:gd name="T10" fmla="*/ 2 w 50"/>
                    <a:gd name="T11" fmla="*/ 0 h 28"/>
                    <a:gd name="T12" fmla="*/ 2 w 50"/>
                    <a:gd name="T13" fmla="*/ 1 h 28"/>
                    <a:gd name="T14" fmla="*/ 2 w 50"/>
                    <a:gd name="T15" fmla="*/ 7 h 28"/>
                    <a:gd name="T16" fmla="*/ 4 w 50"/>
                    <a:gd name="T17" fmla="*/ 12 h 28"/>
                    <a:gd name="T18" fmla="*/ 1 w 50"/>
                    <a:gd name="T19" fmla="*/ 15 h 28"/>
                    <a:gd name="T20" fmla="*/ 1 w 50"/>
                    <a:gd name="T21" fmla="*/ 19 h 28"/>
                    <a:gd name="T22" fmla="*/ 6 w 50"/>
                    <a:gd name="T23" fmla="*/ 24 h 28"/>
                    <a:gd name="T24" fmla="*/ 7 w 50"/>
                    <a:gd name="T25" fmla="*/ 26 h 28"/>
                    <a:gd name="T26" fmla="*/ 18 w 50"/>
                    <a:gd name="T27" fmla="*/ 26 h 28"/>
                    <a:gd name="T28" fmla="*/ 27 w 50"/>
                    <a:gd name="T29" fmla="*/ 28 h 28"/>
                    <a:gd name="T30" fmla="*/ 30 w 50"/>
                    <a:gd name="T31" fmla="*/ 26 h 28"/>
                    <a:gd name="T32" fmla="*/ 34 w 50"/>
                    <a:gd name="T33" fmla="*/ 24 h 28"/>
                    <a:gd name="T34" fmla="*/ 34 w 50"/>
                    <a:gd name="T35" fmla="*/ 22 h 28"/>
                    <a:gd name="T36" fmla="*/ 42 w 50"/>
                    <a:gd name="T37" fmla="*/ 22 h 28"/>
                    <a:gd name="T38" fmla="*/ 45 w 50"/>
                    <a:gd name="T39" fmla="*/ 21 h 28"/>
                    <a:gd name="T40" fmla="*/ 44 w 50"/>
                    <a:gd name="T41" fmla="*/ 19 h 28"/>
                    <a:gd name="T42" fmla="*/ 42 w 50"/>
                    <a:gd name="T43" fmla="*/ 13 h 28"/>
                    <a:gd name="T44" fmla="*/ 49 w 50"/>
                    <a:gd name="T45" fmla="*/ 6 h 28"/>
                    <a:gd name="T46" fmla="*/ 50 w 50"/>
                    <a:gd name="T47" fmla="*/ 5 h 28"/>
                    <a:gd name="T48" fmla="*/ 46 w 50"/>
                    <a:gd name="T49" fmla="*/ 2 h 28"/>
                    <a:gd name="T50" fmla="*/ 39 w 50"/>
                    <a:gd name="T51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50" h="28">
                      <a:moveTo>
                        <a:pt x="39" y="0"/>
                      </a:moveTo>
                      <a:cubicBezTo>
                        <a:pt x="37" y="0"/>
                        <a:pt x="31" y="0"/>
                        <a:pt x="30" y="2"/>
                      </a:cubicBezTo>
                      <a:cubicBezTo>
                        <a:pt x="28" y="4"/>
                        <a:pt x="26" y="5"/>
                        <a:pt x="24" y="4"/>
                      </a:cubicBezTo>
                      <a:cubicBezTo>
                        <a:pt x="22" y="4"/>
                        <a:pt x="17" y="4"/>
                        <a:pt x="15" y="4"/>
                      </a:cubicBezTo>
                      <a:cubicBezTo>
                        <a:pt x="14" y="4"/>
                        <a:pt x="8" y="3"/>
                        <a:pt x="7" y="3"/>
                      </a:cubicBezTo>
                      <a:cubicBezTo>
                        <a:pt x="6" y="4"/>
                        <a:pt x="4" y="1"/>
                        <a:pt x="2" y="0"/>
                      </a:cubicBezTo>
                      <a:cubicBezTo>
                        <a:pt x="2" y="0"/>
                        <a:pt x="2" y="1"/>
                        <a:pt x="2" y="1"/>
                      </a:cubicBezTo>
                      <a:cubicBezTo>
                        <a:pt x="0" y="2"/>
                        <a:pt x="0" y="5"/>
                        <a:pt x="2" y="7"/>
                      </a:cubicBezTo>
                      <a:cubicBezTo>
                        <a:pt x="3" y="8"/>
                        <a:pt x="6" y="12"/>
                        <a:pt x="4" y="12"/>
                      </a:cubicBezTo>
                      <a:cubicBezTo>
                        <a:pt x="2" y="12"/>
                        <a:pt x="1" y="14"/>
                        <a:pt x="1" y="15"/>
                      </a:cubicBezTo>
                      <a:cubicBezTo>
                        <a:pt x="2" y="16"/>
                        <a:pt x="1" y="18"/>
                        <a:pt x="1" y="19"/>
                      </a:cubicBezTo>
                      <a:cubicBezTo>
                        <a:pt x="2" y="19"/>
                        <a:pt x="6" y="23"/>
                        <a:pt x="6" y="24"/>
                      </a:cubicBezTo>
                      <a:cubicBezTo>
                        <a:pt x="6" y="25"/>
                        <a:pt x="8" y="25"/>
                        <a:pt x="7" y="26"/>
                      </a:cubicBezTo>
                      <a:cubicBezTo>
                        <a:pt x="10" y="26"/>
                        <a:pt x="17" y="26"/>
                        <a:pt x="18" y="26"/>
                      </a:cubicBezTo>
                      <a:cubicBezTo>
                        <a:pt x="20" y="27"/>
                        <a:pt x="27" y="28"/>
                        <a:pt x="27" y="28"/>
                      </a:cubicBezTo>
                      <a:cubicBezTo>
                        <a:pt x="29" y="28"/>
                        <a:pt x="30" y="27"/>
                        <a:pt x="30" y="26"/>
                      </a:cubicBezTo>
                      <a:cubicBezTo>
                        <a:pt x="29" y="25"/>
                        <a:pt x="32" y="24"/>
                        <a:pt x="34" y="24"/>
                      </a:cubicBezTo>
                      <a:cubicBezTo>
                        <a:pt x="33" y="23"/>
                        <a:pt x="33" y="22"/>
                        <a:pt x="34" y="22"/>
                      </a:cubicBezTo>
                      <a:cubicBezTo>
                        <a:pt x="35" y="21"/>
                        <a:pt x="40" y="21"/>
                        <a:pt x="42" y="22"/>
                      </a:cubicBezTo>
                      <a:cubicBezTo>
                        <a:pt x="43" y="22"/>
                        <a:pt x="44" y="22"/>
                        <a:pt x="45" y="21"/>
                      </a:cubicBezTo>
                      <a:cubicBezTo>
                        <a:pt x="45" y="20"/>
                        <a:pt x="45" y="19"/>
                        <a:pt x="44" y="19"/>
                      </a:cubicBezTo>
                      <a:cubicBezTo>
                        <a:pt x="43" y="19"/>
                        <a:pt x="41" y="14"/>
                        <a:pt x="42" y="13"/>
                      </a:cubicBezTo>
                      <a:cubicBezTo>
                        <a:pt x="44" y="13"/>
                        <a:pt x="46" y="7"/>
                        <a:pt x="49" y="6"/>
                      </a:cubicBezTo>
                      <a:cubicBezTo>
                        <a:pt x="50" y="6"/>
                        <a:pt x="50" y="5"/>
                        <a:pt x="50" y="5"/>
                      </a:cubicBezTo>
                      <a:cubicBezTo>
                        <a:pt x="48" y="4"/>
                        <a:pt x="46" y="3"/>
                        <a:pt x="46" y="2"/>
                      </a:cubicBezTo>
                      <a:cubicBezTo>
                        <a:pt x="45" y="1"/>
                        <a:pt x="41" y="1"/>
                        <a:pt x="39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4" name="Freeform 87">
                  <a:extLst>
                    <a:ext uri="{FF2B5EF4-FFF2-40B4-BE49-F238E27FC236}">
                      <a16:creationId xmlns:a16="http://schemas.microsoft.com/office/drawing/2014/main" id="{38FD272D-FAEA-4973-933E-431FB58BD4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027056" y="-10760686"/>
                  <a:ext cx="142701" cy="97296"/>
                </a:xfrm>
                <a:custGeom>
                  <a:avLst/>
                  <a:gdLst>
                    <a:gd name="T0" fmla="*/ 6 w 23"/>
                    <a:gd name="T1" fmla="*/ 16 h 16"/>
                    <a:gd name="T2" fmla="*/ 6 w 23"/>
                    <a:gd name="T3" fmla="*/ 16 h 16"/>
                    <a:gd name="T4" fmla="*/ 6 w 23"/>
                    <a:gd name="T5" fmla="*/ 16 h 16"/>
                    <a:gd name="T6" fmla="*/ 6 w 23"/>
                    <a:gd name="T7" fmla="*/ 16 h 16"/>
                    <a:gd name="T8" fmla="*/ 6 w 23"/>
                    <a:gd name="T9" fmla="*/ 16 h 16"/>
                    <a:gd name="T10" fmla="*/ 7 w 23"/>
                    <a:gd name="T11" fmla="*/ 16 h 16"/>
                    <a:gd name="T12" fmla="*/ 9 w 23"/>
                    <a:gd name="T13" fmla="*/ 16 h 16"/>
                    <a:gd name="T14" fmla="*/ 9 w 23"/>
                    <a:gd name="T15" fmla="*/ 16 h 16"/>
                    <a:gd name="T16" fmla="*/ 10 w 23"/>
                    <a:gd name="T17" fmla="*/ 16 h 16"/>
                    <a:gd name="T18" fmla="*/ 10 w 23"/>
                    <a:gd name="T19" fmla="*/ 16 h 16"/>
                    <a:gd name="T20" fmla="*/ 11 w 23"/>
                    <a:gd name="T21" fmla="*/ 15 h 16"/>
                    <a:gd name="T22" fmla="*/ 15 w 23"/>
                    <a:gd name="T23" fmla="*/ 13 h 16"/>
                    <a:gd name="T24" fmla="*/ 22 w 23"/>
                    <a:gd name="T25" fmla="*/ 10 h 16"/>
                    <a:gd name="T26" fmla="*/ 22 w 23"/>
                    <a:gd name="T27" fmla="*/ 9 h 16"/>
                    <a:gd name="T28" fmla="*/ 21 w 23"/>
                    <a:gd name="T29" fmla="*/ 7 h 16"/>
                    <a:gd name="T30" fmla="*/ 16 w 23"/>
                    <a:gd name="T31" fmla="*/ 2 h 16"/>
                    <a:gd name="T32" fmla="*/ 16 w 23"/>
                    <a:gd name="T33" fmla="*/ 1 h 16"/>
                    <a:gd name="T34" fmla="*/ 16 w 23"/>
                    <a:gd name="T35" fmla="*/ 1 h 16"/>
                    <a:gd name="T36" fmla="*/ 16 w 23"/>
                    <a:gd name="T37" fmla="*/ 0 h 16"/>
                    <a:gd name="T38" fmla="*/ 2 w 23"/>
                    <a:gd name="T39" fmla="*/ 3 h 16"/>
                    <a:gd name="T40" fmla="*/ 2 w 23"/>
                    <a:gd name="T41" fmla="*/ 3 h 16"/>
                    <a:gd name="T42" fmla="*/ 1 w 23"/>
                    <a:gd name="T43" fmla="*/ 11 h 16"/>
                    <a:gd name="T44" fmla="*/ 6 w 23"/>
                    <a:gd name="T45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" h="16">
                      <a:moveTo>
                        <a:pt x="6" y="16"/>
                      </a:move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7" y="16"/>
                        <a:pt x="7" y="16"/>
                        <a:pt x="7" y="16"/>
                      </a:cubicBezTo>
                      <a:cubicBezTo>
                        <a:pt x="7" y="16"/>
                        <a:pt x="8" y="16"/>
                        <a:pt x="9" y="16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0" y="15"/>
                        <a:pt x="11" y="15"/>
                        <a:pt x="11" y="15"/>
                      </a:cubicBezTo>
                      <a:cubicBezTo>
                        <a:pt x="13" y="15"/>
                        <a:pt x="14" y="13"/>
                        <a:pt x="15" y="13"/>
                      </a:cubicBezTo>
                      <a:cubicBezTo>
                        <a:pt x="16" y="14"/>
                        <a:pt x="22" y="11"/>
                        <a:pt x="22" y="10"/>
                      </a:cubicBezTo>
                      <a:cubicBezTo>
                        <a:pt x="22" y="9"/>
                        <a:pt x="22" y="9"/>
                        <a:pt x="22" y="9"/>
                      </a:cubicBezTo>
                      <a:cubicBezTo>
                        <a:pt x="23" y="8"/>
                        <a:pt x="21" y="8"/>
                        <a:pt x="21" y="7"/>
                      </a:cubicBezTo>
                      <a:cubicBezTo>
                        <a:pt x="21" y="6"/>
                        <a:pt x="17" y="2"/>
                        <a:pt x="16" y="2"/>
                      </a:cubicBezTo>
                      <a:cubicBezTo>
                        <a:pt x="16" y="2"/>
                        <a:pt x="16" y="2"/>
                        <a:pt x="16" y="1"/>
                      </a:cubicBezTo>
                      <a:cubicBezTo>
                        <a:pt x="16" y="1"/>
                        <a:pt x="16" y="1"/>
                        <a:pt x="16" y="1"/>
                      </a:cubicBezTo>
                      <a:cubicBezTo>
                        <a:pt x="16" y="1"/>
                        <a:pt x="16" y="1"/>
                        <a:pt x="16" y="0"/>
                      </a:cubicBezTo>
                      <a:cubicBezTo>
                        <a:pt x="11" y="1"/>
                        <a:pt x="2" y="3"/>
                        <a:pt x="2" y="3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1" y="5"/>
                        <a:pt x="0" y="9"/>
                        <a:pt x="1" y="11"/>
                      </a:cubicBezTo>
                      <a:cubicBezTo>
                        <a:pt x="2" y="13"/>
                        <a:pt x="3" y="14"/>
                        <a:pt x="6" y="1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5" name="Freeform 88">
                  <a:extLst>
                    <a:ext uri="{FF2B5EF4-FFF2-40B4-BE49-F238E27FC236}">
                      <a16:creationId xmlns:a16="http://schemas.microsoft.com/office/drawing/2014/main" id="{8744A6F5-E66E-40C3-8158-DC0F05BA92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933002" y="-11396355"/>
                  <a:ext cx="882153" cy="518914"/>
                </a:xfrm>
                <a:custGeom>
                  <a:avLst/>
                  <a:gdLst>
                    <a:gd name="T0" fmla="*/ 134 w 143"/>
                    <a:gd name="T1" fmla="*/ 48 h 84"/>
                    <a:gd name="T2" fmla="*/ 142 w 143"/>
                    <a:gd name="T3" fmla="*/ 43 h 84"/>
                    <a:gd name="T4" fmla="*/ 143 w 143"/>
                    <a:gd name="T5" fmla="*/ 38 h 84"/>
                    <a:gd name="T6" fmla="*/ 143 w 143"/>
                    <a:gd name="T7" fmla="*/ 33 h 84"/>
                    <a:gd name="T8" fmla="*/ 132 w 143"/>
                    <a:gd name="T9" fmla="*/ 28 h 84"/>
                    <a:gd name="T10" fmla="*/ 121 w 143"/>
                    <a:gd name="T11" fmla="*/ 23 h 84"/>
                    <a:gd name="T12" fmla="*/ 113 w 143"/>
                    <a:gd name="T13" fmla="*/ 23 h 84"/>
                    <a:gd name="T14" fmla="*/ 106 w 143"/>
                    <a:gd name="T15" fmla="*/ 20 h 84"/>
                    <a:gd name="T16" fmla="*/ 96 w 143"/>
                    <a:gd name="T17" fmla="*/ 12 h 84"/>
                    <a:gd name="T18" fmla="*/ 94 w 143"/>
                    <a:gd name="T19" fmla="*/ 2 h 84"/>
                    <a:gd name="T20" fmla="*/ 82 w 143"/>
                    <a:gd name="T21" fmla="*/ 1 h 84"/>
                    <a:gd name="T22" fmla="*/ 76 w 143"/>
                    <a:gd name="T23" fmla="*/ 2 h 84"/>
                    <a:gd name="T24" fmla="*/ 66 w 143"/>
                    <a:gd name="T25" fmla="*/ 9 h 84"/>
                    <a:gd name="T26" fmla="*/ 57 w 143"/>
                    <a:gd name="T27" fmla="*/ 11 h 84"/>
                    <a:gd name="T28" fmla="*/ 46 w 143"/>
                    <a:gd name="T29" fmla="*/ 9 h 84"/>
                    <a:gd name="T30" fmla="*/ 34 w 143"/>
                    <a:gd name="T31" fmla="*/ 7 h 84"/>
                    <a:gd name="T32" fmla="*/ 15 w 143"/>
                    <a:gd name="T33" fmla="*/ 8 h 84"/>
                    <a:gd name="T34" fmla="*/ 11 w 143"/>
                    <a:gd name="T35" fmla="*/ 12 h 84"/>
                    <a:gd name="T36" fmla="*/ 11 w 143"/>
                    <a:gd name="T37" fmla="*/ 23 h 84"/>
                    <a:gd name="T38" fmla="*/ 3 w 143"/>
                    <a:gd name="T39" fmla="*/ 36 h 84"/>
                    <a:gd name="T40" fmla="*/ 3 w 143"/>
                    <a:gd name="T41" fmla="*/ 46 h 84"/>
                    <a:gd name="T42" fmla="*/ 8 w 143"/>
                    <a:gd name="T43" fmla="*/ 46 h 84"/>
                    <a:gd name="T44" fmla="*/ 21 w 143"/>
                    <a:gd name="T45" fmla="*/ 49 h 84"/>
                    <a:gd name="T46" fmla="*/ 28 w 143"/>
                    <a:gd name="T47" fmla="*/ 48 h 84"/>
                    <a:gd name="T48" fmla="*/ 42 w 143"/>
                    <a:gd name="T49" fmla="*/ 42 h 84"/>
                    <a:gd name="T50" fmla="*/ 55 w 143"/>
                    <a:gd name="T51" fmla="*/ 50 h 84"/>
                    <a:gd name="T52" fmla="*/ 61 w 143"/>
                    <a:gd name="T53" fmla="*/ 63 h 84"/>
                    <a:gd name="T54" fmla="*/ 53 w 143"/>
                    <a:gd name="T55" fmla="*/ 66 h 84"/>
                    <a:gd name="T56" fmla="*/ 51 w 143"/>
                    <a:gd name="T57" fmla="*/ 75 h 84"/>
                    <a:gd name="T58" fmla="*/ 59 w 143"/>
                    <a:gd name="T59" fmla="*/ 75 h 84"/>
                    <a:gd name="T60" fmla="*/ 69 w 143"/>
                    <a:gd name="T61" fmla="*/ 61 h 84"/>
                    <a:gd name="T62" fmla="*/ 79 w 143"/>
                    <a:gd name="T63" fmla="*/ 65 h 84"/>
                    <a:gd name="T64" fmla="*/ 81 w 143"/>
                    <a:gd name="T65" fmla="*/ 73 h 84"/>
                    <a:gd name="T66" fmla="*/ 90 w 143"/>
                    <a:gd name="T67" fmla="*/ 83 h 84"/>
                    <a:gd name="T68" fmla="*/ 104 w 143"/>
                    <a:gd name="T69" fmla="*/ 78 h 84"/>
                    <a:gd name="T70" fmla="*/ 107 w 143"/>
                    <a:gd name="T71" fmla="*/ 74 h 84"/>
                    <a:gd name="T72" fmla="*/ 110 w 143"/>
                    <a:gd name="T73" fmla="*/ 61 h 84"/>
                    <a:gd name="T74" fmla="*/ 127 w 143"/>
                    <a:gd name="T75" fmla="*/ 56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43" h="84">
                      <a:moveTo>
                        <a:pt x="127" y="52"/>
                      </a:moveTo>
                      <a:cubicBezTo>
                        <a:pt x="129" y="52"/>
                        <a:pt x="132" y="48"/>
                        <a:pt x="134" y="48"/>
                      </a:cubicBezTo>
                      <a:cubicBezTo>
                        <a:pt x="135" y="48"/>
                        <a:pt x="140" y="49"/>
                        <a:pt x="140" y="48"/>
                      </a:cubicBezTo>
                      <a:cubicBezTo>
                        <a:pt x="140" y="47"/>
                        <a:pt x="142" y="44"/>
                        <a:pt x="142" y="43"/>
                      </a:cubicBezTo>
                      <a:cubicBezTo>
                        <a:pt x="141" y="43"/>
                        <a:pt x="139" y="41"/>
                        <a:pt x="140" y="40"/>
                      </a:cubicBezTo>
                      <a:cubicBezTo>
                        <a:pt x="140" y="40"/>
                        <a:pt x="143" y="40"/>
                        <a:pt x="143" y="38"/>
                      </a:cubicBezTo>
                      <a:cubicBezTo>
                        <a:pt x="143" y="37"/>
                        <a:pt x="141" y="37"/>
                        <a:pt x="141" y="36"/>
                      </a:cubicBezTo>
                      <a:cubicBezTo>
                        <a:pt x="141" y="35"/>
                        <a:pt x="143" y="34"/>
                        <a:pt x="143" y="33"/>
                      </a:cubicBezTo>
                      <a:cubicBezTo>
                        <a:pt x="143" y="31"/>
                        <a:pt x="141" y="31"/>
                        <a:pt x="138" y="30"/>
                      </a:cubicBezTo>
                      <a:cubicBezTo>
                        <a:pt x="136" y="29"/>
                        <a:pt x="134" y="29"/>
                        <a:pt x="132" y="28"/>
                      </a:cubicBezTo>
                      <a:cubicBezTo>
                        <a:pt x="129" y="27"/>
                        <a:pt x="125" y="28"/>
                        <a:pt x="125" y="27"/>
                      </a:cubicBezTo>
                      <a:cubicBezTo>
                        <a:pt x="125" y="26"/>
                        <a:pt x="122" y="24"/>
                        <a:pt x="121" y="23"/>
                      </a:cubicBezTo>
                      <a:cubicBezTo>
                        <a:pt x="121" y="22"/>
                        <a:pt x="118" y="22"/>
                        <a:pt x="117" y="23"/>
                      </a:cubicBezTo>
                      <a:cubicBezTo>
                        <a:pt x="116" y="24"/>
                        <a:pt x="114" y="24"/>
                        <a:pt x="113" y="23"/>
                      </a:cubicBezTo>
                      <a:cubicBezTo>
                        <a:pt x="111" y="23"/>
                        <a:pt x="110" y="21"/>
                        <a:pt x="109" y="22"/>
                      </a:cubicBezTo>
                      <a:cubicBezTo>
                        <a:pt x="108" y="22"/>
                        <a:pt x="105" y="22"/>
                        <a:pt x="106" y="20"/>
                      </a:cubicBezTo>
                      <a:cubicBezTo>
                        <a:pt x="106" y="18"/>
                        <a:pt x="104" y="14"/>
                        <a:pt x="102" y="14"/>
                      </a:cubicBezTo>
                      <a:cubicBezTo>
                        <a:pt x="101" y="13"/>
                        <a:pt x="97" y="14"/>
                        <a:pt x="96" y="12"/>
                      </a:cubicBezTo>
                      <a:cubicBezTo>
                        <a:pt x="96" y="11"/>
                        <a:pt x="94" y="9"/>
                        <a:pt x="95" y="8"/>
                      </a:cubicBezTo>
                      <a:cubicBezTo>
                        <a:pt x="95" y="7"/>
                        <a:pt x="94" y="3"/>
                        <a:pt x="94" y="2"/>
                      </a:cubicBezTo>
                      <a:cubicBezTo>
                        <a:pt x="93" y="0"/>
                        <a:pt x="88" y="1"/>
                        <a:pt x="87" y="1"/>
                      </a:cubicBezTo>
                      <a:cubicBezTo>
                        <a:pt x="86" y="2"/>
                        <a:pt x="83" y="1"/>
                        <a:pt x="82" y="1"/>
                      </a:cubicBezTo>
                      <a:cubicBezTo>
                        <a:pt x="80" y="2"/>
                        <a:pt x="80" y="3"/>
                        <a:pt x="78" y="3"/>
                      </a:cubicBezTo>
                      <a:cubicBezTo>
                        <a:pt x="77" y="3"/>
                        <a:pt x="76" y="3"/>
                        <a:pt x="76" y="2"/>
                      </a:cubicBezTo>
                      <a:cubicBezTo>
                        <a:pt x="74" y="3"/>
                        <a:pt x="71" y="3"/>
                        <a:pt x="71" y="3"/>
                      </a:cubicBezTo>
                      <a:cubicBezTo>
                        <a:pt x="71" y="3"/>
                        <a:pt x="66" y="7"/>
                        <a:pt x="66" y="9"/>
                      </a:cubicBezTo>
                      <a:cubicBezTo>
                        <a:pt x="66" y="10"/>
                        <a:pt x="66" y="13"/>
                        <a:pt x="64" y="11"/>
                      </a:cubicBezTo>
                      <a:cubicBezTo>
                        <a:pt x="63" y="10"/>
                        <a:pt x="58" y="10"/>
                        <a:pt x="57" y="11"/>
                      </a:cubicBezTo>
                      <a:cubicBezTo>
                        <a:pt x="56" y="12"/>
                        <a:pt x="54" y="8"/>
                        <a:pt x="52" y="9"/>
                      </a:cubicBezTo>
                      <a:cubicBezTo>
                        <a:pt x="50" y="10"/>
                        <a:pt x="47" y="8"/>
                        <a:pt x="46" y="9"/>
                      </a:cubicBezTo>
                      <a:cubicBezTo>
                        <a:pt x="46" y="10"/>
                        <a:pt x="43" y="9"/>
                        <a:pt x="41" y="8"/>
                      </a:cubicBezTo>
                      <a:cubicBezTo>
                        <a:pt x="39" y="7"/>
                        <a:pt x="35" y="8"/>
                        <a:pt x="34" y="7"/>
                      </a:cubicBezTo>
                      <a:cubicBezTo>
                        <a:pt x="32" y="5"/>
                        <a:pt x="23" y="5"/>
                        <a:pt x="20" y="5"/>
                      </a:cubicBezTo>
                      <a:cubicBezTo>
                        <a:pt x="17" y="5"/>
                        <a:pt x="16" y="7"/>
                        <a:pt x="15" y="8"/>
                      </a:cubicBezTo>
                      <a:cubicBezTo>
                        <a:pt x="13" y="10"/>
                        <a:pt x="12" y="9"/>
                        <a:pt x="10" y="9"/>
                      </a:cubicBezTo>
                      <a:cubicBezTo>
                        <a:pt x="10" y="10"/>
                        <a:pt x="11" y="11"/>
                        <a:pt x="11" y="12"/>
                      </a:cubicBezTo>
                      <a:cubicBezTo>
                        <a:pt x="12" y="13"/>
                        <a:pt x="15" y="18"/>
                        <a:pt x="14" y="20"/>
                      </a:cubicBezTo>
                      <a:cubicBezTo>
                        <a:pt x="13" y="21"/>
                        <a:pt x="12" y="21"/>
                        <a:pt x="11" y="23"/>
                      </a:cubicBezTo>
                      <a:cubicBezTo>
                        <a:pt x="10" y="24"/>
                        <a:pt x="3" y="29"/>
                        <a:pt x="3" y="30"/>
                      </a:cubicBezTo>
                      <a:cubicBezTo>
                        <a:pt x="3" y="31"/>
                        <a:pt x="4" y="35"/>
                        <a:pt x="3" y="36"/>
                      </a:cubicBezTo>
                      <a:cubicBezTo>
                        <a:pt x="2" y="37"/>
                        <a:pt x="0" y="40"/>
                        <a:pt x="0" y="42"/>
                      </a:cubicBezTo>
                      <a:cubicBezTo>
                        <a:pt x="0" y="43"/>
                        <a:pt x="2" y="45"/>
                        <a:pt x="3" y="46"/>
                      </a:cubicBezTo>
                      <a:cubicBezTo>
                        <a:pt x="4" y="46"/>
                        <a:pt x="4" y="46"/>
                        <a:pt x="5" y="47"/>
                      </a:cubicBezTo>
                      <a:cubicBezTo>
                        <a:pt x="6" y="46"/>
                        <a:pt x="7" y="46"/>
                        <a:pt x="8" y="46"/>
                      </a:cubicBezTo>
                      <a:cubicBezTo>
                        <a:pt x="9" y="46"/>
                        <a:pt x="14" y="48"/>
                        <a:pt x="16" y="48"/>
                      </a:cubicBezTo>
                      <a:cubicBezTo>
                        <a:pt x="17" y="48"/>
                        <a:pt x="20" y="48"/>
                        <a:pt x="21" y="49"/>
                      </a:cubicBezTo>
                      <a:cubicBezTo>
                        <a:pt x="21" y="50"/>
                        <a:pt x="23" y="49"/>
                        <a:pt x="24" y="48"/>
                      </a:cubicBezTo>
                      <a:cubicBezTo>
                        <a:pt x="25" y="47"/>
                        <a:pt x="27" y="48"/>
                        <a:pt x="28" y="48"/>
                      </a:cubicBezTo>
                      <a:cubicBezTo>
                        <a:pt x="30" y="48"/>
                        <a:pt x="32" y="47"/>
                        <a:pt x="33" y="45"/>
                      </a:cubicBezTo>
                      <a:cubicBezTo>
                        <a:pt x="33" y="44"/>
                        <a:pt x="41" y="42"/>
                        <a:pt x="42" y="42"/>
                      </a:cubicBezTo>
                      <a:cubicBezTo>
                        <a:pt x="44" y="42"/>
                        <a:pt x="47" y="46"/>
                        <a:pt x="49" y="46"/>
                      </a:cubicBezTo>
                      <a:cubicBezTo>
                        <a:pt x="51" y="46"/>
                        <a:pt x="54" y="47"/>
                        <a:pt x="55" y="50"/>
                      </a:cubicBezTo>
                      <a:cubicBezTo>
                        <a:pt x="56" y="53"/>
                        <a:pt x="58" y="57"/>
                        <a:pt x="60" y="58"/>
                      </a:cubicBezTo>
                      <a:cubicBezTo>
                        <a:pt x="61" y="59"/>
                        <a:pt x="61" y="62"/>
                        <a:pt x="61" y="63"/>
                      </a:cubicBezTo>
                      <a:cubicBezTo>
                        <a:pt x="61" y="64"/>
                        <a:pt x="59" y="63"/>
                        <a:pt x="56" y="62"/>
                      </a:cubicBezTo>
                      <a:cubicBezTo>
                        <a:pt x="53" y="61"/>
                        <a:pt x="53" y="64"/>
                        <a:pt x="53" y="66"/>
                      </a:cubicBezTo>
                      <a:cubicBezTo>
                        <a:pt x="53" y="67"/>
                        <a:pt x="49" y="72"/>
                        <a:pt x="48" y="73"/>
                      </a:cubicBezTo>
                      <a:cubicBezTo>
                        <a:pt x="47" y="74"/>
                        <a:pt x="50" y="75"/>
                        <a:pt x="51" y="75"/>
                      </a:cubicBezTo>
                      <a:cubicBezTo>
                        <a:pt x="52" y="75"/>
                        <a:pt x="55" y="73"/>
                        <a:pt x="56" y="73"/>
                      </a:cubicBezTo>
                      <a:cubicBezTo>
                        <a:pt x="56" y="73"/>
                        <a:pt x="57" y="74"/>
                        <a:pt x="59" y="75"/>
                      </a:cubicBezTo>
                      <a:cubicBezTo>
                        <a:pt x="58" y="71"/>
                        <a:pt x="59" y="72"/>
                        <a:pt x="62" y="69"/>
                      </a:cubicBezTo>
                      <a:cubicBezTo>
                        <a:pt x="66" y="66"/>
                        <a:pt x="66" y="62"/>
                        <a:pt x="69" y="61"/>
                      </a:cubicBezTo>
                      <a:cubicBezTo>
                        <a:pt x="72" y="60"/>
                        <a:pt x="74" y="59"/>
                        <a:pt x="78" y="60"/>
                      </a:cubicBezTo>
                      <a:cubicBezTo>
                        <a:pt x="83" y="60"/>
                        <a:pt x="76" y="63"/>
                        <a:pt x="79" y="65"/>
                      </a:cubicBezTo>
                      <a:cubicBezTo>
                        <a:pt x="82" y="67"/>
                        <a:pt x="92" y="64"/>
                        <a:pt x="92" y="67"/>
                      </a:cubicBezTo>
                      <a:cubicBezTo>
                        <a:pt x="93" y="69"/>
                        <a:pt x="81" y="72"/>
                        <a:pt x="81" y="73"/>
                      </a:cubicBezTo>
                      <a:cubicBezTo>
                        <a:pt x="82" y="74"/>
                        <a:pt x="88" y="75"/>
                        <a:pt x="90" y="76"/>
                      </a:cubicBezTo>
                      <a:cubicBezTo>
                        <a:pt x="92" y="78"/>
                        <a:pt x="89" y="81"/>
                        <a:pt x="90" y="83"/>
                      </a:cubicBezTo>
                      <a:cubicBezTo>
                        <a:pt x="91" y="84"/>
                        <a:pt x="94" y="83"/>
                        <a:pt x="96" y="81"/>
                      </a:cubicBezTo>
                      <a:cubicBezTo>
                        <a:pt x="99" y="79"/>
                        <a:pt x="101" y="80"/>
                        <a:pt x="104" y="78"/>
                      </a:cubicBezTo>
                      <a:cubicBezTo>
                        <a:pt x="107" y="76"/>
                        <a:pt x="114" y="78"/>
                        <a:pt x="115" y="76"/>
                      </a:cubicBezTo>
                      <a:cubicBezTo>
                        <a:pt x="116" y="75"/>
                        <a:pt x="113" y="74"/>
                        <a:pt x="107" y="74"/>
                      </a:cubicBezTo>
                      <a:cubicBezTo>
                        <a:pt x="101" y="75"/>
                        <a:pt x="100" y="69"/>
                        <a:pt x="100" y="68"/>
                      </a:cubicBezTo>
                      <a:cubicBezTo>
                        <a:pt x="100" y="66"/>
                        <a:pt x="107" y="61"/>
                        <a:pt x="110" y="61"/>
                      </a:cubicBezTo>
                      <a:cubicBezTo>
                        <a:pt x="114" y="61"/>
                        <a:pt x="117" y="60"/>
                        <a:pt x="121" y="58"/>
                      </a:cubicBezTo>
                      <a:cubicBezTo>
                        <a:pt x="122" y="57"/>
                        <a:pt x="125" y="57"/>
                        <a:pt x="127" y="56"/>
                      </a:cubicBezTo>
                      <a:cubicBezTo>
                        <a:pt x="127" y="55"/>
                        <a:pt x="126" y="53"/>
                        <a:pt x="127" y="5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6" name="Freeform 89">
                  <a:extLst>
                    <a:ext uri="{FF2B5EF4-FFF2-40B4-BE49-F238E27FC236}">
                      <a16:creationId xmlns:a16="http://schemas.microsoft.com/office/drawing/2014/main" id="{349C7C21-90A1-49B3-BA85-F127231C0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884355" y="-11655812"/>
                  <a:ext cx="463780" cy="337294"/>
                </a:xfrm>
                <a:custGeom>
                  <a:avLst/>
                  <a:gdLst>
                    <a:gd name="T0" fmla="*/ 71 w 75"/>
                    <a:gd name="T1" fmla="*/ 27 h 55"/>
                    <a:gd name="T2" fmla="*/ 66 w 75"/>
                    <a:gd name="T3" fmla="*/ 22 h 55"/>
                    <a:gd name="T4" fmla="*/ 62 w 75"/>
                    <a:gd name="T5" fmla="*/ 17 h 55"/>
                    <a:gd name="T6" fmla="*/ 61 w 75"/>
                    <a:gd name="T7" fmla="*/ 11 h 55"/>
                    <a:gd name="T8" fmla="*/ 61 w 75"/>
                    <a:gd name="T9" fmla="*/ 6 h 55"/>
                    <a:gd name="T10" fmla="*/ 53 w 75"/>
                    <a:gd name="T11" fmla="*/ 4 h 55"/>
                    <a:gd name="T12" fmla="*/ 49 w 75"/>
                    <a:gd name="T13" fmla="*/ 4 h 55"/>
                    <a:gd name="T14" fmla="*/ 45 w 75"/>
                    <a:gd name="T15" fmla="*/ 2 h 55"/>
                    <a:gd name="T16" fmla="*/ 40 w 75"/>
                    <a:gd name="T17" fmla="*/ 1 h 55"/>
                    <a:gd name="T18" fmla="*/ 40 w 75"/>
                    <a:gd name="T19" fmla="*/ 0 h 55"/>
                    <a:gd name="T20" fmla="*/ 38 w 75"/>
                    <a:gd name="T21" fmla="*/ 1 h 55"/>
                    <a:gd name="T22" fmla="*/ 34 w 75"/>
                    <a:gd name="T23" fmla="*/ 4 h 55"/>
                    <a:gd name="T24" fmla="*/ 29 w 75"/>
                    <a:gd name="T25" fmla="*/ 5 h 55"/>
                    <a:gd name="T26" fmla="*/ 27 w 75"/>
                    <a:gd name="T27" fmla="*/ 9 h 55"/>
                    <a:gd name="T28" fmla="*/ 26 w 75"/>
                    <a:gd name="T29" fmla="*/ 12 h 55"/>
                    <a:gd name="T30" fmla="*/ 23 w 75"/>
                    <a:gd name="T31" fmla="*/ 14 h 55"/>
                    <a:gd name="T32" fmla="*/ 19 w 75"/>
                    <a:gd name="T33" fmla="*/ 18 h 55"/>
                    <a:gd name="T34" fmla="*/ 18 w 75"/>
                    <a:gd name="T35" fmla="*/ 22 h 55"/>
                    <a:gd name="T36" fmla="*/ 13 w 75"/>
                    <a:gd name="T37" fmla="*/ 23 h 55"/>
                    <a:gd name="T38" fmla="*/ 9 w 75"/>
                    <a:gd name="T39" fmla="*/ 25 h 55"/>
                    <a:gd name="T40" fmla="*/ 3 w 75"/>
                    <a:gd name="T41" fmla="*/ 25 h 55"/>
                    <a:gd name="T42" fmla="*/ 3 w 75"/>
                    <a:gd name="T43" fmla="*/ 26 h 55"/>
                    <a:gd name="T44" fmla="*/ 4 w 75"/>
                    <a:gd name="T45" fmla="*/ 32 h 55"/>
                    <a:gd name="T46" fmla="*/ 4 w 75"/>
                    <a:gd name="T47" fmla="*/ 39 h 55"/>
                    <a:gd name="T48" fmla="*/ 0 w 75"/>
                    <a:gd name="T49" fmla="*/ 43 h 55"/>
                    <a:gd name="T50" fmla="*/ 2 w 75"/>
                    <a:gd name="T51" fmla="*/ 47 h 55"/>
                    <a:gd name="T52" fmla="*/ 2 w 75"/>
                    <a:gd name="T53" fmla="*/ 51 h 55"/>
                    <a:gd name="T54" fmla="*/ 7 w 75"/>
                    <a:gd name="T55" fmla="*/ 50 h 55"/>
                    <a:gd name="T56" fmla="*/ 12 w 75"/>
                    <a:gd name="T57" fmla="*/ 47 h 55"/>
                    <a:gd name="T58" fmla="*/ 26 w 75"/>
                    <a:gd name="T59" fmla="*/ 49 h 55"/>
                    <a:gd name="T60" fmla="*/ 33 w 75"/>
                    <a:gd name="T61" fmla="*/ 50 h 55"/>
                    <a:gd name="T62" fmla="*/ 38 w 75"/>
                    <a:gd name="T63" fmla="*/ 51 h 55"/>
                    <a:gd name="T64" fmla="*/ 44 w 75"/>
                    <a:gd name="T65" fmla="*/ 51 h 55"/>
                    <a:gd name="T66" fmla="*/ 49 w 75"/>
                    <a:gd name="T67" fmla="*/ 53 h 55"/>
                    <a:gd name="T68" fmla="*/ 56 w 75"/>
                    <a:gd name="T69" fmla="*/ 53 h 55"/>
                    <a:gd name="T70" fmla="*/ 58 w 75"/>
                    <a:gd name="T71" fmla="*/ 51 h 55"/>
                    <a:gd name="T72" fmla="*/ 63 w 75"/>
                    <a:gd name="T73" fmla="*/ 45 h 55"/>
                    <a:gd name="T74" fmla="*/ 68 w 75"/>
                    <a:gd name="T75" fmla="*/ 44 h 55"/>
                    <a:gd name="T76" fmla="*/ 66 w 75"/>
                    <a:gd name="T77" fmla="*/ 41 h 55"/>
                    <a:gd name="T78" fmla="*/ 65 w 75"/>
                    <a:gd name="T79" fmla="*/ 34 h 55"/>
                    <a:gd name="T80" fmla="*/ 71 w 75"/>
                    <a:gd name="T81" fmla="*/ 34 h 55"/>
                    <a:gd name="T82" fmla="*/ 75 w 75"/>
                    <a:gd name="T83" fmla="*/ 31 h 55"/>
                    <a:gd name="T84" fmla="*/ 71 w 75"/>
                    <a:gd name="T85" fmla="*/ 27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75" h="55">
                      <a:moveTo>
                        <a:pt x="71" y="27"/>
                      </a:moveTo>
                      <a:cubicBezTo>
                        <a:pt x="69" y="26"/>
                        <a:pt x="68" y="23"/>
                        <a:pt x="66" y="22"/>
                      </a:cubicBezTo>
                      <a:cubicBezTo>
                        <a:pt x="64" y="21"/>
                        <a:pt x="64" y="18"/>
                        <a:pt x="62" y="17"/>
                      </a:cubicBezTo>
                      <a:cubicBezTo>
                        <a:pt x="60" y="16"/>
                        <a:pt x="61" y="13"/>
                        <a:pt x="61" y="11"/>
                      </a:cubicBezTo>
                      <a:cubicBezTo>
                        <a:pt x="61" y="9"/>
                        <a:pt x="62" y="6"/>
                        <a:pt x="61" y="6"/>
                      </a:cubicBezTo>
                      <a:cubicBezTo>
                        <a:pt x="60" y="5"/>
                        <a:pt x="55" y="3"/>
                        <a:pt x="53" y="4"/>
                      </a:cubicBezTo>
                      <a:cubicBezTo>
                        <a:pt x="51" y="5"/>
                        <a:pt x="50" y="5"/>
                        <a:pt x="49" y="4"/>
                      </a:cubicBezTo>
                      <a:cubicBezTo>
                        <a:pt x="48" y="2"/>
                        <a:pt x="47" y="1"/>
                        <a:pt x="45" y="2"/>
                      </a:cubicBezTo>
                      <a:cubicBezTo>
                        <a:pt x="43" y="2"/>
                        <a:pt x="42" y="1"/>
                        <a:pt x="40" y="1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9" y="0"/>
                        <a:pt x="38" y="0"/>
                        <a:pt x="38" y="1"/>
                      </a:cubicBezTo>
                      <a:cubicBezTo>
                        <a:pt x="36" y="2"/>
                        <a:pt x="36" y="4"/>
                        <a:pt x="34" y="4"/>
                      </a:cubicBezTo>
                      <a:cubicBezTo>
                        <a:pt x="33" y="4"/>
                        <a:pt x="31" y="3"/>
                        <a:pt x="29" y="5"/>
                      </a:cubicBezTo>
                      <a:cubicBezTo>
                        <a:pt x="27" y="6"/>
                        <a:pt x="27" y="8"/>
                        <a:pt x="27" y="9"/>
                      </a:cubicBezTo>
                      <a:cubicBezTo>
                        <a:pt x="27" y="10"/>
                        <a:pt x="27" y="12"/>
                        <a:pt x="26" y="12"/>
                      </a:cubicBezTo>
                      <a:cubicBezTo>
                        <a:pt x="24" y="12"/>
                        <a:pt x="25" y="14"/>
                        <a:pt x="23" y="14"/>
                      </a:cubicBezTo>
                      <a:cubicBezTo>
                        <a:pt x="22" y="15"/>
                        <a:pt x="19" y="17"/>
                        <a:pt x="19" y="18"/>
                      </a:cubicBezTo>
                      <a:cubicBezTo>
                        <a:pt x="19" y="19"/>
                        <a:pt x="19" y="22"/>
                        <a:pt x="18" y="22"/>
                      </a:cubicBezTo>
                      <a:cubicBezTo>
                        <a:pt x="17" y="22"/>
                        <a:pt x="14" y="22"/>
                        <a:pt x="13" y="23"/>
                      </a:cubicBezTo>
                      <a:cubicBezTo>
                        <a:pt x="12" y="25"/>
                        <a:pt x="11" y="26"/>
                        <a:pt x="9" y="25"/>
                      </a:cubicBezTo>
                      <a:cubicBezTo>
                        <a:pt x="8" y="25"/>
                        <a:pt x="5" y="25"/>
                        <a:pt x="3" y="25"/>
                      </a:cubicBezTo>
                      <a:cubicBezTo>
                        <a:pt x="3" y="25"/>
                        <a:pt x="3" y="25"/>
                        <a:pt x="3" y="26"/>
                      </a:cubicBezTo>
                      <a:cubicBezTo>
                        <a:pt x="2" y="28"/>
                        <a:pt x="3" y="30"/>
                        <a:pt x="4" y="32"/>
                      </a:cubicBezTo>
                      <a:cubicBezTo>
                        <a:pt x="5" y="33"/>
                        <a:pt x="6" y="38"/>
                        <a:pt x="4" y="39"/>
                      </a:cubicBezTo>
                      <a:cubicBezTo>
                        <a:pt x="3" y="39"/>
                        <a:pt x="0" y="41"/>
                        <a:pt x="0" y="43"/>
                      </a:cubicBezTo>
                      <a:cubicBezTo>
                        <a:pt x="0" y="44"/>
                        <a:pt x="3" y="45"/>
                        <a:pt x="2" y="47"/>
                      </a:cubicBezTo>
                      <a:cubicBezTo>
                        <a:pt x="2" y="48"/>
                        <a:pt x="2" y="50"/>
                        <a:pt x="2" y="51"/>
                      </a:cubicBezTo>
                      <a:cubicBezTo>
                        <a:pt x="4" y="51"/>
                        <a:pt x="5" y="52"/>
                        <a:pt x="7" y="50"/>
                      </a:cubicBezTo>
                      <a:cubicBezTo>
                        <a:pt x="8" y="49"/>
                        <a:pt x="9" y="47"/>
                        <a:pt x="12" y="47"/>
                      </a:cubicBezTo>
                      <a:cubicBezTo>
                        <a:pt x="15" y="47"/>
                        <a:pt x="24" y="47"/>
                        <a:pt x="26" y="49"/>
                      </a:cubicBezTo>
                      <a:cubicBezTo>
                        <a:pt x="27" y="50"/>
                        <a:pt x="31" y="49"/>
                        <a:pt x="33" y="50"/>
                      </a:cubicBezTo>
                      <a:cubicBezTo>
                        <a:pt x="35" y="51"/>
                        <a:pt x="38" y="52"/>
                        <a:pt x="38" y="51"/>
                      </a:cubicBezTo>
                      <a:cubicBezTo>
                        <a:pt x="39" y="50"/>
                        <a:pt x="42" y="52"/>
                        <a:pt x="44" y="51"/>
                      </a:cubicBezTo>
                      <a:cubicBezTo>
                        <a:pt x="46" y="50"/>
                        <a:pt x="48" y="54"/>
                        <a:pt x="49" y="53"/>
                      </a:cubicBezTo>
                      <a:cubicBezTo>
                        <a:pt x="50" y="52"/>
                        <a:pt x="55" y="52"/>
                        <a:pt x="56" y="53"/>
                      </a:cubicBezTo>
                      <a:cubicBezTo>
                        <a:pt x="58" y="55"/>
                        <a:pt x="58" y="52"/>
                        <a:pt x="58" y="51"/>
                      </a:cubicBezTo>
                      <a:cubicBezTo>
                        <a:pt x="58" y="49"/>
                        <a:pt x="63" y="45"/>
                        <a:pt x="63" y="45"/>
                      </a:cubicBezTo>
                      <a:cubicBezTo>
                        <a:pt x="63" y="45"/>
                        <a:pt x="66" y="45"/>
                        <a:pt x="68" y="44"/>
                      </a:cubicBezTo>
                      <a:cubicBezTo>
                        <a:pt x="67" y="44"/>
                        <a:pt x="67" y="43"/>
                        <a:pt x="66" y="41"/>
                      </a:cubicBezTo>
                      <a:cubicBezTo>
                        <a:pt x="66" y="37"/>
                        <a:pt x="64" y="35"/>
                        <a:pt x="65" y="34"/>
                      </a:cubicBezTo>
                      <a:cubicBezTo>
                        <a:pt x="66" y="32"/>
                        <a:pt x="69" y="35"/>
                        <a:pt x="71" y="34"/>
                      </a:cubicBezTo>
                      <a:cubicBezTo>
                        <a:pt x="73" y="34"/>
                        <a:pt x="75" y="32"/>
                        <a:pt x="75" y="31"/>
                      </a:cubicBezTo>
                      <a:cubicBezTo>
                        <a:pt x="75" y="29"/>
                        <a:pt x="72" y="27"/>
                        <a:pt x="71" y="2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7" name="Freeform 90">
                  <a:extLst>
                    <a:ext uri="{FF2B5EF4-FFF2-40B4-BE49-F238E27FC236}">
                      <a16:creationId xmlns:a16="http://schemas.microsoft.com/office/drawing/2014/main" id="{03D5AA00-C19F-4675-85B4-4ADD656A8F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001111" y="-11792027"/>
                  <a:ext cx="363240" cy="171891"/>
                </a:xfrm>
                <a:custGeom>
                  <a:avLst/>
                  <a:gdLst>
                    <a:gd name="T0" fmla="*/ 20 w 59"/>
                    <a:gd name="T1" fmla="*/ 20 h 28"/>
                    <a:gd name="T2" fmla="*/ 30 w 59"/>
                    <a:gd name="T3" fmla="*/ 20 h 28"/>
                    <a:gd name="T4" fmla="*/ 35 w 59"/>
                    <a:gd name="T5" fmla="*/ 22 h 28"/>
                    <a:gd name="T6" fmla="*/ 42 w 59"/>
                    <a:gd name="T7" fmla="*/ 26 h 28"/>
                    <a:gd name="T8" fmla="*/ 46 w 59"/>
                    <a:gd name="T9" fmla="*/ 28 h 28"/>
                    <a:gd name="T10" fmla="*/ 48 w 59"/>
                    <a:gd name="T11" fmla="*/ 27 h 28"/>
                    <a:gd name="T12" fmla="*/ 53 w 59"/>
                    <a:gd name="T13" fmla="*/ 26 h 28"/>
                    <a:gd name="T14" fmla="*/ 57 w 59"/>
                    <a:gd name="T15" fmla="*/ 23 h 28"/>
                    <a:gd name="T16" fmla="*/ 59 w 59"/>
                    <a:gd name="T17" fmla="*/ 22 h 28"/>
                    <a:gd name="T18" fmla="*/ 57 w 59"/>
                    <a:gd name="T19" fmla="*/ 17 h 28"/>
                    <a:gd name="T20" fmla="*/ 55 w 59"/>
                    <a:gd name="T21" fmla="*/ 12 h 28"/>
                    <a:gd name="T22" fmla="*/ 54 w 59"/>
                    <a:gd name="T23" fmla="*/ 8 h 28"/>
                    <a:gd name="T24" fmla="*/ 53 w 59"/>
                    <a:gd name="T25" fmla="*/ 6 h 28"/>
                    <a:gd name="T26" fmla="*/ 45 w 59"/>
                    <a:gd name="T27" fmla="*/ 5 h 28"/>
                    <a:gd name="T28" fmla="*/ 37 w 59"/>
                    <a:gd name="T29" fmla="*/ 1 h 28"/>
                    <a:gd name="T30" fmla="*/ 28 w 59"/>
                    <a:gd name="T31" fmla="*/ 1 h 28"/>
                    <a:gd name="T32" fmla="*/ 27 w 59"/>
                    <a:gd name="T33" fmla="*/ 9 h 28"/>
                    <a:gd name="T34" fmla="*/ 21 w 59"/>
                    <a:gd name="T35" fmla="*/ 12 h 28"/>
                    <a:gd name="T36" fmla="*/ 14 w 59"/>
                    <a:gd name="T37" fmla="*/ 3 h 28"/>
                    <a:gd name="T38" fmla="*/ 6 w 59"/>
                    <a:gd name="T39" fmla="*/ 7 h 28"/>
                    <a:gd name="T40" fmla="*/ 3 w 59"/>
                    <a:gd name="T41" fmla="*/ 13 h 28"/>
                    <a:gd name="T42" fmla="*/ 2 w 59"/>
                    <a:gd name="T43" fmla="*/ 21 h 28"/>
                    <a:gd name="T44" fmla="*/ 2 w 59"/>
                    <a:gd name="T45" fmla="*/ 22 h 28"/>
                    <a:gd name="T46" fmla="*/ 8 w 59"/>
                    <a:gd name="T47" fmla="*/ 20 h 28"/>
                    <a:gd name="T48" fmla="*/ 20 w 59"/>
                    <a:gd name="T49" fmla="*/ 2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9" h="28">
                      <a:moveTo>
                        <a:pt x="20" y="20"/>
                      </a:moveTo>
                      <a:cubicBezTo>
                        <a:pt x="22" y="20"/>
                        <a:pt x="27" y="21"/>
                        <a:pt x="30" y="20"/>
                      </a:cubicBezTo>
                      <a:cubicBezTo>
                        <a:pt x="33" y="19"/>
                        <a:pt x="33" y="22"/>
                        <a:pt x="35" y="22"/>
                      </a:cubicBezTo>
                      <a:cubicBezTo>
                        <a:pt x="37" y="21"/>
                        <a:pt x="40" y="24"/>
                        <a:pt x="42" y="26"/>
                      </a:cubicBezTo>
                      <a:cubicBezTo>
                        <a:pt x="44" y="27"/>
                        <a:pt x="45" y="27"/>
                        <a:pt x="46" y="28"/>
                      </a:cubicBezTo>
                      <a:cubicBezTo>
                        <a:pt x="47" y="28"/>
                        <a:pt x="47" y="27"/>
                        <a:pt x="48" y="27"/>
                      </a:cubicBezTo>
                      <a:cubicBezTo>
                        <a:pt x="50" y="25"/>
                        <a:pt x="52" y="26"/>
                        <a:pt x="53" y="26"/>
                      </a:cubicBezTo>
                      <a:cubicBezTo>
                        <a:pt x="55" y="26"/>
                        <a:pt x="55" y="24"/>
                        <a:pt x="57" y="23"/>
                      </a:cubicBezTo>
                      <a:cubicBezTo>
                        <a:pt x="57" y="22"/>
                        <a:pt x="58" y="22"/>
                        <a:pt x="59" y="22"/>
                      </a:cubicBezTo>
                      <a:cubicBezTo>
                        <a:pt x="58" y="21"/>
                        <a:pt x="58" y="18"/>
                        <a:pt x="57" y="17"/>
                      </a:cubicBezTo>
                      <a:cubicBezTo>
                        <a:pt x="56" y="16"/>
                        <a:pt x="54" y="14"/>
                        <a:pt x="55" y="12"/>
                      </a:cubicBezTo>
                      <a:cubicBezTo>
                        <a:pt x="55" y="11"/>
                        <a:pt x="55" y="9"/>
                        <a:pt x="54" y="8"/>
                      </a:cubicBezTo>
                      <a:cubicBezTo>
                        <a:pt x="53" y="7"/>
                        <a:pt x="53" y="7"/>
                        <a:pt x="53" y="6"/>
                      </a:cubicBezTo>
                      <a:cubicBezTo>
                        <a:pt x="50" y="6"/>
                        <a:pt x="46" y="5"/>
                        <a:pt x="45" y="5"/>
                      </a:cubicBezTo>
                      <a:cubicBezTo>
                        <a:pt x="43" y="6"/>
                        <a:pt x="38" y="1"/>
                        <a:pt x="37" y="1"/>
                      </a:cubicBezTo>
                      <a:cubicBezTo>
                        <a:pt x="36" y="0"/>
                        <a:pt x="32" y="0"/>
                        <a:pt x="28" y="1"/>
                      </a:cubicBezTo>
                      <a:cubicBezTo>
                        <a:pt x="26" y="3"/>
                        <a:pt x="28" y="5"/>
                        <a:pt x="27" y="9"/>
                      </a:cubicBezTo>
                      <a:cubicBezTo>
                        <a:pt x="27" y="13"/>
                        <a:pt x="23" y="12"/>
                        <a:pt x="21" y="12"/>
                      </a:cubicBezTo>
                      <a:cubicBezTo>
                        <a:pt x="19" y="12"/>
                        <a:pt x="15" y="5"/>
                        <a:pt x="14" y="3"/>
                      </a:cubicBezTo>
                      <a:cubicBezTo>
                        <a:pt x="13" y="2"/>
                        <a:pt x="9" y="5"/>
                        <a:pt x="6" y="7"/>
                      </a:cubicBezTo>
                      <a:cubicBezTo>
                        <a:pt x="3" y="9"/>
                        <a:pt x="5" y="12"/>
                        <a:pt x="3" y="13"/>
                      </a:cubicBezTo>
                      <a:cubicBezTo>
                        <a:pt x="1" y="15"/>
                        <a:pt x="0" y="18"/>
                        <a:pt x="2" y="21"/>
                      </a:cubicBezTo>
                      <a:cubicBezTo>
                        <a:pt x="2" y="21"/>
                        <a:pt x="2" y="21"/>
                        <a:pt x="2" y="22"/>
                      </a:cubicBezTo>
                      <a:cubicBezTo>
                        <a:pt x="4" y="21"/>
                        <a:pt x="7" y="21"/>
                        <a:pt x="8" y="20"/>
                      </a:cubicBezTo>
                      <a:cubicBezTo>
                        <a:pt x="11" y="18"/>
                        <a:pt x="18" y="20"/>
                        <a:pt x="20" y="2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8" name="Freeform 91">
                  <a:extLst>
                    <a:ext uri="{FF2B5EF4-FFF2-40B4-BE49-F238E27FC236}">
                      <a16:creationId xmlns:a16="http://schemas.microsoft.com/office/drawing/2014/main" id="{434C4BBE-25C0-4E1E-B34F-8D4945395E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001111" y="-11681758"/>
                  <a:ext cx="282160" cy="184864"/>
                </a:xfrm>
                <a:custGeom>
                  <a:avLst/>
                  <a:gdLst>
                    <a:gd name="T0" fmla="*/ 6 w 46"/>
                    <a:gd name="T1" fmla="*/ 15 h 30"/>
                    <a:gd name="T2" fmla="*/ 11 w 46"/>
                    <a:gd name="T3" fmla="*/ 17 h 30"/>
                    <a:gd name="T4" fmla="*/ 16 w 46"/>
                    <a:gd name="T5" fmla="*/ 19 h 30"/>
                    <a:gd name="T6" fmla="*/ 16 w 46"/>
                    <a:gd name="T7" fmla="*/ 25 h 30"/>
                    <a:gd name="T8" fmla="*/ 22 w 46"/>
                    <a:gd name="T9" fmla="*/ 29 h 30"/>
                    <a:gd name="T10" fmla="*/ 28 w 46"/>
                    <a:gd name="T11" fmla="*/ 29 h 30"/>
                    <a:gd name="T12" fmla="*/ 32 w 46"/>
                    <a:gd name="T13" fmla="*/ 27 h 30"/>
                    <a:gd name="T14" fmla="*/ 37 w 46"/>
                    <a:gd name="T15" fmla="*/ 26 h 30"/>
                    <a:gd name="T16" fmla="*/ 38 w 46"/>
                    <a:gd name="T17" fmla="*/ 22 h 30"/>
                    <a:gd name="T18" fmla="*/ 42 w 46"/>
                    <a:gd name="T19" fmla="*/ 18 h 30"/>
                    <a:gd name="T20" fmla="*/ 45 w 46"/>
                    <a:gd name="T21" fmla="*/ 16 h 30"/>
                    <a:gd name="T22" fmla="*/ 46 w 46"/>
                    <a:gd name="T23" fmla="*/ 13 h 30"/>
                    <a:gd name="T24" fmla="*/ 46 w 46"/>
                    <a:gd name="T25" fmla="*/ 10 h 30"/>
                    <a:gd name="T26" fmla="*/ 42 w 46"/>
                    <a:gd name="T27" fmla="*/ 8 h 30"/>
                    <a:gd name="T28" fmla="*/ 35 w 46"/>
                    <a:gd name="T29" fmla="*/ 4 h 30"/>
                    <a:gd name="T30" fmla="*/ 30 w 46"/>
                    <a:gd name="T31" fmla="*/ 2 h 30"/>
                    <a:gd name="T32" fmla="*/ 20 w 46"/>
                    <a:gd name="T33" fmla="*/ 2 h 30"/>
                    <a:gd name="T34" fmla="*/ 8 w 46"/>
                    <a:gd name="T35" fmla="*/ 2 h 30"/>
                    <a:gd name="T36" fmla="*/ 2 w 46"/>
                    <a:gd name="T37" fmla="*/ 4 h 30"/>
                    <a:gd name="T38" fmla="*/ 1 w 46"/>
                    <a:gd name="T39" fmla="*/ 12 h 30"/>
                    <a:gd name="T40" fmla="*/ 1 w 46"/>
                    <a:gd name="T41" fmla="*/ 14 h 30"/>
                    <a:gd name="T42" fmla="*/ 6 w 46"/>
                    <a:gd name="T43" fmla="*/ 15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6" h="30">
                      <a:moveTo>
                        <a:pt x="6" y="15"/>
                      </a:moveTo>
                      <a:cubicBezTo>
                        <a:pt x="7" y="16"/>
                        <a:pt x="10" y="17"/>
                        <a:pt x="11" y="17"/>
                      </a:cubicBezTo>
                      <a:cubicBezTo>
                        <a:pt x="12" y="16"/>
                        <a:pt x="16" y="18"/>
                        <a:pt x="16" y="19"/>
                      </a:cubicBezTo>
                      <a:cubicBezTo>
                        <a:pt x="16" y="21"/>
                        <a:pt x="15" y="25"/>
                        <a:pt x="16" y="25"/>
                      </a:cubicBezTo>
                      <a:cubicBezTo>
                        <a:pt x="16" y="25"/>
                        <a:pt x="22" y="27"/>
                        <a:pt x="22" y="29"/>
                      </a:cubicBezTo>
                      <a:cubicBezTo>
                        <a:pt x="24" y="29"/>
                        <a:pt x="27" y="29"/>
                        <a:pt x="28" y="29"/>
                      </a:cubicBezTo>
                      <a:cubicBezTo>
                        <a:pt x="30" y="30"/>
                        <a:pt x="31" y="29"/>
                        <a:pt x="32" y="27"/>
                      </a:cubicBezTo>
                      <a:cubicBezTo>
                        <a:pt x="33" y="26"/>
                        <a:pt x="36" y="26"/>
                        <a:pt x="37" y="26"/>
                      </a:cubicBezTo>
                      <a:cubicBezTo>
                        <a:pt x="38" y="26"/>
                        <a:pt x="38" y="23"/>
                        <a:pt x="38" y="22"/>
                      </a:cubicBezTo>
                      <a:cubicBezTo>
                        <a:pt x="38" y="21"/>
                        <a:pt x="41" y="19"/>
                        <a:pt x="42" y="18"/>
                      </a:cubicBezTo>
                      <a:cubicBezTo>
                        <a:pt x="44" y="18"/>
                        <a:pt x="43" y="16"/>
                        <a:pt x="45" y="16"/>
                      </a:cubicBezTo>
                      <a:cubicBezTo>
                        <a:pt x="46" y="16"/>
                        <a:pt x="46" y="14"/>
                        <a:pt x="46" y="13"/>
                      </a:cubicBezTo>
                      <a:cubicBezTo>
                        <a:pt x="46" y="12"/>
                        <a:pt x="46" y="11"/>
                        <a:pt x="46" y="10"/>
                      </a:cubicBezTo>
                      <a:cubicBezTo>
                        <a:pt x="45" y="9"/>
                        <a:pt x="44" y="9"/>
                        <a:pt x="42" y="8"/>
                      </a:cubicBezTo>
                      <a:cubicBezTo>
                        <a:pt x="40" y="6"/>
                        <a:pt x="37" y="3"/>
                        <a:pt x="35" y="4"/>
                      </a:cubicBezTo>
                      <a:cubicBezTo>
                        <a:pt x="33" y="4"/>
                        <a:pt x="33" y="1"/>
                        <a:pt x="30" y="2"/>
                      </a:cubicBezTo>
                      <a:cubicBezTo>
                        <a:pt x="27" y="3"/>
                        <a:pt x="22" y="2"/>
                        <a:pt x="20" y="2"/>
                      </a:cubicBezTo>
                      <a:cubicBezTo>
                        <a:pt x="18" y="2"/>
                        <a:pt x="11" y="0"/>
                        <a:pt x="8" y="2"/>
                      </a:cubicBezTo>
                      <a:cubicBezTo>
                        <a:pt x="7" y="3"/>
                        <a:pt x="4" y="3"/>
                        <a:pt x="2" y="4"/>
                      </a:cubicBezTo>
                      <a:cubicBezTo>
                        <a:pt x="3" y="7"/>
                        <a:pt x="3" y="10"/>
                        <a:pt x="1" y="12"/>
                      </a:cubicBezTo>
                      <a:cubicBezTo>
                        <a:pt x="0" y="14"/>
                        <a:pt x="0" y="14"/>
                        <a:pt x="1" y="14"/>
                      </a:cubicBezTo>
                      <a:cubicBezTo>
                        <a:pt x="3" y="14"/>
                        <a:pt x="6" y="14"/>
                        <a:pt x="6" y="1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09" name="Freeform 92">
                  <a:extLst>
                    <a:ext uri="{FF2B5EF4-FFF2-40B4-BE49-F238E27FC236}">
                      <a16:creationId xmlns:a16="http://schemas.microsoft.com/office/drawing/2014/main" id="{2D5CA6CB-DF9A-422F-B435-52BD9C8B56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711373" y="-11081765"/>
                  <a:ext cx="220538" cy="123242"/>
                </a:xfrm>
                <a:custGeom>
                  <a:avLst/>
                  <a:gdLst>
                    <a:gd name="T0" fmla="*/ 32 w 36"/>
                    <a:gd name="T1" fmla="*/ 8 h 20"/>
                    <a:gd name="T2" fmla="*/ 28 w 36"/>
                    <a:gd name="T3" fmla="*/ 6 h 20"/>
                    <a:gd name="T4" fmla="*/ 28 w 36"/>
                    <a:gd name="T5" fmla="*/ 2 h 20"/>
                    <a:gd name="T6" fmla="*/ 23 w 36"/>
                    <a:gd name="T7" fmla="*/ 0 h 20"/>
                    <a:gd name="T8" fmla="*/ 18 w 36"/>
                    <a:gd name="T9" fmla="*/ 0 h 20"/>
                    <a:gd name="T10" fmla="*/ 11 w 36"/>
                    <a:gd name="T11" fmla="*/ 1 h 20"/>
                    <a:gd name="T12" fmla="*/ 10 w 36"/>
                    <a:gd name="T13" fmla="*/ 2 h 20"/>
                    <a:gd name="T14" fmla="*/ 6 w 36"/>
                    <a:gd name="T15" fmla="*/ 5 h 20"/>
                    <a:gd name="T16" fmla="*/ 1 w 36"/>
                    <a:gd name="T17" fmla="*/ 12 h 20"/>
                    <a:gd name="T18" fmla="*/ 2 w 36"/>
                    <a:gd name="T19" fmla="*/ 14 h 20"/>
                    <a:gd name="T20" fmla="*/ 5 w 36"/>
                    <a:gd name="T21" fmla="*/ 15 h 20"/>
                    <a:gd name="T22" fmla="*/ 7 w 36"/>
                    <a:gd name="T23" fmla="*/ 19 h 20"/>
                    <a:gd name="T24" fmla="*/ 7 w 36"/>
                    <a:gd name="T25" fmla="*/ 19 h 20"/>
                    <a:gd name="T26" fmla="*/ 14 w 36"/>
                    <a:gd name="T27" fmla="*/ 18 h 20"/>
                    <a:gd name="T28" fmla="*/ 18 w 36"/>
                    <a:gd name="T29" fmla="*/ 13 h 20"/>
                    <a:gd name="T30" fmla="*/ 22 w 36"/>
                    <a:gd name="T31" fmla="*/ 18 h 20"/>
                    <a:gd name="T32" fmla="*/ 24 w 36"/>
                    <a:gd name="T33" fmla="*/ 15 h 20"/>
                    <a:gd name="T34" fmla="*/ 27 w 36"/>
                    <a:gd name="T35" fmla="*/ 14 h 20"/>
                    <a:gd name="T36" fmla="*/ 31 w 36"/>
                    <a:gd name="T37" fmla="*/ 13 h 20"/>
                    <a:gd name="T38" fmla="*/ 33 w 36"/>
                    <a:gd name="T39" fmla="*/ 12 h 20"/>
                    <a:gd name="T40" fmla="*/ 35 w 36"/>
                    <a:gd name="T41" fmla="*/ 10 h 20"/>
                    <a:gd name="T42" fmla="*/ 36 w 36"/>
                    <a:gd name="T43" fmla="*/ 8 h 20"/>
                    <a:gd name="T44" fmla="*/ 32 w 36"/>
                    <a:gd name="T45" fmla="*/ 8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6" h="20">
                      <a:moveTo>
                        <a:pt x="32" y="8"/>
                      </a:moveTo>
                      <a:cubicBezTo>
                        <a:pt x="31" y="9"/>
                        <a:pt x="28" y="6"/>
                        <a:pt x="28" y="6"/>
                      </a:cubicBezTo>
                      <a:cubicBezTo>
                        <a:pt x="28" y="5"/>
                        <a:pt x="28" y="3"/>
                        <a:pt x="28" y="2"/>
                      </a:cubicBezTo>
                      <a:cubicBezTo>
                        <a:pt x="27" y="2"/>
                        <a:pt x="25" y="1"/>
                        <a:pt x="23" y="0"/>
                      </a:cubicBezTo>
                      <a:cubicBezTo>
                        <a:pt x="21" y="0"/>
                        <a:pt x="20" y="0"/>
                        <a:pt x="18" y="0"/>
                      </a:cubicBezTo>
                      <a:cubicBezTo>
                        <a:pt x="17" y="1"/>
                        <a:pt x="13" y="1"/>
                        <a:pt x="11" y="1"/>
                      </a:cubicBezTo>
                      <a:cubicBezTo>
                        <a:pt x="11" y="1"/>
                        <a:pt x="11" y="2"/>
                        <a:pt x="10" y="2"/>
                      </a:cubicBezTo>
                      <a:cubicBezTo>
                        <a:pt x="8" y="2"/>
                        <a:pt x="6" y="4"/>
                        <a:pt x="6" y="5"/>
                      </a:cubicBezTo>
                      <a:cubicBezTo>
                        <a:pt x="6" y="7"/>
                        <a:pt x="2" y="9"/>
                        <a:pt x="1" y="12"/>
                      </a:cubicBezTo>
                      <a:cubicBezTo>
                        <a:pt x="0" y="15"/>
                        <a:pt x="0" y="16"/>
                        <a:pt x="2" y="14"/>
                      </a:cubicBezTo>
                      <a:cubicBezTo>
                        <a:pt x="3" y="12"/>
                        <a:pt x="5" y="13"/>
                        <a:pt x="5" y="15"/>
                      </a:cubicBezTo>
                      <a:cubicBezTo>
                        <a:pt x="5" y="16"/>
                        <a:pt x="8" y="17"/>
                        <a:pt x="7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9" y="19"/>
                        <a:pt x="13" y="18"/>
                        <a:pt x="14" y="18"/>
                      </a:cubicBezTo>
                      <a:cubicBezTo>
                        <a:pt x="15" y="18"/>
                        <a:pt x="17" y="13"/>
                        <a:pt x="18" y="13"/>
                      </a:cubicBezTo>
                      <a:cubicBezTo>
                        <a:pt x="18" y="12"/>
                        <a:pt x="20" y="16"/>
                        <a:pt x="22" y="18"/>
                      </a:cubicBezTo>
                      <a:cubicBezTo>
                        <a:pt x="24" y="20"/>
                        <a:pt x="24" y="17"/>
                        <a:pt x="24" y="15"/>
                      </a:cubicBezTo>
                      <a:cubicBezTo>
                        <a:pt x="24" y="14"/>
                        <a:pt x="26" y="13"/>
                        <a:pt x="27" y="14"/>
                      </a:cubicBezTo>
                      <a:cubicBezTo>
                        <a:pt x="28" y="14"/>
                        <a:pt x="31" y="14"/>
                        <a:pt x="31" y="13"/>
                      </a:cubicBezTo>
                      <a:cubicBezTo>
                        <a:pt x="31" y="11"/>
                        <a:pt x="32" y="12"/>
                        <a:pt x="33" y="12"/>
                      </a:cubicBezTo>
                      <a:cubicBezTo>
                        <a:pt x="34" y="12"/>
                        <a:pt x="35" y="10"/>
                        <a:pt x="35" y="10"/>
                      </a:cubicBezTo>
                      <a:cubicBezTo>
                        <a:pt x="36" y="8"/>
                        <a:pt x="36" y="8"/>
                        <a:pt x="36" y="8"/>
                      </a:cubicBezTo>
                      <a:cubicBezTo>
                        <a:pt x="35" y="8"/>
                        <a:pt x="33" y="7"/>
                        <a:pt x="32" y="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0" name="Freeform 93">
                  <a:extLst>
                    <a:ext uri="{FF2B5EF4-FFF2-40B4-BE49-F238E27FC236}">
                      <a16:creationId xmlns:a16="http://schemas.microsoft.com/office/drawing/2014/main" id="{C865414E-C320-4579-B501-EB21521744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717859" y="-11558516"/>
                  <a:ext cx="444321" cy="499454"/>
                </a:xfrm>
                <a:custGeom>
                  <a:avLst/>
                  <a:gdLst>
                    <a:gd name="T0" fmla="*/ 9 w 72"/>
                    <a:gd name="T1" fmla="*/ 21 h 81"/>
                    <a:gd name="T2" fmla="*/ 5 w 72"/>
                    <a:gd name="T3" fmla="*/ 25 h 81"/>
                    <a:gd name="T4" fmla="*/ 8 w 72"/>
                    <a:gd name="T5" fmla="*/ 29 h 81"/>
                    <a:gd name="T6" fmla="*/ 6 w 72"/>
                    <a:gd name="T7" fmla="*/ 32 h 81"/>
                    <a:gd name="T8" fmla="*/ 2 w 72"/>
                    <a:gd name="T9" fmla="*/ 34 h 81"/>
                    <a:gd name="T10" fmla="*/ 1 w 72"/>
                    <a:gd name="T11" fmla="*/ 38 h 81"/>
                    <a:gd name="T12" fmla="*/ 0 w 72"/>
                    <a:gd name="T13" fmla="*/ 44 h 81"/>
                    <a:gd name="T14" fmla="*/ 2 w 72"/>
                    <a:gd name="T15" fmla="*/ 49 h 81"/>
                    <a:gd name="T16" fmla="*/ 1 w 72"/>
                    <a:gd name="T17" fmla="*/ 52 h 81"/>
                    <a:gd name="T18" fmla="*/ 3 w 72"/>
                    <a:gd name="T19" fmla="*/ 59 h 81"/>
                    <a:gd name="T20" fmla="*/ 5 w 72"/>
                    <a:gd name="T21" fmla="*/ 60 h 81"/>
                    <a:gd name="T22" fmla="*/ 10 w 72"/>
                    <a:gd name="T23" fmla="*/ 62 h 81"/>
                    <a:gd name="T24" fmla="*/ 14 w 72"/>
                    <a:gd name="T25" fmla="*/ 64 h 81"/>
                    <a:gd name="T26" fmla="*/ 16 w 72"/>
                    <a:gd name="T27" fmla="*/ 66 h 81"/>
                    <a:gd name="T28" fmla="*/ 13 w 72"/>
                    <a:gd name="T29" fmla="*/ 73 h 81"/>
                    <a:gd name="T30" fmla="*/ 12 w 72"/>
                    <a:gd name="T31" fmla="*/ 78 h 81"/>
                    <a:gd name="T32" fmla="*/ 19 w 72"/>
                    <a:gd name="T33" fmla="*/ 77 h 81"/>
                    <a:gd name="T34" fmla="*/ 24 w 72"/>
                    <a:gd name="T35" fmla="*/ 77 h 81"/>
                    <a:gd name="T36" fmla="*/ 29 w 72"/>
                    <a:gd name="T37" fmla="*/ 79 h 81"/>
                    <a:gd name="T38" fmla="*/ 30 w 72"/>
                    <a:gd name="T39" fmla="*/ 78 h 81"/>
                    <a:gd name="T40" fmla="*/ 35 w 72"/>
                    <a:gd name="T41" fmla="*/ 80 h 81"/>
                    <a:gd name="T42" fmla="*/ 39 w 72"/>
                    <a:gd name="T43" fmla="*/ 79 h 81"/>
                    <a:gd name="T44" fmla="*/ 44 w 72"/>
                    <a:gd name="T45" fmla="*/ 79 h 81"/>
                    <a:gd name="T46" fmla="*/ 52 w 72"/>
                    <a:gd name="T47" fmla="*/ 77 h 81"/>
                    <a:gd name="T48" fmla="*/ 55 w 72"/>
                    <a:gd name="T49" fmla="*/ 75 h 81"/>
                    <a:gd name="T50" fmla="*/ 59 w 72"/>
                    <a:gd name="T51" fmla="*/ 70 h 81"/>
                    <a:gd name="T52" fmla="*/ 63 w 72"/>
                    <a:gd name="T53" fmla="*/ 66 h 81"/>
                    <a:gd name="T54" fmla="*/ 55 w 72"/>
                    <a:gd name="T55" fmla="*/ 60 h 81"/>
                    <a:gd name="T56" fmla="*/ 52 w 72"/>
                    <a:gd name="T57" fmla="*/ 53 h 81"/>
                    <a:gd name="T58" fmla="*/ 51 w 72"/>
                    <a:gd name="T59" fmla="*/ 49 h 81"/>
                    <a:gd name="T60" fmla="*/ 60 w 72"/>
                    <a:gd name="T61" fmla="*/ 46 h 81"/>
                    <a:gd name="T62" fmla="*/ 66 w 72"/>
                    <a:gd name="T63" fmla="*/ 43 h 81"/>
                    <a:gd name="T64" fmla="*/ 71 w 72"/>
                    <a:gd name="T65" fmla="*/ 42 h 81"/>
                    <a:gd name="T66" fmla="*/ 71 w 72"/>
                    <a:gd name="T67" fmla="*/ 38 h 81"/>
                    <a:gd name="T68" fmla="*/ 69 w 72"/>
                    <a:gd name="T69" fmla="*/ 31 h 81"/>
                    <a:gd name="T70" fmla="*/ 68 w 72"/>
                    <a:gd name="T71" fmla="*/ 27 h 81"/>
                    <a:gd name="T72" fmla="*/ 66 w 72"/>
                    <a:gd name="T73" fmla="*/ 23 h 81"/>
                    <a:gd name="T74" fmla="*/ 66 w 72"/>
                    <a:gd name="T75" fmla="*/ 20 h 81"/>
                    <a:gd name="T76" fmla="*/ 66 w 72"/>
                    <a:gd name="T77" fmla="*/ 12 h 81"/>
                    <a:gd name="T78" fmla="*/ 66 w 72"/>
                    <a:gd name="T79" fmla="*/ 11 h 81"/>
                    <a:gd name="T80" fmla="*/ 65 w 72"/>
                    <a:gd name="T81" fmla="*/ 10 h 81"/>
                    <a:gd name="T82" fmla="*/ 60 w 72"/>
                    <a:gd name="T83" fmla="*/ 7 h 81"/>
                    <a:gd name="T84" fmla="*/ 61 w 72"/>
                    <a:gd name="T85" fmla="*/ 2 h 81"/>
                    <a:gd name="T86" fmla="*/ 54 w 72"/>
                    <a:gd name="T87" fmla="*/ 4 h 81"/>
                    <a:gd name="T88" fmla="*/ 45 w 72"/>
                    <a:gd name="T89" fmla="*/ 10 h 81"/>
                    <a:gd name="T90" fmla="*/ 41 w 72"/>
                    <a:gd name="T91" fmla="*/ 7 h 81"/>
                    <a:gd name="T92" fmla="*/ 38 w 72"/>
                    <a:gd name="T93" fmla="*/ 5 h 81"/>
                    <a:gd name="T94" fmla="*/ 32 w 72"/>
                    <a:gd name="T95" fmla="*/ 2 h 81"/>
                    <a:gd name="T96" fmla="*/ 31 w 72"/>
                    <a:gd name="T97" fmla="*/ 0 h 81"/>
                    <a:gd name="T98" fmla="*/ 28 w 72"/>
                    <a:gd name="T99" fmla="*/ 0 h 81"/>
                    <a:gd name="T100" fmla="*/ 21 w 72"/>
                    <a:gd name="T101" fmla="*/ 0 h 81"/>
                    <a:gd name="T102" fmla="*/ 22 w 72"/>
                    <a:gd name="T103" fmla="*/ 4 h 81"/>
                    <a:gd name="T104" fmla="*/ 25 w 72"/>
                    <a:gd name="T105" fmla="*/ 10 h 81"/>
                    <a:gd name="T106" fmla="*/ 21 w 72"/>
                    <a:gd name="T107" fmla="*/ 14 h 81"/>
                    <a:gd name="T108" fmla="*/ 15 w 72"/>
                    <a:gd name="T109" fmla="*/ 13 h 81"/>
                    <a:gd name="T110" fmla="*/ 9 w 72"/>
                    <a:gd name="T111" fmla="*/ 14 h 81"/>
                    <a:gd name="T112" fmla="*/ 9 w 72"/>
                    <a:gd name="T113" fmla="*/ 15 h 81"/>
                    <a:gd name="T114" fmla="*/ 9 w 72"/>
                    <a:gd name="T115" fmla="*/ 21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72" h="81">
                      <a:moveTo>
                        <a:pt x="9" y="21"/>
                      </a:moveTo>
                      <a:cubicBezTo>
                        <a:pt x="7" y="24"/>
                        <a:pt x="5" y="24"/>
                        <a:pt x="5" y="25"/>
                      </a:cubicBezTo>
                      <a:cubicBezTo>
                        <a:pt x="6" y="25"/>
                        <a:pt x="8" y="28"/>
                        <a:pt x="8" y="29"/>
                      </a:cubicBezTo>
                      <a:cubicBezTo>
                        <a:pt x="7" y="30"/>
                        <a:pt x="6" y="29"/>
                        <a:pt x="6" y="32"/>
                      </a:cubicBezTo>
                      <a:cubicBezTo>
                        <a:pt x="6" y="34"/>
                        <a:pt x="3" y="34"/>
                        <a:pt x="2" y="34"/>
                      </a:cubicBezTo>
                      <a:cubicBezTo>
                        <a:pt x="0" y="34"/>
                        <a:pt x="2" y="36"/>
                        <a:pt x="1" y="38"/>
                      </a:cubicBezTo>
                      <a:cubicBezTo>
                        <a:pt x="0" y="39"/>
                        <a:pt x="0" y="43"/>
                        <a:pt x="0" y="44"/>
                      </a:cubicBezTo>
                      <a:cubicBezTo>
                        <a:pt x="0" y="45"/>
                        <a:pt x="3" y="48"/>
                        <a:pt x="2" y="49"/>
                      </a:cubicBezTo>
                      <a:cubicBezTo>
                        <a:pt x="2" y="50"/>
                        <a:pt x="0" y="51"/>
                        <a:pt x="1" y="52"/>
                      </a:cubicBezTo>
                      <a:cubicBezTo>
                        <a:pt x="1" y="53"/>
                        <a:pt x="3" y="54"/>
                        <a:pt x="3" y="59"/>
                      </a:cubicBezTo>
                      <a:cubicBezTo>
                        <a:pt x="4" y="59"/>
                        <a:pt x="5" y="59"/>
                        <a:pt x="5" y="60"/>
                      </a:cubicBezTo>
                      <a:cubicBezTo>
                        <a:pt x="6" y="61"/>
                        <a:pt x="8" y="62"/>
                        <a:pt x="10" y="62"/>
                      </a:cubicBezTo>
                      <a:cubicBezTo>
                        <a:pt x="12" y="62"/>
                        <a:pt x="13" y="64"/>
                        <a:pt x="14" y="64"/>
                      </a:cubicBezTo>
                      <a:cubicBezTo>
                        <a:pt x="15" y="63"/>
                        <a:pt x="18" y="64"/>
                        <a:pt x="16" y="66"/>
                      </a:cubicBezTo>
                      <a:cubicBezTo>
                        <a:pt x="14" y="68"/>
                        <a:pt x="13" y="71"/>
                        <a:pt x="13" y="73"/>
                      </a:cubicBezTo>
                      <a:cubicBezTo>
                        <a:pt x="12" y="74"/>
                        <a:pt x="12" y="76"/>
                        <a:pt x="12" y="78"/>
                      </a:cubicBezTo>
                      <a:cubicBezTo>
                        <a:pt x="14" y="78"/>
                        <a:pt x="18" y="78"/>
                        <a:pt x="19" y="77"/>
                      </a:cubicBezTo>
                      <a:cubicBezTo>
                        <a:pt x="21" y="77"/>
                        <a:pt x="22" y="77"/>
                        <a:pt x="24" y="77"/>
                      </a:cubicBezTo>
                      <a:cubicBezTo>
                        <a:pt x="26" y="78"/>
                        <a:pt x="28" y="79"/>
                        <a:pt x="29" y="79"/>
                      </a:cubicBezTo>
                      <a:cubicBezTo>
                        <a:pt x="29" y="79"/>
                        <a:pt x="29" y="78"/>
                        <a:pt x="30" y="78"/>
                      </a:cubicBezTo>
                      <a:cubicBezTo>
                        <a:pt x="32" y="78"/>
                        <a:pt x="33" y="81"/>
                        <a:pt x="35" y="80"/>
                      </a:cubicBezTo>
                      <a:cubicBezTo>
                        <a:pt x="36" y="78"/>
                        <a:pt x="38" y="78"/>
                        <a:pt x="39" y="79"/>
                      </a:cubicBezTo>
                      <a:cubicBezTo>
                        <a:pt x="41" y="80"/>
                        <a:pt x="43" y="80"/>
                        <a:pt x="44" y="79"/>
                      </a:cubicBezTo>
                      <a:cubicBezTo>
                        <a:pt x="45" y="77"/>
                        <a:pt x="51" y="76"/>
                        <a:pt x="52" y="77"/>
                      </a:cubicBezTo>
                      <a:cubicBezTo>
                        <a:pt x="53" y="77"/>
                        <a:pt x="57" y="79"/>
                        <a:pt x="55" y="75"/>
                      </a:cubicBezTo>
                      <a:cubicBezTo>
                        <a:pt x="54" y="70"/>
                        <a:pt x="58" y="71"/>
                        <a:pt x="59" y="70"/>
                      </a:cubicBezTo>
                      <a:cubicBezTo>
                        <a:pt x="59" y="68"/>
                        <a:pt x="64" y="67"/>
                        <a:pt x="63" y="66"/>
                      </a:cubicBezTo>
                      <a:cubicBezTo>
                        <a:pt x="62" y="65"/>
                        <a:pt x="56" y="61"/>
                        <a:pt x="55" y="60"/>
                      </a:cubicBezTo>
                      <a:cubicBezTo>
                        <a:pt x="53" y="59"/>
                        <a:pt x="53" y="55"/>
                        <a:pt x="52" y="53"/>
                      </a:cubicBezTo>
                      <a:cubicBezTo>
                        <a:pt x="51" y="51"/>
                        <a:pt x="49" y="49"/>
                        <a:pt x="51" y="49"/>
                      </a:cubicBezTo>
                      <a:cubicBezTo>
                        <a:pt x="54" y="48"/>
                        <a:pt x="58" y="47"/>
                        <a:pt x="60" y="46"/>
                      </a:cubicBezTo>
                      <a:cubicBezTo>
                        <a:pt x="62" y="44"/>
                        <a:pt x="65" y="44"/>
                        <a:pt x="66" y="43"/>
                      </a:cubicBezTo>
                      <a:cubicBezTo>
                        <a:pt x="68" y="41"/>
                        <a:pt x="70" y="43"/>
                        <a:pt x="71" y="42"/>
                      </a:cubicBezTo>
                      <a:cubicBezTo>
                        <a:pt x="71" y="41"/>
                        <a:pt x="72" y="39"/>
                        <a:pt x="71" y="38"/>
                      </a:cubicBezTo>
                      <a:cubicBezTo>
                        <a:pt x="70" y="37"/>
                        <a:pt x="69" y="35"/>
                        <a:pt x="69" y="31"/>
                      </a:cubicBezTo>
                      <a:cubicBezTo>
                        <a:pt x="69" y="28"/>
                        <a:pt x="68" y="29"/>
                        <a:pt x="68" y="27"/>
                      </a:cubicBezTo>
                      <a:cubicBezTo>
                        <a:pt x="68" y="26"/>
                        <a:pt x="67" y="24"/>
                        <a:pt x="66" y="23"/>
                      </a:cubicBezTo>
                      <a:cubicBezTo>
                        <a:pt x="65" y="23"/>
                        <a:pt x="64" y="22"/>
                        <a:pt x="66" y="20"/>
                      </a:cubicBezTo>
                      <a:cubicBezTo>
                        <a:pt x="67" y="18"/>
                        <a:pt x="66" y="13"/>
                        <a:pt x="66" y="12"/>
                      </a:cubicBezTo>
                      <a:cubicBezTo>
                        <a:pt x="66" y="11"/>
                        <a:pt x="66" y="11"/>
                        <a:pt x="66" y="11"/>
                      </a:cubicBezTo>
                      <a:cubicBezTo>
                        <a:pt x="65" y="11"/>
                        <a:pt x="65" y="10"/>
                        <a:pt x="65" y="10"/>
                      </a:cubicBezTo>
                      <a:cubicBezTo>
                        <a:pt x="65" y="8"/>
                        <a:pt x="63" y="7"/>
                        <a:pt x="60" y="7"/>
                      </a:cubicBezTo>
                      <a:cubicBezTo>
                        <a:pt x="57" y="7"/>
                        <a:pt x="62" y="4"/>
                        <a:pt x="61" y="2"/>
                      </a:cubicBezTo>
                      <a:cubicBezTo>
                        <a:pt x="60" y="1"/>
                        <a:pt x="57" y="5"/>
                        <a:pt x="54" y="4"/>
                      </a:cubicBezTo>
                      <a:cubicBezTo>
                        <a:pt x="51" y="3"/>
                        <a:pt x="47" y="8"/>
                        <a:pt x="45" y="10"/>
                      </a:cubicBezTo>
                      <a:cubicBezTo>
                        <a:pt x="42" y="12"/>
                        <a:pt x="39" y="9"/>
                        <a:pt x="41" y="7"/>
                      </a:cubicBezTo>
                      <a:cubicBezTo>
                        <a:pt x="43" y="4"/>
                        <a:pt x="41" y="4"/>
                        <a:pt x="38" y="5"/>
                      </a:cubicBezTo>
                      <a:cubicBezTo>
                        <a:pt x="35" y="6"/>
                        <a:pt x="32" y="5"/>
                        <a:pt x="32" y="2"/>
                      </a:cubicBezTo>
                      <a:cubicBezTo>
                        <a:pt x="32" y="2"/>
                        <a:pt x="32" y="1"/>
                        <a:pt x="31" y="0"/>
                      </a:cubicBezTo>
                      <a:cubicBezTo>
                        <a:pt x="30" y="1"/>
                        <a:pt x="29" y="1"/>
                        <a:pt x="28" y="0"/>
                      </a:cubicBezTo>
                      <a:cubicBezTo>
                        <a:pt x="27" y="0"/>
                        <a:pt x="24" y="0"/>
                        <a:pt x="21" y="0"/>
                      </a:cubicBezTo>
                      <a:cubicBezTo>
                        <a:pt x="22" y="1"/>
                        <a:pt x="23" y="2"/>
                        <a:pt x="22" y="4"/>
                      </a:cubicBezTo>
                      <a:cubicBezTo>
                        <a:pt x="21" y="6"/>
                        <a:pt x="23" y="7"/>
                        <a:pt x="25" y="10"/>
                      </a:cubicBezTo>
                      <a:cubicBezTo>
                        <a:pt x="26" y="13"/>
                        <a:pt x="21" y="12"/>
                        <a:pt x="21" y="14"/>
                      </a:cubicBezTo>
                      <a:cubicBezTo>
                        <a:pt x="21" y="16"/>
                        <a:pt x="17" y="14"/>
                        <a:pt x="15" y="13"/>
                      </a:cubicBezTo>
                      <a:cubicBezTo>
                        <a:pt x="14" y="12"/>
                        <a:pt x="9" y="13"/>
                        <a:pt x="9" y="14"/>
                      </a:cubicBezTo>
                      <a:cubicBezTo>
                        <a:pt x="9" y="14"/>
                        <a:pt x="9" y="15"/>
                        <a:pt x="9" y="15"/>
                      </a:cubicBezTo>
                      <a:cubicBezTo>
                        <a:pt x="10" y="18"/>
                        <a:pt x="10" y="20"/>
                        <a:pt x="9" y="2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1" name="Freeform 94">
                  <a:extLst>
                    <a:ext uri="{FF2B5EF4-FFF2-40B4-BE49-F238E27FC236}">
                      <a16:creationId xmlns:a16="http://schemas.microsoft.com/office/drawing/2014/main" id="{062FF4B8-5EB5-4920-88AA-74CE070E43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994624" y="-12768234"/>
                  <a:ext cx="525400" cy="833506"/>
                </a:xfrm>
                <a:custGeom>
                  <a:avLst/>
                  <a:gdLst>
                    <a:gd name="T0" fmla="*/ 72 w 85"/>
                    <a:gd name="T1" fmla="*/ 113 h 135"/>
                    <a:gd name="T2" fmla="*/ 84 w 85"/>
                    <a:gd name="T3" fmla="*/ 102 h 135"/>
                    <a:gd name="T4" fmla="*/ 82 w 85"/>
                    <a:gd name="T5" fmla="*/ 96 h 135"/>
                    <a:gd name="T6" fmla="*/ 72 w 85"/>
                    <a:gd name="T7" fmla="*/ 88 h 135"/>
                    <a:gd name="T8" fmla="*/ 77 w 85"/>
                    <a:gd name="T9" fmla="*/ 83 h 135"/>
                    <a:gd name="T10" fmla="*/ 72 w 85"/>
                    <a:gd name="T11" fmla="*/ 79 h 135"/>
                    <a:gd name="T12" fmla="*/ 74 w 85"/>
                    <a:gd name="T13" fmla="*/ 75 h 135"/>
                    <a:gd name="T14" fmla="*/ 70 w 85"/>
                    <a:gd name="T15" fmla="*/ 72 h 135"/>
                    <a:gd name="T16" fmla="*/ 71 w 85"/>
                    <a:gd name="T17" fmla="*/ 70 h 135"/>
                    <a:gd name="T18" fmla="*/ 70 w 85"/>
                    <a:gd name="T19" fmla="*/ 64 h 135"/>
                    <a:gd name="T20" fmla="*/ 73 w 85"/>
                    <a:gd name="T21" fmla="*/ 59 h 135"/>
                    <a:gd name="T22" fmla="*/ 65 w 85"/>
                    <a:gd name="T23" fmla="*/ 47 h 135"/>
                    <a:gd name="T24" fmla="*/ 68 w 85"/>
                    <a:gd name="T25" fmla="*/ 42 h 135"/>
                    <a:gd name="T26" fmla="*/ 73 w 85"/>
                    <a:gd name="T27" fmla="*/ 36 h 135"/>
                    <a:gd name="T28" fmla="*/ 67 w 85"/>
                    <a:gd name="T29" fmla="*/ 30 h 135"/>
                    <a:gd name="T30" fmla="*/ 62 w 85"/>
                    <a:gd name="T31" fmla="*/ 27 h 135"/>
                    <a:gd name="T32" fmla="*/ 61 w 85"/>
                    <a:gd name="T33" fmla="*/ 23 h 135"/>
                    <a:gd name="T34" fmla="*/ 62 w 85"/>
                    <a:gd name="T35" fmla="*/ 19 h 135"/>
                    <a:gd name="T36" fmla="*/ 65 w 85"/>
                    <a:gd name="T37" fmla="*/ 16 h 135"/>
                    <a:gd name="T38" fmla="*/ 67 w 85"/>
                    <a:gd name="T39" fmla="*/ 13 h 135"/>
                    <a:gd name="T40" fmla="*/ 67 w 85"/>
                    <a:gd name="T41" fmla="*/ 9 h 135"/>
                    <a:gd name="T42" fmla="*/ 58 w 85"/>
                    <a:gd name="T43" fmla="*/ 3 h 135"/>
                    <a:gd name="T44" fmla="*/ 52 w 85"/>
                    <a:gd name="T45" fmla="*/ 3 h 135"/>
                    <a:gd name="T46" fmla="*/ 44 w 85"/>
                    <a:gd name="T47" fmla="*/ 5 h 135"/>
                    <a:gd name="T48" fmla="*/ 39 w 85"/>
                    <a:gd name="T49" fmla="*/ 10 h 135"/>
                    <a:gd name="T50" fmla="*/ 37 w 85"/>
                    <a:gd name="T51" fmla="*/ 17 h 135"/>
                    <a:gd name="T52" fmla="*/ 34 w 85"/>
                    <a:gd name="T53" fmla="*/ 22 h 135"/>
                    <a:gd name="T54" fmla="*/ 29 w 85"/>
                    <a:gd name="T55" fmla="*/ 21 h 135"/>
                    <a:gd name="T56" fmla="*/ 23 w 85"/>
                    <a:gd name="T57" fmla="*/ 20 h 135"/>
                    <a:gd name="T58" fmla="*/ 14 w 85"/>
                    <a:gd name="T59" fmla="*/ 20 h 135"/>
                    <a:gd name="T60" fmla="*/ 6 w 85"/>
                    <a:gd name="T61" fmla="*/ 13 h 135"/>
                    <a:gd name="T62" fmla="*/ 0 w 85"/>
                    <a:gd name="T63" fmla="*/ 17 h 135"/>
                    <a:gd name="T64" fmla="*/ 9 w 85"/>
                    <a:gd name="T65" fmla="*/ 24 h 135"/>
                    <a:gd name="T66" fmla="*/ 21 w 85"/>
                    <a:gd name="T67" fmla="*/ 31 h 135"/>
                    <a:gd name="T68" fmla="*/ 21 w 85"/>
                    <a:gd name="T69" fmla="*/ 38 h 135"/>
                    <a:gd name="T70" fmla="*/ 23 w 85"/>
                    <a:gd name="T71" fmla="*/ 45 h 135"/>
                    <a:gd name="T72" fmla="*/ 23 w 85"/>
                    <a:gd name="T73" fmla="*/ 52 h 135"/>
                    <a:gd name="T74" fmla="*/ 24 w 85"/>
                    <a:gd name="T75" fmla="*/ 57 h 135"/>
                    <a:gd name="T76" fmla="*/ 25 w 85"/>
                    <a:gd name="T77" fmla="*/ 61 h 135"/>
                    <a:gd name="T78" fmla="*/ 32 w 85"/>
                    <a:gd name="T79" fmla="*/ 63 h 135"/>
                    <a:gd name="T80" fmla="*/ 34 w 85"/>
                    <a:gd name="T81" fmla="*/ 69 h 135"/>
                    <a:gd name="T82" fmla="*/ 33 w 85"/>
                    <a:gd name="T83" fmla="*/ 72 h 135"/>
                    <a:gd name="T84" fmla="*/ 29 w 85"/>
                    <a:gd name="T85" fmla="*/ 76 h 135"/>
                    <a:gd name="T86" fmla="*/ 20 w 85"/>
                    <a:gd name="T87" fmla="*/ 84 h 135"/>
                    <a:gd name="T88" fmla="*/ 16 w 85"/>
                    <a:gd name="T89" fmla="*/ 88 h 135"/>
                    <a:gd name="T90" fmla="*/ 11 w 85"/>
                    <a:gd name="T91" fmla="*/ 92 h 135"/>
                    <a:gd name="T92" fmla="*/ 6 w 85"/>
                    <a:gd name="T93" fmla="*/ 95 h 135"/>
                    <a:gd name="T94" fmla="*/ 2 w 85"/>
                    <a:gd name="T95" fmla="*/ 100 h 135"/>
                    <a:gd name="T96" fmla="*/ 3 w 85"/>
                    <a:gd name="T97" fmla="*/ 104 h 135"/>
                    <a:gd name="T98" fmla="*/ 3 w 85"/>
                    <a:gd name="T99" fmla="*/ 110 h 135"/>
                    <a:gd name="T100" fmla="*/ 5 w 85"/>
                    <a:gd name="T101" fmla="*/ 119 h 135"/>
                    <a:gd name="T102" fmla="*/ 3 w 85"/>
                    <a:gd name="T103" fmla="*/ 127 h 135"/>
                    <a:gd name="T104" fmla="*/ 10 w 85"/>
                    <a:gd name="T105" fmla="*/ 130 h 135"/>
                    <a:gd name="T106" fmla="*/ 15 w 85"/>
                    <a:gd name="T107" fmla="*/ 133 h 135"/>
                    <a:gd name="T108" fmla="*/ 24 w 85"/>
                    <a:gd name="T109" fmla="*/ 135 h 135"/>
                    <a:gd name="T110" fmla="*/ 49 w 85"/>
                    <a:gd name="T111" fmla="*/ 129 h 135"/>
                    <a:gd name="T112" fmla="*/ 56 w 85"/>
                    <a:gd name="T113" fmla="*/ 128 h 135"/>
                    <a:gd name="T114" fmla="*/ 60 w 85"/>
                    <a:gd name="T115" fmla="*/ 123 h 135"/>
                    <a:gd name="T116" fmla="*/ 72 w 85"/>
                    <a:gd name="T117" fmla="*/ 113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5" h="135">
                      <a:moveTo>
                        <a:pt x="72" y="113"/>
                      </a:moveTo>
                      <a:cubicBezTo>
                        <a:pt x="74" y="109"/>
                        <a:pt x="83" y="106"/>
                        <a:pt x="84" y="102"/>
                      </a:cubicBezTo>
                      <a:cubicBezTo>
                        <a:pt x="85" y="100"/>
                        <a:pt x="85" y="99"/>
                        <a:pt x="82" y="96"/>
                      </a:cubicBezTo>
                      <a:cubicBezTo>
                        <a:pt x="79" y="92"/>
                        <a:pt x="72" y="90"/>
                        <a:pt x="72" y="88"/>
                      </a:cubicBezTo>
                      <a:cubicBezTo>
                        <a:pt x="71" y="86"/>
                        <a:pt x="77" y="86"/>
                        <a:pt x="77" y="83"/>
                      </a:cubicBezTo>
                      <a:cubicBezTo>
                        <a:pt x="76" y="81"/>
                        <a:pt x="74" y="81"/>
                        <a:pt x="72" y="79"/>
                      </a:cubicBezTo>
                      <a:cubicBezTo>
                        <a:pt x="71" y="77"/>
                        <a:pt x="74" y="76"/>
                        <a:pt x="74" y="75"/>
                      </a:cubicBezTo>
                      <a:cubicBezTo>
                        <a:pt x="73" y="74"/>
                        <a:pt x="70" y="74"/>
                        <a:pt x="70" y="72"/>
                      </a:cubicBezTo>
                      <a:cubicBezTo>
                        <a:pt x="69" y="71"/>
                        <a:pt x="72" y="71"/>
                        <a:pt x="71" y="70"/>
                      </a:cubicBezTo>
                      <a:cubicBezTo>
                        <a:pt x="71" y="69"/>
                        <a:pt x="69" y="66"/>
                        <a:pt x="70" y="64"/>
                      </a:cubicBezTo>
                      <a:cubicBezTo>
                        <a:pt x="72" y="62"/>
                        <a:pt x="76" y="64"/>
                        <a:pt x="73" y="59"/>
                      </a:cubicBezTo>
                      <a:cubicBezTo>
                        <a:pt x="70" y="54"/>
                        <a:pt x="66" y="48"/>
                        <a:pt x="65" y="47"/>
                      </a:cubicBezTo>
                      <a:cubicBezTo>
                        <a:pt x="64" y="45"/>
                        <a:pt x="66" y="43"/>
                        <a:pt x="68" y="42"/>
                      </a:cubicBezTo>
                      <a:cubicBezTo>
                        <a:pt x="69" y="41"/>
                        <a:pt x="73" y="38"/>
                        <a:pt x="73" y="36"/>
                      </a:cubicBezTo>
                      <a:cubicBezTo>
                        <a:pt x="73" y="35"/>
                        <a:pt x="68" y="31"/>
                        <a:pt x="67" y="30"/>
                      </a:cubicBezTo>
                      <a:cubicBezTo>
                        <a:pt x="66" y="30"/>
                        <a:pt x="63" y="30"/>
                        <a:pt x="62" y="27"/>
                      </a:cubicBezTo>
                      <a:cubicBezTo>
                        <a:pt x="61" y="25"/>
                        <a:pt x="60" y="24"/>
                        <a:pt x="61" y="23"/>
                      </a:cubicBezTo>
                      <a:cubicBezTo>
                        <a:pt x="62" y="21"/>
                        <a:pt x="62" y="20"/>
                        <a:pt x="62" y="19"/>
                      </a:cubicBezTo>
                      <a:cubicBezTo>
                        <a:pt x="62" y="17"/>
                        <a:pt x="65" y="18"/>
                        <a:pt x="65" y="16"/>
                      </a:cubicBezTo>
                      <a:cubicBezTo>
                        <a:pt x="65" y="15"/>
                        <a:pt x="66" y="14"/>
                        <a:pt x="67" y="13"/>
                      </a:cubicBezTo>
                      <a:cubicBezTo>
                        <a:pt x="67" y="12"/>
                        <a:pt x="67" y="10"/>
                        <a:pt x="67" y="9"/>
                      </a:cubicBezTo>
                      <a:cubicBezTo>
                        <a:pt x="66" y="7"/>
                        <a:pt x="60" y="6"/>
                        <a:pt x="58" y="3"/>
                      </a:cubicBezTo>
                      <a:cubicBezTo>
                        <a:pt x="57" y="0"/>
                        <a:pt x="53" y="2"/>
                        <a:pt x="52" y="3"/>
                      </a:cubicBezTo>
                      <a:cubicBezTo>
                        <a:pt x="51" y="5"/>
                        <a:pt x="44" y="3"/>
                        <a:pt x="44" y="5"/>
                      </a:cubicBezTo>
                      <a:cubicBezTo>
                        <a:pt x="44" y="7"/>
                        <a:pt x="39" y="8"/>
                        <a:pt x="39" y="10"/>
                      </a:cubicBezTo>
                      <a:cubicBezTo>
                        <a:pt x="39" y="13"/>
                        <a:pt x="41" y="18"/>
                        <a:pt x="37" y="17"/>
                      </a:cubicBezTo>
                      <a:cubicBezTo>
                        <a:pt x="34" y="17"/>
                        <a:pt x="36" y="19"/>
                        <a:pt x="34" y="22"/>
                      </a:cubicBezTo>
                      <a:cubicBezTo>
                        <a:pt x="32" y="25"/>
                        <a:pt x="32" y="20"/>
                        <a:pt x="29" y="21"/>
                      </a:cubicBezTo>
                      <a:cubicBezTo>
                        <a:pt x="27" y="21"/>
                        <a:pt x="24" y="18"/>
                        <a:pt x="23" y="20"/>
                      </a:cubicBezTo>
                      <a:cubicBezTo>
                        <a:pt x="22" y="22"/>
                        <a:pt x="18" y="21"/>
                        <a:pt x="14" y="20"/>
                      </a:cubicBezTo>
                      <a:cubicBezTo>
                        <a:pt x="11" y="19"/>
                        <a:pt x="9" y="14"/>
                        <a:pt x="6" y="13"/>
                      </a:cubicBezTo>
                      <a:cubicBezTo>
                        <a:pt x="4" y="13"/>
                        <a:pt x="1" y="15"/>
                        <a:pt x="0" y="17"/>
                      </a:cubicBezTo>
                      <a:cubicBezTo>
                        <a:pt x="3" y="19"/>
                        <a:pt x="5" y="22"/>
                        <a:pt x="9" y="24"/>
                      </a:cubicBezTo>
                      <a:cubicBezTo>
                        <a:pt x="13" y="26"/>
                        <a:pt x="21" y="28"/>
                        <a:pt x="21" y="31"/>
                      </a:cubicBezTo>
                      <a:cubicBezTo>
                        <a:pt x="20" y="33"/>
                        <a:pt x="19" y="37"/>
                        <a:pt x="21" y="38"/>
                      </a:cubicBezTo>
                      <a:cubicBezTo>
                        <a:pt x="23" y="39"/>
                        <a:pt x="21" y="44"/>
                        <a:pt x="23" y="45"/>
                      </a:cubicBezTo>
                      <a:cubicBezTo>
                        <a:pt x="25" y="47"/>
                        <a:pt x="24" y="52"/>
                        <a:pt x="23" y="52"/>
                      </a:cubicBezTo>
                      <a:cubicBezTo>
                        <a:pt x="21" y="52"/>
                        <a:pt x="23" y="55"/>
                        <a:pt x="24" y="57"/>
                      </a:cubicBezTo>
                      <a:cubicBezTo>
                        <a:pt x="25" y="57"/>
                        <a:pt x="25" y="59"/>
                        <a:pt x="25" y="61"/>
                      </a:cubicBezTo>
                      <a:cubicBezTo>
                        <a:pt x="28" y="61"/>
                        <a:pt x="30" y="62"/>
                        <a:pt x="32" y="63"/>
                      </a:cubicBezTo>
                      <a:cubicBezTo>
                        <a:pt x="35" y="65"/>
                        <a:pt x="34" y="67"/>
                        <a:pt x="34" y="69"/>
                      </a:cubicBezTo>
                      <a:cubicBezTo>
                        <a:pt x="35" y="72"/>
                        <a:pt x="35" y="73"/>
                        <a:pt x="33" y="72"/>
                      </a:cubicBezTo>
                      <a:cubicBezTo>
                        <a:pt x="31" y="71"/>
                        <a:pt x="30" y="72"/>
                        <a:pt x="29" y="76"/>
                      </a:cubicBezTo>
                      <a:cubicBezTo>
                        <a:pt x="28" y="79"/>
                        <a:pt x="23" y="84"/>
                        <a:pt x="20" y="84"/>
                      </a:cubicBezTo>
                      <a:cubicBezTo>
                        <a:pt x="18" y="84"/>
                        <a:pt x="18" y="87"/>
                        <a:pt x="16" y="88"/>
                      </a:cubicBezTo>
                      <a:cubicBezTo>
                        <a:pt x="13" y="88"/>
                        <a:pt x="11" y="89"/>
                        <a:pt x="11" y="92"/>
                      </a:cubicBezTo>
                      <a:cubicBezTo>
                        <a:pt x="12" y="94"/>
                        <a:pt x="8" y="95"/>
                        <a:pt x="6" y="95"/>
                      </a:cubicBezTo>
                      <a:cubicBezTo>
                        <a:pt x="4" y="95"/>
                        <a:pt x="4" y="99"/>
                        <a:pt x="2" y="100"/>
                      </a:cubicBezTo>
                      <a:cubicBezTo>
                        <a:pt x="0" y="101"/>
                        <a:pt x="1" y="102"/>
                        <a:pt x="3" y="104"/>
                      </a:cubicBezTo>
                      <a:cubicBezTo>
                        <a:pt x="4" y="107"/>
                        <a:pt x="3" y="108"/>
                        <a:pt x="3" y="110"/>
                      </a:cubicBezTo>
                      <a:cubicBezTo>
                        <a:pt x="4" y="112"/>
                        <a:pt x="7" y="115"/>
                        <a:pt x="5" y="119"/>
                      </a:cubicBezTo>
                      <a:cubicBezTo>
                        <a:pt x="3" y="123"/>
                        <a:pt x="1" y="128"/>
                        <a:pt x="3" y="127"/>
                      </a:cubicBezTo>
                      <a:cubicBezTo>
                        <a:pt x="4" y="127"/>
                        <a:pt x="8" y="131"/>
                        <a:pt x="10" y="130"/>
                      </a:cubicBezTo>
                      <a:cubicBezTo>
                        <a:pt x="12" y="130"/>
                        <a:pt x="13" y="134"/>
                        <a:pt x="15" y="133"/>
                      </a:cubicBezTo>
                      <a:cubicBezTo>
                        <a:pt x="17" y="132"/>
                        <a:pt x="17" y="135"/>
                        <a:pt x="24" y="135"/>
                      </a:cubicBezTo>
                      <a:cubicBezTo>
                        <a:pt x="30" y="135"/>
                        <a:pt x="44" y="129"/>
                        <a:pt x="49" y="129"/>
                      </a:cubicBezTo>
                      <a:cubicBezTo>
                        <a:pt x="52" y="129"/>
                        <a:pt x="54" y="129"/>
                        <a:pt x="56" y="128"/>
                      </a:cubicBezTo>
                      <a:cubicBezTo>
                        <a:pt x="57" y="127"/>
                        <a:pt x="58" y="125"/>
                        <a:pt x="60" y="123"/>
                      </a:cubicBezTo>
                      <a:cubicBezTo>
                        <a:pt x="63" y="120"/>
                        <a:pt x="70" y="118"/>
                        <a:pt x="72" y="1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2" name="Freeform 95">
                  <a:extLst>
                    <a:ext uri="{FF2B5EF4-FFF2-40B4-BE49-F238E27FC236}">
                      <a16:creationId xmlns:a16="http://schemas.microsoft.com/office/drawing/2014/main" id="{998234DD-DF8B-440B-A4B6-C557792190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329765" y="-10163935"/>
                  <a:ext cx="1050800" cy="839993"/>
                </a:xfrm>
                <a:custGeom>
                  <a:avLst/>
                  <a:gdLst>
                    <a:gd name="T0" fmla="*/ 102 w 170"/>
                    <a:gd name="T1" fmla="*/ 29 h 136"/>
                    <a:gd name="T2" fmla="*/ 87 w 170"/>
                    <a:gd name="T3" fmla="*/ 27 h 136"/>
                    <a:gd name="T4" fmla="*/ 78 w 170"/>
                    <a:gd name="T5" fmla="*/ 24 h 136"/>
                    <a:gd name="T6" fmla="*/ 59 w 170"/>
                    <a:gd name="T7" fmla="*/ 10 h 136"/>
                    <a:gd name="T8" fmla="*/ 43 w 170"/>
                    <a:gd name="T9" fmla="*/ 0 h 136"/>
                    <a:gd name="T10" fmla="*/ 36 w 170"/>
                    <a:gd name="T11" fmla="*/ 0 h 136"/>
                    <a:gd name="T12" fmla="*/ 28 w 170"/>
                    <a:gd name="T13" fmla="*/ 3 h 136"/>
                    <a:gd name="T14" fmla="*/ 20 w 170"/>
                    <a:gd name="T15" fmla="*/ 8 h 136"/>
                    <a:gd name="T16" fmla="*/ 26 w 170"/>
                    <a:gd name="T17" fmla="*/ 15 h 136"/>
                    <a:gd name="T18" fmla="*/ 21 w 170"/>
                    <a:gd name="T19" fmla="*/ 19 h 136"/>
                    <a:gd name="T20" fmla="*/ 16 w 170"/>
                    <a:gd name="T21" fmla="*/ 21 h 136"/>
                    <a:gd name="T22" fmla="*/ 10 w 170"/>
                    <a:gd name="T23" fmla="*/ 26 h 136"/>
                    <a:gd name="T24" fmla="*/ 2 w 170"/>
                    <a:gd name="T25" fmla="*/ 22 h 136"/>
                    <a:gd name="T26" fmla="*/ 1 w 170"/>
                    <a:gd name="T27" fmla="*/ 25 h 136"/>
                    <a:gd name="T28" fmla="*/ 1 w 170"/>
                    <a:gd name="T29" fmla="*/ 27 h 136"/>
                    <a:gd name="T30" fmla="*/ 2 w 170"/>
                    <a:gd name="T31" fmla="*/ 36 h 136"/>
                    <a:gd name="T32" fmla="*/ 8 w 170"/>
                    <a:gd name="T33" fmla="*/ 44 h 136"/>
                    <a:gd name="T34" fmla="*/ 20 w 170"/>
                    <a:gd name="T35" fmla="*/ 62 h 136"/>
                    <a:gd name="T36" fmla="*/ 26 w 170"/>
                    <a:gd name="T37" fmla="*/ 71 h 136"/>
                    <a:gd name="T38" fmla="*/ 33 w 170"/>
                    <a:gd name="T39" fmla="*/ 80 h 136"/>
                    <a:gd name="T40" fmla="*/ 36 w 170"/>
                    <a:gd name="T41" fmla="*/ 89 h 136"/>
                    <a:gd name="T42" fmla="*/ 42 w 170"/>
                    <a:gd name="T43" fmla="*/ 102 h 136"/>
                    <a:gd name="T44" fmla="*/ 51 w 170"/>
                    <a:gd name="T45" fmla="*/ 113 h 136"/>
                    <a:gd name="T46" fmla="*/ 59 w 170"/>
                    <a:gd name="T47" fmla="*/ 125 h 136"/>
                    <a:gd name="T48" fmla="*/ 61 w 170"/>
                    <a:gd name="T49" fmla="*/ 131 h 136"/>
                    <a:gd name="T50" fmla="*/ 64 w 170"/>
                    <a:gd name="T51" fmla="*/ 136 h 136"/>
                    <a:gd name="T52" fmla="*/ 68 w 170"/>
                    <a:gd name="T53" fmla="*/ 134 h 136"/>
                    <a:gd name="T54" fmla="*/ 68 w 170"/>
                    <a:gd name="T55" fmla="*/ 130 h 136"/>
                    <a:gd name="T56" fmla="*/ 71 w 170"/>
                    <a:gd name="T57" fmla="*/ 127 h 136"/>
                    <a:gd name="T58" fmla="*/ 77 w 170"/>
                    <a:gd name="T59" fmla="*/ 128 h 136"/>
                    <a:gd name="T60" fmla="*/ 87 w 170"/>
                    <a:gd name="T61" fmla="*/ 129 h 136"/>
                    <a:gd name="T62" fmla="*/ 98 w 170"/>
                    <a:gd name="T63" fmla="*/ 130 h 136"/>
                    <a:gd name="T64" fmla="*/ 104 w 170"/>
                    <a:gd name="T65" fmla="*/ 128 h 136"/>
                    <a:gd name="T66" fmla="*/ 116 w 170"/>
                    <a:gd name="T67" fmla="*/ 117 h 136"/>
                    <a:gd name="T68" fmla="*/ 132 w 170"/>
                    <a:gd name="T69" fmla="*/ 117 h 136"/>
                    <a:gd name="T70" fmla="*/ 164 w 170"/>
                    <a:gd name="T71" fmla="*/ 106 h 136"/>
                    <a:gd name="T72" fmla="*/ 170 w 170"/>
                    <a:gd name="T73" fmla="*/ 89 h 136"/>
                    <a:gd name="T74" fmla="*/ 166 w 170"/>
                    <a:gd name="T75" fmla="*/ 83 h 136"/>
                    <a:gd name="T76" fmla="*/ 145 w 170"/>
                    <a:gd name="T77" fmla="*/ 81 h 136"/>
                    <a:gd name="T78" fmla="*/ 139 w 170"/>
                    <a:gd name="T79" fmla="*/ 73 h 136"/>
                    <a:gd name="T80" fmla="*/ 136 w 170"/>
                    <a:gd name="T81" fmla="*/ 67 h 136"/>
                    <a:gd name="T82" fmla="*/ 129 w 170"/>
                    <a:gd name="T83" fmla="*/ 63 h 136"/>
                    <a:gd name="T84" fmla="*/ 125 w 170"/>
                    <a:gd name="T85" fmla="*/ 54 h 136"/>
                    <a:gd name="T86" fmla="*/ 121 w 170"/>
                    <a:gd name="T87" fmla="*/ 45 h 136"/>
                    <a:gd name="T88" fmla="*/ 113 w 170"/>
                    <a:gd name="T89" fmla="*/ 36 h 136"/>
                    <a:gd name="T90" fmla="*/ 112 w 170"/>
                    <a:gd name="T91" fmla="*/ 32 h 136"/>
                    <a:gd name="T92" fmla="*/ 106 w 170"/>
                    <a:gd name="T93" fmla="*/ 32 h 136"/>
                    <a:gd name="T94" fmla="*/ 102 w 170"/>
                    <a:gd name="T95" fmla="*/ 29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70" h="136">
                      <a:moveTo>
                        <a:pt x="102" y="29"/>
                      </a:moveTo>
                      <a:cubicBezTo>
                        <a:pt x="102" y="29"/>
                        <a:pt x="89" y="27"/>
                        <a:pt x="87" y="27"/>
                      </a:cubicBezTo>
                      <a:cubicBezTo>
                        <a:pt x="86" y="27"/>
                        <a:pt x="81" y="26"/>
                        <a:pt x="78" y="24"/>
                      </a:cubicBezTo>
                      <a:cubicBezTo>
                        <a:pt x="75" y="21"/>
                        <a:pt x="61" y="11"/>
                        <a:pt x="59" y="10"/>
                      </a:cubicBezTo>
                      <a:cubicBezTo>
                        <a:pt x="56" y="8"/>
                        <a:pt x="46" y="1"/>
                        <a:pt x="43" y="0"/>
                      </a:cubicBezTo>
                      <a:cubicBezTo>
                        <a:pt x="40" y="0"/>
                        <a:pt x="40" y="0"/>
                        <a:pt x="36" y="0"/>
                      </a:cubicBezTo>
                      <a:cubicBezTo>
                        <a:pt x="33" y="0"/>
                        <a:pt x="34" y="3"/>
                        <a:pt x="28" y="3"/>
                      </a:cubicBezTo>
                      <a:cubicBezTo>
                        <a:pt x="21" y="3"/>
                        <a:pt x="18" y="7"/>
                        <a:pt x="20" y="8"/>
                      </a:cubicBezTo>
                      <a:cubicBezTo>
                        <a:pt x="22" y="9"/>
                        <a:pt x="28" y="14"/>
                        <a:pt x="26" y="15"/>
                      </a:cubicBezTo>
                      <a:cubicBezTo>
                        <a:pt x="24" y="16"/>
                        <a:pt x="24" y="19"/>
                        <a:pt x="21" y="19"/>
                      </a:cubicBezTo>
                      <a:cubicBezTo>
                        <a:pt x="19" y="19"/>
                        <a:pt x="16" y="19"/>
                        <a:pt x="16" y="21"/>
                      </a:cubicBezTo>
                      <a:cubicBezTo>
                        <a:pt x="16" y="23"/>
                        <a:pt x="13" y="26"/>
                        <a:pt x="10" y="26"/>
                      </a:cubicBezTo>
                      <a:cubicBezTo>
                        <a:pt x="8" y="26"/>
                        <a:pt x="4" y="24"/>
                        <a:pt x="2" y="22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1" y="27"/>
                        <a:pt x="1" y="27"/>
                        <a:pt x="1" y="27"/>
                      </a:cubicBezTo>
                      <a:cubicBezTo>
                        <a:pt x="1" y="28"/>
                        <a:pt x="0" y="35"/>
                        <a:pt x="2" y="36"/>
                      </a:cubicBezTo>
                      <a:cubicBezTo>
                        <a:pt x="4" y="37"/>
                        <a:pt x="5" y="40"/>
                        <a:pt x="8" y="44"/>
                      </a:cubicBezTo>
                      <a:cubicBezTo>
                        <a:pt x="12" y="48"/>
                        <a:pt x="20" y="59"/>
                        <a:pt x="20" y="62"/>
                      </a:cubicBezTo>
                      <a:cubicBezTo>
                        <a:pt x="20" y="65"/>
                        <a:pt x="21" y="68"/>
                        <a:pt x="26" y="71"/>
                      </a:cubicBezTo>
                      <a:cubicBezTo>
                        <a:pt x="31" y="74"/>
                        <a:pt x="31" y="78"/>
                        <a:pt x="33" y="80"/>
                      </a:cubicBezTo>
                      <a:cubicBezTo>
                        <a:pt x="36" y="82"/>
                        <a:pt x="35" y="84"/>
                        <a:pt x="36" y="89"/>
                      </a:cubicBezTo>
                      <a:cubicBezTo>
                        <a:pt x="36" y="94"/>
                        <a:pt x="38" y="100"/>
                        <a:pt x="42" y="102"/>
                      </a:cubicBezTo>
                      <a:cubicBezTo>
                        <a:pt x="46" y="105"/>
                        <a:pt x="49" y="108"/>
                        <a:pt x="51" y="113"/>
                      </a:cubicBezTo>
                      <a:cubicBezTo>
                        <a:pt x="53" y="118"/>
                        <a:pt x="56" y="122"/>
                        <a:pt x="59" y="125"/>
                      </a:cubicBezTo>
                      <a:cubicBezTo>
                        <a:pt x="61" y="128"/>
                        <a:pt x="60" y="129"/>
                        <a:pt x="61" y="131"/>
                      </a:cubicBezTo>
                      <a:cubicBezTo>
                        <a:pt x="62" y="132"/>
                        <a:pt x="63" y="134"/>
                        <a:pt x="64" y="136"/>
                      </a:cubicBezTo>
                      <a:cubicBezTo>
                        <a:pt x="66" y="135"/>
                        <a:pt x="68" y="134"/>
                        <a:pt x="68" y="134"/>
                      </a:cubicBezTo>
                      <a:cubicBezTo>
                        <a:pt x="68" y="133"/>
                        <a:pt x="67" y="131"/>
                        <a:pt x="68" y="130"/>
                      </a:cubicBezTo>
                      <a:cubicBezTo>
                        <a:pt x="68" y="129"/>
                        <a:pt x="70" y="127"/>
                        <a:pt x="71" y="127"/>
                      </a:cubicBezTo>
                      <a:cubicBezTo>
                        <a:pt x="72" y="126"/>
                        <a:pt x="74" y="128"/>
                        <a:pt x="77" y="128"/>
                      </a:cubicBezTo>
                      <a:cubicBezTo>
                        <a:pt x="80" y="127"/>
                        <a:pt x="86" y="128"/>
                        <a:pt x="87" y="129"/>
                      </a:cubicBezTo>
                      <a:cubicBezTo>
                        <a:pt x="88" y="129"/>
                        <a:pt x="96" y="129"/>
                        <a:pt x="98" y="130"/>
                      </a:cubicBezTo>
                      <a:cubicBezTo>
                        <a:pt x="100" y="132"/>
                        <a:pt x="102" y="131"/>
                        <a:pt x="104" y="128"/>
                      </a:cubicBezTo>
                      <a:cubicBezTo>
                        <a:pt x="105" y="125"/>
                        <a:pt x="115" y="118"/>
                        <a:pt x="116" y="117"/>
                      </a:cubicBezTo>
                      <a:cubicBezTo>
                        <a:pt x="117" y="117"/>
                        <a:pt x="128" y="117"/>
                        <a:pt x="132" y="117"/>
                      </a:cubicBezTo>
                      <a:cubicBezTo>
                        <a:pt x="136" y="116"/>
                        <a:pt x="163" y="107"/>
                        <a:pt x="164" y="106"/>
                      </a:cubicBezTo>
                      <a:cubicBezTo>
                        <a:pt x="165" y="105"/>
                        <a:pt x="170" y="91"/>
                        <a:pt x="170" y="89"/>
                      </a:cubicBezTo>
                      <a:cubicBezTo>
                        <a:pt x="170" y="88"/>
                        <a:pt x="168" y="83"/>
                        <a:pt x="166" y="83"/>
                      </a:cubicBezTo>
                      <a:cubicBezTo>
                        <a:pt x="164" y="84"/>
                        <a:pt x="147" y="82"/>
                        <a:pt x="145" y="81"/>
                      </a:cubicBezTo>
                      <a:cubicBezTo>
                        <a:pt x="145" y="81"/>
                        <a:pt x="140" y="77"/>
                        <a:pt x="139" y="73"/>
                      </a:cubicBezTo>
                      <a:cubicBezTo>
                        <a:pt x="138" y="72"/>
                        <a:pt x="137" y="69"/>
                        <a:pt x="136" y="67"/>
                      </a:cubicBezTo>
                      <a:cubicBezTo>
                        <a:pt x="134" y="68"/>
                        <a:pt x="131" y="67"/>
                        <a:pt x="129" y="63"/>
                      </a:cubicBezTo>
                      <a:cubicBezTo>
                        <a:pt x="128" y="62"/>
                        <a:pt x="124" y="56"/>
                        <a:pt x="125" y="54"/>
                      </a:cubicBezTo>
                      <a:cubicBezTo>
                        <a:pt x="127" y="52"/>
                        <a:pt x="124" y="48"/>
                        <a:pt x="121" y="45"/>
                      </a:cubicBezTo>
                      <a:cubicBezTo>
                        <a:pt x="119" y="43"/>
                        <a:pt x="114" y="39"/>
                        <a:pt x="113" y="36"/>
                      </a:cubicBezTo>
                      <a:cubicBezTo>
                        <a:pt x="113" y="35"/>
                        <a:pt x="113" y="34"/>
                        <a:pt x="112" y="32"/>
                      </a:cubicBezTo>
                      <a:cubicBezTo>
                        <a:pt x="106" y="32"/>
                        <a:pt x="106" y="32"/>
                        <a:pt x="106" y="32"/>
                      </a:cubicBezTo>
                      <a:lnTo>
                        <a:pt x="102" y="2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3" name="Freeform 96">
                  <a:extLst>
                    <a:ext uri="{FF2B5EF4-FFF2-40B4-BE49-F238E27FC236}">
                      <a16:creationId xmlns:a16="http://schemas.microsoft.com/office/drawing/2014/main" id="{7F1C08D2-EF48-4170-A3F8-BDE3288590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463829" y="-9774750"/>
                  <a:ext cx="395672" cy="444321"/>
                </a:xfrm>
                <a:custGeom>
                  <a:avLst/>
                  <a:gdLst>
                    <a:gd name="T0" fmla="*/ 32 w 64"/>
                    <a:gd name="T1" fmla="*/ 1 h 72"/>
                    <a:gd name="T2" fmla="*/ 32 w 64"/>
                    <a:gd name="T3" fmla="*/ 7 h 72"/>
                    <a:gd name="T4" fmla="*/ 27 w 64"/>
                    <a:gd name="T5" fmla="*/ 14 h 72"/>
                    <a:gd name="T6" fmla="*/ 24 w 64"/>
                    <a:gd name="T7" fmla="*/ 20 h 72"/>
                    <a:gd name="T8" fmla="*/ 26 w 64"/>
                    <a:gd name="T9" fmla="*/ 20 h 72"/>
                    <a:gd name="T10" fmla="*/ 30 w 64"/>
                    <a:gd name="T11" fmla="*/ 26 h 72"/>
                    <a:gd name="T12" fmla="*/ 24 w 64"/>
                    <a:gd name="T13" fmla="*/ 43 h 72"/>
                    <a:gd name="T14" fmla="*/ 0 w 64"/>
                    <a:gd name="T15" fmla="*/ 51 h 72"/>
                    <a:gd name="T16" fmla="*/ 10 w 64"/>
                    <a:gd name="T17" fmla="*/ 72 h 72"/>
                    <a:gd name="T18" fmla="*/ 12 w 64"/>
                    <a:gd name="T19" fmla="*/ 71 h 72"/>
                    <a:gd name="T20" fmla="*/ 25 w 64"/>
                    <a:gd name="T21" fmla="*/ 68 h 72"/>
                    <a:gd name="T22" fmla="*/ 28 w 64"/>
                    <a:gd name="T23" fmla="*/ 62 h 72"/>
                    <a:gd name="T24" fmla="*/ 37 w 64"/>
                    <a:gd name="T25" fmla="*/ 61 h 72"/>
                    <a:gd name="T26" fmla="*/ 42 w 64"/>
                    <a:gd name="T27" fmla="*/ 53 h 72"/>
                    <a:gd name="T28" fmla="*/ 47 w 64"/>
                    <a:gd name="T29" fmla="*/ 51 h 72"/>
                    <a:gd name="T30" fmla="*/ 50 w 64"/>
                    <a:gd name="T31" fmla="*/ 40 h 72"/>
                    <a:gd name="T32" fmla="*/ 56 w 64"/>
                    <a:gd name="T33" fmla="*/ 35 h 72"/>
                    <a:gd name="T34" fmla="*/ 63 w 64"/>
                    <a:gd name="T35" fmla="*/ 26 h 72"/>
                    <a:gd name="T36" fmla="*/ 62 w 64"/>
                    <a:gd name="T37" fmla="*/ 22 h 72"/>
                    <a:gd name="T38" fmla="*/ 55 w 64"/>
                    <a:gd name="T39" fmla="*/ 13 h 72"/>
                    <a:gd name="T40" fmla="*/ 42 w 64"/>
                    <a:gd name="T41" fmla="*/ 8 h 72"/>
                    <a:gd name="T42" fmla="*/ 38 w 64"/>
                    <a:gd name="T43" fmla="*/ 0 h 72"/>
                    <a:gd name="T44" fmla="*/ 35 w 64"/>
                    <a:gd name="T45" fmla="*/ 1 h 72"/>
                    <a:gd name="T46" fmla="*/ 32 w 64"/>
                    <a:gd name="T47" fmla="*/ 1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4" h="72">
                      <a:moveTo>
                        <a:pt x="32" y="1"/>
                      </a:moveTo>
                      <a:cubicBezTo>
                        <a:pt x="32" y="7"/>
                        <a:pt x="32" y="7"/>
                        <a:pt x="32" y="7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5" y="20"/>
                        <a:pt x="25" y="21"/>
                        <a:pt x="26" y="20"/>
                      </a:cubicBezTo>
                      <a:cubicBezTo>
                        <a:pt x="28" y="20"/>
                        <a:pt x="30" y="25"/>
                        <a:pt x="30" y="26"/>
                      </a:cubicBezTo>
                      <a:cubicBezTo>
                        <a:pt x="30" y="28"/>
                        <a:pt x="25" y="42"/>
                        <a:pt x="24" y="43"/>
                      </a:cubicBezTo>
                      <a:cubicBezTo>
                        <a:pt x="23" y="44"/>
                        <a:pt x="9" y="48"/>
                        <a:pt x="0" y="51"/>
                      </a:cubicBezTo>
                      <a:cubicBezTo>
                        <a:pt x="2" y="56"/>
                        <a:pt x="6" y="64"/>
                        <a:pt x="10" y="72"/>
                      </a:cubicBezTo>
                      <a:cubicBezTo>
                        <a:pt x="10" y="71"/>
                        <a:pt x="11" y="71"/>
                        <a:pt x="12" y="71"/>
                      </a:cubicBezTo>
                      <a:cubicBezTo>
                        <a:pt x="16" y="68"/>
                        <a:pt x="21" y="69"/>
                        <a:pt x="25" y="68"/>
                      </a:cubicBezTo>
                      <a:cubicBezTo>
                        <a:pt x="28" y="67"/>
                        <a:pt x="25" y="65"/>
                        <a:pt x="28" y="62"/>
                      </a:cubicBezTo>
                      <a:cubicBezTo>
                        <a:pt x="31" y="60"/>
                        <a:pt x="35" y="61"/>
                        <a:pt x="37" y="61"/>
                      </a:cubicBezTo>
                      <a:cubicBezTo>
                        <a:pt x="38" y="60"/>
                        <a:pt x="39" y="54"/>
                        <a:pt x="42" y="53"/>
                      </a:cubicBezTo>
                      <a:cubicBezTo>
                        <a:pt x="44" y="52"/>
                        <a:pt x="47" y="53"/>
                        <a:pt x="47" y="51"/>
                      </a:cubicBezTo>
                      <a:cubicBezTo>
                        <a:pt x="47" y="48"/>
                        <a:pt x="47" y="40"/>
                        <a:pt x="50" y="40"/>
                      </a:cubicBezTo>
                      <a:cubicBezTo>
                        <a:pt x="52" y="39"/>
                        <a:pt x="56" y="37"/>
                        <a:pt x="56" y="35"/>
                      </a:cubicBezTo>
                      <a:cubicBezTo>
                        <a:pt x="56" y="34"/>
                        <a:pt x="61" y="29"/>
                        <a:pt x="63" y="26"/>
                      </a:cubicBezTo>
                      <a:cubicBezTo>
                        <a:pt x="64" y="23"/>
                        <a:pt x="64" y="22"/>
                        <a:pt x="62" y="22"/>
                      </a:cubicBezTo>
                      <a:cubicBezTo>
                        <a:pt x="60" y="21"/>
                        <a:pt x="56" y="15"/>
                        <a:pt x="55" y="13"/>
                      </a:cubicBezTo>
                      <a:cubicBezTo>
                        <a:pt x="54" y="11"/>
                        <a:pt x="48" y="12"/>
                        <a:pt x="42" y="8"/>
                      </a:cubicBezTo>
                      <a:cubicBezTo>
                        <a:pt x="40" y="6"/>
                        <a:pt x="38" y="3"/>
                        <a:pt x="38" y="0"/>
                      </a:cubicBezTo>
                      <a:cubicBezTo>
                        <a:pt x="35" y="1"/>
                        <a:pt x="35" y="1"/>
                        <a:pt x="35" y="1"/>
                      </a:cubicBezTo>
                      <a:lnTo>
                        <a:pt x="32" y="1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4" name="Freeform 97">
                  <a:extLst>
                    <a:ext uri="{FF2B5EF4-FFF2-40B4-BE49-F238E27FC236}">
                      <a16:creationId xmlns:a16="http://schemas.microsoft.com/office/drawing/2014/main" id="{E363F813-4455-420E-ACFA-FD27C49DD5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531935" y="-9829885"/>
                  <a:ext cx="61622" cy="87568"/>
                </a:xfrm>
                <a:custGeom>
                  <a:avLst/>
                  <a:gdLst>
                    <a:gd name="T0" fmla="*/ 7 w 10"/>
                    <a:gd name="T1" fmla="*/ 13 h 14"/>
                    <a:gd name="T2" fmla="*/ 7 w 10"/>
                    <a:gd name="T3" fmla="*/ 11 h 14"/>
                    <a:gd name="T4" fmla="*/ 6 w 10"/>
                    <a:gd name="T5" fmla="*/ 1 h 14"/>
                    <a:gd name="T6" fmla="*/ 1 w 10"/>
                    <a:gd name="T7" fmla="*/ 9 h 14"/>
                    <a:gd name="T8" fmla="*/ 0 w 10"/>
                    <a:gd name="T9" fmla="*/ 9 h 14"/>
                    <a:gd name="T10" fmla="*/ 7 w 10"/>
                    <a:gd name="T11" fmla="*/ 13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4">
                      <a:moveTo>
                        <a:pt x="7" y="13"/>
                      </a:moveTo>
                      <a:cubicBezTo>
                        <a:pt x="7" y="13"/>
                        <a:pt x="7" y="12"/>
                        <a:pt x="7" y="11"/>
                      </a:cubicBezTo>
                      <a:cubicBezTo>
                        <a:pt x="9" y="9"/>
                        <a:pt x="10" y="2"/>
                        <a:pt x="6" y="1"/>
                      </a:cubicBezTo>
                      <a:cubicBezTo>
                        <a:pt x="3" y="0"/>
                        <a:pt x="1" y="7"/>
                        <a:pt x="1" y="9"/>
                      </a:cubicBezTo>
                      <a:cubicBezTo>
                        <a:pt x="1" y="9"/>
                        <a:pt x="1" y="9"/>
                        <a:pt x="0" y="9"/>
                      </a:cubicBezTo>
                      <a:cubicBezTo>
                        <a:pt x="2" y="13"/>
                        <a:pt x="5" y="14"/>
                        <a:pt x="7" y="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5" name="Freeform 98">
                  <a:extLst>
                    <a:ext uri="{FF2B5EF4-FFF2-40B4-BE49-F238E27FC236}">
                      <a16:creationId xmlns:a16="http://schemas.microsoft.com/office/drawing/2014/main" id="{384767EE-E499-4A7D-B743-689244ACD0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470315" y="-9842858"/>
                  <a:ext cx="243242" cy="191350"/>
                </a:xfrm>
                <a:custGeom>
                  <a:avLst/>
                  <a:gdLst>
                    <a:gd name="T0" fmla="*/ 6 w 39"/>
                    <a:gd name="T1" fmla="*/ 29 h 31"/>
                    <a:gd name="T2" fmla="*/ 25 w 39"/>
                    <a:gd name="T3" fmla="*/ 31 h 31"/>
                    <a:gd name="T4" fmla="*/ 28 w 39"/>
                    <a:gd name="T5" fmla="*/ 25 h 31"/>
                    <a:gd name="T6" fmla="*/ 33 w 39"/>
                    <a:gd name="T7" fmla="*/ 18 h 31"/>
                    <a:gd name="T8" fmla="*/ 33 w 39"/>
                    <a:gd name="T9" fmla="*/ 12 h 31"/>
                    <a:gd name="T10" fmla="*/ 36 w 39"/>
                    <a:gd name="T11" fmla="*/ 12 h 31"/>
                    <a:gd name="T12" fmla="*/ 39 w 39"/>
                    <a:gd name="T13" fmla="*/ 11 h 31"/>
                    <a:gd name="T14" fmla="*/ 36 w 39"/>
                    <a:gd name="T15" fmla="*/ 1 h 31"/>
                    <a:gd name="T16" fmla="*/ 27 w 39"/>
                    <a:gd name="T17" fmla="*/ 11 h 31"/>
                    <a:gd name="T18" fmla="*/ 12 w 39"/>
                    <a:gd name="T19" fmla="*/ 19 h 31"/>
                    <a:gd name="T20" fmla="*/ 2 w 39"/>
                    <a:gd name="T21" fmla="*/ 21 h 31"/>
                    <a:gd name="T22" fmla="*/ 0 w 39"/>
                    <a:gd name="T23" fmla="*/ 21 h 31"/>
                    <a:gd name="T24" fmla="*/ 6 w 39"/>
                    <a:gd name="T25" fmla="*/ 29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9" h="31">
                      <a:moveTo>
                        <a:pt x="6" y="29"/>
                      </a:moveTo>
                      <a:cubicBezTo>
                        <a:pt x="7" y="30"/>
                        <a:pt x="20" y="31"/>
                        <a:pt x="25" y="31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3" y="12"/>
                        <a:pt x="33" y="12"/>
                        <a:pt x="33" y="12"/>
                      </a:cubicBezTo>
                      <a:cubicBezTo>
                        <a:pt x="36" y="12"/>
                        <a:pt x="36" y="12"/>
                        <a:pt x="36" y="12"/>
                      </a:cubicBezTo>
                      <a:cubicBezTo>
                        <a:pt x="39" y="11"/>
                        <a:pt x="39" y="11"/>
                        <a:pt x="39" y="11"/>
                      </a:cubicBezTo>
                      <a:cubicBezTo>
                        <a:pt x="37" y="6"/>
                        <a:pt x="37" y="1"/>
                        <a:pt x="36" y="1"/>
                      </a:cubicBezTo>
                      <a:cubicBezTo>
                        <a:pt x="35" y="0"/>
                        <a:pt x="29" y="7"/>
                        <a:pt x="27" y="11"/>
                      </a:cubicBezTo>
                      <a:cubicBezTo>
                        <a:pt x="24" y="16"/>
                        <a:pt x="18" y="20"/>
                        <a:pt x="12" y="19"/>
                      </a:cubicBezTo>
                      <a:cubicBezTo>
                        <a:pt x="6" y="17"/>
                        <a:pt x="4" y="20"/>
                        <a:pt x="2" y="21"/>
                      </a:cubicBezTo>
                      <a:cubicBezTo>
                        <a:pt x="2" y="21"/>
                        <a:pt x="1" y="21"/>
                        <a:pt x="0" y="21"/>
                      </a:cubicBezTo>
                      <a:cubicBezTo>
                        <a:pt x="1" y="25"/>
                        <a:pt x="6" y="29"/>
                        <a:pt x="6" y="2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6" name="Freeform 99">
                  <a:extLst>
                    <a:ext uri="{FF2B5EF4-FFF2-40B4-BE49-F238E27FC236}">
                      <a16:creationId xmlns:a16="http://schemas.microsoft.com/office/drawing/2014/main" id="{EA803046-3EA4-4D9D-85A7-50BDDDBA5C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118957" y="-10465555"/>
                  <a:ext cx="489726" cy="476753"/>
                </a:xfrm>
                <a:custGeom>
                  <a:avLst/>
                  <a:gdLst>
                    <a:gd name="T0" fmla="*/ 66 w 79"/>
                    <a:gd name="T1" fmla="*/ 70 h 77"/>
                    <a:gd name="T2" fmla="*/ 70 w 79"/>
                    <a:gd name="T3" fmla="*/ 67 h 77"/>
                    <a:gd name="T4" fmla="*/ 75 w 79"/>
                    <a:gd name="T5" fmla="*/ 70 h 77"/>
                    <a:gd name="T6" fmla="*/ 79 w 79"/>
                    <a:gd name="T7" fmla="*/ 68 h 77"/>
                    <a:gd name="T8" fmla="*/ 74 w 79"/>
                    <a:gd name="T9" fmla="*/ 62 h 77"/>
                    <a:gd name="T10" fmla="*/ 71 w 79"/>
                    <a:gd name="T11" fmla="*/ 56 h 77"/>
                    <a:gd name="T12" fmla="*/ 72 w 79"/>
                    <a:gd name="T13" fmla="*/ 51 h 77"/>
                    <a:gd name="T14" fmla="*/ 68 w 79"/>
                    <a:gd name="T15" fmla="*/ 46 h 77"/>
                    <a:gd name="T16" fmla="*/ 59 w 79"/>
                    <a:gd name="T17" fmla="*/ 40 h 77"/>
                    <a:gd name="T18" fmla="*/ 55 w 79"/>
                    <a:gd name="T19" fmla="*/ 36 h 77"/>
                    <a:gd name="T20" fmla="*/ 54 w 79"/>
                    <a:gd name="T21" fmla="*/ 28 h 77"/>
                    <a:gd name="T22" fmla="*/ 58 w 79"/>
                    <a:gd name="T23" fmla="*/ 22 h 77"/>
                    <a:gd name="T24" fmla="*/ 59 w 79"/>
                    <a:gd name="T25" fmla="*/ 17 h 77"/>
                    <a:gd name="T26" fmla="*/ 55 w 79"/>
                    <a:gd name="T27" fmla="*/ 14 h 77"/>
                    <a:gd name="T28" fmla="*/ 51 w 79"/>
                    <a:gd name="T29" fmla="*/ 10 h 77"/>
                    <a:gd name="T30" fmla="*/ 48 w 79"/>
                    <a:gd name="T31" fmla="*/ 3 h 77"/>
                    <a:gd name="T32" fmla="*/ 40 w 79"/>
                    <a:gd name="T33" fmla="*/ 2 h 77"/>
                    <a:gd name="T34" fmla="*/ 32 w 79"/>
                    <a:gd name="T35" fmla="*/ 1 h 77"/>
                    <a:gd name="T36" fmla="*/ 29 w 79"/>
                    <a:gd name="T37" fmla="*/ 3 h 77"/>
                    <a:gd name="T38" fmla="*/ 29 w 79"/>
                    <a:gd name="T39" fmla="*/ 3 h 77"/>
                    <a:gd name="T40" fmla="*/ 24 w 79"/>
                    <a:gd name="T41" fmla="*/ 7 h 77"/>
                    <a:gd name="T42" fmla="*/ 19 w 79"/>
                    <a:gd name="T43" fmla="*/ 11 h 77"/>
                    <a:gd name="T44" fmla="*/ 20 w 79"/>
                    <a:gd name="T45" fmla="*/ 17 h 77"/>
                    <a:gd name="T46" fmla="*/ 19 w 79"/>
                    <a:gd name="T47" fmla="*/ 24 h 77"/>
                    <a:gd name="T48" fmla="*/ 17 w 79"/>
                    <a:gd name="T49" fmla="*/ 28 h 77"/>
                    <a:gd name="T50" fmla="*/ 0 w 79"/>
                    <a:gd name="T51" fmla="*/ 38 h 77"/>
                    <a:gd name="T52" fmla="*/ 1 w 79"/>
                    <a:gd name="T53" fmla="*/ 42 h 77"/>
                    <a:gd name="T54" fmla="*/ 2 w 79"/>
                    <a:gd name="T55" fmla="*/ 49 h 77"/>
                    <a:gd name="T56" fmla="*/ 9 w 79"/>
                    <a:gd name="T57" fmla="*/ 49 h 77"/>
                    <a:gd name="T58" fmla="*/ 25 w 79"/>
                    <a:gd name="T59" fmla="*/ 59 h 77"/>
                    <a:gd name="T60" fmla="*/ 44 w 79"/>
                    <a:gd name="T61" fmla="*/ 73 h 77"/>
                    <a:gd name="T62" fmla="*/ 53 w 79"/>
                    <a:gd name="T63" fmla="*/ 76 h 77"/>
                    <a:gd name="T64" fmla="*/ 63 w 79"/>
                    <a:gd name="T65" fmla="*/ 77 h 77"/>
                    <a:gd name="T66" fmla="*/ 66 w 79"/>
                    <a:gd name="T67" fmla="*/ 70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79" h="77">
                      <a:moveTo>
                        <a:pt x="66" y="70"/>
                      </a:moveTo>
                      <a:cubicBezTo>
                        <a:pt x="67" y="69"/>
                        <a:pt x="67" y="67"/>
                        <a:pt x="70" y="67"/>
                      </a:cubicBezTo>
                      <a:cubicBezTo>
                        <a:pt x="72" y="67"/>
                        <a:pt x="73" y="68"/>
                        <a:pt x="75" y="70"/>
                      </a:cubicBezTo>
                      <a:cubicBezTo>
                        <a:pt x="76" y="69"/>
                        <a:pt x="77" y="69"/>
                        <a:pt x="79" y="68"/>
                      </a:cubicBezTo>
                      <a:cubicBezTo>
                        <a:pt x="76" y="66"/>
                        <a:pt x="74" y="63"/>
                        <a:pt x="74" y="62"/>
                      </a:cubicBezTo>
                      <a:cubicBezTo>
                        <a:pt x="74" y="59"/>
                        <a:pt x="72" y="58"/>
                        <a:pt x="71" y="56"/>
                      </a:cubicBezTo>
                      <a:cubicBezTo>
                        <a:pt x="71" y="55"/>
                        <a:pt x="73" y="52"/>
                        <a:pt x="72" y="51"/>
                      </a:cubicBezTo>
                      <a:cubicBezTo>
                        <a:pt x="71" y="50"/>
                        <a:pt x="70" y="47"/>
                        <a:pt x="68" y="46"/>
                      </a:cubicBezTo>
                      <a:cubicBezTo>
                        <a:pt x="66" y="46"/>
                        <a:pt x="59" y="42"/>
                        <a:pt x="59" y="40"/>
                      </a:cubicBezTo>
                      <a:cubicBezTo>
                        <a:pt x="59" y="38"/>
                        <a:pt x="57" y="36"/>
                        <a:pt x="55" y="36"/>
                      </a:cubicBezTo>
                      <a:cubicBezTo>
                        <a:pt x="54" y="35"/>
                        <a:pt x="53" y="29"/>
                        <a:pt x="54" y="28"/>
                      </a:cubicBezTo>
                      <a:cubicBezTo>
                        <a:pt x="56" y="28"/>
                        <a:pt x="56" y="22"/>
                        <a:pt x="58" y="22"/>
                      </a:cubicBezTo>
                      <a:cubicBezTo>
                        <a:pt x="59" y="22"/>
                        <a:pt x="58" y="19"/>
                        <a:pt x="59" y="17"/>
                      </a:cubicBezTo>
                      <a:cubicBezTo>
                        <a:pt x="59" y="15"/>
                        <a:pt x="57" y="14"/>
                        <a:pt x="55" y="14"/>
                      </a:cubicBezTo>
                      <a:cubicBezTo>
                        <a:pt x="54" y="14"/>
                        <a:pt x="51" y="12"/>
                        <a:pt x="51" y="10"/>
                      </a:cubicBezTo>
                      <a:cubicBezTo>
                        <a:pt x="51" y="8"/>
                        <a:pt x="48" y="4"/>
                        <a:pt x="48" y="3"/>
                      </a:cubicBezTo>
                      <a:cubicBezTo>
                        <a:pt x="48" y="8"/>
                        <a:pt x="41" y="1"/>
                        <a:pt x="40" y="2"/>
                      </a:cubicBezTo>
                      <a:cubicBezTo>
                        <a:pt x="38" y="3"/>
                        <a:pt x="36" y="0"/>
                        <a:pt x="32" y="1"/>
                      </a:cubicBezTo>
                      <a:cubicBezTo>
                        <a:pt x="30" y="1"/>
                        <a:pt x="30" y="2"/>
                        <a:pt x="29" y="3"/>
                      </a:cubicBezTo>
                      <a:cubicBezTo>
                        <a:pt x="29" y="3"/>
                        <a:pt x="29" y="3"/>
                        <a:pt x="29" y="3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24" y="7"/>
                        <a:pt x="20" y="8"/>
                        <a:pt x="19" y="11"/>
                      </a:cubicBezTo>
                      <a:cubicBezTo>
                        <a:pt x="18" y="13"/>
                        <a:pt x="21" y="16"/>
                        <a:pt x="20" y="17"/>
                      </a:cubicBezTo>
                      <a:cubicBezTo>
                        <a:pt x="19" y="19"/>
                        <a:pt x="19" y="22"/>
                        <a:pt x="19" y="24"/>
                      </a:cubicBezTo>
                      <a:cubicBezTo>
                        <a:pt x="19" y="25"/>
                        <a:pt x="17" y="28"/>
                        <a:pt x="17" y="28"/>
                      </a:cubicBezTo>
                      <a:cubicBezTo>
                        <a:pt x="17" y="28"/>
                        <a:pt x="8" y="34"/>
                        <a:pt x="0" y="38"/>
                      </a:cubicBezTo>
                      <a:cubicBezTo>
                        <a:pt x="0" y="39"/>
                        <a:pt x="0" y="40"/>
                        <a:pt x="1" y="42"/>
                      </a:cubicBezTo>
                      <a:cubicBezTo>
                        <a:pt x="1" y="43"/>
                        <a:pt x="2" y="47"/>
                        <a:pt x="2" y="49"/>
                      </a:cubicBezTo>
                      <a:cubicBezTo>
                        <a:pt x="6" y="49"/>
                        <a:pt x="6" y="49"/>
                        <a:pt x="9" y="49"/>
                      </a:cubicBezTo>
                      <a:cubicBezTo>
                        <a:pt x="12" y="50"/>
                        <a:pt x="22" y="57"/>
                        <a:pt x="25" y="59"/>
                      </a:cubicBezTo>
                      <a:cubicBezTo>
                        <a:pt x="27" y="60"/>
                        <a:pt x="41" y="70"/>
                        <a:pt x="44" y="73"/>
                      </a:cubicBezTo>
                      <a:cubicBezTo>
                        <a:pt x="47" y="75"/>
                        <a:pt x="52" y="76"/>
                        <a:pt x="53" y="76"/>
                      </a:cubicBezTo>
                      <a:cubicBezTo>
                        <a:pt x="55" y="76"/>
                        <a:pt x="59" y="77"/>
                        <a:pt x="63" y="77"/>
                      </a:cubicBezTo>
                      <a:cubicBezTo>
                        <a:pt x="64" y="74"/>
                        <a:pt x="65" y="71"/>
                        <a:pt x="66" y="7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7" name="Freeform 100">
                  <a:extLst>
                    <a:ext uri="{FF2B5EF4-FFF2-40B4-BE49-F238E27FC236}">
                      <a16:creationId xmlns:a16="http://schemas.microsoft.com/office/drawing/2014/main" id="{645195DC-A3B1-4670-8E70-ECB33A370A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729772" y="-10050424"/>
                  <a:ext cx="94054" cy="84323"/>
                </a:xfrm>
                <a:custGeom>
                  <a:avLst/>
                  <a:gdLst>
                    <a:gd name="T0" fmla="*/ 5 w 15"/>
                    <a:gd name="T1" fmla="*/ 11 h 14"/>
                    <a:gd name="T2" fmla="*/ 9 w 15"/>
                    <a:gd name="T3" fmla="*/ 14 h 14"/>
                    <a:gd name="T4" fmla="*/ 15 w 15"/>
                    <a:gd name="T5" fmla="*/ 14 h 14"/>
                    <a:gd name="T6" fmla="*/ 11 w 15"/>
                    <a:gd name="T7" fmla="*/ 4 h 14"/>
                    <a:gd name="T8" fmla="*/ 12 w 15"/>
                    <a:gd name="T9" fmla="*/ 3 h 14"/>
                    <a:gd name="T10" fmla="*/ 7 w 15"/>
                    <a:gd name="T11" fmla="*/ 0 h 14"/>
                    <a:gd name="T12" fmla="*/ 3 w 15"/>
                    <a:gd name="T13" fmla="*/ 3 h 14"/>
                    <a:gd name="T14" fmla="*/ 0 w 15"/>
                    <a:gd name="T15" fmla="*/ 10 h 14"/>
                    <a:gd name="T16" fmla="*/ 5 w 15"/>
                    <a:gd name="T17" fmla="*/ 1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4">
                      <a:moveTo>
                        <a:pt x="5" y="11"/>
                      </a:moveTo>
                      <a:cubicBezTo>
                        <a:pt x="9" y="14"/>
                        <a:pt x="9" y="14"/>
                        <a:pt x="9" y="14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4" y="11"/>
                        <a:pt x="11" y="6"/>
                        <a:pt x="11" y="4"/>
                      </a:cubicBezTo>
                      <a:cubicBezTo>
                        <a:pt x="11" y="4"/>
                        <a:pt x="12" y="3"/>
                        <a:pt x="12" y="3"/>
                      </a:cubicBezTo>
                      <a:cubicBezTo>
                        <a:pt x="10" y="1"/>
                        <a:pt x="9" y="0"/>
                        <a:pt x="7" y="0"/>
                      </a:cubicBezTo>
                      <a:cubicBezTo>
                        <a:pt x="4" y="0"/>
                        <a:pt x="4" y="2"/>
                        <a:pt x="3" y="3"/>
                      </a:cubicBezTo>
                      <a:cubicBezTo>
                        <a:pt x="2" y="4"/>
                        <a:pt x="1" y="7"/>
                        <a:pt x="0" y="10"/>
                      </a:cubicBezTo>
                      <a:cubicBezTo>
                        <a:pt x="2" y="10"/>
                        <a:pt x="5" y="11"/>
                        <a:pt x="5" y="1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8" name="Freeform 101">
                  <a:extLst>
                    <a:ext uri="{FF2B5EF4-FFF2-40B4-BE49-F238E27FC236}">
                      <a16:creationId xmlns:a16="http://schemas.microsoft.com/office/drawing/2014/main" id="{F06DFC10-7D6C-4FFD-B371-16378B41AC4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269205" y="-11305545"/>
                  <a:ext cx="729723" cy="612968"/>
                </a:xfrm>
                <a:custGeom>
                  <a:avLst/>
                  <a:gdLst>
                    <a:gd name="T0" fmla="*/ 103 w 118"/>
                    <a:gd name="T1" fmla="*/ 23 h 99"/>
                    <a:gd name="T2" fmla="*/ 99 w 118"/>
                    <a:gd name="T3" fmla="*/ 21 h 99"/>
                    <a:gd name="T4" fmla="*/ 94 w 118"/>
                    <a:gd name="T5" fmla="*/ 19 h 99"/>
                    <a:gd name="T6" fmla="*/ 86 w 118"/>
                    <a:gd name="T7" fmla="*/ 17 h 99"/>
                    <a:gd name="T8" fmla="*/ 81 w 118"/>
                    <a:gd name="T9" fmla="*/ 15 h 99"/>
                    <a:gd name="T10" fmla="*/ 79 w 118"/>
                    <a:gd name="T11" fmla="*/ 11 h 99"/>
                    <a:gd name="T12" fmla="*/ 76 w 118"/>
                    <a:gd name="T13" fmla="*/ 13 h 99"/>
                    <a:gd name="T14" fmla="*/ 73 w 118"/>
                    <a:gd name="T15" fmla="*/ 10 h 99"/>
                    <a:gd name="T16" fmla="*/ 68 w 118"/>
                    <a:gd name="T17" fmla="*/ 7 h 99"/>
                    <a:gd name="T18" fmla="*/ 64 w 118"/>
                    <a:gd name="T19" fmla="*/ 4 h 99"/>
                    <a:gd name="T20" fmla="*/ 61 w 118"/>
                    <a:gd name="T21" fmla="*/ 1 h 99"/>
                    <a:gd name="T22" fmla="*/ 60 w 118"/>
                    <a:gd name="T23" fmla="*/ 0 h 99"/>
                    <a:gd name="T24" fmla="*/ 58 w 118"/>
                    <a:gd name="T25" fmla="*/ 0 h 99"/>
                    <a:gd name="T26" fmla="*/ 54 w 118"/>
                    <a:gd name="T27" fmla="*/ 7 h 99"/>
                    <a:gd name="T28" fmla="*/ 45 w 118"/>
                    <a:gd name="T29" fmla="*/ 13 h 99"/>
                    <a:gd name="T30" fmla="*/ 40 w 118"/>
                    <a:gd name="T31" fmla="*/ 19 h 99"/>
                    <a:gd name="T32" fmla="*/ 30 w 118"/>
                    <a:gd name="T33" fmla="*/ 15 h 99"/>
                    <a:gd name="T34" fmla="*/ 25 w 118"/>
                    <a:gd name="T35" fmla="*/ 18 h 99"/>
                    <a:gd name="T36" fmla="*/ 26 w 118"/>
                    <a:gd name="T37" fmla="*/ 27 h 99"/>
                    <a:gd name="T38" fmla="*/ 19 w 118"/>
                    <a:gd name="T39" fmla="*/ 27 h 99"/>
                    <a:gd name="T40" fmla="*/ 14 w 118"/>
                    <a:gd name="T41" fmla="*/ 24 h 99"/>
                    <a:gd name="T42" fmla="*/ 7 w 118"/>
                    <a:gd name="T43" fmla="*/ 25 h 99"/>
                    <a:gd name="T44" fmla="*/ 2 w 118"/>
                    <a:gd name="T45" fmla="*/ 29 h 99"/>
                    <a:gd name="T46" fmla="*/ 3 w 118"/>
                    <a:gd name="T47" fmla="*/ 34 h 99"/>
                    <a:gd name="T48" fmla="*/ 13 w 118"/>
                    <a:gd name="T49" fmla="*/ 37 h 99"/>
                    <a:gd name="T50" fmla="*/ 20 w 118"/>
                    <a:gd name="T51" fmla="*/ 39 h 99"/>
                    <a:gd name="T52" fmla="*/ 23 w 118"/>
                    <a:gd name="T53" fmla="*/ 43 h 99"/>
                    <a:gd name="T54" fmla="*/ 29 w 118"/>
                    <a:gd name="T55" fmla="*/ 50 h 99"/>
                    <a:gd name="T56" fmla="*/ 31 w 118"/>
                    <a:gd name="T57" fmla="*/ 56 h 99"/>
                    <a:gd name="T58" fmla="*/ 30 w 118"/>
                    <a:gd name="T59" fmla="*/ 66 h 99"/>
                    <a:gd name="T60" fmla="*/ 26 w 118"/>
                    <a:gd name="T61" fmla="*/ 80 h 99"/>
                    <a:gd name="T62" fmla="*/ 26 w 118"/>
                    <a:gd name="T63" fmla="*/ 80 h 99"/>
                    <a:gd name="T64" fmla="*/ 30 w 118"/>
                    <a:gd name="T65" fmla="*/ 82 h 99"/>
                    <a:gd name="T66" fmla="*/ 38 w 118"/>
                    <a:gd name="T67" fmla="*/ 86 h 99"/>
                    <a:gd name="T68" fmla="*/ 45 w 118"/>
                    <a:gd name="T69" fmla="*/ 86 h 99"/>
                    <a:gd name="T70" fmla="*/ 48 w 118"/>
                    <a:gd name="T71" fmla="*/ 86 h 99"/>
                    <a:gd name="T72" fmla="*/ 58 w 118"/>
                    <a:gd name="T73" fmla="*/ 89 h 99"/>
                    <a:gd name="T74" fmla="*/ 66 w 118"/>
                    <a:gd name="T75" fmla="*/ 89 h 99"/>
                    <a:gd name="T76" fmla="*/ 66 w 118"/>
                    <a:gd name="T77" fmla="*/ 87 h 99"/>
                    <a:gd name="T78" fmla="*/ 72 w 118"/>
                    <a:gd name="T79" fmla="*/ 79 h 99"/>
                    <a:gd name="T80" fmla="*/ 87 w 118"/>
                    <a:gd name="T81" fmla="*/ 82 h 99"/>
                    <a:gd name="T82" fmla="*/ 96 w 118"/>
                    <a:gd name="T83" fmla="*/ 79 h 99"/>
                    <a:gd name="T84" fmla="*/ 101 w 118"/>
                    <a:gd name="T85" fmla="*/ 76 h 99"/>
                    <a:gd name="T86" fmla="*/ 102 w 118"/>
                    <a:gd name="T87" fmla="*/ 73 h 99"/>
                    <a:gd name="T88" fmla="*/ 99 w 118"/>
                    <a:gd name="T89" fmla="*/ 72 h 99"/>
                    <a:gd name="T90" fmla="*/ 97 w 118"/>
                    <a:gd name="T91" fmla="*/ 68 h 99"/>
                    <a:gd name="T92" fmla="*/ 94 w 118"/>
                    <a:gd name="T93" fmla="*/ 64 h 99"/>
                    <a:gd name="T94" fmla="*/ 96 w 118"/>
                    <a:gd name="T95" fmla="*/ 62 h 99"/>
                    <a:gd name="T96" fmla="*/ 98 w 118"/>
                    <a:gd name="T97" fmla="*/ 59 h 99"/>
                    <a:gd name="T98" fmla="*/ 97 w 118"/>
                    <a:gd name="T99" fmla="*/ 55 h 99"/>
                    <a:gd name="T100" fmla="*/ 95 w 118"/>
                    <a:gd name="T101" fmla="*/ 51 h 99"/>
                    <a:gd name="T102" fmla="*/ 92 w 118"/>
                    <a:gd name="T103" fmla="*/ 50 h 99"/>
                    <a:gd name="T104" fmla="*/ 91 w 118"/>
                    <a:gd name="T105" fmla="*/ 48 h 99"/>
                    <a:gd name="T106" fmla="*/ 96 w 118"/>
                    <a:gd name="T107" fmla="*/ 41 h 99"/>
                    <a:gd name="T108" fmla="*/ 100 w 118"/>
                    <a:gd name="T109" fmla="*/ 38 h 99"/>
                    <a:gd name="T110" fmla="*/ 102 w 118"/>
                    <a:gd name="T111" fmla="*/ 32 h 99"/>
                    <a:gd name="T112" fmla="*/ 105 w 118"/>
                    <a:gd name="T113" fmla="*/ 25 h 99"/>
                    <a:gd name="T114" fmla="*/ 103 w 118"/>
                    <a:gd name="T115" fmla="*/ 23 h 99"/>
                    <a:gd name="T116" fmla="*/ 116 w 118"/>
                    <a:gd name="T117" fmla="*/ 83 h 99"/>
                    <a:gd name="T118" fmla="*/ 111 w 118"/>
                    <a:gd name="T119" fmla="*/ 87 h 99"/>
                    <a:gd name="T120" fmla="*/ 114 w 118"/>
                    <a:gd name="T121" fmla="*/ 98 h 99"/>
                    <a:gd name="T122" fmla="*/ 116 w 118"/>
                    <a:gd name="T123" fmla="*/ 83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8" h="99">
                      <a:moveTo>
                        <a:pt x="103" y="23"/>
                      </a:moveTo>
                      <a:cubicBezTo>
                        <a:pt x="102" y="23"/>
                        <a:pt x="101" y="21"/>
                        <a:pt x="99" y="21"/>
                      </a:cubicBezTo>
                      <a:cubicBezTo>
                        <a:pt x="97" y="21"/>
                        <a:pt x="95" y="20"/>
                        <a:pt x="94" y="19"/>
                      </a:cubicBezTo>
                      <a:cubicBezTo>
                        <a:pt x="93" y="17"/>
                        <a:pt x="87" y="17"/>
                        <a:pt x="86" y="17"/>
                      </a:cubicBezTo>
                      <a:cubicBezTo>
                        <a:pt x="84" y="18"/>
                        <a:pt x="83" y="14"/>
                        <a:pt x="81" y="15"/>
                      </a:cubicBezTo>
                      <a:cubicBezTo>
                        <a:pt x="80" y="15"/>
                        <a:pt x="79" y="12"/>
                        <a:pt x="79" y="11"/>
                      </a:cubicBezTo>
                      <a:cubicBezTo>
                        <a:pt x="79" y="9"/>
                        <a:pt x="77" y="12"/>
                        <a:pt x="76" y="13"/>
                      </a:cubicBezTo>
                      <a:cubicBezTo>
                        <a:pt x="74" y="13"/>
                        <a:pt x="73" y="11"/>
                        <a:pt x="73" y="10"/>
                      </a:cubicBezTo>
                      <a:cubicBezTo>
                        <a:pt x="73" y="9"/>
                        <a:pt x="70" y="8"/>
                        <a:pt x="68" y="7"/>
                      </a:cubicBezTo>
                      <a:cubicBezTo>
                        <a:pt x="67" y="6"/>
                        <a:pt x="65" y="3"/>
                        <a:pt x="64" y="4"/>
                      </a:cubicBezTo>
                      <a:cubicBezTo>
                        <a:pt x="63" y="6"/>
                        <a:pt x="61" y="3"/>
                        <a:pt x="61" y="1"/>
                      </a:cubicBezTo>
                      <a:cubicBezTo>
                        <a:pt x="61" y="1"/>
                        <a:pt x="61" y="1"/>
                        <a:pt x="60" y="0"/>
                      </a:cubicBezTo>
                      <a:cubicBezTo>
                        <a:pt x="60" y="0"/>
                        <a:pt x="59" y="0"/>
                        <a:pt x="58" y="0"/>
                      </a:cubicBezTo>
                      <a:cubicBezTo>
                        <a:pt x="56" y="0"/>
                        <a:pt x="53" y="3"/>
                        <a:pt x="54" y="7"/>
                      </a:cubicBezTo>
                      <a:cubicBezTo>
                        <a:pt x="54" y="12"/>
                        <a:pt x="50" y="13"/>
                        <a:pt x="45" y="13"/>
                      </a:cubicBezTo>
                      <a:cubicBezTo>
                        <a:pt x="40" y="13"/>
                        <a:pt x="42" y="17"/>
                        <a:pt x="40" y="19"/>
                      </a:cubicBezTo>
                      <a:cubicBezTo>
                        <a:pt x="38" y="20"/>
                        <a:pt x="31" y="18"/>
                        <a:pt x="30" y="15"/>
                      </a:cubicBezTo>
                      <a:cubicBezTo>
                        <a:pt x="29" y="13"/>
                        <a:pt x="23" y="15"/>
                        <a:pt x="25" y="18"/>
                      </a:cubicBezTo>
                      <a:cubicBezTo>
                        <a:pt x="28" y="21"/>
                        <a:pt x="28" y="26"/>
                        <a:pt x="26" y="27"/>
                      </a:cubicBezTo>
                      <a:cubicBezTo>
                        <a:pt x="25" y="28"/>
                        <a:pt x="21" y="25"/>
                        <a:pt x="19" y="27"/>
                      </a:cubicBezTo>
                      <a:cubicBezTo>
                        <a:pt x="17" y="28"/>
                        <a:pt x="17" y="25"/>
                        <a:pt x="14" y="24"/>
                      </a:cubicBezTo>
                      <a:cubicBezTo>
                        <a:pt x="12" y="23"/>
                        <a:pt x="11" y="25"/>
                        <a:pt x="7" y="25"/>
                      </a:cubicBezTo>
                      <a:cubicBezTo>
                        <a:pt x="2" y="25"/>
                        <a:pt x="0" y="27"/>
                        <a:pt x="2" y="29"/>
                      </a:cubicBezTo>
                      <a:cubicBezTo>
                        <a:pt x="3" y="31"/>
                        <a:pt x="1" y="32"/>
                        <a:pt x="3" y="34"/>
                      </a:cubicBezTo>
                      <a:cubicBezTo>
                        <a:pt x="4" y="35"/>
                        <a:pt x="9" y="35"/>
                        <a:pt x="13" y="37"/>
                      </a:cubicBezTo>
                      <a:cubicBezTo>
                        <a:pt x="17" y="39"/>
                        <a:pt x="18" y="38"/>
                        <a:pt x="20" y="39"/>
                      </a:cubicBezTo>
                      <a:cubicBezTo>
                        <a:pt x="22" y="41"/>
                        <a:pt x="23" y="40"/>
                        <a:pt x="23" y="43"/>
                      </a:cubicBezTo>
                      <a:cubicBezTo>
                        <a:pt x="23" y="46"/>
                        <a:pt x="25" y="49"/>
                        <a:pt x="29" y="50"/>
                      </a:cubicBezTo>
                      <a:cubicBezTo>
                        <a:pt x="33" y="51"/>
                        <a:pt x="30" y="53"/>
                        <a:pt x="31" y="56"/>
                      </a:cubicBezTo>
                      <a:cubicBezTo>
                        <a:pt x="33" y="58"/>
                        <a:pt x="30" y="62"/>
                        <a:pt x="30" y="66"/>
                      </a:cubicBezTo>
                      <a:cubicBezTo>
                        <a:pt x="31" y="69"/>
                        <a:pt x="28" y="79"/>
                        <a:pt x="26" y="80"/>
                      </a:cubicBezTo>
                      <a:cubicBezTo>
                        <a:pt x="26" y="80"/>
                        <a:pt x="26" y="80"/>
                        <a:pt x="26" y="80"/>
                      </a:cubicBezTo>
                      <a:cubicBezTo>
                        <a:pt x="28" y="81"/>
                        <a:pt x="30" y="82"/>
                        <a:pt x="30" y="82"/>
                      </a:cubicBezTo>
                      <a:cubicBezTo>
                        <a:pt x="32" y="84"/>
                        <a:pt x="36" y="85"/>
                        <a:pt x="38" y="86"/>
                      </a:cubicBezTo>
                      <a:cubicBezTo>
                        <a:pt x="41" y="88"/>
                        <a:pt x="45" y="87"/>
                        <a:pt x="45" y="86"/>
                      </a:cubicBezTo>
                      <a:cubicBezTo>
                        <a:pt x="45" y="84"/>
                        <a:pt x="47" y="85"/>
                        <a:pt x="48" y="86"/>
                      </a:cubicBezTo>
                      <a:cubicBezTo>
                        <a:pt x="50" y="88"/>
                        <a:pt x="55" y="88"/>
                        <a:pt x="58" y="89"/>
                      </a:cubicBezTo>
                      <a:cubicBezTo>
                        <a:pt x="60" y="89"/>
                        <a:pt x="63" y="89"/>
                        <a:pt x="66" y="89"/>
                      </a:cubicBezTo>
                      <a:cubicBezTo>
                        <a:pt x="66" y="88"/>
                        <a:pt x="66" y="88"/>
                        <a:pt x="66" y="87"/>
                      </a:cubicBezTo>
                      <a:cubicBezTo>
                        <a:pt x="64" y="82"/>
                        <a:pt x="68" y="80"/>
                        <a:pt x="72" y="79"/>
                      </a:cubicBezTo>
                      <a:cubicBezTo>
                        <a:pt x="76" y="78"/>
                        <a:pt x="85" y="81"/>
                        <a:pt x="87" y="82"/>
                      </a:cubicBezTo>
                      <a:cubicBezTo>
                        <a:pt x="89" y="84"/>
                        <a:pt x="92" y="83"/>
                        <a:pt x="96" y="79"/>
                      </a:cubicBezTo>
                      <a:cubicBezTo>
                        <a:pt x="98" y="77"/>
                        <a:pt x="100" y="76"/>
                        <a:pt x="101" y="76"/>
                      </a:cubicBezTo>
                      <a:cubicBezTo>
                        <a:pt x="102" y="75"/>
                        <a:pt x="102" y="74"/>
                        <a:pt x="102" y="73"/>
                      </a:cubicBezTo>
                      <a:cubicBezTo>
                        <a:pt x="103" y="72"/>
                        <a:pt x="100" y="72"/>
                        <a:pt x="99" y="72"/>
                      </a:cubicBezTo>
                      <a:cubicBezTo>
                        <a:pt x="97" y="72"/>
                        <a:pt x="96" y="70"/>
                        <a:pt x="97" y="68"/>
                      </a:cubicBezTo>
                      <a:cubicBezTo>
                        <a:pt x="98" y="66"/>
                        <a:pt x="96" y="66"/>
                        <a:pt x="94" y="64"/>
                      </a:cubicBezTo>
                      <a:cubicBezTo>
                        <a:pt x="93" y="62"/>
                        <a:pt x="95" y="62"/>
                        <a:pt x="96" y="62"/>
                      </a:cubicBezTo>
                      <a:cubicBezTo>
                        <a:pt x="97" y="61"/>
                        <a:pt x="99" y="59"/>
                        <a:pt x="98" y="59"/>
                      </a:cubicBezTo>
                      <a:cubicBezTo>
                        <a:pt x="97" y="58"/>
                        <a:pt x="96" y="57"/>
                        <a:pt x="97" y="55"/>
                      </a:cubicBezTo>
                      <a:cubicBezTo>
                        <a:pt x="98" y="53"/>
                        <a:pt x="95" y="52"/>
                        <a:pt x="95" y="51"/>
                      </a:cubicBezTo>
                      <a:cubicBezTo>
                        <a:pt x="95" y="49"/>
                        <a:pt x="93" y="48"/>
                        <a:pt x="92" y="50"/>
                      </a:cubicBezTo>
                      <a:cubicBezTo>
                        <a:pt x="90" y="52"/>
                        <a:pt x="90" y="51"/>
                        <a:pt x="91" y="48"/>
                      </a:cubicBezTo>
                      <a:cubicBezTo>
                        <a:pt x="92" y="45"/>
                        <a:pt x="96" y="43"/>
                        <a:pt x="96" y="41"/>
                      </a:cubicBezTo>
                      <a:cubicBezTo>
                        <a:pt x="96" y="40"/>
                        <a:pt x="98" y="38"/>
                        <a:pt x="100" y="38"/>
                      </a:cubicBezTo>
                      <a:cubicBezTo>
                        <a:pt x="102" y="38"/>
                        <a:pt x="101" y="34"/>
                        <a:pt x="102" y="32"/>
                      </a:cubicBezTo>
                      <a:cubicBezTo>
                        <a:pt x="102" y="30"/>
                        <a:pt x="103" y="27"/>
                        <a:pt x="105" y="25"/>
                      </a:cubicBezTo>
                      <a:cubicBezTo>
                        <a:pt x="107" y="23"/>
                        <a:pt x="104" y="22"/>
                        <a:pt x="103" y="23"/>
                      </a:cubicBezTo>
                      <a:close/>
                      <a:moveTo>
                        <a:pt x="116" y="83"/>
                      </a:moveTo>
                      <a:cubicBezTo>
                        <a:pt x="115" y="83"/>
                        <a:pt x="114" y="85"/>
                        <a:pt x="111" y="87"/>
                      </a:cubicBezTo>
                      <a:cubicBezTo>
                        <a:pt x="108" y="89"/>
                        <a:pt x="111" y="99"/>
                        <a:pt x="114" y="98"/>
                      </a:cubicBezTo>
                      <a:cubicBezTo>
                        <a:pt x="118" y="98"/>
                        <a:pt x="117" y="83"/>
                        <a:pt x="116" y="8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19" name="Freeform 102">
                  <a:extLst>
                    <a:ext uri="{FF2B5EF4-FFF2-40B4-BE49-F238E27FC236}">
                      <a16:creationId xmlns:a16="http://schemas.microsoft.com/office/drawing/2014/main" id="{19B7F31D-3C87-4ABF-A6DF-6FCB88CC3B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540514" y="-9216917"/>
                  <a:ext cx="120000" cy="61622"/>
                </a:xfrm>
                <a:custGeom>
                  <a:avLst/>
                  <a:gdLst>
                    <a:gd name="T0" fmla="*/ 19 w 19"/>
                    <a:gd name="T1" fmla="*/ 4 h 10"/>
                    <a:gd name="T2" fmla="*/ 10 w 19"/>
                    <a:gd name="T3" fmla="*/ 2 h 10"/>
                    <a:gd name="T4" fmla="*/ 6 w 19"/>
                    <a:gd name="T5" fmla="*/ 0 h 10"/>
                    <a:gd name="T6" fmla="*/ 6 w 19"/>
                    <a:gd name="T7" fmla="*/ 0 h 10"/>
                    <a:gd name="T8" fmla="*/ 0 w 19"/>
                    <a:gd name="T9" fmla="*/ 5 h 10"/>
                    <a:gd name="T10" fmla="*/ 16 w 19"/>
                    <a:gd name="T11" fmla="*/ 10 h 10"/>
                    <a:gd name="T12" fmla="*/ 19 w 19"/>
                    <a:gd name="T13" fmla="*/ 9 h 10"/>
                    <a:gd name="T14" fmla="*/ 19 w 19"/>
                    <a:gd name="T15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" h="10">
                      <a:moveTo>
                        <a:pt x="19" y="4"/>
                      </a:moveTo>
                      <a:cubicBezTo>
                        <a:pt x="17" y="2"/>
                        <a:pt x="14" y="4"/>
                        <a:pt x="10" y="2"/>
                      </a:cubicBezTo>
                      <a:cubicBezTo>
                        <a:pt x="9" y="1"/>
                        <a:pt x="8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0"/>
                        <a:pt x="3" y="2"/>
                        <a:pt x="0" y="5"/>
                      </a:cubicBezTo>
                      <a:cubicBezTo>
                        <a:pt x="3" y="7"/>
                        <a:pt x="13" y="10"/>
                        <a:pt x="16" y="10"/>
                      </a:cubicBezTo>
                      <a:cubicBezTo>
                        <a:pt x="17" y="10"/>
                        <a:pt x="18" y="9"/>
                        <a:pt x="19" y="9"/>
                      </a:cubicBezTo>
                      <a:cubicBezTo>
                        <a:pt x="19" y="6"/>
                        <a:pt x="19" y="4"/>
                        <a:pt x="19" y="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0" name="Freeform 103">
                  <a:extLst>
                    <a:ext uri="{FF2B5EF4-FFF2-40B4-BE49-F238E27FC236}">
                      <a16:creationId xmlns:a16="http://schemas.microsoft.com/office/drawing/2014/main" id="{9C391C77-1D49-47A5-9428-D64A09B90B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501595" y="-9310972"/>
                  <a:ext cx="308106" cy="168647"/>
                </a:xfrm>
                <a:custGeom>
                  <a:avLst/>
                  <a:gdLst>
                    <a:gd name="T0" fmla="*/ 21 w 50"/>
                    <a:gd name="T1" fmla="*/ 24 h 27"/>
                    <a:gd name="T2" fmla="*/ 24 w 50"/>
                    <a:gd name="T3" fmla="*/ 19 h 27"/>
                    <a:gd name="T4" fmla="*/ 32 w 50"/>
                    <a:gd name="T5" fmla="*/ 15 h 27"/>
                    <a:gd name="T6" fmla="*/ 40 w 50"/>
                    <a:gd name="T7" fmla="*/ 14 h 27"/>
                    <a:gd name="T8" fmla="*/ 50 w 50"/>
                    <a:gd name="T9" fmla="*/ 10 h 27"/>
                    <a:gd name="T10" fmla="*/ 41 w 50"/>
                    <a:gd name="T11" fmla="*/ 3 h 27"/>
                    <a:gd name="T12" fmla="*/ 23 w 50"/>
                    <a:gd name="T13" fmla="*/ 3 h 27"/>
                    <a:gd name="T14" fmla="*/ 8 w 50"/>
                    <a:gd name="T15" fmla="*/ 4 h 27"/>
                    <a:gd name="T16" fmla="*/ 8 w 50"/>
                    <a:gd name="T17" fmla="*/ 4 h 27"/>
                    <a:gd name="T18" fmla="*/ 4 w 50"/>
                    <a:gd name="T19" fmla="*/ 9 h 27"/>
                    <a:gd name="T20" fmla="*/ 0 w 50"/>
                    <a:gd name="T21" fmla="*/ 15 h 27"/>
                    <a:gd name="T22" fmla="*/ 4 w 50"/>
                    <a:gd name="T23" fmla="*/ 17 h 27"/>
                    <a:gd name="T24" fmla="*/ 13 w 50"/>
                    <a:gd name="T25" fmla="*/ 19 h 27"/>
                    <a:gd name="T26" fmla="*/ 13 w 50"/>
                    <a:gd name="T27" fmla="*/ 24 h 27"/>
                    <a:gd name="T28" fmla="*/ 15 w 50"/>
                    <a:gd name="T29" fmla="*/ 24 h 27"/>
                    <a:gd name="T30" fmla="*/ 16 w 50"/>
                    <a:gd name="T31" fmla="*/ 27 h 27"/>
                    <a:gd name="T32" fmla="*/ 19 w 50"/>
                    <a:gd name="T33" fmla="*/ 26 h 27"/>
                    <a:gd name="T34" fmla="*/ 21 w 50"/>
                    <a:gd name="T35" fmla="*/ 2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0" h="27">
                      <a:moveTo>
                        <a:pt x="21" y="24"/>
                      </a:moveTo>
                      <a:cubicBezTo>
                        <a:pt x="21" y="23"/>
                        <a:pt x="19" y="19"/>
                        <a:pt x="24" y="19"/>
                      </a:cubicBezTo>
                      <a:cubicBezTo>
                        <a:pt x="28" y="19"/>
                        <a:pt x="32" y="18"/>
                        <a:pt x="32" y="15"/>
                      </a:cubicBezTo>
                      <a:cubicBezTo>
                        <a:pt x="33" y="12"/>
                        <a:pt x="39" y="14"/>
                        <a:pt x="40" y="14"/>
                      </a:cubicBezTo>
                      <a:cubicBezTo>
                        <a:pt x="41" y="13"/>
                        <a:pt x="46" y="10"/>
                        <a:pt x="50" y="10"/>
                      </a:cubicBezTo>
                      <a:cubicBezTo>
                        <a:pt x="50" y="6"/>
                        <a:pt x="44" y="7"/>
                        <a:pt x="41" y="3"/>
                      </a:cubicBezTo>
                      <a:cubicBezTo>
                        <a:pt x="37" y="0"/>
                        <a:pt x="28" y="1"/>
                        <a:pt x="23" y="3"/>
                      </a:cubicBezTo>
                      <a:cubicBezTo>
                        <a:pt x="19" y="5"/>
                        <a:pt x="13" y="1"/>
                        <a:pt x="8" y="4"/>
                      </a:cubicBezTo>
                      <a:cubicBezTo>
                        <a:pt x="8" y="4"/>
                        <a:pt x="8" y="4"/>
                        <a:pt x="8" y="4"/>
                      </a:cubicBezTo>
                      <a:cubicBezTo>
                        <a:pt x="7" y="5"/>
                        <a:pt x="6" y="7"/>
                        <a:pt x="4" y="9"/>
                      </a:cubicBezTo>
                      <a:cubicBezTo>
                        <a:pt x="1" y="11"/>
                        <a:pt x="2" y="14"/>
                        <a:pt x="0" y="15"/>
                      </a:cubicBezTo>
                      <a:cubicBezTo>
                        <a:pt x="2" y="15"/>
                        <a:pt x="3" y="16"/>
                        <a:pt x="4" y="17"/>
                      </a:cubicBezTo>
                      <a:cubicBezTo>
                        <a:pt x="8" y="19"/>
                        <a:pt x="11" y="17"/>
                        <a:pt x="13" y="19"/>
                      </a:cubicBezTo>
                      <a:cubicBezTo>
                        <a:pt x="13" y="19"/>
                        <a:pt x="13" y="21"/>
                        <a:pt x="13" y="24"/>
                      </a:cubicBezTo>
                      <a:cubicBezTo>
                        <a:pt x="13" y="23"/>
                        <a:pt x="14" y="23"/>
                        <a:pt x="15" y="24"/>
                      </a:cubicBezTo>
                      <a:cubicBezTo>
                        <a:pt x="16" y="25"/>
                        <a:pt x="16" y="26"/>
                        <a:pt x="16" y="27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19" y="26"/>
                        <a:pt x="21" y="25"/>
                        <a:pt x="21" y="2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1" name="Freeform 104">
                  <a:extLst>
                    <a:ext uri="{FF2B5EF4-FFF2-40B4-BE49-F238E27FC236}">
                      <a16:creationId xmlns:a16="http://schemas.microsoft.com/office/drawing/2014/main" id="{B38DC8A6-722B-4D16-B046-1B8181DFF7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879959" y="-10186637"/>
                  <a:ext cx="1514579" cy="937289"/>
                </a:xfrm>
                <a:custGeom>
                  <a:avLst/>
                  <a:gdLst>
                    <a:gd name="T0" fmla="*/ 214 w 245"/>
                    <a:gd name="T1" fmla="*/ 142 h 152"/>
                    <a:gd name="T2" fmla="*/ 211 w 245"/>
                    <a:gd name="T3" fmla="*/ 128 h 152"/>
                    <a:gd name="T4" fmla="*/ 231 w 245"/>
                    <a:gd name="T5" fmla="*/ 123 h 152"/>
                    <a:gd name="T6" fmla="*/ 238 w 245"/>
                    <a:gd name="T7" fmla="*/ 115 h 152"/>
                    <a:gd name="T8" fmla="*/ 244 w 245"/>
                    <a:gd name="T9" fmla="*/ 99 h 152"/>
                    <a:gd name="T10" fmla="*/ 224 w 245"/>
                    <a:gd name="T11" fmla="*/ 98 h 152"/>
                    <a:gd name="T12" fmla="*/ 212 w 245"/>
                    <a:gd name="T13" fmla="*/ 114 h 152"/>
                    <a:gd name="T14" fmla="*/ 200 w 245"/>
                    <a:gd name="T15" fmla="*/ 121 h 152"/>
                    <a:gd name="T16" fmla="*/ 172 w 245"/>
                    <a:gd name="T17" fmla="*/ 121 h 152"/>
                    <a:gd name="T18" fmla="*/ 159 w 245"/>
                    <a:gd name="T19" fmla="*/ 102 h 152"/>
                    <a:gd name="T20" fmla="*/ 159 w 245"/>
                    <a:gd name="T21" fmla="*/ 64 h 152"/>
                    <a:gd name="T22" fmla="*/ 156 w 245"/>
                    <a:gd name="T23" fmla="*/ 59 h 152"/>
                    <a:gd name="T24" fmla="*/ 143 w 245"/>
                    <a:gd name="T25" fmla="*/ 50 h 152"/>
                    <a:gd name="T26" fmla="*/ 133 w 245"/>
                    <a:gd name="T27" fmla="*/ 33 h 152"/>
                    <a:gd name="T28" fmla="*/ 112 w 245"/>
                    <a:gd name="T29" fmla="*/ 33 h 152"/>
                    <a:gd name="T30" fmla="*/ 100 w 245"/>
                    <a:gd name="T31" fmla="*/ 23 h 152"/>
                    <a:gd name="T32" fmla="*/ 86 w 245"/>
                    <a:gd name="T33" fmla="*/ 8 h 152"/>
                    <a:gd name="T34" fmla="*/ 71 w 245"/>
                    <a:gd name="T35" fmla="*/ 12 h 152"/>
                    <a:gd name="T36" fmla="*/ 27 w 245"/>
                    <a:gd name="T37" fmla="*/ 5 h 152"/>
                    <a:gd name="T38" fmla="*/ 0 w 245"/>
                    <a:gd name="T39" fmla="*/ 2 h 152"/>
                    <a:gd name="T40" fmla="*/ 11 w 245"/>
                    <a:gd name="T41" fmla="*/ 25 h 152"/>
                    <a:gd name="T42" fmla="*/ 25 w 245"/>
                    <a:gd name="T43" fmla="*/ 43 h 152"/>
                    <a:gd name="T44" fmla="*/ 28 w 245"/>
                    <a:gd name="T45" fmla="*/ 51 h 152"/>
                    <a:gd name="T46" fmla="*/ 39 w 245"/>
                    <a:gd name="T47" fmla="*/ 67 h 152"/>
                    <a:gd name="T48" fmla="*/ 57 w 245"/>
                    <a:gd name="T49" fmla="*/ 85 h 152"/>
                    <a:gd name="T50" fmla="*/ 59 w 245"/>
                    <a:gd name="T51" fmla="*/ 76 h 152"/>
                    <a:gd name="T52" fmla="*/ 50 w 245"/>
                    <a:gd name="T53" fmla="*/ 66 h 152"/>
                    <a:gd name="T54" fmla="*/ 36 w 245"/>
                    <a:gd name="T55" fmla="*/ 43 h 152"/>
                    <a:gd name="T56" fmla="*/ 31 w 245"/>
                    <a:gd name="T57" fmla="*/ 30 h 152"/>
                    <a:gd name="T58" fmla="*/ 20 w 245"/>
                    <a:gd name="T59" fmla="*/ 21 h 152"/>
                    <a:gd name="T60" fmla="*/ 20 w 245"/>
                    <a:gd name="T61" fmla="*/ 8 h 152"/>
                    <a:gd name="T62" fmla="*/ 27 w 245"/>
                    <a:gd name="T63" fmla="*/ 11 h 152"/>
                    <a:gd name="T64" fmla="*/ 34 w 245"/>
                    <a:gd name="T65" fmla="*/ 22 h 152"/>
                    <a:gd name="T66" fmla="*/ 39 w 245"/>
                    <a:gd name="T67" fmla="*/ 34 h 152"/>
                    <a:gd name="T68" fmla="*/ 52 w 245"/>
                    <a:gd name="T69" fmla="*/ 43 h 152"/>
                    <a:gd name="T70" fmla="*/ 61 w 245"/>
                    <a:gd name="T71" fmla="*/ 53 h 152"/>
                    <a:gd name="T72" fmla="*/ 68 w 245"/>
                    <a:gd name="T73" fmla="*/ 64 h 152"/>
                    <a:gd name="T74" fmla="*/ 91 w 245"/>
                    <a:gd name="T75" fmla="*/ 89 h 152"/>
                    <a:gd name="T76" fmla="*/ 95 w 245"/>
                    <a:gd name="T77" fmla="*/ 104 h 152"/>
                    <a:gd name="T78" fmla="*/ 99 w 245"/>
                    <a:gd name="T79" fmla="*/ 116 h 152"/>
                    <a:gd name="T80" fmla="*/ 123 w 245"/>
                    <a:gd name="T81" fmla="*/ 128 h 152"/>
                    <a:gd name="T82" fmla="*/ 157 w 245"/>
                    <a:gd name="T83" fmla="*/ 144 h 152"/>
                    <a:gd name="T84" fmla="*/ 188 w 245"/>
                    <a:gd name="T85" fmla="*/ 145 h 152"/>
                    <a:gd name="T86" fmla="*/ 204 w 245"/>
                    <a:gd name="T87" fmla="*/ 143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45" h="152">
                      <a:moveTo>
                        <a:pt x="204" y="143"/>
                      </a:moveTo>
                      <a:cubicBezTo>
                        <a:pt x="204" y="143"/>
                        <a:pt x="213" y="144"/>
                        <a:pt x="214" y="142"/>
                      </a:cubicBezTo>
                      <a:cubicBezTo>
                        <a:pt x="215" y="140"/>
                        <a:pt x="208" y="135"/>
                        <a:pt x="208" y="134"/>
                      </a:cubicBezTo>
                      <a:cubicBezTo>
                        <a:pt x="209" y="134"/>
                        <a:pt x="210" y="128"/>
                        <a:pt x="211" y="128"/>
                      </a:cubicBezTo>
                      <a:cubicBezTo>
                        <a:pt x="212" y="128"/>
                        <a:pt x="225" y="129"/>
                        <a:pt x="226" y="128"/>
                      </a:cubicBezTo>
                      <a:cubicBezTo>
                        <a:pt x="226" y="128"/>
                        <a:pt x="229" y="124"/>
                        <a:pt x="231" y="123"/>
                      </a:cubicBezTo>
                      <a:cubicBezTo>
                        <a:pt x="232" y="123"/>
                        <a:pt x="233" y="124"/>
                        <a:pt x="235" y="126"/>
                      </a:cubicBezTo>
                      <a:cubicBezTo>
                        <a:pt x="237" y="124"/>
                        <a:pt x="238" y="119"/>
                        <a:pt x="238" y="115"/>
                      </a:cubicBezTo>
                      <a:cubicBezTo>
                        <a:pt x="239" y="110"/>
                        <a:pt x="237" y="108"/>
                        <a:pt x="240" y="106"/>
                      </a:cubicBezTo>
                      <a:cubicBezTo>
                        <a:pt x="242" y="103"/>
                        <a:pt x="245" y="103"/>
                        <a:pt x="244" y="99"/>
                      </a:cubicBezTo>
                      <a:cubicBezTo>
                        <a:pt x="243" y="95"/>
                        <a:pt x="240" y="99"/>
                        <a:pt x="237" y="97"/>
                      </a:cubicBezTo>
                      <a:cubicBezTo>
                        <a:pt x="234" y="96"/>
                        <a:pt x="232" y="97"/>
                        <a:pt x="224" y="98"/>
                      </a:cubicBezTo>
                      <a:cubicBezTo>
                        <a:pt x="217" y="99"/>
                        <a:pt x="214" y="102"/>
                        <a:pt x="214" y="107"/>
                      </a:cubicBezTo>
                      <a:cubicBezTo>
                        <a:pt x="214" y="112"/>
                        <a:pt x="212" y="110"/>
                        <a:pt x="212" y="114"/>
                      </a:cubicBezTo>
                      <a:cubicBezTo>
                        <a:pt x="212" y="119"/>
                        <a:pt x="206" y="119"/>
                        <a:pt x="206" y="122"/>
                      </a:cubicBezTo>
                      <a:cubicBezTo>
                        <a:pt x="207" y="124"/>
                        <a:pt x="202" y="122"/>
                        <a:pt x="200" y="121"/>
                      </a:cubicBezTo>
                      <a:cubicBezTo>
                        <a:pt x="199" y="120"/>
                        <a:pt x="184" y="125"/>
                        <a:pt x="181" y="125"/>
                      </a:cubicBezTo>
                      <a:cubicBezTo>
                        <a:pt x="179" y="125"/>
                        <a:pt x="175" y="121"/>
                        <a:pt x="172" y="121"/>
                      </a:cubicBezTo>
                      <a:cubicBezTo>
                        <a:pt x="169" y="121"/>
                        <a:pt x="168" y="116"/>
                        <a:pt x="168" y="112"/>
                      </a:cubicBezTo>
                      <a:cubicBezTo>
                        <a:pt x="167" y="109"/>
                        <a:pt x="162" y="105"/>
                        <a:pt x="159" y="102"/>
                      </a:cubicBezTo>
                      <a:cubicBezTo>
                        <a:pt x="157" y="99"/>
                        <a:pt x="156" y="91"/>
                        <a:pt x="156" y="86"/>
                      </a:cubicBezTo>
                      <a:cubicBezTo>
                        <a:pt x="156" y="81"/>
                        <a:pt x="155" y="73"/>
                        <a:pt x="159" y="64"/>
                      </a:cubicBezTo>
                      <a:cubicBezTo>
                        <a:pt x="159" y="63"/>
                        <a:pt x="159" y="61"/>
                        <a:pt x="159" y="60"/>
                      </a:cubicBezTo>
                      <a:cubicBezTo>
                        <a:pt x="158" y="60"/>
                        <a:pt x="157" y="59"/>
                        <a:pt x="156" y="59"/>
                      </a:cubicBezTo>
                      <a:cubicBezTo>
                        <a:pt x="153" y="59"/>
                        <a:pt x="146" y="55"/>
                        <a:pt x="145" y="55"/>
                      </a:cubicBezTo>
                      <a:cubicBezTo>
                        <a:pt x="144" y="55"/>
                        <a:pt x="144" y="52"/>
                        <a:pt x="143" y="50"/>
                      </a:cubicBezTo>
                      <a:cubicBezTo>
                        <a:pt x="141" y="49"/>
                        <a:pt x="142" y="45"/>
                        <a:pt x="141" y="44"/>
                      </a:cubicBezTo>
                      <a:cubicBezTo>
                        <a:pt x="139" y="43"/>
                        <a:pt x="135" y="39"/>
                        <a:pt x="133" y="33"/>
                      </a:cubicBezTo>
                      <a:cubicBezTo>
                        <a:pt x="132" y="28"/>
                        <a:pt x="122" y="25"/>
                        <a:pt x="119" y="25"/>
                      </a:cubicBezTo>
                      <a:cubicBezTo>
                        <a:pt x="115" y="25"/>
                        <a:pt x="113" y="32"/>
                        <a:pt x="112" y="33"/>
                      </a:cubicBezTo>
                      <a:cubicBezTo>
                        <a:pt x="112" y="33"/>
                        <a:pt x="105" y="29"/>
                        <a:pt x="103" y="28"/>
                      </a:cubicBezTo>
                      <a:cubicBezTo>
                        <a:pt x="101" y="27"/>
                        <a:pt x="100" y="25"/>
                        <a:pt x="100" y="23"/>
                      </a:cubicBezTo>
                      <a:cubicBezTo>
                        <a:pt x="100" y="20"/>
                        <a:pt x="96" y="17"/>
                        <a:pt x="95" y="16"/>
                      </a:cubicBezTo>
                      <a:cubicBezTo>
                        <a:pt x="94" y="16"/>
                        <a:pt x="86" y="8"/>
                        <a:pt x="86" y="8"/>
                      </a:cubicBezTo>
                      <a:cubicBezTo>
                        <a:pt x="73" y="8"/>
                        <a:pt x="73" y="8"/>
                        <a:pt x="73" y="8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48" y="12"/>
                        <a:pt x="30" y="5"/>
                        <a:pt x="27" y="5"/>
                      </a:cubicBezTo>
                      <a:cubicBezTo>
                        <a:pt x="24" y="4"/>
                        <a:pt x="18" y="0"/>
                        <a:pt x="18" y="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1" y="4"/>
                        <a:pt x="2" y="6"/>
                        <a:pt x="4" y="9"/>
                      </a:cubicBezTo>
                      <a:cubicBezTo>
                        <a:pt x="8" y="14"/>
                        <a:pt x="10" y="22"/>
                        <a:pt x="11" y="25"/>
                      </a:cubicBezTo>
                      <a:cubicBezTo>
                        <a:pt x="11" y="27"/>
                        <a:pt x="16" y="30"/>
                        <a:pt x="21" y="33"/>
                      </a:cubicBezTo>
                      <a:cubicBezTo>
                        <a:pt x="25" y="35"/>
                        <a:pt x="25" y="42"/>
                        <a:pt x="25" y="43"/>
                      </a:cubicBezTo>
                      <a:cubicBezTo>
                        <a:pt x="24" y="45"/>
                        <a:pt x="19" y="42"/>
                        <a:pt x="18" y="44"/>
                      </a:cubicBezTo>
                      <a:cubicBezTo>
                        <a:pt x="18" y="45"/>
                        <a:pt x="25" y="52"/>
                        <a:pt x="28" y="51"/>
                      </a:cubicBezTo>
                      <a:cubicBezTo>
                        <a:pt x="31" y="51"/>
                        <a:pt x="32" y="53"/>
                        <a:pt x="37" y="57"/>
                      </a:cubicBezTo>
                      <a:cubicBezTo>
                        <a:pt x="41" y="61"/>
                        <a:pt x="41" y="65"/>
                        <a:pt x="39" y="67"/>
                      </a:cubicBezTo>
                      <a:cubicBezTo>
                        <a:pt x="37" y="68"/>
                        <a:pt x="43" y="71"/>
                        <a:pt x="49" y="75"/>
                      </a:cubicBezTo>
                      <a:cubicBezTo>
                        <a:pt x="54" y="79"/>
                        <a:pt x="57" y="83"/>
                        <a:pt x="57" y="85"/>
                      </a:cubicBezTo>
                      <a:cubicBezTo>
                        <a:pt x="58" y="87"/>
                        <a:pt x="60" y="85"/>
                        <a:pt x="61" y="83"/>
                      </a:cubicBezTo>
                      <a:cubicBezTo>
                        <a:pt x="62" y="80"/>
                        <a:pt x="59" y="79"/>
                        <a:pt x="59" y="76"/>
                      </a:cubicBezTo>
                      <a:cubicBezTo>
                        <a:pt x="59" y="73"/>
                        <a:pt x="55" y="74"/>
                        <a:pt x="52" y="73"/>
                      </a:cubicBezTo>
                      <a:cubicBezTo>
                        <a:pt x="50" y="73"/>
                        <a:pt x="53" y="68"/>
                        <a:pt x="50" y="66"/>
                      </a:cubicBezTo>
                      <a:cubicBezTo>
                        <a:pt x="48" y="64"/>
                        <a:pt x="46" y="59"/>
                        <a:pt x="45" y="55"/>
                      </a:cubicBezTo>
                      <a:cubicBezTo>
                        <a:pt x="44" y="51"/>
                        <a:pt x="39" y="47"/>
                        <a:pt x="36" y="43"/>
                      </a:cubicBezTo>
                      <a:cubicBezTo>
                        <a:pt x="34" y="38"/>
                        <a:pt x="32" y="35"/>
                        <a:pt x="30" y="34"/>
                      </a:cubicBezTo>
                      <a:cubicBezTo>
                        <a:pt x="28" y="33"/>
                        <a:pt x="32" y="31"/>
                        <a:pt x="31" y="30"/>
                      </a:cubicBezTo>
                      <a:cubicBezTo>
                        <a:pt x="29" y="28"/>
                        <a:pt x="27" y="28"/>
                        <a:pt x="25" y="27"/>
                      </a:cubicBezTo>
                      <a:cubicBezTo>
                        <a:pt x="22" y="26"/>
                        <a:pt x="20" y="24"/>
                        <a:pt x="20" y="21"/>
                      </a:cubicBezTo>
                      <a:cubicBezTo>
                        <a:pt x="20" y="18"/>
                        <a:pt x="18" y="11"/>
                        <a:pt x="17" y="9"/>
                      </a:cubicBezTo>
                      <a:cubicBezTo>
                        <a:pt x="17" y="7"/>
                        <a:pt x="19" y="7"/>
                        <a:pt x="20" y="8"/>
                      </a:cubicBezTo>
                      <a:cubicBezTo>
                        <a:pt x="21" y="9"/>
                        <a:pt x="22" y="10"/>
                        <a:pt x="23" y="9"/>
                      </a:cubicBezTo>
                      <a:cubicBezTo>
                        <a:pt x="24" y="9"/>
                        <a:pt x="27" y="9"/>
                        <a:pt x="27" y="11"/>
                      </a:cubicBezTo>
                      <a:cubicBezTo>
                        <a:pt x="28" y="13"/>
                        <a:pt x="31" y="11"/>
                        <a:pt x="33" y="12"/>
                      </a:cubicBezTo>
                      <a:cubicBezTo>
                        <a:pt x="34" y="13"/>
                        <a:pt x="30" y="14"/>
                        <a:pt x="34" y="22"/>
                      </a:cubicBezTo>
                      <a:cubicBezTo>
                        <a:pt x="39" y="31"/>
                        <a:pt x="36" y="26"/>
                        <a:pt x="36" y="32"/>
                      </a:cubicBezTo>
                      <a:cubicBezTo>
                        <a:pt x="36" y="37"/>
                        <a:pt x="39" y="35"/>
                        <a:pt x="39" y="34"/>
                      </a:cubicBezTo>
                      <a:cubicBezTo>
                        <a:pt x="40" y="33"/>
                        <a:pt x="43" y="35"/>
                        <a:pt x="45" y="38"/>
                      </a:cubicBezTo>
                      <a:cubicBezTo>
                        <a:pt x="47" y="41"/>
                        <a:pt x="52" y="41"/>
                        <a:pt x="52" y="43"/>
                      </a:cubicBezTo>
                      <a:cubicBezTo>
                        <a:pt x="52" y="45"/>
                        <a:pt x="53" y="48"/>
                        <a:pt x="56" y="48"/>
                      </a:cubicBezTo>
                      <a:cubicBezTo>
                        <a:pt x="59" y="49"/>
                        <a:pt x="59" y="52"/>
                        <a:pt x="61" y="53"/>
                      </a:cubicBezTo>
                      <a:cubicBezTo>
                        <a:pt x="63" y="53"/>
                        <a:pt x="64" y="55"/>
                        <a:pt x="63" y="57"/>
                      </a:cubicBezTo>
                      <a:cubicBezTo>
                        <a:pt x="62" y="60"/>
                        <a:pt x="63" y="62"/>
                        <a:pt x="68" y="64"/>
                      </a:cubicBezTo>
                      <a:cubicBezTo>
                        <a:pt x="73" y="66"/>
                        <a:pt x="70" y="66"/>
                        <a:pt x="74" y="70"/>
                      </a:cubicBezTo>
                      <a:cubicBezTo>
                        <a:pt x="78" y="73"/>
                        <a:pt x="89" y="86"/>
                        <a:pt x="91" y="89"/>
                      </a:cubicBezTo>
                      <a:cubicBezTo>
                        <a:pt x="94" y="92"/>
                        <a:pt x="95" y="95"/>
                        <a:pt x="95" y="98"/>
                      </a:cubicBezTo>
                      <a:cubicBezTo>
                        <a:pt x="96" y="100"/>
                        <a:pt x="94" y="101"/>
                        <a:pt x="95" y="104"/>
                      </a:cubicBezTo>
                      <a:cubicBezTo>
                        <a:pt x="96" y="106"/>
                        <a:pt x="92" y="105"/>
                        <a:pt x="93" y="106"/>
                      </a:cubicBezTo>
                      <a:cubicBezTo>
                        <a:pt x="93" y="108"/>
                        <a:pt x="95" y="116"/>
                        <a:pt x="99" y="116"/>
                      </a:cubicBezTo>
                      <a:cubicBezTo>
                        <a:pt x="103" y="117"/>
                        <a:pt x="107" y="122"/>
                        <a:pt x="111" y="124"/>
                      </a:cubicBezTo>
                      <a:cubicBezTo>
                        <a:pt x="114" y="127"/>
                        <a:pt x="119" y="126"/>
                        <a:pt x="123" y="128"/>
                      </a:cubicBezTo>
                      <a:cubicBezTo>
                        <a:pt x="128" y="130"/>
                        <a:pt x="132" y="134"/>
                        <a:pt x="139" y="136"/>
                      </a:cubicBezTo>
                      <a:cubicBezTo>
                        <a:pt x="146" y="138"/>
                        <a:pt x="153" y="141"/>
                        <a:pt x="157" y="144"/>
                      </a:cubicBezTo>
                      <a:cubicBezTo>
                        <a:pt x="162" y="147"/>
                        <a:pt x="167" y="146"/>
                        <a:pt x="174" y="143"/>
                      </a:cubicBezTo>
                      <a:cubicBezTo>
                        <a:pt x="180" y="141"/>
                        <a:pt x="185" y="144"/>
                        <a:pt x="188" y="145"/>
                      </a:cubicBezTo>
                      <a:cubicBezTo>
                        <a:pt x="190" y="146"/>
                        <a:pt x="194" y="149"/>
                        <a:pt x="197" y="152"/>
                      </a:cubicBezTo>
                      <a:cubicBezTo>
                        <a:pt x="200" y="148"/>
                        <a:pt x="203" y="143"/>
                        <a:pt x="204" y="14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2" name="Freeform 105">
                  <a:extLst>
                    <a:ext uri="{FF2B5EF4-FFF2-40B4-BE49-F238E27FC236}">
                      <a16:creationId xmlns:a16="http://schemas.microsoft.com/office/drawing/2014/main" id="{EC17CCCF-304A-4276-8140-C34FE85B2D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663756" y="-9398537"/>
                  <a:ext cx="210810" cy="210810"/>
                </a:xfrm>
                <a:custGeom>
                  <a:avLst/>
                  <a:gdLst>
                    <a:gd name="T0" fmla="*/ 30 w 34"/>
                    <a:gd name="T1" fmla="*/ 23 h 34"/>
                    <a:gd name="T2" fmla="*/ 34 w 34"/>
                    <a:gd name="T3" fmla="*/ 18 h 34"/>
                    <a:gd name="T4" fmla="*/ 31 w 34"/>
                    <a:gd name="T5" fmla="*/ 16 h 34"/>
                    <a:gd name="T6" fmla="*/ 27 w 34"/>
                    <a:gd name="T7" fmla="*/ 17 h 34"/>
                    <a:gd name="T8" fmla="*/ 27 w 34"/>
                    <a:gd name="T9" fmla="*/ 0 h 34"/>
                    <a:gd name="T10" fmla="*/ 14 w 34"/>
                    <a:gd name="T11" fmla="*/ 0 h 34"/>
                    <a:gd name="T12" fmla="*/ 11 w 34"/>
                    <a:gd name="T13" fmla="*/ 6 h 34"/>
                    <a:gd name="T14" fmla="*/ 17 w 34"/>
                    <a:gd name="T15" fmla="*/ 14 h 34"/>
                    <a:gd name="T16" fmla="*/ 7 w 34"/>
                    <a:gd name="T17" fmla="*/ 15 h 34"/>
                    <a:gd name="T18" fmla="*/ 0 w 34"/>
                    <a:gd name="T19" fmla="*/ 24 h 34"/>
                    <a:gd name="T20" fmla="*/ 9 w 34"/>
                    <a:gd name="T21" fmla="*/ 32 h 34"/>
                    <a:gd name="T22" fmla="*/ 20 w 34"/>
                    <a:gd name="T23" fmla="*/ 34 h 34"/>
                    <a:gd name="T24" fmla="*/ 20 w 34"/>
                    <a:gd name="T25" fmla="*/ 34 h 34"/>
                    <a:gd name="T26" fmla="*/ 26 w 34"/>
                    <a:gd name="T27" fmla="*/ 29 h 34"/>
                    <a:gd name="T28" fmla="*/ 30 w 34"/>
                    <a:gd name="T29" fmla="*/ 2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" h="34">
                      <a:moveTo>
                        <a:pt x="30" y="23"/>
                      </a:moveTo>
                      <a:cubicBezTo>
                        <a:pt x="32" y="21"/>
                        <a:pt x="33" y="19"/>
                        <a:pt x="34" y="18"/>
                      </a:cubicBezTo>
                      <a:cubicBezTo>
                        <a:pt x="32" y="20"/>
                        <a:pt x="31" y="18"/>
                        <a:pt x="31" y="16"/>
                      </a:cubicBezTo>
                      <a:cubicBezTo>
                        <a:pt x="27" y="17"/>
                        <a:pt x="27" y="17"/>
                        <a:pt x="27" y="17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4" y="1"/>
                        <a:pt x="15" y="0"/>
                        <a:pt x="14" y="0"/>
                      </a:cubicBezTo>
                      <a:cubicBezTo>
                        <a:pt x="13" y="0"/>
                        <a:pt x="12" y="6"/>
                        <a:pt x="11" y="6"/>
                      </a:cubicBezTo>
                      <a:cubicBezTo>
                        <a:pt x="11" y="7"/>
                        <a:pt x="18" y="12"/>
                        <a:pt x="17" y="14"/>
                      </a:cubicBezTo>
                      <a:cubicBezTo>
                        <a:pt x="16" y="16"/>
                        <a:pt x="7" y="15"/>
                        <a:pt x="7" y="15"/>
                      </a:cubicBezTo>
                      <a:cubicBezTo>
                        <a:pt x="6" y="15"/>
                        <a:pt x="3" y="20"/>
                        <a:pt x="0" y="24"/>
                      </a:cubicBezTo>
                      <a:cubicBezTo>
                        <a:pt x="4" y="27"/>
                        <a:pt x="7" y="30"/>
                        <a:pt x="9" y="32"/>
                      </a:cubicBezTo>
                      <a:cubicBezTo>
                        <a:pt x="12" y="34"/>
                        <a:pt x="18" y="31"/>
                        <a:pt x="20" y="34"/>
                      </a:cubicBezTo>
                      <a:cubicBezTo>
                        <a:pt x="20" y="34"/>
                        <a:pt x="20" y="34"/>
                        <a:pt x="20" y="34"/>
                      </a:cubicBezTo>
                      <a:cubicBezTo>
                        <a:pt x="23" y="31"/>
                        <a:pt x="25" y="29"/>
                        <a:pt x="26" y="29"/>
                      </a:cubicBezTo>
                      <a:cubicBezTo>
                        <a:pt x="28" y="28"/>
                        <a:pt x="26" y="26"/>
                        <a:pt x="30" y="2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3" name="Freeform 106">
                  <a:extLst>
                    <a:ext uri="{FF2B5EF4-FFF2-40B4-BE49-F238E27FC236}">
                      <a16:creationId xmlns:a16="http://schemas.microsoft.com/office/drawing/2014/main" id="{CDC78F4A-6A31-4258-9119-D4F557B923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495109" y="-9427727"/>
                  <a:ext cx="68108" cy="136215"/>
                </a:xfrm>
                <a:custGeom>
                  <a:avLst/>
                  <a:gdLst>
                    <a:gd name="T0" fmla="*/ 2 w 11"/>
                    <a:gd name="T1" fmla="*/ 5 h 22"/>
                    <a:gd name="T2" fmla="*/ 0 w 11"/>
                    <a:gd name="T3" fmla="*/ 5 h 22"/>
                    <a:gd name="T4" fmla="*/ 0 w 11"/>
                    <a:gd name="T5" fmla="*/ 22 h 22"/>
                    <a:gd name="T6" fmla="*/ 4 w 11"/>
                    <a:gd name="T7" fmla="*/ 21 h 22"/>
                    <a:gd name="T8" fmla="*/ 7 w 11"/>
                    <a:gd name="T9" fmla="*/ 17 h 22"/>
                    <a:gd name="T10" fmla="*/ 9 w 11"/>
                    <a:gd name="T11" fmla="*/ 4 h 22"/>
                    <a:gd name="T12" fmla="*/ 11 w 11"/>
                    <a:gd name="T13" fmla="*/ 3 h 22"/>
                    <a:gd name="T14" fmla="*/ 7 w 11"/>
                    <a:gd name="T15" fmla="*/ 0 h 22"/>
                    <a:gd name="T16" fmla="*/ 2 w 11"/>
                    <a:gd name="T17" fmla="*/ 5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22">
                      <a:moveTo>
                        <a:pt x="2" y="5"/>
                      </a:moveTo>
                      <a:cubicBezTo>
                        <a:pt x="1" y="5"/>
                        <a:pt x="1" y="5"/>
                        <a:pt x="0" y="5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4" y="20"/>
                        <a:pt x="5" y="18"/>
                        <a:pt x="7" y="17"/>
                      </a:cubicBezTo>
                      <a:cubicBezTo>
                        <a:pt x="10" y="15"/>
                        <a:pt x="5" y="5"/>
                        <a:pt x="9" y="4"/>
                      </a:cubicBezTo>
                      <a:cubicBezTo>
                        <a:pt x="9" y="4"/>
                        <a:pt x="10" y="3"/>
                        <a:pt x="11" y="3"/>
                      </a:cubicBezTo>
                      <a:cubicBezTo>
                        <a:pt x="9" y="1"/>
                        <a:pt x="8" y="0"/>
                        <a:pt x="7" y="0"/>
                      </a:cubicBezTo>
                      <a:cubicBezTo>
                        <a:pt x="5" y="1"/>
                        <a:pt x="2" y="5"/>
                        <a:pt x="2" y="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4" name="Freeform 107">
                  <a:extLst>
                    <a:ext uri="{FF2B5EF4-FFF2-40B4-BE49-F238E27FC236}">
                      <a16:creationId xmlns:a16="http://schemas.microsoft.com/office/drawing/2014/main" id="{383D06BB-865D-4F95-87E2-6D9EAC2612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765385" y="-9521779"/>
                  <a:ext cx="145945" cy="123242"/>
                </a:xfrm>
                <a:custGeom>
                  <a:avLst/>
                  <a:gdLst>
                    <a:gd name="T0" fmla="*/ 11 w 24"/>
                    <a:gd name="T1" fmla="*/ 2 h 20"/>
                    <a:gd name="T2" fmla="*/ 17 w 24"/>
                    <a:gd name="T3" fmla="*/ 13 h 20"/>
                    <a:gd name="T4" fmla="*/ 1 w 24"/>
                    <a:gd name="T5" fmla="*/ 16 h 20"/>
                    <a:gd name="T6" fmla="*/ 11 w 24"/>
                    <a:gd name="T7" fmla="*/ 18 h 20"/>
                    <a:gd name="T8" fmla="*/ 22 w 24"/>
                    <a:gd name="T9" fmla="*/ 20 h 20"/>
                    <a:gd name="T10" fmla="*/ 24 w 24"/>
                    <a:gd name="T11" fmla="*/ 4 h 20"/>
                    <a:gd name="T12" fmla="*/ 11 w 24"/>
                    <a:gd name="T13" fmla="*/ 2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4" h="20">
                      <a:moveTo>
                        <a:pt x="11" y="2"/>
                      </a:moveTo>
                      <a:cubicBezTo>
                        <a:pt x="8" y="4"/>
                        <a:pt x="17" y="10"/>
                        <a:pt x="17" y="13"/>
                      </a:cubicBezTo>
                      <a:cubicBezTo>
                        <a:pt x="17" y="16"/>
                        <a:pt x="2" y="12"/>
                        <a:pt x="1" y="16"/>
                      </a:cubicBezTo>
                      <a:cubicBezTo>
                        <a:pt x="0" y="18"/>
                        <a:pt x="6" y="20"/>
                        <a:pt x="11" y="18"/>
                      </a:cubicBezTo>
                      <a:cubicBezTo>
                        <a:pt x="16" y="17"/>
                        <a:pt x="20" y="18"/>
                        <a:pt x="22" y="20"/>
                      </a:cubicBezTo>
                      <a:cubicBezTo>
                        <a:pt x="23" y="14"/>
                        <a:pt x="23" y="8"/>
                        <a:pt x="24" y="4"/>
                      </a:cubicBezTo>
                      <a:cubicBezTo>
                        <a:pt x="20" y="3"/>
                        <a:pt x="14" y="0"/>
                        <a:pt x="11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5" name="Freeform 108">
                  <a:extLst>
                    <a:ext uri="{FF2B5EF4-FFF2-40B4-BE49-F238E27FC236}">
                      <a16:creationId xmlns:a16="http://schemas.microsoft.com/office/drawing/2014/main" id="{5FBA39A4-5BD2-483D-87FE-75CA2D7264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632415" y="-9502320"/>
                  <a:ext cx="175133" cy="110269"/>
                </a:xfrm>
                <a:custGeom>
                  <a:avLst/>
                  <a:gdLst>
                    <a:gd name="T0" fmla="*/ 11 w 28"/>
                    <a:gd name="T1" fmla="*/ 13 h 18"/>
                    <a:gd name="T2" fmla="*/ 28 w 28"/>
                    <a:gd name="T3" fmla="*/ 10 h 18"/>
                    <a:gd name="T4" fmla="*/ 6 w 28"/>
                    <a:gd name="T5" fmla="*/ 1 h 18"/>
                    <a:gd name="T6" fmla="*/ 2 w 28"/>
                    <a:gd name="T7" fmla="*/ 1 h 18"/>
                    <a:gd name="T8" fmla="*/ 0 w 28"/>
                    <a:gd name="T9" fmla="*/ 17 h 18"/>
                    <a:gd name="T10" fmla="*/ 1 w 28"/>
                    <a:gd name="T11" fmla="*/ 17 h 18"/>
                    <a:gd name="T12" fmla="*/ 11 w 28"/>
                    <a:gd name="T13" fmla="*/ 1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18">
                      <a:moveTo>
                        <a:pt x="11" y="13"/>
                      </a:moveTo>
                      <a:cubicBezTo>
                        <a:pt x="17" y="11"/>
                        <a:pt x="28" y="15"/>
                        <a:pt x="28" y="10"/>
                      </a:cubicBezTo>
                      <a:cubicBezTo>
                        <a:pt x="28" y="5"/>
                        <a:pt x="11" y="0"/>
                        <a:pt x="6" y="1"/>
                      </a:cubicBezTo>
                      <a:cubicBezTo>
                        <a:pt x="5" y="2"/>
                        <a:pt x="4" y="2"/>
                        <a:pt x="2" y="1"/>
                      </a:cubicBezTo>
                      <a:cubicBezTo>
                        <a:pt x="1" y="5"/>
                        <a:pt x="1" y="11"/>
                        <a:pt x="0" y="17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4" y="18"/>
                        <a:pt x="5" y="16"/>
                        <a:pt x="11" y="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6" name="Freeform 109">
                  <a:extLst>
                    <a:ext uri="{FF2B5EF4-FFF2-40B4-BE49-F238E27FC236}">
                      <a16:creationId xmlns:a16="http://schemas.microsoft.com/office/drawing/2014/main" id="{2E3B1538-C12E-4E88-B596-E962C0E5AC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410785" y="-9249350"/>
                  <a:ext cx="217296" cy="217296"/>
                </a:xfrm>
                <a:custGeom>
                  <a:avLst/>
                  <a:gdLst>
                    <a:gd name="T0" fmla="*/ 19 w 35"/>
                    <a:gd name="T1" fmla="*/ 33 h 35"/>
                    <a:gd name="T2" fmla="*/ 27 w 35"/>
                    <a:gd name="T3" fmla="*/ 34 h 35"/>
                    <a:gd name="T4" fmla="*/ 31 w 35"/>
                    <a:gd name="T5" fmla="*/ 35 h 35"/>
                    <a:gd name="T6" fmla="*/ 30 w 35"/>
                    <a:gd name="T7" fmla="*/ 33 h 35"/>
                    <a:gd name="T8" fmla="*/ 32 w 35"/>
                    <a:gd name="T9" fmla="*/ 23 h 35"/>
                    <a:gd name="T10" fmla="*/ 33 w 35"/>
                    <a:gd name="T11" fmla="*/ 9 h 35"/>
                    <a:gd name="T12" fmla="*/ 35 w 35"/>
                    <a:gd name="T13" fmla="*/ 1 h 35"/>
                    <a:gd name="T14" fmla="*/ 35 w 35"/>
                    <a:gd name="T15" fmla="*/ 0 h 35"/>
                    <a:gd name="T16" fmla="*/ 25 w 35"/>
                    <a:gd name="T17" fmla="*/ 4 h 35"/>
                    <a:gd name="T18" fmla="*/ 17 w 35"/>
                    <a:gd name="T19" fmla="*/ 5 h 35"/>
                    <a:gd name="T20" fmla="*/ 9 w 35"/>
                    <a:gd name="T21" fmla="*/ 9 h 35"/>
                    <a:gd name="T22" fmla="*/ 6 w 35"/>
                    <a:gd name="T23" fmla="*/ 14 h 35"/>
                    <a:gd name="T24" fmla="*/ 4 w 35"/>
                    <a:gd name="T25" fmla="*/ 16 h 35"/>
                    <a:gd name="T26" fmla="*/ 1 w 35"/>
                    <a:gd name="T27" fmla="*/ 17 h 35"/>
                    <a:gd name="T28" fmla="*/ 2 w 35"/>
                    <a:gd name="T29" fmla="*/ 20 h 35"/>
                    <a:gd name="T30" fmla="*/ 12 w 35"/>
                    <a:gd name="T31" fmla="*/ 30 h 35"/>
                    <a:gd name="T32" fmla="*/ 14 w 35"/>
                    <a:gd name="T33" fmla="*/ 33 h 35"/>
                    <a:gd name="T34" fmla="*/ 19 w 35"/>
                    <a:gd name="T35" fmla="*/ 33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5" h="35">
                      <a:moveTo>
                        <a:pt x="19" y="33"/>
                      </a:moveTo>
                      <a:cubicBezTo>
                        <a:pt x="21" y="34"/>
                        <a:pt x="25" y="33"/>
                        <a:pt x="27" y="34"/>
                      </a:cubicBezTo>
                      <a:cubicBezTo>
                        <a:pt x="28" y="35"/>
                        <a:pt x="29" y="35"/>
                        <a:pt x="31" y="35"/>
                      </a:cubicBezTo>
                      <a:cubicBezTo>
                        <a:pt x="30" y="34"/>
                        <a:pt x="30" y="33"/>
                        <a:pt x="30" y="33"/>
                      </a:cubicBezTo>
                      <a:cubicBezTo>
                        <a:pt x="28" y="31"/>
                        <a:pt x="31" y="26"/>
                        <a:pt x="32" y="23"/>
                      </a:cubicBezTo>
                      <a:cubicBezTo>
                        <a:pt x="33" y="19"/>
                        <a:pt x="31" y="11"/>
                        <a:pt x="33" y="9"/>
                      </a:cubicBezTo>
                      <a:cubicBezTo>
                        <a:pt x="35" y="7"/>
                        <a:pt x="34" y="6"/>
                        <a:pt x="35" y="1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1" y="0"/>
                        <a:pt x="26" y="3"/>
                        <a:pt x="25" y="4"/>
                      </a:cubicBezTo>
                      <a:cubicBezTo>
                        <a:pt x="24" y="4"/>
                        <a:pt x="18" y="2"/>
                        <a:pt x="17" y="5"/>
                      </a:cubicBezTo>
                      <a:cubicBezTo>
                        <a:pt x="17" y="8"/>
                        <a:pt x="13" y="9"/>
                        <a:pt x="9" y="9"/>
                      </a:cubicBezTo>
                      <a:cubicBezTo>
                        <a:pt x="4" y="9"/>
                        <a:pt x="6" y="13"/>
                        <a:pt x="6" y="14"/>
                      </a:cubicBezTo>
                      <a:cubicBezTo>
                        <a:pt x="6" y="15"/>
                        <a:pt x="4" y="16"/>
                        <a:pt x="4" y="16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0" y="18"/>
                        <a:pt x="0" y="19"/>
                        <a:pt x="2" y="20"/>
                      </a:cubicBezTo>
                      <a:cubicBezTo>
                        <a:pt x="5" y="22"/>
                        <a:pt x="9" y="28"/>
                        <a:pt x="12" y="30"/>
                      </a:cubicBezTo>
                      <a:cubicBezTo>
                        <a:pt x="13" y="30"/>
                        <a:pt x="14" y="32"/>
                        <a:pt x="14" y="33"/>
                      </a:cubicBezTo>
                      <a:cubicBezTo>
                        <a:pt x="16" y="33"/>
                        <a:pt x="18" y="33"/>
                        <a:pt x="19" y="3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7" name="Freeform 110">
                  <a:extLst>
                    <a:ext uri="{FF2B5EF4-FFF2-40B4-BE49-F238E27FC236}">
                      <a16:creationId xmlns:a16="http://schemas.microsoft.com/office/drawing/2014/main" id="{7DADD7D7-7038-4D6A-BF4D-30EDC6779E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336190" y="-9045028"/>
                  <a:ext cx="168647" cy="129728"/>
                </a:xfrm>
                <a:custGeom>
                  <a:avLst/>
                  <a:gdLst>
                    <a:gd name="T0" fmla="*/ 26 w 27"/>
                    <a:gd name="T1" fmla="*/ 17 h 21"/>
                    <a:gd name="T2" fmla="*/ 27 w 27"/>
                    <a:gd name="T3" fmla="*/ 12 h 21"/>
                    <a:gd name="T4" fmla="*/ 19 w 27"/>
                    <a:gd name="T5" fmla="*/ 2 h 21"/>
                    <a:gd name="T6" fmla="*/ 15 w 27"/>
                    <a:gd name="T7" fmla="*/ 1 h 21"/>
                    <a:gd name="T8" fmla="*/ 7 w 27"/>
                    <a:gd name="T9" fmla="*/ 0 h 21"/>
                    <a:gd name="T10" fmla="*/ 2 w 27"/>
                    <a:gd name="T11" fmla="*/ 0 h 21"/>
                    <a:gd name="T12" fmla="*/ 2 w 27"/>
                    <a:gd name="T13" fmla="*/ 3 h 21"/>
                    <a:gd name="T14" fmla="*/ 4 w 27"/>
                    <a:gd name="T15" fmla="*/ 10 h 21"/>
                    <a:gd name="T16" fmla="*/ 9 w 27"/>
                    <a:gd name="T17" fmla="*/ 9 h 21"/>
                    <a:gd name="T18" fmla="*/ 12 w 27"/>
                    <a:gd name="T19" fmla="*/ 12 h 21"/>
                    <a:gd name="T20" fmla="*/ 18 w 27"/>
                    <a:gd name="T21" fmla="*/ 17 h 21"/>
                    <a:gd name="T22" fmla="*/ 23 w 27"/>
                    <a:gd name="T23" fmla="*/ 21 h 21"/>
                    <a:gd name="T24" fmla="*/ 24 w 27"/>
                    <a:gd name="T25" fmla="*/ 21 h 21"/>
                    <a:gd name="T26" fmla="*/ 26 w 27"/>
                    <a:gd name="T27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7" h="21">
                      <a:moveTo>
                        <a:pt x="26" y="17"/>
                      </a:moveTo>
                      <a:cubicBezTo>
                        <a:pt x="25" y="16"/>
                        <a:pt x="25" y="14"/>
                        <a:pt x="27" y="12"/>
                      </a:cubicBezTo>
                      <a:cubicBezTo>
                        <a:pt x="24" y="9"/>
                        <a:pt x="21" y="4"/>
                        <a:pt x="19" y="2"/>
                      </a:cubicBezTo>
                      <a:cubicBezTo>
                        <a:pt x="17" y="2"/>
                        <a:pt x="16" y="2"/>
                        <a:pt x="15" y="1"/>
                      </a:cubicBezTo>
                      <a:cubicBezTo>
                        <a:pt x="13" y="0"/>
                        <a:pt x="9" y="1"/>
                        <a:pt x="7" y="0"/>
                      </a:cubicBezTo>
                      <a:cubicBezTo>
                        <a:pt x="6" y="0"/>
                        <a:pt x="4" y="0"/>
                        <a:pt x="2" y="0"/>
                      </a:cubicBezTo>
                      <a:cubicBezTo>
                        <a:pt x="3" y="1"/>
                        <a:pt x="3" y="2"/>
                        <a:pt x="2" y="3"/>
                      </a:cubicBezTo>
                      <a:cubicBezTo>
                        <a:pt x="0" y="4"/>
                        <a:pt x="0" y="8"/>
                        <a:pt x="4" y="10"/>
                      </a:cubicBezTo>
                      <a:cubicBezTo>
                        <a:pt x="8" y="11"/>
                        <a:pt x="7" y="9"/>
                        <a:pt x="9" y="9"/>
                      </a:cubicBezTo>
                      <a:cubicBezTo>
                        <a:pt x="11" y="9"/>
                        <a:pt x="10" y="12"/>
                        <a:pt x="12" y="12"/>
                      </a:cubicBezTo>
                      <a:cubicBezTo>
                        <a:pt x="14" y="12"/>
                        <a:pt x="18" y="14"/>
                        <a:pt x="18" y="17"/>
                      </a:cubicBezTo>
                      <a:cubicBezTo>
                        <a:pt x="18" y="20"/>
                        <a:pt x="19" y="21"/>
                        <a:pt x="23" y="21"/>
                      </a:cubicBezTo>
                      <a:cubicBezTo>
                        <a:pt x="23" y="21"/>
                        <a:pt x="24" y="21"/>
                        <a:pt x="24" y="21"/>
                      </a:cubicBezTo>
                      <a:cubicBezTo>
                        <a:pt x="25" y="19"/>
                        <a:pt x="26" y="18"/>
                        <a:pt x="26" y="1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8" name="Freeform 111">
                  <a:extLst>
                    <a:ext uri="{FF2B5EF4-FFF2-40B4-BE49-F238E27FC236}">
                      <a16:creationId xmlns:a16="http://schemas.microsoft.com/office/drawing/2014/main" id="{7401193F-EB8E-4014-A95E-C4697F9812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187003" y="-8983406"/>
                  <a:ext cx="291889" cy="142701"/>
                </a:xfrm>
                <a:custGeom>
                  <a:avLst/>
                  <a:gdLst>
                    <a:gd name="T0" fmla="*/ 42 w 47"/>
                    <a:gd name="T1" fmla="*/ 7 h 23"/>
                    <a:gd name="T2" fmla="*/ 31 w 47"/>
                    <a:gd name="T3" fmla="*/ 1 h 23"/>
                    <a:gd name="T4" fmla="*/ 20 w 47"/>
                    <a:gd name="T5" fmla="*/ 6 h 23"/>
                    <a:gd name="T6" fmla="*/ 7 w 47"/>
                    <a:gd name="T7" fmla="*/ 5 h 23"/>
                    <a:gd name="T8" fmla="*/ 3 w 47"/>
                    <a:gd name="T9" fmla="*/ 2 h 23"/>
                    <a:gd name="T10" fmla="*/ 2 w 47"/>
                    <a:gd name="T11" fmla="*/ 7 h 23"/>
                    <a:gd name="T12" fmla="*/ 0 w 47"/>
                    <a:gd name="T13" fmla="*/ 11 h 23"/>
                    <a:gd name="T14" fmla="*/ 11 w 47"/>
                    <a:gd name="T15" fmla="*/ 16 h 23"/>
                    <a:gd name="T16" fmla="*/ 17 w 47"/>
                    <a:gd name="T17" fmla="*/ 20 h 23"/>
                    <a:gd name="T18" fmla="*/ 23 w 47"/>
                    <a:gd name="T19" fmla="*/ 18 h 23"/>
                    <a:gd name="T20" fmla="*/ 21 w 47"/>
                    <a:gd name="T21" fmla="*/ 14 h 23"/>
                    <a:gd name="T22" fmla="*/ 25 w 47"/>
                    <a:gd name="T23" fmla="*/ 10 h 23"/>
                    <a:gd name="T24" fmla="*/ 34 w 47"/>
                    <a:gd name="T25" fmla="*/ 7 h 23"/>
                    <a:gd name="T26" fmla="*/ 36 w 47"/>
                    <a:gd name="T27" fmla="*/ 13 h 23"/>
                    <a:gd name="T28" fmla="*/ 41 w 47"/>
                    <a:gd name="T29" fmla="*/ 21 h 23"/>
                    <a:gd name="T30" fmla="*/ 46 w 47"/>
                    <a:gd name="T31" fmla="*/ 16 h 23"/>
                    <a:gd name="T32" fmla="*/ 47 w 47"/>
                    <a:gd name="T33" fmla="*/ 13 h 23"/>
                    <a:gd name="T34" fmla="*/ 42 w 47"/>
                    <a:gd name="T35" fmla="*/ 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7" h="23">
                      <a:moveTo>
                        <a:pt x="42" y="7"/>
                      </a:moveTo>
                      <a:cubicBezTo>
                        <a:pt x="40" y="3"/>
                        <a:pt x="34" y="3"/>
                        <a:pt x="31" y="1"/>
                      </a:cubicBezTo>
                      <a:cubicBezTo>
                        <a:pt x="28" y="0"/>
                        <a:pt x="24" y="2"/>
                        <a:pt x="20" y="6"/>
                      </a:cubicBezTo>
                      <a:cubicBezTo>
                        <a:pt x="16" y="10"/>
                        <a:pt x="10" y="7"/>
                        <a:pt x="7" y="5"/>
                      </a:cubicBezTo>
                      <a:cubicBezTo>
                        <a:pt x="6" y="5"/>
                        <a:pt x="4" y="3"/>
                        <a:pt x="3" y="2"/>
                      </a:cubicBezTo>
                      <a:cubicBezTo>
                        <a:pt x="1" y="4"/>
                        <a:pt x="1" y="6"/>
                        <a:pt x="2" y="7"/>
                      </a:cubicBezTo>
                      <a:cubicBezTo>
                        <a:pt x="2" y="8"/>
                        <a:pt x="1" y="9"/>
                        <a:pt x="0" y="11"/>
                      </a:cubicBezTo>
                      <a:cubicBezTo>
                        <a:pt x="4" y="12"/>
                        <a:pt x="9" y="13"/>
                        <a:pt x="11" y="16"/>
                      </a:cubicBezTo>
                      <a:cubicBezTo>
                        <a:pt x="13" y="19"/>
                        <a:pt x="15" y="17"/>
                        <a:pt x="17" y="20"/>
                      </a:cubicBezTo>
                      <a:cubicBezTo>
                        <a:pt x="18" y="23"/>
                        <a:pt x="22" y="20"/>
                        <a:pt x="23" y="18"/>
                      </a:cubicBezTo>
                      <a:cubicBezTo>
                        <a:pt x="24" y="16"/>
                        <a:pt x="21" y="16"/>
                        <a:pt x="21" y="14"/>
                      </a:cubicBezTo>
                      <a:cubicBezTo>
                        <a:pt x="20" y="12"/>
                        <a:pt x="24" y="13"/>
                        <a:pt x="25" y="10"/>
                      </a:cubicBezTo>
                      <a:cubicBezTo>
                        <a:pt x="26" y="7"/>
                        <a:pt x="31" y="6"/>
                        <a:pt x="34" y="7"/>
                      </a:cubicBezTo>
                      <a:cubicBezTo>
                        <a:pt x="36" y="8"/>
                        <a:pt x="38" y="10"/>
                        <a:pt x="36" y="13"/>
                      </a:cubicBezTo>
                      <a:cubicBezTo>
                        <a:pt x="34" y="15"/>
                        <a:pt x="38" y="18"/>
                        <a:pt x="41" y="21"/>
                      </a:cubicBezTo>
                      <a:cubicBezTo>
                        <a:pt x="43" y="19"/>
                        <a:pt x="45" y="16"/>
                        <a:pt x="46" y="16"/>
                      </a:cubicBezTo>
                      <a:cubicBezTo>
                        <a:pt x="47" y="15"/>
                        <a:pt x="47" y="14"/>
                        <a:pt x="47" y="13"/>
                      </a:cubicBezTo>
                      <a:cubicBezTo>
                        <a:pt x="46" y="12"/>
                        <a:pt x="44" y="10"/>
                        <a:pt x="42" y="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29" name="Freeform 112">
                  <a:extLst>
                    <a:ext uri="{FF2B5EF4-FFF2-40B4-BE49-F238E27FC236}">
                      <a16:creationId xmlns:a16="http://schemas.microsoft.com/office/drawing/2014/main" id="{F52B1185-3760-43CB-BF5A-03C307EE88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274570" y="-9687184"/>
                  <a:ext cx="531886" cy="184864"/>
                </a:xfrm>
                <a:custGeom>
                  <a:avLst/>
                  <a:gdLst>
                    <a:gd name="T0" fmla="*/ 69 w 86"/>
                    <a:gd name="T1" fmla="*/ 19 h 30"/>
                    <a:gd name="T2" fmla="*/ 31 w 86"/>
                    <a:gd name="T3" fmla="*/ 3 h 30"/>
                    <a:gd name="T4" fmla="*/ 2 w 86"/>
                    <a:gd name="T5" fmla="*/ 13 h 30"/>
                    <a:gd name="T6" fmla="*/ 16 w 86"/>
                    <a:gd name="T7" fmla="*/ 7 h 30"/>
                    <a:gd name="T8" fmla="*/ 24 w 86"/>
                    <a:gd name="T9" fmla="*/ 10 h 30"/>
                    <a:gd name="T10" fmla="*/ 37 w 86"/>
                    <a:gd name="T11" fmla="*/ 13 h 30"/>
                    <a:gd name="T12" fmla="*/ 54 w 86"/>
                    <a:gd name="T13" fmla="*/ 22 h 30"/>
                    <a:gd name="T14" fmla="*/ 58 w 86"/>
                    <a:gd name="T15" fmla="*/ 28 h 30"/>
                    <a:gd name="T16" fmla="*/ 84 w 86"/>
                    <a:gd name="T17" fmla="*/ 28 h 30"/>
                    <a:gd name="T18" fmla="*/ 69 w 86"/>
                    <a:gd name="T19" fmla="*/ 19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6" h="30">
                      <a:moveTo>
                        <a:pt x="69" y="19"/>
                      </a:moveTo>
                      <a:cubicBezTo>
                        <a:pt x="64" y="19"/>
                        <a:pt x="47" y="7"/>
                        <a:pt x="31" y="3"/>
                      </a:cubicBezTo>
                      <a:cubicBezTo>
                        <a:pt x="14" y="0"/>
                        <a:pt x="0" y="11"/>
                        <a:pt x="2" y="13"/>
                      </a:cubicBezTo>
                      <a:cubicBezTo>
                        <a:pt x="4" y="16"/>
                        <a:pt x="12" y="10"/>
                        <a:pt x="16" y="7"/>
                      </a:cubicBezTo>
                      <a:cubicBezTo>
                        <a:pt x="20" y="4"/>
                        <a:pt x="23" y="8"/>
                        <a:pt x="24" y="10"/>
                      </a:cubicBezTo>
                      <a:cubicBezTo>
                        <a:pt x="24" y="12"/>
                        <a:pt x="29" y="13"/>
                        <a:pt x="37" y="13"/>
                      </a:cubicBezTo>
                      <a:cubicBezTo>
                        <a:pt x="46" y="13"/>
                        <a:pt x="47" y="20"/>
                        <a:pt x="54" y="22"/>
                      </a:cubicBezTo>
                      <a:cubicBezTo>
                        <a:pt x="62" y="24"/>
                        <a:pt x="54" y="27"/>
                        <a:pt x="58" y="28"/>
                      </a:cubicBezTo>
                      <a:cubicBezTo>
                        <a:pt x="62" y="30"/>
                        <a:pt x="83" y="30"/>
                        <a:pt x="84" y="28"/>
                      </a:cubicBezTo>
                      <a:cubicBezTo>
                        <a:pt x="86" y="26"/>
                        <a:pt x="75" y="19"/>
                        <a:pt x="69" y="1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0" name="Freeform 113">
                  <a:extLst>
                    <a:ext uri="{FF2B5EF4-FFF2-40B4-BE49-F238E27FC236}">
                      <a16:creationId xmlns:a16="http://schemas.microsoft.com/office/drawing/2014/main" id="{F29FFC1F-2406-4769-95E9-4B6789A51F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69709" y="-9440700"/>
                  <a:ext cx="123242" cy="61622"/>
                </a:xfrm>
                <a:custGeom>
                  <a:avLst/>
                  <a:gdLst>
                    <a:gd name="T0" fmla="*/ 2 w 20"/>
                    <a:gd name="T1" fmla="*/ 3 h 10"/>
                    <a:gd name="T2" fmla="*/ 19 w 20"/>
                    <a:gd name="T3" fmla="*/ 6 h 10"/>
                    <a:gd name="T4" fmla="*/ 2 w 20"/>
                    <a:gd name="T5" fmla="*/ 3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" h="10">
                      <a:moveTo>
                        <a:pt x="2" y="3"/>
                      </a:moveTo>
                      <a:cubicBezTo>
                        <a:pt x="4" y="6"/>
                        <a:pt x="17" y="10"/>
                        <a:pt x="19" y="6"/>
                      </a:cubicBezTo>
                      <a:cubicBezTo>
                        <a:pt x="20" y="3"/>
                        <a:pt x="0" y="0"/>
                        <a:pt x="2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1" name="Freeform 114">
                  <a:extLst>
                    <a:ext uri="{FF2B5EF4-FFF2-40B4-BE49-F238E27FC236}">
                      <a16:creationId xmlns:a16="http://schemas.microsoft.com/office/drawing/2014/main" id="{43541696-A6D9-454E-893C-FDBCC97C51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408632" y="-9447186"/>
                  <a:ext cx="110269" cy="61622"/>
                </a:xfrm>
                <a:custGeom>
                  <a:avLst/>
                  <a:gdLst>
                    <a:gd name="T0" fmla="*/ 3 w 18"/>
                    <a:gd name="T1" fmla="*/ 5 h 10"/>
                    <a:gd name="T2" fmla="*/ 16 w 18"/>
                    <a:gd name="T3" fmla="*/ 5 h 10"/>
                    <a:gd name="T4" fmla="*/ 3 w 18"/>
                    <a:gd name="T5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8" h="10">
                      <a:moveTo>
                        <a:pt x="3" y="5"/>
                      </a:moveTo>
                      <a:cubicBezTo>
                        <a:pt x="6" y="10"/>
                        <a:pt x="15" y="7"/>
                        <a:pt x="16" y="5"/>
                      </a:cubicBezTo>
                      <a:cubicBezTo>
                        <a:pt x="18" y="2"/>
                        <a:pt x="0" y="0"/>
                        <a:pt x="3" y="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2" name="Freeform 115">
                  <a:extLst>
                    <a:ext uri="{FF2B5EF4-FFF2-40B4-BE49-F238E27FC236}">
                      <a16:creationId xmlns:a16="http://schemas.microsoft.com/office/drawing/2014/main" id="{A06FC725-E600-4890-90C9-3BCCD700BD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5112410" y="-9126108"/>
                  <a:ext cx="2361057" cy="3762125"/>
                </a:xfrm>
                <a:custGeom>
                  <a:avLst/>
                  <a:gdLst>
                    <a:gd name="T0" fmla="*/ 283 w 382"/>
                    <a:gd name="T1" fmla="*/ 109 h 609"/>
                    <a:gd name="T2" fmla="*/ 257 w 382"/>
                    <a:gd name="T3" fmla="*/ 93 h 609"/>
                    <a:gd name="T4" fmla="*/ 200 w 382"/>
                    <a:gd name="T5" fmla="*/ 54 h 609"/>
                    <a:gd name="T6" fmla="*/ 155 w 382"/>
                    <a:gd name="T7" fmla="*/ 22 h 609"/>
                    <a:gd name="T8" fmla="*/ 93 w 382"/>
                    <a:gd name="T9" fmla="*/ 9 h 609"/>
                    <a:gd name="T10" fmla="*/ 74 w 382"/>
                    <a:gd name="T11" fmla="*/ 6 h 609"/>
                    <a:gd name="T12" fmla="*/ 34 w 382"/>
                    <a:gd name="T13" fmla="*/ 39 h 609"/>
                    <a:gd name="T14" fmla="*/ 22 w 382"/>
                    <a:gd name="T15" fmla="*/ 87 h 609"/>
                    <a:gd name="T16" fmla="*/ 4 w 382"/>
                    <a:gd name="T17" fmla="*/ 120 h 609"/>
                    <a:gd name="T18" fmla="*/ 11 w 382"/>
                    <a:gd name="T19" fmla="*/ 158 h 609"/>
                    <a:gd name="T20" fmla="*/ 91 w 382"/>
                    <a:gd name="T21" fmla="*/ 253 h 609"/>
                    <a:gd name="T22" fmla="*/ 83 w 382"/>
                    <a:gd name="T23" fmla="*/ 336 h 609"/>
                    <a:gd name="T24" fmla="*/ 65 w 382"/>
                    <a:gd name="T25" fmla="*/ 418 h 609"/>
                    <a:gd name="T26" fmla="*/ 61 w 382"/>
                    <a:gd name="T27" fmla="*/ 478 h 609"/>
                    <a:gd name="T28" fmla="*/ 67 w 382"/>
                    <a:gd name="T29" fmla="*/ 489 h 609"/>
                    <a:gd name="T30" fmla="*/ 60 w 382"/>
                    <a:gd name="T31" fmla="*/ 498 h 609"/>
                    <a:gd name="T32" fmla="*/ 58 w 382"/>
                    <a:gd name="T33" fmla="*/ 517 h 609"/>
                    <a:gd name="T34" fmla="*/ 54 w 382"/>
                    <a:gd name="T35" fmla="*/ 531 h 609"/>
                    <a:gd name="T36" fmla="*/ 58 w 382"/>
                    <a:gd name="T37" fmla="*/ 544 h 609"/>
                    <a:gd name="T38" fmla="*/ 58 w 382"/>
                    <a:gd name="T39" fmla="*/ 565 h 609"/>
                    <a:gd name="T40" fmla="*/ 74 w 382"/>
                    <a:gd name="T41" fmla="*/ 575 h 609"/>
                    <a:gd name="T42" fmla="*/ 63 w 382"/>
                    <a:gd name="T43" fmla="*/ 583 h 609"/>
                    <a:gd name="T44" fmla="*/ 90 w 382"/>
                    <a:gd name="T45" fmla="*/ 578 h 609"/>
                    <a:gd name="T46" fmla="*/ 81 w 382"/>
                    <a:gd name="T47" fmla="*/ 592 h 609"/>
                    <a:gd name="T48" fmla="*/ 105 w 382"/>
                    <a:gd name="T49" fmla="*/ 603 h 609"/>
                    <a:gd name="T50" fmla="*/ 105 w 382"/>
                    <a:gd name="T51" fmla="*/ 582 h 609"/>
                    <a:gd name="T52" fmla="*/ 100 w 382"/>
                    <a:gd name="T53" fmla="*/ 564 h 609"/>
                    <a:gd name="T54" fmla="*/ 119 w 382"/>
                    <a:gd name="T55" fmla="*/ 514 h 609"/>
                    <a:gd name="T56" fmla="*/ 141 w 382"/>
                    <a:gd name="T57" fmla="*/ 473 h 609"/>
                    <a:gd name="T58" fmla="*/ 155 w 382"/>
                    <a:gd name="T59" fmla="*/ 444 h 609"/>
                    <a:gd name="T60" fmla="*/ 192 w 382"/>
                    <a:gd name="T61" fmla="*/ 399 h 609"/>
                    <a:gd name="T62" fmla="*/ 231 w 382"/>
                    <a:gd name="T63" fmla="*/ 384 h 609"/>
                    <a:gd name="T64" fmla="*/ 267 w 382"/>
                    <a:gd name="T65" fmla="*/ 330 h 609"/>
                    <a:gd name="T66" fmla="*/ 322 w 382"/>
                    <a:gd name="T67" fmla="*/ 290 h 609"/>
                    <a:gd name="T68" fmla="*/ 345 w 382"/>
                    <a:gd name="T69" fmla="*/ 238 h 609"/>
                    <a:gd name="T70" fmla="*/ 378 w 382"/>
                    <a:gd name="T71" fmla="*/ 172 h 609"/>
                    <a:gd name="T72" fmla="*/ 111 w 382"/>
                    <a:gd name="T73" fmla="*/ 88 h 609"/>
                    <a:gd name="T74" fmla="*/ 96 w 382"/>
                    <a:gd name="T75" fmla="*/ 192 h 609"/>
                    <a:gd name="T76" fmla="*/ 93 w 382"/>
                    <a:gd name="T77" fmla="*/ 137 h 609"/>
                    <a:gd name="T78" fmla="*/ 97 w 382"/>
                    <a:gd name="T79" fmla="*/ 248 h 609"/>
                    <a:gd name="T80" fmla="*/ 114 w 382"/>
                    <a:gd name="T81" fmla="*/ 291 h 609"/>
                    <a:gd name="T82" fmla="*/ 223 w 382"/>
                    <a:gd name="T83" fmla="*/ 86 h 609"/>
                    <a:gd name="T84" fmla="*/ 193 w 382"/>
                    <a:gd name="T85" fmla="*/ 260 h 609"/>
                    <a:gd name="T86" fmla="*/ 219 w 382"/>
                    <a:gd name="T87" fmla="*/ 311 h 609"/>
                    <a:gd name="T88" fmla="*/ 220 w 382"/>
                    <a:gd name="T89" fmla="*/ 305 h 609"/>
                    <a:gd name="T90" fmla="*/ 219 w 382"/>
                    <a:gd name="T91" fmla="*/ 300 h 609"/>
                    <a:gd name="T92" fmla="*/ 200 w 382"/>
                    <a:gd name="T93" fmla="*/ 87 h 609"/>
                    <a:gd name="T94" fmla="*/ 169 w 382"/>
                    <a:gd name="T95" fmla="*/ 64 h 609"/>
                    <a:gd name="T96" fmla="*/ 171 w 382"/>
                    <a:gd name="T97" fmla="*/ 61 h 609"/>
                    <a:gd name="T98" fmla="*/ 153 w 382"/>
                    <a:gd name="T99" fmla="*/ 284 h 609"/>
                    <a:gd name="T100" fmla="*/ 145 w 382"/>
                    <a:gd name="T101" fmla="*/ 284 h 609"/>
                    <a:gd name="T102" fmla="*/ 195 w 382"/>
                    <a:gd name="T103" fmla="*/ 356 h 609"/>
                    <a:gd name="T104" fmla="*/ 199 w 382"/>
                    <a:gd name="T105" fmla="*/ 350 h 609"/>
                    <a:gd name="T106" fmla="*/ 220 w 382"/>
                    <a:gd name="T107" fmla="*/ 84 h 609"/>
                    <a:gd name="T108" fmla="*/ 48 w 382"/>
                    <a:gd name="T109" fmla="*/ 105 h 609"/>
                    <a:gd name="T110" fmla="*/ 49 w 382"/>
                    <a:gd name="T111" fmla="*/ 106 h 609"/>
                    <a:gd name="T112" fmla="*/ 50 w 382"/>
                    <a:gd name="T113" fmla="*/ 109 h 609"/>
                    <a:gd name="T114" fmla="*/ 90 w 382"/>
                    <a:gd name="T115" fmla="*/ 193 h 609"/>
                    <a:gd name="T116" fmla="*/ 193 w 382"/>
                    <a:gd name="T117" fmla="*/ 357 h 6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82" h="609">
                      <a:moveTo>
                        <a:pt x="377" y="149"/>
                      </a:moveTo>
                      <a:cubicBezTo>
                        <a:pt x="375" y="143"/>
                        <a:pt x="373" y="144"/>
                        <a:pt x="370" y="144"/>
                      </a:cubicBezTo>
                      <a:cubicBezTo>
                        <a:pt x="366" y="145"/>
                        <a:pt x="359" y="144"/>
                        <a:pt x="351" y="134"/>
                      </a:cubicBezTo>
                      <a:cubicBezTo>
                        <a:pt x="342" y="124"/>
                        <a:pt x="333" y="125"/>
                        <a:pt x="327" y="127"/>
                      </a:cubicBezTo>
                      <a:cubicBezTo>
                        <a:pt x="321" y="128"/>
                        <a:pt x="315" y="124"/>
                        <a:pt x="311" y="123"/>
                      </a:cubicBezTo>
                      <a:cubicBezTo>
                        <a:pt x="307" y="122"/>
                        <a:pt x="303" y="127"/>
                        <a:pt x="301" y="128"/>
                      </a:cubicBezTo>
                      <a:cubicBezTo>
                        <a:pt x="298" y="129"/>
                        <a:pt x="302" y="124"/>
                        <a:pt x="302" y="120"/>
                      </a:cubicBezTo>
                      <a:cubicBezTo>
                        <a:pt x="302" y="117"/>
                        <a:pt x="291" y="112"/>
                        <a:pt x="283" y="109"/>
                      </a:cubicBezTo>
                      <a:cubicBezTo>
                        <a:pt x="275" y="106"/>
                        <a:pt x="272" y="107"/>
                        <a:pt x="272" y="113"/>
                      </a:cubicBezTo>
                      <a:cubicBezTo>
                        <a:pt x="272" y="118"/>
                        <a:pt x="268" y="111"/>
                        <a:pt x="266" y="117"/>
                      </a:cubicBezTo>
                      <a:cubicBezTo>
                        <a:pt x="263" y="122"/>
                        <a:pt x="259" y="118"/>
                        <a:pt x="262" y="117"/>
                      </a:cubicBezTo>
                      <a:cubicBezTo>
                        <a:pt x="265" y="115"/>
                        <a:pt x="268" y="111"/>
                        <a:pt x="269" y="107"/>
                      </a:cubicBezTo>
                      <a:cubicBezTo>
                        <a:pt x="270" y="104"/>
                        <a:pt x="257" y="101"/>
                        <a:pt x="252" y="103"/>
                      </a:cubicBezTo>
                      <a:cubicBezTo>
                        <a:pt x="248" y="105"/>
                        <a:pt x="251" y="111"/>
                        <a:pt x="247" y="109"/>
                      </a:cubicBezTo>
                      <a:cubicBezTo>
                        <a:pt x="244" y="107"/>
                        <a:pt x="247" y="103"/>
                        <a:pt x="249" y="103"/>
                      </a:cubicBezTo>
                      <a:cubicBezTo>
                        <a:pt x="252" y="103"/>
                        <a:pt x="255" y="97"/>
                        <a:pt x="257" y="93"/>
                      </a:cubicBezTo>
                      <a:cubicBezTo>
                        <a:pt x="259" y="89"/>
                        <a:pt x="254" y="88"/>
                        <a:pt x="251" y="84"/>
                      </a:cubicBezTo>
                      <a:cubicBezTo>
                        <a:pt x="248" y="81"/>
                        <a:pt x="248" y="70"/>
                        <a:pt x="245" y="69"/>
                      </a:cubicBezTo>
                      <a:cubicBezTo>
                        <a:pt x="245" y="69"/>
                        <a:pt x="245" y="69"/>
                        <a:pt x="245" y="69"/>
                      </a:cubicBezTo>
                      <a:cubicBezTo>
                        <a:pt x="242" y="67"/>
                        <a:pt x="236" y="59"/>
                        <a:pt x="231" y="58"/>
                      </a:cubicBezTo>
                      <a:cubicBezTo>
                        <a:pt x="229" y="58"/>
                        <a:pt x="227" y="57"/>
                        <a:pt x="224" y="56"/>
                      </a:cubicBezTo>
                      <a:cubicBezTo>
                        <a:pt x="222" y="55"/>
                        <a:pt x="219" y="54"/>
                        <a:pt x="216" y="54"/>
                      </a:cubicBezTo>
                      <a:cubicBezTo>
                        <a:pt x="212" y="54"/>
                        <a:pt x="208" y="56"/>
                        <a:pt x="206" y="54"/>
                      </a:cubicBezTo>
                      <a:cubicBezTo>
                        <a:pt x="204" y="52"/>
                        <a:pt x="202" y="52"/>
                        <a:pt x="200" y="54"/>
                      </a:cubicBezTo>
                      <a:cubicBezTo>
                        <a:pt x="200" y="54"/>
                        <a:pt x="199" y="54"/>
                        <a:pt x="199" y="54"/>
                      </a:cubicBezTo>
                      <a:cubicBezTo>
                        <a:pt x="197" y="54"/>
                        <a:pt x="194" y="48"/>
                        <a:pt x="192" y="48"/>
                      </a:cubicBezTo>
                      <a:cubicBezTo>
                        <a:pt x="190" y="48"/>
                        <a:pt x="187" y="46"/>
                        <a:pt x="188" y="43"/>
                      </a:cubicBezTo>
                      <a:cubicBezTo>
                        <a:pt x="188" y="40"/>
                        <a:pt x="183" y="39"/>
                        <a:pt x="180" y="36"/>
                      </a:cubicBezTo>
                      <a:cubicBezTo>
                        <a:pt x="179" y="35"/>
                        <a:pt x="178" y="35"/>
                        <a:pt x="177" y="34"/>
                      </a:cubicBezTo>
                      <a:cubicBezTo>
                        <a:pt x="173" y="33"/>
                        <a:pt x="167" y="33"/>
                        <a:pt x="165" y="33"/>
                      </a:cubicBezTo>
                      <a:cubicBezTo>
                        <a:pt x="162" y="33"/>
                        <a:pt x="167" y="29"/>
                        <a:pt x="167" y="26"/>
                      </a:cubicBezTo>
                      <a:cubicBezTo>
                        <a:pt x="167" y="23"/>
                        <a:pt x="159" y="23"/>
                        <a:pt x="155" y="22"/>
                      </a:cubicBezTo>
                      <a:cubicBezTo>
                        <a:pt x="152" y="21"/>
                        <a:pt x="153" y="18"/>
                        <a:pt x="156" y="17"/>
                      </a:cubicBezTo>
                      <a:cubicBezTo>
                        <a:pt x="160" y="17"/>
                        <a:pt x="154" y="15"/>
                        <a:pt x="150" y="15"/>
                      </a:cubicBezTo>
                      <a:cubicBezTo>
                        <a:pt x="145" y="16"/>
                        <a:pt x="138" y="19"/>
                        <a:pt x="134" y="21"/>
                      </a:cubicBezTo>
                      <a:cubicBezTo>
                        <a:pt x="130" y="23"/>
                        <a:pt x="123" y="15"/>
                        <a:pt x="119" y="16"/>
                      </a:cubicBezTo>
                      <a:cubicBezTo>
                        <a:pt x="114" y="18"/>
                        <a:pt x="108" y="18"/>
                        <a:pt x="108" y="15"/>
                      </a:cubicBezTo>
                      <a:cubicBezTo>
                        <a:pt x="109" y="11"/>
                        <a:pt x="107" y="8"/>
                        <a:pt x="102" y="8"/>
                      </a:cubicBezTo>
                      <a:cubicBezTo>
                        <a:pt x="98" y="9"/>
                        <a:pt x="99" y="4"/>
                        <a:pt x="95" y="4"/>
                      </a:cubicBezTo>
                      <a:cubicBezTo>
                        <a:pt x="92" y="4"/>
                        <a:pt x="95" y="8"/>
                        <a:pt x="93" y="9"/>
                      </a:cubicBezTo>
                      <a:cubicBezTo>
                        <a:pt x="91" y="10"/>
                        <a:pt x="83" y="12"/>
                        <a:pt x="82" y="15"/>
                      </a:cubicBezTo>
                      <a:cubicBezTo>
                        <a:pt x="82" y="19"/>
                        <a:pt x="86" y="24"/>
                        <a:pt x="85" y="27"/>
                      </a:cubicBezTo>
                      <a:cubicBezTo>
                        <a:pt x="83" y="30"/>
                        <a:pt x="78" y="28"/>
                        <a:pt x="76" y="24"/>
                      </a:cubicBezTo>
                      <a:cubicBezTo>
                        <a:pt x="75" y="21"/>
                        <a:pt x="81" y="16"/>
                        <a:pt x="80" y="14"/>
                      </a:cubicBezTo>
                      <a:cubicBezTo>
                        <a:pt x="79" y="12"/>
                        <a:pt x="78" y="10"/>
                        <a:pt x="79" y="8"/>
                      </a:cubicBezTo>
                      <a:cubicBezTo>
                        <a:pt x="79" y="7"/>
                        <a:pt x="80" y="7"/>
                        <a:pt x="81" y="7"/>
                      </a:cubicBezTo>
                      <a:cubicBezTo>
                        <a:pt x="84" y="6"/>
                        <a:pt x="86" y="4"/>
                        <a:pt x="83" y="2"/>
                      </a:cubicBezTo>
                      <a:cubicBezTo>
                        <a:pt x="79" y="0"/>
                        <a:pt x="77" y="5"/>
                        <a:pt x="74" y="6"/>
                      </a:cubicBezTo>
                      <a:cubicBezTo>
                        <a:pt x="70" y="6"/>
                        <a:pt x="69" y="9"/>
                        <a:pt x="67" y="10"/>
                      </a:cubicBezTo>
                      <a:cubicBezTo>
                        <a:pt x="64" y="11"/>
                        <a:pt x="59" y="10"/>
                        <a:pt x="59" y="12"/>
                      </a:cubicBezTo>
                      <a:cubicBezTo>
                        <a:pt x="59" y="15"/>
                        <a:pt x="58" y="12"/>
                        <a:pt x="56" y="12"/>
                      </a:cubicBezTo>
                      <a:cubicBezTo>
                        <a:pt x="53" y="11"/>
                        <a:pt x="48" y="16"/>
                        <a:pt x="48" y="19"/>
                      </a:cubicBezTo>
                      <a:cubicBezTo>
                        <a:pt x="48" y="21"/>
                        <a:pt x="49" y="24"/>
                        <a:pt x="45" y="26"/>
                      </a:cubicBezTo>
                      <a:cubicBezTo>
                        <a:pt x="41" y="29"/>
                        <a:pt x="39" y="34"/>
                        <a:pt x="37" y="36"/>
                      </a:cubicBezTo>
                      <a:cubicBezTo>
                        <a:pt x="37" y="36"/>
                        <a:pt x="36" y="36"/>
                        <a:pt x="35" y="36"/>
                      </a:cubicBezTo>
                      <a:cubicBezTo>
                        <a:pt x="35" y="37"/>
                        <a:pt x="35" y="38"/>
                        <a:pt x="34" y="39"/>
                      </a:cubicBezTo>
                      <a:cubicBezTo>
                        <a:pt x="33" y="39"/>
                        <a:pt x="31" y="42"/>
                        <a:pt x="29" y="44"/>
                      </a:cubicBezTo>
                      <a:cubicBezTo>
                        <a:pt x="30" y="45"/>
                        <a:pt x="31" y="46"/>
                        <a:pt x="31" y="46"/>
                      </a:cubicBezTo>
                      <a:cubicBezTo>
                        <a:pt x="34" y="49"/>
                        <a:pt x="32" y="51"/>
                        <a:pt x="33" y="53"/>
                      </a:cubicBezTo>
                      <a:cubicBezTo>
                        <a:pt x="34" y="54"/>
                        <a:pt x="34" y="56"/>
                        <a:pt x="33" y="57"/>
                      </a:cubicBezTo>
                      <a:cubicBezTo>
                        <a:pt x="32" y="58"/>
                        <a:pt x="33" y="68"/>
                        <a:pt x="34" y="70"/>
                      </a:cubicBezTo>
                      <a:cubicBezTo>
                        <a:pt x="36" y="71"/>
                        <a:pt x="34" y="73"/>
                        <a:pt x="33" y="77"/>
                      </a:cubicBezTo>
                      <a:cubicBezTo>
                        <a:pt x="31" y="80"/>
                        <a:pt x="29" y="82"/>
                        <a:pt x="26" y="82"/>
                      </a:cubicBezTo>
                      <a:cubicBezTo>
                        <a:pt x="23" y="82"/>
                        <a:pt x="23" y="87"/>
                        <a:pt x="22" y="87"/>
                      </a:cubicBezTo>
                      <a:cubicBezTo>
                        <a:pt x="21" y="87"/>
                        <a:pt x="21" y="89"/>
                        <a:pt x="20" y="90"/>
                      </a:cubicBezTo>
                      <a:cubicBezTo>
                        <a:pt x="20" y="91"/>
                        <a:pt x="20" y="91"/>
                        <a:pt x="20" y="92"/>
                      </a:cubicBezTo>
                      <a:cubicBezTo>
                        <a:pt x="21" y="93"/>
                        <a:pt x="18" y="94"/>
                        <a:pt x="15" y="94"/>
                      </a:cubicBezTo>
                      <a:cubicBezTo>
                        <a:pt x="12" y="95"/>
                        <a:pt x="12" y="98"/>
                        <a:pt x="12" y="100"/>
                      </a:cubicBezTo>
                      <a:cubicBezTo>
                        <a:pt x="12" y="103"/>
                        <a:pt x="10" y="103"/>
                        <a:pt x="9" y="105"/>
                      </a:cubicBezTo>
                      <a:cubicBezTo>
                        <a:pt x="8" y="108"/>
                        <a:pt x="9" y="108"/>
                        <a:pt x="6" y="109"/>
                      </a:cubicBezTo>
                      <a:cubicBezTo>
                        <a:pt x="4" y="111"/>
                        <a:pt x="3" y="113"/>
                        <a:pt x="5" y="115"/>
                      </a:cubicBezTo>
                      <a:cubicBezTo>
                        <a:pt x="6" y="117"/>
                        <a:pt x="5" y="119"/>
                        <a:pt x="4" y="120"/>
                      </a:cubicBezTo>
                      <a:cubicBezTo>
                        <a:pt x="4" y="122"/>
                        <a:pt x="6" y="122"/>
                        <a:pt x="9" y="124"/>
                      </a:cubicBezTo>
                      <a:cubicBezTo>
                        <a:pt x="11" y="127"/>
                        <a:pt x="12" y="123"/>
                        <a:pt x="13" y="125"/>
                      </a:cubicBezTo>
                      <a:cubicBezTo>
                        <a:pt x="14" y="127"/>
                        <a:pt x="12" y="130"/>
                        <a:pt x="9" y="130"/>
                      </a:cubicBezTo>
                      <a:cubicBezTo>
                        <a:pt x="9" y="130"/>
                        <a:pt x="9" y="130"/>
                        <a:pt x="9" y="130"/>
                      </a:cubicBezTo>
                      <a:cubicBezTo>
                        <a:pt x="6" y="131"/>
                        <a:pt x="3" y="135"/>
                        <a:pt x="2" y="137"/>
                      </a:cubicBezTo>
                      <a:cubicBezTo>
                        <a:pt x="0" y="140"/>
                        <a:pt x="4" y="146"/>
                        <a:pt x="5" y="148"/>
                      </a:cubicBezTo>
                      <a:cubicBezTo>
                        <a:pt x="5" y="151"/>
                        <a:pt x="3" y="149"/>
                        <a:pt x="2" y="151"/>
                      </a:cubicBezTo>
                      <a:cubicBezTo>
                        <a:pt x="2" y="153"/>
                        <a:pt x="8" y="155"/>
                        <a:pt x="11" y="158"/>
                      </a:cubicBezTo>
                      <a:cubicBezTo>
                        <a:pt x="14" y="160"/>
                        <a:pt x="16" y="166"/>
                        <a:pt x="19" y="169"/>
                      </a:cubicBezTo>
                      <a:cubicBezTo>
                        <a:pt x="22" y="171"/>
                        <a:pt x="22" y="174"/>
                        <a:pt x="25" y="181"/>
                      </a:cubicBezTo>
                      <a:cubicBezTo>
                        <a:pt x="28" y="188"/>
                        <a:pt x="33" y="200"/>
                        <a:pt x="37" y="205"/>
                      </a:cubicBezTo>
                      <a:cubicBezTo>
                        <a:pt x="41" y="210"/>
                        <a:pt x="43" y="214"/>
                        <a:pt x="42" y="215"/>
                      </a:cubicBezTo>
                      <a:cubicBezTo>
                        <a:pt x="41" y="216"/>
                        <a:pt x="42" y="220"/>
                        <a:pt x="45" y="222"/>
                      </a:cubicBezTo>
                      <a:cubicBezTo>
                        <a:pt x="48" y="224"/>
                        <a:pt x="50" y="227"/>
                        <a:pt x="58" y="231"/>
                      </a:cubicBezTo>
                      <a:cubicBezTo>
                        <a:pt x="65" y="235"/>
                        <a:pt x="79" y="242"/>
                        <a:pt x="81" y="245"/>
                      </a:cubicBezTo>
                      <a:cubicBezTo>
                        <a:pt x="83" y="249"/>
                        <a:pt x="89" y="252"/>
                        <a:pt x="91" y="253"/>
                      </a:cubicBezTo>
                      <a:cubicBezTo>
                        <a:pt x="91" y="253"/>
                        <a:pt x="91" y="254"/>
                        <a:pt x="91" y="254"/>
                      </a:cubicBezTo>
                      <a:cubicBezTo>
                        <a:pt x="91" y="256"/>
                        <a:pt x="90" y="260"/>
                        <a:pt x="91" y="262"/>
                      </a:cubicBezTo>
                      <a:cubicBezTo>
                        <a:pt x="92" y="264"/>
                        <a:pt x="93" y="277"/>
                        <a:pt x="92" y="282"/>
                      </a:cubicBezTo>
                      <a:cubicBezTo>
                        <a:pt x="91" y="287"/>
                        <a:pt x="90" y="291"/>
                        <a:pt x="89" y="294"/>
                      </a:cubicBezTo>
                      <a:cubicBezTo>
                        <a:pt x="87" y="297"/>
                        <a:pt x="91" y="298"/>
                        <a:pt x="90" y="299"/>
                      </a:cubicBezTo>
                      <a:cubicBezTo>
                        <a:pt x="88" y="300"/>
                        <a:pt x="89" y="304"/>
                        <a:pt x="89" y="310"/>
                      </a:cubicBezTo>
                      <a:cubicBezTo>
                        <a:pt x="89" y="315"/>
                        <a:pt x="85" y="325"/>
                        <a:pt x="85" y="328"/>
                      </a:cubicBezTo>
                      <a:cubicBezTo>
                        <a:pt x="85" y="331"/>
                        <a:pt x="83" y="333"/>
                        <a:pt x="83" y="336"/>
                      </a:cubicBezTo>
                      <a:cubicBezTo>
                        <a:pt x="83" y="340"/>
                        <a:pt x="81" y="342"/>
                        <a:pt x="79" y="343"/>
                      </a:cubicBezTo>
                      <a:cubicBezTo>
                        <a:pt x="77" y="345"/>
                        <a:pt x="83" y="350"/>
                        <a:pt x="82" y="353"/>
                      </a:cubicBezTo>
                      <a:cubicBezTo>
                        <a:pt x="82" y="356"/>
                        <a:pt x="79" y="357"/>
                        <a:pt x="79" y="362"/>
                      </a:cubicBezTo>
                      <a:cubicBezTo>
                        <a:pt x="81" y="368"/>
                        <a:pt x="79" y="377"/>
                        <a:pt x="79" y="379"/>
                      </a:cubicBezTo>
                      <a:cubicBezTo>
                        <a:pt x="79" y="381"/>
                        <a:pt x="77" y="381"/>
                        <a:pt x="78" y="385"/>
                      </a:cubicBezTo>
                      <a:cubicBezTo>
                        <a:pt x="78" y="389"/>
                        <a:pt x="75" y="390"/>
                        <a:pt x="75" y="395"/>
                      </a:cubicBezTo>
                      <a:cubicBezTo>
                        <a:pt x="74" y="400"/>
                        <a:pt x="70" y="408"/>
                        <a:pt x="69" y="412"/>
                      </a:cubicBezTo>
                      <a:cubicBezTo>
                        <a:pt x="67" y="416"/>
                        <a:pt x="67" y="418"/>
                        <a:pt x="65" y="418"/>
                      </a:cubicBezTo>
                      <a:cubicBezTo>
                        <a:pt x="63" y="418"/>
                        <a:pt x="62" y="421"/>
                        <a:pt x="64" y="424"/>
                      </a:cubicBezTo>
                      <a:cubicBezTo>
                        <a:pt x="65" y="428"/>
                        <a:pt x="63" y="431"/>
                        <a:pt x="65" y="435"/>
                      </a:cubicBezTo>
                      <a:cubicBezTo>
                        <a:pt x="67" y="438"/>
                        <a:pt x="66" y="439"/>
                        <a:pt x="65" y="443"/>
                      </a:cubicBezTo>
                      <a:cubicBezTo>
                        <a:pt x="64" y="446"/>
                        <a:pt x="63" y="446"/>
                        <a:pt x="63" y="449"/>
                      </a:cubicBezTo>
                      <a:cubicBezTo>
                        <a:pt x="63" y="453"/>
                        <a:pt x="60" y="455"/>
                        <a:pt x="62" y="459"/>
                      </a:cubicBezTo>
                      <a:cubicBezTo>
                        <a:pt x="63" y="463"/>
                        <a:pt x="63" y="464"/>
                        <a:pt x="61" y="464"/>
                      </a:cubicBezTo>
                      <a:cubicBezTo>
                        <a:pt x="59" y="464"/>
                        <a:pt x="58" y="467"/>
                        <a:pt x="57" y="473"/>
                      </a:cubicBezTo>
                      <a:cubicBezTo>
                        <a:pt x="57" y="478"/>
                        <a:pt x="57" y="478"/>
                        <a:pt x="61" y="478"/>
                      </a:cubicBezTo>
                      <a:cubicBezTo>
                        <a:pt x="66" y="478"/>
                        <a:pt x="62" y="463"/>
                        <a:pt x="65" y="463"/>
                      </a:cubicBezTo>
                      <a:cubicBezTo>
                        <a:pt x="67" y="463"/>
                        <a:pt x="65" y="461"/>
                        <a:pt x="68" y="460"/>
                      </a:cubicBezTo>
                      <a:cubicBezTo>
                        <a:pt x="71" y="460"/>
                        <a:pt x="68" y="463"/>
                        <a:pt x="70" y="463"/>
                      </a:cubicBezTo>
                      <a:cubicBezTo>
                        <a:pt x="72" y="464"/>
                        <a:pt x="73" y="465"/>
                        <a:pt x="71" y="467"/>
                      </a:cubicBezTo>
                      <a:cubicBezTo>
                        <a:pt x="68" y="469"/>
                        <a:pt x="71" y="472"/>
                        <a:pt x="70" y="474"/>
                      </a:cubicBezTo>
                      <a:cubicBezTo>
                        <a:pt x="69" y="476"/>
                        <a:pt x="67" y="478"/>
                        <a:pt x="68" y="480"/>
                      </a:cubicBezTo>
                      <a:cubicBezTo>
                        <a:pt x="69" y="482"/>
                        <a:pt x="67" y="482"/>
                        <a:pt x="66" y="485"/>
                      </a:cubicBezTo>
                      <a:cubicBezTo>
                        <a:pt x="66" y="488"/>
                        <a:pt x="68" y="489"/>
                        <a:pt x="67" y="489"/>
                      </a:cubicBezTo>
                      <a:cubicBezTo>
                        <a:pt x="66" y="490"/>
                        <a:pt x="68" y="492"/>
                        <a:pt x="67" y="493"/>
                      </a:cubicBezTo>
                      <a:cubicBezTo>
                        <a:pt x="65" y="493"/>
                        <a:pt x="66" y="495"/>
                        <a:pt x="67" y="497"/>
                      </a:cubicBezTo>
                      <a:cubicBezTo>
                        <a:pt x="68" y="500"/>
                        <a:pt x="65" y="498"/>
                        <a:pt x="63" y="500"/>
                      </a:cubicBezTo>
                      <a:cubicBezTo>
                        <a:pt x="61" y="501"/>
                        <a:pt x="65" y="503"/>
                        <a:pt x="64" y="505"/>
                      </a:cubicBezTo>
                      <a:cubicBezTo>
                        <a:pt x="62" y="507"/>
                        <a:pt x="60" y="504"/>
                        <a:pt x="58" y="503"/>
                      </a:cubicBezTo>
                      <a:cubicBezTo>
                        <a:pt x="57" y="502"/>
                        <a:pt x="60" y="500"/>
                        <a:pt x="62" y="498"/>
                      </a:cubicBezTo>
                      <a:cubicBezTo>
                        <a:pt x="64" y="496"/>
                        <a:pt x="60" y="491"/>
                        <a:pt x="58" y="492"/>
                      </a:cubicBezTo>
                      <a:cubicBezTo>
                        <a:pt x="55" y="493"/>
                        <a:pt x="60" y="496"/>
                        <a:pt x="60" y="498"/>
                      </a:cubicBezTo>
                      <a:cubicBezTo>
                        <a:pt x="60" y="501"/>
                        <a:pt x="56" y="498"/>
                        <a:pt x="56" y="500"/>
                      </a:cubicBezTo>
                      <a:cubicBezTo>
                        <a:pt x="56" y="503"/>
                        <a:pt x="53" y="502"/>
                        <a:pt x="51" y="504"/>
                      </a:cubicBezTo>
                      <a:cubicBezTo>
                        <a:pt x="50" y="505"/>
                        <a:pt x="54" y="507"/>
                        <a:pt x="52" y="507"/>
                      </a:cubicBezTo>
                      <a:cubicBezTo>
                        <a:pt x="50" y="508"/>
                        <a:pt x="47" y="510"/>
                        <a:pt x="47" y="512"/>
                      </a:cubicBezTo>
                      <a:cubicBezTo>
                        <a:pt x="47" y="514"/>
                        <a:pt x="49" y="514"/>
                        <a:pt x="49" y="513"/>
                      </a:cubicBezTo>
                      <a:cubicBezTo>
                        <a:pt x="49" y="511"/>
                        <a:pt x="52" y="510"/>
                        <a:pt x="53" y="513"/>
                      </a:cubicBezTo>
                      <a:cubicBezTo>
                        <a:pt x="53" y="515"/>
                        <a:pt x="55" y="513"/>
                        <a:pt x="57" y="513"/>
                      </a:cubicBezTo>
                      <a:cubicBezTo>
                        <a:pt x="60" y="514"/>
                        <a:pt x="59" y="517"/>
                        <a:pt x="58" y="517"/>
                      </a:cubicBezTo>
                      <a:cubicBezTo>
                        <a:pt x="56" y="517"/>
                        <a:pt x="55" y="520"/>
                        <a:pt x="55" y="522"/>
                      </a:cubicBezTo>
                      <a:cubicBezTo>
                        <a:pt x="56" y="525"/>
                        <a:pt x="61" y="522"/>
                        <a:pt x="63" y="523"/>
                      </a:cubicBezTo>
                      <a:cubicBezTo>
                        <a:pt x="65" y="524"/>
                        <a:pt x="64" y="527"/>
                        <a:pt x="63" y="526"/>
                      </a:cubicBezTo>
                      <a:cubicBezTo>
                        <a:pt x="62" y="525"/>
                        <a:pt x="59" y="523"/>
                        <a:pt x="58" y="525"/>
                      </a:cubicBezTo>
                      <a:cubicBezTo>
                        <a:pt x="56" y="527"/>
                        <a:pt x="54" y="526"/>
                        <a:pt x="53" y="525"/>
                      </a:cubicBezTo>
                      <a:cubicBezTo>
                        <a:pt x="51" y="525"/>
                        <a:pt x="46" y="528"/>
                        <a:pt x="48" y="530"/>
                      </a:cubicBezTo>
                      <a:cubicBezTo>
                        <a:pt x="49" y="531"/>
                        <a:pt x="49" y="533"/>
                        <a:pt x="51" y="533"/>
                      </a:cubicBezTo>
                      <a:cubicBezTo>
                        <a:pt x="52" y="533"/>
                        <a:pt x="54" y="532"/>
                        <a:pt x="54" y="531"/>
                      </a:cubicBezTo>
                      <a:cubicBezTo>
                        <a:pt x="55" y="529"/>
                        <a:pt x="58" y="528"/>
                        <a:pt x="58" y="531"/>
                      </a:cubicBezTo>
                      <a:cubicBezTo>
                        <a:pt x="58" y="534"/>
                        <a:pt x="54" y="533"/>
                        <a:pt x="54" y="535"/>
                      </a:cubicBezTo>
                      <a:cubicBezTo>
                        <a:pt x="53" y="536"/>
                        <a:pt x="52" y="538"/>
                        <a:pt x="49" y="539"/>
                      </a:cubicBezTo>
                      <a:cubicBezTo>
                        <a:pt x="47" y="541"/>
                        <a:pt x="49" y="544"/>
                        <a:pt x="51" y="543"/>
                      </a:cubicBezTo>
                      <a:cubicBezTo>
                        <a:pt x="53" y="542"/>
                        <a:pt x="51" y="545"/>
                        <a:pt x="53" y="545"/>
                      </a:cubicBezTo>
                      <a:cubicBezTo>
                        <a:pt x="56" y="546"/>
                        <a:pt x="56" y="544"/>
                        <a:pt x="56" y="542"/>
                      </a:cubicBezTo>
                      <a:cubicBezTo>
                        <a:pt x="55" y="540"/>
                        <a:pt x="57" y="536"/>
                        <a:pt x="59" y="538"/>
                      </a:cubicBezTo>
                      <a:cubicBezTo>
                        <a:pt x="61" y="540"/>
                        <a:pt x="58" y="542"/>
                        <a:pt x="58" y="544"/>
                      </a:cubicBezTo>
                      <a:cubicBezTo>
                        <a:pt x="58" y="546"/>
                        <a:pt x="57" y="548"/>
                        <a:pt x="57" y="550"/>
                      </a:cubicBezTo>
                      <a:cubicBezTo>
                        <a:pt x="57" y="552"/>
                        <a:pt x="54" y="551"/>
                        <a:pt x="55" y="553"/>
                      </a:cubicBezTo>
                      <a:cubicBezTo>
                        <a:pt x="55" y="555"/>
                        <a:pt x="50" y="554"/>
                        <a:pt x="52" y="555"/>
                      </a:cubicBezTo>
                      <a:cubicBezTo>
                        <a:pt x="54" y="557"/>
                        <a:pt x="51" y="559"/>
                        <a:pt x="52" y="560"/>
                      </a:cubicBezTo>
                      <a:cubicBezTo>
                        <a:pt x="53" y="561"/>
                        <a:pt x="54" y="558"/>
                        <a:pt x="56" y="559"/>
                      </a:cubicBezTo>
                      <a:cubicBezTo>
                        <a:pt x="58" y="560"/>
                        <a:pt x="58" y="560"/>
                        <a:pt x="60" y="559"/>
                      </a:cubicBezTo>
                      <a:cubicBezTo>
                        <a:pt x="63" y="558"/>
                        <a:pt x="64" y="561"/>
                        <a:pt x="62" y="562"/>
                      </a:cubicBezTo>
                      <a:cubicBezTo>
                        <a:pt x="59" y="562"/>
                        <a:pt x="57" y="565"/>
                        <a:pt x="58" y="565"/>
                      </a:cubicBezTo>
                      <a:cubicBezTo>
                        <a:pt x="59" y="566"/>
                        <a:pt x="62" y="564"/>
                        <a:pt x="63" y="566"/>
                      </a:cubicBezTo>
                      <a:cubicBezTo>
                        <a:pt x="64" y="568"/>
                        <a:pt x="65" y="568"/>
                        <a:pt x="66" y="565"/>
                      </a:cubicBezTo>
                      <a:cubicBezTo>
                        <a:pt x="66" y="563"/>
                        <a:pt x="70" y="565"/>
                        <a:pt x="71" y="567"/>
                      </a:cubicBezTo>
                      <a:cubicBezTo>
                        <a:pt x="71" y="569"/>
                        <a:pt x="66" y="570"/>
                        <a:pt x="64" y="570"/>
                      </a:cubicBezTo>
                      <a:cubicBezTo>
                        <a:pt x="61" y="569"/>
                        <a:pt x="59" y="572"/>
                        <a:pt x="61" y="575"/>
                      </a:cubicBezTo>
                      <a:cubicBezTo>
                        <a:pt x="63" y="577"/>
                        <a:pt x="65" y="575"/>
                        <a:pt x="67" y="573"/>
                      </a:cubicBezTo>
                      <a:cubicBezTo>
                        <a:pt x="69" y="571"/>
                        <a:pt x="79" y="571"/>
                        <a:pt x="79" y="573"/>
                      </a:cubicBezTo>
                      <a:cubicBezTo>
                        <a:pt x="80" y="575"/>
                        <a:pt x="75" y="574"/>
                        <a:pt x="74" y="575"/>
                      </a:cubicBezTo>
                      <a:cubicBezTo>
                        <a:pt x="74" y="576"/>
                        <a:pt x="70" y="577"/>
                        <a:pt x="69" y="576"/>
                      </a:cubicBezTo>
                      <a:cubicBezTo>
                        <a:pt x="69" y="574"/>
                        <a:pt x="65" y="576"/>
                        <a:pt x="65" y="579"/>
                      </a:cubicBezTo>
                      <a:cubicBezTo>
                        <a:pt x="65" y="581"/>
                        <a:pt x="62" y="581"/>
                        <a:pt x="65" y="582"/>
                      </a:cubicBezTo>
                      <a:cubicBezTo>
                        <a:pt x="68" y="583"/>
                        <a:pt x="67" y="578"/>
                        <a:pt x="72" y="579"/>
                      </a:cubicBezTo>
                      <a:cubicBezTo>
                        <a:pt x="77" y="579"/>
                        <a:pt x="80" y="574"/>
                        <a:pt x="82" y="577"/>
                      </a:cubicBezTo>
                      <a:cubicBezTo>
                        <a:pt x="83" y="580"/>
                        <a:pt x="77" y="582"/>
                        <a:pt x="76" y="580"/>
                      </a:cubicBezTo>
                      <a:cubicBezTo>
                        <a:pt x="74" y="579"/>
                        <a:pt x="71" y="582"/>
                        <a:pt x="71" y="584"/>
                      </a:cubicBezTo>
                      <a:cubicBezTo>
                        <a:pt x="72" y="587"/>
                        <a:pt x="66" y="584"/>
                        <a:pt x="63" y="583"/>
                      </a:cubicBezTo>
                      <a:cubicBezTo>
                        <a:pt x="60" y="583"/>
                        <a:pt x="61" y="586"/>
                        <a:pt x="64" y="589"/>
                      </a:cubicBezTo>
                      <a:cubicBezTo>
                        <a:pt x="66" y="591"/>
                        <a:pt x="68" y="588"/>
                        <a:pt x="71" y="590"/>
                      </a:cubicBezTo>
                      <a:cubicBezTo>
                        <a:pt x="74" y="592"/>
                        <a:pt x="74" y="594"/>
                        <a:pt x="76" y="592"/>
                      </a:cubicBezTo>
                      <a:cubicBezTo>
                        <a:pt x="78" y="590"/>
                        <a:pt x="76" y="591"/>
                        <a:pt x="74" y="590"/>
                      </a:cubicBezTo>
                      <a:cubicBezTo>
                        <a:pt x="73" y="589"/>
                        <a:pt x="74" y="586"/>
                        <a:pt x="78" y="587"/>
                      </a:cubicBezTo>
                      <a:cubicBezTo>
                        <a:pt x="81" y="589"/>
                        <a:pt x="85" y="586"/>
                        <a:pt x="84" y="582"/>
                      </a:cubicBezTo>
                      <a:cubicBezTo>
                        <a:pt x="83" y="577"/>
                        <a:pt x="87" y="575"/>
                        <a:pt x="91" y="574"/>
                      </a:cubicBezTo>
                      <a:cubicBezTo>
                        <a:pt x="95" y="573"/>
                        <a:pt x="93" y="577"/>
                        <a:pt x="90" y="578"/>
                      </a:cubicBezTo>
                      <a:cubicBezTo>
                        <a:pt x="87" y="579"/>
                        <a:pt x="86" y="580"/>
                        <a:pt x="89" y="583"/>
                      </a:cubicBezTo>
                      <a:cubicBezTo>
                        <a:pt x="91" y="585"/>
                        <a:pt x="94" y="581"/>
                        <a:pt x="96" y="583"/>
                      </a:cubicBezTo>
                      <a:cubicBezTo>
                        <a:pt x="98" y="585"/>
                        <a:pt x="92" y="585"/>
                        <a:pt x="92" y="586"/>
                      </a:cubicBezTo>
                      <a:cubicBezTo>
                        <a:pt x="91" y="588"/>
                        <a:pt x="95" y="591"/>
                        <a:pt x="92" y="592"/>
                      </a:cubicBezTo>
                      <a:cubicBezTo>
                        <a:pt x="89" y="594"/>
                        <a:pt x="90" y="586"/>
                        <a:pt x="89" y="586"/>
                      </a:cubicBezTo>
                      <a:cubicBezTo>
                        <a:pt x="87" y="585"/>
                        <a:pt x="85" y="586"/>
                        <a:pt x="87" y="591"/>
                      </a:cubicBezTo>
                      <a:cubicBezTo>
                        <a:pt x="89" y="595"/>
                        <a:pt x="85" y="591"/>
                        <a:pt x="83" y="589"/>
                      </a:cubicBezTo>
                      <a:cubicBezTo>
                        <a:pt x="81" y="587"/>
                        <a:pt x="79" y="590"/>
                        <a:pt x="81" y="592"/>
                      </a:cubicBezTo>
                      <a:cubicBezTo>
                        <a:pt x="83" y="594"/>
                        <a:pt x="77" y="592"/>
                        <a:pt x="77" y="595"/>
                      </a:cubicBezTo>
                      <a:cubicBezTo>
                        <a:pt x="77" y="599"/>
                        <a:pt x="79" y="596"/>
                        <a:pt x="83" y="597"/>
                      </a:cubicBezTo>
                      <a:cubicBezTo>
                        <a:pt x="86" y="597"/>
                        <a:pt x="84" y="602"/>
                        <a:pt x="87" y="604"/>
                      </a:cubicBezTo>
                      <a:cubicBezTo>
                        <a:pt x="89" y="606"/>
                        <a:pt x="87" y="598"/>
                        <a:pt x="90" y="598"/>
                      </a:cubicBezTo>
                      <a:cubicBezTo>
                        <a:pt x="92" y="597"/>
                        <a:pt x="90" y="603"/>
                        <a:pt x="95" y="605"/>
                      </a:cubicBezTo>
                      <a:cubicBezTo>
                        <a:pt x="101" y="607"/>
                        <a:pt x="96" y="604"/>
                        <a:pt x="98" y="602"/>
                      </a:cubicBezTo>
                      <a:cubicBezTo>
                        <a:pt x="101" y="600"/>
                        <a:pt x="104" y="608"/>
                        <a:pt x="107" y="608"/>
                      </a:cubicBezTo>
                      <a:cubicBezTo>
                        <a:pt x="109" y="609"/>
                        <a:pt x="107" y="605"/>
                        <a:pt x="105" y="603"/>
                      </a:cubicBezTo>
                      <a:cubicBezTo>
                        <a:pt x="104" y="601"/>
                        <a:pt x="107" y="602"/>
                        <a:pt x="110" y="603"/>
                      </a:cubicBezTo>
                      <a:cubicBezTo>
                        <a:pt x="113" y="604"/>
                        <a:pt x="115" y="604"/>
                        <a:pt x="115" y="602"/>
                      </a:cubicBezTo>
                      <a:cubicBezTo>
                        <a:pt x="116" y="601"/>
                        <a:pt x="116" y="601"/>
                        <a:pt x="117" y="602"/>
                      </a:cubicBezTo>
                      <a:cubicBezTo>
                        <a:pt x="118" y="602"/>
                        <a:pt x="119" y="603"/>
                        <a:pt x="120" y="602"/>
                      </a:cubicBezTo>
                      <a:cubicBezTo>
                        <a:pt x="122" y="600"/>
                        <a:pt x="128" y="601"/>
                        <a:pt x="130" y="599"/>
                      </a:cubicBezTo>
                      <a:cubicBezTo>
                        <a:pt x="133" y="597"/>
                        <a:pt x="130" y="597"/>
                        <a:pt x="125" y="596"/>
                      </a:cubicBezTo>
                      <a:cubicBezTo>
                        <a:pt x="121" y="596"/>
                        <a:pt x="112" y="588"/>
                        <a:pt x="109" y="586"/>
                      </a:cubicBezTo>
                      <a:cubicBezTo>
                        <a:pt x="107" y="584"/>
                        <a:pt x="109" y="582"/>
                        <a:pt x="105" y="582"/>
                      </a:cubicBezTo>
                      <a:cubicBezTo>
                        <a:pt x="102" y="583"/>
                        <a:pt x="104" y="580"/>
                        <a:pt x="106" y="579"/>
                      </a:cubicBezTo>
                      <a:cubicBezTo>
                        <a:pt x="108" y="578"/>
                        <a:pt x="105" y="575"/>
                        <a:pt x="103" y="574"/>
                      </a:cubicBezTo>
                      <a:cubicBezTo>
                        <a:pt x="103" y="574"/>
                        <a:pt x="103" y="574"/>
                        <a:pt x="103" y="574"/>
                      </a:cubicBezTo>
                      <a:cubicBezTo>
                        <a:pt x="103" y="574"/>
                        <a:pt x="103" y="574"/>
                        <a:pt x="103" y="574"/>
                      </a:cubicBezTo>
                      <a:cubicBezTo>
                        <a:pt x="100" y="574"/>
                        <a:pt x="95" y="575"/>
                        <a:pt x="96" y="571"/>
                      </a:cubicBezTo>
                      <a:cubicBezTo>
                        <a:pt x="96" y="571"/>
                        <a:pt x="97" y="570"/>
                        <a:pt x="97" y="570"/>
                      </a:cubicBezTo>
                      <a:cubicBezTo>
                        <a:pt x="99" y="569"/>
                        <a:pt x="104" y="572"/>
                        <a:pt x="105" y="571"/>
                      </a:cubicBezTo>
                      <a:cubicBezTo>
                        <a:pt x="106" y="570"/>
                        <a:pt x="100" y="565"/>
                        <a:pt x="100" y="564"/>
                      </a:cubicBezTo>
                      <a:cubicBezTo>
                        <a:pt x="100" y="562"/>
                        <a:pt x="99" y="559"/>
                        <a:pt x="99" y="558"/>
                      </a:cubicBezTo>
                      <a:cubicBezTo>
                        <a:pt x="99" y="556"/>
                        <a:pt x="99" y="552"/>
                        <a:pt x="101" y="550"/>
                      </a:cubicBezTo>
                      <a:cubicBezTo>
                        <a:pt x="104" y="548"/>
                        <a:pt x="104" y="547"/>
                        <a:pt x="105" y="547"/>
                      </a:cubicBezTo>
                      <a:cubicBezTo>
                        <a:pt x="107" y="547"/>
                        <a:pt x="110" y="545"/>
                        <a:pt x="110" y="541"/>
                      </a:cubicBezTo>
                      <a:cubicBezTo>
                        <a:pt x="110" y="537"/>
                        <a:pt x="112" y="535"/>
                        <a:pt x="116" y="532"/>
                      </a:cubicBezTo>
                      <a:cubicBezTo>
                        <a:pt x="120" y="529"/>
                        <a:pt x="126" y="526"/>
                        <a:pt x="125" y="524"/>
                      </a:cubicBezTo>
                      <a:cubicBezTo>
                        <a:pt x="125" y="523"/>
                        <a:pt x="127" y="518"/>
                        <a:pt x="127" y="517"/>
                      </a:cubicBezTo>
                      <a:cubicBezTo>
                        <a:pt x="127" y="515"/>
                        <a:pt x="121" y="515"/>
                        <a:pt x="119" y="514"/>
                      </a:cubicBezTo>
                      <a:cubicBezTo>
                        <a:pt x="117" y="514"/>
                        <a:pt x="110" y="509"/>
                        <a:pt x="113" y="502"/>
                      </a:cubicBezTo>
                      <a:cubicBezTo>
                        <a:pt x="117" y="496"/>
                        <a:pt x="124" y="495"/>
                        <a:pt x="127" y="495"/>
                      </a:cubicBezTo>
                      <a:cubicBezTo>
                        <a:pt x="129" y="494"/>
                        <a:pt x="127" y="491"/>
                        <a:pt x="128" y="490"/>
                      </a:cubicBezTo>
                      <a:cubicBezTo>
                        <a:pt x="130" y="489"/>
                        <a:pt x="131" y="487"/>
                        <a:pt x="131" y="485"/>
                      </a:cubicBezTo>
                      <a:cubicBezTo>
                        <a:pt x="131" y="482"/>
                        <a:pt x="131" y="477"/>
                        <a:pt x="134" y="477"/>
                      </a:cubicBezTo>
                      <a:cubicBezTo>
                        <a:pt x="137" y="476"/>
                        <a:pt x="138" y="474"/>
                        <a:pt x="136" y="474"/>
                      </a:cubicBezTo>
                      <a:cubicBezTo>
                        <a:pt x="134" y="473"/>
                        <a:pt x="133" y="471"/>
                        <a:pt x="136" y="471"/>
                      </a:cubicBezTo>
                      <a:cubicBezTo>
                        <a:pt x="140" y="470"/>
                        <a:pt x="138" y="473"/>
                        <a:pt x="141" y="473"/>
                      </a:cubicBezTo>
                      <a:cubicBezTo>
                        <a:pt x="143" y="473"/>
                        <a:pt x="147" y="469"/>
                        <a:pt x="144" y="467"/>
                      </a:cubicBezTo>
                      <a:cubicBezTo>
                        <a:pt x="141" y="465"/>
                        <a:pt x="140" y="468"/>
                        <a:pt x="138" y="469"/>
                      </a:cubicBezTo>
                      <a:cubicBezTo>
                        <a:pt x="137" y="469"/>
                        <a:pt x="136" y="466"/>
                        <a:pt x="134" y="466"/>
                      </a:cubicBezTo>
                      <a:cubicBezTo>
                        <a:pt x="132" y="466"/>
                        <a:pt x="133" y="462"/>
                        <a:pt x="133" y="460"/>
                      </a:cubicBezTo>
                      <a:cubicBezTo>
                        <a:pt x="132" y="459"/>
                        <a:pt x="131" y="455"/>
                        <a:pt x="132" y="453"/>
                      </a:cubicBezTo>
                      <a:cubicBezTo>
                        <a:pt x="134" y="451"/>
                        <a:pt x="140" y="456"/>
                        <a:pt x="145" y="456"/>
                      </a:cubicBezTo>
                      <a:cubicBezTo>
                        <a:pt x="151" y="457"/>
                        <a:pt x="155" y="454"/>
                        <a:pt x="155" y="452"/>
                      </a:cubicBezTo>
                      <a:cubicBezTo>
                        <a:pt x="155" y="450"/>
                        <a:pt x="152" y="446"/>
                        <a:pt x="155" y="444"/>
                      </a:cubicBezTo>
                      <a:cubicBezTo>
                        <a:pt x="158" y="442"/>
                        <a:pt x="156" y="441"/>
                        <a:pt x="155" y="438"/>
                      </a:cubicBezTo>
                      <a:cubicBezTo>
                        <a:pt x="154" y="435"/>
                        <a:pt x="156" y="434"/>
                        <a:pt x="158" y="435"/>
                      </a:cubicBezTo>
                      <a:cubicBezTo>
                        <a:pt x="159" y="436"/>
                        <a:pt x="170" y="436"/>
                        <a:pt x="178" y="434"/>
                      </a:cubicBezTo>
                      <a:cubicBezTo>
                        <a:pt x="187" y="432"/>
                        <a:pt x="193" y="429"/>
                        <a:pt x="194" y="426"/>
                      </a:cubicBezTo>
                      <a:cubicBezTo>
                        <a:pt x="194" y="424"/>
                        <a:pt x="200" y="418"/>
                        <a:pt x="201" y="416"/>
                      </a:cubicBezTo>
                      <a:cubicBezTo>
                        <a:pt x="202" y="414"/>
                        <a:pt x="201" y="411"/>
                        <a:pt x="198" y="410"/>
                      </a:cubicBezTo>
                      <a:cubicBezTo>
                        <a:pt x="194" y="410"/>
                        <a:pt x="194" y="406"/>
                        <a:pt x="196" y="403"/>
                      </a:cubicBezTo>
                      <a:cubicBezTo>
                        <a:pt x="198" y="401"/>
                        <a:pt x="195" y="399"/>
                        <a:pt x="192" y="399"/>
                      </a:cubicBezTo>
                      <a:cubicBezTo>
                        <a:pt x="188" y="398"/>
                        <a:pt x="183" y="396"/>
                        <a:pt x="186" y="393"/>
                      </a:cubicBezTo>
                      <a:cubicBezTo>
                        <a:pt x="188" y="392"/>
                        <a:pt x="188" y="392"/>
                        <a:pt x="189" y="393"/>
                      </a:cubicBezTo>
                      <a:cubicBezTo>
                        <a:pt x="190" y="393"/>
                        <a:pt x="190" y="394"/>
                        <a:pt x="192" y="394"/>
                      </a:cubicBezTo>
                      <a:cubicBezTo>
                        <a:pt x="195" y="394"/>
                        <a:pt x="199" y="395"/>
                        <a:pt x="202" y="397"/>
                      </a:cubicBezTo>
                      <a:cubicBezTo>
                        <a:pt x="206" y="399"/>
                        <a:pt x="205" y="396"/>
                        <a:pt x="209" y="397"/>
                      </a:cubicBezTo>
                      <a:cubicBezTo>
                        <a:pt x="212" y="397"/>
                        <a:pt x="217" y="398"/>
                        <a:pt x="221" y="395"/>
                      </a:cubicBezTo>
                      <a:cubicBezTo>
                        <a:pt x="224" y="394"/>
                        <a:pt x="225" y="391"/>
                        <a:pt x="227" y="388"/>
                      </a:cubicBezTo>
                      <a:cubicBezTo>
                        <a:pt x="228" y="386"/>
                        <a:pt x="229" y="385"/>
                        <a:pt x="231" y="384"/>
                      </a:cubicBezTo>
                      <a:cubicBezTo>
                        <a:pt x="236" y="380"/>
                        <a:pt x="235" y="378"/>
                        <a:pt x="237" y="374"/>
                      </a:cubicBezTo>
                      <a:cubicBezTo>
                        <a:pt x="239" y="370"/>
                        <a:pt x="237" y="368"/>
                        <a:pt x="241" y="364"/>
                      </a:cubicBezTo>
                      <a:cubicBezTo>
                        <a:pt x="245" y="361"/>
                        <a:pt x="241" y="358"/>
                        <a:pt x="246" y="356"/>
                      </a:cubicBezTo>
                      <a:cubicBezTo>
                        <a:pt x="251" y="353"/>
                        <a:pt x="250" y="358"/>
                        <a:pt x="246" y="363"/>
                      </a:cubicBezTo>
                      <a:cubicBezTo>
                        <a:pt x="242" y="368"/>
                        <a:pt x="241" y="370"/>
                        <a:pt x="246" y="366"/>
                      </a:cubicBezTo>
                      <a:cubicBezTo>
                        <a:pt x="252" y="362"/>
                        <a:pt x="254" y="356"/>
                        <a:pt x="257" y="350"/>
                      </a:cubicBezTo>
                      <a:cubicBezTo>
                        <a:pt x="260" y="344"/>
                        <a:pt x="262" y="342"/>
                        <a:pt x="265" y="341"/>
                      </a:cubicBezTo>
                      <a:cubicBezTo>
                        <a:pt x="267" y="341"/>
                        <a:pt x="267" y="334"/>
                        <a:pt x="267" y="330"/>
                      </a:cubicBezTo>
                      <a:cubicBezTo>
                        <a:pt x="267" y="325"/>
                        <a:pt x="265" y="321"/>
                        <a:pt x="267" y="318"/>
                      </a:cubicBezTo>
                      <a:cubicBezTo>
                        <a:pt x="269" y="315"/>
                        <a:pt x="267" y="312"/>
                        <a:pt x="270" y="312"/>
                      </a:cubicBezTo>
                      <a:cubicBezTo>
                        <a:pt x="272" y="312"/>
                        <a:pt x="276" y="308"/>
                        <a:pt x="280" y="304"/>
                      </a:cubicBezTo>
                      <a:cubicBezTo>
                        <a:pt x="284" y="300"/>
                        <a:pt x="286" y="300"/>
                        <a:pt x="290" y="300"/>
                      </a:cubicBezTo>
                      <a:cubicBezTo>
                        <a:pt x="295" y="299"/>
                        <a:pt x="292" y="298"/>
                        <a:pt x="295" y="297"/>
                      </a:cubicBezTo>
                      <a:cubicBezTo>
                        <a:pt x="298" y="296"/>
                        <a:pt x="299" y="294"/>
                        <a:pt x="301" y="292"/>
                      </a:cubicBezTo>
                      <a:cubicBezTo>
                        <a:pt x="303" y="291"/>
                        <a:pt x="310" y="293"/>
                        <a:pt x="314" y="293"/>
                      </a:cubicBezTo>
                      <a:cubicBezTo>
                        <a:pt x="319" y="293"/>
                        <a:pt x="322" y="293"/>
                        <a:pt x="322" y="290"/>
                      </a:cubicBezTo>
                      <a:cubicBezTo>
                        <a:pt x="322" y="288"/>
                        <a:pt x="324" y="285"/>
                        <a:pt x="326" y="285"/>
                      </a:cubicBezTo>
                      <a:cubicBezTo>
                        <a:pt x="329" y="285"/>
                        <a:pt x="330" y="285"/>
                        <a:pt x="330" y="281"/>
                      </a:cubicBezTo>
                      <a:cubicBezTo>
                        <a:pt x="330" y="278"/>
                        <a:pt x="331" y="275"/>
                        <a:pt x="333" y="274"/>
                      </a:cubicBezTo>
                      <a:cubicBezTo>
                        <a:pt x="335" y="272"/>
                        <a:pt x="335" y="269"/>
                        <a:pt x="336" y="266"/>
                      </a:cubicBezTo>
                      <a:cubicBezTo>
                        <a:pt x="337" y="264"/>
                        <a:pt x="339" y="265"/>
                        <a:pt x="339" y="262"/>
                      </a:cubicBezTo>
                      <a:cubicBezTo>
                        <a:pt x="339" y="259"/>
                        <a:pt x="340" y="255"/>
                        <a:pt x="340" y="252"/>
                      </a:cubicBezTo>
                      <a:cubicBezTo>
                        <a:pt x="340" y="250"/>
                        <a:pt x="343" y="250"/>
                        <a:pt x="344" y="248"/>
                      </a:cubicBezTo>
                      <a:cubicBezTo>
                        <a:pt x="346" y="246"/>
                        <a:pt x="343" y="244"/>
                        <a:pt x="345" y="238"/>
                      </a:cubicBezTo>
                      <a:cubicBezTo>
                        <a:pt x="347" y="232"/>
                        <a:pt x="345" y="227"/>
                        <a:pt x="345" y="222"/>
                      </a:cubicBezTo>
                      <a:cubicBezTo>
                        <a:pt x="345" y="217"/>
                        <a:pt x="345" y="212"/>
                        <a:pt x="347" y="211"/>
                      </a:cubicBezTo>
                      <a:cubicBezTo>
                        <a:pt x="349" y="209"/>
                        <a:pt x="348" y="208"/>
                        <a:pt x="347" y="207"/>
                      </a:cubicBezTo>
                      <a:cubicBezTo>
                        <a:pt x="345" y="207"/>
                        <a:pt x="347" y="205"/>
                        <a:pt x="348" y="205"/>
                      </a:cubicBezTo>
                      <a:cubicBezTo>
                        <a:pt x="349" y="205"/>
                        <a:pt x="351" y="208"/>
                        <a:pt x="353" y="207"/>
                      </a:cubicBezTo>
                      <a:cubicBezTo>
                        <a:pt x="355" y="205"/>
                        <a:pt x="357" y="199"/>
                        <a:pt x="359" y="194"/>
                      </a:cubicBezTo>
                      <a:cubicBezTo>
                        <a:pt x="361" y="189"/>
                        <a:pt x="365" y="189"/>
                        <a:pt x="367" y="188"/>
                      </a:cubicBezTo>
                      <a:cubicBezTo>
                        <a:pt x="370" y="187"/>
                        <a:pt x="375" y="181"/>
                        <a:pt x="378" y="172"/>
                      </a:cubicBezTo>
                      <a:cubicBezTo>
                        <a:pt x="382" y="164"/>
                        <a:pt x="378" y="155"/>
                        <a:pt x="377" y="149"/>
                      </a:cubicBezTo>
                      <a:close/>
                      <a:moveTo>
                        <a:pt x="113" y="87"/>
                      </a:moveTo>
                      <a:cubicBezTo>
                        <a:pt x="113" y="87"/>
                        <a:pt x="113" y="87"/>
                        <a:pt x="113" y="87"/>
                      </a:cubicBezTo>
                      <a:cubicBezTo>
                        <a:pt x="113" y="87"/>
                        <a:pt x="113" y="87"/>
                        <a:pt x="113" y="87"/>
                      </a:cubicBezTo>
                      <a:close/>
                      <a:moveTo>
                        <a:pt x="116" y="86"/>
                      </a:moveTo>
                      <a:cubicBezTo>
                        <a:pt x="116" y="86"/>
                        <a:pt x="116" y="86"/>
                        <a:pt x="116" y="86"/>
                      </a:cubicBezTo>
                      <a:cubicBezTo>
                        <a:pt x="116" y="86"/>
                        <a:pt x="116" y="86"/>
                        <a:pt x="116" y="86"/>
                      </a:cubicBezTo>
                      <a:close/>
                      <a:moveTo>
                        <a:pt x="111" y="88"/>
                      </a:moveTo>
                      <a:cubicBezTo>
                        <a:pt x="111" y="88"/>
                        <a:pt x="111" y="88"/>
                        <a:pt x="111" y="88"/>
                      </a:cubicBezTo>
                      <a:cubicBezTo>
                        <a:pt x="111" y="88"/>
                        <a:pt x="111" y="88"/>
                        <a:pt x="111" y="88"/>
                      </a:cubicBezTo>
                      <a:close/>
                      <a:moveTo>
                        <a:pt x="101" y="193"/>
                      </a:moveTo>
                      <a:cubicBezTo>
                        <a:pt x="100" y="193"/>
                        <a:pt x="100" y="193"/>
                        <a:pt x="100" y="193"/>
                      </a:cubicBezTo>
                      <a:cubicBezTo>
                        <a:pt x="100" y="193"/>
                        <a:pt x="100" y="193"/>
                        <a:pt x="101" y="193"/>
                      </a:cubicBezTo>
                      <a:close/>
                      <a:moveTo>
                        <a:pt x="99" y="192"/>
                      </a:moveTo>
                      <a:cubicBezTo>
                        <a:pt x="99" y="192"/>
                        <a:pt x="99" y="192"/>
                        <a:pt x="98" y="192"/>
                      </a:cubicBezTo>
                      <a:cubicBezTo>
                        <a:pt x="97" y="192"/>
                        <a:pt x="97" y="192"/>
                        <a:pt x="96" y="192"/>
                      </a:cubicBezTo>
                      <a:cubicBezTo>
                        <a:pt x="97" y="192"/>
                        <a:pt x="98" y="192"/>
                        <a:pt x="99" y="192"/>
                      </a:cubicBezTo>
                      <a:close/>
                      <a:moveTo>
                        <a:pt x="88" y="137"/>
                      </a:moveTo>
                      <a:cubicBezTo>
                        <a:pt x="87" y="137"/>
                        <a:pt x="87" y="137"/>
                        <a:pt x="87" y="137"/>
                      </a:cubicBezTo>
                      <a:cubicBezTo>
                        <a:pt x="87" y="137"/>
                        <a:pt x="87" y="137"/>
                        <a:pt x="88" y="137"/>
                      </a:cubicBezTo>
                      <a:close/>
                      <a:moveTo>
                        <a:pt x="89" y="136"/>
                      </a:moveTo>
                      <a:cubicBezTo>
                        <a:pt x="88" y="136"/>
                        <a:pt x="88" y="136"/>
                        <a:pt x="88" y="136"/>
                      </a:cubicBezTo>
                      <a:cubicBezTo>
                        <a:pt x="88" y="136"/>
                        <a:pt x="88" y="136"/>
                        <a:pt x="89" y="136"/>
                      </a:cubicBezTo>
                      <a:close/>
                      <a:moveTo>
                        <a:pt x="93" y="137"/>
                      </a:moveTo>
                      <a:cubicBezTo>
                        <a:pt x="92" y="137"/>
                        <a:pt x="90" y="136"/>
                        <a:pt x="89" y="136"/>
                      </a:cubicBezTo>
                      <a:cubicBezTo>
                        <a:pt x="90" y="136"/>
                        <a:pt x="92" y="137"/>
                        <a:pt x="93" y="137"/>
                      </a:cubicBezTo>
                      <a:close/>
                      <a:moveTo>
                        <a:pt x="96" y="192"/>
                      </a:moveTo>
                      <a:cubicBezTo>
                        <a:pt x="95" y="192"/>
                        <a:pt x="93" y="192"/>
                        <a:pt x="92" y="192"/>
                      </a:cubicBezTo>
                      <a:cubicBezTo>
                        <a:pt x="93" y="192"/>
                        <a:pt x="95" y="192"/>
                        <a:pt x="96" y="192"/>
                      </a:cubicBezTo>
                      <a:close/>
                      <a:moveTo>
                        <a:pt x="97" y="248"/>
                      </a:moveTo>
                      <a:cubicBezTo>
                        <a:pt x="98" y="248"/>
                        <a:pt x="98" y="248"/>
                        <a:pt x="98" y="249"/>
                      </a:cubicBezTo>
                      <a:cubicBezTo>
                        <a:pt x="98" y="248"/>
                        <a:pt x="98" y="248"/>
                        <a:pt x="97" y="248"/>
                      </a:cubicBezTo>
                      <a:close/>
                      <a:moveTo>
                        <a:pt x="100" y="250"/>
                      </a:moveTo>
                      <a:cubicBezTo>
                        <a:pt x="99" y="250"/>
                        <a:pt x="99" y="249"/>
                        <a:pt x="98" y="249"/>
                      </a:cubicBezTo>
                      <a:cubicBezTo>
                        <a:pt x="99" y="249"/>
                        <a:pt x="99" y="250"/>
                        <a:pt x="100" y="250"/>
                      </a:cubicBezTo>
                      <a:close/>
                      <a:moveTo>
                        <a:pt x="112" y="292"/>
                      </a:moveTo>
                      <a:cubicBezTo>
                        <a:pt x="112" y="292"/>
                        <a:pt x="112" y="292"/>
                        <a:pt x="112" y="292"/>
                      </a:cubicBezTo>
                      <a:cubicBezTo>
                        <a:pt x="112" y="292"/>
                        <a:pt x="112" y="292"/>
                        <a:pt x="112" y="292"/>
                      </a:cubicBezTo>
                      <a:close/>
                      <a:moveTo>
                        <a:pt x="114" y="291"/>
                      </a:moveTo>
                      <a:cubicBezTo>
                        <a:pt x="114" y="291"/>
                        <a:pt x="114" y="291"/>
                        <a:pt x="114" y="291"/>
                      </a:cubicBezTo>
                      <a:cubicBezTo>
                        <a:pt x="114" y="291"/>
                        <a:pt x="114" y="291"/>
                        <a:pt x="114" y="291"/>
                      </a:cubicBezTo>
                      <a:close/>
                      <a:moveTo>
                        <a:pt x="113" y="292"/>
                      </a:moveTo>
                      <a:cubicBezTo>
                        <a:pt x="113" y="292"/>
                        <a:pt x="113" y="292"/>
                        <a:pt x="113" y="292"/>
                      </a:cubicBezTo>
                      <a:cubicBezTo>
                        <a:pt x="113" y="292"/>
                        <a:pt x="113" y="292"/>
                        <a:pt x="113" y="292"/>
                      </a:cubicBezTo>
                      <a:close/>
                      <a:moveTo>
                        <a:pt x="109" y="89"/>
                      </a:moveTo>
                      <a:cubicBezTo>
                        <a:pt x="109" y="89"/>
                        <a:pt x="109" y="89"/>
                        <a:pt x="109" y="89"/>
                      </a:cubicBezTo>
                      <a:cubicBezTo>
                        <a:pt x="109" y="89"/>
                        <a:pt x="109" y="89"/>
                        <a:pt x="109" y="89"/>
                      </a:cubicBezTo>
                      <a:close/>
                      <a:moveTo>
                        <a:pt x="223" y="86"/>
                      </a:moveTo>
                      <a:cubicBezTo>
                        <a:pt x="223" y="86"/>
                        <a:pt x="224" y="86"/>
                        <a:pt x="224" y="86"/>
                      </a:cubicBezTo>
                      <a:cubicBezTo>
                        <a:pt x="224" y="86"/>
                        <a:pt x="223" y="86"/>
                        <a:pt x="223" y="86"/>
                      </a:cubicBezTo>
                      <a:close/>
                      <a:moveTo>
                        <a:pt x="191" y="264"/>
                      </a:moveTo>
                      <a:cubicBezTo>
                        <a:pt x="191" y="263"/>
                        <a:pt x="191" y="263"/>
                        <a:pt x="191" y="263"/>
                      </a:cubicBezTo>
                      <a:cubicBezTo>
                        <a:pt x="191" y="263"/>
                        <a:pt x="191" y="263"/>
                        <a:pt x="191" y="264"/>
                      </a:cubicBezTo>
                      <a:close/>
                      <a:moveTo>
                        <a:pt x="193" y="260"/>
                      </a:moveTo>
                      <a:cubicBezTo>
                        <a:pt x="193" y="261"/>
                        <a:pt x="193" y="261"/>
                        <a:pt x="193" y="261"/>
                      </a:cubicBezTo>
                      <a:cubicBezTo>
                        <a:pt x="193" y="261"/>
                        <a:pt x="193" y="261"/>
                        <a:pt x="193" y="260"/>
                      </a:cubicBezTo>
                      <a:close/>
                      <a:moveTo>
                        <a:pt x="190" y="265"/>
                      </a:moveTo>
                      <a:cubicBezTo>
                        <a:pt x="189" y="265"/>
                        <a:pt x="189" y="265"/>
                        <a:pt x="189" y="265"/>
                      </a:cubicBezTo>
                      <a:cubicBezTo>
                        <a:pt x="189" y="265"/>
                        <a:pt x="189" y="265"/>
                        <a:pt x="190" y="265"/>
                      </a:cubicBezTo>
                      <a:close/>
                      <a:moveTo>
                        <a:pt x="219" y="314"/>
                      </a:moveTo>
                      <a:cubicBezTo>
                        <a:pt x="219" y="314"/>
                        <a:pt x="219" y="313"/>
                        <a:pt x="219" y="313"/>
                      </a:cubicBezTo>
                      <a:cubicBezTo>
                        <a:pt x="219" y="313"/>
                        <a:pt x="219" y="314"/>
                        <a:pt x="219" y="314"/>
                      </a:cubicBezTo>
                      <a:close/>
                      <a:moveTo>
                        <a:pt x="219" y="312"/>
                      </a:moveTo>
                      <a:cubicBezTo>
                        <a:pt x="219" y="312"/>
                        <a:pt x="219" y="311"/>
                        <a:pt x="219" y="311"/>
                      </a:cubicBezTo>
                      <a:cubicBezTo>
                        <a:pt x="219" y="311"/>
                        <a:pt x="219" y="312"/>
                        <a:pt x="219" y="312"/>
                      </a:cubicBezTo>
                      <a:close/>
                      <a:moveTo>
                        <a:pt x="219" y="310"/>
                      </a:moveTo>
                      <a:cubicBezTo>
                        <a:pt x="219" y="309"/>
                        <a:pt x="220" y="308"/>
                        <a:pt x="220" y="308"/>
                      </a:cubicBezTo>
                      <a:cubicBezTo>
                        <a:pt x="220" y="308"/>
                        <a:pt x="219" y="309"/>
                        <a:pt x="219" y="310"/>
                      </a:cubicBezTo>
                      <a:close/>
                      <a:moveTo>
                        <a:pt x="220" y="307"/>
                      </a:moveTo>
                      <a:cubicBezTo>
                        <a:pt x="220" y="306"/>
                        <a:pt x="220" y="306"/>
                        <a:pt x="220" y="305"/>
                      </a:cubicBezTo>
                      <a:cubicBezTo>
                        <a:pt x="220" y="306"/>
                        <a:pt x="220" y="306"/>
                        <a:pt x="220" y="307"/>
                      </a:cubicBezTo>
                      <a:close/>
                      <a:moveTo>
                        <a:pt x="220" y="305"/>
                      </a:moveTo>
                      <a:cubicBezTo>
                        <a:pt x="220" y="304"/>
                        <a:pt x="220" y="304"/>
                        <a:pt x="220" y="303"/>
                      </a:cubicBezTo>
                      <a:cubicBezTo>
                        <a:pt x="220" y="304"/>
                        <a:pt x="220" y="304"/>
                        <a:pt x="220" y="305"/>
                      </a:cubicBezTo>
                      <a:close/>
                      <a:moveTo>
                        <a:pt x="220" y="303"/>
                      </a:moveTo>
                      <a:cubicBezTo>
                        <a:pt x="220" y="302"/>
                        <a:pt x="220" y="302"/>
                        <a:pt x="220" y="302"/>
                      </a:cubicBezTo>
                      <a:cubicBezTo>
                        <a:pt x="220" y="302"/>
                        <a:pt x="220" y="302"/>
                        <a:pt x="220" y="303"/>
                      </a:cubicBezTo>
                      <a:close/>
                      <a:moveTo>
                        <a:pt x="219" y="300"/>
                      </a:moveTo>
                      <a:cubicBezTo>
                        <a:pt x="220" y="300"/>
                        <a:pt x="220" y="301"/>
                        <a:pt x="220" y="301"/>
                      </a:cubicBezTo>
                      <a:cubicBezTo>
                        <a:pt x="220" y="301"/>
                        <a:pt x="220" y="300"/>
                        <a:pt x="219" y="300"/>
                      </a:cubicBezTo>
                      <a:close/>
                      <a:moveTo>
                        <a:pt x="206" y="88"/>
                      </a:moveTo>
                      <a:cubicBezTo>
                        <a:pt x="206" y="88"/>
                        <a:pt x="206" y="88"/>
                        <a:pt x="206" y="88"/>
                      </a:cubicBezTo>
                      <a:cubicBezTo>
                        <a:pt x="206" y="88"/>
                        <a:pt x="206" y="88"/>
                        <a:pt x="206" y="88"/>
                      </a:cubicBezTo>
                      <a:close/>
                      <a:moveTo>
                        <a:pt x="204" y="88"/>
                      </a:moveTo>
                      <a:cubicBezTo>
                        <a:pt x="204" y="88"/>
                        <a:pt x="205" y="88"/>
                        <a:pt x="205" y="88"/>
                      </a:cubicBezTo>
                      <a:cubicBezTo>
                        <a:pt x="205" y="88"/>
                        <a:pt x="204" y="88"/>
                        <a:pt x="204" y="88"/>
                      </a:cubicBezTo>
                      <a:close/>
                      <a:moveTo>
                        <a:pt x="199" y="87"/>
                      </a:moveTo>
                      <a:cubicBezTo>
                        <a:pt x="200" y="87"/>
                        <a:pt x="200" y="87"/>
                        <a:pt x="200" y="87"/>
                      </a:cubicBezTo>
                      <a:cubicBezTo>
                        <a:pt x="200" y="87"/>
                        <a:pt x="200" y="87"/>
                        <a:pt x="199" y="87"/>
                      </a:cubicBezTo>
                      <a:close/>
                      <a:moveTo>
                        <a:pt x="201" y="87"/>
                      </a:moveTo>
                      <a:cubicBezTo>
                        <a:pt x="201" y="87"/>
                        <a:pt x="201" y="87"/>
                        <a:pt x="202" y="87"/>
                      </a:cubicBezTo>
                      <a:cubicBezTo>
                        <a:pt x="201" y="87"/>
                        <a:pt x="201" y="87"/>
                        <a:pt x="201" y="87"/>
                      </a:cubicBezTo>
                      <a:close/>
                      <a:moveTo>
                        <a:pt x="198" y="87"/>
                      </a:moveTo>
                      <a:cubicBezTo>
                        <a:pt x="198" y="87"/>
                        <a:pt x="198" y="87"/>
                        <a:pt x="199" y="87"/>
                      </a:cubicBezTo>
                      <a:cubicBezTo>
                        <a:pt x="198" y="87"/>
                        <a:pt x="198" y="87"/>
                        <a:pt x="198" y="87"/>
                      </a:cubicBezTo>
                      <a:close/>
                      <a:moveTo>
                        <a:pt x="169" y="64"/>
                      </a:moveTo>
                      <a:cubicBezTo>
                        <a:pt x="169" y="64"/>
                        <a:pt x="169" y="64"/>
                        <a:pt x="169" y="64"/>
                      </a:cubicBezTo>
                      <a:cubicBezTo>
                        <a:pt x="169" y="64"/>
                        <a:pt x="169" y="64"/>
                        <a:pt x="169" y="64"/>
                      </a:cubicBezTo>
                      <a:close/>
                      <a:moveTo>
                        <a:pt x="172" y="61"/>
                      </a:moveTo>
                      <a:cubicBezTo>
                        <a:pt x="172" y="61"/>
                        <a:pt x="173" y="61"/>
                        <a:pt x="173" y="61"/>
                      </a:cubicBezTo>
                      <a:cubicBezTo>
                        <a:pt x="173" y="61"/>
                        <a:pt x="172" y="61"/>
                        <a:pt x="172" y="61"/>
                      </a:cubicBezTo>
                      <a:close/>
                      <a:moveTo>
                        <a:pt x="171" y="61"/>
                      </a:moveTo>
                      <a:cubicBezTo>
                        <a:pt x="172" y="61"/>
                        <a:pt x="172" y="61"/>
                        <a:pt x="172" y="61"/>
                      </a:cubicBezTo>
                      <a:cubicBezTo>
                        <a:pt x="172" y="61"/>
                        <a:pt x="172" y="61"/>
                        <a:pt x="171" y="61"/>
                      </a:cubicBezTo>
                      <a:close/>
                      <a:moveTo>
                        <a:pt x="171" y="61"/>
                      </a:moveTo>
                      <a:cubicBezTo>
                        <a:pt x="171" y="61"/>
                        <a:pt x="171" y="62"/>
                        <a:pt x="171" y="62"/>
                      </a:cubicBezTo>
                      <a:cubicBezTo>
                        <a:pt x="171" y="62"/>
                        <a:pt x="171" y="61"/>
                        <a:pt x="171" y="61"/>
                      </a:cubicBezTo>
                      <a:close/>
                      <a:moveTo>
                        <a:pt x="169" y="65"/>
                      </a:moveTo>
                      <a:cubicBezTo>
                        <a:pt x="169" y="65"/>
                        <a:pt x="168" y="65"/>
                        <a:pt x="168" y="65"/>
                      </a:cubicBezTo>
                      <a:cubicBezTo>
                        <a:pt x="168" y="65"/>
                        <a:pt x="169" y="65"/>
                        <a:pt x="169" y="65"/>
                      </a:cubicBezTo>
                      <a:close/>
                      <a:moveTo>
                        <a:pt x="154" y="284"/>
                      </a:moveTo>
                      <a:cubicBezTo>
                        <a:pt x="154" y="284"/>
                        <a:pt x="153" y="284"/>
                        <a:pt x="153" y="284"/>
                      </a:cubicBezTo>
                      <a:cubicBezTo>
                        <a:pt x="153" y="284"/>
                        <a:pt x="154" y="284"/>
                        <a:pt x="154" y="284"/>
                      </a:cubicBezTo>
                      <a:close/>
                      <a:moveTo>
                        <a:pt x="153" y="284"/>
                      </a:moveTo>
                      <a:cubicBezTo>
                        <a:pt x="152" y="284"/>
                        <a:pt x="152" y="284"/>
                        <a:pt x="152" y="284"/>
                      </a:cubicBezTo>
                      <a:cubicBezTo>
                        <a:pt x="152" y="284"/>
                        <a:pt x="152" y="284"/>
                        <a:pt x="153" y="284"/>
                      </a:cubicBezTo>
                      <a:close/>
                      <a:moveTo>
                        <a:pt x="144" y="284"/>
                      </a:moveTo>
                      <a:cubicBezTo>
                        <a:pt x="144" y="284"/>
                        <a:pt x="144" y="284"/>
                        <a:pt x="144" y="284"/>
                      </a:cubicBezTo>
                      <a:cubicBezTo>
                        <a:pt x="144" y="284"/>
                        <a:pt x="144" y="284"/>
                        <a:pt x="144" y="284"/>
                      </a:cubicBezTo>
                      <a:close/>
                      <a:moveTo>
                        <a:pt x="145" y="284"/>
                      </a:moveTo>
                      <a:cubicBezTo>
                        <a:pt x="145" y="284"/>
                        <a:pt x="145" y="284"/>
                        <a:pt x="145" y="284"/>
                      </a:cubicBezTo>
                      <a:cubicBezTo>
                        <a:pt x="145" y="284"/>
                        <a:pt x="145" y="284"/>
                        <a:pt x="145" y="284"/>
                      </a:cubicBezTo>
                      <a:close/>
                      <a:moveTo>
                        <a:pt x="147" y="284"/>
                      </a:moveTo>
                      <a:cubicBezTo>
                        <a:pt x="147" y="284"/>
                        <a:pt x="147" y="284"/>
                        <a:pt x="147" y="284"/>
                      </a:cubicBezTo>
                      <a:cubicBezTo>
                        <a:pt x="147" y="284"/>
                        <a:pt x="147" y="284"/>
                        <a:pt x="147" y="284"/>
                      </a:cubicBezTo>
                      <a:close/>
                      <a:moveTo>
                        <a:pt x="195" y="356"/>
                      </a:moveTo>
                      <a:cubicBezTo>
                        <a:pt x="194" y="356"/>
                        <a:pt x="194" y="356"/>
                        <a:pt x="194" y="357"/>
                      </a:cubicBezTo>
                      <a:cubicBezTo>
                        <a:pt x="194" y="356"/>
                        <a:pt x="194" y="356"/>
                        <a:pt x="195" y="356"/>
                      </a:cubicBezTo>
                      <a:close/>
                      <a:moveTo>
                        <a:pt x="197" y="353"/>
                      </a:moveTo>
                      <a:cubicBezTo>
                        <a:pt x="196" y="354"/>
                        <a:pt x="195" y="355"/>
                        <a:pt x="195" y="356"/>
                      </a:cubicBezTo>
                      <a:cubicBezTo>
                        <a:pt x="195" y="355"/>
                        <a:pt x="196" y="354"/>
                        <a:pt x="197" y="353"/>
                      </a:cubicBezTo>
                      <a:close/>
                      <a:moveTo>
                        <a:pt x="198" y="351"/>
                      </a:moveTo>
                      <a:cubicBezTo>
                        <a:pt x="198" y="352"/>
                        <a:pt x="198" y="352"/>
                        <a:pt x="197" y="353"/>
                      </a:cubicBezTo>
                      <a:cubicBezTo>
                        <a:pt x="198" y="352"/>
                        <a:pt x="198" y="352"/>
                        <a:pt x="198" y="351"/>
                      </a:cubicBezTo>
                      <a:close/>
                      <a:moveTo>
                        <a:pt x="200" y="349"/>
                      </a:moveTo>
                      <a:cubicBezTo>
                        <a:pt x="200" y="350"/>
                        <a:pt x="200" y="350"/>
                        <a:pt x="199" y="350"/>
                      </a:cubicBezTo>
                      <a:cubicBezTo>
                        <a:pt x="200" y="350"/>
                        <a:pt x="200" y="350"/>
                        <a:pt x="200" y="349"/>
                      </a:cubicBezTo>
                      <a:close/>
                      <a:moveTo>
                        <a:pt x="225" y="86"/>
                      </a:moveTo>
                      <a:cubicBezTo>
                        <a:pt x="225" y="86"/>
                        <a:pt x="226" y="86"/>
                        <a:pt x="227" y="85"/>
                      </a:cubicBezTo>
                      <a:cubicBezTo>
                        <a:pt x="226" y="86"/>
                        <a:pt x="225" y="86"/>
                        <a:pt x="225" y="86"/>
                      </a:cubicBezTo>
                      <a:close/>
                      <a:moveTo>
                        <a:pt x="220" y="84"/>
                      </a:moveTo>
                      <a:cubicBezTo>
                        <a:pt x="221" y="85"/>
                        <a:pt x="221" y="85"/>
                        <a:pt x="222" y="85"/>
                      </a:cubicBezTo>
                      <a:cubicBezTo>
                        <a:pt x="221" y="85"/>
                        <a:pt x="220" y="84"/>
                        <a:pt x="219" y="83"/>
                      </a:cubicBezTo>
                      <a:cubicBezTo>
                        <a:pt x="219" y="83"/>
                        <a:pt x="220" y="84"/>
                        <a:pt x="220" y="84"/>
                      </a:cubicBezTo>
                      <a:close/>
                      <a:moveTo>
                        <a:pt x="204" y="88"/>
                      </a:moveTo>
                      <a:cubicBezTo>
                        <a:pt x="203" y="88"/>
                        <a:pt x="203" y="87"/>
                        <a:pt x="203" y="87"/>
                      </a:cubicBezTo>
                      <a:cubicBezTo>
                        <a:pt x="203" y="87"/>
                        <a:pt x="203" y="87"/>
                        <a:pt x="203" y="87"/>
                      </a:cubicBezTo>
                      <a:cubicBezTo>
                        <a:pt x="203" y="87"/>
                        <a:pt x="203" y="88"/>
                        <a:pt x="204" y="88"/>
                      </a:cubicBezTo>
                      <a:close/>
                      <a:moveTo>
                        <a:pt x="48" y="105"/>
                      </a:moveTo>
                      <a:cubicBezTo>
                        <a:pt x="48" y="105"/>
                        <a:pt x="48" y="105"/>
                        <a:pt x="48" y="105"/>
                      </a:cubicBezTo>
                      <a:cubicBezTo>
                        <a:pt x="48" y="105"/>
                        <a:pt x="47" y="104"/>
                        <a:pt x="47" y="104"/>
                      </a:cubicBezTo>
                      <a:cubicBezTo>
                        <a:pt x="47" y="104"/>
                        <a:pt x="47" y="104"/>
                        <a:pt x="48" y="105"/>
                      </a:cubicBezTo>
                      <a:close/>
                      <a:moveTo>
                        <a:pt x="50" y="108"/>
                      </a:moveTo>
                      <a:cubicBezTo>
                        <a:pt x="50" y="108"/>
                        <a:pt x="50" y="108"/>
                        <a:pt x="50" y="108"/>
                      </a:cubicBezTo>
                      <a:cubicBezTo>
                        <a:pt x="50" y="108"/>
                        <a:pt x="50" y="108"/>
                        <a:pt x="50" y="108"/>
                      </a:cubicBezTo>
                      <a:close/>
                      <a:moveTo>
                        <a:pt x="50" y="108"/>
                      </a:moveTo>
                      <a:cubicBezTo>
                        <a:pt x="50" y="107"/>
                        <a:pt x="50" y="107"/>
                        <a:pt x="50" y="107"/>
                      </a:cubicBezTo>
                      <a:cubicBezTo>
                        <a:pt x="50" y="107"/>
                        <a:pt x="50" y="107"/>
                        <a:pt x="50" y="108"/>
                      </a:cubicBezTo>
                      <a:close/>
                      <a:moveTo>
                        <a:pt x="49" y="107"/>
                      </a:moveTo>
                      <a:cubicBezTo>
                        <a:pt x="49" y="107"/>
                        <a:pt x="49" y="107"/>
                        <a:pt x="49" y="106"/>
                      </a:cubicBezTo>
                      <a:cubicBezTo>
                        <a:pt x="49" y="107"/>
                        <a:pt x="49" y="107"/>
                        <a:pt x="49" y="107"/>
                      </a:cubicBezTo>
                      <a:close/>
                      <a:moveTo>
                        <a:pt x="49" y="106"/>
                      </a:moveTo>
                      <a:cubicBezTo>
                        <a:pt x="49" y="106"/>
                        <a:pt x="49" y="106"/>
                        <a:pt x="48" y="106"/>
                      </a:cubicBezTo>
                      <a:cubicBezTo>
                        <a:pt x="49" y="106"/>
                        <a:pt x="49" y="106"/>
                        <a:pt x="49" y="106"/>
                      </a:cubicBezTo>
                      <a:close/>
                      <a:moveTo>
                        <a:pt x="49" y="110"/>
                      </a:moveTo>
                      <a:cubicBezTo>
                        <a:pt x="50" y="110"/>
                        <a:pt x="50" y="110"/>
                        <a:pt x="50" y="110"/>
                      </a:cubicBezTo>
                      <a:cubicBezTo>
                        <a:pt x="50" y="110"/>
                        <a:pt x="50" y="110"/>
                        <a:pt x="49" y="110"/>
                      </a:cubicBezTo>
                      <a:close/>
                      <a:moveTo>
                        <a:pt x="50" y="109"/>
                      </a:moveTo>
                      <a:cubicBezTo>
                        <a:pt x="50" y="109"/>
                        <a:pt x="50" y="109"/>
                        <a:pt x="50" y="109"/>
                      </a:cubicBezTo>
                      <a:cubicBezTo>
                        <a:pt x="50" y="109"/>
                        <a:pt x="50" y="109"/>
                        <a:pt x="50" y="109"/>
                      </a:cubicBezTo>
                      <a:close/>
                      <a:moveTo>
                        <a:pt x="50" y="109"/>
                      </a:moveTo>
                      <a:cubicBezTo>
                        <a:pt x="50" y="109"/>
                        <a:pt x="50" y="109"/>
                        <a:pt x="50" y="109"/>
                      </a:cubicBezTo>
                      <a:cubicBezTo>
                        <a:pt x="50" y="109"/>
                        <a:pt x="50" y="109"/>
                        <a:pt x="50" y="109"/>
                      </a:cubicBezTo>
                      <a:close/>
                      <a:moveTo>
                        <a:pt x="90" y="193"/>
                      </a:moveTo>
                      <a:cubicBezTo>
                        <a:pt x="91" y="192"/>
                        <a:pt x="91" y="192"/>
                        <a:pt x="92" y="192"/>
                      </a:cubicBezTo>
                      <a:cubicBezTo>
                        <a:pt x="91" y="192"/>
                        <a:pt x="91" y="192"/>
                        <a:pt x="90" y="193"/>
                      </a:cubicBezTo>
                      <a:close/>
                      <a:moveTo>
                        <a:pt x="116" y="290"/>
                      </a:moveTo>
                      <a:cubicBezTo>
                        <a:pt x="116" y="290"/>
                        <a:pt x="116" y="290"/>
                        <a:pt x="116" y="290"/>
                      </a:cubicBezTo>
                      <a:cubicBezTo>
                        <a:pt x="116" y="290"/>
                        <a:pt x="116" y="290"/>
                        <a:pt x="116" y="290"/>
                      </a:cubicBezTo>
                      <a:cubicBezTo>
                        <a:pt x="116" y="290"/>
                        <a:pt x="116" y="290"/>
                        <a:pt x="116" y="290"/>
                      </a:cubicBezTo>
                      <a:close/>
                      <a:moveTo>
                        <a:pt x="119" y="288"/>
                      </a:moveTo>
                      <a:cubicBezTo>
                        <a:pt x="119" y="288"/>
                        <a:pt x="119" y="288"/>
                        <a:pt x="119" y="288"/>
                      </a:cubicBezTo>
                      <a:cubicBezTo>
                        <a:pt x="119" y="288"/>
                        <a:pt x="119" y="288"/>
                        <a:pt x="119" y="288"/>
                      </a:cubicBezTo>
                      <a:close/>
                      <a:moveTo>
                        <a:pt x="193" y="357"/>
                      </a:moveTo>
                      <a:cubicBezTo>
                        <a:pt x="193" y="357"/>
                        <a:pt x="193" y="358"/>
                        <a:pt x="193" y="358"/>
                      </a:cubicBezTo>
                      <a:cubicBezTo>
                        <a:pt x="193" y="358"/>
                        <a:pt x="193" y="357"/>
                        <a:pt x="193" y="357"/>
                      </a:cubicBezTo>
                      <a:close/>
                      <a:moveTo>
                        <a:pt x="193" y="359"/>
                      </a:moveTo>
                      <a:cubicBezTo>
                        <a:pt x="192" y="359"/>
                        <a:pt x="192" y="359"/>
                        <a:pt x="192" y="359"/>
                      </a:cubicBezTo>
                      <a:cubicBezTo>
                        <a:pt x="192" y="359"/>
                        <a:pt x="192" y="359"/>
                        <a:pt x="193" y="35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3" name="Freeform 116">
                  <a:extLst>
                    <a:ext uri="{FF2B5EF4-FFF2-40B4-BE49-F238E27FC236}">
                      <a16:creationId xmlns:a16="http://schemas.microsoft.com/office/drawing/2014/main" id="{04DAFDBE-862A-4490-9E58-FA4CAE9FDE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624837" y="-8526115"/>
                  <a:ext cx="61622" cy="94054"/>
                </a:xfrm>
                <a:custGeom>
                  <a:avLst/>
                  <a:gdLst>
                    <a:gd name="T0" fmla="*/ 3 w 10"/>
                    <a:gd name="T1" fmla="*/ 5 h 15"/>
                    <a:gd name="T2" fmla="*/ 8 w 10"/>
                    <a:gd name="T3" fmla="*/ 13 h 15"/>
                    <a:gd name="T4" fmla="*/ 3 w 10"/>
                    <a:gd name="T5" fmla="*/ 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15">
                      <a:moveTo>
                        <a:pt x="3" y="5"/>
                      </a:moveTo>
                      <a:cubicBezTo>
                        <a:pt x="0" y="10"/>
                        <a:pt x="7" y="15"/>
                        <a:pt x="8" y="13"/>
                      </a:cubicBezTo>
                      <a:cubicBezTo>
                        <a:pt x="10" y="10"/>
                        <a:pt x="7" y="0"/>
                        <a:pt x="3" y="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4" name="Freeform 117">
                  <a:extLst>
                    <a:ext uri="{FF2B5EF4-FFF2-40B4-BE49-F238E27FC236}">
                      <a16:creationId xmlns:a16="http://schemas.microsoft.com/office/drawing/2014/main" id="{5DFB5197-3A42-4B29-A8CA-B4BF71B055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4668089" y="-14195247"/>
                  <a:ext cx="3042131" cy="2273492"/>
                </a:xfrm>
                <a:custGeom>
                  <a:avLst/>
                  <a:gdLst>
                    <a:gd name="T0" fmla="*/ 432 w 492"/>
                    <a:gd name="T1" fmla="*/ 43 h 368"/>
                    <a:gd name="T2" fmla="*/ 396 w 492"/>
                    <a:gd name="T3" fmla="*/ 59 h 368"/>
                    <a:gd name="T4" fmla="*/ 394 w 492"/>
                    <a:gd name="T5" fmla="*/ 37 h 368"/>
                    <a:gd name="T6" fmla="*/ 352 w 492"/>
                    <a:gd name="T7" fmla="*/ 34 h 368"/>
                    <a:gd name="T8" fmla="*/ 393 w 492"/>
                    <a:gd name="T9" fmla="*/ 28 h 368"/>
                    <a:gd name="T10" fmla="*/ 389 w 492"/>
                    <a:gd name="T11" fmla="*/ 12 h 368"/>
                    <a:gd name="T12" fmla="*/ 333 w 492"/>
                    <a:gd name="T13" fmla="*/ 1 h 368"/>
                    <a:gd name="T14" fmla="*/ 280 w 492"/>
                    <a:gd name="T15" fmla="*/ 8 h 368"/>
                    <a:gd name="T16" fmla="*/ 240 w 492"/>
                    <a:gd name="T17" fmla="*/ 8 h 368"/>
                    <a:gd name="T18" fmla="*/ 207 w 492"/>
                    <a:gd name="T19" fmla="*/ 23 h 368"/>
                    <a:gd name="T20" fmla="*/ 199 w 492"/>
                    <a:gd name="T21" fmla="*/ 27 h 368"/>
                    <a:gd name="T22" fmla="*/ 176 w 492"/>
                    <a:gd name="T23" fmla="*/ 34 h 368"/>
                    <a:gd name="T24" fmla="*/ 154 w 492"/>
                    <a:gd name="T25" fmla="*/ 42 h 368"/>
                    <a:gd name="T26" fmla="*/ 116 w 492"/>
                    <a:gd name="T27" fmla="*/ 34 h 368"/>
                    <a:gd name="T28" fmla="*/ 95 w 492"/>
                    <a:gd name="T29" fmla="*/ 50 h 368"/>
                    <a:gd name="T30" fmla="*/ 62 w 492"/>
                    <a:gd name="T31" fmla="*/ 71 h 368"/>
                    <a:gd name="T32" fmla="*/ 0 w 492"/>
                    <a:gd name="T33" fmla="*/ 102 h 368"/>
                    <a:gd name="T34" fmla="*/ 40 w 492"/>
                    <a:gd name="T35" fmla="*/ 113 h 368"/>
                    <a:gd name="T36" fmla="*/ 11 w 492"/>
                    <a:gd name="T37" fmla="*/ 123 h 368"/>
                    <a:gd name="T38" fmla="*/ 35 w 492"/>
                    <a:gd name="T39" fmla="*/ 139 h 368"/>
                    <a:gd name="T40" fmla="*/ 67 w 492"/>
                    <a:gd name="T41" fmla="*/ 137 h 368"/>
                    <a:gd name="T42" fmla="*/ 116 w 492"/>
                    <a:gd name="T43" fmla="*/ 151 h 368"/>
                    <a:gd name="T44" fmla="*/ 140 w 492"/>
                    <a:gd name="T45" fmla="*/ 183 h 368"/>
                    <a:gd name="T46" fmla="*/ 144 w 492"/>
                    <a:gd name="T47" fmla="*/ 212 h 368"/>
                    <a:gd name="T48" fmla="*/ 174 w 492"/>
                    <a:gd name="T49" fmla="*/ 223 h 368"/>
                    <a:gd name="T50" fmla="*/ 171 w 492"/>
                    <a:gd name="T51" fmla="*/ 234 h 368"/>
                    <a:gd name="T52" fmla="*/ 166 w 492"/>
                    <a:gd name="T53" fmla="*/ 254 h 368"/>
                    <a:gd name="T54" fmla="*/ 161 w 492"/>
                    <a:gd name="T55" fmla="*/ 279 h 368"/>
                    <a:gd name="T56" fmla="*/ 168 w 492"/>
                    <a:gd name="T57" fmla="*/ 311 h 368"/>
                    <a:gd name="T58" fmla="*/ 183 w 492"/>
                    <a:gd name="T59" fmla="*/ 331 h 368"/>
                    <a:gd name="T60" fmla="*/ 204 w 492"/>
                    <a:gd name="T61" fmla="*/ 356 h 368"/>
                    <a:gd name="T62" fmla="*/ 236 w 492"/>
                    <a:gd name="T63" fmla="*/ 368 h 368"/>
                    <a:gd name="T64" fmla="*/ 245 w 492"/>
                    <a:gd name="T65" fmla="*/ 336 h 368"/>
                    <a:gd name="T66" fmla="*/ 259 w 492"/>
                    <a:gd name="T67" fmla="*/ 321 h 368"/>
                    <a:gd name="T68" fmla="*/ 260 w 492"/>
                    <a:gd name="T69" fmla="*/ 305 h 368"/>
                    <a:gd name="T70" fmla="*/ 274 w 492"/>
                    <a:gd name="T71" fmla="*/ 295 h 368"/>
                    <a:gd name="T72" fmla="*/ 286 w 492"/>
                    <a:gd name="T73" fmla="*/ 292 h 368"/>
                    <a:gd name="T74" fmla="*/ 329 w 492"/>
                    <a:gd name="T75" fmla="*/ 264 h 368"/>
                    <a:gd name="T76" fmla="*/ 356 w 492"/>
                    <a:gd name="T77" fmla="*/ 256 h 368"/>
                    <a:gd name="T78" fmla="*/ 411 w 492"/>
                    <a:gd name="T79" fmla="*/ 232 h 368"/>
                    <a:gd name="T80" fmla="*/ 381 w 492"/>
                    <a:gd name="T81" fmla="*/ 226 h 368"/>
                    <a:gd name="T82" fmla="*/ 412 w 492"/>
                    <a:gd name="T83" fmla="*/ 228 h 368"/>
                    <a:gd name="T84" fmla="*/ 405 w 492"/>
                    <a:gd name="T85" fmla="*/ 200 h 368"/>
                    <a:gd name="T86" fmla="*/ 390 w 492"/>
                    <a:gd name="T87" fmla="*/ 186 h 368"/>
                    <a:gd name="T88" fmla="*/ 425 w 492"/>
                    <a:gd name="T89" fmla="*/ 182 h 368"/>
                    <a:gd name="T90" fmla="*/ 434 w 492"/>
                    <a:gd name="T91" fmla="*/ 164 h 368"/>
                    <a:gd name="T92" fmla="*/ 430 w 492"/>
                    <a:gd name="T93" fmla="*/ 138 h 368"/>
                    <a:gd name="T94" fmla="*/ 420 w 492"/>
                    <a:gd name="T95" fmla="*/ 127 h 368"/>
                    <a:gd name="T96" fmla="*/ 424 w 492"/>
                    <a:gd name="T97" fmla="*/ 116 h 368"/>
                    <a:gd name="T98" fmla="*/ 412 w 492"/>
                    <a:gd name="T99" fmla="*/ 110 h 368"/>
                    <a:gd name="T100" fmla="*/ 445 w 492"/>
                    <a:gd name="T101" fmla="*/ 76 h 368"/>
                    <a:gd name="T102" fmla="*/ 437 w 492"/>
                    <a:gd name="T103" fmla="*/ 67 h 368"/>
                    <a:gd name="T104" fmla="*/ 446 w 492"/>
                    <a:gd name="T105" fmla="*/ 58 h 368"/>
                    <a:gd name="T106" fmla="*/ 492 w 492"/>
                    <a:gd name="T107" fmla="*/ 42 h 368"/>
                    <a:gd name="T108" fmla="*/ 162 w 492"/>
                    <a:gd name="T109" fmla="*/ 235 h 368"/>
                    <a:gd name="T110" fmla="*/ 154 w 492"/>
                    <a:gd name="T111" fmla="*/ 245 h 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92" h="368">
                      <a:moveTo>
                        <a:pt x="465" y="34"/>
                      </a:moveTo>
                      <a:cubicBezTo>
                        <a:pt x="456" y="34"/>
                        <a:pt x="449" y="36"/>
                        <a:pt x="448" y="42"/>
                      </a:cubicBezTo>
                      <a:cubicBezTo>
                        <a:pt x="448" y="48"/>
                        <a:pt x="437" y="41"/>
                        <a:pt x="432" y="43"/>
                      </a:cubicBezTo>
                      <a:cubicBezTo>
                        <a:pt x="427" y="45"/>
                        <a:pt x="430" y="38"/>
                        <a:pt x="425" y="40"/>
                      </a:cubicBezTo>
                      <a:cubicBezTo>
                        <a:pt x="420" y="42"/>
                        <a:pt x="415" y="48"/>
                        <a:pt x="409" y="51"/>
                      </a:cubicBezTo>
                      <a:cubicBezTo>
                        <a:pt x="403" y="53"/>
                        <a:pt x="399" y="59"/>
                        <a:pt x="396" y="59"/>
                      </a:cubicBezTo>
                      <a:cubicBezTo>
                        <a:pt x="392" y="60"/>
                        <a:pt x="403" y="48"/>
                        <a:pt x="409" y="43"/>
                      </a:cubicBezTo>
                      <a:cubicBezTo>
                        <a:pt x="415" y="37"/>
                        <a:pt x="412" y="30"/>
                        <a:pt x="404" y="31"/>
                      </a:cubicBezTo>
                      <a:cubicBezTo>
                        <a:pt x="396" y="32"/>
                        <a:pt x="398" y="37"/>
                        <a:pt x="394" y="37"/>
                      </a:cubicBezTo>
                      <a:cubicBezTo>
                        <a:pt x="389" y="38"/>
                        <a:pt x="369" y="49"/>
                        <a:pt x="368" y="46"/>
                      </a:cubicBezTo>
                      <a:cubicBezTo>
                        <a:pt x="367" y="42"/>
                        <a:pt x="385" y="37"/>
                        <a:pt x="385" y="35"/>
                      </a:cubicBezTo>
                      <a:cubicBezTo>
                        <a:pt x="384" y="33"/>
                        <a:pt x="362" y="33"/>
                        <a:pt x="352" y="34"/>
                      </a:cubicBezTo>
                      <a:cubicBezTo>
                        <a:pt x="342" y="36"/>
                        <a:pt x="325" y="41"/>
                        <a:pt x="324" y="38"/>
                      </a:cubicBezTo>
                      <a:cubicBezTo>
                        <a:pt x="324" y="36"/>
                        <a:pt x="345" y="32"/>
                        <a:pt x="355" y="30"/>
                      </a:cubicBezTo>
                      <a:cubicBezTo>
                        <a:pt x="366" y="29"/>
                        <a:pt x="385" y="31"/>
                        <a:pt x="393" y="28"/>
                      </a:cubicBezTo>
                      <a:cubicBezTo>
                        <a:pt x="401" y="24"/>
                        <a:pt x="413" y="24"/>
                        <a:pt x="415" y="22"/>
                      </a:cubicBezTo>
                      <a:cubicBezTo>
                        <a:pt x="418" y="19"/>
                        <a:pt x="406" y="15"/>
                        <a:pt x="400" y="16"/>
                      </a:cubicBezTo>
                      <a:cubicBezTo>
                        <a:pt x="395" y="16"/>
                        <a:pt x="389" y="15"/>
                        <a:pt x="389" y="12"/>
                      </a:cubicBezTo>
                      <a:cubicBezTo>
                        <a:pt x="390" y="9"/>
                        <a:pt x="381" y="9"/>
                        <a:pt x="380" y="7"/>
                      </a:cubicBezTo>
                      <a:cubicBezTo>
                        <a:pt x="379" y="4"/>
                        <a:pt x="361" y="6"/>
                        <a:pt x="357" y="4"/>
                      </a:cubicBezTo>
                      <a:cubicBezTo>
                        <a:pt x="353" y="1"/>
                        <a:pt x="342" y="0"/>
                        <a:pt x="333" y="1"/>
                      </a:cubicBezTo>
                      <a:cubicBezTo>
                        <a:pt x="323" y="2"/>
                        <a:pt x="304" y="1"/>
                        <a:pt x="299" y="2"/>
                      </a:cubicBezTo>
                      <a:cubicBezTo>
                        <a:pt x="295" y="2"/>
                        <a:pt x="292" y="4"/>
                        <a:pt x="288" y="4"/>
                      </a:cubicBezTo>
                      <a:cubicBezTo>
                        <a:pt x="284" y="3"/>
                        <a:pt x="277" y="5"/>
                        <a:pt x="280" y="8"/>
                      </a:cubicBezTo>
                      <a:cubicBezTo>
                        <a:pt x="284" y="12"/>
                        <a:pt x="273" y="14"/>
                        <a:pt x="274" y="11"/>
                      </a:cubicBezTo>
                      <a:cubicBezTo>
                        <a:pt x="275" y="7"/>
                        <a:pt x="265" y="5"/>
                        <a:pt x="262" y="8"/>
                      </a:cubicBezTo>
                      <a:cubicBezTo>
                        <a:pt x="258" y="11"/>
                        <a:pt x="242" y="5"/>
                        <a:pt x="240" y="8"/>
                      </a:cubicBezTo>
                      <a:cubicBezTo>
                        <a:pt x="237" y="11"/>
                        <a:pt x="219" y="10"/>
                        <a:pt x="213" y="11"/>
                      </a:cubicBezTo>
                      <a:cubicBezTo>
                        <a:pt x="208" y="12"/>
                        <a:pt x="222" y="16"/>
                        <a:pt x="221" y="18"/>
                      </a:cubicBezTo>
                      <a:cubicBezTo>
                        <a:pt x="221" y="21"/>
                        <a:pt x="203" y="18"/>
                        <a:pt x="207" y="23"/>
                      </a:cubicBezTo>
                      <a:cubicBezTo>
                        <a:pt x="211" y="27"/>
                        <a:pt x="222" y="30"/>
                        <a:pt x="228" y="36"/>
                      </a:cubicBezTo>
                      <a:cubicBezTo>
                        <a:pt x="233" y="41"/>
                        <a:pt x="223" y="38"/>
                        <a:pt x="217" y="34"/>
                      </a:cubicBezTo>
                      <a:cubicBezTo>
                        <a:pt x="211" y="30"/>
                        <a:pt x="203" y="31"/>
                        <a:pt x="199" y="27"/>
                      </a:cubicBezTo>
                      <a:cubicBezTo>
                        <a:pt x="195" y="23"/>
                        <a:pt x="181" y="20"/>
                        <a:pt x="178" y="22"/>
                      </a:cubicBezTo>
                      <a:cubicBezTo>
                        <a:pt x="173" y="25"/>
                        <a:pt x="187" y="30"/>
                        <a:pt x="187" y="33"/>
                      </a:cubicBezTo>
                      <a:cubicBezTo>
                        <a:pt x="187" y="37"/>
                        <a:pt x="178" y="33"/>
                        <a:pt x="176" y="34"/>
                      </a:cubicBezTo>
                      <a:cubicBezTo>
                        <a:pt x="174" y="35"/>
                        <a:pt x="166" y="26"/>
                        <a:pt x="161" y="26"/>
                      </a:cubicBezTo>
                      <a:cubicBezTo>
                        <a:pt x="157" y="26"/>
                        <a:pt x="161" y="30"/>
                        <a:pt x="161" y="36"/>
                      </a:cubicBezTo>
                      <a:cubicBezTo>
                        <a:pt x="161" y="42"/>
                        <a:pt x="151" y="46"/>
                        <a:pt x="154" y="42"/>
                      </a:cubicBezTo>
                      <a:cubicBezTo>
                        <a:pt x="157" y="37"/>
                        <a:pt x="155" y="27"/>
                        <a:pt x="150" y="25"/>
                      </a:cubicBezTo>
                      <a:cubicBezTo>
                        <a:pt x="145" y="23"/>
                        <a:pt x="132" y="29"/>
                        <a:pt x="125" y="29"/>
                      </a:cubicBezTo>
                      <a:cubicBezTo>
                        <a:pt x="119" y="29"/>
                        <a:pt x="110" y="31"/>
                        <a:pt x="116" y="34"/>
                      </a:cubicBezTo>
                      <a:cubicBezTo>
                        <a:pt x="121" y="37"/>
                        <a:pt x="115" y="39"/>
                        <a:pt x="110" y="36"/>
                      </a:cubicBezTo>
                      <a:cubicBezTo>
                        <a:pt x="105" y="32"/>
                        <a:pt x="89" y="36"/>
                        <a:pt x="92" y="38"/>
                      </a:cubicBezTo>
                      <a:cubicBezTo>
                        <a:pt x="96" y="41"/>
                        <a:pt x="97" y="47"/>
                        <a:pt x="95" y="50"/>
                      </a:cubicBezTo>
                      <a:cubicBezTo>
                        <a:pt x="92" y="53"/>
                        <a:pt x="86" y="47"/>
                        <a:pt x="79" y="48"/>
                      </a:cubicBezTo>
                      <a:cubicBezTo>
                        <a:pt x="73" y="48"/>
                        <a:pt x="41" y="64"/>
                        <a:pt x="43" y="68"/>
                      </a:cubicBezTo>
                      <a:cubicBezTo>
                        <a:pt x="45" y="72"/>
                        <a:pt x="58" y="68"/>
                        <a:pt x="62" y="71"/>
                      </a:cubicBezTo>
                      <a:cubicBezTo>
                        <a:pt x="67" y="73"/>
                        <a:pt x="61" y="82"/>
                        <a:pt x="56" y="86"/>
                      </a:cubicBezTo>
                      <a:cubicBezTo>
                        <a:pt x="51" y="89"/>
                        <a:pt x="31" y="86"/>
                        <a:pt x="31" y="90"/>
                      </a:cubicBezTo>
                      <a:cubicBezTo>
                        <a:pt x="30" y="94"/>
                        <a:pt x="0" y="95"/>
                        <a:pt x="0" y="102"/>
                      </a:cubicBezTo>
                      <a:cubicBezTo>
                        <a:pt x="0" y="105"/>
                        <a:pt x="1" y="107"/>
                        <a:pt x="5" y="108"/>
                      </a:cubicBezTo>
                      <a:cubicBezTo>
                        <a:pt x="9" y="109"/>
                        <a:pt x="14" y="107"/>
                        <a:pt x="18" y="112"/>
                      </a:cubicBezTo>
                      <a:cubicBezTo>
                        <a:pt x="22" y="116"/>
                        <a:pt x="33" y="116"/>
                        <a:pt x="40" y="113"/>
                      </a:cubicBezTo>
                      <a:cubicBezTo>
                        <a:pt x="47" y="110"/>
                        <a:pt x="53" y="114"/>
                        <a:pt x="52" y="118"/>
                      </a:cubicBezTo>
                      <a:cubicBezTo>
                        <a:pt x="52" y="122"/>
                        <a:pt x="36" y="116"/>
                        <a:pt x="31" y="120"/>
                      </a:cubicBezTo>
                      <a:cubicBezTo>
                        <a:pt x="26" y="123"/>
                        <a:pt x="10" y="120"/>
                        <a:pt x="11" y="123"/>
                      </a:cubicBezTo>
                      <a:cubicBezTo>
                        <a:pt x="12" y="127"/>
                        <a:pt x="19" y="126"/>
                        <a:pt x="26" y="127"/>
                      </a:cubicBezTo>
                      <a:cubicBezTo>
                        <a:pt x="32" y="128"/>
                        <a:pt x="26" y="131"/>
                        <a:pt x="26" y="134"/>
                      </a:cubicBezTo>
                      <a:cubicBezTo>
                        <a:pt x="26" y="136"/>
                        <a:pt x="29" y="136"/>
                        <a:pt x="35" y="139"/>
                      </a:cubicBezTo>
                      <a:cubicBezTo>
                        <a:pt x="42" y="142"/>
                        <a:pt x="52" y="144"/>
                        <a:pt x="48" y="140"/>
                      </a:cubicBezTo>
                      <a:cubicBezTo>
                        <a:pt x="45" y="137"/>
                        <a:pt x="55" y="137"/>
                        <a:pt x="57" y="139"/>
                      </a:cubicBezTo>
                      <a:cubicBezTo>
                        <a:pt x="58" y="141"/>
                        <a:pt x="63" y="136"/>
                        <a:pt x="67" y="137"/>
                      </a:cubicBezTo>
                      <a:cubicBezTo>
                        <a:pt x="72" y="139"/>
                        <a:pt x="73" y="133"/>
                        <a:pt x="77" y="135"/>
                      </a:cubicBezTo>
                      <a:cubicBezTo>
                        <a:pt x="81" y="138"/>
                        <a:pt x="97" y="139"/>
                        <a:pt x="103" y="142"/>
                      </a:cubicBezTo>
                      <a:cubicBezTo>
                        <a:pt x="109" y="145"/>
                        <a:pt x="116" y="146"/>
                        <a:pt x="116" y="151"/>
                      </a:cubicBezTo>
                      <a:cubicBezTo>
                        <a:pt x="115" y="155"/>
                        <a:pt x="121" y="159"/>
                        <a:pt x="127" y="161"/>
                      </a:cubicBezTo>
                      <a:cubicBezTo>
                        <a:pt x="133" y="164"/>
                        <a:pt x="135" y="170"/>
                        <a:pt x="134" y="174"/>
                      </a:cubicBezTo>
                      <a:cubicBezTo>
                        <a:pt x="134" y="178"/>
                        <a:pt x="141" y="181"/>
                        <a:pt x="140" y="183"/>
                      </a:cubicBezTo>
                      <a:cubicBezTo>
                        <a:pt x="139" y="185"/>
                        <a:pt x="140" y="188"/>
                        <a:pt x="144" y="192"/>
                      </a:cubicBezTo>
                      <a:cubicBezTo>
                        <a:pt x="148" y="195"/>
                        <a:pt x="137" y="198"/>
                        <a:pt x="140" y="202"/>
                      </a:cubicBezTo>
                      <a:cubicBezTo>
                        <a:pt x="143" y="205"/>
                        <a:pt x="136" y="211"/>
                        <a:pt x="144" y="212"/>
                      </a:cubicBezTo>
                      <a:cubicBezTo>
                        <a:pt x="151" y="214"/>
                        <a:pt x="150" y="207"/>
                        <a:pt x="156" y="207"/>
                      </a:cubicBezTo>
                      <a:cubicBezTo>
                        <a:pt x="162" y="207"/>
                        <a:pt x="156" y="212"/>
                        <a:pt x="159" y="215"/>
                      </a:cubicBezTo>
                      <a:cubicBezTo>
                        <a:pt x="162" y="218"/>
                        <a:pt x="168" y="218"/>
                        <a:pt x="174" y="223"/>
                      </a:cubicBezTo>
                      <a:cubicBezTo>
                        <a:pt x="180" y="228"/>
                        <a:pt x="176" y="230"/>
                        <a:pt x="171" y="226"/>
                      </a:cubicBezTo>
                      <a:cubicBezTo>
                        <a:pt x="165" y="222"/>
                        <a:pt x="150" y="223"/>
                        <a:pt x="150" y="224"/>
                      </a:cubicBezTo>
                      <a:cubicBezTo>
                        <a:pt x="150" y="226"/>
                        <a:pt x="167" y="236"/>
                        <a:pt x="171" y="234"/>
                      </a:cubicBezTo>
                      <a:cubicBezTo>
                        <a:pt x="175" y="233"/>
                        <a:pt x="181" y="240"/>
                        <a:pt x="178" y="243"/>
                      </a:cubicBezTo>
                      <a:cubicBezTo>
                        <a:pt x="176" y="245"/>
                        <a:pt x="177" y="251"/>
                        <a:pt x="177" y="254"/>
                      </a:cubicBezTo>
                      <a:cubicBezTo>
                        <a:pt x="176" y="257"/>
                        <a:pt x="170" y="254"/>
                        <a:pt x="166" y="254"/>
                      </a:cubicBezTo>
                      <a:cubicBezTo>
                        <a:pt x="163" y="255"/>
                        <a:pt x="160" y="256"/>
                        <a:pt x="160" y="260"/>
                      </a:cubicBezTo>
                      <a:cubicBezTo>
                        <a:pt x="160" y="264"/>
                        <a:pt x="154" y="267"/>
                        <a:pt x="153" y="272"/>
                      </a:cubicBezTo>
                      <a:cubicBezTo>
                        <a:pt x="153" y="277"/>
                        <a:pt x="158" y="277"/>
                        <a:pt x="161" y="279"/>
                      </a:cubicBezTo>
                      <a:cubicBezTo>
                        <a:pt x="164" y="281"/>
                        <a:pt x="155" y="282"/>
                        <a:pt x="155" y="286"/>
                      </a:cubicBezTo>
                      <a:cubicBezTo>
                        <a:pt x="155" y="290"/>
                        <a:pt x="163" y="296"/>
                        <a:pt x="166" y="298"/>
                      </a:cubicBezTo>
                      <a:cubicBezTo>
                        <a:pt x="169" y="299"/>
                        <a:pt x="166" y="307"/>
                        <a:pt x="168" y="311"/>
                      </a:cubicBezTo>
                      <a:cubicBezTo>
                        <a:pt x="169" y="315"/>
                        <a:pt x="173" y="310"/>
                        <a:pt x="172" y="316"/>
                      </a:cubicBezTo>
                      <a:cubicBezTo>
                        <a:pt x="172" y="321"/>
                        <a:pt x="176" y="321"/>
                        <a:pt x="176" y="324"/>
                      </a:cubicBezTo>
                      <a:cubicBezTo>
                        <a:pt x="177" y="327"/>
                        <a:pt x="184" y="326"/>
                        <a:pt x="183" y="331"/>
                      </a:cubicBezTo>
                      <a:cubicBezTo>
                        <a:pt x="181" y="335"/>
                        <a:pt x="185" y="338"/>
                        <a:pt x="186" y="340"/>
                      </a:cubicBezTo>
                      <a:cubicBezTo>
                        <a:pt x="188" y="343"/>
                        <a:pt x="194" y="347"/>
                        <a:pt x="195" y="350"/>
                      </a:cubicBezTo>
                      <a:cubicBezTo>
                        <a:pt x="197" y="353"/>
                        <a:pt x="200" y="357"/>
                        <a:pt x="204" y="356"/>
                      </a:cubicBezTo>
                      <a:cubicBezTo>
                        <a:pt x="209" y="355"/>
                        <a:pt x="209" y="359"/>
                        <a:pt x="212" y="358"/>
                      </a:cubicBezTo>
                      <a:cubicBezTo>
                        <a:pt x="216" y="358"/>
                        <a:pt x="221" y="360"/>
                        <a:pt x="222" y="362"/>
                      </a:cubicBezTo>
                      <a:cubicBezTo>
                        <a:pt x="223" y="365"/>
                        <a:pt x="233" y="367"/>
                        <a:pt x="236" y="368"/>
                      </a:cubicBezTo>
                      <a:cubicBezTo>
                        <a:pt x="239" y="368"/>
                        <a:pt x="239" y="363"/>
                        <a:pt x="242" y="362"/>
                      </a:cubicBezTo>
                      <a:cubicBezTo>
                        <a:pt x="244" y="360"/>
                        <a:pt x="243" y="350"/>
                        <a:pt x="246" y="349"/>
                      </a:cubicBezTo>
                      <a:cubicBezTo>
                        <a:pt x="248" y="348"/>
                        <a:pt x="247" y="337"/>
                        <a:pt x="245" y="336"/>
                      </a:cubicBezTo>
                      <a:cubicBezTo>
                        <a:pt x="243" y="335"/>
                        <a:pt x="244" y="332"/>
                        <a:pt x="249" y="332"/>
                      </a:cubicBezTo>
                      <a:cubicBezTo>
                        <a:pt x="255" y="333"/>
                        <a:pt x="253" y="328"/>
                        <a:pt x="255" y="327"/>
                      </a:cubicBezTo>
                      <a:cubicBezTo>
                        <a:pt x="258" y="326"/>
                        <a:pt x="257" y="321"/>
                        <a:pt x="259" y="321"/>
                      </a:cubicBezTo>
                      <a:cubicBezTo>
                        <a:pt x="261" y="320"/>
                        <a:pt x="260" y="317"/>
                        <a:pt x="259" y="315"/>
                      </a:cubicBezTo>
                      <a:cubicBezTo>
                        <a:pt x="257" y="313"/>
                        <a:pt x="259" y="312"/>
                        <a:pt x="262" y="311"/>
                      </a:cubicBezTo>
                      <a:cubicBezTo>
                        <a:pt x="265" y="311"/>
                        <a:pt x="264" y="307"/>
                        <a:pt x="260" y="305"/>
                      </a:cubicBezTo>
                      <a:cubicBezTo>
                        <a:pt x="257" y="304"/>
                        <a:pt x="258" y="300"/>
                        <a:pt x="262" y="302"/>
                      </a:cubicBezTo>
                      <a:cubicBezTo>
                        <a:pt x="265" y="305"/>
                        <a:pt x="268" y="303"/>
                        <a:pt x="266" y="300"/>
                      </a:cubicBezTo>
                      <a:cubicBezTo>
                        <a:pt x="264" y="297"/>
                        <a:pt x="269" y="296"/>
                        <a:pt x="274" y="295"/>
                      </a:cubicBezTo>
                      <a:cubicBezTo>
                        <a:pt x="279" y="295"/>
                        <a:pt x="281" y="292"/>
                        <a:pt x="280" y="288"/>
                      </a:cubicBezTo>
                      <a:cubicBezTo>
                        <a:pt x="279" y="285"/>
                        <a:pt x="286" y="285"/>
                        <a:pt x="284" y="288"/>
                      </a:cubicBezTo>
                      <a:cubicBezTo>
                        <a:pt x="283" y="291"/>
                        <a:pt x="284" y="295"/>
                        <a:pt x="286" y="292"/>
                      </a:cubicBezTo>
                      <a:cubicBezTo>
                        <a:pt x="288" y="290"/>
                        <a:pt x="293" y="292"/>
                        <a:pt x="301" y="289"/>
                      </a:cubicBezTo>
                      <a:cubicBezTo>
                        <a:pt x="309" y="287"/>
                        <a:pt x="317" y="280"/>
                        <a:pt x="319" y="274"/>
                      </a:cubicBezTo>
                      <a:cubicBezTo>
                        <a:pt x="321" y="267"/>
                        <a:pt x="330" y="268"/>
                        <a:pt x="329" y="264"/>
                      </a:cubicBezTo>
                      <a:cubicBezTo>
                        <a:pt x="328" y="260"/>
                        <a:pt x="330" y="258"/>
                        <a:pt x="336" y="261"/>
                      </a:cubicBezTo>
                      <a:cubicBezTo>
                        <a:pt x="342" y="264"/>
                        <a:pt x="338" y="259"/>
                        <a:pt x="344" y="259"/>
                      </a:cubicBezTo>
                      <a:cubicBezTo>
                        <a:pt x="351" y="259"/>
                        <a:pt x="350" y="256"/>
                        <a:pt x="356" y="256"/>
                      </a:cubicBezTo>
                      <a:cubicBezTo>
                        <a:pt x="363" y="256"/>
                        <a:pt x="379" y="253"/>
                        <a:pt x="385" y="248"/>
                      </a:cubicBezTo>
                      <a:cubicBezTo>
                        <a:pt x="391" y="244"/>
                        <a:pt x="403" y="240"/>
                        <a:pt x="408" y="237"/>
                      </a:cubicBezTo>
                      <a:cubicBezTo>
                        <a:pt x="413" y="233"/>
                        <a:pt x="414" y="231"/>
                        <a:pt x="411" y="232"/>
                      </a:cubicBezTo>
                      <a:cubicBezTo>
                        <a:pt x="408" y="234"/>
                        <a:pt x="401" y="234"/>
                        <a:pt x="397" y="233"/>
                      </a:cubicBezTo>
                      <a:cubicBezTo>
                        <a:pt x="392" y="232"/>
                        <a:pt x="384" y="228"/>
                        <a:pt x="379" y="231"/>
                      </a:cubicBezTo>
                      <a:cubicBezTo>
                        <a:pt x="373" y="234"/>
                        <a:pt x="377" y="227"/>
                        <a:pt x="381" y="226"/>
                      </a:cubicBezTo>
                      <a:cubicBezTo>
                        <a:pt x="386" y="225"/>
                        <a:pt x="384" y="223"/>
                        <a:pt x="383" y="218"/>
                      </a:cubicBezTo>
                      <a:cubicBezTo>
                        <a:pt x="381" y="213"/>
                        <a:pt x="390" y="217"/>
                        <a:pt x="394" y="222"/>
                      </a:cubicBezTo>
                      <a:cubicBezTo>
                        <a:pt x="398" y="227"/>
                        <a:pt x="405" y="230"/>
                        <a:pt x="412" y="228"/>
                      </a:cubicBezTo>
                      <a:cubicBezTo>
                        <a:pt x="418" y="226"/>
                        <a:pt x="412" y="221"/>
                        <a:pt x="414" y="217"/>
                      </a:cubicBezTo>
                      <a:cubicBezTo>
                        <a:pt x="417" y="214"/>
                        <a:pt x="395" y="203"/>
                        <a:pt x="393" y="199"/>
                      </a:cubicBezTo>
                      <a:cubicBezTo>
                        <a:pt x="392" y="195"/>
                        <a:pt x="399" y="198"/>
                        <a:pt x="405" y="200"/>
                      </a:cubicBezTo>
                      <a:cubicBezTo>
                        <a:pt x="412" y="203"/>
                        <a:pt x="413" y="195"/>
                        <a:pt x="413" y="192"/>
                      </a:cubicBezTo>
                      <a:cubicBezTo>
                        <a:pt x="413" y="188"/>
                        <a:pt x="400" y="188"/>
                        <a:pt x="394" y="192"/>
                      </a:cubicBezTo>
                      <a:cubicBezTo>
                        <a:pt x="388" y="195"/>
                        <a:pt x="382" y="187"/>
                        <a:pt x="390" y="186"/>
                      </a:cubicBezTo>
                      <a:cubicBezTo>
                        <a:pt x="398" y="185"/>
                        <a:pt x="391" y="182"/>
                        <a:pt x="393" y="180"/>
                      </a:cubicBezTo>
                      <a:cubicBezTo>
                        <a:pt x="396" y="177"/>
                        <a:pt x="406" y="187"/>
                        <a:pt x="411" y="185"/>
                      </a:cubicBezTo>
                      <a:cubicBezTo>
                        <a:pt x="416" y="183"/>
                        <a:pt x="420" y="185"/>
                        <a:pt x="425" y="182"/>
                      </a:cubicBezTo>
                      <a:cubicBezTo>
                        <a:pt x="429" y="178"/>
                        <a:pt x="417" y="175"/>
                        <a:pt x="414" y="172"/>
                      </a:cubicBezTo>
                      <a:cubicBezTo>
                        <a:pt x="411" y="168"/>
                        <a:pt x="427" y="170"/>
                        <a:pt x="432" y="170"/>
                      </a:cubicBezTo>
                      <a:cubicBezTo>
                        <a:pt x="437" y="170"/>
                        <a:pt x="438" y="163"/>
                        <a:pt x="434" y="164"/>
                      </a:cubicBezTo>
                      <a:cubicBezTo>
                        <a:pt x="430" y="166"/>
                        <a:pt x="417" y="160"/>
                        <a:pt x="419" y="155"/>
                      </a:cubicBezTo>
                      <a:cubicBezTo>
                        <a:pt x="422" y="151"/>
                        <a:pt x="427" y="156"/>
                        <a:pt x="433" y="153"/>
                      </a:cubicBezTo>
                      <a:cubicBezTo>
                        <a:pt x="439" y="150"/>
                        <a:pt x="434" y="138"/>
                        <a:pt x="430" y="138"/>
                      </a:cubicBezTo>
                      <a:cubicBezTo>
                        <a:pt x="425" y="138"/>
                        <a:pt x="415" y="137"/>
                        <a:pt x="415" y="135"/>
                      </a:cubicBezTo>
                      <a:cubicBezTo>
                        <a:pt x="415" y="133"/>
                        <a:pt x="407" y="131"/>
                        <a:pt x="409" y="129"/>
                      </a:cubicBezTo>
                      <a:cubicBezTo>
                        <a:pt x="412" y="126"/>
                        <a:pt x="415" y="131"/>
                        <a:pt x="420" y="127"/>
                      </a:cubicBezTo>
                      <a:cubicBezTo>
                        <a:pt x="426" y="123"/>
                        <a:pt x="437" y="128"/>
                        <a:pt x="442" y="127"/>
                      </a:cubicBezTo>
                      <a:cubicBezTo>
                        <a:pt x="447" y="126"/>
                        <a:pt x="440" y="117"/>
                        <a:pt x="437" y="119"/>
                      </a:cubicBezTo>
                      <a:cubicBezTo>
                        <a:pt x="434" y="120"/>
                        <a:pt x="425" y="121"/>
                        <a:pt x="424" y="116"/>
                      </a:cubicBezTo>
                      <a:cubicBezTo>
                        <a:pt x="423" y="111"/>
                        <a:pt x="433" y="116"/>
                        <a:pt x="435" y="113"/>
                      </a:cubicBezTo>
                      <a:cubicBezTo>
                        <a:pt x="437" y="111"/>
                        <a:pt x="421" y="105"/>
                        <a:pt x="419" y="110"/>
                      </a:cubicBezTo>
                      <a:cubicBezTo>
                        <a:pt x="416" y="115"/>
                        <a:pt x="408" y="113"/>
                        <a:pt x="412" y="110"/>
                      </a:cubicBezTo>
                      <a:cubicBezTo>
                        <a:pt x="417" y="107"/>
                        <a:pt x="418" y="99"/>
                        <a:pt x="417" y="95"/>
                      </a:cubicBezTo>
                      <a:cubicBezTo>
                        <a:pt x="417" y="91"/>
                        <a:pt x="433" y="91"/>
                        <a:pt x="432" y="84"/>
                      </a:cubicBezTo>
                      <a:cubicBezTo>
                        <a:pt x="430" y="78"/>
                        <a:pt x="439" y="76"/>
                        <a:pt x="445" y="76"/>
                      </a:cubicBezTo>
                      <a:cubicBezTo>
                        <a:pt x="450" y="76"/>
                        <a:pt x="445" y="69"/>
                        <a:pt x="439" y="70"/>
                      </a:cubicBezTo>
                      <a:cubicBezTo>
                        <a:pt x="434" y="71"/>
                        <a:pt x="429" y="76"/>
                        <a:pt x="426" y="74"/>
                      </a:cubicBezTo>
                      <a:cubicBezTo>
                        <a:pt x="423" y="72"/>
                        <a:pt x="432" y="67"/>
                        <a:pt x="437" y="67"/>
                      </a:cubicBezTo>
                      <a:cubicBezTo>
                        <a:pt x="442" y="67"/>
                        <a:pt x="453" y="67"/>
                        <a:pt x="457" y="65"/>
                      </a:cubicBezTo>
                      <a:cubicBezTo>
                        <a:pt x="461" y="62"/>
                        <a:pt x="450" y="60"/>
                        <a:pt x="442" y="61"/>
                      </a:cubicBezTo>
                      <a:cubicBezTo>
                        <a:pt x="435" y="62"/>
                        <a:pt x="435" y="59"/>
                        <a:pt x="446" y="58"/>
                      </a:cubicBezTo>
                      <a:cubicBezTo>
                        <a:pt x="458" y="58"/>
                        <a:pt x="456" y="56"/>
                        <a:pt x="464" y="55"/>
                      </a:cubicBezTo>
                      <a:cubicBezTo>
                        <a:pt x="472" y="54"/>
                        <a:pt x="469" y="51"/>
                        <a:pt x="474" y="50"/>
                      </a:cubicBezTo>
                      <a:cubicBezTo>
                        <a:pt x="479" y="50"/>
                        <a:pt x="492" y="45"/>
                        <a:pt x="492" y="42"/>
                      </a:cubicBezTo>
                      <a:cubicBezTo>
                        <a:pt x="492" y="39"/>
                        <a:pt x="474" y="34"/>
                        <a:pt x="465" y="34"/>
                      </a:cubicBezTo>
                      <a:close/>
                      <a:moveTo>
                        <a:pt x="169" y="241"/>
                      </a:moveTo>
                      <a:cubicBezTo>
                        <a:pt x="169" y="237"/>
                        <a:pt x="164" y="240"/>
                        <a:pt x="162" y="235"/>
                      </a:cubicBezTo>
                      <a:cubicBezTo>
                        <a:pt x="160" y="231"/>
                        <a:pt x="148" y="229"/>
                        <a:pt x="146" y="232"/>
                      </a:cubicBezTo>
                      <a:cubicBezTo>
                        <a:pt x="146" y="234"/>
                        <a:pt x="142" y="236"/>
                        <a:pt x="145" y="239"/>
                      </a:cubicBezTo>
                      <a:cubicBezTo>
                        <a:pt x="148" y="243"/>
                        <a:pt x="150" y="241"/>
                        <a:pt x="154" y="245"/>
                      </a:cubicBezTo>
                      <a:cubicBezTo>
                        <a:pt x="158" y="248"/>
                        <a:pt x="168" y="245"/>
                        <a:pt x="169" y="24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5" name="Freeform 118">
                  <a:extLst>
                    <a:ext uri="{FF2B5EF4-FFF2-40B4-BE49-F238E27FC236}">
                      <a16:creationId xmlns:a16="http://schemas.microsoft.com/office/drawing/2014/main" id="{421A4708-FF3F-4B25-9024-CE8D8C6ECB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8086433" y="-14153084"/>
                  <a:ext cx="4433469" cy="3408616"/>
                </a:xfrm>
                <a:custGeom>
                  <a:avLst/>
                  <a:gdLst>
                    <a:gd name="T0" fmla="*/ 146 w 717"/>
                    <a:gd name="T1" fmla="*/ 487 h 552"/>
                    <a:gd name="T2" fmla="*/ 135 w 717"/>
                    <a:gd name="T3" fmla="*/ 162 h 552"/>
                    <a:gd name="T4" fmla="*/ 276 w 717"/>
                    <a:gd name="T5" fmla="*/ 179 h 552"/>
                    <a:gd name="T6" fmla="*/ 183 w 717"/>
                    <a:gd name="T7" fmla="*/ 191 h 552"/>
                    <a:gd name="T8" fmla="*/ 275 w 717"/>
                    <a:gd name="T9" fmla="*/ 238 h 552"/>
                    <a:gd name="T10" fmla="*/ 169 w 717"/>
                    <a:gd name="T11" fmla="*/ 138 h 552"/>
                    <a:gd name="T12" fmla="*/ 148 w 717"/>
                    <a:gd name="T13" fmla="*/ 132 h 552"/>
                    <a:gd name="T14" fmla="*/ 263 w 717"/>
                    <a:gd name="T15" fmla="*/ 152 h 552"/>
                    <a:gd name="T16" fmla="*/ 212 w 717"/>
                    <a:gd name="T17" fmla="*/ 102 h 552"/>
                    <a:gd name="T18" fmla="*/ 294 w 717"/>
                    <a:gd name="T19" fmla="*/ 85 h 552"/>
                    <a:gd name="T20" fmla="*/ 297 w 717"/>
                    <a:gd name="T21" fmla="*/ 115 h 552"/>
                    <a:gd name="T22" fmla="*/ 299 w 717"/>
                    <a:gd name="T23" fmla="*/ 132 h 552"/>
                    <a:gd name="T24" fmla="*/ 387 w 717"/>
                    <a:gd name="T25" fmla="*/ 105 h 552"/>
                    <a:gd name="T26" fmla="*/ 351 w 717"/>
                    <a:gd name="T27" fmla="*/ 165 h 552"/>
                    <a:gd name="T28" fmla="*/ 490 w 717"/>
                    <a:gd name="T29" fmla="*/ 156 h 552"/>
                    <a:gd name="T30" fmla="*/ 414 w 717"/>
                    <a:gd name="T31" fmla="*/ 108 h 552"/>
                    <a:gd name="T32" fmla="*/ 426 w 717"/>
                    <a:gd name="T33" fmla="*/ 59 h 552"/>
                    <a:gd name="T34" fmla="*/ 418 w 717"/>
                    <a:gd name="T35" fmla="*/ 47 h 552"/>
                    <a:gd name="T36" fmla="*/ 452 w 717"/>
                    <a:gd name="T37" fmla="*/ 86 h 552"/>
                    <a:gd name="T38" fmla="*/ 498 w 717"/>
                    <a:gd name="T39" fmla="*/ 128 h 552"/>
                    <a:gd name="T40" fmla="*/ 567 w 717"/>
                    <a:gd name="T41" fmla="*/ 62 h 552"/>
                    <a:gd name="T42" fmla="*/ 542 w 717"/>
                    <a:gd name="T43" fmla="*/ 6 h 552"/>
                    <a:gd name="T44" fmla="*/ 406 w 717"/>
                    <a:gd name="T45" fmla="*/ 32 h 552"/>
                    <a:gd name="T46" fmla="*/ 445 w 717"/>
                    <a:gd name="T47" fmla="*/ 314 h 552"/>
                    <a:gd name="T48" fmla="*/ 590 w 717"/>
                    <a:gd name="T49" fmla="*/ 242 h 552"/>
                    <a:gd name="T50" fmla="*/ 532 w 717"/>
                    <a:gd name="T51" fmla="*/ 194 h 552"/>
                    <a:gd name="T52" fmla="*/ 445 w 717"/>
                    <a:gd name="T53" fmla="*/ 178 h 552"/>
                    <a:gd name="T54" fmla="*/ 502 w 717"/>
                    <a:gd name="T55" fmla="*/ 220 h 552"/>
                    <a:gd name="T56" fmla="*/ 525 w 717"/>
                    <a:gd name="T57" fmla="*/ 292 h 552"/>
                    <a:gd name="T58" fmla="*/ 606 w 717"/>
                    <a:gd name="T59" fmla="*/ 298 h 552"/>
                    <a:gd name="T60" fmla="*/ 487 w 717"/>
                    <a:gd name="T61" fmla="*/ 171 h 552"/>
                    <a:gd name="T62" fmla="*/ 687 w 717"/>
                    <a:gd name="T63" fmla="*/ 457 h 552"/>
                    <a:gd name="T64" fmla="*/ 78 w 717"/>
                    <a:gd name="T65" fmla="*/ 448 h 552"/>
                    <a:gd name="T66" fmla="*/ 585 w 717"/>
                    <a:gd name="T67" fmla="*/ 489 h 552"/>
                    <a:gd name="T68" fmla="*/ 687 w 717"/>
                    <a:gd name="T69" fmla="*/ 434 h 552"/>
                    <a:gd name="T70" fmla="*/ 638 w 717"/>
                    <a:gd name="T71" fmla="*/ 399 h 552"/>
                    <a:gd name="T72" fmla="*/ 602 w 717"/>
                    <a:gd name="T73" fmla="*/ 376 h 552"/>
                    <a:gd name="T74" fmla="*/ 544 w 717"/>
                    <a:gd name="T75" fmla="*/ 330 h 552"/>
                    <a:gd name="T76" fmla="*/ 519 w 717"/>
                    <a:gd name="T77" fmla="*/ 387 h 552"/>
                    <a:gd name="T78" fmla="*/ 475 w 717"/>
                    <a:gd name="T79" fmla="*/ 440 h 552"/>
                    <a:gd name="T80" fmla="*/ 384 w 717"/>
                    <a:gd name="T81" fmla="*/ 375 h 552"/>
                    <a:gd name="T82" fmla="*/ 413 w 717"/>
                    <a:gd name="T83" fmla="*/ 307 h 552"/>
                    <a:gd name="T84" fmla="*/ 463 w 717"/>
                    <a:gd name="T85" fmla="*/ 276 h 552"/>
                    <a:gd name="T86" fmla="*/ 454 w 717"/>
                    <a:gd name="T87" fmla="*/ 242 h 552"/>
                    <a:gd name="T88" fmla="*/ 413 w 717"/>
                    <a:gd name="T89" fmla="*/ 245 h 552"/>
                    <a:gd name="T90" fmla="*/ 383 w 717"/>
                    <a:gd name="T91" fmla="*/ 193 h 552"/>
                    <a:gd name="T92" fmla="*/ 369 w 717"/>
                    <a:gd name="T93" fmla="*/ 208 h 552"/>
                    <a:gd name="T94" fmla="*/ 362 w 717"/>
                    <a:gd name="T95" fmla="*/ 259 h 552"/>
                    <a:gd name="T96" fmla="*/ 351 w 717"/>
                    <a:gd name="T97" fmla="*/ 248 h 552"/>
                    <a:gd name="T98" fmla="*/ 285 w 717"/>
                    <a:gd name="T99" fmla="*/ 248 h 552"/>
                    <a:gd name="T100" fmla="*/ 191 w 717"/>
                    <a:gd name="T101" fmla="*/ 242 h 552"/>
                    <a:gd name="T102" fmla="*/ 69 w 717"/>
                    <a:gd name="T103" fmla="*/ 243 h 552"/>
                    <a:gd name="T104" fmla="*/ 33 w 717"/>
                    <a:gd name="T105" fmla="*/ 243 h 552"/>
                    <a:gd name="T106" fmla="*/ 90 w 717"/>
                    <a:gd name="T107" fmla="*/ 419 h 552"/>
                    <a:gd name="T108" fmla="*/ 129 w 717"/>
                    <a:gd name="T109" fmla="*/ 469 h 552"/>
                    <a:gd name="T110" fmla="*/ 444 w 717"/>
                    <a:gd name="T111" fmla="*/ 491 h 552"/>
                    <a:gd name="T112" fmla="*/ 500 w 717"/>
                    <a:gd name="T113" fmla="*/ 546 h 552"/>
                    <a:gd name="T114" fmla="*/ 617 w 717"/>
                    <a:gd name="T115" fmla="*/ 515 h 552"/>
                    <a:gd name="T116" fmla="*/ 173 w 717"/>
                    <a:gd name="T117" fmla="*/ 290 h 552"/>
                    <a:gd name="T118" fmla="*/ 172 w 717"/>
                    <a:gd name="T119" fmla="*/ 279 h 552"/>
                    <a:gd name="T120" fmla="*/ 359 w 717"/>
                    <a:gd name="T121" fmla="*/ 468 h 5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717" h="552">
                      <a:moveTo>
                        <a:pt x="141" y="484"/>
                      </a:moveTo>
                      <a:cubicBezTo>
                        <a:pt x="139" y="481"/>
                        <a:pt x="133" y="482"/>
                        <a:pt x="132" y="479"/>
                      </a:cubicBezTo>
                      <a:cubicBezTo>
                        <a:pt x="131" y="477"/>
                        <a:pt x="126" y="469"/>
                        <a:pt x="123" y="469"/>
                      </a:cubicBezTo>
                      <a:cubicBezTo>
                        <a:pt x="120" y="469"/>
                        <a:pt x="116" y="469"/>
                        <a:pt x="112" y="467"/>
                      </a:cubicBezTo>
                      <a:cubicBezTo>
                        <a:pt x="109" y="464"/>
                        <a:pt x="106" y="464"/>
                        <a:pt x="104" y="465"/>
                      </a:cubicBezTo>
                      <a:cubicBezTo>
                        <a:pt x="101" y="467"/>
                        <a:pt x="106" y="467"/>
                        <a:pt x="106" y="469"/>
                      </a:cubicBezTo>
                      <a:cubicBezTo>
                        <a:pt x="106" y="471"/>
                        <a:pt x="108" y="472"/>
                        <a:pt x="110" y="472"/>
                      </a:cubicBezTo>
                      <a:cubicBezTo>
                        <a:pt x="112" y="471"/>
                        <a:pt x="113" y="476"/>
                        <a:pt x="115" y="476"/>
                      </a:cubicBezTo>
                      <a:cubicBezTo>
                        <a:pt x="118" y="476"/>
                        <a:pt x="118" y="479"/>
                        <a:pt x="121" y="479"/>
                      </a:cubicBezTo>
                      <a:cubicBezTo>
                        <a:pt x="123" y="479"/>
                        <a:pt x="124" y="482"/>
                        <a:pt x="125" y="484"/>
                      </a:cubicBezTo>
                      <a:cubicBezTo>
                        <a:pt x="126" y="486"/>
                        <a:pt x="129" y="484"/>
                        <a:pt x="129" y="486"/>
                      </a:cubicBezTo>
                      <a:cubicBezTo>
                        <a:pt x="129" y="487"/>
                        <a:pt x="132" y="488"/>
                        <a:pt x="133" y="490"/>
                      </a:cubicBezTo>
                      <a:cubicBezTo>
                        <a:pt x="138" y="491"/>
                        <a:pt x="142" y="491"/>
                        <a:pt x="145" y="490"/>
                      </a:cubicBezTo>
                      <a:cubicBezTo>
                        <a:pt x="146" y="489"/>
                        <a:pt x="146" y="488"/>
                        <a:pt x="146" y="487"/>
                      </a:cubicBezTo>
                      <a:cubicBezTo>
                        <a:pt x="148" y="485"/>
                        <a:pt x="144" y="486"/>
                        <a:pt x="141" y="484"/>
                      </a:cubicBezTo>
                      <a:close/>
                      <a:moveTo>
                        <a:pt x="135" y="200"/>
                      </a:moveTo>
                      <a:cubicBezTo>
                        <a:pt x="142" y="202"/>
                        <a:pt x="142" y="213"/>
                        <a:pt x="147" y="213"/>
                      </a:cubicBezTo>
                      <a:cubicBezTo>
                        <a:pt x="150" y="213"/>
                        <a:pt x="147" y="210"/>
                        <a:pt x="152" y="210"/>
                      </a:cubicBezTo>
                      <a:cubicBezTo>
                        <a:pt x="157" y="210"/>
                        <a:pt x="156" y="207"/>
                        <a:pt x="160" y="208"/>
                      </a:cubicBezTo>
                      <a:cubicBezTo>
                        <a:pt x="164" y="208"/>
                        <a:pt x="168" y="206"/>
                        <a:pt x="168" y="201"/>
                      </a:cubicBezTo>
                      <a:cubicBezTo>
                        <a:pt x="168" y="196"/>
                        <a:pt x="171" y="195"/>
                        <a:pt x="175" y="194"/>
                      </a:cubicBezTo>
                      <a:cubicBezTo>
                        <a:pt x="179" y="193"/>
                        <a:pt x="176" y="187"/>
                        <a:pt x="182" y="186"/>
                      </a:cubicBezTo>
                      <a:cubicBezTo>
                        <a:pt x="188" y="184"/>
                        <a:pt x="204" y="177"/>
                        <a:pt x="207" y="175"/>
                      </a:cubicBezTo>
                      <a:cubicBezTo>
                        <a:pt x="210" y="173"/>
                        <a:pt x="204" y="170"/>
                        <a:pt x="197" y="166"/>
                      </a:cubicBezTo>
                      <a:cubicBezTo>
                        <a:pt x="191" y="162"/>
                        <a:pt x="186" y="161"/>
                        <a:pt x="181" y="164"/>
                      </a:cubicBezTo>
                      <a:cubicBezTo>
                        <a:pt x="176" y="168"/>
                        <a:pt x="180" y="161"/>
                        <a:pt x="176" y="163"/>
                      </a:cubicBezTo>
                      <a:cubicBezTo>
                        <a:pt x="172" y="164"/>
                        <a:pt x="161" y="160"/>
                        <a:pt x="160" y="158"/>
                      </a:cubicBezTo>
                      <a:cubicBezTo>
                        <a:pt x="158" y="156"/>
                        <a:pt x="139" y="162"/>
                        <a:pt x="135" y="162"/>
                      </a:cubicBezTo>
                      <a:cubicBezTo>
                        <a:pt x="130" y="162"/>
                        <a:pt x="135" y="167"/>
                        <a:pt x="138" y="169"/>
                      </a:cubicBezTo>
                      <a:cubicBezTo>
                        <a:pt x="141" y="172"/>
                        <a:pt x="130" y="180"/>
                        <a:pt x="132" y="181"/>
                      </a:cubicBezTo>
                      <a:cubicBezTo>
                        <a:pt x="135" y="183"/>
                        <a:pt x="130" y="188"/>
                        <a:pt x="125" y="194"/>
                      </a:cubicBezTo>
                      <a:cubicBezTo>
                        <a:pt x="120" y="199"/>
                        <a:pt x="129" y="199"/>
                        <a:pt x="135" y="200"/>
                      </a:cubicBezTo>
                      <a:close/>
                      <a:moveTo>
                        <a:pt x="314" y="230"/>
                      </a:moveTo>
                      <a:cubicBezTo>
                        <a:pt x="316" y="227"/>
                        <a:pt x="325" y="235"/>
                        <a:pt x="325" y="229"/>
                      </a:cubicBezTo>
                      <a:cubicBezTo>
                        <a:pt x="325" y="224"/>
                        <a:pt x="315" y="221"/>
                        <a:pt x="311" y="219"/>
                      </a:cubicBezTo>
                      <a:cubicBezTo>
                        <a:pt x="306" y="216"/>
                        <a:pt x="305" y="217"/>
                        <a:pt x="298" y="212"/>
                      </a:cubicBezTo>
                      <a:cubicBezTo>
                        <a:pt x="291" y="207"/>
                        <a:pt x="300" y="205"/>
                        <a:pt x="295" y="201"/>
                      </a:cubicBezTo>
                      <a:cubicBezTo>
                        <a:pt x="290" y="197"/>
                        <a:pt x="288" y="186"/>
                        <a:pt x="291" y="183"/>
                      </a:cubicBezTo>
                      <a:cubicBezTo>
                        <a:pt x="295" y="179"/>
                        <a:pt x="299" y="174"/>
                        <a:pt x="293" y="171"/>
                      </a:cubicBezTo>
                      <a:cubicBezTo>
                        <a:pt x="286" y="169"/>
                        <a:pt x="276" y="173"/>
                        <a:pt x="277" y="175"/>
                      </a:cubicBezTo>
                      <a:cubicBezTo>
                        <a:pt x="278" y="176"/>
                        <a:pt x="287" y="181"/>
                        <a:pt x="287" y="183"/>
                      </a:cubicBezTo>
                      <a:cubicBezTo>
                        <a:pt x="287" y="185"/>
                        <a:pt x="279" y="177"/>
                        <a:pt x="276" y="179"/>
                      </a:cubicBezTo>
                      <a:cubicBezTo>
                        <a:pt x="273" y="181"/>
                        <a:pt x="270" y="175"/>
                        <a:pt x="267" y="179"/>
                      </a:cubicBezTo>
                      <a:cubicBezTo>
                        <a:pt x="265" y="183"/>
                        <a:pt x="270" y="195"/>
                        <a:pt x="273" y="199"/>
                      </a:cubicBezTo>
                      <a:cubicBezTo>
                        <a:pt x="275" y="202"/>
                        <a:pt x="270" y="202"/>
                        <a:pt x="268" y="203"/>
                      </a:cubicBezTo>
                      <a:cubicBezTo>
                        <a:pt x="265" y="204"/>
                        <a:pt x="264" y="193"/>
                        <a:pt x="262" y="189"/>
                      </a:cubicBezTo>
                      <a:cubicBezTo>
                        <a:pt x="259" y="185"/>
                        <a:pt x="247" y="180"/>
                        <a:pt x="247" y="183"/>
                      </a:cubicBezTo>
                      <a:cubicBezTo>
                        <a:pt x="246" y="186"/>
                        <a:pt x="254" y="186"/>
                        <a:pt x="253" y="190"/>
                      </a:cubicBezTo>
                      <a:cubicBezTo>
                        <a:pt x="252" y="194"/>
                        <a:pt x="247" y="188"/>
                        <a:pt x="243" y="191"/>
                      </a:cubicBezTo>
                      <a:cubicBezTo>
                        <a:pt x="239" y="194"/>
                        <a:pt x="240" y="192"/>
                        <a:pt x="241" y="189"/>
                      </a:cubicBezTo>
                      <a:cubicBezTo>
                        <a:pt x="242" y="185"/>
                        <a:pt x="235" y="182"/>
                        <a:pt x="228" y="183"/>
                      </a:cubicBezTo>
                      <a:cubicBezTo>
                        <a:pt x="221" y="183"/>
                        <a:pt x="225" y="188"/>
                        <a:pt x="223" y="190"/>
                      </a:cubicBezTo>
                      <a:cubicBezTo>
                        <a:pt x="221" y="192"/>
                        <a:pt x="210" y="189"/>
                        <a:pt x="217" y="188"/>
                      </a:cubicBezTo>
                      <a:cubicBezTo>
                        <a:pt x="223" y="186"/>
                        <a:pt x="221" y="182"/>
                        <a:pt x="218" y="178"/>
                      </a:cubicBezTo>
                      <a:cubicBezTo>
                        <a:pt x="216" y="174"/>
                        <a:pt x="209" y="179"/>
                        <a:pt x="198" y="183"/>
                      </a:cubicBezTo>
                      <a:cubicBezTo>
                        <a:pt x="187" y="187"/>
                        <a:pt x="182" y="191"/>
                        <a:pt x="183" y="191"/>
                      </a:cubicBezTo>
                      <a:cubicBezTo>
                        <a:pt x="184" y="192"/>
                        <a:pt x="185" y="194"/>
                        <a:pt x="181" y="197"/>
                      </a:cubicBezTo>
                      <a:cubicBezTo>
                        <a:pt x="176" y="201"/>
                        <a:pt x="181" y="204"/>
                        <a:pt x="184" y="204"/>
                      </a:cubicBezTo>
                      <a:cubicBezTo>
                        <a:pt x="188" y="204"/>
                        <a:pt x="185" y="207"/>
                        <a:pt x="188" y="208"/>
                      </a:cubicBezTo>
                      <a:cubicBezTo>
                        <a:pt x="190" y="209"/>
                        <a:pt x="203" y="203"/>
                        <a:pt x="207" y="205"/>
                      </a:cubicBezTo>
                      <a:cubicBezTo>
                        <a:pt x="210" y="208"/>
                        <a:pt x="186" y="209"/>
                        <a:pt x="186" y="214"/>
                      </a:cubicBezTo>
                      <a:cubicBezTo>
                        <a:pt x="186" y="218"/>
                        <a:pt x="199" y="220"/>
                        <a:pt x="209" y="219"/>
                      </a:cubicBezTo>
                      <a:cubicBezTo>
                        <a:pt x="219" y="217"/>
                        <a:pt x="237" y="220"/>
                        <a:pt x="237" y="222"/>
                      </a:cubicBezTo>
                      <a:cubicBezTo>
                        <a:pt x="237" y="225"/>
                        <a:pt x="225" y="224"/>
                        <a:pt x="216" y="224"/>
                      </a:cubicBezTo>
                      <a:cubicBezTo>
                        <a:pt x="207" y="224"/>
                        <a:pt x="192" y="226"/>
                        <a:pt x="192" y="229"/>
                      </a:cubicBezTo>
                      <a:cubicBezTo>
                        <a:pt x="193" y="232"/>
                        <a:pt x="194" y="232"/>
                        <a:pt x="203" y="237"/>
                      </a:cubicBezTo>
                      <a:cubicBezTo>
                        <a:pt x="213" y="241"/>
                        <a:pt x="222" y="235"/>
                        <a:pt x="222" y="241"/>
                      </a:cubicBezTo>
                      <a:cubicBezTo>
                        <a:pt x="222" y="247"/>
                        <a:pt x="227" y="248"/>
                        <a:pt x="239" y="249"/>
                      </a:cubicBezTo>
                      <a:cubicBezTo>
                        <a:pt x="252" y="249"/>
                        <a:pt x="258" y="243"/>
                        <a:pt x="264" y="243"/>
                      </a:cubicBezTo>
                      <a:cubicBezTo>
                        <a:pt x="270" y="244"/>
                        <a:pt x="273" y="242"/>
                        <a:pt x="275" y="238"/>
                      </a:cubicBezTo>
                      <a:cubicBezTo>
                        <a:pt x="278" y="234"/>
                        <a:pt x="281" y="236"/>
                        <a:pt x="281" y="239"/>
                      </a:cubicBezTo>
                      <a:cubicBezTo>
                        <a:pt x="282" y="241"/>
                        <a:pt x="290" y="240"/>
                        <a:pt x="292" y="242"/>
                      </a:cubicBezTo>
                      <a:cubicBezTo>
                        <a:pt x="296" y="247"/>
                        <a:pt x="311" y="245"/>
                        <a:pt x="317" y="242"/>
                      </a:cubicBezTo>
                      <a:cubicBezTo>
                        <a:pt x="323" y="240"/>
                        <a:pt x="315" y="232"/>
                        <a:pt x="312" y="235"/>
                      </a:cubicBezTo>
                      <a:cubicBezTo>
                        <a:pt x="309" y="239"/>
                        <a:pt x="306" y="237"/>
                        <a:pt x="306" y="235"/>
                      </a:cubicBezTo>
                      <a:cubicBezTo>
                        <a:pt x="305" y="233"/>
                        <a:pt x="311" y="232"/>
                        <a:pt x="314" y="230"/>
                      </a:cubicBezTo>
                      <a:close/>
                      <a:moveTo>
                        <a:pt x="178" y="142"/>
                      </a:moveTo>
                      <a:cubicBezTo>
                        <a:pt x="184" y="143"/>
                        <a:pt x="191" y="137"/>
                        <a:pt x="191" y="134"/>
                      </a:cubicBezTo>
                      <a:cubicBezTo>
                        <a:pt x="190" y="130"/>
                        <a:pt x="175" y="142"/>
                        <a:pt x="178" y="142"/>
                      </a:cubicBezTo>
                      <a:close/>
                      <a:moveTo>
                        <a:pt x="148" y="132"/>
                      </a:moveTo>
                      <a:cubicBezTo>
                        <a:pt x="151" y="133"/>
                        <a:pt x="148" y="138"/>
                        <a:pt x="151" y="137"/>
                      </a:cubicBezTo>
                      <a:cubicBezTo>
                        <a:pt x="154" y="135"/>
                        <a:pt x="155" y="135"/>
                        <a:pt x="157" y="135"/>
                      </a:cubicBezTo>
                      <a:cubicBezTo>
                        <a:pt x="161" y="137"/>
                        <a:pt x="162" y="133"/>
                        <a:pt x="163" y="132"/>
                      </a:cubicBezTo>
                      <a:cubicBezTo>
                        <a:pt x="165" y="130"/>
                        <a:pt x="165" y="138"/>
                        <a:pt x="169" y="138"/>
                      </a:cubicBezTo>
                      <a:cubicBezTo>
                        <a:pt x="173" y="138"/>
                        <a:pt x="172" y="129"/>
                        <a:pt x="176" y="132"/>
                      </a:cubicBezTo>
                      <a:cubicBezTo>
                        <a:pt x="179" y="134"/>
                        <a:pt x="181" y="131"/>
                        <a:pt x="181" y="128"/>
                      </a:cubicBezTo>
                      <a:cubicBezTo>
                        <a:pt x="182" y="126"/>
                        <a:pt x="182" y="122"/>
                        <a:pt x="186" y="121"/>
                      </a:cubicBezTo>
                      <a:cubicBezTo>
                        <a:pt x="190" y="120"/>
                        <a:pt x="187" y="125"/>
                        <a:pt x="188" y="128"/>
                      </a:cubicBezTo>
                      <a:cubicBezTo>
                        <a:pt x="191" y="133"/>
                        <a:pt x="196" y="128"/>
                        <a:pt x="196" y="126"/>
                      </a:cubicBezTo>
                      <a:cubicBezTo>
                        <a:pt x="196" y="124"/>
                        <a:pt x="203" y="125"/>
                        <a:pt x="202" y="123"/>
                      </a:cubicBezTo>
                      <a:cubicBezTo>
                        <a:pt x="202" y="120"/>
                        <a:pt x="204" y="120"/>
                        <a:pt x="202" y="117"/>
                      </a:cubicBezTo>
                      <a:cubicBezTo>
                        <a:pt x="201" y="114"/>
                        <a:pt x="205" y="115"/>
                        <a:pt x="207" y="113"/>
                      </a:cubicBezTo>
                      <a:cubicBezTo>
                        <a:pt x="209" y="110"/>
                        <a:pt x="204" y="112"/>
                        <a:pt x="201" y="109"/>
                      </a:cubicBezTo>
                      <a:cubicBezTo>
                        <a:pt x="197" y="106"/>
                        <a:pt x="196" y="110"/>
                        <a:pt x="196" y="112"/>
                      </a:cubicBezTo>
                      <a:cubicBezTo>
                        <a:pt x="196" y="114"/>
                        <a:pt x="189" y="113"/>
                        <a:pt x="185" y="111"/>
                      </a:cubicBezTo>
                      <a:cubicBezTo>
                        <a:pt x="181" y="110"/>
                        <a:pt x="176" y="116"/>
                        <a:pt x="171" y="119"/>
                      </a:cubicBezTo>
                      <a:cubicBezTo>
                        <a:pt x="165" y="122"/>
                        <a:pt x="165" y="127"/>
                        <a:pt x="159" y="126"/>
                      </a:cubicBezTo>
                      <a:cubicBezTo>
                        <a:pt x="154" y="126"/>
                        <a:pt x="146" y="131"/>
                        <a:pt x="148" y="132"/>
                      </a:cubicBezTo>
                      <a:close/>
                      <a:moveTo>
                        <a:pt x="204" y="130"/>
                      </a:moveTo>
                      <a:cubicBezTo>
                        <a:pt x="199" y="130"/>
                        <a:pt x="199" y="135"/>
                        <a:pt x="205" y="135"/>
                      </a:cubicBezTo>
                      <a:cubicBezTo>
                        <a:pt x="211" y="135"/>
                        <a:pt x="213" y="137"/>
                        <a:pt x="204" y="137"/>
                      </a:cubicBezTo>
                      <a:cubicBezTo>
                        <a:pt x="196" y="137"/>
                        <a:pt x="193" y="144"/>
                        <a:pt x="198" y="142"/>
                      </a:cubicBezTo>
                      <a:cubicBezTo>
                        <a:pt x="204" y="141"/>
                        <a:pt x="211" y="141"/>
                        <a:pt x="207" y="142"/>
                      </a:cubicBezTo>
                      <a:cubicBezTo>
                        <a:pt x="202" y="144"/>
                        <a:pt x="191" y="145"/>
                        <a:pt x="192" y="147"/>
                      </a:cubicBezTo>
                      <a:cubicBezTo>
                        <a:pt x="193" y="148"/>
                        <a:pt x="198" y="148"/>
                        <a:pt x="203" y="150"/>
                      </a:cubicBezTo>
                      <a:cubicBezTo>
                        <a:pt x="207" y="152"/>
                        <a:pt x="210" y="153"/>
                        <a:pt x="214" y="149"/>
                      </a:cubicBezTo>
                      <a:cubicBezTo>
                        <a:pt x="217" y="145"/>
                        <a:pt x="222" y="141"/>
                        <a:pt x="220" y="146"/>
                      </a:cubicBezTo>
                      <a:cubicBezTo>
                        <a:pt x="218" y="152"/>
                        <a:pt x="226" y="148"/>
                        <a:pt x="235" y="147"/>
                      </a:cubicBezTo>
                      <a:cubicBezTo>
                        <a:pt x="245" y="147"/>
                        <a:pt x="234" y="153"/>
                        <a:pt x="224" y="154"/>
                      </a:cubicBezTo>
                      <a:cubicBezTo>
                        <a:pt x="214" y="154"/>
                        <a:pt x="216" y="159"/>
                        <a:pt x="223" y="161"/>
                      </a:cubicBezTo>
                      <a:cubicBezTo>
                        <a:pt x="231" y="163"/>
                        <a:pt x="248" y="156"/>
                        <a:pt x="252" y="152"/>
                      </a:cubicBezTo>
                      <a:cubicBezTo>
                        <a:pt x="256" y="148"/>
                        <a:pt x="259" y="154"/>
                        <a:pt x="263" y="152"/>
                      </a:cubicBezTo>
                      <a:cubicBezTo>
                        <a:pt x="267" y="149"/>
                        <a:pt x="275" y="152"/>
                        <a:pt x="281" y="150"/>
                      </a:cubicBezTo>
                      <a:cubicBezTo>
                        <a:pt x="288" y="149"/>
                        <a:pt x="289" y="136"/>
                        <a:pt x="284" y="134"/>
                      </a:cubicBezTo>
                      <a:cubicBezTo>
                        <a:pt x="279" y="132"/>
                        <a:pt x="279" y="137"/>
                        <a:pt x="275" y="137"/>
                      </a:cubicBezTo>
                      <a:cubicBezTo>
                        <a:pt x="272" y="138"/>
                        <a:pt x="269" y="133"/>
                        <a:pt x="266" y="130"/>
                      </a:cubicBezTo>
                      <a:cubicBezTo>
                        <a:pt x="263" y="127"/>
                        <a:pt x="265" y="120"/>
                        <a:pt x="260" y="121"/>
                      </a:cubicBezTo>
                      <a:cubicBezTo>
                        <a:pt x="256" y="122"/>
                        <a:pt x="246" y="129"/>
                        <a:pt x="252" y="130"/>
                      </a:cubicBezTo>
                      <a:cubicBezTo>
                        <a:pt x="258" y="131"/>
                        <a:pt x="256" y="134"/>
                        <a:pt x="253" y="135"/>
                      </a:cubicBezTo>
                      <a:cubicBezTo>
                        <a:pt x="249" y="137"/>
                        <a:pt x="260" y="139"/>
                        <a:pt x="259" y="142"/>
                      </a:cubicBezTo>
                      <a:cubicBezTo>
                        <a:pt x="257" y="144"/>
                        <a:pt x="241" y="142"/>
                        <a:pt x="240" y="138"/>
                      </a:cubicBezTo>
                      <a:cubicBezTo>
                        <a:pt x="239" y="135"/>
                        <a:pt x="227" y="128"/>
                        <a:pt x="221" y="130"/>
                      </a:cubicBezTo>
                      <a:cubicBezTo>
                        <a:pt x="216" y="131"/>
                        <a:pt x="218" y="125"/>
                        <a:pt x="213" y="125"/>
                      </a:cubicBezTo>
                      <a:cubicBezTo>
                        <a:pt x="207" y="125"/>
                        <a:pt x="209" y="130"/>
                        <a:pt x="204" y="130"/>
                      </a:cubicBezTo>
                      <a:close/>
                      <a:moveTo>
                        <a:pt x="223" y="104"/>
                      </a:moveTo>
                      <a:cubicBezTo>
                        <a:pt x="224" y="100"/>
                        <a:pt x="211" y="101"/>
                        <a:pt x="212" y="102"/>
                      </a:cubicBezTo>
                      <a:cubicBezTo>
                        <a:pt x="214" y="105"/>
                        <a:pt x="221" y="109"/>
                        <a:pt x="223" y="104"/>
                      </a:cubicBezTo>
                      <a:close/>
                      <a:moveTo>
                        <a:pt x="252" y="103"/>
                      </a:moveTo>
                      <a:cubicBezTo>
                        <a:pt x="257" y="102"/>
                        <a:pt x="255" y="98"/>
                        <a:pt x="247" y="99"/>
                      </a:cubicBezTo>
                      <a:cubicBezTo>
                        <a:pt x="240" y="100"/>
                        <a:pt x="227" y="100"/>
                        <a:pt x="227" y="106"/>
                      </a:cubicBezTo>
                      <a:cubicBezTo>
                        <a:pt x="227" y="110"/>
                        <a:pt x="229" y="112"/>
                        <a:pt x="238" y="113"/>
                      </a:cubicBezTo>
                      <a:cubicBezTo>
                        <a:pt x="246" y="114"/>
                        <a:pt x="253" y="106"/>
                        <a:pt x="249" y="106"/>
                      </a:cubicBezTo>
                      <a:cubicBezTo>
                        <a:pt x="245" y="106"/>
                        <a:pt x="248" y="103"/>
                        <a:pt x="252" y="103"/>
                      </a:cubicBezTo>
                      <a:close/>
                      <a:moveTo>
                        <a:pt x="235" y="96"/>
                      </a:moveTo>
                      <a:cubicBezTo>
                        <a:pt x="238" y="97"/>
                        <a:pt x="242" y="93"/>
                        <a:pt x="244" y="95"/>
                      </a:cubicBezTo>
                      <a:cubicBezTo>
                        <a:pt x="247" y="97"/>
                        <a:pt x="258" y="99"/>
                        <a:pt x="258" y="93"/>
                      </a:cubicBezTo>
                      <a:cubicBezTo>
                        <a:pt x="258" y="87"/>
                        <a:pt x="244" y="87"/>
                        <a:pt x="240" y="89"/>
                      </a:cubicBezTo>
                      <a:cubicBezTo>
                        <a:pt x="237" y="91"/>
                        <a:pt x="221" y="92"/>
                        <a:pt x="225" y="95"/>
                      </a:cubicBezTo>
                      <a:cubicBezTo>
                        <a:pt x="228" y="97"/>
                        <a:pt x="231" y="94"/>
                        <a:pt x="235" y="96"/>
                      </a:cubicBezTo>
                      <a:close/>
                      <a:moveTo>
                        <a:pt x="294" y="85"/>
                      </a:moveTo>
                      <a:cubicBezTo>
                        <a:pt x="299" y="82"/>
                        <a:pt x="306" y="87"/>
                        <a:pt x="305" y="90"/>
                      </a:cubicBezTo>
                      <a:cubicBezTo>
                        <a:pt x="304" y="93"/>
                        <a:pt x="291" y="89"/>
                        <a:pt x="292" y="92"/>
                      </a:cubicBezTo>
                      <a:cubicBezTo>
                        <a:pt x="293" y="93"/>
                        <a:pt x="294" y="97"/>
                        <a:pt x="303" y="95"/>
                      </a:cubicBezTo>
                      <a:cubicBezTo>
                        <a:pt x="311" y="92"/>
                        <a:pt x="318" y="94"/>
                        <a:pt x="324" y="99"/>
                      </a:cubicBezTo>
                      <a:cubicBezTo>
                        <a:pt x="330" y="103"/>
                        <a:pt x="335" y="105"/>
                        <a:pt x="339" y="100"/>
                      </a:cubicBezTo>
                      <a:cubicBezTo>
                        <a:pt x="343" y="96"/>
                        <a:pt x="334" y="95"/>
                        <a:pt x="336" y="92"/>
                      </a:cubicBezTo>
                      <a:cubicBezTo>
                        <a:pt x="337" y="88"/>
                        <a:pt x="330" y="86"/>
                        <a:pt x="326" y="86"/>
                      </a:cubicBezTo>
                      <a:cubicBezTo>
                        <a:pt x="322" y="86"/>
                        <a:pt x="321" y="79"/>
                        <a:pt x="318" y="80"/>
                      </a:cubicBezTo>
                      <a:cubicBezTo>
                        <a:pt x="314" y="82"/>
                        <a:pt x="312" y="84"/>
                        <a:pt x="312" y="79"/>
                      </a:cubicBezTo>
                      <a:cubicBezTo>
                        <a:pt x="312" y="75"/>
                        <a:pt x="294" y="74"/>
                        <a:pt x="289" y="76"/>
                      </a:cubicBezTo>
                      <a:cubicBezTo>
                        <a:pt x="284" y="78"/>
                        <a:pt x="290" y="88"/>
                        <a:pt x="294" y="85"/>
                      </a:cubicBezTo>
                      <a:close/>
                      <a:moveTo>
                        <a:pt x="297" y="115"/>
                      </a:moveTo>
                      <a:cubicBezTo>
                        <a:pt x="300" y="111"/>
                        <a:pt x="285" y="100"/>
                        <a:pt x="285" y="105"/>
                      </a:cubicBezTo>
                      <a:cubicBezTo>
                        <a:pt x="284" y="110"/>
                        <a:pt x="294" y="119"/>
                        <a:pt x="297" y="115"/>
                      </a:cubicBezTo>
                      <a:close/>
                      <a:moveTo>
                        <a:pt x="343" y="68"/>
                      </a:moveTo>
                      <a:cubicBezTo>
                        <a:pt x="346" y="64"/>
                        <a:pt x="328" y="60"/>
                        <a:pt x="333" y="64"/>
                      </a:cubicBezTo>
                      <a:cubicBezTo>
                        <a:pt x="335" y="66"/>
                        <a:pt x="341" y="72"/>
                        <a:pt x="343" y="68"/>
                      </a:cubicBezTo>
                      <a:close/>
                      <a:moveTo>
                        <a:pt x="303" y="149"/>
                      </a:moveTo>
                      <a:cubicBezTo>
                        <a:pt x="305" y="146"/>
                        <a:pt x="298" y="140"/>
                        <a:pt x="295" y="145"/>
                      </a:cubicBezTo>
                      <a:cubicBezTo>
                        <a:pt x="293" y="150"/>
                        <a:pt x="300" y="152"/>
                        <a:pt x="303" y="149"/>
                      </a:cubicBezTo>
                      <a:close/>
                      <a:moveTo>
                        <a:pt x="343" y="124"/>
                      </a:moveTo>
                      <a:cubicBezTo>
                        <a:pt x="343" y="128"/>
                        <a:pt x="335" y="123"/>
                        <a:pt x="328" y="121"/>
                      </a:cubicBezTo>
                      <a:cubicBezTo>
                        <a:pt x="322" y="118"/>
                        <a:pt x="326" y="126"/>
                        <a:pt x="331" y="130"/>
                      </a:cubicBezTo>
                      <a:cubicBezTo>
                        <a:pt x="336" y="134"/>
                        <a:pt x="328" y="132"/>
                        <a:pt x="321" y="128"/>
                      </a:cubicBezTo>
                      <a:cubicBezTo>
                        <a:pt x="315" y="123"/>
                        <a:pt x="315" y="131"/>
                        <a:pt x="319" y="133"/>
                      </a:cubicBezTo>
                      <a:cubicBezTo>
                        <a:pt x="322" y="136"/>
                        <a:pt x="318" y="139"/>
                        <a:pt x="314" y="134"/>
                      </a:cubicBezTo>
                      <a:cubicBezTo>
                        <a:pt x="309" y="128"/>
                        <a:pt x="307" y="122"/>
                        <a:pt x="300" y="122"/>
                      </a:cubicBezTo>
                      <a:cubicBezTo>
                        <a:pt x="294" y="121"/>
                        <a:pt x="297" y="128"/>
                        <a:pt x="299" y="132"/>
                      </a:cubicBezTo>
                      <a:cubicBezTo>
                        <a:pt x="303" y="136"/>
                        <a:pt x="306" y="137"/>
                        <a:pt x="312" y="140"/>
                      </a:cubicBezTo>
                      <a:cubicBezTo>
                        <a:pt x="318" y="144"/>
                        <a:pt x="327" y="139"/>
                        <a:pt x="331" y="140"/>
                      </a:cubicBezTo>
                      <a:cubicBezTo>
                        <a:pt x="336" y="141"/>
                        <a:pt x="327" y="147"/>
                        <a:pt x="330" y="150"/>
                      </a:cubicBezTo>
                      <a:cubicBezTo>
                        <a:pt x="333" y="154"/>
                        <a:pt x="340" y="151"/>
                        <a:pt x="346" y="151"/>
                      </a:cubicBezTo>
                      <a:cubicBezTo>
                        <a:pt x="352" y="150"/>
                        <a:pt x="350" y="147"/>
                        <a:pt x="353" y="144"/>
                      </a:cubicBezTo>
                      <a:cubicBezTo>
                        <a:pt x="357" y="142"/>
                        <a:pt x="350" y="142"/>
                        <a:pt x="352" y="136"/>
                      </a:cubicBezTo>
                      <a:cubicBezTo>
                        <a:pt x="355" y="130"/>
                        <a:pt x="344" y="120"/>
                        <a:pt x="343" y="124"/>
                      </a:cubicBezTo>
                      <a:close/>
                      <a:moveTo>
                        <a:pt x="358" y="103"/>
                      </a:moveTo>
                      <a:cubicBezTo>
                        <a:pt x="364" y="103"/>
                        <a:pt x="368" y="102"/>
                        <a:pt x="372" y="100"/>
                      </a:cubicBezTo>
                      <a:cubicBezTo>
                        <a:pt x="377" y="99"/>
                        <a:pt x="370" y="99"/>
                        <a:pt x="373" y="94"/>
                      </a:cubicBezTo>
                      <a:cubicBezTo>
                        <a:pt x="376" y="90"/>
                        <a:pt x="365" y="90"/>
                        <a:pt x="365" y="91"/>
                      </a:cubicBezTo>
                      <a:cubicBezTo>
                        <a:pt x="364" y="93"/>
                        <a:pt x="350" y="83"/>
                        <a:pt x="348" y="86"/>
                      </a:cubicBezTo>
                      <a:cubicBezTo>
                        <a:pt x="346" y="89"/>
                        <a:pt x="353" y="103"/>
                        <a:pt x="358" y="103"/>
                      </a:cubicBezTo>
                      <a:close/>
                      <a:moveTo>
                        <a:pt x="387" y="105"/>
                      </a:moveTo>
                      <a:cubicBezTo>
                        <a:pt x="386" y="103"/>
                        <a:pt x="359" y="106"/>
                        <a:pt x="364" y="109"/>
                      </a:cubicBezTo>
                      <a:cubicBezTo>
                        <a:pt x="371" y="114"/>
                        <a:pt x="388" y="107"/>
                        <a:pt x="387" y="105"/>
                      </a:cubicBezTo>
                      <a:close/>
                      <a:moveTo>
                        <a:pt x="383" y="157"/>
                      </a:moveTo>
                      <a:cubicBezTo>
                        <a:pt x="390" y="156"/>
                        <a:pt x="386" y="149"/>
                        <a:pt x="379" y="143"/>
                      </a:cubicBezTo>
                      <a:cubicBezTo>
                        <a:pt x="372" y="138"/>
                        <a:pt x="356" y="149"/>
                        <a:pt x="359" y="151"/>
                      </a:cubicBezTo>
                      <a:cubicBezTo>
                        <a:pt x="362" y="154"/>
                        <a:pt x="377" y="157"/>
                        <a:pt x="383" y="157"/>
                      </a:cubicBezTo>
                      <a:close/>
                      <a:moveTo>
                        <a:pt x="337" y="207"/>
                      </a:moveTo>
                      <a:cubicBezTo>
                        <a:pt x="345" y="212"/>
                        <a:pt x="343" y="203"/>
                        <a:pt x="352" y="203"/>
                      </a:cubicBezTo>
                      <a:cubicBezTo>
                        <a:pt x="361" y="203"/>
                        <a:pt x="361" y="189"/>
                        <a:pt x="362" y="183"/>
                      </a:cubicBezTo>
                      <a:cubicBezTo>
                        <a:pt x="364" y="178"/>
                        <a:pt x="355" y="178"/>
                        <a:pt x="357" y="182"/>
                      </a:cubicBezTo>
                      <a:cubicBezTo>
                        <a:pt x="360" y="186"/>
                        <a:pt x="357" y="190"/>
                        <a:pt x="356" y="185"/>
                      </a:cubicBezTo>
                      <a:cubicBezTo>
                        <a:pt x="356" y="181"/>
                        <a:pt x="349" y="185"/>
                        <a:pt x="346" y="181"/>
                      </a:cubicBezTo>
                      <a:cubicBezTo>
                        <a:pt x="344" y="178"/>
                        <a:pt x="354" y="178"/>
                        <a:pt x="357" y="173"/>
                      </a:cubicBezTo>
                      <a:cubicBezTo>
                        <a:pt x="359" y="168"/>
                        <a:pt x="349" y="169"/>
                        <a:pt x="351" y="165"/>
                      </a:cubicBezTo>
                      <a:cubicBezTo>
                        <a:pt x="354" y="162"/>
                        <a:pt x="335" y="166"/>
                        <a:pt x="341" y="168"/>
                      </a:cubicBezTo>
                      <a:cubicBezTo>
                        <a:pt x="346" y="170"/>
                        <a:pt x="341" y="173"/>
                        <a:pt x="336" y="169"/>
                      </a:cubicBezTo>
                      <a:cubicBezTo>
                        <a:pt x="331" y="166"/>
                        <a:pt x="317" y="172"/>
                        <a:pt x="322" y="176"/>
                      </a:cubicBezTo>
                      <a:cubicBezTo>
                        <a:pt x="326" y="179"/>
                        <a:pt x="338" y="174"/>
                        <a:pt x="331" y="183"/>
                      </a:cubicBezTo>
                      <a:cubicBezTo>
                        <a:pt x="324" y="192"/>
                        <a:pt x="321" y="180"/>
                        <a:pt x="315" y="181"/>
                      </a:cubicBezTo>
                      <a:cubicBezTo>
                        <a:pt x="309" y="183"/>
                        <a:pt x="311" y="190"/>
                        <a:pt x="321" y="193"/>
                      </a:cubicBezTo>
                      <a:cubicBezTo>
                        <a:pt x="331" y="196"/>
                        <a:pt x="330" y="201"/>
                        <a:pt x="337" y="207"/>
                      </a:cubicBezTo>
                      <a:close/>
                      <a:moveTo>
                        <a:pt x="396" y="150"/>
                      </a:moveTo>
                      <a:cubicBezTo>
                        <a:pt x="398" y="157"/>
                        <a:pt x="401" y="152"/>
                        <a:pt x="405" y="155"/>
                      </a:cubicBezTo>
                      <a:cubicBezTo>
                        <a:pt x="409" y="158"/>
                        <a:pt x="415" y="159"/>
                        <a:pt x="418" y="156"/>
                      </a:cubicBezTo>
                      <a:cubicBezTo>
                        <a:pt x="421" y="154"/>
                        <a:pt x="423" y="152"/>
                        <a:pt x="424" y="154"/>
                      </a:cubicBezTo>
                      <a:cubicBezTo>
                        <a:pt x="426" y="158"/>
                        <a:pt x="433" y="159"/>
                        <a:pt x="451" y="159"/>
                      </a:cubicBezTo>
                      <a:cubicBezTo>
                        <a:pt x="468" y="159"/>
                        <a:pt x="463" y="152"/>
                        <a:pt x="468" y="155"/>
                      </a:cubicBezTo>
                      <a:cubicBezTo>
                        <a:pt x="473" y="158"/>
                        <a:pt x="485" y="158"/>
                        <a:pt x="490" y="156"/>
                      </a:cubicBezTo>
                      <a:cubicBezTo>
                        <a:pt x="495" y="155"/>
                        <a:pt x="497" y="148"/>
                        <a:pt x="497" y="144"/>
                      </a:cubicBezTo>
                      <a:cubicBezTo>
                        <a:pt x="497" y="140"/>
                        <a:pt x="458" y="137"/>
                        <a:pt x="452" y="140"/>
                      </a:cubicBezTo>
                      <a:cubicBezTo>
                        <a:pt x="445" y="144"/>
                        <a:pt x="434" y="139"/>
                        <a:pt x="429" y="142"/>
                      </a:cubicBezTo>
                      <a:cubicBezTo>
                        <a:pt x="423" y="144"/>
                        <a:pt x="425" y="138"/>
                        <a:pt x="416" y="138"/>
                      </a:cubicBezTo>
                      <a:cubicBezTo>
                        <a:pt x="406" y="137"/>
                        <a:pt x="416" y="132"/>
                        <a:pt x="418" y="130"/>
                      </a:cubicBezTo>
                      <a:cubicBezTo>
                        <a:pt x="420" y="128"/>
                        <a:pt x="403" y="122"/>
                        <a:pt x="397" y="124"/>
                      </a:cubicBezTo>
                      <a:cubicBezTo>
                        <a:pt x="390" y="125"/>
                        <a:pt x="386" y="122"/>
                        <a:pt x="380" y="119"/>
                      </a:cubicBezTo>
                      <a:cubicBezTo>
                        <a:pt x="373" y="116"/>
                        <a:pt x="356" y="117"/>
                        <a:pt x="359" y="122"/>
                      </a:cubicBezTo>
                      <a:cubicBezTo>
                        <a:pt x="362" y="125"/>
                        <a:pt x="382" y="133"/>
                        <a:pt x="385" y="129"/>
                      </a:cubicBezTo>
                      <a:cubicBezTo>
                        <a:pt x="387" y="125"/>
                        <a:pt x="392" y="133"/>
                        <a:pt x="395" y="137"/>
                      </a:cubicBezTo>
                      <a:cubicBezTo>
                        <a:pt x="398" y="141"/>
                        <a:pt x="393" y="143"/>
                        <a:pt x="396" y="150"/>
                      </a:cubicBezTo>
                      <a:close/>
                      <a:moveTo>
                        <a:pt x="414" y="108"/>
                      </a:moveTo>
                      <a:cubicBezTo>
                        <a:pt x="407" y="104"/>
                        <a:pt x="399" y="111"/>
                        <a:pt x="406" y="114"/>
                      </a:cubicBezTo>
                      <a:cubicBezTo>
                        <a:pt x="412" y="116"/>
                        <a:pt x="420" y="111"/>
                        <a:pt x="414" y="108"/>
                      </a:cubicBezTo>
                      <a:close/>
                      <a:moveTo>
                        <a:pt x="362" y="68"/>
                      </a:moveTo>
                      <a:cubicBezTo>
                        <a:pt x="368" y="70"/>
                        <a:pt x="365" y="74"/>
                        <a:pt x="370" y="76"/>
                      </a:cubicBezTo>
                      <a:cubicBezTo>
                        <a:pt x="376" y="79"/>
                        <a:pt x="392" y="73"/>
                        <a:pt x="394" y="77"/>
                      </a:cubicBezTo>
                      <a:cubicBezTo>
                        <a:pt x="395" y="81"/>
                        <a:pt x="377" y="81"/>
                        <a:pt x="380" y="84"/>
                      </a:cubicBezTo>
                      <a:cubicBezTo>
                        <a:pt x="382" y="86"/>
                        <a:pt x="392" y="90"/>
                        <a:pt x="391" y="92"/>
                      </a:cubicBezTo>
                      <a:cubicBezTo>
                        <a:pt x="390" y="94"/>
                        <a:pt x="408" y="100"/>
                        <a:pt x="410" y="98"/>
                      </a:cubicBezTo>
                      <a:cubicBezTo>
                        <a:pt x="412" y="95"/>
                        <a:pt x="417" y="96"/>
                        <a:pt x="421" y="97"/>
                      </a:cubicBezTo>
                      <a:cubicBezTo>
                        <a:pt x="426" y="99"/>
                        <a:pt x="426" y="86"/>
                        <a:pt x="430" y="88"/>
                      </a:cubicBezTo>
                      <a:cubicBezTo>
                        <a:pt x="433" y="91"/>
                        <a:pt x="432" y="84"/>
                        <a:pt x="438" y="82"/>
                      </a:cubicBezTo>
                      <a:cubicBezTo>
                        <a:pt x="443" y="79"/>
                        <a:pt x="451" y="79"/>
                        <a:pt x="451" y="77"/>
                      </a:cubicBezTo>
                      <a:cubicBezTo>
                        <a:pt x="452" y="75"/>
                        <a:pt x="450" y="73"/>
                        <a:pt x="443" y="73"/>
                      </a:cubicBezTo>
                      <a:cubicBezTo>
                        <a:pt x="437" y="74"/>
                        <a:pt x="433" y="72"/>
                        <a:pt x="436" y="68"/>
                      </a:cubicBezTo>
                      <a:cubicBezTo>
                        <a:pt x="438" y="64"/>
                        <a:pt x="428" y="63"/>
                        <a:pt x="432" y="61"/>
                      </a:cubicBezTo>
                      <a:cubicBezTo>
                        <a:pt x="436" y="58"/>
                        <a:pt x="425" y="55"/>
                        <a:pt x="426" y="59"/>
                      </a:cubicBezTo>
                      <a:cubicBezTo>
                        <a:pt x="427" y="63"/>
                        <a:pt x="420" y="59"/>
                        <a:pt x="419" y="56"/>
                      </a:cubicBezTo>
                      <a:cubicBezTo>
                        <a:pt x="418" y="52"/>
                        <a:pt x="403" y="50"/>
                        <a:pt x="394" y="42"/>
                      </a:cubicBezTo>
                      <a:cubicBezTo>
                        <a:pt x="384" y="33"/>
                        <a:pt x="374" y="39"/>
                        <a:pt x="380" y="40"/>
                      </a:cubicBezTo>
                      <a:cubicBezTo>
                        <a:pt x="385" y="41"/>
                        <a:pt x="385" y="44"/>
                        <a:pt x="380" y="43"/>
                      </a:cubicBezTo>
                      <a:cubicBezTo>
                        <a:pt x="376" y="43"/>
                        <a:pt x="367" y="44"/>
                        <a:pt x="375" y="47"/>
                      </a:cubicBezTo>
                      <a:cubicBezTo>
                        <a:pt x="382" y="49"/>
                        <a:pt x="374" y="51"/>
                        <a:pt x="368" y="51"/>
                      </a:cubicBezTo>
                      <a:cubicBezTo>
                        <a:pt x="362" y="51"/>
                        <a:pt x="362" y="58"/>
                        <a:pt x="370" y="59"/>
                      </a:cubicBezTo>
                      <a:cubicBezTo>
                        <a:pt x="377" y="61"/>
                        <a:pt x="372" y="65"/>
                        <a:pt x="365" y="63"/>
                      </a:cubicBezTo>
                      <a:cubicBezTo>
                        <a:pt x="359" y="62"/>
                        <a:pt x="357" y="65"/>
                        <a:pt x="362" y="68"/>
                      </a:cubicBezTo>
                      <a:close/>
                      <a:moveTo>
                        <a:pt x="406" y="32"/>
                      </a:moveTo>
                      <a:cubicBezTo>
                        <a:pt x="411" y="29"/>
                        <a:pt x="415" y="31"/>
                        <a:pt x="410" y="33"/>
                      </a:cubicBezTo>
                      <a:cubicBezTo>
                        <a:pt x="406" y="36"/>
                        <a:pt x="407" y="37"/>
                        <a:pt x="413" y="37"/>
                      </a:cubicBezTo>
                      <a:cubicBezTo>
                        <a:pt x="420" y="36"/>
                        <a:pt x="411" y="38"/>
                        <a:pt x="411" y="42"/>
                      </a:cubicBezTo>
                      <a:cubicBezTo>
                        <a:pt x="411" y="46"/>
                        <a:pt x="418" y="43"/>
                        <a:pt x="418" y="47"/>
                      </a:cubicBezTo>
                      <a:cubicBezTo>
                        <a:pt x="419" y="51"/>
                        <a:pt x="434" y="52"/>
                        <a:pt x="439" y="48"/>
                      </a:cubicBezTo>
                      <a:cubicBezTo>
                        <a:pt x="443" y="43"/>
                        <a:pt x="442" y="49"/>
                        <a:pt x="441" y="52"/>
                      </a:cubicBezTo>
                      <a:cubicBezTo>
                        <a:pt x="441" y="54"/>
                        <a:pt x="463" y="57"/>
                        <a:pt x="464" y="53"/>
                      </a:cubicBezTo>
                      <a:cubicBezTo>
                        <a:pt x="465" y="50"/>
                        <a:pt x="468" y="51"/>
                        <a:pt x="473" y="52"/>
                      </a:cubicBezTo>
                      <a:cubicBezTo>
                        <a:pt x="477" y="53"/>
                        <a:pt x="498" y="48"/>
                        <a:pt x="498" y="44"/>
                      </a:cubicBezTo>
                      <a:cubicBezTo>
                        <a:pt x="499" y="40"/>
                        <a:pt x="505" y="46"/>
                        <a:pt x="498" y="51"/>
                      </a:cubicBezTo>
                      <a:cubicBezTo>
                        <a:pt x="492" y="56"/>
                        <a:pt x="478" y="55"/>
                        <a:pt x="472" y="57"/>
                      </a:cubicBezTo>
                      <a:cubicBezTo>
                        <a:pt x="466" y="58"/>
                        <a:pt x="476" y="63"/>
                        <a:pt x="482" y="67"/>
                      </a:cubicBezTo>
                      <a:cubicBezTo>
                        <a:pt x="488" y="72"/>
                        <a:pt x="474" y="69"/>
                        <a:pt x="468" y="63"/>
                      </a:cubicBezTo>
                      <a:cubicBezTo>
                        <a:pt x="463" y="57"/>
                        <a:pt x="450" y="57"/>
                        <a:pt x="443" y="58"/>
                      </a:cubicBezTo>
                      <a:cubicBezTo>
                        <a:pt x="436" y="58"/>
                        <a:pt x="438" y="71"/>
                        <a:pt x="443" y="71"/>
                      </a:cubicBezTo>
                      <a:cubicBezTo>
                        <a:pt x="448" y="71"/>
                        <a:pt x="453" y="72"/>
                        <a:pt x="458" y="80"/>
                      </a:cubicBezTo>
                      <a:cubicBezTo>
                        <a:pt x="463" y="88"/>
                        <a:pt x="474" y="86"/>
                        <a:pt x="474" y="90"/>
                      </a:cubicBezTo>
                      <a:cubicBezTo>
                        <a:pt x="474" y="93"/>
                        <a:pt x="460" y="87"/>
                        <a:pt x="452" y="86"/>
                      </a:cubicBezTo>
                      <a:cubicBezTo>
                        <a:pt x="445" y="84"/>
                        <a:pt x="432" y="89"/>
                        <a:pt x="432" y="95"/>
                      </a:cubicBezTo>
                      <a:cubicBezTo>
                        <a:pt x="431" y="100"/>
                        <a:pt x="443" y="100"/>
                        <a:pt x="451" y="95"/>
                      </a:cubicBezTo>
                      <a:cubicBezTo>
                        <a:pt x="459" y="91"/>
                        <a:pt x="453" y="97"/>
                        <a:pt x="449" y="100"/>
                      </a:cubicBezTo>
                      <a:cubicBezTo>
                        <a:pt x="445" y="104"/>
                        <a:pt x="458" y="107"/>
                        <a:pt x="458" y="111"/>
                      </a:cubicBezTo>
                      <a:cubicBezTo>
                        <a:pt x="458" y="115"/>
                        <a:pt x="449" y="114"/>
                        <a:pt x="448" y="110"/>
                      </a:cubicBezTo>
                      <a:cubicBezTo>
                        <a:pt x="447" y="106"/>
                        <a:pt x="443" y="102"/>
                        <a:pt x="434" y="103"/>
                      </a:cubicBezTo>
                      <a:cubicBezTo>
                        <a:pt x="425" y="103"/>
                        <a:pt x="427" y="110"/>
                        <a:pt x="433" y="110"/>
                      </a:cubicBezTo>
                      <a:cubicBezTo>
                        <a:pt x="438" y="111"/>
                        <a:pt x="439" y="115"/>
                        <a:pt x="432" y="115"/>
                      </a:cubicBezTo>
                      <a:cubicBezTo>
                        <a:pt x="426" y="115"/>
                        <a:pt x="411" y="120"/>
                        <a:pt x="416" y="124"/>
                      </a:cubicBezTo>
                      <a:cubicBezTo>
                        <a:pt x="421" y="128"/>
                        <a:pt x="439" y="124"/>
                        <a:pt x="442" y="127"/>
                      </a:cubicBezTo>
                      <a:cubicBezTo>
                        <a:pt x="446" y="129"/>
                        <a:pt x="454" y="130"/>
                        <a:pt x="457" y="127"/>
                      </a:cubicBezTo>
                      <a:cubicBezTo>
                        <a:pt x="459" y="124"/>
                        <a:pt x="466" y="125"/>
                        <a:pt x="473" y="125"/>
                      </a:cubicBezTo>
                      <a:cubicBezTo>
                        <a:pt x="480" y="125"/>
                        <a:pt x="482" y="127"/>
                        <a:pt x="485" y="129"/>
                      </a:cubicBezTo>
                      <a:cubicBezTo>
                        <a:pt x="488" y="132"/>
                        <a:pt x="494" y="131"/>
                        <a:pt x="498" y="128"/>
                      </a:cubicBezTo>
                      <a:cubicBezTo>
                        <a:pt x="502" y="125"/>
                        <a:pt x="502" y="125"/>
                        <a:pt x="507" y="125"/>
                      </a:cubicBezTo>
                      <a:cubicBezTo>
                        <a:pt x="512" y="125"/>
                        <a:pt x="513" y="122"/>
                        <a:pt x="510" y="118"/>
                      </a:cubicBezTo>
                      <a:cubicBezTo>
                        <a:pt x="508" y="114"/>
                        <a:pt x="502" y="121"/>
                        <a:pt x="501" y="118"/>
                      </a:cubicBezTo>
                      <a:cubicBezTo>
                        <a:pt x="500" y="115"/>
                        <a:pt x="494" y="114"/>
                        <a:pt x="484" y="115"/>
                      </a:cubicBezTo>
                      <a:cubicBezTo>
                        <a:pt x="474" y="117"/>
                        <a:pt x="478" y="109"/>
                        <a:pt x="484" y="110"/>
                      </a:cubicBezTo>
                      <a:cubicBezTo>
                        <a:pt x="491" y="112"/>
                        <a:pt x="499" y="112"/>
                        <a:pt x="506" y="110"/>
                      </a:cubicBezTo>
                      <a:cubicBezTo>
                        <a:pt x="512" y="108"/>
                        <a:pt x="507" y="105"/>
                        <a:pt x="507" y="102"/>
                      </a:cubicBezTo>
                      <a:cubicBezTo>
                        <a:pt x="507" y="99"/>
                        <a:pt x="515" y="101"/>
                        <a:pt x="522" y="101"/>
                      </a:cubicBezTo>
                      <a:cubicBezTo>
                        <a:pt x="528" y="101"/>
                        <a:pt x="538" y="91"/>
                        <a:pt x="538" y="84"/>
                      </a:cubicBezTo>
                      <a:cubicBezTo>
                        <a:pt x="538" y="78"/>
                        <a:pt x="524" y="80"/>
                        <a:pt x="517" y="80"/>
                      </a:cubicBezTo>
                      <a:cubicBezTo>
                        <a:pt x="509" y="80"/>
                        <a:pt x="521" y="74"/>
                        <a:pt x="535" y="75"/>
                      </a:cubicBezTo>
                      <a:cubicBezTo>
                        <a:pt x="548" y="76"/>
                        <a:pt x="542" y="70"/>
                        <a:pt x="545" y="68"/>
                      </a:cubicBezTo>
                      <a:cubicBezTo>
                        <a:pt x="547" y="66"/>
                        <a:pt x="554" y="70"/>
                        <a:pt x="560" y="69"/>
                      </a:cubicBezTo>
                      <a:cubicBezTo>
                        <a:pt x="567" y="67"/>
                        <a:pt x="563" y="62"/>
                        <a:pt x="567" y="62"/>
                      </a:cubicBezTo>
                      <a:cubicBezTo>
                        <a:pt x="570" y="62"/>
                        <a:pt x="578" y="57"/>
                        <a:pt x="593" y="48"/>
                      </a:cubicBezTo>
                      <a:cubicBezTo>
                        <a:pt x="607" y="40"/>
                        <a:pt x="619" y="42"/>
                        <a:pt x="619" y="37"/>
                      </a:cubicBezTo>
                      <a:cubicBezTo>
                        <a:pt x="620" y="32"/>
                        <a:pt x="599" y="37"/>
                        <a:pt x="595" y="36"/>
                      </a:cubicBezTo>
                      <a:cubicBezTo>
                        <a:pt x="592" y="34"/>
                        <a:pt x="610" y="30"/>
                        <a:pt x="614" y="31"/>
                      </a:cubicBezTo>
                      <a:cubicBezTo>
                        <a:pt x="619" y="32"/>
                        <a:pt x="624" y="31"/>
                        <a:pt x="639" y="24"/>
                      </a:cubicBezTo>
                      <a:cubicBezTo>
                        <a:pt x="654" y="17"/>
                        <a:pt x="647" y="15"/>
                        <a:pt x="641" y="16"/>
                      </a:cubicBezTo>
                      <a:cubicBezTo>
                        <a:pt x="635" y="17"/>
                        <a:pt x="628" y="15"/>
                        <a:pt x="629" y="11"/>
                      </a:cubicBezTo>
                      <a:cubicBezTo>
                        <a:pt x="629" y="7"/>
                        <a:pt x="620" y="11"/>
                        <a:pt x="619" y="9"/>
                      </a:cubicBezTo>
                      <a:cubicBezTo>
                        <a:pt x="619" y="7"/>
                        <a:pt x="610" y="8"/>
                        <a:pt x="601" y="11"/>
                      </a:cubicBezTo>
                      <a:cubicBezTo>
                        <a:pt x="592" y="15"/>
                        <a:pt x="600" y="8"/>
                        <a:pt x="604" y="6"/>
                      </a:cubicBezTo>
                      <a:cubicBezTo>
                        <a:pt x="608" y="5"/>
                        <a:pt x="581" y="6"/>
                        <a:pt x="576" y="3"/>
                      </a:cubicBezTo>
                      <a:cubicBezTo>
                        <a:pt x="571" y="0"/>
                        <a:pt x="566" y="8"/>
                        <a:pt x="562" y="4"/>
                      </a:cubicBezTo>
                      <a:cubicBezTo>
                        <a:pt x="558" y="0"/>
                        <a:pt x="547" y="3"/>
                        <a:pt x="548" y="7"/>
                      </a:cubicBezTo>
                      <a:cubicBezTo>
                        <a:pt x="549" y="10"/>
                        <a:pt x="546" y="10"/>
                        <a:pt x="542" y="6"/>
                      </a:cubicBezTo>
                      <a:cubicBezTo>
                        <a:pt x="538" y="3"/>
                        <a:pt x="529" y="7"/>
                        <a:pt x="522" y="6"/>
                      </a:cubicBezTo>
                      <a:cubicBezTo>
                        <a:pt x="514" y="5"/>
                        <a:pt x="518" y="12"/>
                        <a:pt x="509" y="8"/>
                      </a:cubicBezTo>
                      <a:cubicBezTo>
                        <a:pt x="501" y="5"/>
                        <a:pt x="492" y="6"/>
                        <a:pt x="495" y="7"/>
                      </a:cubicBezTo>
                      <a:cubicBezTo>
                        <a:pt x="497" y="8"/>
                        <a:pt x="494" y="11"/>
                        <a:pt x="491" y="10"/>
                      </a:cubicBezTo>
                      <a:cubicBezTo>
                        <a:pt x="487" y="8"/>
                        <a:pt x="484" y="10"/>
                        <a:pt x="486" y="13"/>
                      </a:cubicBezTo>
                      <a:cubicBezTo>
                        <a:pt x="487" y="17"/>
                        <a:pt x="472" y="12"/>
                        <a:pt x="472" y="16"/>
                      </a:cubicBezTo>
                      <a:cubicBezTo>
                        <a:pt x="472" y="20"/>
                        <a:pt x="467" y="22"/>
                        <a:pt x="463" y="19"/>
                      </a:cubicBezTo>
                      <a:cubicBezTo>
                        <a:pt x="458" y="15"/>
                        <a:pt x="445" y="14"/>
                        <a:pt x="449" y="17"/>
                      </a:cubicBezTo>
                      <a:cubicBezTo>
                        <a:pt x="453" y="21"/>
                        <a:pt x="437" y="19"/>
                        <a:pt x="441" y="22"/>
                      </a:cubicBezTo>
                      <a:cubicBezTo>
                        <a:pt x="445" y="25"/>
                        <a:pt x="436" y="28"/>
                        <a:pt x="436" y="26"/>
                      </a:cubicBezTo>
                      <a:cubicBezTo>
                        <a:pt x="436" y="24"/>
                        <a:pt x="427" y="21"/>
                        <a:pt x="423" y="24"/>
                      </a:cubicBezTo>
                      <a:cubicBezTo>
                        <a:pt x="420" y="27"/>
                        <a:pt x="418" y="31"/>
                        <a:pt x="417" y="29"/>
                      </a:cubicBezTo>
                      <a:cubicBezTo>
                        <a:pt x="415" y="27"/>
                        <a:pt x="407" y="28"/>
                        <a:pt x="400" y="31"/>
                      </a:cubicBezTo>
                      <a:cubicBezTo>
                        <a:pt x="392" y="33"/>
                        <a:pt x="401" y="36"/>
                        <a:pt x="406" y="32"/>
                      </a:cubicBezTo>
                      <a:close/>
                      <a:moveTo>
                        <a:pt x="496" y="340"/>
                      </a:moveTo>
                      <a:cubicBezTo>
                        <a:pt x="498" y="340"/>
                        <a:pt x="503" y="331"/>
                        <a:pt x="497" y="331"/>
                      </a:cubicBezTo>
                      <a:cubicBezTo>
                        <a:pt x="490" y="332"/>
                        <a:pt x="492" y="341"/>
                        <a:pt x="496" y="340"/>
                      </a:cubicBezTo>
                      <a:close/>
                      <a:moveTo>
                        <a:pt x="464" y="332"/>
                      </a:moveTo>
                      <a:cubicBezTo>
                        <a:pt x="470" y="336"/>
                        <a:pt x="478" y="326"/>
                        <a:pt x="478" y="323"/>
                      </a:cubicBezTo>
                      <a:cubicBezTo>
                        <a:pt x="477" y="321"/>
                        <a:pt x="457" y="328"/>
                        <a:pt x="464" y="332"/>
                      </a:cubicBezTo>
                      <a:close/>
                      <a:moveTo>
                        <a:pt x="490" y="313"/>
                      </a:moveTo>
                      <a:cubicBezTo>
                        <a:pt x="491" y="309"/>
                        <a:pt x="478" y="308"/>
                        <a:pt x="479" y="304"/>
                      </a:cubicBezTo>
                      <a:cubicBezTo>
                        <a:pt x="479" y="300"/>
                        <a:pt x="467" y="297"/>
                        <a:pt x="463" y="295"/>
                      </a:cubicBezTo>
                      <a:cubicBezTo>
                        <a:pt x="459" y="292"/>
                        <a:pt x="453" y="291"/>
                        <a:pt x="453" y="287"/>
                      </a:cubicBezTo>
                      <a:cubicBezTo>
                        <a:pt x="453" y="283"/>
                        <a:pt x="445" y="286"/>
                        <a:pt x="444" y="292"/>
                      </a:cubicBezTo>
                      <a:cubicBezTo>
                        <a:pt x="444" y="299"/>
                        <a:pt x="440" y="297"/>
                        <a:pt x="442" y="303"/>
                      </a:cubicBezTo>
                      <a:cubicBezTo>
                        <a:pt x="444" y="310"/>
                        <a:pt x="434" y="311"/>
                        <a:pt x="435" y="314"/>
                      </a:cubicBezTo>
                      <a:cubicBezTo>
                        <a:pt x="436" y="317"/>
                        <a:pt x="441" y="314"/>
                        <a:pt x="445" y="314"/>
                      </a:cubicBezTo>
                      <a:cubicBezTo>
                        <a:pt x="450" y="314"/>
                        <a:pt x="444" y="320"/>
                        <a:pt x="450" y="320"/>
                      </a:cubicBezTo>
                      <a:cubicBezTo>
                        <a:pt x="454" y="321"/>
                        <a:pt x="461" y="316"/>
                        <a:pt x="463" y="313"/>
                      </a:cubicBezTo>
                      <a:cubicBezTo>
                        <a:pt x="465" y="310"/>
                        <a:pt x="468" y="309"/>
                        <a:pt x="473" y="312"/>
                      </a:cubicBezTo>
                      <a:cubicBezTo>
                        <a:pt x="478" y="316"/>
                        <a:pt x="489" y="316"/>
                        <a:pt x="490" y="313"/>
                      </a:cubicBezTo>
                      <a:close/>
                      <a:moveTo>
                        <a:pt x="606" y="281"/>
                      </a:moveTo>
                      <a:cubicBezTo>
                        <a:pt x="611" y="282"/>
                        <a:pt x="611" y="287"/>
                        <a:pt x="618" y="293"/>
                      </a:cubicBezTo>
                      <a:cubicBezTo>
                        <a:pt x="625" y="298"/>
                        <a:pt x="626" y="295"/>
                        <a:pt x="627" y="291"/>
                      </a:cubicBezTo>
                      <a:cubicBezTo>
                        <a:pt x="628" y="287"/>
                        <a:pt x="635" y="290"/>
                        <a:pt x="635" y="286"/>
                      </a:cubicBezTo>
                      <a:cubicBezTo>
                        <a:pt x="635" y="282"/>
                        <a:pt x="641" y="277"/>
                        <a:pt x="645" y="276"/>
                      </a:cubicBezTo>
                      <a:cubicBezTo>
                        <a:pt x="650" y="274"/>
                        <a:pt x="642" y="270"/>
                        <a:pt x="636" y="270"/>
                      </a:cubicBezTo>
                      <a:cubicBezTo>
                        <a:pt x="630" y="270"/>
                        <a:pt x="629" y="266"/>
                        <a:pt x="629" y="264"/>
                      </a:cubicBezTo>
                      <a:cubicBezTo>
                        <a:pt x="629" y="261"/>
                        <a:pt x="619" y="255"/>
                        <a:pt x="615" y="256"/>
                      </a:cubicBezTo>
                      <a:cubicBezTo>
                        <a:pt x="611" y="257"/>
                        <a:pt x="605" y="252"/>
                        <a:pt x="601" y="251"/>
                      </a:cubicBezTo>
                      <a:cubicBezTo>
                        <a:pt x="596" y="251"/>
                        <a:pt x="589" y="247"/>
                        <a:pt x="590" y="242"/>
                      </a:cubicBezTo>
                      <a:cubicBezTo>
                        <a:pt x="591" y="237"/>
                        <a:pt x="599" y="244"/>
                        <a:pt x="601" y="240"/>
                      </a:cubicBezTo>
                      <a:cubicBezTo>
                        <a:pt x="603" y="236"/>
                        <a:pt x="592" y="238"/>
                        <a:pt x="592" y="235"/>
                      </a:cubicBezTo>
                      <a:cubicBezTo>
                        <a:pt x="591" y="232"/>
                        <a:pt x="594" y="234"/>
                        <a:pt x="596" y="232"/>
                      </a:cubicBezTo>
                      <a:cubicBezTo>
                        <a:pt x="599" y="230"/>
                        <a:pt x="595" y="226"/>
                        <a:pt x="592" y="225"/>
                      </a:cubicBezTo>
                      <a:cubicBezTo>
                        <a:pt x="590" y="224"/>
                        <a:pt x="589" y="228"/>
                        <a:pt x="586" y="228"/>
                      </a:cubicBezTo>
                      <a:cubicBezTo>
                        <a:pt x="584" y="228"/>
                        <a:pt x="586" y="224"/>
                        <a:pt x="588" y="221"/>
                      </a:cubicBezTo>
                      <a:cubicBezTo>
                        <a:pt x="590" y="219"/>
                        <a:pt x="580" y="216"/>
                        <a:pt x="575" y="217"/>
                      </a:cubicBezTo>
                      <a:cubicBezTo>
                        <a:pt x="571" y="219"/>
                        <a:pt x="570" y="216"/>
                        <a:pt x="570" y="214"/>
                      </a:cubicBezTo>
                      <a:cubicBezTo>
                        <a:pt x="570" y="211"/>
                        <a:pt x="562" y="214"/>
                        <a:pt x="559" y="216"/>
                      </a:cubicBezTo>
                      <a:cubicBezTo>
                        <a:pt x="557" y="218"/>
                        <a:pt x="553" y="214"/>
                        <a:pt x="557" y="213"/>
                      </a:cubicBezTo>
                      <a:cubicBezTo>
                        <a:pt x="560" y="213"/>
                        <a:pt x="564" y="210"/>
                        <a:pt x="563" y="207"/>
                      </a:cubicBezTo>
                      <a:cubicBezTo>
                        <a:pt x="562" y="204"/>
                        <a:pt x="553" y="203"/>
                        <a:pt x="551" y="207"/>
                      </a:cubicBezTo>
                      <a:cubicBezTo>
                        <a:pt x="549" y="211"/>
                        <a:pt x="542" y="203"/>
                        <a:pt x="542" y="200"/>
                      </a:cubicBezTo>
                      <a:cubicBezTo>
                        <a:pt x="542" y="196"/>
                        <a:pt x="530" y="199"/>
                        <a:pt x="532" y="194"/>
                      </a:cubicBezTo>
                      <a:cubicBezTo>
                        <a:pt x="533" y="189"/>
                        <a:pt x="519" y="187"/>
                        <a:pt x="515" y="187"/>
                      </a:cubicBezTo>
                      <a:cubicBezTo>
                        <a:pt x="511" y="187"/>
                        <a:pt x="505" y="190"/>
                        <a:pt x="506" y="194"/>
                      </a:cubicBezTo>
                      <a:cubicBezTo>
                        <a:pt x="507" y="198"/>
                        <a:pt x="502" y="196"/>
                        <a:pt x="501" y="192"/>
                      </a:cubicBezTo>
                      <a:cubicBezTo>
                        <a:pt x="500" y="188"/>
                        <a:pt x="491" y="196"/>
                        <a:pt x="488" y="196"/>
                      </a:cubicBezTo>
                      <a:cubicBezTo>
                        <a:pt x="485" y="196"/>
                        <a:pt x="489" y="186"/>
                        <a:pt x="488" y="183"/>
                      </a:cubicBezTo>
                      <a:cubicBezTo>
                        <a:pt x="487" y="180"/>
                        <a:pt x="484" y="179"/>
                        <a:pt x="482" y="173"/>
                      </a:cubicBezTo>
                      <a:cubicBezTo>
                        <a:pt x="480" y="168"/>
                        <a:pt x="469" y="170"/>
                        <a:pt x="467" y="173"/>
                      </a:cubicBezTo>
                      <a:cubicBezTo>
                        <a:pt x="464" y="176"/>
                        <a:pt x="454" y="175"/>
                        <a:pt x="450" y="180"/>
                      </a:cubicBezTo>
                      <a:cubicBezTo>
                        <a:pt x="445" y="185"/>
                        <a:pt x="450" y="190"/>
                        <a:pt x="452" y="192"/>
                      </a:cubicBezTo>
                      <a:cubicBezTo>
                        <a:pt x="454" y="194"/>
                        <a:pt x="445" y="196"/>
                        <a:pt x="448" y="199"/>
                      </a:cubicBezTo>
                      <a:cubicBezTo>
                        <a:pt x="451" y="202"/>
                        <a:pt x="456" y="201"/>
                        <a:pt x="456" y="205"/>
                      </a:cubicBezTo>
                      <a:cubicBezTo>
                        <a:pt x="457" y="210"/>
                        <a:pt x="445" y="204"/>
                        <a:pt x="443" y="200"/>
                      </a:cubicBezTo>
                      <a:cubicBezTo>
                        <a:pt x="441" y="196"/>
                        <a:pt x="443" y="193"/>
                        <a:pt x="441" y="190"/>
                      </a:cubicBezTo>
                      <a:cubicBezTo>
                        <a:pt x="438" y="187"/>
                        <a:pt x="441" y="183"/>
                        <a:pt x="445" y="178"/>
                      </a:cubicBezTo>
                      <a:cubicBezTo>
                        <a:pt x="450" y="173"/>
                        <a:pt x="453" y="174"/>
                        <a:pt x="453" y="171"/>
                      </a:cubicBezTo>
                      <a:cubicBezTo>
                        <a:pt x="453" y="168"/>
                        <a:pt x="433" y="168"/>
                        <a:pt x="422" y="179"/>
                      </a:cubicBezTo>
                      <a:cubicBezTo>
                        <a:pt x="410" y="190"/>
                        <a:pt x="413" y="204"/>
                        <a:pt x="414" y="207"/>
                      </a:cubicBezTo>
                      <a:cubicBezTo>
                        <a:pt x="415" y="210"/>
                        <a:pt x="425" y="208"/>
                        <a:pt x="431" y="210"/>
                      </a:cubicBezTo>
                      <a:cubicBezTo>
                        <a:pt x="437" y="212"/>
                        <a:pt x="434" y="214"/>
                        <a:pt x="430" y="214"/>
                      </a:cubicBezTo>
                      <a:cubicBezTo>
                        <a:pt x="425" y="213"/>
                        <a:pt x="417" y="211"/>
                        <a:pt x="417" y="215"/>
                      </a:cubicBezTo>
                      <a:cubicBezTo>
                        <a:pt x="418" y="218"/>
                        <a:pt x="427" y="224"/>
                        <a:pt x="433" y="222"/>
                      </a:cubicBezTo>
                      <a:cubicBezTo>
                        <a:pt x="439" y="221"/>
                        <a:pt x="439" y="221"/>
                        <a:pt x="441" y="224"/>
                      </a:cubicBezTo>
                      <a:cubicBezTo>
                        <a:pt x="444" y="227"/>
                        <a:pt x="451" y="226"/>
                        <a:pt x="457" y="227"/>
                      </a:cubicBezTo>
                      <a:cubicBezTo>
                        <a:pt x="464" y="227"/>
                        <a:pt x="472" y="230"/>
                        <a:pt x="475" y="230"/>
                      </a:cubicBezTo>
                      <a:cubicBezTo>
                        <a:pt x="478" y="230"/>
                        <a:pt x="482" y="228"/>
                        <a:pt x="483" y="226"/>
                      </a:cubicBezTo>
                      <a:cubicBezTo>
                        <a:pt x="484" y="225"/>
                        <a:pt x="498" y="229"/>
                        <a:pt x="502" y="229"/>
                      </a:cubicBezTo>
                      <a:cubicBezTo>
                        <a:pt x="506" y="229"/>
                        <a:pt x="503" y="225"/>
                        <a:pt x="501" y="224"/>
                      </a:cubicBezTo>
                      <a:cubicBezTo>
                        <a:pt x="498" y="223"/>
                        <a:pt x="499" y="218"/>
                        <a:pt x="502" y="220"/>
                      </a:cubicBezTo>
                      <a:cubicBezTo>
                        <a:pt x="506" y="222"/>
                        <a:pt x="511" y="223"/>
                        <a:pt x="512" y="226"/>
                      </a:cubicBezTo>
                      <a:cubicBezTo>
                        <a:pt x="513" y="229"/>
                        <a:pt x="516" y="227"/>
                        <a:pt x="516" y="230"/>
                      </a:cubicBezTo>
                      <a:cubicBezTo>
                        <a:pt x="517" y="232"/>
                        <a:pt x="528" y="235"/>
                        <a:pt x="528" y="238"/>
                      </a:cubicBezTo>
                      <a:cubicBezTo>
                        <a:pt x="529" y="241"/>
                        <a:pt x="517" y="242"/>
                        <a:pt x="520" y="245"/>
                      </a:cubicBezTo>
                      <a:cubicBezTo>
                        <a:pt x="524" y="247"/>
                        <a:pt x="529" y="242"/>
                        <a:pt x="533" y="241"/>
                      </a:cubicBezTo>
                      <a:cubicBezTo>
                        <a:pt x="537" y="241"/>
                        <a:pt x="537" y="251"/>
                        <a:pt x="540" y="249"/>
                      </a:cubicBezTo>
                      <a:cubicBezTo>
                        <a:pt x="545" y="247"/>
                        <a:pt x="548" y="251"/>
                        <a:pt x="553" y="257"/>
                      </a:cubicBezTo>
                      <a:cubicBezTo>
                        <a:pt x="557" y="263"/>
                        <a:pt x="552" y="269"/>
                        <a:pt x="553" y="271"/>
                      </a:cubicBezTo>
                      <a:cubicBezTo>
                        <a:pt x="553" y="273"/>
                        <a:pt x="561" y="272"/>
                        <a:pt x="566" y="270"/>
                      </a:cubicBezTo>
                      <a:cubicBezTo>
                        <a:pt x="570" y="267"/>
                        <a:pt x="575" y="273"/>
                        <a:pt x="578" y="276"/>
                      </a:cubicBezTo>
                      <a:cubicBezTo>
                        <a:pt x="582" y="279"/>
                        <a:pt x="565" y="285"/>
                        <a:pt x="566" y="282"/>
                      </a:cubicBezTo>
                      <a:cubicBezTo>
                        <a:pt x="568" y="279"/>
                        <a:pt x="557" y="270"/>
                        <a:pt x="546" y="274"/>
                      </a:cubicBezTo>
                      <a:cubicBezTo>
                        <a:pt x="536" y="278"/>
                        <a:pt x="543" y="284"/>
                        <a:pt x="544" y="288"/>
                      </a:cubicBezTo>
                      <a:cubicBezTo>
                        <a:pt x="545" y="291"/>
                        <a:pt x="535" y="295"/>
                        <a:pt x="525" y="292"/>
                      </a:cubicBezTo>
                      <a:cubicBezTo>
                        <a:pt x="515" y="288"/>
                        <a:pt x="518" y="294"/>
                        <a:pt x="514" y="294"/>
                      </a:cubicBezTo>
                      <a:cubicBezTo>
                        <a:pt x="510" y="294"/>
                        <a:pt x="506" y="300"/>
                        <a:pt x="510" y="304"/>
                      </a:cubicBezTo>
                      <a:cubicBezTo>
                        <a:pt x="513" y="308"/>
                        <a:pt x="521" y="304"/>
                        <a:pt x="528" y="305"/>
                      </a:cubicBezTo>
                      <a:cubicBezTo>
                        <a:pt x="534" y="305"/>
                        <a:pt x="535" y="307"/>
                        <a:pt x="535" y="303"/>
                      </a:cubicBezTo>
                      <a:cubicBezTo>
                        <a:pt x="536" y="300"/>
                        <a:pt x="543" y="301"/>
                        <a:pt x="548" y="302"/>
                      </a:cubicBezTo>
                      <a:cubicBezTo>
                        <a:pt x="552" y="303"/>
                        <a:pt x="551" y="310"/>
                        <a:pt x="557" y="311"/>
                      </a:cubicBezTo>
                      <a:cubicBezTo>
                        <a:pt x="563" y="311"/>
                        <a:pt x="558" y="317"/>
                        <a:pt x="562" y="321"/>
                      </a:cubicBezTo>
                      <a:cubicBezTo>
                        <a:pt x="565" y="325"/>
                        <a:pt x="576" y="323"/>
                        <a:pt x="581" y="327"/>
                      </a:cubicBezTo>
                      <a:cubicBezTo>
                        <a:pt x="585" y="331"/>
                        <a:pt x="603" y="340"/>
                        <a:pt x="606" y="337"/>
                      </a:cubicBezTo>
                      <a:cubicBezTo>
                        <a:pt x="609" y="333"/>
                        <a:pt x="590" y="317"/>
                        <a:pt x="585" y="315"/>
                      </a:cubicBezTo>
                      <a:cubicBezTo>
                        <a:pt x="579" y="314"/>
                        <a:pt x="590" y="312"/>
                        <a:pt x="597" y="317"/>
                      </a:cubicBezTo>
                      <a:cubicBezTo>
                        <a:pt x="604" y="323"/>
                        <a:pt x="614" y="325"/>
                        <a:pt x="619" y="319"/>
                      </a:cubicBezTo>
                      <a:cubicBezTo>
                        <a:pt x="624" y="312"/>
                        <a:pt x="614" y="314"/>
                        <a:pt x="614" y="310"/>
                      </a:cubicBezTo>
                      <a:cubicBezTo>
                        <a:pt x="614" y="305"/>
                        <a:pt x="611" y="298"/>
                        <a:pt x="606" y="298"/>
                      </a:cubicBezTo>
                      <a:cubicBezTo>
                        <a:pt x="601" y="298"/>
                        <a:pt x="588" y="288"/>
                        <a:pt x="593" y="286"/>
                      </a:cubicBezTo>
                      <a:cubicBezTo>
                        <a:pt x="598" y="284"/>
                        <a:pt x="591" y="281"/>
                        <a:pt x="595" y="277"/>
                      </a:cubicBezTo>
                      <a:cubicBezTo>
                        <a:pt x="599" y="273"/>
                        <a:pt x="602" y="281"/>
                        <a:pt x="606" y="281"/>
                      </a:cubicBezTo>
                      <a:close/>
                      <a:moveTo>
                        <a:pt x="531" y="264"/>
                      </a:moveTo>
                      <a:cubicBezTo>
                        <a:pt x="535" y="264"/>
                        <a:pt x="535" y="257"/>
                        <a:pt x="532" y="254"/>
                      </a:cubicBezTo>
                      <a:cubicBezTo>
                        <a:pt x="530" y="251"/>
                        <a:pt x="526" y="251"/>
                        <a:pt x="522" y="251"/>
                      </a:cubicBezTo>
                      <a:cubicBezTo>
                        <a:pt x="518" y="251"/>
                        <a:pt x="511" y="257"/>
                        <a:pt x="515" y="264"/>
                      </a:cubicBezTo>
                      <a:cubicBezTo>
                        <a:pt x="518" y="270"/>
                        <a:pt x="527" y="265"/>
                        <a:pt x="531" y="264"/>
                      </a:cubicBezTo>
                      <a:close/>
                      <a:moveTo>
                        <a:pt x="487" y="171"/>
                      </a:moveTo>
                      <a:cubicBezTo>
                        <a:pt x="484" y="176"/>
                        <a:pt x="491" y="176"/>
                        <a:pt x="492" y="181"/>
                      </a:cubicBezTo>
                      <a:cubicBezTo>
                        <a:pt x="492" y="187"/>
                        <a:pt x="499" y="189"/>
                        <a:pt x="504" y="185"/>
                      </a:cubicBezTo>
                      <a:cubicBezTo>
                        <a:pt x="509" y="182"/>
                        <a:pt x="523" y="186"/>
                        <a:pt x="523" y="182"/>
                      </a:cubicBezTo>
                      <a:cubicBezTo>
                        <a:pt x="523" y="178"/>
                        <a:pt x="508" y="171"/>
                        <a:pt x="503" y="172"/>
                      </a:cubicBezTo>
                      <a:cubicBezTo>
                        <a:pt x="497" y="173"/>
                        <a:pt x="489" y="167"/>
                        <a:pt x="487" y="171"/>
                      </a:cubicBezTo>
                      <a:close/>
                      <a:moveTo>
                        <a:pt x="620" y="475"/>
                      </a:moveTo>
                      <a:cubicBezTo>
                        <a:pt x="621" y="478"/>
                        <a:pt x="642" y="486"/>
                        <a:pt x="642" y="483"/>
                      </a:cubicBezTo>
                      <a:cubicBezTo>
                        <a:pt x="643" y="479"/>
                        <a:pt x="620" y="473"/>
                        <a:pt x="620" y="475"/>
                      </a:cubicBezTo>
                      <a:close/>
                      <a:moveTo>
                        <a:pt x="711" y="496"/>
                      </a:moveTo>
                      <a:cubicBezTo>
                        <a:pt x="709" y="499"/>
                        <a:pt x="707" y="494"/>
                        <a:pt x="710" y="492"/>
                      </a:cubicBezTo>
                      <a:cubicBezTo>
                        <a:pt x="713" y="490"/>
                        <a:pt x="710" y="489"/>
                        <a:pt x="707" y="490"/>
                      </a:cubicBezTo>
                      <a:cubicBezTo>
                        <a:pt x="704" y="492"/>
                        <a:pt x="705" y="484"/>
                        <a:pt x="708" y="482"/>
                      </a:cubicBezTo>
                      <a:cubicBezTo>
                        <a:pt x="710" y="481"/>
                        <a:pt x="701" y="478"/>
                        <a:pt x="701" y="481"/>
                      </a:cubicBezTo>
                      <a:cubicBezTo>
                        <a:pt x="701" y="483"/>
                        <a:pt x="695" y="482"/>
                        <a:pt x="694" y="479"/>
                      </a:cubicBezTo>
                      <a:cubicBezTo>
                        <a:pt x="693" y="477"/>
                        <a:pt x="689" y="476"/>
                        <a:pt x="690" y="474"/>
                      </a:cubicBezTo>
                      <a:cubicBezTo>
                        <a:pt x="692" y="473"/>
                        <a:pt x="685" y="472"/>
                        <a:pt x="684" y="475"/>
                      </a:cubicBezTo>
                      <a:cubicBezTo>
                        <a:pt x="683" y="478"/>
                        <a:pt x="681" y="473"/>
                        <a:pt x="685" y="469"/>
                      </a:cubicBezTo>
                      <a:cubicBezTo>
                        <a:pt x="688" y="465"/>
                        <a:pt x="687" y="462"/>
                        <a:pt x="691" y="460"/>
                      </a:cubicBezTo>
                      <a:cubicBezTo>
                        <a:pt x="694" y="458"/>
                        <a:pt x="690" y="456"/>
                        <a:pt x="687" y="457"/>
                      </a:cubicBezTo>
                      <a:cubicBezTo>
                        <a:pt x="683" y="459"/>
                        <a:pt x="674" y="472"/>
                        <a:pt x="674" y="475"/>
                      </a:cubicBezTo>
                      <a:cubicBezTo>
                        <a:pt x="674" y="479"/>
                        <a:pt x="674" y="483"/>
                        <a:pt x="670" y="483"/>
                      </a:cubicBezTo>
                      <a:cubicBezTo>
                        <a:pt x="667" y="483"/>
                        <a:pt x="663" y="486"/>
                        <a:pt x="666" y="488"/>
                      </a:cubicBezTo>
                      <a:cubicBezTo>
                        <a:pt x="668" y="490"/>
                        <a:pt x="659" y="495"/>
                        <a:pt x="663" y="498"/>
                      </a:cubicBezTo>
                      <a:cubicBezTo>
                        <a:pt x="666" y="499"/>
                        <a:pt x="671" y="497"/>
                        <a:pt x="676" y="497"/>
                      </a:cubicBezTo>
                      <a:cubicBezTo>
                        <a:pt x="680" y="498"/>
                        <a:pt x="683" y="498"/>
                        <a:pt x="687" y="495"/>
                      </a:cubicBezTo>
                      <a:cubicBezTo>
                        <a:pt x="691" y="493"/>
                        <a:pt x="691" y="498"/>
                        <a:pt x="694" y="497"/>
                      </a:cubicBezTo>
                      <a:cubicBezTo>
                        <a:pt x="698" y="497"/>
                        <a:pt x="692" y="500"/>
                        <a:pt x="693" y="503"/>
                      </a:cubicBezTo>
                      <a:cubicBezTo>
                        <a:pt x="693" y="506"/>
                        <a:pt x="697" y="502"/>
                        <a:pt x="699" y="500"/>
                      </a:cubicBezTo>
                      <a:cubicBezTo>
                        <a:pt x="702" y="499"/>
                        <a:pt x="706" y="500"/>
                        <a:pt x="704" y="502"/>
                      </a:cubicBezTo>
                      <a:cubicBezTo>
                        <a:pt x="703" y="505"/>
                        <a:pt x="712" y="507"/>
                        <a:pt x="714" y="503"/>
                      </a:cubicBezTo>
                      <a:cubicBezTo>
                        <a:pt x="717" y="500"/>
                        <a:pt x="712" y="494"/>
                        <a:pt x="711" y="496"/>
                      </a:cubicBezTo>
                      <a:close/>
                      <a:moveTo>
                        <a:pt x="66" y="431"/>
                      </a:moveTo>
                      <a:cubicBezTo>
                        <a:pt x="60" y="434"/>
                        <a:pt x="75" y="450"/>
                        <a:pt x="78" y="448"/>
                      </a:cubicBezTo>
                      <a:cubicBezTo>
                        <a:pt x="81" y="447"/>
                        <a:pt x="75" y="440"/>
                        <a:pt x="75" y="436"/>
                      </a:cubicBezTo>
                      <a:cubicBezTo>
                        <a:pt x="75" y="432"/>
                        <a:pt x="73" y="427"/>
                        <a:pt x="66" y="431"/>
                      </a:cubicBezTo>
                      <a:close/>
                      <a:moveTo>
                        <a:pt x="654" y="512"/>
                      </a:moveTo>
                      <a:cubicBezTo>
                        <a:pt x="651" y="512"/>
                        <a:pt x="653" y="509"/>
                        <a:pt x="654" y="507"/>
                      </a:cubicBezTo>
                      <a:cubicBezTo>
                        <a:pt x="654" y="505"/>
                        <a:pt x="648" y="507"/>
                        <a:pt x="648" y="510"/>
                      </a:cubicBezTo>
                      <a:cubicBezTo>
                        <a:pt x="648" y="512"/>
                        <a:pt x="644" y="513"/>
                        <a:pt x="644" y="514"/>
                      </a:cubicBezTo>
                      <a:cubicBezTo>
                        <a:pt x="644" y="519"/>
                        <a:pt x="644" y="516"/>
                        <a:pt x="641" y="518"/>
                      </a:cubicBezTo>
                      <a:cubicBezTo>
                        <a:pt x="638" y="519"/>
                        <a:pt x="627" y="518"/>
                        <a:pt x="626" y="515"/>
                      </a:cubicBezTo>
                      <a:cubicBezTo>
                        <a:pt x="626" y="513"/>
                        <a:pt x="618" y="512"/>
                        <a:pt x="618" y="508"/>
                      </a:cubicBezTo>
                      <a:cubicBezTo>
                        <a:pt x="617" y="505"/>
                        <a:pt x="613" y="504"/>
                        <a:pt x="617" y="500"/>
                      </a:cubicBezTo>
                      <a:cubicBezTo>
                        <a:pt x="620" y="496"/>
                        <a:pt x="616" y="494"/>
                        <a:pt x="613" y="497"/>
                      </a:cubicBezTo>
                      <a:cubicBezTo>
                        <a:pt x="610" y="500"/>
                        <a:pt x="608" y="496"/>
                        <a:pt x="612" y="494"/>
                      </a:cubicBezTo>
                      <a:cubicBezTo>
                        <a:pt x="616" y="493"/>
                        <a:pt x="624" y="491"/>
                        <a:pt x="620" y="484"/>
                      </a:cubicBezTo>
                      <a:cubicBezTo>
                        <a:pt x="616" y="477"/>
                        <a:pt x="592" y="486"/>
                        <a:pt x="585" y="489"/>
                      </a:cubicBezTo>
                      <a:cubicBezTo>
                        <a:pt x="579" y="493"/>
                        <a:pt x="571" y="504"/>
                        <a:pt x="568" y="504"/>
                      </a:cubicBezTo>
                      <a:cubicBezTo>
                        <a:pt x="565" y="504"/>
                        <a:pt x="574" y="498"/>
                        <a:pt x="575" y="496"/>
                      </a:cubicBezTo>
                      <a:cubicBezTo>
                        <a:pt x="577" y="494"/>
                        <a:pt x="575" y="491"/>
                        <a:pt x="577" y="492"/>
                      </a:cubicBezTo>
                      <a:cubicBezTo>
                        <a:pt x="579" y="493"/>
                        <a:pt x="584" y="485"/>
                        <a:pt x="588" y="482"/>
                      </a:cubicBezTo>
                      <a:cubicBezTo>
                        <a:pt x="592" y="479"/>
                        <a:pt x="596" y="482"/>
                        <a:pt x="596" y="479"/>
                      </a:cubicBezTo>
                      <a:cubicBezTo>
                        <a:pt x="597" y="477"/>
                        <a:pt x="599" y="475"/>
                        <a:pt x="602" y="472"/>
                      </a:cubicBezTo>
                      <a:cubicBezTo>
                        <a:pt x="606" y="469"/>
                        <a:pt x="649" y="470"/>
                        <a:pt x="653" y="470"/>
                      </a:cubicBezTo>
                      <a:cubicBezTo>
                        <a:pt x="657" y="470"/>
                        <a:pt x="665" y="464"/>
                        <a:pt x="667" y="461"/>
                      </a:cubicBezTo>
                      <a:cubicBezTo>
                        <a:pt x="669" y="457"/>
                        <a:pt x="672" y="457"/>
                        <a:pt x="678" y="458"/>
                      </a:cubicBezTo>
                      <a:cubicBezTo>
                        <a:pt x="684" y="458"/>
                        <a:pt x="687" y="453"/>
                        <a:pt x="689" y="451"/>
                      </a:cubicBezTo>
                      <a:cubicBezTo>
                        <a:pt x="692" y="449"/>
                        <a:pt x="691" y="448"/>
                        <a:pt x="689" y="447"/>
                      </a:cubicBezTo>
                      <a:cubicBezTo>
                        <a:pt x="686" y="447"/>
                        <a:pt x="684" y="445"/>
                        <a:pt x="686" y="445"/>
                      </a:cubicBezTo>
                      <a:cubicBezTo>
                        <a:pt x="689" y="445"/>
                        <a:pt x="690" y="443"/>
                        <a:pt x="691" y="440"/>
                      </a:cubicBezTo>
                      <a:cubicBezTo>
                        <a:pt x="692" y="437"/>
                        <a:pt x="690" y="438"/>
                        <a:pt x="687" y="434"/>
                      </a:cubicBezTo>
                      <a:cubicBezTo>
                        <a:pt x="683" y="430"/>
                        <a:pt x="682" y="435"/>
                        <a:pt x="678" y="435"/>
                      </a:cubicBezTo>
                      <a:cubicBezTo>
                        <a:pt x="675" y="435"/>
                        <a:pt x="681" y="430"/>
                        <a:pt x="678" y="429"/>
                      </a:cubicBezTo>
                      <a:cubicBezTo>
                        <a:pt x="675" y="427"/>
                        <a:pt x="670" y="428"/>
                        <a:pt x="665" y="432"/>
                      </a:cubicBezTo>
                      <a:cubicBezTo>
                        <a:pt x="661" y="435"/>
                        <a:pt x="661" y="432"/>
                        <a:pt x="658" y="435"/>
                      </a:cubicBezTo>
                      <a:cubicBezTo>
                        <a:pt x="654" y="439"/>
                        <a:pt x="654" y="433"/>
                        <a:pt x="656" y="432"/>
                      </a:cubicBezTo>
                      <a:cubicBezTo>
                        <a:pt x="657" y="430"/>
                        <a:pt x="659" y="432"/>
                        <a:pt x="660" y="430"/>
                      </a:cubicBezTo>
                      <a:cubicBezTo>
                        <a:pt x="662" y="428"/>
                        <a:pt x="664" y="430"/>
                        <a:pt x="668" y="427"/>
                      </a:cubicBezTo>
                      <a:cubicBezTo>
                        <a:pt x="672" y="425"/>
                        <a:pt x="675" y="426"/>
                        <a:pt x="677" y="424"/>
                      </a:cubicBezTo>
                      <a:cubicBezTo>
                        <a:pt x="678" y="422"/>
                        <a:pt x="675" y="419"/>
                        <a:pt x="671" y="420"/>
                      </a:cubicBezTo>
                      <a:cubicBezTo>
                        <a:pt x="667" y="421"/>
                        <a:pt x="664" y="415"/>
                        <a:pt x="662" y="417"/>
                      </a:cubicBezTo>
                      <a:cubicBezTo>
                        <a:pt x="659" y="418"/>
                        <a:pt x="660" y="414"/>
                        <a:pt x="657" y="416"/>
                      </a:cubicBezTo>
                      <a:cubicBezTo>
                        <a:pt x="654" y="417"/>
                        <a:pt x="652" y="415"/>
                        <a:pt x="651" y="412"/>
                      </a:cubicBezTo>
                      <a:cubicBezTo>
                        <a:pt x="650" y="408"/>
                        <a:pt x="642" y="403"/>
                        <a:pt x="637" y="401"/>
                      </a:cubicBezTo>
                      <a:cubicBezTo>
                        <a:pt x="633" y="400"/>
                        <a:pt x="636" y="397"/>
                        <a:pt x="638" y="399"/>
                      </a:cubicBezTo>
                      <a:cubicBezTo>
                        <a:pt x="641" y="401"/>
                        <a:pt x="644" y="397"/>
                        <a:pt x="645" y="396"/>
                      </a:cubicBezTo>
                      <a:cubicBezTo>
                        <a:pt x="646" y="394"/>
                        <a:pt x="643" y="392"/>
                        <a:pt x="642" y="392"/>
                      </a:cubicBezTo>
                      <a:cubicBezTo>
                        <a:pt x="640" y="392"/>
                        <a:pt x="640" y="390"/>
                        <a:pt x="641" y="388"/>
                      </a:cubicBezTo>
                      <a:cubicBezTo>
                        <a:pt x="641" y="386"/>
                        <a:pt x="636" y="384"/>
                        <a:pt x="635" y="382"/>
                      </a:cubicBezTo>
                      <a:cubicBezTo>
                        <a:pt x="635" y="380"/>
                        <a:pt x="632" y="379"/>
                        <a:pt x="632" y="377"/>
                      </a:cubicBezTo>
                      <a:cubicBezTo>
                        <a:pt x="632" y="376"/>
                        <a:pt x="629" y="373"/>
                        <a:pt x="629" y="371"/>
                      </a:cubicBezTo>
                      <a:cubicBezTo>
                        <a:pt x="629" y="369"/>
                        <a:pt x="624" y="365"/>
                        <a:pt x="624" y="362"/>
                      </a:cubicBezTo>
                      <a:cubicBezTo>
                        <a:pt x="624" y="360"/>
                        <a:pt x="621" y="358"/>
                        <a:pt x="620" y="355"/>
                      </a:cubicBezTo>
                      <a:cubicBezTo>
                        <a:pt x="619" y="352"/>
                        <a:pt x="617" y="353"/>
                        <a:pt x="616" y="358"/>
                      </a:cubicBezTo>
                      <a:cubicBezTo>
                        <a:pt x="615" y="362"/>
                        <a:pt x="611" y="362"/>
                        <a:pt x="612" y="363"/>
                      </a:cubicBezTo>
                      <a:cubicBezTo>
                        <a:pt x="615" y="366"/>
                        <a:pt x="613" y="366"/>
                        <a:pt x="611" y="368"/>
                      </a:cubicBezTo>
                      <a:cubicBezTo>
                        <a:pt x="610" y="370"/>
                        <a:pt x="612" y="372"/>
                        <a:pt x="610" y="372"/>
                      </a:cubicBezTo>
                      <a:cubicBezTo>
                        <a:pt x="607" y="372"/>
                        <a:pt x="608" y="378"/>
                        <a:pt x="607" y="376"/>
                      </a:cubicBezTo>
                      <a:cubicBezTo>
                        <a:pt x="605" y="373"/>
                        <a:pt x="602" y="374"/>
                        <a:pt x="602" y="376"/>
                      </a:cubicBezTo>
                      <a:cubicBezTo>
                        <a:pt x="602" y="379"/>
                        <a:pt x="596" y="381"/>
                        <a:pt x="594" y="381"/>
                      </a:cubicBezTo>
                      <a:cubicBezTo>
                        <a:pt x="592" y="381"/>
                        <a:pt x="592" y="376"/>
                        <a:pt x="590" y="377"/>
                      </a:cubicBezTo>
                      <a:cubicBezTo>
                        <a:pt x="588" y="379"/>
                        <a:pt x="588" y="373"/>
                        <a:pt x="585" y="373"/>
                      </a:cubicBezTo>
                      <a:cubicBezTo>
                        <a:pt x="582" y="374"/>
                        <a:pt x="580" y="373"/>
                        <a:pt x="581" y="371"/>
                      </a:cubicBezTo>
                      <a:cubicBezTo>
                        <a:pt x="582" y="368"/>
                        <a:pt x="576" y="367"/>
                        <a:pt x="578" y="365"/>
                      </a:cubicBezTo>
                      <a:cubicBezTo>
                        <a:pt x="580" y="363"/>
                        <a:pt x="577" y="361"/>
                        <a:pt x="577" y="356"/>
                      </a:cubicBezTo>
                      <a:cubicBezTo>
                        <a:pt x="576" y="351"/>
                        <a:pt x="579" y="351"/>
                        <a:pt x="579" y="349"/>
                      </a:cubicBezTo>
                      <a:cubicBezTo>
                        <a:pt x="579" y="347"/>
                        <a:pt x="577" y="347"/>
                        <a:pt x="575" y="349"/>
                      </a:cubicBezTo>
                      <a:cubicBezTo>
                        <a:pt x="573" y="350"/>
                        <a:pt x="573" y="347"/>
                        <a:pt x="571" y="347"/>
                      </a:cubicBezTo>
                      <a:cubicBezTo>
                        <a:pt x="568" y="347"/>
                        <a:pt x="561" y="347"/>
                        <a:pt x="561" y="344"/>
                      </a:cubicBezTo>
                      <a:cubicBezTo>
                        <a:pt x="561" y="340"/>
                        <a:pt x="558" y="342"/>
                        <a:pt x="557" y="339"/>
                      </a:cubicBezTo>
                      <a:cubicBezTo>
                        <a:pt x="556" y="336"/>
                        <a:pt x="553" y="338"/>
                        <a:pt x="553" y="336"/>
                      </a:cubicBezTo>
                      <a:cubicBezTo>
                        <a:pt x="553" y="334"/>
                        <a:pt x="552" y="333"/>
                        <a:pt x="550" y="333"/>
                      </a:cubicBezTo>
                      <a:cubicBezTo>
                        <a:pt x="548" y="333"/>
                        <a:pt x="547" y="330"/>
                        <a:pt x="544" y="330"/>
                      </a:cubicBezTo>
                      <a:cubicBezTo>
                        <a:pt x="541" y="330"/>
                        <a:pt x="538" y="332"/>
                        <a:pt x="536" y="333"/>
                      </a:cubicBezTo>
                      <a:cubicBezTo>
                        <a:pt x="535" y="333"/>
                        <a:pt x="530" y="330"/>
                        <a:pt x="529" y="331"/>
                      </a:cubicBezTo>
                      <a:cubicBezTo>
                        <a:pt x="527" y="333"/>
                        <a:pt x="527" y="331"/>
                        <a:pt x="522" y="329"/>
                      </a:cubicBezTo>
                      <a:cubicBezTo>
                        <a:pt x="518" y="328"/>
                        <a:pt x="512" y="328"/>
                        <a:pt x="512" y="329"/>
                      </a:cubicBezTo>
                      <a:cubicBezTo>
                        <a:pt x="511" y="331"/>
                        <a:pt x="508" y="331"/>
                        <a:pt x="508" y="335"/>
                      </a:cubicBezTo>
                      <a:cubicBezTo>
                        <a:pt x="509" y="339"/>
                        <a:pt x="513" y="338"/>
                        <a:pt x="514" y="341"/>
                      </a:cubicBezTo>
                      <a:cubicBezTo>
                        <a:pt x="514" y="343"/>
                        <a:pt x="512" y="342"/>
                        <a:pt x="512" y="345"/>
                      </a:cubicBezTo>
                      <a:cubicBezTo>
                        <a:pt x="511" y="347"/>
                        <a:pt x="509" y="347"/>
                        <a:pt x="509" y="348"/>
                      </a:cubicBezTo>
                      <a:cubicBezTo>
                        <a:pt x="509" y="350"/>
                        <a:pt x="511" y="350"/>
                        <a:pt x="512" y="353"/>
                      </a:cubicBezTo>
                      <a:cubicBezTo>
                        <a:pt x="512" y="356"/>
                        <a:pt x="514" y="356"/>
                        <a:pt x="515" y="360"/>
                      </a:cubicBezTo>
                      <a:cubicBezTo>
                        <a:pt x="515" y="364"/>
                        <a:pt x="513" y="364"/>
                        <a:pt x="512" y="364"/>
                      </a:cubicBezTo>
                      <a:cubicBezTo>
                        <a:pt x="510" y="365"/>
                        <a:pt x="512" y="367"/>
                        <a:pt x="509" y="370"/>
                      </a:cubicBezTo>
                      <a:cubicBezTo>
                        <a:pt x="507" y="372"/>
                        <a:pt x="505" y="376"/>
                        <a:pt x="507" y="377"/>
                      </a:cubicBezTo>
                      <a:cubicBezTo>
                        <a:pt x="509" y="379"/>
                        <a:pt x="516" y="382"/>
                        <a:pt x="519" y="387"/>
                      </a:cubicBezTo>
                      <a:cubicBezTo>
                        <a:pt x="522" y="392"/>
                        <a:pt x="521" y="399"/>
                        <a:pt x="520" y="405"/>
                      </a:cubicBezTo>
                      <a:cubicBezTo>
                        <a:pt x="520" y="410"/>
                        <a:pt x="514" y="411"/>
                        <a:pt x="509" y="416"/>
                      </a:cubicBezTo>
                      <a:cubicBezTo>
                        <a:pt x="505" y="420"/>
                        <a:pt x="500" y="420"/>
                        <a:pt x="498" y="420"/>
                      </a:cubicBezTo>
                      <a:cubicBezTo>
                        <a:pt x="496" y="420"/>
                        <a:pt x="497" y="424"/>
                        <a:pt x="500" y="428"/>
                      </a:cubicBezTo>
                      <a:cubicBezTo>
                        <a:pt x="503" y="431"/>
                        <a:pt x="501" y="432"/>
                        <a:pt x="502" y="436"/>
                      </a:cubicBezTo>
                      <a:cubicBezTo>
                        <a:pt x="504" y="439"/>
                        <a:pt x="502" y="442"/>
                        <a:pt x="504" y="445"/>
                      </a:cubicBezTo>
                      <a:cubicBezTo>
                        <a:pt x="507" y="449"/>
                        <a:pt x="505" y="450"/>
                        <a:pt x="503" y="452"/>
                      </a:cubicBezTo>
                      <a:cubicBezTo>
                        <a:pt x="500" y="455"/>
                        <a:pt x="504" y="453"/>
                        <a:pt x="504" y="456"/>
                      </a:cubicBezTo>
                      <a:cubicBezTo>
                        <a:pt x="504" y="459"/>
                        <a:pt x="503" y="458"/>
                        <a:pt x="500" y="456"/>
                      </a:cubicBezTo>
                      <a:cubicBezTo>
                        <a:pt x="498" y="454"/>
                        <a:pt x="496" y="459"/>
                        <a:pt x="496" y="461"/>
                      </a:cubicBezTo>
                      <a:cubicBezTo>
                        <a:pt x="496" y="463"/>
                        <a:pt x="490" y="458"/>
                        <a:pt x="489" y="458"/>
                      </a:cubicBezTo>
                      <a:cubicBezTo>
                        <a:pt x="488" y="459"/>
                        <a:pt x="489" y="455"/>
                        <a:pt x="486" y="453"/>
                      </a:cubicBezTo>
                      <a:cubicBezTo>
                        <a:pt x="483" y="450"/>
                        <a:pt x="481" y="450"/>
                        <a:pt x="481" y="447"/>
                      </a:cubicBezTo>
                      <a:cubicBezTo>
                        <a:pt x="481" y="445"/>
                        <a:pt x="475" y="443"/>
                        <a:pt x="475" y="440"/>
                      </a:cubicBezTo>
                      <a:cubicBezTo>
                        <a:pt x="475" y="437"/>
                        <a:pt x="476" y="430"/>
                        <a:pt x="474" y="428"/>
                      </a:cubicBezTo>
                      <a:cubicBezTo>
                        <a:pt x="473" y="426"/>
                        <a:pt x="474" y="423"/>
                        <a:pt x="475" y="422"/>
                      </a:cubicBezTo>
                      <a:cubicBezTo>
                        <a:pt x="476" y="420"/>
                        <a:pt x="474" y="417"/>
                        <a:pt x="471" y="417"/>
                      </a:cubicBezTo>
                      <a:cubicBezTo>
                        <a:pt x="468" y="417"/>
                        <a:pt x="463" y="415"/>
                        <a:pt x="459" y="416"/>
                      </a:cubicBezTo>
                      <a:cubicBezTo>
                        <a:pt x="454" y="416"/>
                        <a:pt x="452" y="415"/>
                        <a:pt x="450" y="414"/>
                      </a:cubicBezTo>
                      <a:cubicBezTo>
                        <a:pt x="449" y="413"/>
                        <a:pt x="445" y="410"/>
                        <a:pt x="439" y="409"/>
                      </a:cubicBezTo>
                      <a:cubicBezTo>
                        <a:pt x="434" y="407"/>
                        <a:pt x="431" y="405"/>
                        <a:pt x="431" y="403"/>
                      </a:cubicBezTo>
                      <a:cubicBezTo>
                        <a:pt x="430" y="401"/>
                        <a:pt x="425" y="400"/>
                        <a:pt x="423" y="399"/>
                      </a:cubicBezTo>
                      <a:cubicBezTo>
                        <a:pt x="422" y="397"/>
                        <a:pt x="417" y="396"/>
                        <a:pt x="415" y="396"/>
                      </a:cubicBezTo>
                      <a:cubicBezTo>
                        <a:pt x="413" y="397"/>
                        <a:pt x="407" y="392"/>
                        <a:pt x="404" y="392"/>
                      </a:cubicBezTo>
                      <a:cubicBezTo>
                        <a:pt x="401" y="392"/>
                        <a:pt x="393" y="395"/>
                        <a:pt x="392" y="396"/>
                      </a:cubicBezTo>
                      <a:cubicBezTo>
                        <a:pt x="391" y="396"/>
                        <a:pt x="392" y="393"/>
                        <a:pt x="393" y="392"/>
                      </a:cubicBezTo>
                      <a:cubicBezTo>
                        <a:pt x="394" y="390"/>
                        <a:pt x="390" y="385"/>
                        <a:pt x="390" y="382"/>
                      </a:cubicBezTo>
                      <a:cubicBezTo>
                        <a:pt x="389" y="378"/>
                        <a:pt x="387" y="374"/>
                        <a:pt x="384" y="375"/>
                      </a:cubicBezTo>
                      <a:cubicBezTo>
                        <a:pt x="380" y="375"/>
                        <a:pt x="376" y="373"/>
                        <a:pt x="375" y="372"/>
                      </a:cubicBezTo>
                      <a:cubicBezTo>
                        <a:pt x="374" y="372"/>
                        <a:pt x="374" y="362"/>
                        <a:pt x="374" y="357"/>
                      </a:cubicBezTo>
                      <a:cubicBezTo>
                        <a:pt x="375" y="353"/>
                        <a:pt x="380" y="347"/>
                        <a:pt x="380" y="344"/>
                      </a:cubicBezTo>
                      <a:cubicBezTo>
                        <a:pt x="380" y="341"/>
                        <a:pt x="383" y="340"/>
                        <a:pt x="386" y="339"/>
                      </a:cubicBezTo>
                      <a:cubicBezTo>
                        <a:pt x="388" y="339"/>
                        <a:pt x="386" y="333"/>
                        <a:pt x="389" y="333"/>
                      </a:cubicBezTo>
                      <a:cubicBezTo>
                        <a:pt x="392" y="333"/>
                        <a:pt x="392" y="332"/>
                        <a:pt x="392" y="329"/>
                      </a:cubicBezTo>
                      <a:cubicBezTo>
                        <a:pt x="393" y="327"/>
                        <a:pt x="396" y="329"/>
                        <a:pt x="394" y="327"/>
                      </a:cubicBezTo>
                      <a:cubicBezTo>
                        <a:pt x="392" y="325"/>
                        <a:pt x="394" y="325"/>
                        <a:pt x="398" y="325"/>
                      </a:cubicBezTo>
                      <a:cubicBezTo>
                        <a:pt x="402" y="325"/>
                        <a:pt x="408" y="323"/>
                        <a:pt x="407" y="319"/>
                      </a:cubicBezTo>
                      <a:cubicBezTo>
                        <a:pt x="406" y="315"/>
                        <a:pt x="396" y="318"/>
                        <a:pt x="396" y="315"/>
                      </a:cubicBezTo>
                      <a:cubicBezTo>
                        <a:pt x="396" y="311"/>
                        <a:pt x="382" y="311"/>
                        <a:pt x="383" y="309"/>
                      </a:cubicBezTo>
                      <a:cubicBezTo>
                        <a:pt x="384" y="307"/>
                        <a:pt x="397" y="311"/>
                        <a:pt x="401" y="312"/>
                      </a:cubicBezTo>
                      <a:cubicBezTo>
                        <a:pt x="406" y="314"/>
                        <a:pt x="407" y="314"/>
                        <a:pt x="411" y="314"/>
                      </a:cubicBezTo>
                      <a:cubicBezTo>
                        <a:pt x="415" y="314"/>
                        <a:pt x="412" y="309"/>
                        <a:pt x="413" y="307"/>
                      </a:cubicBezTo>
                      <a:cubicBezTo>
                        <a:pt x="413" y="305"/>
                        <a:pt x="421" y="310"/>
                        <a:pt x="425" y="309"/>
                      </a:cubicBezTo>
                      <a:cubicBezTo>
                        <a:pt x="429" y="308"/>
                        <a:pt x="433" y="299"/>
                        <a:pt x="436" y="297"/>
                      </a:cubicBezTo>
                      <a:cubicBezTo>
                        <a:pt x="440" y="295"/>
                        <a:pt x="436" y="293"/>
                        <a:pt x="430" y="293"/>
                      </a:cubicBezTo>
                      <a:cubicBezTo>
                        <a:pt x="423" y="294"/>
                        <a:pt x="420" y="291"/>
                        <a:pt x="416" y="288"/>
                      </a:cubicBezTo>
                      <a:cubicBezTo>
                        <a:pt x="412" y="286"/>
                        <a:pt x="413" y="284"/>
                        <a:pt x="417" y="284"/>
                      </a:cubicBezTo>
                      <a:cubicBezTo>
                        <a:pt x="420" y="284"/>
                        <a:pt x="429" y="292"/>
                        <a:pt x="433" y="292"/>
                      </a:cubicBezTo>
                      <a:cubicBezTo>
                        <a:pt x="436" y="292"/>
                        <a:pt x="442" y="285"/>
                        <a:pt x="445" y="283"/>
                      </a:cubicBezTo>
                      <a:cubicBezTo>
                        <a:pt x="448" y="281"/>
                        <a:pt x="442" y="280"/>
                        <a:pt x="440" y="278"/>
                      </a:cubicBezTo>
                      <a:cubicBezTo>
                        <a:pt x="438" y="277"/>
                        <a:pt x="443" y="276"/>
                        <a:pt x="446" y="276"/>
                      </a:cubicBezTo>
                      <a:cubicBezTo>
                        <a:pt x="449" y="276"/>
                        <a:pt x="450" y="278"/>
                        <a:pt x="451" y="280"/>
                      </a:cubicBezTo>
                      <a:cubicBezTo>
                        <a:pt x="453" y="281"/>
                        <a:pt x="458" y="279"/>
                        <a:pt x="460" y="279"/>
                      </a:cubicBezTo>
                      <a:cubicBezTo>
                        <a:pt x="463" y="279"/>
                        <a:pt x="460" y="275"/>
                        <a:pt x="456" y="273"/>
                      </a:cubicBezTo>
                      <a:cubicBezTo>
                        <a:pt x="451" y="271"/>
                        <a:pt x="456" y="268"/>
                        <a:pt x="457" y="271"/>
                      </a:cubicBezTo>
                      <a:cubicBezTo>
                        <a:pt x="458" y="273"/>
                        <a:pt x="461" y="273"/>
                        <a:pt x="463" y="276"/>
                      </a:cubicBezTo>
                      <a:cubicBezTo>
                        <a:pt x="465" y="280"/>
                        <a:pt x="466" y="277"/>
                        <a:pt x="469" y="276"/>
                      </a:cubicBezTo>
                      <a:cubicBezTo>
                        <a:pt x="473" y="275"/>
                        <a:pt x="475" y="272"/>
                        <a:pt x="477" y="270"/>
                      </a:cubicBezTo>
                      <a:cubicBezTo>
                        <a:pt x="479" y="268"/>
                        <a:pt x="479" y="271"/>
                        <a:pt x="481" y="267"/>
                      </a:cubicBezTo>
                      <a:cubicBezTo>
                        <a:pt x="484" y="264"/>
                        <a:pt x="480" y="261"/>
                        <a:pt x="478" y="259"/>
                      </a:cubicBezTo>
                      <a:cubicBezTo>
                        <a:pt x="475" y="256"/>
                        <a:pt x="478" y="254"/>
                        <a:pt x="475" y="253"/>
                      </a:cubicBezTo>
                      <a:cubicBezTo>
                        <a:pt x="472" y="251"/>
                        <a:pt x="471" y="249"/>
                        <a:pt x="475" y="249"/>
                      </a:cubicBezTo>
                      <a:cubicBezTo>
                        <a:pt x="479" y="250"/>
                        <a:pt x="481" y="249"/>
                        <a:pt x="483" y="247"/>
                      </a:cubicBezTo>
                      <a:cubicBezTo>
                        <a:pt x="485" y="244"/>
                        <a:pt x="478" y="244"/>
                        <a:pt x="481" y="242"/>
                      </a:cubicBezTo>
                      <a:cubicBezTo>
                        <a:pt x="484" y="240"/>
                        <a:pt x="481" y="238"/>
                        <a:pt x="478" y="238"/>
                      </a:cubicBezTo>
                      <a:cubicBezTo>
                        <a:pt x="475" y="238"/>
                        <a:pt x="472" y="237"/>
                        <a:pt x="472" y="234"/>
                      </a:cubicBezTo>
                      <a:cubicBezTo>
                        <a:pt x="472" y="231"/>
                        <a:pt x="466" y="233"/>
                        <a:pt x="463" y="231"/>
                      </a:cubicBezTo>
                      <a:cubicBezTo>
                        <a:pt x="460" y="230"/>
                        <a:pt x="452" y="230"/>
                        <a:pt x="450" y="230"/>
                      </a:cubicBezTo>
                      <a:cubicBezTo>
                        <a:pt x="449" y="231"/>
                        <a:pt x="448" y="238"/>
                        <a:pt x="451" y="238"/>
                      </a:cubicBezTo>
                      <a:cubicBezTo>
                        <a:pt x="454" y="238"/>
                        <a:pt x="456" y="241"/>
                        <a:pt x="454" y="242"/>
                      </a:cubicBezTo>
                      <a:cubicBezTo>
                        <a:pt x="451" y="243"/>
                        <a:pt x="454" y="246"/>
                        <a:pt x="452" y="245"/>
                      </a:cubicBezTo>
                      <a:cubicBezTo>
                        <a:pt x="450" y="245"/>
                        <a:pt x="448" y="244"/>
                        <a:pt x="447" y="249"/>
                      </a:cubicBezTo>
                      <a:cubicBezTo>
                        <a:pt x="446" y="254"/>
                        <a:pt x="446" y="255"/>
                        <a:pt x="443" y="257"/>
                      </a:cubicBezTo>
                      <a:cubicBezTo>
                        <a:pt x="440" y="259"/>
                        <a:pt x="442" y="252"/>
                        <a:pt x="440" y="252"/>
                      </a:cubicBezTo>
                      <a:cubicBezTo>
                        <a:pt x="437" y="252"/>
                        <a:pt x="436" y="258"/>
                        <a:pt x="438" y="258"/>
                      </a:cubicBezTo>
                      <a:cubicBezTo>
                        <a:pt x="441" y="259"/>
                        <a:pt x="441" y="261"/>
                        <a:pt x="441" y="263"/>
                      </a:cubicBezTo>
                      <a:cubicBezTo>
                        <a:pt x="442" y="266"/>
                        <a:pt x="438" y="264"/>
                        <a:pt x="436" y="267"/>
                      </a:cubicBezTo>
                      <a:cubicBezTo>
                        <a:pt x="434" y="270"/>
                        <a:pt x="434" y="266"/>
                        <a:pt x="431" y="264"/>
                      </a:cubicBezTo>
                      <a:cubicBezTo>
                        <a:pt x="429" y="262"/>
                        <a:pt x="426" y="258"/>
                        <a:pt x="426" y="255"/>
                      </a:cubicBezTo>
                      <a:cubicBezTo>
                        <a:pt x="426" y="253"/>
                        <a:pt x="427" y="252"/>
                        <a:pt x="429" y="252"/>
                      </a:cubicBezTo>
                      <a:cubicBezTo>
                        <a:pt x="431" y="251"/>
                        <a:pt x="429" y="250"/>
                        <a:pt x="429" y="246"/>
                      </a:cubicBezTo>
                      <a:cubicBezTo>
                        <a:pt x="429" y="243"/>
                        <a:pt x="427" y="244"/>
                        <a:pt x="424" y="241"/>
                      </a:cubicBezTo>
                      <a:cubicBezTo>
                        <a:pt x="421" y="237"/>
                        <a:pt x="418" y="237"/>
                        <a:pt x="416" y="239"/>
                      </a:cubicBezTo>
                      <a:cubicBezTo>
                        <a:pt x="415" y="241"/>
                        <a:pt x="416" y="244"/>
                        <a:pt x="413" y="245"/>
                      </a:cubicBezTo>
                      <a:cubicBezTo>
                        <a:pt x="411" y="246"/>
                        <a:pt x="412" y="251"/>
                        <a:pt x="410" y="251"/>
                      </a:cubicBezTo>
                      <a:cubicBezTo>
                        <a:pt x="408" y="252"/>
                        <a:pt x="409" y="242"/>
                        <a:pt x="407" y="242"/>
                      </a:cubicBezTo>
                      <a:cubicBezTo>
                        <a:pt x="405" y="241"/>
                        <a:pt x="405" y="239"/>
                        <a:pt x="408" y="238"/>
                      </a:cubicBezTo>
                      <a:cubicBezTo>
                        <a:pt x="411" y="238"/>
                        <a:pt x="412" y="235"/>
                        <a:pt x="410" y="235"/>
                      </a:cubicBezTo>
                      <a:cubicBezTo>
                        <a:pt x="408" y="235"/>
                        <a:pt x="404" y="232"/>
                        <a:pt x="402" y="232"/>
                      </a:cubicBezTo>
                      <a:cubicBezTo>
                        <a:pt x="400" y="231"/>
                        <a:pt x="398" y="235"/>
                        <a:pt x="396" y="233"/>
                      </a:cubicBezTo>
                      <a:cubicBezTo>
                        <a:pt x="394" y="232"/>
                        <a:pt x="396" y="228"/>
                        <a:pt x="396" y="226"/>
                      </a:cubicBezTo>
                      <a:cubicBezTo>
                        <a:pt x="397" y="224"/>
                        <a:pt x="399" y="227"/>
                        <a:pt x="401" y="225"/>
                      </a:cubicBezTo>
                      <a:cubicBezTo>
                        <a:pt x="403" y="222"/>
                        <a:pt x="396" y="222"/>
                        <a:pt x="396" y="220"/>
                      </a:cubicBezTo>
                      <a:cubicBezTo>
                        <a:pt x="396" y="217"/>
                        <a:pt x="391" y="216"/>
                        <a:pt x="389" y="215"/>
                      </a:cubicBezTo>
                      <a:cubicBezTo>
                        <a:pt x="387" y="214"/>
                        <a:pt x="390" y="210"/>
                        <a:pt x="389" y="208"/>
                      </a:cubicBezTo>
                      <a:cubicBezTo>
                        <a:pt x="388" y="206"/>
                        <a:pt x="382" y="201"/>
                        <a:pt x="379" y="201"/>
                      </a:cubicBezTo>
                      <a:cubicBezTo>
                        <a:pt x="376" y="202"/>
                        <a:pt x="375" y="197"/>
                        <a:pt x="377" y="198"/>
                      </a:cubicBezTo>
                      <a:cubicBezTo>
                        <a:pt x="379" y="198"/>
                        <a:pt x="380" y="197"/>
                        <a:pt x="383" y="193"/>
                      </a:cubicBezTo>
                      <a:cubicBezTo>
                        <a:pt x="386" y="190"/>
                        <a:pt x="386" y="189"/>
                        <a:pt x="384" y="188"/>
                      </a:cubicBezTo>
                      <a:cubicBezTo>
                        <a:pt x="382" y="187"/>
                        <a:pt x="381" y="185"/>
                        <a:pt x="385" y="185"/>
                      </a:cubicBezTo>
                      <a:cubicBezTo>
                        <a:pt x="388" y="186"/>
                        <a:pt x="395" y="188"/>
                        <a:pt x="397" y="186"/>
                      </a:cubicBezTo>
                      <a:cubicBezTo>
                        <a:pt x="399" y="185"/>
                        <a:pt x="406" y="174"/>
                        <a:pt x="409" y="171"/>
                      </a:cubicBezTo>
                      <a:cubicBezTo>
                        <a:pt x="411" y="167"/>
                        <a:pt x="407" y="166"/>
                        <a:pt x="400" y="167"/>
                      </a:cubicBezTo>
                      <a:cubicBezTo>
                        <a:pt x="394" y="168"/>
                        <a:pt x="392" y="165"/>
                        <a:pt x="387" y="164"/>
                      </a:cubicBezTo>
                      <a:cubicBezTo>
                        <a:pt x="382" y="164"/>
                        <a:pt x="372" y="165"/>
                        <a:pt x="370" y="167"/>
                      </a:cubicBezTo>
                      <a:cubicBezTo>
                        <a:pt x="369" y="168"/>
                        <a:pt x="373" y="170"/>
                        <a:pt x="372" y="172"/>
                      </a:cubicBezTo>
                      <a:cubicBezTo>
                        <a:pt x="372" y="173"/>
                        <a:pt x="369" y="170"/>
                        <a:pt x="367" y="171"/>
                      </a:cubicBezTo>
                      <a:cubicBezTo>
                        <a:pt x="366" y="172"/>
                        <a:pt x="368" y="174"/>
                        <a:pt x="367" y="180"/>
                      </a:cubicBezTo>
                      <a:cubicBezTo>
                        <a:pt x="367" y="187"/>
                        <a:pt x="369" y="187"/>
                        <a:pt x="370" y="189"/>
                      </a:cubicBezTo>
                      <a:cubicBezTo>
                        <a:pt x="372" y="192"/>
                        <a:pt x="372" y="195"/>
                        <a:pt x="372" y="199"/>
                      </a:cubicBezTo>
                      <a:cubicBezTo>
                        <a:pt x="372" y="203"/>
                        <a:pt x="368" y="202"/>
                        <a:pt x="367" y="203"/>
                      </a:cubicBezTo>
                      <a:cubicBezTo>
                        <a:pt x="366" y="204"/>
                        <a:pt x="370" y="206"/>
                        <a:pt x="369" y="208"/>
                      </a:cubicBezTo>
                      <a:cubicBezTo>
                        <a:pt x="369" y="211"/>
                        <a:pt x="365" y="207"/>
                        <a:pt x="363" y="207"/>
                      </a:cubicBezTo>
                      <a:cubicBezTo>
                        <a:pt x="361" y="208"/>
                        <a:pt x="359" y="214"/>
                        <a:pt x="361" y="216"/>
                      </a:cubicBezTo>
                      <a:cubicBezTo>
                        <a:pt x="363" y="218"/>
                        <a:pt x="364" y="218"/>
                        <a:pt x="362" y="220"/>
                      </a:cubicBezTo>
                      <a:cubicBezTo>
                        <a:pt x="361" y="222"/>
                        <a:pt x="359" y="226"/>
                        <a:pt x="363" y="229"/>
                      </a:cubicBezTo>
                      <a:cubicBezTo>
                        <a:pt x="367" y="232"/>
                        <a:pt x="375" y="232"/>
                        <a:pt x="379" y="235"/>
                      </a:cubicBezTo>
                      <a:cubicBezTo>
                        <a:pt x="383" y="237"/>
                        <a:pt x="377" y="236"/>
                        <a:pt x="379" y="239"/>
                      </a:cubicBezTo>
                      <a:cubicBezTo>
                        <a:pt x="381" y="242"/>
                        <a:pt x="376" y="243"/>
                        <a:pt x="377" y="245"/>
                      </a:cubicBezTo>
                      <a:cubicBezTo>
                        <a:pt x="377" y="248"/>
                        <a:pt x="378" y="246"/>
                        <a:pt x="380" y="242"/>
                      </a:cubicBezTo>
                      <a:cubicBezTo>
                        <a:pt x="383" y="239"/>
                        <a:pt x="384" y="244"/>
                        <a:pt x="384" y="247"/>
                      </a:cubicBezTo>
                      <a:cubicBezTo>
                        <a:pt x="384" y="250"/>
                        <a:pt x="381" y="248"/>
                        <a:pt x="379" y="252"/>
                      </a:cubicBezTo>
                      <a:cubicBezTo>
                        <a:pt x="376" y="255"/>
                        <a:pt x="374" y="256"/>
                        <a:pt x="371" y="255"/>
                      </a:cubicBezTo>
                      <a:cubicBezTo>
                        <a:pt x="367" y="254"/>
                        <a:pt x="369" y="260"/>
                        <a:pt x="371" y="263"/>
                      </a:cubicBezTo>
                      <a:cubicBezTo>
                        <a:pt x="372" y="266"/>
                        <a:pt x="370" y="267"/>
                        <a:pt x="366" y="266"/>
                      </a:cubicBezTo>
                      <a:cubicBezTo>
                        <a:pt x="362" y="265"/>
                        <a:pt x="360" y="262"/>
                        <a:pt x="362" y="259"/>
                      </a:cubicBezTo>
                      <a:cubicBezTo>
                        <a:pt x="364" y="256"/>
                        <a:pt x="366" y="253"/>
                        <a:pt x="363" y="253"/>
                      </a:cubicBezTo>
                      <a:cubicBezTo>
                        <a:pt x="361" y="253"/>
                        <a:pt x="356" y="253"/>
                        <a:pt x="354" y="250"/>
                      </a:cubicBezTo>
                      <a:cubicBezTo>
                        <a:pt x="352" y="248"/>
                        <a:pt x="355" y="249"/>
                        <a:pt x="360" y="249"/>
                      </a:cubicBezTo>
                      <a:cubicBezTo>
                        <a:pt x="365" y="250"/>
                        <a:pt x="361" y="246"/>
                        <a:pt x="364" y="246"/>
                      </a:cubicBezTo>
                      <a:cubicBezTo>
                        <a:pt x="368" y="246"/>
                        <a:pt x="370" y="248"/>
                        <a:pt x="373" y="245"/>
                      </a:cubicBezTo>
                      <a:cubicBezTo>
                        <a:pt x="376" y="243"/>
                        <a:pt x="371" y="238"/>
                        <a:pt x="369" y="239"/>
                      </a:cubicBezTo>
                      <a:cubicBezTo>
                        <a:pt x="366" y="239"/>
                        <a:pt x="362" y="241"/>
                        <a:pt x="362" y="238"/>
                      </a:cubicBezTo>
                      <a:cubicBezTo>
                        <a:pt x="362" y="236"/>
                        <a:pt x="367" y="237"/>
                        <a:pt x="369" y="237"/>
                      </a:cubicBezTo>
                      <a:cubicBezTo>
                        <a:pt x="371" y="236"/>
                        <a:pt x="368" y="233"/>
                        <a:pt x="364" y="234"/>
                      </a:cubicBezTo>
                      <a:cubicBezTo>
                        <a:pt x="361" y="235"/>
                        <a:pt x="358" y="235"/>
                        <a:pt x="355" y="232"/>
                      </a:cubicBezTo>
                      <a:cubicBezTo>
                        <a:pt x="352" y="229"/>
                        <a:pt x="347" y="227"/>
                        <a:pt x="346" y="234"/>
                      </a:cubicBezTo>
                      <a:cubicBezTo>
                        <a:pt x="345" y="241"/>
                        <a:pt x="340" y="237"/>
                        <a:pt x="338" y="240"/>
                      </a:cubicBezTo>
                      <a:cubicBezTo>
                        <a:pt x="336" y="242"/>
                        <a:pt x="340" y="244"/>
                        <a:pt x="345" y="244"/>
                      </a:cubicBezTo>
                      <a:cubicBezTo>
                        <a:pt x="350" y="244"/>
                        <a:pt x="353" y="248"/>
                        <a:pt x="351" y="248"/>
                      </a:cubicBezTo>
                      <a:cubicBezTo>
                        <a:pt x="349" y="248"/>
                        <a:pt x="350" y="252"/>
                        <a:pt x="347" y="250"/>
                      </a:cubicBezTo>
                      <a:cubicBezTo>
                        <a:pt x="345" y="249"/>
                        <a:pt x="342" y="250"/>
                        <a:pt x="344" y="253"/>
                      </a:cubicBezTo>
                      <a:cubicBezTo>
                        <a:pt x="346" y="255"/>
                        <a:pt x="343" y="256"/>
                        <a:pt x="344" y="258"/>
                      </a:cubicBezTo>
                      <a:cubicBezTo>
                        <a:pt x="344" y="260"/>
                        <a:pt x="340" y="258"/>
                        <a:pt x="336" y="258"/>
                      </a:cubicBezTo>
                      <a:cubicBezTo>
                        <a:pt x="332" y="257"/>
                        <a:pt x="325" y="259"/>
                        <a:pt x="320" y="260"/>
                      </a:cubicBezTo>
                      <a:cubicBezTo>
                        <a:pt x="315" y="261"/>
                        <a:pt x="310" y="259"/>
                        <a:pt x="308" y="257"/>
                      </a:cubicBezTo>
                      <a:cubicBezTo>
                        <a:pt x="306" y="254"/>
                        <a:pt x="303" y="255"/>
                        <a:pt x="299" y="255"/>
                      </a:cubicBezTo>
                      <a:cubicBezTo>
                        <a:pt x="296" y="255"/>
                        <a:pt x="297" y="251"/>
                        <a:pt x="292" y="251"/>
                      </a:cubicBezTo>
                      <a:cubicBezTo>
                        <a:pt x="287" y="251"/>
                        <a:pt x="288" y="247"/>
                        <a:pt x="288" y="245"/>
                      </a:cubicBezTo>
                      <a:cubicBezTo>
                        <a:pt x="287" y="242"/>
                        <a:pt x="278" y="243"/>
                        <a:pt x="275" y="245"/>
                      </a:cubicBezTo>
                      <a:cubicBezTo>
                        <a:pt x="271" y="247"/>
                        <a:pt x="265" y="246"/>
                        <a:pt x="263" y="250"/>
                      </a:cubicBezTo>
                      <a:cubicBezTo>
                        <a:pt x="261" y="254"/>
                        <a:pt x="265" y="254"/>
                        <a:pt x="267" y="254"/>
                      </a:cubicBezTo>
                      <a:cubicBezTo>
                        <a:pt x="269" y="254"/>
                        <a:pt x="269" y="250"/>
                        <a:pt x="274" y="251"/>
                      </a:cubicBezTo>
                      <a:cubicBezTo>
                        <a:pt x="279" y="252"/>
                        <a:pt x="283" y="246"/>
                        <a:pt x="285" y="248"/>
                      </a:cubicBezTo>
                      <a:cubicBezTo>
                        <a:pt x="287" y="250"/>
                        <a:pt x="276" y="254"/>
                        <a:pt x="272" y="255"/>
                      </a:cubicBezTo>
                      <a:cubicBezTo>
                        <a:pt x="267" y="256"/>
                        <a:pt x="268" y="260"/>
                        <a:pt x="272" y="266"/>
                      </a:cubicBezTo>
                      <a:cubicBezTo>
                        <a:pt x="277" y="273"/>
                        <a:pt x="270" y="269"/>
                        <a:pt x="270" y="272"/>
                      </a:cubicBezTo>
                      <a:cubicBezTo>
                        <a:pt x="270" y="275"/>
                        <a:pt x="262" y="271"/>
                        <a:pt x="265" y="270"/>
                      </a:cubicBezTo>
                      <a:cubicBezTo>
                        <a:pt x="269" y="269"/>
                        <a:pt x="267" y="266"/>
                        <a:pt x="265" y="264"/>
                      </a:cubicBezTo>
                      <a:cubicBezTo>
                        <a:pt x="262" y="261"/>
                        <a:pt x="260" y="264"/>
                        <a:pt x="260" y="261"/>
                      </a:cubicBezTo>
                      <a:cubicBezTo>
                        <a:pt x="261" y="259"/>
                        <a:pt x="258" y="261"/>
                        <a:pt x="255" y="259"/>
                      </a:cubicBezTo>
                      <a:cubicBezTo>
                        <a:pt x="253" y="257"/>
                        <a:pt x="251" y="256"/>
                        <a:pt x="248" y="258"/>
                      </a:cubicBezTo>
                      <a:cubicBezTo>
                        <a:pt x="245" y="259"/>
                        <a:pt x="241" y="259"/>
                        <a:pt x="233" y="260"/>
                      </a:cubicBezTo>
                      <a:cubicBezTo>
                        <a:pt x="226" y="261"/>
                        <a:pt x="212" y="261"/>
                        <a:pt x="209" y="259"/>
                      </a:cubicBezTo>
                      <a:cubicBezTo>
                        <a:pt x="207" y="256"/>
                        <a:pt x="216" y="252"/>
                        <a:pt x="219" y="252"/>
                      </a:cubicBezTo>
                      <a:cubicBezTo>
                        <a:pt x="221" y="253"/>
                        <a:pt x="220" y="249"/>
                        <a:pt x="216" y="246"/>
                      </a:cubicBezTo>
                      <a:cubicBezTo>
                        <a:pt x="211" y="243"/>
                        <a:pt x="202" y="241"/>
                        <a:pt x="202" y="243"/>
                      </a:cubicBezTo>
                      <a:cubicBezTo>
                        <a:pt x="203" y="245"/>
                        <a:pt x="197" y="243"/>
                        <a:pt x="191" y="242"/>
                      </a:cubicBezTo>
                      <a:cubicBezTo>
                        <a:pt x="184" y="241"/>
                        <a:pt x="183" y="238"/>
                        <a:pt x="179" y="238"/>
                      </a:cubicBezTo>
                      <a:cubicBezTo>
                        <a:pt x="175" y="238"/>
                        <a:pt x="168" y="237"/>
                        <a:pt x="163" y="233"/>
                      </a:cubicBezTo>
                      <a:cubicBezTo>
                        <a:pt x="158" y="229"/>
                        <a:pt x="146" y="230"/>
                        <a:pt x="145" y="234"/>
                      </a:cubicBezTo>
                      <a:cubicBezTo>
                        <a:pt x="144" y="237"/>
                        <a:pt x="140" y="237"/>
                        <a:pt x="136" y="237"/>
                      </a:cubicBezTo>
                      <a:cubicBezTo>
                        <a:pt x="132" y="237"/>
                        <a:pt x="138" y="233"/>
                        <a:pt x="136" y="232"/>
                      </a:cubicBezTo>
                      <a:cubicBezTo>
                        <a:pt x="134" y="231"/>
                        <a:pt x="136" y="226"/>
                        <a:pt x="133" y="226"/>
                      </a:cubicBezTo>
                      <a:cubicBezTo>
                        <a:pt x="131" y="225"/>
                        <a:pt x="128" y="237"/>
                        <a:pt x="123" y="237"/>
                      </a:cubicBezTo>
                      <a:cubicBezTo>
                        <a:pt x="117" y="237"/>
                        <a:pt x="115" y="224"/>
                        <a:pt x="110" y="221"/>
                      </a:cubicBezTo>
                      <a:cubicBezTo>
                        <a:pt x="106" y="218"/>
                        <a:pt x="102" y="217"/>
                        <a:pt x="106" y="222"/>
                      </a:cubicBezTo>
                      <a:cubicBezTo>
                        <a:pt x="109" y="227"/>
                        <a:pt x="102" y="224"/>
                        <a:pt x="103" y="227"/>
                      </a:cubicBezTo>
                      <a:cubicBezTo>
                        <a:pt x="103" y="230"/>
                        <a:pt x="97" y="234"/>
                        <a:pt x="97" y="232"/>
                      </a:cubicBezTo>
                      <a:cubicBezTo>
                        <a:pt x="97" y="230"/>
                        <a:pt x="93" y="228"/>
                        <a:pt x="89" y="233"/>
                      </a:cubicBezTo>
                      <a:cubicBezTo>
                        <a:pt x="85" y="238"/>
                        <a:pt x="82" y="238"/>
                        <a:pt x="81" y="236"/>
                      </a:cubicBezTo>
                      <a:cubicBezTo>
                        <a:pt x="81" y="234"/>
                        <a:pt x="68" y="241"/>
                        <a:pt x="69" y="243"/>
                      </a:cubicBezTo>
                      <a:cubicBezTo>
                        <a:pt x="69" y="245"/>
                        <a:pt x="67" y="246"/>
                        <a:pt x="64" y="246"/>
                      </a:cubicBezTo>
                      <a:cubicBezTo>
                        <a:pt x="60" y="246"/>
                        <a:pt x="63" y="243"/>
                        <a:pt x="66" y="242"/>
                      </a:cubicBezTo>
                      <a:cubicBezTo>
                        <a:pt x="69" y="240"/>
                        <a:pt x="77" y="234"/>
                        <a:pt x="81" y="233"/>
                      </a:cubicBezTo>
                      <a:cubicBezTo>
                        <a:pt x="85" y="232"/>
                        <a:pt x="94" y="229"/>
                        <a:pt x="94" y="227"/>
                      </a:cubicBezTo>
                      <a:cubicBezTo>
                        <a:pt x="94" y="225"/>
                        <a:pt x="90" y="226"/>
                        <a:pt x="87" y="226"/>
                      </a:cubicBezTo>
                      <a:cubicBezTo>
                        <a:pt x="84" y="225"/>
                        <a:pt x="79" y="229"/>
                        <a:pt x="74" y="231"/>
                      </a:cubicBezTo>
                      <a:cubicBezTo>
                        <a:pt x="69" y="233"/>
                        <a:pt x="64" y="232"/>
                        <a:pt x="65" y="235"/>
                      </a:cubicBezTo>
                      <a:cubicBezTo>
                        <a:pt x="67" y="238"/>
                        <a:pt x="61" y="235"/>
                        <a:pt x="59" y="237"/>
                      </a:cubicBezTo>
                      <a:cubicBezTo>
                        <a:pt x="58" y="239"/>
                        <a:pt x="56" y="236"/>
                        <a:pt x="58" y="235"/>
                      </a:cubicBezTo>
                      <a:cubicBezTo>
                        <a:pt x="59" y="234"/>
                        <a:pt x="53" y="232"/>
                        <a:pt x="53" y="234"/>
                      </a:cubicBezTo>
                      <a:cubicBezTo>
                        <a:pt x="53" y="235"/>
                        <a:pt x="52" y="236"/>
                        <a:pt x="48" y="236"/>
                      </a:cubicBezTo>
                      <a:cubicBezTo>
                        <a:pt x="44" y="236"/>
                        <a:pt x="39" y="239"/>
                        <a:pt x="42" y="242"/>
                      </a:cubicBezTo>
                      <a:cubicBezTo>
                        <a:pt x="45" y="244"/>
                        <a:pt x="47" y="245"/>
                        <a:pt x="46" y="246"/>
                      </a:cubicBezTo>
                      <a:cubicBezTo>
                        <a:pt x="44" y="248"/>
                        <a:pt x="40" y="242"/>
                        <a:pt x="33" y="243"/>
                      </a:cubicBezTo>
                      <a:cubicBezTo>
                        <a:pt x="27" y="244"/>
                        <a:pt x="15" y="236"/>
                        <a:pt x="15" y="234"/>
                      </a:cubicBezTo>
                      <a:cubicBezTo>
                        <a:pt x="15" y="233"/>
                        <a:pt x="6" y="234"/>
                        <a:pt x="0" y="233"/>
                      </a:cubicBezTo>
                      <a:cubicBezTo>
                        <a:pt x="0" y="356"/>
                        <a:pt x="0" y="356"/>
                        <a:pt x="0" y="356"/>
                      </a:cubicBezTo>
                      <a:cubicBezTo>
                        <a:pt x="0" y="356"/>
                        <a:pt x="3" y="359"/>
                        <a:pt x="4" y="357"/>
                      </a:cubicBezTo>
                      <a:cubicBezTo>
                        <a:pt x="5" y="356"/>
                        <a:pt x="7" y="358"/>
                        <a:pt x="11" y="356"/>
                      </a:cubicBezTo>
                      <a:cubicBezTo>
                        <a:pt x="16" y="354"/>
                        <a:pt x="17" y="358"/>
                        <a:pt x="17" y="360"/>
                      </a:cubicBezTo>
                      <a:cubicBezTo>
                        <a:pt x="17" y="362"/>
                        <a:pt x="23" y="365"/>
                        <a:pt x="25" y="368"/>
                      </a:cubicBezTo>
                      <a:cubicBezTo>
                        <a:pt x="27" y="371"/>
                        <a:pt x="29" y="374"/>
                        <a:pt x="31" y="372"/>
                      </a:cubicBezTo>
                      <a:cubicBezTo>
                        <a:pt x="34" y="370"/>
                        <a:pt x="39" y="369"/>
                        <a:pt x="39" y="366"/>
                      </a:cubicBezTo>
                      <a:cubicBezTo>
                        <a:pt x="39" y="363"/>
                        <a:pt x="50" y="363"/>
                        <a:pt x="50" y="367"/>
                      </a:cubicBezTo>
                      <a:cubicBezTo>
                        <a:pt x="50" y="371"/>
                        <a:pt x="61" y="376"/>
                        <a:pt x="67" y="386"/>
                      </a:cubicBezTo>
                      <a:cubicBezTo>
                        <a:pt x="73" y="397"/>
                        <a:pt x="72" y="400"/>
                        <a:pt x="81" y="403"/>
                      </a:cubicBezTo>
                      <a:cubicBezTo>
                        <a:pt x="90" y="407"/>
                        <a:pt x="90" y="409"/>
                        <a:pt x="89" y="412"/>
                      </a:cubicBezTo>
                      <a:cubicBezTo>
                        <a:pt x="88" y="415"/>
                        <a:pt x="94" y="417"/>
                        <a:pt x="90" y="419"/>
                      </a:cubicBezTo>
                      <a:cubicBezTo>
                        <a:pt x="89" y="420"/>
                        <a:pt x="87" y="422"/>
                        <a:pt x="85" y="423"/>
                      </a:cubicBezTo>
                      <a:cubicBezTo>
                        <a:pt x="85" y="425"/>
                        <a:pt x="87" y="426"/>
                        <a:pt x="88" y="427"/>
                      </a:cubicBezTo>
                      <a:cubicBezTo>
                        <a:pt x="90" y="429"/>
                        <a:pt x="84" y="429"/>
                        <a:pt x="86" y="431"/>
                      </a:cubicBezTo>
                      <a:cubicBezTo>
                        <a:pt x="88" y="432"/>
                        <a:pt x="86" y="435"/>
                        <a:pt x="88" y="437"/>
                      </a:cubicBezTo>
                      <a:cubicBezTo>
                        <a:pt x="89" y="439"/>
                        <a:pt x="93" y="438"/>
                        <a:pt x="95" y="436"/>
                      </a:cubicBezTo>
                      <a:cubicBezTo>
                        <a:pt x="97" y="435"/>
                        <a:pt x="98" y="438"/>
                        <a:pt x="96" y="441"/>
                      </a:cubicBezTo>
                      <a:cubicBezTo>
                        <a:pt x="95" y="444"/>
                        <a:pt x="98" y="446"/>
                        <a:pt x="100" y="444"/>
                      </a:cubicBezTo>
                      <a:cubicBezTo>
                        <a:pt x="101" y="442"/>
                        <a:pt x="105" y="447"/>
                        <a:pt x="106" y="448"/>
                      </a:cubicBezTo>
                      <a:cubicBezTo>
                        <a:pt x="108" y="449"/>
                        <a:pt x="110" y="451"/>
                        <a:pt x="107" y="451"/>
                      </a:cubicBezTo>
                      <a:cubicBezTo>
                        <a:pt x="104" y="451"/>
                        <a:pt x="105" y="456"/>
                        <a:pt x="107" y="456"/>
                      </a:cubicBezTo>
                      <a:cubicBezTo>
                        <a:pt x="109" y="456"/>
                        <a:pt x="108" y="459"/>
                        <a:pt x="108" y="460"/>
                      </a:cubicBezTo>
                      <a:cubicBezTo>
                        <a:pt x="108" y="462"/>
                        <a:pt x="115" y="464"/>
                        <a:pt x="117" y="464"/>
                      </a:cubicBezTo>
                      <a:cubicBezTo>
                        <a:pt x="119" y="463"/>
                        <a:pt x="121" y="465"/>
                        <a:pt x="122" y="467"/>
                      </a:cubicBezTo>
                      <a:cubicBezTo>
                        <a:pt x="123" y="469"/>
                        <a:pt x="128" y="470"/>
                        <a:pt x="129" y="469"/>
                      </a:cubicBezTo>
                      <a:cubicBezTo>
                        <a:pt x="131" y="468"/>
                        <a:pt x="132" y="471"/>
                        <a:pt x="132" y="474"/>
                      </a:cubicBezTo>
                      <a:cubicBezTo>
                        <a:pt x="133" y="476"/>
                        <a:pt x="136" y="475"/>
                        <a:pt x="138" y="475"/>
                      </a:cubicBezTo>
                      <a:cubicBezTo>
                        <a:pt x="141" y="475"/>
                        <a:pt x="142" y="478"/>
                        <a:pt x="143" y="477"/>
                      </a:cubicBezTo>
                      <a:cubicBezTo>
                        <a:pt x="146" y="476"/>
                        <a:pt x="147" y="481"/>
                        <a:pt x="149" y="485"/>
                      </a:cubicBezTo>
                      <a:cubicBezTo>
                        <a:pt x="371" y="484"/>
                        <a:pt x="371" y="484"/>
                        <a:pt x="371" y="484"/>
                      </a:cubicBezTo>
                      <a:cubicBezTo>
                        <a:pt x="371" y="484"/>
                        <a:pt x="371" y="478"/>
                        <a:pt x="374" y="480"/>
                      </a:cubicBezTo>
                      <a:cubicBezTo>
                        <a:pt x="376" y="482"/>
                        <a:pt x="374" y="485"/>
                        <a:pt x="377" y="486"/>
                      </a:cubicBezTo>
                      <a:cubicBezTo>
                        <a:pt x="380" y="487"/>
                        <a:pt x="382" y="489"/>
                        <a:pt x="384" y="488"/>
                      </a:cubicBezTo>
                      <a:cubicBezTo>
                        <a:pt x="386" y="488"/>
                        <a:pt x="389" y="485"/>
                        <a:pt x="391" y="489"/>
                      </a:cubicBezTo>
                      <a:cubicBezTo>
                        <a:pt x="394" y="492"/>
                        <a:pt x="396" y="489"/>
                        <a:pt x="398" y="491"/>
                      </a:cubicBezTo>
                      <a:cubicBezTo>
                        <a:pt x="400" y="493"/>
                        <a:pt x="403" y="495"/>
                        <a:pt x="405" y="493"/>
                      </a:cubicBezTo>
                      <a:cubicBezTo>
                        <a:pt x="407" y="490"/>
                        <a:pt x="413" y="493"/>
                        <a:pt x="417" y="494"/>
                      </a:cubicBezTo>
                      <a:cubicBezTo>
                        <a:pt x="420" y="491"/>
                        <a:pt x="424" y="484"/>
                        <a:pt x="427" y="484"/>
                      </a:cubicBezTo>
                      <a:cubicBezTo>
                        <a:pt x="432" y="484"/>
                        <a:pt x="443" y="485"/>
                        <a:pt x="444" y="491"/>
                      </a:cubicBezTo>
                      <a:cubicBezTo>
                        <a:pt x="445" y="498"/>
                        <a:pt x="452" y="492"/>
                        <a:pt x="453" y="498"/>
                      </a:cubicBezTo>
                      <a:cubicBezTo>
                        <a:pt x="453" y="502"/>
                        <a:pt x="458" y="506"/>
                        <a:pt x="457" y="509"/>
                      </a:cubicBezTo>
                      <a:cubicBezTo>
                        <a:pt x="459" y="510"/>
                        <a:pt x="460" y="511"/>
                        <a:pt x="462" y="512"/>
                      </a:cubicBezTo>
                      <a:cubicBezTo>
                        <a:pt x="464" y="511"/>
                        <a:pt x="470" y="512"/>
                        <a:pt x="474" y="514"/>
                      </a:cubicBezTo>
                      <a:cubicBezTo>
                        <a:pt x="479" y="515"/>
                        <a:pt x="487" y="511"/>
                        <a:pt x="489" y="517"/>
                      </a:cubicBezTo>
                      <a:cubicBezTo>
                        <a:pt x="492" y="524"/>
                        <a:pt x="497" y="528"/>
                        <a:pt x="492" y="529"/>
                      </a:cubicBezTo>
                      <a:cubicBezTo>
                        <a:pt x="487" y="529"/>
                        <a:pt x="481" y="522"/>
                        <a:pt x="482" y="526"/>
                      </a:cubicBezTo>
                      <a:cubicBezTo>
                        <a:pt x="482" y="530"/>
                        <a:pt x="479" y="528"/>
                        <a:pt x="479" y="533"/>
                      </a:cubicBezTo>
                      <a:cubicBezTo>
                        <a:pt x="479" y="539"/>
                        <a:pt x="476" y="546"/>
                        <a:pt x="473" y="546"/>
                      </a:cubicBezTo>
                      <a:cubicBezTo>
                        <a:pt x="473" y="546"/>
                        <a:pt x="473" y="546"/>
                        <a:pt x="473" y="546"/>
                      </a:cubicBezTo>
                      <a:cubicBezTo>
                        <a:pt x="473" y="548"/>
                        <a:pt x="473" y="550"/>
                        <a:pt x="474" y="552"/>
                      </a:cubicBezTo>
                      <a:cubicBezTo>
                        <a:pt x="477" y="550"/>
                        <a:pt x="481" y="547"/>
                        <a:pt x="484" y="547"/>
                      </a:cubicBezTo>
                      <a:cubicBezTo>
                        <a:pt x="490" y="547"/>
                        <a:pt x="491" y="550"/>
                        <a:pt x="495" y="548"/>
                      </a:cubicBezTo>
                      <a:cubicBezTo>
                        <a:pt x="498" y="545"/>
                        <a:pt x="499" y="544"/>
                        <a:pt x="500" y="546"/>
                      </a:cubicBezTo>
                      <a:cubicBezTo>
                        <a:pt x="500" y="546"/>
                        <a:pt x="500" y="547"/>
                        <a:pt x="500" y="547"/>
                      </a:cubicBezTo>
                      <a:cubicBezTo>
                        <a:pt x="501" y="546"/>
                        <a:pt x="502" y="545"/>
                        <a:pt x="502" y="545"/>
                      </a:cubicBezTo>
                      <a:cubicBezTo>
                        <a:pt x="502" y="544"/>
                        <a:pt x="502" y="543"/>
                        <a:pt x="502" y="542"/>
                      </a:cubicBezTo>
                      <a:cubicBezTo>
                        <a:pt x="498" y="542"/>
                        <a:pt x="497" y="542"/>
                        <a:pt x="496" y="540"/>
                      </a:cubicBezTo>
                      <a:cubicBezTo>
                        <a:pt x="494" y="536"/>
                        <a:pt x="507" y="533"/>
                        <a:pt x="512" y="534"/>
                      </a:cubicBezTo>
                      <a:cubicBezTo>
                        <a:pt x="518" y="534"/>
                        <a:pt x="521" y="530"/>
                        <a:pt x="523" y="533"/>
                      </a:cubicBezTo>
                      <a:cubicBezTo>
                        <a:pt x="527" y="530"/>
                        <a:pt x="533" y="525"/>
                        <a:pt x="534" y="525"/>
                      </a:cubicBezTo>
                      <a:cubicBezTo>
                        <a:pt x="536" y="525"/>
                        <a:pt x="562" y="524"/>
                        <a:pt x="562" y="524"/>
                      </a:cubicBezTo>
                      <a:cubicBezTo>
                        <a:pt x="562" y="524"/>
                        <a:pt x="571" y="519"/>
                        <a:pt x="572" y="514"/>
                      </a:cubicBezTo>
                      <a:cubicBezTo>
                        <a:pt x="573" y="509"/>
                        <a:pt x="579" y="497"/>
                        <a:pt x="582" y="500"/>
                      </a:cubicBezTo>
                      <a:cubicBezTo>
                        <a:pt x="585" y="502"/>
                        <a:pt x="592" y="500"/>
                        <a:pt x="593" y="503"/>
                      </a:cubicBezTo>
                      <a:cubicBezTo>
                        <a:pt x="593" y="505"/>
                        <a:pt x="590" y="513"/>
                        <a:pt x="599" y="525"/>
                      </a:cubicBezTo>
                      <a:cubicBezTo>
                        <a:pt x="603" y="523"/>
                        <a:pt x="606" y="521"/>
                        <a:pt x="608" y="522"/>
                      </a:cubicBezTo>
                      <a:cubicBezTo>
                        <a:pt x="611" y="522"/>
                        <a:pt x="616" y="517"/>
                        <a:pt x="617" y="515"/>
                      </a:cubicBezTo>
                      <a:cubicBezTo>
                        <a:pt x="619" y="512"/>
                        <a:pt x="621" y="517"/>
                        <a:pt x="618" y="518"/>
                      </a:cubicBezTo>
                      <a:cubicBezTo>
                        <a:pt x="615" y="519"/>
                        <a:pt x="620" y="521"/>
                        <a:pt x="625" y="521"/>
                      </a:cubicBezTo>
                      <a:cubicBezTo>
                        <a:pt x="630" y="521"/>
                        <a:pt x="623" y="523"/>
                        <a:pt x="619" y="523"/>
                      </a:cubicBezTo>
                      <a:cubicBezTo>
                        <a:pt x="615" y="522"/>
                        <a:pt x="614" y="523"/>
                        <a:pt x="609" y="528"/>
                      </a:cubicBezTo>
                      <a:cubicBezTo>
                        <a:pt x="604" y="533"/>
                        <a:pt x="605" y="534"/>
                        <a:pt x="608" y="537"/>
                      </a:cubicBezTo>
                      <a:cubicBezTo>
                        <a:pt x="611" y="539"/>
                        <a:pt x="614" y="538"/>
                        <a:pt x="618" y="535"/>
                      </a:cubicBezTo>
                      <a:cubicBezTo>
                        <a:pt x="622" y="532"/>
                        <a:pt x="622" y="528"/>
                        <a:pt x="626" y="528"/>
                      </a:cubicBezTo>
                      <a:cubicBezTo>
                        <a:pt x="630" y="529"/>
                        <a:pt x="640" y="525"/>
                        <a:pt x="645" y="523"/>
                      </a:cubicBezTo>
                      <a:cubicBezTo>
                        <a:pt x="649" y="522"/>
                        <a:pt x="646" y="521"/>
                        <a:pt x="646" y="519"/>
                      </a:cubicBezTo>
                      <a:cubicBezTo>
                        <a:pt x="646" y="517"/>
                        <a:pt x="654" y="517"/>
                        <a:pt x="657" y="515"/>
                      </a:cubicBezTo>
                      <a:cubicBezTo>
                        <a:pt x="660" y="513"/>
                        <a:pt x="656" y="512"/>
                        <a:pt x="654" y="512"/>
                      </a:cubicBezTo>
                      <a:close/>
                      <a:moveTo>
                        <a:pt x="190" y="281"/>
                      </a:moveTo>
                      <a:cubicBezTo>
                        <a:pt x="185" y="287"/>
                        <a:pt x="183" y="288"/>
                        <a:pt x="179" y="287"/>
                      </a:cubicBezTo>
                      <a:cubicBezTo>
                        <a:pt x="174" y="286"/>
                        <a:pt x="171" y="288"/>
                        <a:pt x="173" y="290"/>
                      </a:cubicBezTo>
                      <a:cubicBezTo>
                        <a:pt x="176" y="292"/>
                        <a:pt x="176" y="293"/>
                        <a:pt x="171" y="294"/>
                      </a:cubicBezTo>
                      <a:cubicBezTo>
                        <a:pt x="166" y="295"/>
                        <a:pt x="163" y="299"/>
                        <a:pt x="161" y="299"/>
                      </a:cubicBezTo>
                      <a:cubicBezTo>
                        <a:pt x="159" y="298"/>
                        <a:pt x="169" y="291"/>
                        <a:pt x="166" y="289"/>
                      </a:cubicBezTo>
                      <a:cubicBezTo>
                        <a:pt x="164" y="287"/>
                        <a:pt x="157" y="292"/>
                        <a:pt x="157" y="295"/>
                      </a:cubicBezTo>
                      <a:cubicBezTo>
                        <a:pt x="157" y="297"/>
                        <a:pt x="152" y="297"/>
                        <a:pt x="150" y="297"/>
                      </a:cubicBezTo>
                      <a:cubicBezTo>
                        <a:pt x="147" y="297"/>
                        <a:pt x="143" y="294"/>
                        <a:pt x="146" y="294"/>
                      </a:cubicBezTo>
                      <a:cubicBezTo>
                        <a:pt x="149" y="294"/>
                        <a:pt x="147" y="291"/>
                        <a:pt x="151" y="289"/>
                      </a:cubicBezTo>
                      <a:cubicBezTo>
                        <a:pt x="154" y="288"/>
                        <a:pt x="150" y="286"/>
                        <a:pt x="151" y="284"/>
                      </a:cubicBezTo>
                      <a:cubicBezTo>
                        <a:pt x="152" y="283"/>
                        <a:pt x="160" y="286"/>
                        <a:pt x="160" y="283"/>
                      </a:cubicBezTo>
                      <a:cubicBezTo>
                        <a:pt x="160" y="280"/>
                        <a:pt x="152" y="278"/>
                        <a:pt x="150" y="280"/>
                      </a:cubicBezTo>
                      <a:cubicBezTo>
                        <a:pt x="147" y="281"/>
                        <a:pt x="141" y="285"/>
                        <a:pt x="134" y="282"/>
                      </a:cubicBezTo>
                      <a:cubicBezTo>
                        <a:pt x="132" y="281"/>
                        <a:pt x="152" y="279"/>
                        <a:pt x="156" y="276"/>
                      </a:cubicBezTo>
                      <a:cubicBezTo>
                        <a:pt x="159" y="273"/>
                        <a:pt x="174" y="269"/>
                        <a:pt x="175" y="272"/>
                      </a:cubicBezTo>
                      <a:cubicBezTo>
                        <a:pt x="177" y="275"/>
                        <a:pt x="167" y="277"/>
                        <a:pt x="172" y="279"/>
                      </a:cubicBezTo>
                      <a:cubicBezTo>
                        <a:pt x="176" y="282"/>
                        <a:pt x="184" y="280"/>
                        <a:pt x="185" y="277"/>
                      </a:cubicBezTo>
                      <a:cubicBezTo>
                        <a:pt x="187" y="275"/>
                        <a:pt x="194" y="275"/>
                        <a:pt x="190" y="281"/>
                      </a:cubicBezTo>
                      <a:close/>
                      <a:moveTo>
                        <a:pt x="235" y="338"/>
                      </a:moveTo>
                      <a:cubicBezTo>
                        <a:pt x="229" y="343"/>
                        <a:pt x="230" y="342"/>
                        <a:pt x="225" y="343"/>
                      </a:cubicBezTo>
                      <a:cubicBezTo>
                        <a:pt x="220" y="343"/>
                        <a:pt x="224" y="348"/>
                        <a:pt x="218" y="349"/>
                      </a:cubicBezTo>
                      <a:cubicBezTo>
                        <a:pt x="212" y="349"/>
                        <a:pt x="198" y="350"/>
                        <a:pt x="196" y="346"/>
                      </a:cubicBezTo>
                      <a:cubicBezTo>
                        <a:pt x="196" y="345"/>
                        <a:pt x="204" y="346"/>
                        <a:pt x="204" y="344"/>
                      </a:cubicBezTo>
                      <a:cubicBezTo>
                        <a:pt x="205" y="341"/>
                        <a:pt x="207" y="338"/>
                        <a:pt x="211" y="338"/>
                      </a:cubicBezTo>
                      <a:cubicBezTo>
                        <a:pt x="214" y="338"/>
                        <a:pt x="214" y="333"/>
                        <a:pt x="208" y="330"/>
                      </a:cubicBezTo>
                      <a:cubicBezTo>
                        <a:pt x="202" y="327"/>
                        <a:pt x="217" y="325"/>
                        <a:pt x="220" y="330"/>
                      </a:cubicBezTo>
                      <a:cubicBezTo>
                        <a:pt x="223" y="334"/>
                        <a:pt x="229" y="338"/>
                        <a:pt x="232" y="334"/>
                      </a:cubicBezTo>
                      <a:cubicBezTo>
                        <a:pt x="235" y="331"/>
                        <a:pt x="254" y="322"/>
                        <a:pt x="254" y="326"/>
                      </a:cubicBezTo>
                      <a:cubicBezTo>
                        <a:pt x="254" y="331"/>
                        <a:pt x="240" y="333"/>
                        <a:pt x="235" y="338"/>
                      </a:cubicBezTo>
                      <a:close/>
                      <a:moveTo>
                        <a:pt x="359" y="468"/>
                      </a:moveTo>
                      <a:cubicBezTo>
                        <a:pt x="355" y="468"/>
                        <a:pt x="359" y="458"/>
                        <a:pt x="352" y="454"/>
                      </a:cubicBezTo>
                      <a:cubicBezTo>
                        <a:pt x="344" y="449"/>
                        <a:pt x="340" y="440"/>
                        <a:pt x="340" y="436"/>
                      </a:cubicBezTo>
                      <a:cubicBezTo>
                        <a:pt x="340" y="431"/>
                        <a:pt x="347" y="429"/>
                        <a:pt x="350" y="433"/>
                      </a:cubicBezTo>
                      <a:cubicBezTo>
                        <a:pt x="353" y="436"/>
                        <a:pt x="357" y="451"/>
                        <a:pt x="360" y="455"/>
                      </a:cubicBezTo>
                      <a:cubicBezTo>
                        <a:pt x="362" y="460"/>
                        <a:pt x="362" y="468"/>
                        <a:pt x="359" y="46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6" name="Freeform 119">
                  <a:extLst>
                    <a:ext uri="{FF2B5EF4-FFF2-40B4-BE49-F238E27FC236}">
                      <a16:creationId xmlns:a16="http://schemas.microsoft.com/office/drawing/2014/main" id="{E8272E27-2228-4648-811B-A8379A76CC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9432366" y="-12868773"/>
                  <a:ext cx="5049679" cy="3434561"/>
                </a:xfrm>
                <a:custGeom>
                  <a:avLst/>
                  <a:gdLst>
                    <a:gd name="T0" fmla="*/ 249 w 817"/>
                    <a:gd name="T1" fmla="*/ 164 h 556"/>
                    <a:gd name="T2" fmla="*/ 218 w 817"/>
                    <a:gd name="T3" fmla="*/ 25 h 556"/>
                    <a:gd name="T4" fmla="*/ 132 w 817"/>
                    <a:gd name="T5" fmla="*/ 15 h 556"/>
                    <a:gd name="T6" fmla="*/ 96 w 817"/>
                    <a:gd name="T7" fmla="*/ 8 h 556"/>
                    <a:gd name="T8" fmla="*/ 66 w 817"/>
                    <a:gd name="T9" fmla="*/ 15 h 556"/>
                    <a:gd name="T10" fmla="*/ 13 w 817"/>
                    <a:gd name="T11" fmla="*/ 42 h 556"/>
                    <a:gd name="T12" fmla="*/ 50 w 817"/>
                    <a:gd name="T13" fmla="*/ 74 h 556"/>
                    <a:gd name="T14" fmla="*/ 12 w 817"/>
                    <a:gd name="T15" fmla="*/ 76 h 556"/>
                    <a:gd name="T16" fmla="*/ 42 w 817"/>
                    <a:gd name="T17" fmla="*/ 97 h 556"/>
                    <a:gd name="T18" fmla="*/ 30 w 817"/>
                    <a:gd name="T19" fmla="*/ 113 h 556"/>
                    <a:gd name="T20" fmla="*/ 32 w 817"/>
                    <a:gd name="T21" fmla="*/ 156 h 556"/>
                    <a:gd name="T22" fmla="*/ 68 w 817"/>
                    <a:gd name="T23" fmla="*/ 168 h 556"/>
                    <a:gd name="T24" fmla="*/ 72 w 817"/>
                    <a:gd name="T25" fmla="*/ 192 h 556"/>
                    <a:gd name="T26" fmla="*/ 60 w 817"/>
                    <a:gd name="T27" fmla="*/ 205 h 556"/>
                    <a:gd name="T28" fmla="*/ 104 w 817"/>
                    <a:gd name="T29" fmla="*/ 178 h 556"/>
                    <a:gd name="T30" fmla="*/ 123 w 817"/>
                    <a:gd name="T31" fmla="*/ 152 h 556"/>
                    <a:gd name="T32" fmla="*/ 136 w 817"/>
                    <a:gd name="T33" fmla="*/ 143 h 556"/>
                    <a:gd name="T34" fmla="*/ 161 w 817"/>
                    <a:gd name="T35" fmla="*/ 154 h 556"/>
                    <a:gd name="T36" fmla="*/ 177 w 817"/>
                    <a:gd name="T37" fmla="*/ 144 h 556"/>
                    <a:gd name="T38" fmla="*/ 196 w 817"/>
                    <a:gd name="T39" fmla="*/ 152 h 556"/>
                    <a:gd name="T40" fmla="*/ 242 w 817"/>
                    <a:gd name="T41" fmla="*/ 166 h 556"/>
                    <a:gd name="T42" fmla="*/ 267 w 817"/>
                    <a:gd name="T43" fmla="*/ 177 h 556"/>
                    <a:gd name="T44" fmla="*/ 268 w 817"/>
                    <a:gd name="T45" fmla="*/ 187 h 556"/>
                    <a:gd name="T46" fmla="*/ 277 w 817"/>
                    <a:gd name="T47" fmla="*/ 188 h 556"/>
                    <a:gd name="T48" fmla="*/ 285 w 817"/>
                    <a:gd name="T49" fmla="*/ 196 h 556"/>
                    <a:gd name="T50" fmla="*/ 282 w 817"/>
                    <a:gd name="T51" fmla="*/ 214 h 556"/>
                    <a:gd name="T52" fmla="*/ 300 w 817"/>
                    <a:gd name="T53" fmla="*/ 214 h 556"/>
                    <a:gd name="T54" fmla="*/ 10 w 817"/>
                    <a:gd name="T55" fmla="*/ 223 h 556"/>
                    <a:gd name="T56" fmla="*/ 127 w 817"/>
                    <a:gd name="T57" fmla="*/ 171 h 556"/>
                    <a:gd name="T58" fmla="*/ 126 w 817"/>
                    <a:gd name="T59" fmla="*/ 183 h 556"/>
                    <a:gd name="T60" fmla="*/ 17 w 817"/>
                    <a:gd name="T61" fmla="*/ 156 h 556"/>
                    <a:gd name="T62" fmla="*/ 100 w 817"/>
                    <a:gd name="T63" fmla="*/ 544 h 556"/>
                    <a:gd name="T64" fmla="*/ 66 w 817"/>
                    <a:gd name="T65" fmla="*/ 528 h 556"/>
                    <a:gd name="T66" fmla="*/ 790 w 817"/>
                    <a:gd name="T67" fmla="*/ 306 h 556"/>
                    <a:gd name="T68" fmla="*/ 720 w 817"/>
                    <a:gd name="T69" fmla="*/ 334 h 556"/>
                    <a:gd name="T70" fmla="*/ 692 w 817"/>
                    <a:gd name="T71" fmla="*/ 344 h 556"/>
                    <a:gd name="T72" fmla="*/ 662 w 817"/>
                    <a:gd name="T73" fmla="*/ 319 h 556"/>
                    <a:gd name="T74" fmla="*/ 679 w 817"/>
                    <a:gd name="T75" fmla="*/ 305 h 556"/>
                    <a:gd name="T76" fmla="*/ 646 w 817"/>
                    <a:gd name="T77" fmla="*/ 297 h 556"/>
                    <a:gd name="T78" fmla="*/ 623 w 817"/>
                    <a:gd name="T79" fmla="*/ 285 h 556"/>
                    <a:gd name="T80" fmla="*/ 589 w 817"/>
                    <a:gd name="T81" fmla="*/ 276 h 556"/>
                    <a:gd name="T82" fmla="*/ 365 w 817"/>
                    <a:gd name="T83" fmla="*/ 285 h 556"/>
                    <a:gd name="T84" fmla="*/ 359 w 817"/>
                    <a:gd name="T85" fmla="*/ 304 h 556"/>
                    <a:gd name="T86" fmla="*/ 360 w 817"/>
                    <a:gd name="T87" fmla="*/ 377 h 556"/>
                    <a:gd name="T88" fmla="*/ 387 w 817"/>
                    <a:gd name="T89" fmla="*/ 417 h 556"/>
                    <a:gd name="T90" fmla="*/ 440 w 817"/>
                    <a:gd name="T91" fmla="*/ 439 h 556"/>
                    <a:gd name="T92" fmla="*/ 513 w 817"/>
                    <a:gd name="T93" fmla="*/ 457 h 556"/>
                    <a:gd name="T94" fmla="*/ 556 w 817"/>
                    <a:gd name="T95" fmla="*/ 484 h 556"/>
                    <a:gd name="T96" fmla="*/ 578 w 817"/>
                    <a:gd name="T97" fmla="*/ 471 h 556"/>
                    <a:gd name="T98" fmla="*/ 608 w 817"/>
                    <a:gd name="T99" fmla="*/ 459 h 556"/>
                    <a:gd name="T100" fmla="*/ 635 w 817"/>
                    <a:gd name="T101" fmla="*/ 462 h 556"/>
                    <a:gd name="T102" fmla="*/ 668 w 817"/>
                    <a:gd name="T103" fmla="*/ 459 h 556"/>
                    <a:gd name="T104" fmla="*/ 696 w 817"/>
                    <a:gd name="T105" fmla="*/ 492 h 556"/>
                    <a:gd name="T106" fmla="*/ 699 w 817"/>
                    <a:gd name="T107" fmla="*/ 451 h 556"/>
                    <a:gd name="T108" fmla="*/ 737 w 817"/>
                    <a:gd name="T109" fmla="*/ 411 h 556"/>
                    <a:gd name="T110" fmla="*/ 741 w 817"/>
                    <a:gd name="T111" fmla="*/ 391 h 556"/>
                    <a:gd name="T112" fmla="*/ 744 w 817"/>
                    <a:gd name="T113" fmla="*/ 388 h 556"/>
                    <a:gd name="T114" fmla="*/ 764 w 817"/>
                    <a:gd name="T115" fmla="*/ 360 h 556"/>
                    <a:gd name="T116" fmla="*/ 785 w 817"/>
                    <a:gd name="T117" fmla="*/ 343 h 556"/>
                    <a:gd name="T118" fmla="*/ 817 w 817"/>
                    <a:gd name="T119" fmla="*/ 317 h 5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17" h="556">
                      <a:moveTo>
                        <a:pt x="307" y="204"/>
                      </a:moveTo>
                      <a:cubicBezTo>
                        <a:pt x="308" y="201"/>
                        <a:pt x="308" y="199"/>
                        <a:pt x="299" y="195"/>
                      </a:cubicBezTo>
                      <a:cubicBezTo>
                        <a:pt x="290" y="192"/>
                        <a:pt x="291" y="189"/>
                        <a:pt x="285" y="178"/>
                      </a:cubicBezTo>
                      <a:cubicBezTo>
                        <a:pt x="279" y="168"/>
                        <a:pt x="268" y="163"/>
                        <a:pt x="268" y="159"/>
                      </a:cubicBezTo>
                      <a:cubicBezTo>
                        <a:pt x="268" y="155"/>
                        <a:pt x="257" y="155"/>
                        <a:pt x="257" y="158"/>
                      </a:cubicBezTo>
                      <a:cubicBezTo>
                        <a:pt x="257" y="161"/>
                        <a:pt x="252" y="162"/>
                        <a:pt x="249" y="164"/>
                      </a:cubicBezTo>
                      <a:cubicBezTo>
                        <a:pt x="247" y="166"/>
                        <a:pt x="245" y="163"/>
                        <a:pt x="243" y="160"/>
                      </a:cubicBezTo>
                      <a:cubicBezTo>
                        <a:pt x="241" y="157"/>
                        <a:pt x="235" y="154"/>
                        <a:pt x="235" y="152"/>
                      </a:cubicBezTo>
                      <a:cubicBezTo>
                        <a:pt x="235" y="150"/>
                        <a:pt x="234" y="146"/>
                        <a:pt x="229" y="148"/>
                      </a:cubicBezTo>
                      <a:cubicBezTo>
                        <a:pt x="225" y="150"/>
                        <a:pt x="223" y="148"/>
                        <a:pt x="222" y="149"/>
                      </a:cubicBezTo>
                      <a:cubicBezTo>
                        <a:pt x="221" y="151"/>
                        <a:pt x="218" y="148"/>
                        <a:pt x="218" y="148"/>
                      </a:cubicBezTo>
                      <a:cubicBezTo>
                        <a:pt x="218" y="25"/>
                        <a:pt x="218" y="25"/>
                        <a:pt x="218" y="25"/>
                      </a:cubicBezTo>
                      <a:cubicBezTo>
                        <a:pt x="216" y="25"/>
                        <a:pt x="215" y="25"/>
                        <a:pt x="214" y="24"/>
                      </a:cubicBezTo>
                      <a:cubicBezTo>
                        <a:pt x="209" y="22"/>
                        <a:pt x="201" y="19"/>
                        <a:pt x="197" y="20"/>
                      </a:cubicBezTo>
                      <a:cubicBezTo>
                        <a:pt x="193" y="21"/>
                        <a:pt x="185" y="22"/>
                        <a:pt x="182" y="20"/>
                      </a:cubicBezTo>
                      <a:cubicBezTo>
                        <a:pt x="179" y="19"/>
                        <a:pt x="175" y="18"/>
                        <a:pt x="169" y="18"/>
                      </a:cubicBezTo>
                      <a:cubicBezTo>
                        <a:pt x="163" y="19"/>
                        <a:pt x="160" y="15"/>
                        <a:pt x="152" y="13"/>
                      </a:cubicBezTo>
                      <a:cubicBezTo>
                        <a:pt x="145" y="12"/>
                        <a:pt x="134" y="14"/>
                        <a:pt x="132" y="15"/>
                      </a:cubicBezTo>
                      <a:cubicBezTo>
                        <a:pt x="129" y="16"/>
                        <a:pt x="130" y="12"/>
                        <a:pt x="127" y="13"/>
                      </a:cubicBezTo>
                      <a:cubicBezTo>
                        <a:pt x="123" y="13"/>
                        <a:pt x="126" y="11"/>
                        <a:pt x="124" y="8"/>
                      </a:cubicBezTo>
                      <a:cubicBezTo>
                        <a:pt x="122" y="6"/>
                        <a:pt x="113" y="8"/>
                        <a:pt x="110" y="9"/>
                      </a:cubicBezTo>
                      <a:cubicBezTo>
                        <a:pt x="107" y="9"/>
                        <a:pt x="106" y="7"/>
                        <a:pt x="106" y="5"/>
                      </a:cubicBezTo>
                      <a:cubicBezTo>
                        <a:pt x="106" y="4"/>
                        <a:pt x="103" y="4"/>
                        <a:pt x="102" y="6"/>
                      </a:cubicBezTo>
                      <a:cubicBezTo>
                        <a:pt x="101" y="9"/>
                        <a:pt x="97" y="9"/>
                        <a:pt x="96" y="8"/>
                      </a:cubicBezTo>
                      <a:cubicBezTo>
                        <a:pt x="94" y="6"/>
                        <a:pt x="99" y="6"/>
                        <a:pt x="99" y="4"/>
                      </a:cubicBezTo>
                      <a:cubicBezTo>
                        <a:pt x="99" y="2"/>
                        <a:pt x="94" y="1"/>
                        <a:pt x="93" y="1"/>
                      </a:cubicBezTo>
                      <a:cubicBezTo>
                        <a:pt x="91" y="0"/>
                        <a:pt x="88" y="3"/>
                        <a:pt x="84" y="6"/>
                      </a:cubicBezTo>
                      <a:cubicBezTo>
                        <a:pt x="81" y="9"/>
                        <a:pt x="75" y="9"/>
                        <a:pt x="72" y="9"/>
                      </a:cubicBezTo>
                      <a:cubicBezTo>
                        <a:pt x="68" y="8"/>
                        <a:pt x="64" y="9"/>
                        <a:pt x="64" y="11"/>
                      </a:cubicBezTo>
                      <a:cubicBezTo>
                        <a:pt x="64" y="13"/>
                        <a:pt x="68" y="13"/>
                        <a:pt x="66" y="15"/>
                      </a:cubicBezTo>
                      <a:cubicBezTo>
                        <a:pt x="63" y="18"/>
                        <a:pt x="63" y="12"/>
                        <a:pt x="60" y="15"/>
                      </a:cubicBezTo>
                      <a:cubicBezTo>
                        <a:pt x="58" y="17"/>
                        <a:pt x="50" y="17"/>
                        <a:pt x="48" y="17"/>
                      </a:cubicBezTo>
                      <a:cubicBezTo>
                        <a:pt x="47" y="16"/>
                        <a:pt x="41" y="23"/>
                        <a:pt x="39" y="25"/>
                      </a:cubicBezTo>
                      <a:cubicBezTo>
                        <a:pt x="37" y="26"/>
                        <a:pt x="40" y="28"/>
                        <a:pt x="35" y="33"/>
                      </a:cubicBezTo>
                      <a:cubicBezTo>
                        <a:pt x="31" y="38"/>
                        <a:pt x="18" y="37"/>
                        <a:pt x="15" y="37"/>
                      </a:cubicBezTo>
                      <a:cubicBezTo>
                        <a:pt x="12" y="37"/>
                        <a:pt x="14" y="40"/>
                        <a:pt x="13" y="42"/>
                      </a:cubicBezTo>
                      <a:cubicBezTo>
                        <a:pt x="12" y="44"/>
                        <a:pt x="15" y="46"/>
                        <a:pt x="22" y="48"/>
                      </a:cubicBezTo>
                      <a:cubicBezTo>
                        <a:pt x="29" y="50"/>
                        <a:pt x="34" y="60"/>
                        <a:pt x="35" y="62"/>
                      </a:cubicBezTo>
                      <a:cubicBezTo>
                        <a:pt x="36" y="64"/>
                        <a:pt x="45" y="62"/>
                        <a:pt x="49" y="62"/>
                      </a:cubicBezTo>
                      <a:cubicBezTo>
                        <a:pt x="52" y="63"/>
                        <a:pt x="48" y="68"/>
                        <a:pt x="51" y="69"/>
                      </a:cubicBezTo>
                      <a:cubicBezTo>
                        <a:pt x="54" y="71"/>
                        <a:pt x="59" y="69"/>
                        <a:pt x="60" y="71"/>
                      </a:cubicBezTo>
                      <a:cubicBezTo>
                        <a:pt x="61" y="74"/>
                        <a:pt x="54" y="71"/>
                        <a:pt x="50" y="74"/>
                      </a:cubicBezTo>
                      <a:cubicBezTo>
                        <a:pt x="47" y="76"/>
                        <a:pt x="45" y="78"/>
                        <a:pt x="43" y="76"/>
                      </a:cubicBezTo>
                      <a:cubicBezTo>
                        <a:pt x="42" y="74"/>
                        <a:pt x="36" y="75"/>
                        <a:pt x="33" y="75"/>
                      </a:cubicBezTo>
                      <a:cubicBezTo>
                        <a:pt x="30" y="76"/>
                        <a:pt x="33" y="72"/>
                        <a:pt x="33" y="70"/>
                      </a:cubicBezTo>
                      <a:cubicBezTo>
                        <a:pt x="33" y="68"/>
                        <a:pt x="29" y="67"/>
                        <a:pt x="23" y="70"/>
                      </a:cubicBezTo>
                      <a:cubicBezTo>
                        <a:pt x="17" y="74"/>
                        <a:pt x="19" y="72"/>
                        <a:pt x="19" y="75"/>
                      </a:cubicBezTo>
                      <a:cubicBezTo>
                        <a:pt x="18" y="78"/>
                        <a:pt x="15" y="73"/>
                        <a:pt x="12" y="76"/>
                      </a:cubicBezTo>
                      <a:cubicBezTo>
                        <a:pt x="8" y="78"/>
                        <a:pt x="2" y="80"/>
                        <a:pt x="1" y="82"/>
                      </a:cubicBezTo>
                      <a:cubicBezTo>
                        <a:pt x="0" y="84"/>
                        <a:pt x="9" y="86"/>
                        <a:pt x="12" y="87"/>
                      </a:cubicBezTo>
                      <a:cubicBezTo>
                        <a:pt x="16" y="87"/>
                        <a:pt x="8" y="90"/>
                        <a:pt x="11" y="90"/>
                      </a:cubicBezTo>
                      <a:cubicBezTo>
                        <a:pt x="14" y="91"/>
                        <a:pt x="13" y="94"/>
                        <a:pt x="17" y="96"/>
                      </a:cubicBezTo>
                      <a:cubicBezTo>
                        <a:pt x="22" y="99"/>
                        <a:pt x="32" y="96"/>
                        <a:pt x="34" y="96"/>
                      </a:cubicBezTo>
                      <a:cubicBezTo>
                        <a:pt x="37" y="96"/>
                        <a:pt x="39" y="100"/>
                        <a:pt x="42" y="97"/>
                      </a:cubicBezTo>
                      <a:cubicBezTo>
                        <a:pt x="44" y="95"/>
                        <a:pt x="52" y="89"/>
                        <a:pt x="56" y="92"/>
                      </a:cubicBezTo>
                      <a:cubicBezTo>
                        <a:pt x="60" y="96"/>
                        <a:pt x="51" y="95"/>
                        <a:pt x="53" y="98"/>
                      </a:cubicBezTo>
                      <a:cubicBezTo>
                        <a:pt x="56" y="100"/>
                        <a:pt x="58" y="106"/>
                        <a:pt x="54" y="108"/>
                      </a:cubicBezTo>
                      <a:cubicBezTo>
                        <a:pt x="50" y="111"/>
                        <a:pt x="47" y="109"/>
                        <a:pt x="45" y="109"/>
                      </a:cubicBezTo>
                      <a:cubicBezTo>
                        <a:pt x="42" y="109"/>
                        <a:pt x="44" y="113"/>
                        <a:pt x="40" y="116"/>
                      </a:cubicBezTo>
                      <a:cubicBezTo>
                        <a:pt x="37" y="118"/>
                        <a:pt x="34" y="113"/>
                        <a:pt x="30" y="113"/>
                      </a:cubicBezTo>
                      <a:cubicBezTo>
                        <a:pt x="26" y="113"/>
                        <a:pt x="27" y="118"/>
                        <a:pt x="27" y="121"/>
                      </a:cubicBezTo>
                      <a:cubicBezTo>
                        <a:pt x="27" y="124"/>
                        <a:pt x="20" y="121"/>
                        <a:pt x="19" y="127"/>
                      </a:cubicBezTo>
                      <a:cubicBezTo>
                        <a:pt x="17" y="133"/>
                        <a:pt x="10" y="128"/>
                        <a:pt x="15" y="134"/>
                      </a:cubicBezTo>
                      <a:cubicBezTo>
                        <a:pt x="19" y="140"/>
                        <a:pt x="19" y="136"/>
                        <a:pt x="22" y="139"/>
                      </a:cubicBezTo>
                      <a:cubicBezTo>
                        <a:pt x="26" y="141"/>
                        <a:pt x="18" y="146"/>
                        <a:pt x="22" y="147"/>
                      </a:cubicBezTo>
                      <a:cubicBezTo>
                        <a:pt x="25" y="147"/>
                        <a:pt x="29" y="154"/>
                        <a:pt x="32" y="156"/>
                      </a:cubicBezTo>
                      <a:cubicBezTo>
                        <a:pt x="34" y="158"/>
                        <a:pt x="38" y="155"/>
                        <a:pt x="41" y="155"/>
                      </a:cubicBezTo>
                      <a:cubicBezTo>
                        <a:pt x="45" y="154"/>
                        <a:pt x="43" y="149"/>
                        <a:pt x="45" y="151"/>
                      </a:cubicBezTo>
                      <a:cubicBezTo>
                        <a:pt x="48" y="153"/>
                        <a:pt x="51" y="159"/>
                        <a:pt x="49" y="160"/>
                      </a:cubicBezTo>
                      <a:cubicBezTo>
                        <a:pt x="47" y="162"/>
                        <a:pt x="48" y="166"/>
                        <a:pt x="48" y="168"/>
                      </a:cubicBezTo>
                      <a:cubicBezTo>
                        <a:pt x="48" y="171"/>
                        <a:pt x="56" y="170"/>
                        <a:pt x="57" y="167"/>
                      </a:cubicBezTo>
                      <a:cubicBezTo>
                        <a:pt x="57" y="165"/>
                        <a:pt x="64" y="164"/>
                        <a:pt x="68" y="168"/>
                      </a:cubicBezTo>
                      <a:cubicBezTo>
                        <a:pt x="71" y="172"/>
                        <a:pt x="73" y="173"/>
                        <a:pt x="73" y="170"/>
                      </a:cubicBezTo>
                      <a:cubicBezTo>
                        <a:pt x="73" y="167"/>
                        <a:pt x="76" y="163"/>
                        <a:pt x="76" y="166"/>
                      </a:cubicBezTo>
                      <a:cubicBezTo>
                        <a:pt x="76" y="168"/>
                        <a:pt x="79" y="169"/>
                        <a:pt x="85" y="167"/>
                      </a:cubicBezTo>
                      <a:cubicBezTo>
                        <a:pt x="90" y="164"/>
                        <a:pt x="88" y="167"/>
                        <a:pt x="85" y="170"/>
                      </a:cubicBezTo>
                      <a:cubicBezTo>
                        <a:pt x="81" y="175"/>
                        <a:pt x="85" y="182"/>
                        <a:pt x="82" y="183"/>
                      </a:cubicBezTo>
                      <a:cubicBezTo>
                        <a:pt x="79" y="184"/>
                        <a:pt x="77" y="191"/>
                        <a:pt x="72" y="192"/>
                      </a:cubicBezTo>
                      <a:cubicBezTo>
                        <a:pt x="68" y="192"/>
                        <a:pt x="60" y="201"/>
                        <a:pt x="59" y="202"/>
                      </a:cubicBezTo>
                      <a:cubicBezTo>
                        <a:pt x="58" y="204"/>
                        <a:pt x="48" y="200"/>
                        <a:pt x="46" y="204"/>
                      </a:cubicBezTo>
                      <a:cubicBezTo>
                        <a:pt x="45" y="208"/>
                        <a:pt x="39" y="211"/>
                        <a:pt x="40" y="212"/>
                      </a:cubicBezTo>
                      <a:cubicBezTo>
                        <a:pt x="42" y="214"/>
                        <a:pt x="50" y="209"/>
                        <a:pt x="50" y="207"/>
                      </a:cubicBezTo>
                      <a:cubicBezTo>
                        <a:pt x="50" y="205"/>
                        <a:pt x="51" y="206"/>
                        <a:pt x="53" y="207"/>
                      </a:cubicBezTo>
                      <a:cubicBezTo>
                        <a:pt x="54" y="209"/>
                        <a:pt x="58" y="206"/>
                        <a:pt x="60" y="205"/>
                      </a:cubicBezTo>
                      <a:cubicBezTo>
                        <a:pt x="61" y="204"/>
                        <a:pt x="64" y="204"/>
                        <a:pt x="65" y="204"/>
                      </a:cubicBezTo>
                      <a:cubicBezTo>
                        <a:pt x="67" y="204"/>
                        <a:pt x="68" y="202"/>
                        <a:pt x="73" y="201"/>
                      </a:cubicBezTo>
                      <a:cubicBezTo>
                        <a:pt x="77" y="201"/>
                        <a:pt x="76" y="199"/>
                        <a:pt x="77" y="197"/>
                      </a:cubicBezTo>
                      <a:cubicBezTo>
                        <a:pt x="78" y="194"/>
                        <a:pt x="90" y="189"/>
                        <a:pt x="92" y="188"/>
                      </a:cubicBezTo>
                      <a:cubicBezTo>
                        <a:pt x="94" y="188"/>
                        <a:pt x="93" y="184"/>
                        <a:pt x="95" y="184"/>
                      </a:cubicBezTo>
                      <a:cubicBezTo>
                        <a:pt x="98" y="184"/>
                        <a:pt x="101" y="181"/>
                        <a:pt x="104" y="178"/>
                      </a:cubicBezTo>
                      <a:cubicBezTo>
                        <a:pt x="107" y="176"/>
                        <a:pt x="108" y="177"/>
                        <a:pt x="110" y="176"/>
                      </a:cubicBezTo>
                      <a:cubicBezTo>
                        <a:pt x="112" y="175"/>
                        <a:pt x="111" y="171"/>
                        <a:pt x="113" y="170"/>
                      </a:cubicBezTo>
                      <a:cubicBezTo>
                        <a:pt x="115" y="170"/>
                        <a:pt x="117" y="168"/>
                        <a:pt x="117" y="166"/>
                      </a:cubicBezTo>
                      <a:cubicBezTo>
                        <a:pt x="117" y="164"/>
                        <a:pt x="111" y="164"/>
                        <a:pt x="111" y="163"/>
                      </a:cubicBezTo>
                      <a:cubicBezTo>
                        <a:pt x="110" y="162"/>
                        <a:pt x="115" y="157"/>
                        <a:pt x="117" y="157"/>
                      </a:cubicBezTo>
                      <a:cubicBezTo>
                        <a:pt x="119" y="157"/>
                        <a:pt x="122" y="155"/>
                        <a:pt x="123" y="152"/>
                      </a:cubicBezTo>
                      <a:cubicBezTo>
                        <a:pt x="123" y="149"/>
                        <a:pt x="126" y="149"/>
                        <a:pt x="128" y="146"/>
                      </a:cubicBezTo>
                      <a:cubicBezTo>
                        <a:pt x="130" y="144"/>
                        <a:pt x="130" y="142"/>
                        <a:pt x="132" y="142"/>
                      </a:cubicBezTo>
                      <a:cubicBezTo>
                        <a:pt x="134" y="141"/>
                        <a:pt x="137" y="138"/>
                        <a:pt x="139" y="137"/>
                      </a:cubicBezTo>
                      <a:cubicBezTo>
                        <a:pt x="142" y="135"/>
                        <a:pt x="139" y="139"/>
                        <a:pt x="144" y="139"/>
                      </a:cubicBezTo>
                      <a:cubicBezTo>
                        <a:pt x="149" y="139"/>
                        <a:pt x="148" y="143"/>
                        <a:pt x="144" y="142"/>
                      </a:cubicBezTo>
                      <a:cubicBezTo>
                        <a:pt x="140" y="140"/>
                        <a:pt x="139" y="140"/>
                        <a:pt x="136" y="143"/>
                      </a:cubicBezTo>
                      <a:cubicBezTo>
                        <a:pt x="132" y="146"/>
                        <a:pt x="135" y="147"/>
                        <a:pt x="132" y="151"/>
                      </a:cubicBezTo>
                      <a:cubicBezTo>
                        <a:pt x="130" y="154"/>
                        <a:pt x="130" y="156"/>
                        <a:pt x="133" y="157"/>
                      </a:cubicBezTo>
                      <a:cubicBezTo>
                        <a:pt x="136" y="157"/>
                        <a:pt x="133" y="159"/>
                        <a:pt x="130" y="160"/>
                      </a:cubicBezTo>
                      <a:cubicBezTo>
                        <a:pt x="127" y="161"/>
                        <a:pt x="129" y="163"/>
                        <a:pt x="133" y="163"/>
                      </a:cubicBezTo>
                      <a:cubicBezTo>
                        <a:pt x="137" y="163"/>
                        <a:pt x="144" y="157"/>
                        <a:pt x="149" y="154"/>
                      </a:cubicBezTo>
                      <a:cubicBezTo>
                        <a:pt x="155" y="151"/>
                        <a:pt x="159" y="154"/>
                        <a:pt x="161" y="154"/>
                      </a:cubicBezTo>
                      <a:cubicBezTo>
                        <a:pt x="162" y="153"/>
                        <a:pt x="159" y="150"/>
                        <a:pt x="161" y="149"/>
                      </a:cubicBezTo>
                      <a:cubicBezTo>
                        <a:pt x="163" y="149"/>
                        <a:pt x="159" y="148"/>
                        <a:pt x="157" y="145"/>
                      </a:cubicBezTo>
                      <a:cubicBezTo>
                        <a:pt x="156" y="141"/>
                        <a:pt x="159" y="143"/>
                        <a:pt x="160" y="141"/>
                      </a:cubicBezTo>
                      <a:cubicBezTo>
                        <a:pt x="161" y="138"/>
                        <a:pt x="163" y="139"/>
                        <a:pt x="165" y="140"/>
                      </a:cubicBezTo>
                      <a:cubicBezTo>
                        <a:pt x="166" y="142"/>
                        <a:pt x="169" y="139"/>
                        <a:pt x="170" y="143"/>
                      </a:cubicBezTo>
                      <a:cubicBezTo>
                        <a:pt x="172" y="146"/>
                        <a:pt x="174" y="142"/>
                        <a:pt x="177" y="144"/>
                      </a:cubicBezTo>
                      <a:cubicBezTo>
                        <a:pt x="180" y="146"/>
                        <a:pt x="176" y="146"/>
                        <a:pt x="173" y="147"/>
                      </a:cubicBezTo>
                      <a:cubicBezTo>
                        <a:pt x="170" y="147"/>
                        <a:pt x="172" y="151"/>
                        <a:pt x="174" y="149"/>
                      </a:cubicBezTo>
                      <a:cubicBezTo>
                        <a:pt x="176" y="148"/>
                        <a:pt x="178" y="146"/>
                        <a:pt x="180" y="148"/>
                      </a:cubicBezTo>
                      <a:cubicBezTo>
                        <a:pt x="183" y="150"/>
                        <a:pt x="183" y="149"/>
                        <a:pt x="185" y="148"/>
                      </a:cubicBezTo>
                      <a:cubicBezTo>
                        <a:pt x="187" y="146"/>
                        <a:pt x="187" y="148"/>
                        <a:pt x="187" y="149"/>
                      </a:cubicBezTo>
                      <a:cubicBezTo>
                        <a:pt x="187" y="151"/>
                        <a:pt x="191" y="151"/>
                        <a:pt x="196" y="152"/>
                      </a:cubicBezTo>
                      <a:cubicBezTo>
                        <a:pt x="201" y="153"/>
                        <a:pt x="211" y="152"/>
                        <a:pt x="214" y="151"/>
                      </a:cubicBezTo>
                      <a:cubicBezTo>
                        <a:pt x="216" y="151"/>
                        <a:pt x="215" y="155"/>
                        <a:pt x="221" y="156"/>
                      </a:cubicBezTo>
                      <a:cubicBezTo>
                        <a:pt x="226" y="157"/>
                        <a:pt x="228" y="151"/>
                        <a:pt x="231" y="153"/>
                      </a:cubicBezTo>
                      <a:cubicBezTo>
                        <a:pt x="233" y="155"/>
                        <a:pt x="231" y="156"/>
                        <a:pt x="229" y="158"/>
                      </a:cubicBezTo>
                      <a:cubicBezTo>
                        <a:pt x="227" y="160"/>
                        <a:pt x="231" y="160"/>
                        <a:pt x="233" y="161"/>
                      </a:cubicBezTo>
                      <a:cubicBezTo>
                        <a:pt x="235" y="162"/>
                        <a:pt x="240" y="163"/>
                        <a:pt x="242" y="166"/>
                      </a:cubicBezTo>
                      <a:cubicBezTo>
                        <a:pt x="245" y="168"/>
                        <a:pt x="246" y="170"/>
                        <a:pt x="252" y="173"/>
                      </a:cubicBezTo>
                      <a:cubicBezTo>
                        <a:pt x="257" y="176"/>
                        <a:pt x="252" y="166"/>
                        <a:pt x="256" y="169"/>
                      </a:cubicBezTo>
                      <a:cubicBezTo>
                        <a:pt x="261" y="173"/>
                        <a:pt x="259" y="169"/>
                        <a:pt x="263" y="173"/>
                      </a:cubicBezTo>
                      <a:cubicBezTo>
                        <a:pt x="266" y="176"/>
                        <a:pt x="265" y="171"/>
                        <a:pt x="264" y="166"/>
                      </a:cubicBezTo>
                      <a:cubicBezTo>
                        <a:pt x="262" y="161"/>
                        <a:pt x="265" y="164"/>
                        <a:pt x="267" y="167"/>
                      </a:cubicBezTo>
                      <a:cubicBezTo>
                        <a:pt x="268" y="169"/>
                        <a:pt x="268" y="174"/>
                        <a:pt x="267" y="177"/>
                      </a:cubicBezTo>
                      <a:cubicBezTo>
                        <a:pt x="266" y="180"/>
                        <a:pt x="261" y="178"/>
                        <a:pt x="261" y="176"/>
                      </a:cubicBezTo>
                      <a:cubicBezTo>
                        <a:pt x="262" y="174"/>
                        <a:pt x="256" y="175"/>
                        <a:pt x="256" y="177"/>
                      </a:cubicBezTo>
                      <a:cubicBezTo>
                        <a:pt x="256" y="180"/>
                        <a:pt x="260" y="185"/>
                        <a:pt x="262" y="185"/>
                      </a:cubicBezTo>
                      <a:cubicBezTo>
                        <a:pt x="265" y="186"/>
                        <a:pt x="263" y="190"/>
                        <a:pt x="265" y="191"/>
                      </a:cubicBezTo>
                      <a:cubicBezTo>
                        <a:pt x="267" y="191"/>
                        <a:pt x="267" y="196"/>
                        <a:pt x="269" y="195"/>
                      </a:cubicBezTo>
                      <a:cubicBezTo>
                        <a:pt x="270" y="195"/>
                        <a:pt x="270" y="189"/>
                        <a:pt x="268" y="187"/>
                      </a:cubicBezTo>
                      <a:cubicBezTo>
                        <a:pt x="266" y="184"/>
                        <a:pt x="267" y="181"/>
                        <a:pt x="269" y="181"/>
                      </a:cubicBezTo>
                      <a:cubicBezTo>
                        <a:pt x="271" y="182"/>
                        <a:pt x="269" y="186"/>
                        <a:pt x="270" y="187"/>
                      </a:cubicBezTo>
                      <a:cubicBezTo>
                        <a:pt x="271" y="188"/>
                        <a:pt x="273" y="186"/>
                        <a:pt x="275" y="184"/>
                      </a:cubicBezTo>
                      <a:cubicBezTo>
                        <a:pt x="278" y="183"/>
                        <a:pt x="274" y="179"/>
                        <a:pt x="275" y="177"/>
                      </a:cubicBezTo>
                      <a:cubicBezTo>
                        <a:pt x="276" y="174"/>
                        <a:pt x="279" y="178"/>
                        <a:pt x="280" y="182"/>
                      </a:cubicBezTo>
                      <a:cubicBezTo>
                        <a:pt x="281" y="186"/>
                        <a:pt x="277" y="186"/>
                        <a:pt x="277" y="188"/>
                      </a:cubicBezTo>
                      <a:cubicBezTo>
                        <a:pt x="277" y="190"/>
                        <a:pt x="274" y="189"/>
                        <a:pt x="273" y="190"/>
                      </a:cubicBezTo>
                      <a:cubicBezTo>
                        <a:pt x="272" y="191"/>
                        <a:pt x="272" y="198"/>
                        <a:pt x="274" y="198"/>
                      </a:cubicBezTo>
                      <a:cubicBezTo>
                        <a:pt x="275" y="198"/>
                        <a:pt x="276" y="192"/>
                        <a:pt x="277" y="195"/>
                      </a:cubicBezTo>
                      <a:cubicBezTo>
                        <a:pt x="278" y="198"/>
                        <a:pt x="281" y="191"/>
                        <a:pt x="282" y="194"/>
                      </a:cubicBezTo>
                      <a:cubicBezTo>
                        <a:pt x="283" y="197"/>
                        <a:pt x="287" y="200"/>
                        <a:pt x="289" y="200"/>
                      </a:cubicBezTo>
                      <a:cubicBezTo>
                        <a:pt x="290" y="199"/>
                        <a:pt x="288" y="196"/>
                        <a:pt x="285" y="196"/>
                      </a:cubicBezTo>
                      <a:cubicBezTo>
                        <a:pt x="283" y="196"/>
                        <a:pt x="283" y="191"/>
                        <a:pt x="286" y="191"/>
                      </a:cubicBezTo>
                      <a:cubicBezTo>
                        <a:pt x="288" y="191"/>
                        <a:pt x="292" y="197"/>
                        <a:pt x="292" y="199"/>
                      </a:cubicBezTo>
                      <a:cubicBezTo>
                        <a:pt x="292" y="201"/>
                        <a:pt x="290" y="201"/>
                        <a:pt x="288" y="203"/>
                      </a:cubicBezTo>
                      <a:cubicBezTo>
                        <a:pt x="286" y="206"/>
                        <a:pt x="283" y="200"/>
                        <a:pt x="281" y="200"/>
                      </a:cubicBezTo>
                      <a:cubicBezTo>
                        <a:pt x="279" y="200"/>
                        <a:pt x="281" y="204"/>
                        <a:pt x="282" y="206"/>
                      </a:cubicBezTo>
                      <a:cubicBezTo>
                        <a:pt x="283" y="209"/>
                        <a:pt x="279" y="212"/>
                        <a:pt x="282" y="214"/>
                      </a:cubicBezTo>
                      <a:cubicBezTo>
                        <a:pt x="285" y="216"/>
                        <a:pt x="284" y="213"/>
                        <a:pt x="285" y="211"/>
                      </a:cubicBezTo>
                      <a:cubicBezTo>
                        <a:pt x="285" y="210"/>
                        <a:pt x="288" y="212"/>
                        <a:pt x="289" y="213"/>
                      </a:cubicBezTo>
                      <a:cubicBezTo>
                        <a:pt x="291" y="214"/>
                        <a:pt x="291" y="210"/>
                        <a:pt x="291" y="209"/>
                      </a:cubicBezTo>
                      <a:cubicBezTo>
                        <a:pt x="291" y="207"/>
                        <a:pt x="294" y="208"/>
                        <a:pt x="295" y="210"/>
                      </a:cubicBezTo>
                      <a:cubicBezTo>
                        <a:pt x="297" y="212"/>
                        <a:pt x="297" y="208"/>
                        <a:pt x="299" y="208"/>
                      </a:cubicBezTo>
                      <a:cubicBezTo>
                        <a:pt x="301" y="208"/>
                        <a:pt x="300" y="212"/>
                        <a:pt x="300" y="214"/>
                      </a:cubicBezTo>
                      <a:cubicBezTo>
                        <a:pt x="300" y="216"/>
                        <a:pt x="303" y="212"/>
                        <a:pt x="303" y="214"/>
                      </a:cubicBezTo>
                      <a:cubicBezTo>
                        <a:pt x="303" y="215"/>
                        <a:pt x="303" y="215"/>
                        <a:pt x="303" y="215"/>
                      </a:cubicBezTo>
                      <a:cubicBezTo>
                        <a:pt x="305" y="214"/>
                        <a:pt x="307" y="212"/>
                        <a:pt x="308" y="211"/>
                      </a:cubicBezTo>
                      <a:cubicBezTo>
                        <a:pt x="312" y="209"/>
                        <a:pt x="306" y="207"/>
                        <a:pt x="307" y="204"/>
                      </a:cubicBezTo>
                      <a:close/>
                      <a:moveTo>
                        <a:pt x="6" y="229"/>
                      </a:moveTo>
                      <a:cubicBezTo>
                        <a:pt x="10" y="227"/>
                        <a:pt x="12" y="225"/>
                        <a:pt x="10" y="223"/>
                      </a:cubicBezTo>
                      <a:cubicBezTo>
                        <a:pt x="8" y="221"/>
                        <a:pt x="3" y="231"/>
                        <a:pt x="6" y="229"/>
                      </a:cubicBezTo>
                      <a:close/>
                      <a:moveTo>
                        <a:pt x="36" y="213"/>
                      </a:moveTo>
                      <a:cubicBezTo>
                        <a:pt x="32" y="212"/>
                        <a:pt x="22" y="218"/>
                        <a:pt x="25" y="219"/>
                      </a:cubicBezTo>
                      <a:cubicBezTo>
                        <a:pt x="28" y="219"/>
                        <a:pt x="29" y="216"/>
                        <a:pt x="32" y="216"/>
                      </a:cubicBezTo>
                      <a:cubicBezTo>
                        <a:pt x="35" y="216"/>
                        <a:pt x="40" y="215"/>
                        <a:pt x="36" y="213"/>
                      </a:cubicBezTo>
                      <a:close/>
                      <a:moveTo>
                        <a:pt x="127" y="171"/>
                      </a:moveTo>
                      <a:cubicBezTo>
                        <a:pt x="127" y="169"/>
                        <a:pt x="124" y="169"/>
                        <a:pt x="120" y="174"/>
                      </a:cubicBezTo>
                      <a:cubicBezTo>
                        <a:pt x="117" y="178"/>
                        <a:pt x="114" y="180"/>
                        <a:pt x="113" y="182"/>
                      </a:cubicBezTo>
                      <a:cubicBezTo>
                        <a:pt x="113" y="184"/>
                        <a:pt x="109" y="181"/>
                        <a:pt x="107" y="184"/>
                      </a:cubicBezTo>
                      <a:cubicBezTo>
                        <a:pt x="106" y="186"/>
                        <a:pt x="108" y="192"/>
                        <a:pt x="111" y="190"/>
                      </a:cubicBezTo>
                      <a:cubicBezTo>
                        <a:pt x="113" y="188"/>
                        <a:pt x="113" y="190"/>
                        <a:pt x="115" y="190"/>
                      </a:cubicBezTo>
                      <a:cubicBezTo>
                        <a:pt x="117" y="190"/>
                        <a:pt x="124" y="185"/>
                        <a:pt x="126" y="183"/>
                      </a:cubicBezTo>
                      <a:cubicBezTo>
                        <a:pt x="127" y="180"/>
                        <a:pt x="123" y="179"/>
                        <a:pt x="122" y="178"/>
                      </a:cubicBezTo>
                      <a:cubicBezTo>
                        <a:pt x="122" y="176"/>
                        <a:pt x="126" y="176"/>
                        <a:pt x="128" y="175"/>
                      </a:cubicBezTo>
                      <a:cubicBezTo>
                        <a:pt x="130" y="174"/>
                        <a:pt x="126" y="173"/>
                        <a:pt x="127" y="171"/>
                      </a:cubicBezTo>
                      <a:close/>
                      <a:moveTo>
                        <a:pt x="13" y="150"/>
                      </a:moveTo>
                      <a:cubicBezTo>
                        <a:pt x="13" y="147"/>
                        <a:pt x="5" y="150"/>
                        <a:pt x="6" y="153"/>
                      </a:cubicBezTo>
                      <a:cubicBezTo>
                        <a:pt x="7" y="155"/>
                        <a:pt x="14" y="157"/>
                        <a:pt x="17" y="156"/>
                      </a:cubicBezTo>
                      <a:cubicBezTo>
                        <a:pt x="20" y="155"/>
                        <a:pt x="21" y="152"/>
                        <a:pt x="19" y="151"/>
                      </a:cubicBezTo>
                      <a:cubicBezTo>
                        <a:pt x="17" y="149"/>
                        <a:pt x="13" y="153"/>
                        <a:pt x="13" y="150"/>
                      </a:cubicBezTo>
                      <a:close/>
                      <a:moveTo>
                        <a:pt x="100" y="544"/>
                      </a:moveTo>
                      <a:cubicBezTo>
                        <a:pt x="95" y="545"/>
                        <a:pt x="98" y="556"/>
                        <a:pt x="100" y="554"/>
                      </a:cubicBezTo>
                      <a:cubicBezTo>
                        <a:pt x="102" y="553"/>
                        <a:pt x="105" y="552"/>
                        <a:pt x="106" y="551"/>
                      </a:cubicBezTo>
                      <a:cubicBezTo>
                        <a:pt x="107" y="548"/>
                        <a:pt x="104" y="543"/>
                        <a:pt x="100" y="544"/>
                      </a:cubicBezTo>
                      <a:close/>
                      <a:moveTo>
                        <a:pt x="94" y="537"/>
                      </a:moveTo>
                      <a:cubicBezTo>
                        <a:pt x="91" y="538"/>
                        <a:pt x="93" y="542"/>
                        <a:pt x="95" y="541"/>
                      </a:cubicBezTo>
                      <a:cubicBezTo>
                        <a:pt x="98" y="539"/>
                        <a:pt x="97" y="537"/>
                        <a:pt x="94" y="537"/>
                      </a:cubicBezTo>
                      <a:close/>
                      <a:moveTo>
                        <a:pt x="66" y="528"/>
                      </a:moveTo>
                      <a:cubicBezTo>
                        <a:pt x="69" y="531"/>
                        <a:pt x="70" y="530"/>
                        <a:pt x="71" y="528"/>
                      </a:cubicBezTo>
                      <a:cubicBezTo>
                        <a:pt x="72" y="526"/>
                        <a:pt x="64" y="525"/>
                        <a:pt x="66" y="528"/>
                      </a:cubicBezTo>
                      <a:close/>
                      <a:moveTo>
                        <a:pt x="79" y="534"/>
                      </a:moveTo>
                      <a:cubicBezTo>
                        <a:pt x="80" y="536"/>
                        <a:pt x="82" y="537"/>
                        <a:pt x="84" y="534"/>
                      </a:cubicBezTo>
                      <a:cubicBezTo>
                        <a:pt x="85" y="532"/>
                        <a:pt x="77" y="530"/>
                        <a:pt x="79" y="534"/>
                      </a:cubicBezTo>
                      <a:close/>
                      <a:moveTo>
                        <a:pt x="811" y="295"/>
                      </a:moveTo>
                      <a:cubicBezTo>
                        <a:pt x="810" y="292"/>
                        <a:pt x="803" y="294"/>
                        <a:pt x="800" y="292"/>
                      </a:cubicBezTo>
                      <a:cubicBezTo>
                        <a:pt x="797" y="289"/>
                        <a:pt x="791" y="301"/>
                        <a:pt x="790" y="306"/>
                      </a:cubicBezTo>
                      <a:cubicBezTo>
                        <a:pt x="789" y="311"/>
                        <a:pt x="780" y="316"/>
                        <a:pt x="780" y="316"/>
                      </a:cubicBezTo>
                      <a:cubicBezTo>
                        <a:pt x="780" y="316"/>
                        <a:pt x="754" y="317"/>
                        <a:pt x="752" y="317"/>
                      </a:cubicBezTo>
                      <a:cubicBezTo>
                        <a:pt x="751" y="317"/>
                        <a:pt x="745" y="322"/>
                        <a:pt x="741" y="325"/>
                      </a:cubicBezTo>
                      <a:cubicBezTo>
                        <a:pt x="741" y="325"/>
                        <a:pt x="742" y="325"/>
                        <a:pt x="742" y="325"/>
                      </a:cubicBezTo>
                      <a:cubicBezTo>
                        <a:pt x="744" y="330"/>
                        <a:pt x="735" y="333"/>
                        <a:pt x="726" y="333"/>
                      </a:cubicBezTo>
                      <a:cubicBezTo>
                        <a:pt x="723" y="333"/>
                        <a:pt x="721" y="333"/>
                        <a:pt x="720" y="334"/>
                      </a:cubicBezTo>
                      <a:cubicBezTo>
                        <a:pt x="720" y="335"/>
                        <a:pt x="720" y="336"/>
                        <a:pt x="720" y="337"/>
                      </a:cubicBezTo>
                      <a:cubicBezTo>
                        <a:pt x="720" y="337"/>
                        <a:pt x="719" y="338"/>
                        <a:pt x="718" y="339"/>
                      </a:cubicBezTo>
                      <a:cubicBezTo>
                        <a:pt x="716" y="342"/>
                        <a:pt x="705" y="347"/>
                        <a:pt x="699" y="350"/>
                      </a:cubicBezTo>
                      <a:cubicBezTo>
                        <a:pt x="692" y="354"/>
                        <a:pt x="683" y="352"/>
                        <a:pt x="683" y="347"/>
                      </a:cubicBezTo>
                      <a:cubicBezTo>
                        <a:pt x="683" y="341"/>
                        <a:pt x="688" y="342"/>
                        <a:pt x="689" y="345"/>
                      </a:cubicBezTo>
                      <a:cubicBezTo>
                        <a:pt x="690" y="346"/>
                        <a:pt x="691" y="345"/>
                        <a:pt x="692" y="344"/>
                      </a:cubicBezTo>
                      <a:cubicBezTo>
                        <a:pt x="691" y="342"/>
                        <a:pt x="691" y="340"/>
                        <a:pt x="691" y="338"/>
                      </a:cubicBezTo>
                      <a:cubicBezTo>
                        <a:pt x="689" y="337"/>
                        <a:pt x="692" y="329"/>
                        <a:pt x="688" y="327"/>
                      </a:cubicBezTo>
                      <a:cubicBezTo>
                        <a:pt x="684" y="326"/>
                        <a:pt x="679" y="333"/>
                        <a:pt x="680" y="329"/>
                      </a:cubicBezTo>
                      <a:cubicBezTo>
                        <a:pt x="680" y="324"/>
                        <a:pt x="687" y="320"/>
                        <a:pt x="683" y="314"/>
                      </a:cubicBezTo>
                      <a:cubicBezTo>
                        <a:pt x="679" y="308"/>
                        <a:pt x="672" y="308"/>
                        <a:pt x="670" y="313"/>
                      </a:cubicBezTo>
                      <a:cubicBezTo>
                        <a:pt x="669" y="317"/>
                        <a:pt x="664" y="315"/>
                        <a:pt x="662" y="319"/>
                      </a:cubicBezTo>
                      <a:cubicBezTo>
                        <a:pt x="660" y="322"/>
                        <a:pt x="659" y="330"/>
                        <a:pt x="660" y="336"/>
                      </a:cubicBezTo>
                      <a:cubicBezTo>
                        <a:pt x="661" y="342"/>
                        <a:pt x="660" y="344"/>
                        <a:pt x="654" y="348"/>
                      </a:cubicBezTo>
                      <a:cubicBezTo>
                        <a:pt x="649" y="351"/>
                        <a:pt x="646" y="343"/>
                        <a:pt x="648" y="332"/>
                      </a:cubicBezTo>
                      <a:cubicBezTo>
                        <a:pt x="650" y="325"/>
                        <a:pt x="654" y="318"/>
                        <a:pt x="650" y="318"/>
                      </a:cubicBezTo>
                      <a:cubicBezTo>
                        <a:pt x="646" y="318"/>
                        <a:pt x="655" y="310"/>
                        <a:pt x="662" y="308"/>
                      </a:cubicBezTo>
                      <a:cubicBezTo>
                        <a:pt x="670" y="306"/>
                        <a:pt x="679" y="307"/>
                        <a:pt x="679" y="305"/>
                      </a:cubicBezTo>
                      <a:cubicBezTo>
                        <a:pt x="679" y="304"/>
                        <a:pt x="679" y="304"/>
                        <a:pt x="680" y="304"/>
                      </a:cubicBezTo>
                      <a:cubicBezTo>
                        <a:pt x="678" y="303"/>
                        <a:pt x="677" y="302"/>
                        <a:pt x="675" y="301"/>
                      </a:cubicBezTo>
                      <a:cubicBezTo>
                        <a:pt x="675" y="301"/>
                        <a:pt x="675" y="302"/>
                        <a:pt x="674" y="302"/>
                      </a:cubicBezTo>
                      <a:cubicBezTo>
                        <a:pt x="671" y="304"/>
                        <a:pt x="672" y="299"/>
                        <a:pt x="667" y="299"/>
                      </a:cubicBezTo>
                      <a:cubicBezTo>
                        <a:pt x="661" y="299"/>
                        <a:pt x="656" y="304"/>
                        <a:pt x="652" y="302"/>
                      </a:cubicBezTo>
                      <a:cubicBezTo>
                        <a:pt x="648" y="299"/>
                        <a:pt x="650" y="297"/>
                        <a:pt x="646" y="297"/>
                      </a:cubicBezTo>
                      <a:cubicBezTo>
                        <a:pt x="642" y="297"/>
                        <a:pt x="649" y="289"/>
                        <a:pt x="643" y="292"/>
                      </a:cubicBezTo>
                      <a:cubicBezTo>
                        <a:pt x="637" y="296"/>
                        <a:pt x="629" y="303"/>
                        <a:pt x="625" y="300"/>
                      </a:cubicBezTo>
                      <a:cubicBezTo>
                        <a:pt x="621" y="296"/>
                        <a:pt x="617" y="301"/>
                        <a:pt x="614" y="298"/>
                      </a:cubicBezTo>
                      <a:cubicBezTo>
                        <a:pt x="612" y="295"/>
                        <a:pt x="624" y="287"/>
                        <a:pt x="630" y="288"/>
                      </a:cubicBezTo>
                      <a:cubicBezTo>
                        <a:pt x="632" y="288"/>
                        <a:pt x="633" y="287"/>
                        <a:pt x="635" y="286"/>
                      </a:cubicBezTo>
                      <a:cubicBezTo>
                        <a:pt x="631" y="285"/>
                        <a:pt x="625" y="282"/>
                        <a:pt x="623" y="285"/>
                      </a:cubicBezTo>
                      <a:cubicBezTo>
                        <a:pt x="621" y="287"/>
                        <a:pt x="618" y="285"/>
                        <a:pt x="616" y="283"/>
                      </a:cubicBezTo>
                      <a:cubicBezTo>
                        <a:pt x="614" y="281"/>
                        <a:pt x="612" y="284"/>
                        <a:pt x="609" y="281"/>
                      </a:cubicBezTo>
                      <a:cubicBezTo>
                        <a:pt x="607" y="277"/>
                        <a:pt x="604" y="280"/>
                        <a:pt x="602" y="280"/>
                      </a:cubicBezTo>
                      <a:cubicBezTo>
                        <a:pt x="600" y="281"/>
                        <a:pt x="598" y="279"/>
                        <a:pt x="595" y="278"/>
                      </a:cubicBezTo>
                      <a:cubicBezTo>
                        <a:pt x="592" y="277"/>
                        <a:pt x="594" y="274"/>
                        <a:pt x="592" y="272"/>
                      </a:cubicBezTo>
                      <a:cubicBezTo>
                        <a:pt x="589" y="270"/>
                        <a:pt x="589" y="276"/>
                        <a:pt x="589" y="276"/>
                      </a:cubicBezTo>
                      <a:cubicBezTo>
                        <a:pt x="367" y="277"/>
                        <a:pt x="367" y="277"/>
                        <a:pt x="367" y="277"/>
                      </a:cubicBezTo>
                      <a:cubicBezTo>
                        <a:pt x="368" y="277"/>
                        <a:pt x="368" y="277"/>
                        <a:pt x="368" y="278"/>
                      </a:cubicBezTo>
                      <a:cubicBezTo>
                        <a:pt x="371" y="281"/>
                        <a:pt x="369" y="283"/>
                        <a:pt x="370" y="286"/>
                      </a:cubicBezTo>
                      <a:cubicBezTo>
                        <a:pt x="371" y="290"/>
                        <a:pt x="370" y="294"/>
                        <a:pt x="367" y="294"/>
                      </a:cubicBezTo>
                      <a:cubicBezTo>
                        <a:pt x="364" y="294"/>
                        <a:pt x="364" y="291"/>
                        <a:pt x="366" y="290"/>
                      </a:cubicBezTo>
                      <a:cubicBezTo>
                        <a:pt x="368" y="289"/>
                        <a:pt x="367" y="285"/>
                        <a:pt x="365" y="285"/>
                      </a:cubicBezTo>
                      <a:cubicBezTo>
                        <a:pt x="364" y="285"/>
                        <a:pt x="363" y="284"/>
                        <a:pt x="363" y="282"/>
                      </a:cubicBezTo>
                      <a:cubicBezTo>
                        <a:pt x="360" y="283"/>
                        <a:pt x="356" y="283"/>
                        <a:pt x="351" y="282"/>
                      </a:cubicBezTo>
                      <a:cubicBezTo>
                        <a:pt x="351" y="282"/>
                        <a:pt x="351" y="283"/>
                        <a:pt x="351" y="283"/>
                      </a:cubicBezTo>
                      <a:cubicBezTo>
                        <a:pt x="351" y="285"/>
                        <a:pt x="352" y="290"/>
                        <a:pt x="355" y="294"/>
                      </a:cubicBezTo>
                      <a:cubicBezTo>
                        <a:pt x="358" y="297"/>
                        <a:pt x="356" y="300"/>
                        <a:pt x="359" y="301"/>
                      </a:cubicBezTo>
                      <a:cubicBezTo>
                        <a:pt x="361" y="303"/>
                        <a:pt x="361" y="304"/>
                        <a:pt x="359" y="304"/>
                      </a:cubicBezTo>
                      <a:cubicBezTo>
                        <a:pt x="356" y="303"/>
                        <a:pt x="358" y="306"/>
                        <a:pt x="357" y="311"/>
                      </a:cubicBezTo>
                      <a:cubicBezTo>
                        <a:pt x="356" y="316"/>
                        <a:pt x="356" y="327"/>
                        <a:pt x="356" y="331"/>
                      </a:cubicBezTo>
                      <a:cubicBezTo>
                        <a:pt x="355" y="334"/>
                        <a:pt x="351" y="340"/>
                        <a:pt x="354" y="343"/>
                      </a:cubicBezTo>
                      <a:cubicBezTo>
                        <a:pt x="356" y="347"/>
                        <a:pt x="358" y="352"/>
                        <a:pt x="356" y="356"/>
                      </a:cubicBezTo>
                      <a:cubicBezTo>
                        <a:pt x="355" y="361"/>
                        <a:pt x="355" y="364"/>
                        <a:pt x="357" y="367"/>
                      </a:cubicBezTo>
                      <a:cubicBezTo>
                        <a:pt x="359" y="370"/>
                        <a:pt x="358" y="376"/>
                        <a:pt x="360" y="377"/>
                      </a:cubicBezTo>
                      <a:cubicBezTo>
                        <a:pt x="362" y="379"/>
                        <a:pt x="364" y="381"/>
                        <a:pt x="366" y="384"/>
                      </a:cubicBezTo>
                      <a:cubicBezTo>
                        <a:pt x="368" y="388"/>
                        <a:pt x="369" y="386"/>
                        <a:pt x="370" y="389"/>
                      </a:cubicBezTo>
                      <a:cubicBezTo>
                        <a:pt x="370" y="392"/>
                        <a:pt x="370" y="393"/>
                        <a:pt x="373" y="394"/>
                      </a:cubicBezTo>
                      <a:cubicBezTo>
                        <a:pt x="376" y="395"/>
                        <a:pt x="374" y="398"/>
                        <a:pt x="374" y="400"/>
                      </a:cubicBezTo>
                      <a:cubicBezTo>
                        <a:pt x="374" y="402"/>
                        <a:pt x="378" y="405"/>
                        <a:pt x="383" y="409"/>
                      </a:cubicBezTo>
                      <a:cubicBezTo>
                        <a:pt x="387" y="413"/>
                        <a:pt x="383" y="417"/>
                        <a:pt x="387" y="417"/>
                      </a:cubicBezTo>
                      <a:cubicBezTo>
                        <a:pt x="390" y="417"/>
                        <a:pt x="393" y="419"/>
                        <a:pt x="397" y="421"/>
                      </a:cubicBezTo>
                      <a:cubicBezTo>
                        <a:pt x="400" y="423"/>
                        <a:pt x="401" y="422"/>
                        <a:pt x="403" y="422"/>
                      </a:cubicBezTo>
                      <a:cubicBezTo>
                        <a:pt x="406" y="423"/>
                        <a:pt x="410" y="428"/>
                        <a:pt x="411" y="431"/>
                      </a:cubicBezTo>
                      <a:cubicBezTo>
                        <a:pt x="411" y="433"/>
                        <a:pt x="412" y="434"/>
                        <a:pt x="413" y="436"/>
                      </a:cubicBezTo>
                      <a:cubicBezTo>
                        <a:pt x="431" y="434"/>
                        <a:pt x="431" y="434"/>
                        <a:pt x="431" y="434"/>
                      </a:cubicBezTo>
                      <a:cubicBezTo>
                        <a:pt x="431" y="434"/>
                        <a:pt x="437" y="438"/>
                        <a:pt x="440" y="439"/>
                      </a:cubicBezTo>
                      <a:cubicBezTo>
                        <a:pt x="443" y="439"/>
                        <a:pt x="461" y="446"/>
                        <a:pt x="461" y="446"/>
                      </a:cubicBezTo>
                      <a:cubicBezTo>
                        <a:pt x="484" y="446"/>
                        <a:pt x="484" y="446"/>
                        <a:pt x="484" y="446"/>
                      </a:cubicBezTo>
                      <a:cubicBezTo>
                        <a:pt x="486" y="442"/>
                        <a:pt x="486" y="442"/>
                        <a:pt x="486" y="442"/>
                      </a:cubicBezTo>
                      <a:cubicBezTo>
                        <a:pt x="499" y="442"/>
                        <a:pt x="499" y="442"/>
                        <a:pt x="499" y="442"/>
                      </a:cubicBezTo>
                      <a:cubicBezTo>
                        <a:pt x="499" y="442"/>
                        <a:pt x="507" y="450"/>
                        <a:pt x="508" y="450"/>
                      </a:cubicBezTo>
                      <a:cubicBezTo>
                        <a:pt x="509" y="451"/>
                        <a:pt x="513" y="454"/>
                        <a:pt x="513" y="457"/>
                      </a:cubicBezTo>
                      <a:cubicBezTo>
                        <a:pt x="513" y="459"/>
                        <a:pt x="514" y="461"/>
                        <a:pt x="516" y="462"/>
                      </a:cubicBezTo>
                      <a:cubicBezTo>
                        <a:pt x="518" y="463"/>
                        <a:pt x="525" y="467"/>
                        <a:pt x="525" y="467"/>
                      </a:cubicBezTo>
                      <a:cubicBezTo>
                        <a:pt x="526" y="466"/>
                        <a:pt x="528" y="459"/>
                        <a:pt x="532" y="459"/>
                      </a:cubicBezTo>
                      <a:cubicBezTo>
                        <a:pt x="535" y="459"/>
                        <a:pt x="545" y="462"/>
                        <a:pt x="546" y="467"/>
                      </a:cubicBezTo>
                      <a:cubicBezTo>
                        <a:pt x="548" y="473"/>
                        <a:pt x="552" y="477"/>
                        <a:pt x="554" y="478"/>
                      </a:cubicBezTo>
                      <a:cubicBezTo>
                        <a:pt x="555" y="479"/>
                        <a:pt x="554" y="483"/>
                        <a:pt x="556" y="484"/>
                      </a:cubicBezTo>
                      <a:cubicBezTo>
                        <a:pt x="557" y="486"/>
                        <a:pt x="557" y="489"/>
                        <a:pt x="558" y="489"/>
                      </a:cubicBezTo>
                      <a:cubicBezTo>
                        <a:pt x="559" y="489"/>
                        <a:pt x="566" y="493"/>
                        <a:pt x="569" y="493"/>
                      </a:cubicBezTo>
                      <a:cubicBezTo>
                        <a:pt x="570" y="493"/>
                        <a:pt x="571" y="494"/>
                        <a:pt x="572" y="494"/>
                      </a:cubicBezTo>
                      <a:cubicBezTo>
                        <a:pt x="573" y="488"/>
                        <a:pt x="566" y="487"/>
                        <a:pt x="570" y="484"/>
                      </a:cubicBezTo>
                      <a:cubicBezTo>
                        <a:pt x="575" y="481"/>
                        <a:pt x="570" y="478"/>
                        <a:pt x="572" y="476"/>
                      </a:cubicBezTo>
                      <a:cubicBezTo>
                        <a:pt x="574" y="475"/>
                        <a:pt x="578" y="474"/>
                        <a:pt x="578" y="471"/>
                      </a:cubicBezTo>
                      <a:cubicBezTo>
                        <a:pt x="578" y="469"/>
                        <a:pt x="580" y="469"/>
                        <a:pt x="583" y="470"/>
                      </a:cubicBezTo>
                      <a:cubicBezTo>
                        <a:pt x="586" y="470"/>
                        <a:pt x="591" y="465"/>
                        <a:pt x="591" y="463"/>
                      </a:cubicBezTo>
                      <a:cubicBezTo>
                        <a:pt x="590" y="461"/>
                        <a:pt x="591" y="461"/>
                        <a:pt x="595" y="461"/>
                      </a:cubicBezTo>
                      <a:cubicBezTo>
                        <a:pt x="598" y="462"/>
                        <a:pt x="597" y="458"/>
                        <a:pt x="600" y="458"/>
                      </a:cubicBezTo>
                      <a:cubicBezTo>
                        <a:pt x="602" y="459"/>
                        <a:pt x="603" y="460"/>
                        <a:pt x="604" y="459"/>
                      </a:cubicBezTo>
                      <a:cubicBezTo>
                        <a:pt x="604" y="457"/>
                        <a:pt x="606" y="457"/>
                        <a:pt x="608" y="459"/>
                      </a:cubicBezTo>
                      <a:cubicBezTo>
                        <a:pt x="609" y="462"/>
                        <a:pt x="614" y="462"/>
                        <a:pt x="614" y="460"/>
                      </a:cubicBezTo>
                      <a:cubicBezTo>
                        <a:pt x="615" y="457"/>
                        <a:pt x="617" y="460"/>
                        <a:pt x="620" y="462"/>
                      </a:cubicBezTo>
                      <a:cubicBezTo>
                        <a:pt x="622" y="465"/>
                        <a:pt x="623" y="464"/>
                        <a:pt x="626" y="464"/>
                      </a:cubicBezTo>
                      <a:cubicBezTo>
                        <a:pt x="630" y="464"/>
                        <a:pt x="630" y="463"/>
                        <a:pt x="630" y="461"/>
                      </a:cubicBezTo>
                      <a:cubicBezTo>
                        <a:pt x="630" y="459"/>
                        <a:pt x="634" y="466"/>
                        <a:pt x="637" y="466"/>
                      </a:cubicBezTo>
                      <a:cubicBezTo>
                        <a:pt x="640" y="467"/>
                        <a:pt x="638" y="464"/>
                        <a:pt x="635" y="462"/>
                      </a:cubicBezTo>
                      <a:cubicBezTo>
                        <a:pt x="633" y="460"/>
                        <a:pt x="636" y="459"/>
                        <a:pt x="634" y="458"/>
                      </a:cubicBezTo>
                      <a:cubicBezTo>
                        <a:pt x="631" y="456"/>
                        <a:pt x="636" y="454"/>
                        <a:pt x="641" y="454"/>
                      </a:cubicBezTo>
                      <a:cubicBezTo>
                        <a:pt x="645" y="454"/>
                        <a:pt x="645" y="455"/>
                        <a:pt x="646" y="453"/>
                      </a:cubicBezTo>
                      <a:cubicBezTo>
                        <a:pt x="648" y="450"/>
                        <a:pt x="649" y="453"/>
                        <a:pt x="649" y="455"/>
                      </a:cubicBezTo>
                      <a:cubicBezTo>
                        <a:pt x="649" y="457"/>
                        <a:pt x="656" y="454"/>
                        <a:pt x="660" y="454"/>
                      </a:cubicBezTo>
                      <a:cubicBezTo>
                        <a:pt x="664" y="454"/>
                        <a:pt x="667" y="457"/>
                        <a:pt x="668" y="459"/>
                      </a:cubicBezTo>
                      <a:cubicBezTo>
                        <a:pt x="668" y="461"/>
                        <a:pt x="671" y="462"/>
                        <a:pt x="673" y="460"/>
                      </a:cubicBezTo>
                      <a:cubicBezTo>
                        <a:pt x="676" y="458"/>
                        <a:pt x="678" y="455"/>
                        <a:pt x="681" y="458"/>
                      </a:cubicBezTo>
                      <a:cubicBezTo>
                        <a:pt x="683" y="460"/>
                        <a:pt x="686" y="463"/>
                        <a:pt x="689" y="466"/>
                      </a:cubicBezTo>
                      <a:cubicBezTo>
                        <a:pt x="692" y="469"/>
                        <a:pt x="687" y="473"/>
                        <a:pt x="689" y="476"/>
                      </a:cubicBezTo>
                      <a:cubicBezTo>
                        <a:pt x="691" y="478"/>
                        <a:pt x="689" y="481"/>
                        <a:pt x="692" y="484"/>
                      </a:cubicBezTo>
                      <a:cubicBezTo>
                        <a:pt x="696" y="486"/>
                        <a:pt x="693" y="491"/>
                        <a:pt x="696" y="492"/>
                      </a:cubicBezTo>
                      <a:cubicBezTo>
                        <a:pt x="698" y="493"/>
                        <a:pt x="701" y="497"/>
                        <a:pt x="701" y="499"/>
                      </a:cubicBezTo>
                      <a:cubicBezTo>
                        <a:pt x="701" y="501"/>
                        <a:pt x="707" y="503"/>
                        <a:pt x="707" y="500"/>
                      </a:cubicBezTo>
                      <a:cubicBezTo>
                        <a:pt x="707" y="497"/>
                        <a:pt x="710" y="493"/>
                        <a:pt x="711" y="490"/>
                      </a:cubicBezTo>
                      <a:cubicBezTo>
                        <a:pt x="711" y="488"/>
                        <a:pt x="709" y="477"/>
                        <a:pt x="706" y="474"/>
                      </a:cubicBezTo>
                      <a:cubicBezTo>
                        <a:pt x="704" y="471"/>
                        <a:pt x="707" y="470"/>
                        <a:pt x="704" y="467"/>
                      </a:cubicBezTo>
                      <a:cubicBezTo>
                        <a:pt x="701" y="463"/>
                        <a:pt x="699" y="456"/>
                        <a:pt x="699" y="451"/>
                      </a:cubicBezTo>
                      <a:cubicBezTo>
                        <a:pt x="700" y="446"/>
                        <a:pt x="706" y="437"/>
                        <a:pt x="709" y="434"/>
                      </a:cubicBezTo>
                      <a:cubicBezTo>
                        <a:pt x="712" y="431"/>
                        <a:pt x="715" y="433"/>
                        <a:pt x="716" y="430"/>
                      </a:cubicBezTo>
                      <a:cubicBezTo>
                        <a:pt x="717" y="427"/>
                        <a:pt x="720" y="424"/>
                        <a:pt x="723" y="424"/>
                      </a:cubicBezTo>
                      <a:cubicBezTo>
                        <a:pt x="725" y="424"/>
                        <a:pt x="727" y="424"/>
                        <a:pt x="727" y="422"/>
                      </a:cubicBezTo>
                      <a:cubicBezTo>
                        <a:pt x="728" y="420"/>
                        <a:pt x="731" y="417"/>
                        <a:pt x="736" y="416"/>
                      </a:cubicBezTo>
                      <a:cubicBezTo>
                        <a:pt x="741" y="415"/>
                        <a:pt x="738" y="413"/>
                        <a:pt x="737" y="411"/>
                      </a:cubicBezTo>
                      <a:cubicBezTo>
                        <a:pt x="735" y="408"/>
                        <a:pt x="738" y="406"/>
                        <a:pt x="739" y="408"/>
                      </a:cubicBezTo>
                      <a:cubicBezTo>
                        <a:pt x="740" y="409"/>
                        <a:pt x="742" y="409"/>
                        <a:pt x="744" y="408"/>
                      </a:cubicBezTo>
                      <a:cubicBezTo>
                        <a:pt x="746" y="407"/>
                        <a:pt x="750" y="403"/>
                        <a:pt x="746" y="403"/>
                      </a:cubicBezTo>
                      <a:cubicBezTo>
                        <a:pt x="742" y="403"/>
                        <a:pt x="741" y="402"/>
                        <a:pt x="744" y="401"/>
                      </a:cubicBezTo>
                      <a:cubicBezTo>
                        <a:pt x="746" y="400"/>
                        <a:pt x="744" y="395"/>
                        <a:pt x="741" y="395"/>
                      </a:cubicBezTo>
                      <a:cubicBezTo>
                        <a:pt x="738" y="395"/>
                        <a:pt x="739" y="393"/>
                        <a:pt x="741" y="391"/>
                      </a:cubicBezTo>
                      <a:cubicBezTo>
                        <a:pt x="743" y="389"/>
                        <a:pt x="738" y="386"/>
                        <a:pt x="735" y="384"/>
                      </a:cubicBezTo>
                      <a:cubicBezTo>
                        <a:pt x="733" y="383"/>
                        <a:pt x="737" y="382"/>
                        <a:pt x="739" y="382"/>
                      </a:cubicBezTo>
                      <a:cubicBezTo>
                        <a:pt x="740" y="381"/>
                        <a:pt x="739" y="373"/>
                        <a:pt x="740" y="371"/>
                      </a:cubicBezTo>
                      <a:cubicBezTo>
                        <a:pt x="741" y="369"/>
                        <a:pt x="744" y="369"/>
                        <a:pt x="743" y="371"/>
                      </a:cubicBezTo>
                      <a:cubicBezTo>
                        <a:pt x="741" y="373"/>
                        <a:pt x="740" y="376"/>
                        <a:pt x="742" y="379"/>
                      </a:cubicBezTo>
                      <a:cubicBezTo>
                        <a:pt x="744" y="382"/>
                        <a:pt x="745" y="384"/>
                        <a:pt x="744" y="388"/>
                      </a:cubicBezTo>
                      <a:cubicBezTo>
                        <a:pt x="743" y="393"/>
                        <a:pt x="745" y="392"/>
                        <a:pt x="748" y="386"/>
                      </a:cubicBezTo>
                      <a:cubicBezTo>
                        <a:pt x="750" y="381"/>
                        <a:pt x="751" y="376"/>
                        <a:pt x="749" y="376"/>
                      </a:cubicBezTo>
                      <a:cubicBezTo>
                        <a:pt x="747" y="375"/>
                        <a:pt x="747" y="370"/>
                        <a:pt x="749" y="372"/>
                      </a:cubicBezTo>
                      <a:cubicBezTo>
                        <a:pt x="751" y="375"/>
                        <a:pt x="752" y="375"/>
                        <a:pt x="755" y="372"/>
                      </a:cubicBezTo>
                      <a:cubicBezTo>
                        <a:pt x="758" y="369"/>
                        <a:pt x="761" y="363"/>
                        <a:pt x="759" y="362"/>
                      </a:cubicBezTo>
                      <a:cubicBezTo>
                        <a:pt x="757" y="361"/>
                        <a:pt x="760" y="359"/>
                        <a:pt x="764" y="360"/>
                      </a:cubicBezTo>
                      <a:cubicBezTo>
                        <a:pt x="767" y="360"/>
                        <a:pt x="775" y="357"/>
                        <a:pt x="775" y="356"/>
                      </a:cubicBezTo>
                      <a:cubicBezTo>
                        <a:pt x="777" y="353"/>
                        <a:pt x="763" y="358"/>
                        <a:pt x="763" y="356"/>
                      </a:cubicBezTo>
                      <a:cubicBezTo>
                        <a:pt x="763" y="354"/>
                        <a:pt x="772" y="352"/>
                        <a:pt x="776" y="352"/>
                      </a:cubicBezTo>
                      <a:cubicBezTo>
                        <a:pt x="780" y="352"/>
                        <a:pt x="778" y="346"/>
                        <a:pt x="780" y="349"/>
                      </a:cubicBezTo>
                      <a:cubicBezTo>
                        <a:pt x="782" y="351"/>
                        <a:pt x="784" y="350"/>
                        <a:pt x="787" y="349"/>
                      </a:cubicBezTo>
                      <a:cubicBezTo>
                        <a:pt x="789" y="348"/>
                        <a:pt x="787" y="344"/>
                        <a:pt x="785" y="343"/>
                      </a:cubicBezTo>
                      <a:cubicBezTo>
                        <a:pt x="782" y="342"/>
                        <a:pt x="787" y="340"/>
                        <a:pt x="786" y="339"/>
                      </a:cubicBezTo>
                      <a:cubicBezTo>
                        <a:pt x="785" y="337"/>
                        <a:pt x="788" y="331"/>
                        <a:pt x="791" y="330"/>
                      </a:cubicBezTo>
                      <a:cubicBezTo>
                        <a:pt x="794" y="329"/>
                        <a:pt x="793" y="327"/>
                        <a:pt x="796" y="327"/>
                      </a:cubicBezTo>
                      <a:cubicBezTo>
                        <a:pt x="798" y="327"/>
                        <a:pt x="799" y="324"/>
                        <a:pt x="801" y="321"/>
                      </a:cubicBezTo>
                      <a:cubicBezTo>
                        <a:pt x="804" y="319"/>
                        <a:pt x="808" y="325"/>
                        <a:pt x="811" y="322"/>
                      </a:cubicBezTo>
                      <a:cubicBezTo>
                        <a:pt x="813" y="320"/>
                        <a:pt x="815" y="319"/>
                        <a:pt x="817" y="317"/>
                      </a:cubicBezTo>
                      <a:cubicBezTo>
                        <a:pt x="808" y="305"/>
                        <a:pt x="811" y="297"/>
                        <a:pt x="811" y="29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7" name="Freeform 120">
                  <a:extLst>
                    <a:ext uri="{FF2B5EF4-FFF2-40B4-BE49-F238E27FC236}">
                      <a16:creationId xmlns:a16="http://schemas.microsoft.com/office/drawing/2014/main" id="{C2121C21-4932-42B3-AD35-3E30E6528A9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489743" y="-10835281"/>
                  <a:ext cx="635669" cy="457294"/>
                </a:xfrm>
                <a:custGeom>
                  <a:avLst/>
                  <a:gdLst>
                    <a:gd name="T0" fmla="*/ 102 w 103"/>
                    <a:gd name="T1" fmla="*/ 13 h 74"/>
                    <a:gd name="T2" fmla="*/ 94 w 103"/>
                    <a:gd name="T3" fmla="*/ 13 h 74"/>
                    <a:gd name="T4" fmla="*/ 84 w 103"/>
                    <a:gd name="T5" fmla="*/ 10 h 74"/>
                    <a:gd name="T6" fmla="*/ 81 w 103"/>
                    <a:gd name="T7" fmla="*/ 10 h 74"/>
                    <a:gd name="T8" fmla="*/ 74 w 103"/>
                    <a:gd name="T9" fmla="*/ 10 h 74"/>
                    <a:gd name="T10" fmla="*/ 66 w 103"/>
                    <a:gd name="T11" fmla="*/ 6 h 74"/>
                    <a:gd name="T12" fmla="*/ 62 w 103"/>
                    <a:gd name="T13" fmla="*/ 4 h 74"/>
                    <a:gd name="T14" fmla="*/ 48 w 103"/>
                    <a:gd name="T15" fmla="*/ 3 h 74"/>
                    <a:gd name="T16" fmla="*/ 21 w 103"/>
                    <a:gd name="T17" fmla="*/ 2 h 74"/>
                    <a:gd name="T18" fmla="*/ 12 w 103"/>
                    <a:gd name="T19" fmla="*/ 0 h 74"/>
                    <a:gd name="T20" fmla="*/ 5 w 103"/>
                    <a:gd name="T21" fmla="*/ 4 h 74"/>
                    <a:gd name="T22" fmla="*/ 3 w 103"/>
                    <a:gd name="T23" fmla="*/ 10 h 74"/>
                    <a:gd name="T24" fmla="*/ 5 w 103"/>
                    <a:gd name="T25" fmla="*/ 18 h 74"/>
                    <a:gd name="T26" fmla="*/ 7 w 103"/>
                    <a:gd name="T27" fmla="*/ 17 h 74"/>
                    <a:gd name="T28" fmla="*/ 10 w 103"/>
                    <a:gd name="T29" fmla="*/ 17 h 74"/>
                    <a:gd name="T30" fmla="*/ 15 w 103"/>
                    <a:gd name="T31" fmla="*/ 18 h 74"/>
                    <a:gd name="T32" fmla="*/ 18 w 103"/>
                    <a:gd name="T33" fmla="*/ 18 h 74"/>
                    <a:gd name="T34" fmla="*/ 23 w 103"/>
                    <a:gd name="T35" fmla="*/ 19 h 74"/>
                    <a:gd name="T36" fmla="*/ 25 w 103"/>
                    <a:gd name="T37" fmla="*/ 22 h 74"/>
                    <a:gd name="T38" fmla="*/ 20 w 103"/>
                    <a:gd name="T39" fmla="*/ 27 h 74"/>
                    <a:gd name="T40" fmla="*/ 20 w 103"/>
                    <a:gd name="T41" fmla="*/ 34 h 74"/>
                    <a:gd name="T42" fmla="*/ 19 w 103"/>
                    <a:gd name="T43" fmla="*/ 40 h 74"/>
                    <a:gd name="T44" fmla="*/ 17 w 103"/>
                    <a:gd name="T45" fmla="*/ 43 h 74"/>
                    <a:gd name="T46" fmla="*/ 19 w 103"/>
                    <a:gd name="T47" fmla="*/ 47 h 74"/>
                    <a:gd name="T48" fmla="*/ 17 w 103"/>
                    <a:gd name="T49" fmla="*/ 52 h 74"/>
                    <a:gd name="T50" fmla="*/ 19 w 103"/>
                    <a:gd name="T51" fmla="*/ 56 h 74"/>
                    <a:gd name="T52" fmla="*/ 16 w 103"/>
                    <a:gd name="T53" fmla="*/ 61 h 74"/>
                    <a:gd name="T54" fmla="*/ 17 w 103"/>
                    <a:gd name="T55" fmla="*/ 63 h 74"/>
                    <a:gd name="T56" fmla="*/ 21 w 103"/>
                    <a:gd name="T57" fmla="*/ 64 h 74"/>
                    <a:gd name="T58" fmla="*/ 31 w 103"/>
                    <a:gd name="T59" fmla="*/ 73 h 74"/>
                    <a:gd name="T60" fmla="*/ 33 w 103"/>
                    <a:gd name="T61" fmla="*/ 70 h 74"/>
                    <a:gd name="T62" fmla="*/ 37 w 103"/>
                    <a:gd name="T63" fmla="*/ 70 h 74"/>
                    <a:gd name="T64" fmla="*/ 45 w 103"/>
                    <a:gd name="T65" fmla="*/ 67 h 74"/>
                    <a:gd name="T66" fmla="*/ 55 w 103"/>
                    <a:gd name="T67" fmla="*/ 67 h 74"/>
                    <a:gd name="T68" fmla="*/ 61 w 103"/>
                    <a:gd name="T69" fmla="*/ 64 h 74"/>
                    <a:gd name="T70" fmla="*/ 67 w 103"/>
                    <a:gd name="T71" fmla="*/ 60 h 74"/>
                    <a:gd name="T72" fmla="*/ 70 w 103"/>
                    <a:gd name="T73" fmla="*/ 54 h 74"/>
                    <a:gd name="T74" fmla="*/ 76 w 103"/>
                    <a:gd name="T75" fmla="*/ 48 h 74"/>
                    <a:gd name="T76" fmla="*/ 76 w 103"/>
                    <a:gd name="T77" fmla="*/ 36 h 74"/>
                    <a:gd name="T78" fmla="*/ 83 w 103"/>
                    <a:gd name="T79" fmla="*/ 28 h 74"/>
                    <a:gd name="T80" fmla="*/ 90 w 103"/>
                    <a:gd name="T81" fmla="*/ 24 h 74"/>
                    <a:gd name="T82" fmla="*/ 99 w 103"/>
                    <a:gd name="T83" fmla="*/ 20 h 74"/>
                    <a:gd name="T84" fmla="*/ 102 w 103"/>
                    <a:gd name="T85" fmla="*/ 13 h 74"/>
                    <a:gd name="T86" fmla="*/ 103 w 103"/>
                    <a:gd name="T87" fmla="*/ 39 h 74"/>
                    <a:gd name="T88" fmla="*/ 96 w 103"/>
                    <a:gd name="T89" fmla="*/ 41 h 74"/>
                    <a:gd name="T90" fmla="*/ 103 w 103"/>
                    <a:gd name="T91" fmla="*/ 39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3" h="74">
                      <a:moveTo>
                        <a:pt x="102" y="13"/>
                      </a:moveTo>
                      <a:cubicBezTo>
                        <a:pt x="99" y="13"/>
                        <a:pt x="96" y="13"/>
                        <a:pt x="94" y="13"/>
                      </a:cubicBezTo>
                      <a:cubicBezTo>
                        <a:pt x="91" y="12"/>
                        <a:pt x="86" y="12"/>
                        <a:pt x="84" y="10"/>
                      </a:cubicBezTo>
                      <a:cubicBezTo>
                        <a:pt x="83" y="9"/>
                        <a:pt x="81" y="8"/>
                        <a:pt x="81" y="10"/>
                      </a:cubicBezTo>
                      <a:cubicBezTo>
                        <a:pt x="81" y="11"/>
                        <a:pt x="77" y="12"/>
                        <a:pt x="74" y="10"/>
                      </a:cubicBezTo>
                      <a:cubicBezTo>
                        <a:pt x="72" y="9"/>
                        <a:pt x="68" y="8"/>
                        <a:pt x="66" y="6"/>
                      </a:cubicBezTo>
                      <a:cubicBezTo>
                        <a:pt x="66" y="6"/>
                        <a:pt x="64" y="5"/>
                        <a:pt x="62" y="4"/>
                      </a:cubicBezTo>
                      <a:cubicBezTo>
                        <a:pt x="59" y="5"/>
                        <a:pt x="53" y="2"/>
                        <a:pt x="48" y="3"/>
                      </a:cubicBezTo>
                      <a:cubicBezTo>
                        <a:pt x="43" y="3"/>
                        <a:pt x="28" y="2"/>
                        <a:pt x="21" y="2"/>
                      </a:cubicBezTo>
                      <a:cubicBezTo>
                        <a:pt x="15" y="3"/>
                        <a:pt x="15" y="0"/>
                        <a:pt x="12" y="0"/>
                      </a:cubicBezTo>
                      <a:cubicBezTo>
                        <a:pt x="8" y="0"/>
                        <a:pt x="10" y="4"/>
                        <a:pt x="5" y="4"/>
                      </a:cubicBezTo>
                      <a:cubicBezTo>
                        <a:pt x="0" y="4"/>
                        <a:pt x="0" y="7"/>
                        <a:pt x="3" y="10"/>
                      </a:cubicBezTo>
                      <a:cubicBezTo>
                        <a:pt x="5" y="11"/>
                        <a:pt x="5" y="15"/>
                        <a:pt x="5" y="18"/>
                      </a:cubicBezTo>
                      <a:cubicBezTo>
                        <a:pt x="6" y="18"/>
                        <a:pt x="6" y="17"/>
                        <a:pt x="7" y="17"/>
                      </a:cubicBezTo>
                      <a:cubicBezTo>
                        <a:pt x="8" y="15"/>
                        <a:pt x="10" y="15"/>
                        <a:pt x="10" y="17"/>
                      </a:cubicBezTo>
                      <a:cubicBezTo>
                        <a:pt x="10" y="19"/>
                        <a:pt x="13" y="18"/>
                        <a:pt x="15" y="18"/>
                      </a:cubicBezTo>
                      <a:cubicBezTo>
                        <a:pt x="16" y="18"/>
                        <a:pt x="16" y="20"/>
                        <a:pt x="18" y="18"/>
                      </a:cubicBezTo>
                      <a:cubicBezTo>
                        <a:pt x="20" y="17"/>
                        <a:pt x="23" y="17"/>
                        <a:pt x="23" y="19"/>
                      </a:cubicBezTo>
                      <a:cubicBezTo>
                        <a:pt x="23" y="21"/>
                        <a:pt x="27" y="20"/>
                        <a:pt x="25" y="22"/>
                      </a:cubicBezTo>
                      <a:cubicBezTo>
                        <a:pt x="22" y="25"/>
                        <a:pt x="20" y="25"/>
                        <a:pt x="20" y="27"/>
                      </a:cubicBezTo>
                      <a:cubicBezTo>
                        <a:pt x="20" y="29"/>
                        <a:pt x="22" y="32"/>
                        <a:pt x="20" y="34"/>
                      </a:cubicBezTo>
                      <a:cubicBezTo>
                        <a:pt x="18" y="36"/>
                        <a:pt x="21" y="40"/>
                        <a:pt x="19" y="40"/>
                      </a:cubicBezTo>
                      <a:cubicBezTo>
                        <a:pt x="17" y="40"/>
                        <a:pt x="14" y="41"/>
                        <a:pt x="17" y="43"/>
                      </a:cubicBezTo>
                      <a:cubicBezTo>
                        <a:pt x="19" y="45"/>
                        <a:pt x="21" y="47"/>
                        <a:pt x="19" y="47"/>
                      </a:cubicBezTo>
                      <a:cubicBezTo>
                        <a:pt x="17" y="47"/>
                        <a:pt x="16" y="51"/>
                        <a:pt x="17" y="52"/>
                      </a:cubicBezTo>
                      <a:cubicBezTo>
                        <a:pt x="18" y="53"/>
                        <a:pt x="22" y="55"/>
                        <a:pt x="19" y="56"/>
                      </a:cubicBezTo>
                      <a:cubicBezTo>
                        <a:pt x="16" y="56"/>
                        <a:pt x="16" y="59"/>
                        <a:pt x="16" y="61"/>
                      </a:cubicBezTo>
                      <a:cubicBezTo>
                        <a:pt x="16" y="61"/>
                        <a:pt x="16" y="62"/>
                        <a:pt x="17" y="63"/>
                      </a:cubicBezTo>
                      <a:cubicBezTo>
                        <a:pt x="18" y="63"/>
                        <a:pt x="20" y="63"/>
                        <a:pt x="21" y="64"/>
                      </a:cubicBezTo>
                      <a:cubicBezTo>
                        <a:pt x="24" y="65"/>
                        <a:pt x="26" y="74"/>
                        <a:pt x="31" y="73"/>
                      </a:cubicBezTo>
                      <a:cubicBezTo>
                        <a:pt x="33" y="73"/>
                        <a:pt x="32" y="71"/>
                        <a:pt x="33" y="70"/>
                      </a:cubicBezTo>
                      <a:cubicBezTo>
                        <a:pt x="34" y="69"/>
                        <a:pt x="35" y="70"/>
                        <a:pt x="37" y="70"/>
                      </a:cubicBezTo>
                      <a:cubicBezTo>
                        <a:pt x="39" y="70"/>
                        <a:pt x="40" y="67"/>
                        <a:pt x="45" y="67"/>
                      </a:cubicBezTo>
                      <a:cubicBezTo>
                        <a:pt x="49" y="67"/>
                        <a:pt x="52" y="67"/>
                        <a:pt x="55" y="67"/>
                      </a:cubicBezTo>
                      <a:cubicBezTo>
                        <a:pt x="58" y="67"/>
                        <a:pt x="60" y="66"/>
                        <a:pt x="61" y="64"/>
                      </a:cubicBezTo>
                      <a:cubicBezTo>
                        <a:pt x="61" y="62"/>
                        <a:pt x="64" y="60"/>
                        <a:pt x="67" y="60"/>
                      </a:cubicBezTo>
                      <a:cubicBezTo>
                        <a:pt x="70" y="59"/>
                        <a:pt x="70" y="56"/>
                        <a:pt x="70" y="54"/>
                      </a:cubicBezTo>
                      <a:cubicBezTo>
                        <a:pt x="70" y="52"/>
                        <a:pt x="76" y="49"/>
                        <a:pt x="76" y="48"/>
                      </a:cubicBezTo>
                      <a:cubicBezTo>
                        <a:pt x="76" y="46"/>
                        <a:pt x="73" y="41"/>
                        <a:pt x="76" y="36"/>
                      </a:cubicBezTo>
                      <a:cubicBezTo>
                        <a:pt x="79" y="31"/>
                        <a:pt x="83" y="31"/>
                        <a:pt x="83" y="28"/>
                      </a:cubicBezTo>
                      <a:cubicBezTo>
                        <a:pt x="83" y="26"/>
                        <a:pt x="86" y="25"/>
                        <a:pt x="90" y="24"/>
                      </a:cubicBezTo>
                      <a:cubicBezTo>
                        <a:pt x="94" y="24"/>
                        <a:pt x="95" y="21"/>
                        <a:pt x="99" y="20"/>
                      </a:cubicBezTo>
                      <a:cubicBezTo>
                        <a:pt x="102" y="19"/>
                        <a:pt x="103" y="16"/>
                        <a:pt x="102" y="13"/>
                      </a:cubicBezTo>
                      <a:close/>
                      <a:moveTo>
                        <a:pt x="103" y="39"/>
                      </a:moveTo>
                      <a:cubicBezTo>
                        <a:pt x="102" y="35"/>
                        <a:pt x="94" y="40"/>
                        <a:pt x="96" y="41"/>
                      </a:cubicBezTo>
                      <a:cubicBezTo>
                        <a:pt x="99" y="44"/>
                        <a:pt x="103" y="43"/>
                        <a:pt x="103" y="3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8" name="Freeform 121">
                  <a:extLst>
                    <a:ext uri="{FF2B5EF4-FFF2-40B4-BE49-F238E27FC236}">
                      <a16:creationId xmlns:a16="http://schemas.microsoft.com/office/drawing/2014/main" id="{29FE0382-9A99-444F-B61F-D7D9D00266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377323" y="-11033115"/>
                  <a:ext cx="165405" cy="90810"/>
                </a:xfrm>
                <a:custGeom>
                  <a:avLst/>
                  <a:gdLst>
                    <a:gd name="T0" fmla="*/ 0 w 27"/>
                    <a:gd name="T1" fmla="*/ 13 h 15"/>
                    <a:gd name="T2" fmla="*/ 5 w 27"/>
                    <a:gd name="T3" fmla="*/ 13 h 15"/>
                    <a:gd name="T4" fmla="*/ 6 w 27"/>
                    <a:gd name="T5" fmla="*/ 15 h 15"/>
                    <a:gd name="T6" fmla="*/ 12 w 27"/>
                    <a:gd name="T7" fmla="*/ 14 h 15"/>
                    <a:gd name="T8" fmla="*/ 17 w 27"/>
                    <a:gd name="T9" fmla="*/ 14 h 15"/>
                    <a:gd name="T10" fmla="*/ 20 w 27"/>
                    <a:gd name="T11" fmla="*/ 11 h 15"/>
                    <a:gd name="T12" fmla="*/ 22 w 27"/>
                    <a:gd name="T13" fmla="*/ 7 h 15"/>
                    <a:gd name="T14" fmla="*/ 27 w 27"/>
                    <a:gd name="T15" fmla="*/ 3 h 15"/>
                    <a:gd name="T16" fmla="*/ 25 w 27"/>
                    <a:gd name="T17" fmla="*/ 0 h 15"/>
                    <a:gd name="T18" fmla="*/ 19 w 27"/>
                    <a:gd name="T19" fmla="*/ 2 h 15"/>
                    <a:gd name="T20" fmla="*/ 12 w 27"/>
                    <a:gd name="T21" fmla="*/ 4 h 15"/>
                    <a:gd name="T22" fmla="*/ 3 w 27"/>
                    <a:gd name="T23" fmla="*/ 3 h 15"/>
                    <a:gd name="T24" fmla="*/ 0 w 27"/>
                    <a:gd name="T25" fmla="*/ 3 h 15"/>
                    <a:gd name="T26" fmla="*/ 0 w 27"/>
                    <a:gd name="T27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7" h="15">
                      <a:moveTo>
                        <a:pt x="0" y="13"/>
                      </a:moveTo>
                      <a:cubicBezTo>
                        <a:pt x="2" y="12"/>
                        <a:pt x="4" y="12"/>
                        <a:pt x="5" y="13"/>
                      </a:cubicBezTo>
                      <a:cubicBezTo>
                        <a:pt x="6" y="13"/>
                        <a:pt x="6" y="14"/>
                        <a:pt x="6" y="15"/>
                      </a:cubicBezTo>
                      <a:cubicBezTo>
                        <a:pt x="8" y="15"/>
                        <a:pt x="11" y="14"/>
                        <a:pt x="12" y="14"/>
                      </a:cubicBezTo>
                      <a:cubicBezTo>
                        <a:pt x="13" y="13"/>
                        <a:pt x="17" y="15"/>
                        <a:pt x="17" y="14"/>
                      </a:cubicBezTo>
                      <a:cubicBezTo>
                        <a:pt x="17" y="13"/>
                        <a:pt x="18" y="11"/>
                        <a:pt x="20" y="11"/>
                      </a:cubicBezTo>
                      <a:cubicBezTo>
                        <a:pt x="21" y="11"/>
                        <a:pt x="20" y="7"/>
                        <a:pt x="22" y="7"/>
                      </a:cubicBezTo>
                      <a:cubicBezTo>
                        <a:pt x="23" y="6"/>
                        <a:pt x="27" y="3"/>
                        <a:pt x="27" y="3"/>
                      </a:cubicBezTo>
                      <a:cubicBezTo>
                        <a:pt x="27" y="3"/>
                        <a:pt x="25" y="0"/>
                        <a:pt x="25" y="0"/>
                      </a:cubicBezTo>
                      <a:cubicBezTo>
                        <a:pt x="24" y="0"/>
                        <a:pt x="23" y="2"/>
                        <a:pt x="19" y="2"/>
                      </a:cubicBezTo>
                      <a:cubicBezTo>
                        <a:pt x="16" y="2"/>
                        <a:pt x="14" y="4"/>
                        <a:pt x="12" y="4"/>
                      </a:cubicBezTo>
                      <a:cubicBezTo>
                        <a:pt x="11" y="4"/>
                        <a:pt x="6" y="3"/>
                        <a:pt x="3" y="3"/>
                      </a:cubicBezTo>
                      <a:cubicBezTo>
                        <a:pt x="2" y="3"/>
                        <a:pt x="1" y="3"/>
                        <a:pt x="0" y="3"/>
                      </a:cubicBezTo>
                      <a:cubicBezTo>
                        <a:pt x="0" y="5"/>
                        <a:pt x="0" y="9"/>
                        <a:pt x="0" y="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39" name="Freeform 122">
                  <a:extLst>
                    <a:ext uri="{FF2B5EF4-FFF2-40B4-BE49-F238E27FC236}">
                      <a16:creationId xmlns:a16="http://schemas.microsoft.com/office/drawing/2014/main" id="{0954A673-73A2-4D96-97B5-D71DC9808C6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040029" y="-10718525"/>
                  <a:ext cx="317835" cy="395672"/>
                </a:xfrm>
                <a:custGeom>
                  <a:avLst/>
                  <a:gdLst>
                    <a:gd name="T0" fmla="*/ 51 w 51"/>
                    <a:gd name="T1" fmla="*/ 0 h 64"/>
                    <a:gd name="T2" fmla="*/ 47 w 51"/>
                    <a:gd name="T3" fmla="*/ 2 h 64"/>
                    <a:gd name="T4" fmla="*/ 44 w 51"/>
                    <a:gd name="T5" fmla="*/ 4 h 64"/>
                    <a:gd name="T6" fmla="*/ 35 w 51"/>
                    <a:gd name="T7" fmla="*/ 2 h 64"/>
                    <a:gd name="T8" fmla="*/ 24 w 51"/>
                    <a:gd name="T9" fmla="*/ 2 h 64"/>
                    <a:gd name="T10" fmla="*/ 24 w 51"/>
                    <a:gd name="T11" fmla="*/ 3 h 64"/>
                    <a:gd name="T12" fmla="*/ 17 w 51"/>
                    <a:gd name="T13" fmla="*/ 6 h 64"/>
                    <a:gd name="T14" fmla="*/ 13 w 51"/>
                    <a:gd name="T15" fmla="*/ 8 h 64"/>
                    <a:gd name="T16" fmla="*/ 7 w 51"/>
                    <a:gd name="T17" fmla="*/ 9 h 64"/>
                    <a:gd name="T18" fmla="*/ 5 w 51"/>
                    <a:gd name="T19" fmla="*/ 14 h 64"/>
                    <a:gd name="T20" fmla="*/ 3 w 51"/>
                    <a:gd name="T21" fmla="*/ 17 h 64"/>
                    <a:gd name="T22" fmla="*/ 0 w 51"/>
                    <a:gd name="T23" fmla="*/ 21 h 64"/>
                    <a:gd name="T24" fmla="*/ 1 w 51"/>
                    <a:gd name="T25" fmla="*/ 21 h 64"/>
                    <a:gd name="T26" fmla="*/ 5 w 51"/>
                    <a:gd name="T27" fmla="*/ 28 h 64"/>
                    <a:gd name="T28" fmla="*/ 11 w 51"/>
                    <a:gd name="T29" fmla="*/ 30 h 64"/>
                    <a:gd name="T30" fmla="*/ 18 w 51"/>
                    <a:gd name="T31" fmla="*/ 33 h 64"/>
                    <a:gd name="T32" fmla="*/ 9 w 51"/>
                    <a:gd name="T33" fmla="*/ 33 h 64"/>
                    <a:gd name="T34" fmla="*/ 11 w 51"/>
                    <a:gd name="T35" fmla="*/ 40 h 64"/>
                    <a:gd name="T36" fmla="*/ 15 w 51"/>
                    <a:gd name="T37" fmla="*/ 46 h 64"/>
                    <a:gd name="T38" fmla="*/ 23 w 51"/>
                    <a:gd name="T39" fmla="*/ 49 h 64"/>
                    <a:gd name="T40" fmla="*/ 21 w 51"/>
                    <a:gd name="T41" fmla="*/ 41 h 64"/>
                    <a:gd name="T42" fmla="*/ 27 w 51"/>
                    <a:gd name="T43" fmla="*/ 41 h 64"/>
                    <a:gd name="T44" fmla="*/ 23 w 51"/>
                    <a:gd name="T45" fmla="*/ 38 h 64"/>
                    <a:gd name="T46" fmla="*/ 26 w 51"/>
                    <a:gd name="T47" fmla="*/ 36 h 64"/>
                    <a:gd name="T48" fmla="*/ 32 w 51"/>
                    <a:gd name="T49" fmla="*/ 36 h 64"/>
                    <a:gd name="T50" fmla="*/ 29 w 51"/>
                    <a:gd name="T51" fmla="*/ 29 h 64"/>
                    <a:gd name="T52" fmla="*/ 23 w 51"/>
                    <a:gd name="T53" fmla="*/ 29 h 64"/>
                    <a:gd name="T54" fmla="*/ 25 w 51"/>
                    <a:gd name="T55" fmla="*/ 25 h 64"/>
                    <a:gd name="T56" fmla="*/ 19 w 51"/>
                    <a:gd name="T57" fmla="*/ 16 h 64"/>
                    <a:gd name="T58" fmla="*/ 23 w 51"/>
                    <a:gd name="T59" fmla="*/ 14 h 64"/>
                    <a:gd name="T60" fmla="*/ 29 w 51"/>
                    <a:gd name="T61" fmla="*/ 15 h 64"/>
                    <a:gd name="T62" fmla="*/ 31 w 51"/>
                    <a:gd name="T63" fmla="*/ 9 h 64"/>
                    <a:gd name="T64" fmla="*/ 36 w 51"/>
                    <a:gd name="T65" fmla="*/ 10 h 64"/>
                    <a:gd name="T66" fmla="*/ 42 w 51"/>
                    <a:gd name="T67" fmla="*/ 7 h 64"/>
                    <a:gd name="T68" fmla="*/ 47 w 51"/>
                    <a:gd name="T69" fmla="*/ 10 h 64"/>
                    <a:gd name="T70" fmla="*/ 49 w 51"/>
                    <a:gd name="T71" fmla="*/ 7 h 64"/>
                    <a:gd name="T72" fmla="*/ 51 w 51"/>
                    <a:gd name="T73" fmla="*/ 3 h 64"/>
                    <a:gd name="T74" fmla="*/ 51 w 51"/>
                    <a:gd name="T75" fmla="*/ 0 h 64"/>
                    <a:gd name="T76" fmla="*/ 44 w 51"/>
                    <a:gd name="T77" fmla="*/ 60 h 64"/>
                    <a:gd name="T78" fmla="*/ 31 w 51"/>
                    <a:gd name="T79" fmla="*/ 59 h 64"/>
                    <a:gd name="T80" fmla="*/ 26 w 51"/>
                    <a:gd name="T81" fmla="*/ 61 h 64"/>
                    <a:gd name="T82" fmla="*/ 38 w 51"/>
                    <a:gd name="T83" fmla="*/ 64 h 64"/>
                    <a:gd name="T84" fmla="*/ 49 w 51"/>
                    <a:gd name="T85" fmla="*/ 60 h 64"/>
                    <a:gd name="T86" fmla="*/ 44 w 51"/>
                    <a:gd name="T87" fmla="*/ 6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1" h="64">
                      <a:moveTo>
                        <a:pt x="51" y="0"/>
                      </a:moveTo>
                      <a:cubicBezTo>
                        <a:pt x="49" y="0"/>
                        <a:pt x="46" y="1"/>
                        <a:pt x="47" y="2"/>
                      </a:cubicBezTo>
                      <a:cubicBezTo>
                        <a:pt x="47" y="3"/>
                        <a:pt x="46" y="4"/>
                        <a:pt x="44" y="4"/>
                      </a:cubicBezTo>
                      <a:cubicBezTo>
                        <a:pt x="44" y="4"/>
                        <a:pt x="37" y="3"/>
                        <a:pt x="35" y="2"/>
                      </a:cubicBezTo>
                      <a:cubicBezTo>
                        <a:pt x="34" y="2"/>
                        <a:pt x="27" y="2"/>
                        <a:pt x="24" y="2"/>
                      </a:cubicBezTo>
                      <a:cubicBezTo>
                        <a:pt x="24" y="2"/>
                        <a:pt x="24" y="2"/>
                        <a:pt x="24" y="3"/>
                      </a:cubicBezTo>
                      <a:cubicBezTo>
                        <a:pt x="24" y="4"/>
                        <a:pt x="18" y="7"/>
                        <a:pt x="17" y="6"/>
                      </a:cubicBezTo>
                      <a:cubicBezTo>
                        <a:pt x="16" y="6"/>
                        <a:pt x="15" y="8"/>
                        <a:pt x="13" y="8"/>
                      </a:cubicBezTo>
                      <a:cubicBezTo>
                        <a:pt x="11" y="9"/>
                        <a:pt x="8" y="8"/>
                        <a:pt x="7" y="9"/>
                      </a:cubicBezTo>
                      <a:cubicBezTo>
                        <a:pt x="7" y="10"/>
                        <a:pt x="6" y="12"/>
                        <a:pt x="5" y="14"/>
                      </a:cubicBezTo>
                      <a:cubicBezTo>
                        <a:pt x="3" y="15"/>
                        <a:pt x="4" y="16"/>
                        <a:pt x="3" y="17"/>
                      </a:cubicBezTo>
                      <a:cubicBezTo>
                        <a:pt x="1" y="17"/>
                        <a:pt x="1" y="19"/>
                        <a:pt x="0" y="21"/>
                      </a:cubicBezTo>
                      <a:cubicBezTo>
                        <a:pt x="0" y="21"/>
                        <a:pt x="1" y="21"/>
                        <a:pt x="1" y="21"/>
                      </a:cubicBezTo>
                      <a:cubicBezTo>
                        <a:pt x="3" y="22"/>
                        <a:pt x="5" y="25"/>
                        <a:pt x="5" y="28"/>
                      </a:cubicBezTo>
                      <a:cubicBezTo>
                        <a:pt x="5" y="31"/>
                        <a:pt x="9" y="32"/>
                        <a:pt x="11" y="30"/>
                      </a:cubicBezTo>
                      <a:cubicBezTo>
                        <a:pt x="13" y="28"/>
                        <a:pt x="18" y="31"/>
                        <a:pt x="18" y="33"/>
                      </a:cubicBezTo>
                      <a:cubicBezTo>
                        <a:pt x="18" y="34"/>
                        <a:pt x="12" y="31"/>
                        <a:pt x="9" y="33"/>
                      </a:cubicBezTo>
                      <a:cubicBezTo>
                        <a:pt x="6" y="36"/>
                        <a:pt x="12" y="38"/>
                        <a:pt x="11" y="40"/>
                      </a:cubicBezTo>
                      <a:cubicBezTo>
                        <a:pt x="10" y="43"/>
                        <a:pt x="12" y="46"/>
                        <a:pt x="15" y="46"/>
                      </a:cubicBezTo>
                      <a:cubicBezTo>
                        <a:pt x="18" y="46"/>
                        <a:pt x="21" y="50"/>
                        <a:pt x="23" y="49"/>
                      </a:cubicBezTo>
                      <a:cubicBezTo>
                        <a:pt x="24" y="49"/>
                        <a:pt x="21" y="42"/>
                        <a:pt x="21" y="41"/>
                      </a:cubicBezTo>
                      <a:cubicBezTo>
                        <a:pt x="22" y="40"/>
                        <a:pt x="25" y="43"/>
                        <a:pt x="27" y="41"/>
                      </a:cubicBezTo>
                      <a:cubicBezTo>
                        <a:pt x="29" y="39"/>
                        <a:pt x="26" y="38"/>
                        <a:pt x="23" y="38"/>
                      </a:cubicBezTo>
                      <a:cubicBezTo>
                        <a:pt x="21" y="38"/>
                        <a:pt x="23" y="34"/>
                        <a:pt x="26" y="36"/>
                      </a:cubicBezTo>
                      <a:cubicBezTo>
                        <a:pt x="29" y="38"/>
                        <a:pt x="30" y="36"/>
                        <a:pt x="32" y="36"/>
                      </a:cubicBezTo>
                      <a:cubicBezTo>
                        <a:pt x="33" y="35"/>
                        <a:pt x="34" y="30"/>
                        <a:pt x="29" y="29"/>
                      </a:cubicBezTo>
                      <a:cubicBezTo>
                        <a:pt x="25" y="28"/>
                        <a:pt x="25" y="32"/>
                        <a:pt x="23" y="29"/>
                      </a:cubicBezTo>
                      <a:cubicBezTo>
                        <a:pt x="20" y="26"/>
                        <a:pt x="25" y="27"/>
                        <a:pt x="25" y="25"/>
                      </a:cubicBezTo>
                      <a:cubicBezTo>
                        <a:pt x="25" y="22"/>
                        <a:pt x="21" y="19"/>
                        <a:pt x="19" y="16"/>
                      </a:cubicBezTo>
                      <a:cubicBezTo>
                        <a:pt x="17" y="13"/>
                        <a:pt x="22" y="12"/>
                        <a:pt x="23" y="14"/>
                      </a:cubicBezTo>
                      <a:cubicBezTo>
                        <a:pt x="24" y="16"/>
                        <a:pt x="27" y="15"/>
                        <a:pt x="29" y="15"/>
                      </a:cubicBezTo>
                      <a:cubicBezTo>
                        <a:pt x="31" y="14"/>
                        <a:pt x="27" y="10"/>
                        <a:pt x="31" y="9"/>
                      </a:cubicBezTo>
                      <a:cubicBezTo>
                        <a:pt x="34" y="7"/>
                        <a:pt x="34" y="10"/>
                        <a:pt x="36" y="10"/>
                      </a:cubicBezTo>
                      <a:cubicBezTo>
                        <a:pt x="37" y="11"/>
                        <a:pt x="38" y="7"/>
                        <a:pt x="42" y="7"/>
                      </a:cubicBezTo>
                      <a:cubicBezTo>
                        <a:pt x="44" y="7"/>
                        <a:pt x="45" y="8"/>
                        <a:pt x="47" y="10"/>
                      </a:cubicBezTo>
                      <a:cubicBezTo>
                        <a:pt x="48" y="9"/>
                        <a:pt x="49" y="8"/>
                        <a:pt x="49" y="7"/>
                      </a:cubicBezTo>
                      <a:cubicBezTo>
                        <a:pt x="49" y="6"/>
                        <a:pt x="51" y="5"/>
                        <a:pt x="51" y="3"/>
                      </a:cubicBezTo>
                      <a:cubicBezTo>
                        <a:pt x="51" y="2"/>
                        <a:pt x="51" y="1"/>
                        <a:pt x="51" y="0"/>
                      </a:cubicBezTo>
                      <a:close/>
                      <a:moveTo>
                        <a:pt x="44" y="60"/>
                      </a:moveTo>
                      <a:cubicBezTo>
                        <a:pt x="42" y="59"/>
                        <a:pt x="34" y="61"/>
                        <a:pt x="31" y="59"/>
                      </a:cubicBezTo>
                      <a:cubicBezTo>
                        <a:pt x="29" y="56"/>
                        <a:pt x="24" y="60"/>
                        <a:pt x="26" y="61"/>
                      </a:cubicBezTo>
                      <a:cubicBezTo>
                        <a:pt x="29" y="61"/>
                        <a:pt x="34" y="64"/>
                        <a:pt x="38" y="64"/>
                      </a:cubicBezTo>
                      <a:cubicBezTo>
                        <a:pt x="43" y="64"/>
                        <a:pt x="49" y="62"/>
                        <a:pt x="49" y="60"/>
                      </a:cubicBezTo>
                      <a:cubicBezTo>
                        <a:pt x="49" y="59"/>
                        <a:pt x="46" y="61"/>
                        <a:pt x="44" y="6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0" name="Freeform 123">
                  <a:extLst>
                    <a:ext uri="{FF2B5EF4-FFF2-40B4-BE49-F238E27FC236}">
                      <a16:creationId xmlns:a16="http://schemas.microsoft.com/office/drawing/2014/main" id="{DA234ADA-4599-4D01-BE45-EF46B0EECF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9453007" y="-10377987"/>
                  <a:ext cx="129728" cy="77837"/>
                </a:xfrm>
                <a:custGeom>
                  <a:avLst/>
                  <a:gdLst>
                    <a:gd name="T0" fmla="*/ 14 w 21"/>
                    <a:gd name="T1" fmla="*/ 8 h 13"/>
                    <a:gd name="T2" fmla="*/ 19 w 21"/>
                    <a:gd name="T3" fmla="*/ 3 h 13"/>
                    <a:gd name="T4" fmla="*/ 18 w 21"/>
                    <a:gd name="T5" fmla="*/ 2 h 13"/>
                    <a:gd name="T6" fmla="*/ 7 w 21"/>
                    <a:gd name="T7" fmla="*/ 5 h 13"/>
                    <a:gd name="T8" fmla="*/ 3 w 21"/>
                    <a:gd name="T9" fmla="*/ 11 h 13"/>
                    <a:gd name="T10" fmla="*/ 14 w 21"/>
                    <a:gd name="T11" fmla="*/ 8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1" h="13">
                      <a:moveTo>
                        <a:pt x="14" y="8"/>
                      </a:moveTo>
                      <a:cubicBezTo>
                        <a:pt x="14" y="7"/>
                        <a:pt x="16" y="4"/>
                        <a:pt x="19" y="3"/>
                      </a:cubicBezTo>
                      <a:cubicBezTo>
                        <a:pt x="21" y="2"/>
                        <a:pt x="20" y="0"/>
                        <a:pt x="18" y="2"/>
                      </a:cubicBezTo>
                      <a:cubicBezTo>
                        <a:pt x="17" y="3"/>
                        <a:pt x="12" y="5"/>
                        <a:pt x="7" y="5"/>
                      </a:cubicBezTo>
                      <a:cubicBezTo>
                        <a:pt x="2" y="5"/>
                        <a:pt x="0" y="9"/>
                        <a:pt x="3" y="11"/>
                      </a:cubicBezTo>
                      <a:cubicBezTo>
                        <a:pt x="8" y="13"/>
                        <a:pt x="14" y="10"/>
                        <a:pt x="14" y="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1" name="Freeform 124">
                  <a:extLst>
                    <a:ext uri="{FF2B5EF4-FFF2-40B4-BE49-F238E27FC236}">
                      <a16:creationId xmlns:a16="http://schemas.microsoft.com/office/drawing/2014/main" id="{0BA823CF-9E82-4FA4-BE65-500B140353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232439" y="-12453642"/>
                  <a:ext cx="538373" cy="272430"/>
                </a:xfrm>
                <a:custGeom>
                  <a:avLst/>
                  <a:gdLst>
                    <a:gd name="T0" fmla="*/ 73 w 87"/>
                    <a:gd name="T1" fmla="*/ 31 h 44"/>
                    <a:gd name="T2" fmla="*/ 79 w 87"/>
                    <a:gd name="T3" fmla="*/ 26 h 44"/>
                    <a:gd name="T4" fmla="*/ 86 w 87"/>
                    <a:gd name="T5" fmla="*/ 20 h 44"/>
                    <a:gd name="T6" fmla="*/ 81 w 87"/>
                    <a:gd name="T7" fmla="*/ 14 h 44"/>
                    <a:gd name="T8" fmla="*/ 77 w 87"/>
                    <a:gd name="T9" fmla="*/ 10 h 44"/>
                    <a:gd name="T10" fmla="*/ 76 w 87"/>
                    <a:gd name="T11" fmla="*/ 5 h 44"/>
                    <a:gd name="T12" fmla="*/ 70 w 87"/>
                    <a:gd name="T13" fmla="*/ 5 h 44"/>
                    <a:gd name="T14" fmla="*/ 62 w 87"/>
                    <a:gd name="T15" fmla="*/ 1 h 44"/>
                    <a:gd name="T16" fmla="*/ 61 w 87"/>
                    <a:gd name="T17" fmla="*/ 6 h 44"/>
                    <a:gd name="T18" fmla="*/ 57 w 87"/>
                    <a:gd name="T19" fmla="*/ 7 h 44"/>
                    <a:gd name="T20" fmla="*/ 53 w 87"/>
                    <a:gd name="T21" fmla="*/ 7 h 44"/>
                    <a:gd name="T22" fmla="*/ 49 w 87"/>
                    <a:gd name="T23" fmla="*/ 7 h 44"/>
                    <a:gd name="T24" fmla="*/ 45 w 87"/>
                    <a:gd name="T25" fmla="*/ 6 h 44"/>
                    <a:gd name="T26" fmla="*/ 39 w 87"/>
                    <a:gd name="T27" fmla="*/ 10 h 44"/>
                    <a:gd name="T28" fmla="*/ 36 w 87"/>
                    <a:gd name="T29" fmla="*/ 8 h 44"/>
                    <a:gd name="T30" fmla="*/ 32 w 87"/>
                    <a:gd name="T31" fmla="*/ 11 h 44"/>
                    <a:gd name="T32" fmla="*/ 31 w 87"/>
                    <a:gd name="T33" fmla="*/ 14 h 44"/>
                    <a:gd name="T34" fmla="*/ 26 w 87"/>
                    <a:gd name="T35" fmla="*/ 17 h 44"/>
                    <a:gd name="T36" fmla="*/ 24 w 87"/>
                    <a:gd name="T37" fmla="*/ 10 h 44"/>
                    <a:gd name="T38" fmla="*/ 12 w 87"/>
                    <a:gd name="T39" fmla="*/ 2 h 44"/>
                    <a:gd name="T40" fmla="*/ 13 w 87"/>
                    <a:gd name="T41" fmla="*/ 7 h 44"/>
                    <a:gd name="T42" fmla="*/ 10 w 87"/>
                    <a:gd name="T43" fmla="*/ 6 h 44"/>
                    <a:gd name="T44" fmla="*/ 5 w 87"/>
                    <a:gd name="T45" fmla="*/ 8 h 44"/>
                    <a:gd name="T46" fmla="*/ 1 w 87"/>
                    <a:gd name="T47" fmla="*/ 14 h 44"/>
                    <a:gd name="T48" fmla="*/ 8 w 87"/>
                    <a:gd name="T49" fmla="*/ 16 h 44"/>
                    <a:gd name="T50" fmla="*/ 18 w 87"/>
                    <a:gd name="T51" fmla="*/ 16 h 44"/>
                    <a:gd name="T52" fmla="*/ 17 w 87"/>
                    <a:gd name="T53" fmla="*/ 20 h 44"/>
                    <a:gd name="T54" fmla="*/ 12 w 87"/>
                    <a:gd name="T55" fmla="*/ 22 h 44"/>
                    <a:gd name="T56" fmla="*/ 3 w 87"/>
                    <a:gd name="T57" fmla="*/ 24 h 44"/>
                    <a:gd name="T58" fmla="*/ 15 w 87"/>
                    <a:gd name="T59" fmla="*/ 25 h 44"/>
                    <a:gd name="T60" fmla="*/ 18 w 87"/>
                    <a:gd name="T61" fmla="*/ 28 h 44"/>
                    <a:gd name="T62" fmla="*/ 20 w 87"/>
                    <a:gd name="T63" fmla="*/ 30 h 44"/>
                    <a:gd name="T64" fmla="*/ 17 w 87"/>
                    <a:gd name="T65" fmla="*/ 34 h 44"/>
                    <a:gd name="T66" fmla="*/ 13 w 87"/>
                    <a:gd name="T67" fmla="*/ 37 h 44"/>
                    <a:gd name="T68" fmla="*/ 24 w 87"/>
                    <a:gd name="T69" fmla="*/ 36 h 44"/>
                    <a:gd name="T70" fmla="*/ 38 w 87"/>
                    <a:gd name="T71" fmla="*/ 42 h 44"/>
                    <a:gd name="T72" fmla="*/ 52 w 87"/>
                    <a:gd name="T73" fmla="*/ 39 h 44"/>
                    <a:gd name="T74" fmla="*/ 62 w 87"/>
                    <a:gd name="T75" fmla="*/ 35 h 44"/>
                    <a:gd name="T76" fmla="*/ 73 w 87"/>
                    <a:gd name="T77" fmla="*/ 31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87" h="44">
                      <a:moveTo>
                        <a:pt x="73" y="31"/>
                      </a:moveTo>
                      <a:cubicBezTo>
                        <a:pt x="78" y="31"/>
                        <a:pt x="77" y="26"/>
                        <a:pt x="79" y="26"/>
                      </a:cubicBezTo>
                      <a:cubicBezTo>
                        <a:pt x="81" y="26"/>
                        <a:pt x="84" y="23"/>
                        <a:pt x="86" y="20"/>
                      </a:cubicBezTo>
                      <a:cubicBezTo>
                        <a:pt x="87" y="18"/>
                        <a:pt x="84" y="14"/>
                        <a:pt x="81" y="14"/>
                      </a:cubicBezTo>
                      <a:cubicBezTo>
                        <a:pt x="79" y="14"/>
                        <a:pt x="76" y="11"/>
                        <a:pt x="77" y="10"/>
                      </a:cubicBezTo>
                      <a:cubicBezTo>
                        <a:pt x="78" y="8"/>
                        <a:pt x="75" y="6"/>
                        <a:pt x="76" y="5"/>
                      </a:cubicBezTo>
                      <a:cubicBezTo>
                        <a:pt x="76" y="3"/>
                        <a:pt x="72" y="5"/>
                        <a:pt x="70" y="5"/>
                      </a:cubicBezTo>
                      <a:cubicBezTo>
                        <a:pt x="68" y="6"/>
                        <a:pt x="64" y="0"/>
                        <a:pt x="62" y="1"/>
                      </a:cubicBezTo>
                      <a:cubicBezTo>
                        <a:pt x="61" y="2"/>
                        <a:pt x="62" y="5"/>
                        <a:pt x="61" y="6"/>
                      </a:cubicBezTo>
                      <a:cubicBezTo>
                        <a:pt x="61" y="8"/>
                        <a:pt x="57" y="5"/>
                        <a:pt x="57" y="7"/>
                      </a:cubicBezTo>
                      <a:cubicBezTo>
                        <a:pt x="57" y="8"/>
                        <a:pt x="55" y="8"/>
                        <a:pt x="53" y="7"/>
                      </a:cubicBezTo>
                      <a:cubicBezTo>
                        <a:pt x="52" y="5"/>
                        <a:pt x="49" y="6"/>
                        <a:pt x="49" y="7"/>
                      </a:cubicBezTo>
                      <a:cubicBezTo>
                        <a:pt x="49" y="9"/>
                        <a:pt x="47" y="8"/>
                        <a:pt x="45" y="6"/>
                      </a:cubicBezTo>
                      <a:cubicBezTo>
                        <a:pt x="42" y="4"/>
                        <a:pt x="39" y="8"/>
                        <a:pt x="39" y="10"/>
                      </a:cubicBezTo>
                      <a:cubicBezTo>
                        <a:pt x="40" y="11"/>
                        <a:pt x="38" y="12"/>
                        <a:pt x="36" y="8"/>
                      </a:cubicBezTo>
                      <a:cubicBezTo>
                        <a:pt x="34" y="4"/>
                        <a:pt x="31" y="8"/>
                        <a:pt x="32" y="11"/>
                      </a:cubicBezTo>
                      <a:cubicBezTo>
                        <a:pt x="34" y="13"/>
                        <a:pt x="33" y="15"/>
                        <a:pt x="31" y="14"/>
                      </a:cubicBezTo>
                      <a:cubicBezTo>
                        <a:pt x="30" y="13"/>
                        <a:pt x="27" y="15"/>
                        <a:pt x="26" y="17"/>
                      </a:cubicBezTo>
                      <a:cubicBezTo>
                        <a:pt x="25" y="18"/>
                        <a:pt x="21" y="12"/>
                        <a:pt x="24" y="10"/>
                      </a:cubicBezTo>
                      <a:cubicBezTo>
                        <a:pt x="27" y="9"/>
                        <a:pt x="15" y="2"/>
                        <a:pt x="12" y="2"/>
                      </a:cubicBezTo>
                      <a:cubicBezTo>
                        <a:pt x="8" y="2"/>
                        <a:pt x="11" y="5"/>
                        <a:pt x="13" y="7"/>
                      </a:cubicBezTo>
                      <a:cubicBezTo>
                        <a:pt x="15" y="8"/>
                        <a:pt x="11" y="8"/>
                        <a:pt x="10" y="6"/>
                      </a:cubicBezTo>
                      <a:cubicBezTo>
                        <a:pt x="9" y="5"/>
                        <a:pt x="6" y="6"/>
                        <a:pt x="5" y="8"/>
                      </a:cubicBezTo>
                      <a:cubicBezTo>
                        <a:pt x="3" y="11"/>
                        <a:pt x="1" y="12"/>
                        <a:pt x="1" y="14"/>
                      </a:cubicBezTo>
                      <a:cubicBezTo>
                        <a:pt x="0" y="15"/>
                        <a:pt x="5" y="17"/>
                        <a:pt x="8" y="16"/>
                      </a:cubicBezTo>
                      <a:cubicBezTo>
                        <a:pt x="12" y="14"/>
                        <a:pt x="16" y="14"/>
                        <a:pt x="18" y="16"/>
                      </a:cubicBezTo>
                      <a:cubicBezTo>
                        <a:pt x="20" y="17"/>
                        <a:pt x="15" y="18"/>
                        <a:pt x="17" y="20"/>
                      </a:cubicBezTo>
                      <a:cubicBezTo>
                        <a:pt x="19" y="21"/>
                        <a:pt x="17" y="22"/>
                        <a:pt x="12" y="22"/>
                      </a:cubicBezTo>
                      <a:cubicBezTo>
                        <a:pt x="8" y="21"/>
                        <a:pt x="2" y="23"/>
                        <a:pt x="3" y="24"/>
                      </a:cubicBezTo>
                      <a:cubicBezTo>
                        <a:pt x="4" y="26"/>
                        <a:pt x="15" y="23"/>
                        <a:pt x="15" y="25"/>
                      </a:cubicBezTo>
                      <a:cubicBezTo>
                        <a:pt x="15" y="26"/>
                        <a:pt x="15" y="29"/>
                        <a:pt x="18" y="28"/>
                      </a:cubicBezTo>
                      <a:cubicBezTo>
                        <a:pt x="21" y="26"/>
                        <a:pt x="19" y="30"/>
                        <a:pt x="20" y="30"/>
                      </a:cubicBezTo>
                      <a:cubicBezTo>
                        <a:pt x="22" y="31"/>
                        <a:pt x="21" y="34"/>
                        <a:pt x="17" y="34"/>
                      </a:cubicBezTo>
                      <a:cubicBezTo>
                        <a:pt x="14" y="34"/>
                        <a:pt x="12" y="35"/>
                        <a:pt x="13" y="37"/>
                      </a:cubicBezTo>
                      <a:cubicBezTo>
                        <a:pt x="15" y="39"/>
                        <a:pt x="20" y="37"/>
                        <a:pt x="24" y="36"/>
                      </a:cubicBezTo>
                      <a:cubicBezTo>
                        <a:pt x="28" y="35"/>
                        <a:pt x="33" y="40"/>
                        <a:pt x="38" y="42"/>
                      </a:cubicBezTo>
                      <a:cubicBezTo>
                        <a:pt x="43" y="44"/>
                        <a:pt x="51" y="41"/>
                        <a:pt x="52" y="39"/>
                      </a:cubicBezTo>
                      <a:cubicBezTo>
                        <a:pt x="53" y="36"/>
                        <a:pt x="60" y="37"/>
                        <a:pt x="62" y="35"/>
                      </a:cubicBezTo>
                      <a:cubicBezTo>
                        <a:pt x="65" y="34"/>
                        <a:pt x="68" y="32"/>
                        <a:pt x="73" y="3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2" name="Freeform 125">
                  <a:extLst>
                    <a:ext uri="{FF2B5EF4-FFF2-40B4-BE49-F238E27FC236}">
                      <a16:creationId xmlns:a16="http://schemas.microsoft.com/office/drawing/2014/main" id="{BAE2B19D-BA2D-4C23-9D47-896A8171EA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1548121" y="-11584461"/>
                  <a:ext cx="230269" cy="256215"/>
                </a:xfrm>
                <a:custGeom>
                  <a:avLst/>
                  <a:gdLst>
                    <a:gd name="T0" fmla="*/ 33 w 37"/>
                    <a:gd name="T1" fmla="*/ 13 h 41"/>
                    <a:gd name="T2" fmla="*/ 30 w 37"/>
                    <a:gd name="T3" fmla="*/ 11 h 41"/>
                    <a:gd name="T4" fmla="*/ 25 w 37"/>
                    <a:gd name="T5" fmla="*/ 12 h 41"/>
                    <a:gd name="T6" fmla="*/ 20 w 37"/>
                    <a:gd name="T7" fmla="*/ 11 h 41"/>
                    <a:gd name="T8" fmla="*/ 22 w 37"/>
                    <a:gd name="T9" fmla="*/ 6 h 41"/>
                    <a:gd name="T10" fmla="*/ 24 w 37"/>
                    <a:gd name="T11" fmla="*/ 2 h 41"/>
                    <a:gd name="T12" fmla="*/ 23 w 37"/>
                    <a:gd name="T13" fmla="*/ 1 h 41"/>
                    <a:gd name="T14" fmla="*/ 15 w 37"/>
                    <a:gd name="T15" fmla="*/ 3 h 41"/>
                    <a:gd name="T16" fmla="*/ 19 w 37"/>
                    <a:gd name="T17" fmla="*/ 7 h 41"/>
                    <a:gd name="T18" fmla="*/ 13 w 37"/>
                    <a:gd name="T19" fmla="*/ 10 h 41"/>
                    <a:gd name="T20" fmla="*/ 4 w 37"/>
                    <a:gd name="T21" fmla="*/ 10 h 41"/>
                    <a:gd name="T22" fmla="*/ 5 w 37"/>
                    <a:gd name="T23" fmla="*/ 16 h 41"/>
                    <a:gd name="T24" fmla="*/ 9 w 37"/>
                    <a:gd name="T25" fmla="*/ 22 h 41"/>
                    <a:gd name="T26" fmla="*/ 7 w 37"/>
                    <a:gd name="T27" fmla="*/ 29 h 41"/>
                    <a:gd name="T28" fmla="*/ 1 w 37"/>
                    <a:gd name="T29" fmla="*/ 34 h 41"/>
                    <a:gd name="T30" fmla="*/ 9 w 37"/>
                    <a:gd name="T31" fmla="*/ 41 h 41"/>
                    <a:gd name="T32" fmla="*/ 23 w 37"/>
                    <a:gd name="T33" fmla="*/ 35 h 41"/>
                    <a:gd name="T34" fmla="*/ 33 w 37"/>
                    <a:gd name="T35" fmla="*/ 33 h 41"/>
                    <a:gd name="T36" fmla="*/ 33 w 37"/>
                    <a:gd name="T37" fmla="*/ 14 h 41"/>
                    <a:gd name="T38" fmla="*/ 33 w 37"/>
                    <a:gd name="T39" fmla="*/ 13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7" h="41">
                      <a:moveTo>
                        <a:pt x="33" y="13"/>
                      </a:moveTo>
                      <a:cubicBezTo>
                        <a:pt x="32" y="12"/>
                        <a:pt x="31" y="11"/>
                        <a:pt x="30" y="11"/>
                      </a:cubicBezTo>
                      <a:cubicBezTo>
                        <a:pt x="27" y="7"/>
                        <a:pt x="26" y="10"/>
                        <a:pt x="25" y="12"/>
                      </a:cubicBezTo>
                      <a:cubicBezTo>
                        <a:pt x="25" y="14"/>
                        <a:pt x="22" y="11"/>
                        <a:pt x="20" y="11"/>
                      </a:cubicBezTo>
                      <a:cubicBezTo>
                        <a:pt x="19" y="11"/>
                        <a:pt x="21" y="7"/>
                        <a:pt x="22" y="6"/>
                      </a:cubicBezTo>
                      <a:cubicBezTo>
                        <a:pt x="23" y="6"/>
                        <a:pt x="24" y="4"/>
                        <a:pt x="24" y="2"/>
                      </a:cubicBezTo>
                      <a:cubicBezTo>
                        <a:pt x="24" y="2"/>
                        <a:pt x="24" y="2"/>
                        <a:pt x="23" y="1"/>
                      </a:cubicBezTo>
                      <a:cubicBezTo>
                        <a:pt x="20" y="0"/>
                        <a:pt x="15" y="0"/>
                        <a:pt x="15" y="3"/>
                      </a:cubicBezTo>
                      <a:cubicBezTo>
                        <a:pt x="15" y="6"/>
                        <a:pt x="19" y="5"/>
                        <a:pt x="19" y="7"/>
                      </a:cubicBezTo>
                      <a:cubicBezTo>
                        <a:pt x="19" y="9"/>
                        <a:pt x="15" y="8"/>
                        <a:pt x="13" y="10"/>
                      </a:cubicBezTo>
                      <a:cubicBezTo>
                        <a:pt x="10" y="12"/>
                        <a:pt x="7" y="9"/>
                        <a:pt x="4" y="10"/>
                      </a:cubicBezTo>
                      <a:cubicBezTo>
                        <a:pt x="1" y="12"/>
                        <a:pt x="7" y="13"/>
                        <a:pt x="5" y="16"/>
                      </a:cubicBezTo>
                      <a:cubicBezTo>
                        <a:pt x="3" y="19"/>
                        <a:pt x="5" y="19"/>
                        <a:pt x="9" y="22"/>
                      </a:cubicBezTo>
                      <a:cubicBezTo>
                        <a:pt x="12" y="25"/>
                        <a:pt x="7" y="26"/>
                        <a:pt x="7" y="29"/>
                      </a:cubicBezTo>
                      <a:cubicBezTo>
                        <a:pt x="7" y="32"/>
                        <a:pt x="2" y="32"/>
                        <a:pt x="1" y="34"/>
                      </a:cubicBezTo>
                      <a:cubicBezTo>
                        <a:pt x="0" y="36"/>
                        <a:pt x="5" y="41"/>
                        <a:pt x="9" y="41"/>
                      </a:cubicBezTo>
                      <a:cubicBezTo>
                        <a:pt x="12" y="41"/>
                        <a:pt x="19" y="39"/>
                        <a:pt x="23" y="35"/>
                      </a:cubicBezTo>
                      <a:cubicBezTo>
                        <a:pt x="27" y="31"/>
                        <a:pt x="29" y="35"/>
                        <a:pt x="33" y="33"/>
                      </a:cubicBezTo>
                      <a:cubicBezTo>
                        <a:pt x="37" y="31"/>
                        <a:pt x="34" y="17"/>
                        <a:pt x="33" y="14"/>
                      </a:cubicBezTo>
                      <a:cubicBezTo>
                        <a:pt x="33" y="14"/>
                        <a:pt x="33" y="13"/>
                        <a:pt x="33" y="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3" name="Freeform 126">
                  <a:extLst>
                    <a:ext uri="{FF2B5EF4-FFF2-40B4-BE49-F238E27FC236}">
                      <a16:creationId xmlns:a16="http://schemas.microsoft.com/office/drawing/2014/main" id="{0EE18188-E482-4A3F-8DBD-87E31E991C5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428123" y="-11989864"/>
                  <a:ext cx="499454" cy="765398"/>
                </a:xfrm>
                <a:custGeom>
                  <a:avLst/>
                  <a:gdLst>
                    <a:gd name="T0" fmla="*/ 5 w 81"/>
                    <a:gd name="T1" fmla="*/ 68 h 124"/>
                    <a:gd name="T2" fmla="*/ 1 w 81"/>
                    <a:gd name="T3" fmla="*/ 77 h 124"/>
                    <a:gd name="T4" fmla="*/ 11 w 81"/>
                    <a:gd name="T5" fmla="*/ 77 h 124"/>
                    <a:gd name="T6" fmla="*/ 20 w 81"/>
                    <a:gd name="T7" fmla="*/ 75 h 124"/>
                    <a:gd name="T8" fmla="*/ 81 w 81"/>
                    <a:gd name="T9" fmla="*/ 96 h 124"/>
                    <a:gd name="T10" fmla="*/ 68 w 81"/>
                    <a:gd name="T11" fmla="*/ 91 h 124"/>
                    <a:gd name="T12" fmla="*/ 65 w 81"/>
                    <a:gd name="T13" fmla="*/ 82 h 124"/>
                    <a:gd name="T14" fmla="*/ 54 w 81"/>
                    <a:gd name="T15" fmla="*/ 63 h 124"/>
                    <a:gd name="T16" fmla="*/ 41 w 81"/>
                    <a:gd name="T17" fmla="*/ 57 h 124"/>
                    <a:gd name="T18" fmla="*/ 50 w 81"/>
                    <a:gd name="T19" fmla="*/ 38 h 124"/>
                    <a:gd name="T20" fmla="*/ 33 w 81"/>
                    <a:gd name="T21" fmla="*/ 35 h 124"/>
                    <a:gd name="T22" fmla="*/ 40 w 81"/>
                    <a:gd name="T23" fmla="*/ 23 h 124"/>
                    <a:gd name="T24" fmla="*/ 28 w 81"/>
                    <a:gd name="T25" fmla="*/ 27 h 124"/>
                    <a:gd name="T26" fmla="*/ 19 w 81"/>
                    <a:gd name="T27" fmla="*/ 39 h 124"/>
                    <a:gd name="T28" fmla="*/ 12 w 81"/>
                    <a:gd name="T29" fmla="*/ 39 h 124"/>
                    <a:gd name="T30" fmla="*/ 15 w 81"/>
                    <a:gd name="T31" fmla="*/ 50 h 124"/>
                    <a:gd name="T32" fmla="*/ 13 w 81"/>
                    <a:gd name="T33" fmla="*/ 59 h 124"/>
                    <a:gd name="T34" fmla="*/ 22 w 81"/>
                    <a:gd name="T35" fmla="*/ 62 h 124"/>
                    <a:gd name="T36" fmla="*/ 27 w 81"/>
                    <a:gd name="T37" fmla="*/ 62 h 124"/>
                    <a:gd name="T38" fmla="*/ 36 w 81"/>
                    <a:gd name="T39" fmla="*/ 69 h 124"/>
                    <a:gd name="T40" fmla="*/ 39 w 81"/>
                    <a:gd name="T41" fmla="*/ 76 h 124"/>
                    <a:gd name="T42" fmla="*/ 41 w 81"/>
                    <a:gd name="T43" fmla="*/ 86 h 124"/>
                    <a:gd name="T44" fmla="*/ 30 w 81"/>
                    <a:gd name="T45" fmla="*/ 88 h 124"/>
                    <a:gd name="T46" fmla="*/ 32 w 81"/>
                    <a:gd name="T47" fmla="*/ 96 h 124"/>
                    <a:gd name="T48" fmla="*/ 28 w 81"/>
                    <a:gd name="T49" fmla="*/ 105 h 124"/>
                    <a:gd name="T50" fmla="*/ 41 w 81"/>
                    <a:gd name="T51" fmla="*/ 107 h 124"/>
                    <a:gd name="T52" fmla="*/ 33 w 81"/>
                    <a:gd name="T53" fmla="*/ 110 h 124"/>
                    <a:gd name="T54" fmla="*/ 28 w 81"/>
                    <a:gd name="T55" fmla="*/ 119 h 124"/>
                    <a:gd name="T56" fmla="*/ 38 w 81"/>
                    <a:gd name="T57" fmla="*/ 117 h 124"/>
                    <a:gd name="T58" fmla="*/ 50 w 81"/>
                    <a:gd name="T59" fmla="*/ 114 h 124"/>
                    <a:gd name="T60" fmla="*/ 66 w 81"/>
                    <a:gd name="T61" fmla="*/ 114 h 124"/>
                    <a:gd name="T62" fmla="*/ 73 w 81"/>
                    <a:gd name="T63" fmla="*/ 108 h 124"/>
                    <a:gd name="T64" fmla="*/ 81 w 81"/>
                    <a:gd name="T65" fmla="*/ 96 h 124"/>
                    <a:gd name="T66" fmla="*/ 14 w 81"/>
                    <a:gd name="T67" fmla="*/ 29 h 124"/>
                    <a:gd name="T68" fmla="*/ 55 w 81"/>
                    <a:gd name="T69" fmla="*/ 10 h 124"/>
                    <a:gd name="T70" fmla="*/ 55 w 81"/>
                    <a:gd name="T71" fmla="*/ 10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81" h="124">
                      <a:moveTo>
                        <a:pt x="16" y="66"/>
                      </a:moveTo>
                      <a:cubicBezTo>
                        <a:pt x="12" y="63"/>
                        <a:pt x="9" y="68"/>
                        <a:pt x="5" y="68"/>
                      </a:cubicBezTo>
                      <a:cubicBezTo>
                        <a:pt x="5" y="70"/>
                        <a:pt x="4" y="72"/>
                        <a:pt x="3" y="72"/>
                      </a:cubicBezTo>
                      <a:cubicBezTo>
                        <a:pt x="2" y="73"/>
                        <a:pt x="0" y="77"/>
                        <a:pt x="1" y="77"/>
                      </a:cubicBezTo>
                      <a:cubicBezTo>
                        <a:pt x="3" y="77"/>
                        <a:pt x="6" y="80"/>
                        <a:pt x="6" y="78"/>
                      </a:cubicBezTo>
                      <a:cubicBezTo>
                        <a:pt x="7" y="76"/>
                        <a:pt x="8" y="73"/>
                        <a:pt x="11" y="77"/>
                      </a:cubicBezTo>
                      <a:cubicBezTo>
                        <a:pt x="12" y="77"/>
                        <a:pt x="13" y="78"/>
                        <a:pt x="14" y="79"/>
                      </a:cubicBezTo>
                      <a:cubicBezTo>
                        <a:pt x="14" y="77"/>
                        <a:pt x="18" y="77"/>
                        <a:pt x="20" y="75"/>
                      </a:cubicBezTo>
                      <a:cubicBezTo>
                        <a:pt x="22" y="73"/>
                        <a:pt x="19" y="69"/>
                        <a:pt x="16" y="66"/>
                      </a:cubicBezTo>
                      <a:close/>
                      <a:moveTo>
                        <a:pt x="81" y="96"/>
                      </a:moveTo>
                      <a:cubicBezTo>
                        <a:pt x="81" y="92"/>
                        <a:pt x="73" y="89"/>
                        <a:pt x="72" y="91"/>
                      </a:cubicBezTo>
                      <a:cubicBezTo>
                        <a:pt x="71" y="93"/>
                        <a:pt x="69" y="93"/>
                        <a:pt x="68" y="91"/>
                      </a:cubicBezTo>
                      <a:cubicBezTo>
                        <a:pt x="67" y="89"/>
                        <a:pt x="69" y="87"/>
                        <a:pt x="68" y="87"/>
                      </a:cubicBezTo>
                      <a:cubicBezTo>
                        <a:pt x="67" y="86"/>
                        <a:pt x="65" y="83"/>
                        <a:pt x="65" y="82"/>
                      </a:cubicBezTo>
                      <a:cubicBezTo>
                        <a:pt x="66" y="81"/>
                        <a:pt x="63" y="73"/>
                        <a:pt x="59" y="72"/>
                      </a:cubicBezTo>
                      <a:cubicBezTo>
                        <a:pt x="55" y="71"/>
                        <a:pt x="55" y="66"/>
                        <a:pt x="54" y="63"/>
                      </a:cubicBezTo>
                      <a:cubicBezTo>
                        <a:pt x="53" y="60"/>
                        <a:pt x="51" y="61"/>
                        <a:pt x="49" y="59"/>
                      </a:cubicBezTo>
                      <a:cubicBezTo>
                        <a:pt x="47" y="56"/>
                        <a:pt x="43" y="57"/>
                        <a:pt x="41" y="57"/>
                      </a:cubicBezTo>
                      <a:cubicBezTo>
                        <a:pt x="40" y="57"/>
                        <a:pt x="41" y="54"/>
                        <a:pt x="44" y="52"/>
                      </a:cubicBezTo>
                      <a:cubicBezTo>
                        <a:pt x="47" y="50"/>
                        <a:pt x="50" y="40"/>
                        <a:pt x="50" y="38"/>
                      </a:cubicBezTo>
                      <a:cubicBezTo>
                        <a:pt x="50" y="36"/>
                        <a:pt x="38" y="36"/>
                        <a:pt x="36" y="37"/>
                      </a:cubicBezTo>
                      <a:cubicBezTo>
                        <a:pt x="33" y="39"/>
                        <a:pt x="31" y="36"/>
                        <a:pt x="33" y="35"/>
                      </a:cubicBezTo>
                      <a:cubicBezTo>
                        <a:pt x="35" y="34"/>
                        <a:pt x="39" y="30"/>
                        <a:pt x="39" y="28"/>
                      </a:cubicBezTo>
                      <a:cubicBezTo>
                        <a:pt x="39" y="26"/>
                        <a:pt x="42" y="25"/>
                        <a:pt x="40" y="23"/>
                      </a:cubicBezTo>
                      <a:cubicBezTo>
                        <a:pt x="38" y="22"/>
                        <a:pt x="38" y="25"/>
                        <a:pt x="37" y="27"/>
                      </a:cubicBezTo>
                      <a:cubicBezTo>
                        <a:pt x="35" y="28"/>
                        <a:pt x="32" y="27"/>
                        <a:pt x="28" y="27"/>
                      </a:cubicBezTo>
                      <a:cubicBezTo>
                        <a:pt x="24" y="26"/>
                        <a:pt x="23" y="31"/>
                        <a:pt x="23" y="33"/>
                      </a:cubicBezTo>
                      <a:cubicBezTo>
                        <a:pt x="23" y="36"/>
                        <a:pt x="19" y="37"/>
                        <a:pt x="19" y="39"/>
                      </a:cubicBezTo>
                      <a:cubicBezTo>
                        <a:pt x="20" y="41"/>
                        <a:pt x="18" y="42"/>
                        <a:pt x="17" y="41"/>
                      </a:cubicBezTo>
                      <a:cubicBezTo>
                        <a:pt x="16" y="40"/>
                        <a:pt x="15" y="38"/>
                        <a:pt x="12" y="39"/>
                      </a:cubicBezTo>
                      <a:cubicBezTo>
                        <a:pt x="10" y="41"/>
                        <a:pt x="15" y="44"/>
                        <a:pt x="18" y="44"/>
                      </a:cubicBezTo>
                      <a:cubicBezTo>
                        <a:pt x="21" y="45"/>
                        <a:pt x="16" y="47"/>
                        <a:pt x="15" y="50"/>
                      </a:cubicBezTo>
                      <a:cubicBezTo>
                        <a:pt x="15" y="53"/>
                        <a:pt x="19" y="52"/>
                        <a:pt x="20" y="54"/>
                      </a:cubicBezTo>
                      <a:cubicBezTo>
                        <a:pt x="20" y="57"/>
                        <a:pt x="13" y="57"/>
                        <a:pt x="13" y="59"/>
                      </a:cubicBezTo>
                      <a:cubicBezTo>
                        <a:pt x="13" y="62"/>
                        <a:pt x="17" y="58"/>
                        <a:pt x="19" y="57"/>
                      </a:cubicBezTo>
                      <a:cubicBezTo>
                        <a:pt x="20" y="56"/>
                        <a:pt x="18" y="63"/>
                        <a:pt x="22" y="62"/>
                      </a:cubicBezTo>
                      <a:cubicBezTo>
                        <a:pt x="26" y="62"/>
                        <a:pt x="25" y="56"/>
                        <a:pt x="27" y="56"/>
                      </a:cubicBezTo>
                      <a:cubicBezTo>
                        <a:pt x="28" y="56"/>
                        <a:pt x="26" y="59"/>
                        <a:pt x="27" y="62"/>
                      </a:cubicBezTo>
                      <a:cubicBezTo>
                        <a:pt x="28" y="64"/>
                        <a:pt x="24" y="68"/>
                        <a:pt x="24" y="70"/>
                      </a:cubicBezTo>
                      <a:cubicBezTo>
                        <a:pt x="25" y="71"/>
                        <a:pt x="33" y="71"/>
                        <a:pt x="36" y="69"/>
                      </a:cubicBezTo>
                      <a:cubicBezTo>
                        <a:pt x="39" y="66"/>
                        <a:pt x="40" y="69"/>
                        <a:pt x="38" y="71"/>
                      </a:cubicBezTo>
                      <a:cubicBezTo>
                        <a:pt x="36" y="73"/>
                        <a:pt x="37" y="75"/>
                        <a:pt x="39" y="76"/>
                      </a:cubicBezTo>
                      <a:cubicBezTo>
                        <a:pt x="42" y="77"/>
                        <a:pt x="42" y="77"/>
                        <a:pt x="41" y="79"/>
                      </a:cubicBezTo>
                      <a:cubicBezTo>
                        <a:pt x="40" y="81"/>
                        <a:pt x="41" y="84"/>
                        <a:pt x="41" y="86"/>
                      </a:cubicBezTo>
                      <a:cubicBezTo>
                        <a:pt x="40" y="88"/>
                        <a:pt x="33" y="88"/>
                        <a:pt x="33" y="87"/>
                      </a:cubicBezTo>
                      <a:cubicBezTo>
                        <a:pt x="32" y="85"/>
                        <a:pt x="29" y="86"/>
                        <a:pt x="30" y="88"/>
                      </a:cubicBezTo>
                      <a:cubicBezTo>
                        <a:pt x="31" y="89"/>
                        <a:pt x="27" y="91"/>
                        <a:pt x="28" y="93"/>
                      </a:cubicBezTo>
                      <a:cubicBezTo>
                        <a:pt x="28" y="94"/>
                        <a:pt x="32" y="94"/>
                        <a:pt x="32" y="96"/>
                      </a:cubicBezTo>
                      <a:cubicBezTo>
                        <a:pt x="32" y="98"/>
                        <a:pt x="29" y="100"/>
                        <a:pt x="25" y="101"/>
                      </a:cubicBezTo>
                      <a:cubicBezTo>
                        <a:pt x="20" y="103"/>
                        <a:pt x="26" y="106"/>
                        <a:pt x="28" y="105"/>
                      </a:cubicBezTo>
                      <a:cubicBezTo>
                        <a:pt x="30" y="103"/>
                        <a:pt x="29" y="106"/>
                        <a:pt x="33" y="106"/>
                      </a:cubicBezTo>
                      <a:cubicBezTo>
                        <a:pt x="36" y="106"/>
                        <a:pt x="37" y="108"/>
                        <a:pt x="41" y="107"/>
                      </a:cubicBezTo>
                      <a:cubicBezTo>
                        <a:pt x="44" y="106"/>
                        <a:pt x="44" y="107"/>
                        <a:pt x="42" y="109"/>
                      </a:cubicBezTo>
                      <a:cubicBezTo>
                        <a:pt x="39" y="111"/>
                        <a:pt x="35" y="109"/>
                        <a:pt x="33" y="110"/>
                      </a:cubicBezTo>
                      <a:cubicBezTo>
                        <a:pt x="30" y="111"/>
                        <a:pt x="21" y="121"/>
                        <a:pt x="23" y="123"/>
                      </a:cubicBezTo>
                      <a:cubicBezTo>
                        <a:pt x="24" y="124"/>
                        <a:pt x="25" y="121"/>
                        <a:pt x="28" y="119"/>
                      </a:cubicBezTo>
                      <a:cubicBezTo>
                        <a:pt x="32" y="118"/>
                        <a:pt x="32" y="120"/>
                        <a:pt x="34" y="121"/>
                      </a:cubicBezTo>
                      <a:cubicBezTo>
                        <a:pt x="36" y="121"/>
                        <a:pt x="36" y="117"/>
                        <a:pt x="38" y="117"/>
                      </a:cubicBezTo>
                      <a:cubicBezTo>
                        <a:pt x="40" y="117"/>
                        <a:pt x="41" y="116"/>
                        <a:pt x="44" y="116"/>
                      </a:cubicBezTo>
                      <a:cubicBezTo>
                        <a:pt x="47" y="117"/>
                        <a:pt x="49" y="116"/>
                        <a:pt x="50" y="114"/>
                      </a:cubicBezTo>
                      <a:cubicBezTo>
                        <a:pt x="52" y="113"/>
                        <a:pt x="55" y="117"/>
                        <a:pt x="57" y="116"/>
                      </a:cubicBezTo>
                      <a:cubicBezTo>
                        <a:pt x="58" y="115"/>
                        <a:pt x="63" y="114"/>
                        <a:pt x="66" y="114"/>
                      </a:cubicBezTo>
                      <a:cubicBezTo>
                        <a:pt x="68" y="114"/>
                        <a:pt x="75" y="111"/>
                        <a:pt x="77" y="110"/>
                      </a:cubicBezTo>
                      <a:cubicBezTo>
                        <a:pt x="79" y="108"/>
                        <a:pt x="76" y="108"/>
                        <a:pt x="73" y="108"/>
                      </a:cubicBezTo>
                      <a:cubicBezTo>
                        <a:pt x="71" y="108"/>
                        <a:pt x="71" y="106"/>
                        <a:pt x="74" y="103"/>
                      </a:cubicBezTo>
                      <a:cubicBezTo>
                        <a:pt x="76" y="101"/>
                        <a:pt x="80" y="99"/>
                        <a:pt x="81" y="96"/>
                      </a:cubicBezTo>
                      <a:close/>
                      <a:moveTo>
                        <a:pt x="9" y="36"/>
                      </a:moveTo>
                      <a:cubicBezTo>
                        <a:pt x="12" y="36"/>
                        <a:pt x="16" y="30"/>
                        <a:pt x="14" y="29"/>
                      </a:cubicBezTo>
                      <a:cubicBezTo>
                        <a:pt x="13" y="27"/>
                        <a:pt x="7" y="36"/>
                        <a:pt x="9" y="36"/>
                      </a:cubicBezTo>
                      <a:close/>
                      <a:moveTo>
                        <a:pt x="55" y="10"/>
                      </a:moveTo>
                      <a:cubicBezTo>
                        <a:pt x="57" y="8"/>
                        <a:pt x="59" y="0"/>
                        <a:pt x="56" y="1"/>
                      </a:cubicBezTo>
                      <a:cubicBezTo>
                        <a:pt x="53" y="2"/>
                        <a:pt x="54" y="11"/>
                        <a:pt x="55" y="1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4" name="Freeform 127">
                  <a:extLst>
                    <a:ext uri="{FF2B5EF4-FFF2-40B4-BE49-F238E27FC236}">
                      <a16:creationId xmlns:a16="http://schemas.microsoft.com/office/drawing/2014/main" id="{CE653C89-93C4-406C-9780-F6B3A92B5DF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428123" y="-11989864"/>
                  <a:ext cx="499454" cy="765398"/>
                </a:xfrm>
                <a:custGeom>
                  <a:avLst/>
                  <a:gdLst>
                    <a:gd name="T0" fmla="*/ 5 w 81"/>
                    <a:gd name="T1" fmla="*/ 68 h 124"/>
                    <a:gd name="T2" fmla="*/ 1 w 81"/>
                    <a:gd name="T3" fmla="*/ 77 h 124"/>
                    <a:gd name="T4" fmla="*/ 11 w 81"/>
                    <a:gd name="T5" fmla="*/ 77 h 124"/>
                    <a:gd name="T6" fmla="*/ 20 w 81"/>
                    <a:gd name="T7" fmla="*/ 75 h 124"/>
                    <a:gd name="T8" fmla="*/ 81 w 81"/>
                    <a:gd name="T9" fmla="*/ 96 h 124"/>
                    <a:gd name="T10" fmla="*/ 68 w 81"/>
                    <a:gd name="T11" fmla="*/ 91 h 124"/>
                    <a:gd name="T12" fmla="*/ 65 w 81"/>
                    <a:gd name="T13" fmla="*/ 82 h 124"/>
                    <a:gd name="T14" fmla="*/ 54 w 81"/>
                    <a:gd name="T15" fmla="*/ 63 h 124"/>
                    <a:gd name="T16" fmla="*/ 41 w 81"/>
                    <a:gd name="T17" fmla="*/ 57 h 124"/>
                    <a:gd name="T18" fmla="*/ 50 w 81"/>
                    <a:gd name="T19" fmla="*/ 38 h 124"/>
                    <a:gd name="T20" fmla="*/ 33 w 81"/>
                    <a:gd name="T21" fmla="*/ 35 h 124"/>
                    <a:gd name="T22" fmla="*/ 40 w 81"/>
                    <a:gd name="T23" fmla="*/ 23 h 124"/>
                    <a:gd name="T24" fmla="*/ 28 w 81"/>
                    <a:gd name="T25" fmla="*/ 27 h 124"/>
                    <a:gd name="T26" fmla="*/ 19 w 81"/>
                    <a:gd name="T27" fmla="*/ 39 h 124"/>
                    <a:gd name="T28" fmla="*/ 12 w 81"/>
                    <a:gd name="T29" fmla="*/ 39 h 124"/>
                    <a:gd name="T30" fmla="*/ 15 w 81"/>
                    <a:gd name="T31" fmla="*/ 50 h 124"/>
                    <a:gd name="T32" fmla="*/ 13 w 81"/>
                    <a:gd name="T33" fmla="*/ 59 h 124"/>
                    <a:gd name="T34" fmla="*/ 22 w 81"/>
                    <a:gd name="T35" fmla="*/ 62 h 124"/>
                    <a:gd name="T36" fmla="*/ 27 w 81"/>
                    <a:gd name="T37" fmla="*/ 62 h 124"/>
                    <a:gd name="T38" fmla="*/ 36 w 81"/>
                    <a:gd name="T39" fmla="*/ 69 h 124"/>
                    <a:gd name="T40" fmla="*/ 39 w 81"/>
                    <a:gd name="T41" fmla="*/ 76 h 124"/>
                    <a:gd name="T42" fmla="*/ 41 w 81"/>
                    <a:gd name="T43" fmla="*/ 86 h 124"/>
                    <a:gd name="T44" fmla="*/ 30 w 81"/>
                    <a:gd name="T45" fmla="*/ 88 h 124"/>
                    <a:gd name="T46" fmla="*/ 32 w 81"/>
                    <a:gd name="T47" fmla="*/ 96 h 124"/>
                    <a:gd name="T48" fmla="*/ 28 w 81"/>
                    <a:gd name="T49" fmla="*/ 105 h 124"/>
                    <a:gd name="T50" fmla="*/ 41 w 81"/>
                    <a:gd name="T51" fmla="*/ 107 h 124"/>
                    <a:gd name="T52" fmla="*/ 33 w 81"/>
                    <a:gd name="T53" fmla="*/ 110 h 124"/>
                    <a:gd name="T54" fmla="*/ 28 w 81"/>
                    <a:gd name="T55" fmla="*/ 119 h 124"/>
                    <a:gd name="T56" fmla="*/ 38 w 81"/>
                    <a:gd name="T57" fmla="*/ 117 h 124"/>
                    <a:gd name="T58" fmla="*/ 50 w 81"/>
                    <a:gd name="T59" fmla="*/ 114 h 124"/>
                    <a:gd name="T60" fmla="*/ 66 w 81"/>
                    <a:gd name="T61" fmla="*/ 114 h 124"/>
                    <a:gd name="T62" fmla="*/ 73 w 81"/>
                    <a:gd name="T63" fmla="*/ 108 h 124"/>
                    <a:gd name="T64" fmla="*/ 81 w 81"/>
                    <a:gd name="T65" fmla="*/ 96 h 124"/>
                    <a:gd name="T66" fmla="*/ 14 w 81"/>
                    <a:gd name="T67" fmla="*/ 29 h 124"/>
                    <a:gd name="T68" fmla="*/ 55 w 81"/>
                    <a:gd name="T69" fmla="*/ 10 h 124"/>
                    <a:gd name="T70" fmla="*/ 55 w 81"/>
                    <a:gd name="T71" fmla="*/ 10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81" h="124">
                      <a:moveTo>
                        <a:pt x="16" y="66"/>
                      </a:moveTo>
                      <a:cubicBezTo>
                        <a:pt x="12" y="63"/>
                        <a:pt x="9" y="68"/>
                        <a:pt x="5" y="68"/>
                      </a:cubicBezTo>
                      <a:cubicBezTo>
                        <a:pt x="5" y="70"/>
                        <a:pt x="4" y="72"/>
                        <a:pt x="3" y="72"/>
                      </a:cubicBezTo>
                      <a:cubicBezTo>
                        <a:pt x="2" y="73"/>
                        <a:pt x="0" y="77"/>
                        <a:pt x="1" y="77"/>
                      </a:cubicBezTo>
                      <a:cubicBezTo>
                        <a:pt x="3" y="77"/>
                        <a:pt x="6" y="80"/>
                        <a:pt x="6" y="78"/>
                      </a:cubicBezTo>
                      <a:cubicBezTo>
                        <a:pt x="7" y="76"/>
                        <a:pt x="8" y="73"/>
                        <a:pt x="11" y="77"/>
                      </a:cubicBezTo>
                      <a:cubicBezTo>
                        <a:pt x="12" y="77"/>
                        <a:pt x="13" y="78"/>
                        <a:pt x="14" y="79"/>
                      </a:cubicBezTo>
                      <a:cubicBezTo>
                        <a:pt x="14" y="77"/>
                        <a:pt x="18" y="77"/>
                        <a:pt x="20" y="75"/>
                      </a:cubicBezTo>
                      <a:cubicBezTo>
                        <a:pt x="22" y="73"/>
                        <a:pt x="19" y="69"/>
                        <a:pt x="16" y="66"/>
                      </a:cubicBezTo>
                      <a:close/>
                      <a:moveTo>
                        <a:pt x="81" y="96"/>
                      </a:moveTo>
                      <a:cubicBezTo>
                        <a:pt x="81" y="92"/>
                        <a:pt x="73" y="89"/>
                        <a:pt x="72" y="91"/>
                      </a:cubicBezTo>
                      <a:cubicBezTo>
                        <a:pt x="71" y="93"/>
                        <a:pt x="69" y="93"/>
                        <a:pt x="68" y="91"/>
                      </a:cubicBezTo>
                      <a:cubicBezTo>
                        <a:pt x="67" y="89"/>
                        <a:pt x="69" y="87"/>
                        <a:pt x="68" y="87"/>
                      </a:cubicBezTo>
                      <a:cubicBezTo>
                        <a:pt x="67" y="86"/>
                        <a:pt x="65" y="83"/>
                        <a:pt x="65" y="82"/>
                      </a:cubicBezTo>
                      <a:cubicBezTo>
                        <a:pt x="66" y="81"/>
                        <a:pt x="63" y="73"/>
                        <a:pt x="59" y="72"/>
                      </a:cubicBezTo>
                      <a:cubicBezTo>
                        <a:pt x="55" y="71"/>
                        <a:pt x="55" y="66"/>
                        <a:pt x="54" y="63"/>
                      </a:cubicBezTo>
                      <a:cubicBezTo>
                        <a:pt x="53" y="60"/>
                        <a:pt x="51" y="61"/>
                        <a:pt x="49" y="59"/>
                      </a:cubicBezTo>
                      <a:cubicBezTo>
                        <a:pt x="47" y="56"/>
                        <a:pt x="43" y="57"/>
                        <a:pt x="41" y="57"/>
                      </a:cubicBezTo>
                      <a:cubicBezTo>
                        <a:pt x="40" y="57"/>
                        <a:pt x="41" y="54"/>
                        <a:pt x="44" y="52"/>
                      </a:cubicBezTo>
                      <a:cubicBezTo>
                        <a:pt x="47" y="50"/>
                        <a:pt x="50" y="40"/>
                        <a:pt x="50" y="38"/>
                      </a:cubicBezTo>
                      <a:cubicBezTo>
                        <a:pt x="50" y="36"/>
                        <a:pt x="38" y="36"/>
                        <a:pt x="36" y="37"/>
                      </a:cubicBezTo>
                      <a:cubicBezTo>
                        <a:pt x="33" y="39"/>
                        <a:pt x="31" y="36"/>
                        <a:pt x="33" y="35"/>
                      </a:cubicBezTo>
                      <a:cubicBezTo>
                        <a:pt x="35" y="34"/>
                        <a:pt x="39" y="30"/>
                        <a:pt x="39" y="28"/>
                      </a:cubicBezTo>
                      <a:cubicBezTo>
                        <a:pt x="39" y="26"/>
                        <a:pt x="42" y="25"/>
                        <a:pt x="40" y="23"/>
                      </a:cubicBezTo>
                      <a:cubicBezTo>
                        <a:pt x="38" y="22"/>
                        <a:pt x="38" y="25"/>
                        <a:pt x="37" y="27"/>
                      </a:cubicBezTo>
                      <a:cubicBezTo>
                        <a:pt x="35" y="28"/>
                        <a:pt x="32" y="27"/>
                        <a:pt x="28" y="27"/>
                      </a:cubicBezTo>
                      <a:cubicBezTo>
                        <a:pt x="24" y="26"/>
                        <a:pt x="23" y="31"/>
                        <a:pt x="23" y="33"/>
                      </a:cubicBezTo>
                      <a:cubicBezTo>
                        <a:pt x="23" y="36"/>
                        <a:pt x="19" y="37"/>
                        <a:pt x="19" y="39"/>
                      </a:cubicBezTo>
                      <a:cubicBezTo>
                        <a:pt x="20" y="41"/>
                        <a:pt x="18" y="42"/>
                        <a:pt x="17" y="41"/>
                      </a:cubicBezTo>
                      <a:cubicBezTo>
                        <a:pt x="16" y="40"/>
                        <a:pt x="15" y="38"/>
                        <a:pt x="12" y="39"/>
                      </a:cubicBezTo>
                      <a:cubicBezTo>
                        <a:pt x="10" y="41"/>
                        <a:pt x="15" y="44"/>
                        <a:pt x="18" y="44"/>
                      </a:cubicBezTo>
                      <a:cubicBezTo>
                        <a:pt x="21" y="45"/>
                        <a:pt x="16" y="47"/>
                        <a:pt x="15" y="50"/>
                      </a:cubicBezTo>
                      <a:cubicBezTo>
                        <a:pt x="15" y="53"/>
                        <a:pt x="19" y="52"/>
                        <a:pt x="20" y="54"/>
                      </a:cubicBezTo>
                      <a:cubicBezTo>
                        <a:pt x="20" y="57"/>
                        <a:pt x="13" y="57"/>
                        <a:pt x="13" y="59"/>
                      </a:cubicBezTo>
                      <a:cubicBezTo>
                        <a:pt x="13" y="62"/>
                        <a:pt x="17" y="58"/>
                        <a:pt x="19" y="57"/>
                      </a:cubicBezTo>
                      <a:cubicBezTo>
                        <a:pt x="20" y="56"/>
                        <a:pt x="18" y="63"/>
                        <a:pt x="22" y="62"/>
                      </a:cubicBezTo>
                      <a:cubicBezTo>
                        <a:pt x="26" y="62"/>
                        <a:pt x="25" y="56"/>
                        <a:pt x="27" y="56"/>
                      </a:cubicBezTo>
                      <a:cubicBezTo>
                        <a:pt x="28" y="56"/>
                        <a:pt x="26" y="59"/>
                        <a:pt x="27" y="62"/>
                      </a:cubicBezTo>
                      <a:cubicBezTo>
                        <a:pt x="28" y="64"/>
                        <a:pt x="24" y="68"/>
                        <a:pt x="24" y="70"/>
                      </a:cubicBezTo>
                      <a:cubicBezTo>
                        <a:pt x="25" y="71"/>
                        <a:pt x="33" y="71"/>
                        <a:pt x="36" y="69"/>
                      </a:cubicBezTo>
                      <a:cubicBezTo>
                        <a:pt x="39" y="66"/>
                        <a:pt x="40" y="69"/>
                        <a:pt x="38" y="71"/>
                      </a:cubicBezTo>
                      <a:cubicBezTo>
                        <a:pt x="36" y="73"/>
                        <a:pt x="37" y="75"/>
                        <a:pt x="39" y="76"/>
                      </a:cubicBezTo>
                      <a:cubicBezTo>
                        <a:pt x="42" y="77"/>
                        <a:pt x="42" y="77"/>
                        <a:pt x="41" y="79"/>
                      </a:cubicBezTo>
                      <a:cubicBezTo>
                        <a:pt x="40" y="81"/>
                        <a:pt x="41" y="84"/>
                        <a:pt x="41" y="86"/>
                      </a:cubicBezTo>
                      <a:cubicBezTo>
                        <a:pt x="40" y="88"/>
                        <a:pt x="33" y="88"/>
                        <a:pt x="33" y="87"/>
                      </a:cubicBezTo>
                      <a:cubicBezTo>
                        <a:pt x="32" y="85"/>
                        <a:pt x="29" y="86"/>
                        <a:pt x="30" y="88"/>
                      </a:cubicBezTo>
                      <a:cubicBezTo>
                        <a:pt x="31" y="89"/>
                        <a:pt x="27" y="91"/>
                        <a:pt x="28" y="93"/>
                      </a:cubicBezTo>
                      <a:cubicBezTo>
                        <a:pt x="28" y="94"/>
                        <a:pt x="32" y="94"/>
                        <a:pt x="32" y="96"/>
                      </a:cubicBezTo>
                      <a:cubicBezTo>
                        <a:pt x="32" y="98"/>
                        <a:pt x="29" y="100"/>
                        <a:pt x="25" y="101"/>
                      </a:cubicBezTo>
                      <a:cubicBezTo>
                        <a:pt x="20" y="103"/>
                        <a:pt x="26" y="106"/>
                        <a:pt x="28" y="105"/>
                      </a:cubicBezTo>
                      <a:cubicBezTo>
                        <a:pt x="30" y="103"/>
                        <a:pt x="29" y="106"/>
                        <a:pt x="33" y="106"/>
                      </a:cubicBezTo>
                      <a:cubicBezTo>
                        <a:pt x="36" y="106"/>
                        <a:pt x="37" y="108"/>
                        <a:pt x="41" y="107"/>
                      </a:cubicBezTo>
                      <a:cubicBezTo>
                        <a:pt x="44" y="106"/>
                        <a:pt x="44" y="107"/>
                        <a:pt x="42" y="109"/>
                      </a:cubicBezTo>
                      <a:cubicBezTo>
                        <a:pt x="39" y="111"/>
                        <a:pt x="35" y="109"/>
                        <a:pt x="33" y="110"/>
                      </a:cubicBezTo>
                      <a:cubicBezTo>
                        <a:pt x="30" y="111"/>
                        <a:pt x="21" y="121"/>
                        <a:pt x="23" y="123"/>
                      </a:cubicBezTo>
                      <a:cubicBezTo>
                        <a:pt x="24" y="124"/>
                        <a:pt x="25" y="121"/>
                        <a:pt x="28" y="119"/>
                      </a:cubicBezTo>
                      <a:cubicBezTo>
                        <a:pt x="32" y="118"/>
                        <a:pt x="32" y="120"/>
                        <a:pt x="34" y="121"/>
                      </a:cubicBezTo>
                      <a:cubicBezTo>
                        <a:pt x="36" y="121"/>
                        <a:pt x="36" y="117"/>
                        <a:pt x="38" y="117"/>
                      </a:cubicBezTo>
                      <a:cubicBezTo>
                        <a:pt x="40" y="117"/>
                        <a:pt x="41" y="116"/>
                        <a:pt x="44" y="116"/>
                      </a:cubicBezTo>
                      <a:cubicBezTo>
                        <a:pt x="47" y="117"/>
                        <a:pt x="49" y="116"/>
                        <a:pt x="50" y="114"/>
                      </a:cubicBezTo>
                      <a:cubicBezTo>
                        <a:pt x="52" y="113"/>
                        <a:pt x="55" y="117"/>
                        <a:pt x="57" y="116"/>
                      </a:cubicBezTo>
                      <a:cubicBezTo>
                        <a:pt x="58" y="115"/>
                        <a:pt x="63" y="114"/>
                        <a:pt x="66" y="114"/>
                      </a:cubicBezTo>
                      <a:cubicBezTo>
                        <a:pt x="68" y="114"/>
                        <a:pt x="75" y="111"/>
                        <a:pt x="77" y="110"/>
                      </a:cubicBezTo>
                      <a:cubicBezTo>
                        <a:pt x="79" y="108"/>
                        <a:pt x="76" y="108"/>
                        <a:pt x="73" y="108"/>
                      </a:cubicBezTo>
                      <a:cubicBezTo>
                        <a:pt x="71" y="108"/>
                        <a:pt x="71" y="106"/>
                        <a:pt x="74" y="103"/>
                      </a:cubicBezTo>
                      <a:cubicBezTo>
                        <a:pt x="76" y="101"/>
                        <a:pt x="80" y="99"/>
                        <a:pt x="81" y="96"/>
                      </a:cubicBezTo>
                      <a:close/>
                      <a:moveTo>
                        <a:pt x="9" y="36"/>
                      </a:moveTo>
                      <a:cubicBezTo>
                        <a:pt x="12" y="36"/>
                        <a:pt x="16" y="30"/>
                        <a:pt x="14" y="29"/>
                      </a:cubicBezTo>
                      <a:cubicBezTo>
                        <a:pt x="13" y="27"/>
                        <a:pt x="7" y="36"/>
                        <a:pt x="9" y="36"/>
                      </a:cubicBezTo>
                      <a:close/>
                      <a:moveTo>
                        <a:pt x="55" y="10"/>
                      </a:moveTo>
                      <a:cubicBezTo>
                        <a:pt x="57" y="8"/>
                        <a:pt x="59" y="0"/>
                        <a:pt x="56" y="1"/>
                      </a:cubicBezTo>
                      <a:cubicBezTo>
                        <a:pt x="53" y="2"/>
                        <a:pt x="54" y="11"/>
                        <a:pt x="55" y="1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5" name="Freeform 128">
                  <a:extLst>
                    <a:ext uri="{FF2B5EF4-FFF2-40B4-BE49-F238E27FC236}">
                      <a16:creationId xmlns:a16="http://schemas.microsoft.com/office/drawing/2014/main" id="{83C24239-8F06-4D6C-B7EC-6EFC8A8EB8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627049" y="-11769325"/>
                  <a:ext cx="243242" cy="230269"/>
                </a:xfrm>
                <a:custGeom>
                  <a:avLst/>
                  <a:gdLst>
                    <a:gd name="T0" fmla="*/ 20 w 39"/>
                    <a:gd name="T1" fmla="*/ 14 h 37"/>
                    <a:gd name="T2" fmla="*/ 20 w 39"/>
                    <a:gd name="T3" fmla="*/ 8 h 37"/>
                    <a:gd name="T4" fmla="*/ 21 w 39"/>
                    <a:gd name="T5" fmla="*/ 1 h 37"/>
                    <a:gd name="T6" fmla="*/ 15 w 39"/>
                    <a:gd name="T7" fmla="*/ 4 h 37"/>
                    <a:gd name="T8" fmla="*/ 10 w 39"/>
                    <a:gd name="T9" fmla="*/ 7 h 37"/>
                    <a:gd name="T10" fmla="*/ 10 w 39"/>
                    <a:gd name="T11" fmla="*/ 11 h 37"/>
                    <a:gd name="T12" fmla="*/ 6 w 39"/>
                    <a:gd name="T13" fmla="*/ 8 h 37"/>
                    <a:gd name="T14" fmla="*/ 2 w 39"/>
                    <a:gd name="T15" fmla="*/ 14 h 37"/>
                    <a:gd name="T16" fmla="*/ 2 w 39"/>
                    <a:gd name="T17" fmla="*/ 23 h 37"/>
                    <a:gd name="T18" fmla="*/ 5 w 39"/>
                    <a:gd name="T19" fmla="*/ 30 h 37"/>
                    <a:gd name="T20" fmla="*/ 6 w 39"/>
                    <a:gd name="T21" fmla="*/ 34 h 37"/>
                    <a:gd name="T22" fmla="*/ 13 w 39"/>
                    <a:gd name="T23" fmla="*/ 34 h 37"/>
                    <a:gd name="T24" fmla="*/ 16 w 39"/>
                    <a:gd name="T25" fmla="*/ 34 h 37"/>
                    <a:gd name="T26" fmla="*/ 13 w 39"/>
                    <a:gd name="T27" fmla="*/ 30 h 37"/>
                    <a:gd name="T28" fmla="*/ 17 w 39"/>
                    <a:gd name="T29" fmla="*/ 31 h 37"/>
                    <a:gd name="T30" fmla="*/ 23 w 39"/>
                    <a:gd name="T31" fmla="*/ 31 h 37"/>
                    <a:gd name="T32" fmla="*/ 20 w 39"/>
                    <a:gd name="T33" fmla="*/ 26 h 37"/>
                    <a:gd name="T34" fmla="*/ 17 w 39"/>
                    <a:gd name="T35" fmla="*/ 25 h 37"/>
                    <a:gd name="T36" fmla="*/ 19 w 39"/>
                    <a:gd name="T37" fmla="*/ 20 h 37"/>
                    <a:gd name="T38" fmla="*/ 24 w 39"/>
                    <a:gd name="T39" fmla="*/ 18 h 37"/>
                    <a:gd name="T40" fmla="*/ 20 w 39"/>
                    <a:gd name="T41" fmla="*/ 14 h 37"/>
                    <a:gd name="T42" fmla="*/ 38 w 39"/>
                    <a:gd name="T43" fmla="*/ 21 h 37"/>
                    <a:gd name="T44" fmla="*/ 35 w 39"/>
                    <a:gd name="T45" fmla="*/ 23 h 37"/>
                    <a:gd name="T46" fmla="*/ 33 w 39"/>
                    <a:gd name="T47" fmla="*/ 21 h 37"/>
                    <a:gd name="T48" fmla="*/ 27 w 39"/>
                    <a:gd name="T49" fmla="*/ 23 h 37"/>
                    <a:gd name="T50" fmla="*/ 30 w 39"/>
                    <a:gd name="T51" fmla="*/ 31 h 37"/>
                    <a:gd name="T52" fmla="*/ 28 w 39"/>
                    <a:gd name="T53" fmla="*/ 33 h 37"/>
                    <a:gd name="T54" fmla="*/ 30 w 39"/>
                    <a:gd name="T55" fmla="*/ 36 h 37"/>
                    <a:gd name="T56" fmla="*/ 36 w 39"/>
                    <a:gd name="T57" fmla="*/ 30 h 37"/>
                    <a:gd name="T58" fmla="*/ 38 w 39"/>
                    <a:gd name="T59" fmla="*/ 21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39" h="37">
                      <a:moveTo>
                        <a:pt x="20" y="14"/>
                      </a:moveTo>
                      <a:cubicBezTo>
                        <a:pt x="19" y="13"/>
                        <a:pt x="18" y="9"/>
                        <a:pt x="20" y="8"/>
                      </a:cubicBezTo>
                      <a:cubicBezTo>
                        <a:pt x="21" y="7"/>
                        <a:pt x="22" y="2"/>
                        <a:pt x="21" y="1"/>
                      </a:cubicBezTo>
                      <a:cubicBezTo>
                        <a:pt x="19" y="0"/>
                        <a:pt x="15" y="1"/>
                        <a:pt x="15" y="4"/>
                      </a:cubicBezTo>
                      <a:cubicBezTo>
                        <a:pt x="14" y="8"/>
                        <a:pt x="11" y="6"/>
                        <a:pt x="10" y="7"/>
                      </a:cubicBezTo>
                      <a:cubicBezTo>
                        <a:pt x="9" y="8"/>
                        <a:pt x="12" y="9"/>
                        <a:pt x="10" y="11"/>
                      </a:cubicBezTo>
                      <a:cubicBezTo>
                        <a:pt x="9" y="12"/>
                        <a:pt x="8" y="8"/>
                        <a:pt x="6" y="8"/>
                      </a:cubicBezTo>
                      <a:cubicBezTo>
                        <a:pt x="3" y="8"/>
                        <a:pt x="3" y="12"/>
                        <a:pt x="2" y="14"/>
                      </a:cubicBezTo>
                      <a:cubicBezTo>
                        <a:pt x="0" y="16"/>
                        <a:pt x="1" y="20"/>
                        <a:pt x="2" y="23"/>
                      </a:cubicBezTo>
                      <a:cubicBezTo>
                        <a:pt x="2" y="26"/>
                        <a:pt x="6" y="28"/>
                        <a:pt x="5" y="30"/>
                      </a:cubicBezTo>
                      <a:cubicBezTo>
                        <a:pt x="4" y="31"/>
                        <a:pt x="5" y="33"/>
                        <a:pt x="6" y="34"/>
                      </a:cubicBezTo>
                      <a:cubicBezTo>
                        <a:pt x="9" y="34"/>
                        <a:pt x="12" y="34"/>
                        <a:pt x="13" y="34"/>
                      </a:cubicBezTo>
                      <a:cubicBezTo>
                        <a:pt x="14" y="35"/>
                        <a:pt x="15" y="35"/>
                        <a:pt x="16" y="34"/>
                      </a:cubicBezTo>
                      <a:cubicBezTo>
                        <a:pt x="15" y="33"/>
                        <a:pt x="13" y="31"/>
                        <a:pt x="13" y="30"/>
                      </a:cubicBezTo>
                      <a:cubicBezTo>
                        <a:pt x="13" y="28"/>
                        <a:pt x="16" y="29"/>
                        <a:pt x="17" y="31"/>
                      </a:cubicBezTo>
                      <a:cubicBezTo>
                        <a:pt x="19" y="32"/>
                        <a:pt x="23" y="33"/>
                        <a:pt x="23" y="31"/>
                      </a:cubicBezTo>
                      <a:cubicBezTo>
                        <a:pt x="23" y="30"/>
                        <a:pt x="22" y="25"/>
                        <a:pt x="20" y="26"/>
                      </a:cubicBezTo>
                      <a:cubicBezTo>
                        <a:pt x="18" y="27"/>
                        <a:pt x="17" y="26"/>
                        <a:pt x="17" y="25"/>
                      </a:cubicBezTo>
                      <a:cubicBezTo>
                        <a:pt x="16" y="24"/>
                        <a:pt x="18" y="22"/>
                        <a:pt x="19" y="20"/>
                      </a:cubicBezTo>
                      <a:cubicBezTo>
                        <a:pt x="19" y="18"/>
                        <a:pt x="23" y="19"/>
                        <a:pt x="24" y="18"/>
                      </a:cubicBezTo>
                      <a:cubicBezTo>
                        <a:pt x="24" y="16"/>
                        <a:pt x="21" y="14"/>
                        <a:pt x="20" y="14"/>
                      </a:cubicBezTo>
                      <a:close/>
                      <a:moveTo>
                        <a:pt x="38" y="21"/>
                      </a:moveTo>
                      <a:cubicBezTo>
                        <a:pt x="37" y="20"/>
                        <a:pt x="36" y="23"/>
                        <a:pt x="35" y="23"/>
                      </a:cubicBezTo>
                      <a:cubicBezTo>
                        <a:pt x="34" y="23"/>
                        <a:pt x="33" y="18"/>
                        <a:pt x="33" y="21"/>
                      </a:cubicBezTo>
                      <a:cubicBezTo>
                        <a:pt x="32" y="24"/>
                        <a:pt x="30" y="20"/>
                        <a:pt x="27" y="23"/>
                      </a:cubicBezTo>
                      <a:cubicBezTo>
                        <a:pt x="25" y="27"/>
                        <a:pt x="29" y="30"/>
                        <a:pt x="30" y="31"/>
                      </a:cubicBez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6" y="32"/>
                        <a:pt x="27" y="36"/>
                        <a:pt x="30" y="36"/>
                      </a:cubicBezTo>
                      <a:cubicBezTo>
                        <a:pt x="33" y="37"/>
                        <a:pt x="36" y="31"/>
                        <a:pt x="36" y="30"/>
                      </a:cubicBezTo>
                      <a:cubicBezTo>
                        <a:pt x="36" y="28"/>
                        <a:pt x="39" y="22"/>
                        <a:pt x="38" y="2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6" name="Freeform 129">
                  <a:extLst>
                    <a:ext uri="{FF2B5EF4-FFF2-40B4-BE49-F238E27FC236}">
                      <a16:creationId xmlns:a16="http://schemas.microsoft.com/office/drawing/2014/main" id="{DA3EE7ED-C1B4-4192-85D2-7E08FBA11C8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458402" y="-12677424"/>
                  <a:ext cx="616210" cy="1089719"/>
                </a:xfrm>
                <a:custGeom>
                  <a:avLst/>
                  <a:gdLst>
                    <a:gd name="T0" fmla="*/ 98 w 100"/>
                    <a:gd name="T1" fmla="*/ 37 h 176"/>
                    <a:gd name="T2" fmla="*/ 96 w 100"/>
                    <a:gd name="T3" fmla="*/ 23 h 176"/>
                    <a:gd name="T4" fmla="*/ 84 w 100"/>
                    <a:gd name="T5" fmla="*/ 9 h 176"/>
                    <a:gd name="T6" fmla="*/ 70 w 100"/>
                    <a:gd name="T7" fmla="*/ 8 h 176"/>
                    <a:gd name="T8" fmla="*/ 56 w 100"/>
                    <a:gd name="T9" fmla="*/ 8 h 176"/>
                    <a:gd name="T10" fmla="*/ 48 w 100"/>
                    <a:gd name="T11" fmla="*/ 16 h 176"/>
                    <a:gd name="T12" fmla="*/ 40 w 100"/>
                    <a:gd name="T13" fmla="*/ 26 h 176"/>
                    <a:gd name="T14" fmla="*/ 34 w 100"/>
                    <a:gd name="T15" fmla="*/ 37 h 176"/>
                    <a:gd name="T16" fmla="*/ 26 w 100"/>
                    <a:gd name="T17" fmla="*/ 43 h 176"/>
                    <a:gd name="T18" fmla="*/ 20 w 100"/>
                    <a:gd name="T19" fmla="*/ 60 h 176"/>
                    <a:gd name="T20" fmla="*/ 22 w 100"/>
                    <a:gd name="T21" fmla="*/ 69 h 176"/>
                    <a:gd name="T22" fmla="*/ 9 w 100"/>
                    <a:gd name="T23" fmla="*/ 75 h 176"/>
                    <a:gd name="T24" fmla="*/ 8 w 100"/>
                    <a:gd name="T25" fmla="*/ 91 h 176"/>
                    <a:gd name="T26" fmla="*/ 13 w 100"/>
                    <a:gd name="T27" fmla="*/ 104 h 176"/>
                    <a:gd name="T28" fmla="*/ 10 w 100"/>
                    <a:gd name="T29" fmla="*/ 112 h 176"/>
                    <a:gd name="T30" fmla="*/ 5 w 100"/>
                    <a:gd name="T31" fmla="*/ 122 h 176"/>
                    <a:gd name="T32" fmla="*/ 2 w 100"/>
                    <a:gd name="T33" fmla="*/ 134 h 176"/>
                    <a:gd name="T34" fmla="*/ 0 w 100"/>
                    <a:gd name="T35" fmla="*/ 134 h 176"/>
                    <a:gd name="T36" fmla="*/ 6 w 100"/>
                    <a:gd name="T37" fmla="*/ 150 h 176"/>
                    <a:gd name="T38" fmla="*/ 12 w 100"/>
                    <a:gd name="T39" fmla="*/ 164 h 176"/>
                    <a:gd name="T40" fmla="*/ 14 w 100"/>
                    <a:gd name="T41" fmla="*/ 174 h 176"/>
                    <a:gd name="T42" fmla="*/ 24 w 100"/>
                    <a:gd name="T43" fmla="*/ 169 h 176"/>
                    <a:gd name="T44" fmla="*/ 33 w 100"/>
                    <a:gd name="T45" fmla="*/ 166 h 176"/>
                    <a:gd name="T46" fmla="*/ 40 w 100"/>
                    <a:gd name="T47" fmla="*/ 164 h 176"/>
                    <a:gd name="T48" fmla="*/ 42 w 100"/>
                    <a:gd name="T49" fmla="*/ 156 h 176"/>
                    <a:gd name="T50" fmla="*/ 43 w 100"/>
                    <a:gd name="T51" fmla="*/ 139 h 176"/>
                    <a:gd name="T52" fmla="*/ 55 w 100"/>
                    <a:gd name="T53" fmla="*/ 128 h 176"/>
                    <a:gd name="T54" fmla="*/ 52 w 100"/>
                    <a:gd name="T55" fmla="*/ 113 h 176"/>
                    <a:gd name="T56" fmla="*/ 45 w 100"/>
                    <a:gd name="T57" fmla="*/ 102 h 176"/>
                    <a:gd name="T58" fmla="*/ 51 w 100"/>
                    <a:gd name="T59" fmla="*/ 88 h 176"/>
                    <a:gd name="T60" fmla="*/ 60 w 100"/>
                    <a:gd name="T61" fmla="*/ 78 h 176"/>
                    <a:gd name="T62" fmla="*/ 80 w 100"/>
                    <a:gd name="T63" fmla="*/ 65 h 176"/>
                    <a:gd name="T64" fmla="*/ 82 w 100"/>
                    <a:gd name="T65" fmla="*/ 50 h 176"/>
                    <a:gd name="T66" fmla="*/ 96 w 100"/>
                    <a:gd name="T67" fmla="*/ 45 h 176"/>
                    <a:gd name="T68" fmla="*/ 99 w 100"/>
                    <a:gd name="T69" fmla="*/ 42 h 176"/>
                    <a:gd name="T70" fmla="*/ 53 w 100"/>
                    <a:gd name="T71" fmla="*/ 157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00" h="176">
                      <a:moveTo>
                        <a:pt x="99" y="42"/>
                      </a:moveTo>
                      <a:cubicBezTo>
                        <a:pt x="98" y="40"/>
                        <a:pt x="96" y="37"/>
                        <a:pt x="98" y="37"/>
                      </a:cubicBezTo>
                      <a:cubicBezTo>
                        <a:pt x="99" y="37"/>
                        <a:pt x="100" y="32"/>
                        <a:pt x="98" y="30"/>
                      </a:cubicBezTo>
                      <a:cubicBezTo>
                        <a:pt x="96" y="29"/>
                        <a:pt x="98" y="24"/>
                        <a:pt x="96" y="23"/>
                      </a:cubicBezTo>
                      <a:cubicBezTo>
                        <a:pt x="94" y="22"/>
                        <a:pt x="95" y="18"/>
                        <a:pt x="96" y="16"/>
                      </a:cubicBezTo>
                      <a:cubicBezTo>
                        <a:pt x="96" y="13"/>
                        <a:pt x="88" y="11"/>
                        <a:pt x="84" y="9"/>
                      </a:cubicBezTo>
                      <a:cubicBezTo>
                        <a:pt x="80" y="7"/>
                        <a:pt x="78" y="4"/>
                        <a:pt x="75" y="2"/>
                      </a:cubicBezTo>
                      <a:cubicBezTo>
                        <a:pt x="71" y="0"/>
                        <a:pt x="70" y="5"/>
                        <a:pt x="70" y="8"/>
                      </a:cubicBezTo>
                      <a:cubicBezTo>
                        <a:pt x="70" y="11"/>
                        <a:pt x="67" y="11"/>
                        <a:pt x="65" y="9"/>
                      </a:cubicBezTo>
                      <a:cubicBezTo>
                        <a:pt x="62" y="8"/>
                        <a:pt x="60" y="9"/>
                        <a:pt x="56" y="8"/>
                      </a:cubicBezTo>
                      <a:cubicBezTo>
                        <a:pt x="53" y="6"/>
                        <a:pt x="54" y="11"/>
                        <a:pt x="54" y="14"/>
                      </a:cubicBezTo>
                      <a:cubicBezTo>
                        <a:pt x="54" y="16"/>
                        <a:pt x="51" y="16"/>
                        <a:pt x="48" y="16"/>
                      </a:cubicBezTo>
                      <a:cubicBezTo>
                        <a:pt x="46" y="16"/>
                        <a:pt x="42" y="18"/>
                        <a:pt x="42" y="21"/>
                      </a:cubicBezTo>
                      <a:cubicBezTo>
                        <a:pt x="42" y="23"/>
                        <a:pt x="39" y="25"/>
                        <a:pt x="40" y="26"/>
                      </a:cubicBezTo>
                      <a:cubicBezTo>
                        <a:pt x="41" y="28"/>
                        <a:pt x="39" y="29"/>
                        <a:pt x="38" y="30"/>
                      </a:cubicBezTo>
                      <a:cubicBezTo>
                        <a:pt x="36" y="32"/>
                        <a:pt x="35" y="35"/>
                        <a:pt x="34" y="37"/>
                      </a:cubicBezTo>
                      <a:cubicBezTo>
                        <a:pt x="33" y="38"/>
                        <a:pt x="34" y="40"/>
                        <a:pt x="32" y="41"/>
                      </a:cubicBezTo>
                      <a:cubicBezTo>
                        <a:pt x="30" y="43"/>
                        <a:pt x="27" y="42"/>
                        <a:pt x="26" y="43"/>
                      </a:cubicBezTo>
                      <a:cubicBezTo>
                        <a:pt x="25" y="44"/>
                        <a:pt x="26" y="47"/>
                        <a:pt x="26" y="50"/>
                      </a:cubicBezTo>
                      <a:cubicBezTo>
                        <a:pt x="25" y="53"/>
                        <a:pt x="23" y="57"/>
                        <a:pt x="20" y="60"/>
                      </a:cubicBezTo>
                      <a:cubicBezTo>
                        <a:pt x="18" y="63"/>
                        <a:pt x="21" y="64"/>
                        <a:pt x="22" y="64"/>
                      </a:cubicBezTo>
                      <a:cubicBezTo>
                        <a:pt x="23" y="65"/>
                        <a:pt x="23" y="67"/>
                        <a:pt x="22" y="69"/>
                      </a:cubicBezTo>
                      <a:cubicBezTo>
                        <a:pt x="21" y="71"/>
                        <a:pt x="18" y="70"/>
                        <a:pt x="17" y="69"/>
                      </a:cubicBezTo>
                      <a:cubicBezTo>
                        <a:pt x="15" y="69"/>
                        <a:pt x="11" y="71"/>
                        <a:pt x="9" y="75"/>
                      </a:cubicBezTo>
                      <a:cubicBezTo>
                        <a:pt x="7" y="79"/>
                        <a:pt x="7" y="81"/>
                        <a:pt x="8" y="83"/>
                      </a:cubicBezTo>
                      <a:cubicBezTo>
                        <a:pt x="9" y="85"/>
                        <a:pt x="6" y="87"/>
                        <a:pt x="8" y="91"/>
                      </a:cubicBezTo>
                      <a:cubicBezTo>
                        <a:pt x="10" y="95"/>
                        <a:pt x="7" y="95"/>
                        <a:pt x="8" y="98"/>
                      </a:cubicBezTo>
                      <a:cubicBezTo>
                        <a:pt x="8" y="102"/>
                        <a:pt x="13" y="101"/>
                        <a:pt x="13" y="104"/>
                      </a:cubicBezTo>
                      <a:cubicBezTo>
                        <a:pt x="13" y="107"/>
                        <a:pt x="12" y="108"/>
                        <a:pt x="10" y="108"/>
                      </a:cubicBezTo>
                      <a:cubicBezTo>
                        <a:pt x="8" y="108"/>
                        <a:pt x="9" y="111"/>
                        <a:pt x="10" y="112"/>
                      </a:cubicBezTo>
                      <a:cubicBezTo>
                        <a:pt x="12" y="113"/>
                        <a:pt x="12" y="118"/>
                        <a:pt x="11" y="120"/>
                      </a:cubicBezTo>
                      <a:cubicBezTo>
                        <a:pt x="10" y="121"/>
                        <a:pt x="5" y="120"/>
                        <a:pt x="5" y="122"/>
                      </a:cubicBezTo>
                      <a:cubicBezTo>
                        <a:pt x="6" y="124"/>
                        <a:pt x="4" y="127"/>
                        <a:pt x="4" y="128"/>
                      </a:cubicBezTo>
                      <a:cubicBezTo>
                        <a:pt x="4" y="130"/>
                        <a:pt x="4" y="135"/>
                        <a:pt x="2" y="134"/>
                      </a:cubicBezTo>
                      <a:cubicBezTo>
                        <a:pt x="2" y="133"/>
                        <a:pt x="1" y="133"/>
                        <a:pt x="0" y="133"/>
                      </a:cubicBezTo>
                      <a:cubicBezTo>
                        <a:pt x="0" y="133"/>
                        <a:pt x="0" y="134"/>
                        <a:pt x="0" y="134"/>
                      </a:cubicBezTo>
                      <a:cubicBezTo>
                        <a:pt x="0" y="137"/>
                        <a:pt x="1" y="140"/>
                        <a:pt x="3" y="142"/>
                      </a:cubicBezTo>
                      <a:cubicBezTo>
                        <a:pt x="6" y="144"/>
                        <a:pt x="4" y="147"/>
                        <a:pt x="6" y="150"/>
                      </a:cubicBezTo>
                      <a:cubicBezTo>
                        <a:pt x="9" y="153"/>
                        <a:pt x="8" y="156"/>
                        <a:pt x="10" y="158"/>
                      </a:cubicBezTo>
                      <a:cubicBezTo>
                        <a:pt x="13" y="160"/>
                        <a:pt x="13" y="161"/>
                        <a:pt x="12" y="164"/>
                      </a:cubicBezTo>
                      <a:cubicBezTo>
                        <a:pt x="11" y="166"/>
                        <a:pt x="14" y="166"/>
                        <a:pt x="14" y="167"/>
                      </a:cubicBezTo>
                      <a:cubicBezTo>
                        <a:pt x="14" y="169"/>
                        <a:pt x="14" y="173"/>
                        <a:pt x="14" y="174"/>
                      </a:cubicBezTo>
                      <a:cubicBezTo>
                        <a:pt x="15" y="176"/>
                        <a:pt x="17" y="174"/>
                        <a:pt x="21" y="174"/>
                      </a:cubicBezTo>
                      <a:cubicBezTo>
                        <a:pt x="24" y="174"/>
                        <a:pt x="24" y="172"/>
                        <a:pt x="24" y="169"/>
                      </a:cubicBezTo>
                      <a:cubicBezTo>
                        <a:pt x="24" y="167"/>
                        <a:pt x="26" y="168"/>
                        <a:pt x="26" y="167"/>
                      </a:cubicBezTo>
                      <a:cubicBezTo>
                        <a:pt x="27" y="165"/>
                        <a:pt x="30" y="165"/>
                        <a:pt x="33" y="166"/>
                      </a:cubicBezTo>
                      <a:cubicBezTo>
                        <a:pt x="36" y="167"/>
                        <a:pt x="37" y="165"/>
                        <a:pt x="37" y="162"/>
                      </a:cubicBezTo>
                      <a:cubicBezTo>
                        <a:pt x="38" y="160"/>
                        <a:pt x="39" y="163"/>
                        <a:pt x="40" y="164"/>
                      </a:cubicBezTo>
                      <a:cubicBezTo>
                        <a:pt x="41" y="164"/>
                        <a:pt x="44" y="159"/>
                        <a:pt x="45" y="156"/>
                      </a:cubicBezTo>
                      <a:cubicBezTo>
                        <a:pt x="46" y="153"/>
                        <a:pt x="45" y="153"/>
                        <a:pt x="42" y="156"/>
                      </a:cubicBezTo>
                      <a:cubicBezTo>
                        <a:pt x="39" y="160"/>
                        <a:pt x="41" y="153"/>
                        <a:pt x="42" y="151"/>
                      </a:cubicBezTo>
                      <a:cubicBezTo>
                        <a:pt x="43" y="148"/>
                        <a:pt x="43" y="141"/>
                        <a:pt x="43" y="139"/>
                      </a:cubicBezTo>
                      <a:cubicBezTo>
                        <a:pt x="44" y="138"/>
                        <a:pt x="44" y="135"/>
                        <a:pt x="48" y="135"/>
                      </a:cubicBezTo>
                      <a:cubicBezTo>
                        <a:pt x="51" y="134"/>
                        <a:pt x="56" y="130"/>
                        <a:pt x="55" y="128"/>
                      </a:cubicBezTo>
                      <a:cubicBezTo>
                        <a:pt x="54" y="126"/>
                        <a:pt x="60" y="123"/>
                        <a:pt x="60" y="121"/>
                      </a:cubicBezTo>
                      <a:cubicBezTo>
                        <a:pt x="60" y="120"/>
                        <a:pt x="54" y="114"/>
                        <a:pt x="52" y="113"/>
                      </a:cubicBezTo>
                      <a:cubicBezTo>
                        <a:pt x="50" y="112"/>
                        <a:pt x="46" y="113"/>
                        <a:pt x="46" y="111"/>
                      </a:cubicBezTo>
                      <a:cubicBezTo>
                        <a:pt x="47" y="110"/>
                        <a:pt x="46" y="105"/>
                        <a:pt x="45" y="102"/>
                      </a:cubicBezTo>
                      <a:cubicBezTo>
                        <a:pt x="45" y="100"/>
                        <a:pt x="48" y="97"/>
                        <a:pt x="48" y="94"/>
                      </a:cubicBezTo>
                      <a:cubicBezTo>
                        <a:pt x="48" y="92"/>
                        <a:pt x="48" y="89"/>
                        <a:pt x="51" y="88"/>
                      </a:cubicBezTo>
                      <a:cubicBezTo>
                        <a:pt x="53" y="87"/>
                        <a:pt x="51" y="85"/>
                        <a:pt x="54" y="85"/>
                      </a:cubicBezTo>
                      <a:cubicBezTo>
                        <a:pt x="57" y="84"/>
                        <a:pt x="57" y="80"/>
                        <a:pt x="60" y="78"/>
                      </a:cubicBezTo>
                      <a:cubicBezTo>
                        <a:pt x="63" y="77"/>
                        <a:pt x="63" y="76"/>
                        <a:pt x="68" y="74"/>
                      </a:cubicBezTo>
                      <a:cubicBezTo>
                        <a:pt x="72" y="72"/>
                        <a:pt x="79" y="67"/>
                        <a:pt x="80" y="65"/>
                      </a:cubicBezTo>
                      <a:cubicBezTo>
                        <a:pt x="81" y="62"/>
                        <a:pt x="76" y="59"/>
                        <a:pt x="79" y="57"/>
                      </a:cubicBezTo>
                      <a:cubicBezTo>
                        <a:pt x="83" y="54"/>
                        <a:pt x="80" y="51"/>
                        <a:pt x="82" y="50"/>
                      </a:cubicBezTo>
                      <a:cubicBezTo>
                        <a:pt x="85" y="49"/>
                        <a:pt x="86" y="48"/>
                        <a:pt x="87" y="46"/>
                      </a:cubicBezTo>
                      <a:cubicBezTo>
                        <a:pt x="89" y="44"/>
                        <a:pt x="92" y="46"/>
                        <a:pt x="96" y="45"/>
                      </a:cubicBezTo>
                      <a:cubicBezTo>
                        <a:pt x="97" y="45"/>
                        <a:pt x="99" y="45"/>
                        <a:pt x="100" y="46"/>
                      </a:cubicBezTo>
                      <a:cubicBezTo>
                        <a:pt x="100" y="44"/>
                        <a:pt x="100" y="42"/>
                        <a:pt x="99" y="42"/>
                      </a:cubicBezTo>
                      <a:close/>
                      <a:moveTo>
                        <a:pt x="59" y="146"/>
                      </a:moveTo>
                      <a:cubicBezTo>
                        <a:pt x="54" y="146"/>
                        <a:pt x="52" y="155"/>
                        <a:pt x="53" y="157"/>
                      </a:cubicBezTo>
                      <a:cubicBezTo>
                        <a:pt x="54" y="158"/>
                        <a:pt x="63" y="146"/>
                        <a:pt x="59" y="14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7" name="Freeform 130">
                  <a:extLst>
                    <a:ext uri="{FF2B5EF4-FFF2-40B4-BE49-F238E27FC236}">
                      <a16:creationId xmlns:a16="http://schemas.microsoft.com/office/drawing/2014/main" id="{1D8749E2-E090-40CA-A9EE-ECDF08F3DA5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9952461" y="-11908782"/>
                  <a:ext cx="314592" cy="152432"/>
                </a:xfrm>
                <a:custGeom>
                  <a:avLst/>
                  <a:gdLst>
                    <a:gd name="T0" fmla="*/ 47 w 51"/>
                    <a:gd name="T1" fmla="*/ 7 h 25"/>
                    <a:gd name="T2" fmla="*/ 49 w 51"/>
                    <a:gd name="T3" fmla="*/ 2 h 25"/>
                    <a:gd name="T4" fmla="*/ 47 w 51"/>
                    <a:gd name="T5" fmla="*/ 3 h 25"/>
                    <a:gd name="T6" fmla="*/ 32 w 51"/>
                    <a:gd name="T7" fmla="*/ 1 h 25"/>
                    <a:gd name="T8" fmla="*/ 17 w 51"/>
                    <a:gd name="T9" fmla="*/ 4 h 25"/>
                    <a:gd name="T10" fmla="*/ 12 w 51"/>
                    <a:gd name="T11" fmla="*/ 9 h 25"/>
                    <a:gd name="T12" fmla="*/ 14 w 51"/>
                    <a:gd name="T13" fmla="*/ 14 h 25"/>
                    <a:gd name="T14" fmla="*/ 19 w 51"/>
                    <a:gd name="T15" fmla="*/ 16 h 25"/>
                    <a:gd name="T16" fmla="*/ 20 w 51"/>
                    <a:gd name="T17" fmla="*/ 20 h 25"/>
                    <a:gd name="T18" fmla="*/ 20 w 51"/>
                    <a:gd name="T19" fmla="*/ 20 h 25"/>
                    <a:gd name="T20" fmla="*/ 29 w 51"/>
                    <a:gd name="T21" fmla="*/ 20 h 25"/>
                    <a:gd name="T22" fmla="*/ 37 w 51"/>
                    <a:gd name="T23" fmla="*/ 24 h 25"/>
                    <a:gd name="T24" fmla="*/ 45 w 51"/>
                    <a:gd name="T25" fmla="*/ 25 h 25"/>
                    <a:gd name="T26" fmla="*/ 45 w 51"/>
                    <a:gd name="T27" fmla="*/ 23 h 25"/>
                    <a:gd name="T28" fmla="*/ 47 w 51"/>
                    <a:gd name="T29" fmla="*/ 20 h 25"/>
                    <a:gd name="T30" fmla="*/ 45 w 51"/>
                    <a:gd name="T31" fmla="*/ 16 h 25"/>
                    <a:gd name="T32" fmla="*/ 45 w 51"/>
                    <a:gd name="T33" fmla="*/ 11 h 25"/>
                    <a:gd name="T34" fmla="*/ 47 w 51"/>
                    <a:gd name="T35" fmla="*/ 7 h 25"/>
                    <a:gd name="T36" fmla="*/ 5 w 51"/>
                    <a:gd name="T37" fmla="*/ 13 h 25"/>
                    <a:gd name="T38" fmla="*/ 2 w 51"/>
                    <a:gd name="T39" fmla="*/ 20 h 25"/>
                    <a:gd name="T40" fmla="*/ 10 w 51"/>
                    <a:gd name="T41" fmla="*/ 14 h 25"/>
                    <a:gd name="T42" fmla="*/ 5 w 51"/>
                    <a:gd name="T43" fmla="*/ 13 h 25"/>
                    <a:gd name="T44" fmla="*/ 9 w 51"/>
                    <a:gd name="T45" fmla="*/ 9 h 25"/>
                    <a:gd name="T46" fmla="*/ 4 w 51"/>
                    <a:gd name="T47" fmla="*/ 10 h 25"/>
                    <a:gd name="T48" fmla="*/ 9 w 51"/>
                    <a:gd name="T49" fmla="*/ 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1" h="25">
                      <a:moveTo>
                        <a:pt x="47" y="7"/>
                      </a:moveTo>
                      <a:cubicBezTo>
                        <a:pt x="48" y="5"/>
                        <a:pt x="51" y="4"/>
                        <a:pt x="49" y="2"/>
                      </a:cubicBezTo>
                      <a:cubicBezTo>
                        <a:pt x="49" y="2"/>
                        <a:pt x="48" y="2"/>
                        <a:pt x="47" y="3"/>
                      </a:cubicBezTo>
                      <a:cubicBezTo>
                        <a:pt x="44" y="3"/>
                        <a:pt x="36" y="0"/>
                        <a:pt x="32" y="1"/>
                      </a:cubicBezTo>
                      <a:cubicBezTo>
                        <a:pt x="28" y="2"/>
                        <a:pt x="19" y="2"/>
                        <a:pt x="17" y="4"/>
                      </a:cubicBezTo>
                      <a:cubicBezTo>
                        <a:pt x="15" y="6"/>
                        <a:pt x="10" y="7"/>
                        <a:pt x="12" y="9"/>
                      </a:cubicBezTo>
                      <a:cubicBezTo>
                        <a:pt x="14" y="10"/>
                        <a:pt x="12" y="11"/>
                        <a:pt x="14" y="14"/>
                      </a:cubicBezTo>
                      <a:cubicBezTo>
                        <a:pt x="15" y="16"/>
                        <a:pt x="16" y="17"/>
                        <a:pt x="19" y="16"/>
                      </a:cubicBezTo>
                      <a:cubicBezTo>
                        <a:pt x="21" y="16"/>
                        <a:pt x="23" y="17"/>
                        <a:pt x="20" y="20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4" y="19"/>
                        <a:pt x="28" y="19"/>
                        <a:pt x="29" y="20"/>
                      </a:cubicBezTo>
                      <a:cubicBezTo>
                        <a:pt x="30" y="20"/>
                        <a:pt x="35" y="25"/>
                        <a:pt x="37" y="24"/>
                      </a:cubicBezTo>
                      <a:cubicBezTo>
                        <a:pt x="38" y="24"/>
                        <a:pt x="42" y="25"/>
                        <a:pt x="45" y="25"/>
                      </a:cubicBezTo>
                      <a:cubicBezTo>
                        <a:pt x="44" y="24"/>
                        <a:pt x="44" y="23"/>
                        <a:pt x="45" y="23"/>
                      </a:cubicBezTo>
                      <a:cubicBezTo>
                        <a:pt x="46" y="22"/>
                        <a:pt x="48" y="22"/>
                        <a:pt x="47" y="20"/>
                      </a:cubicBezTo>
                      <a:cubicBezTo>
                        <a:pt x="46" y="18"/>
                        <a:pt x="45" y="18"/>
                        <a:pt x="45" y="16"/>
                      </a:cubicBezTo>
                      <a:cubicBezTo>
                        <a:pt x="45" y="14"/>
                        <a:pt x="44" y="13"/>
                        <a:pt x="45" y="11"/>
                      </a:cubicBezTo>
                      <a:cubicBezTo>
                        <a:pt x="45" y="10"/>
                        <a:pt x="46" y="9"/>
                        <a:pt x="47" y="7"/>
                      </a:cubicBezTo>
                      <a:close/>
                      <a:moveTo>
                        <a:pt x="5" y="13"/>
                      </a:moveTo>
                      <a:cubicBezTo>
                        <a:pt x="1" y="14"/>
                        <a:pt x="0" y="20"/>
                        <a:pt x="2" y="20"/>
                      </a:cubicBezTo>
                      <a:cubicBezTo>
                        <a:pt x="4" y="20"/>
                        <a:pt x="9" y="16"/>
                        <a:pt x="10" y="14"/>
                      </a:cubicBezTo>
                      <a:cubicBezTo>
                        <a:pt x="12" y="13"/>
                        <a:pt x="10" y="12"/>
                        <a:pt x="5" y="13"/>
                      </a:cubicBezTo>
                      <a:close/>
                      <a:moveTo>
                        <a:pt x="9" y="9"/>
                      </a:moveTo>
                      <a:cubicBezTo>
                        <a:pt x="10" y="8"/>
                        <a:pt x="2" y="8"/>
                        <a:pt x="4" y="10"/>
                      </a:cubicBezTo>
                      <a:cubicBezTo>
                        <a:pt x="5" y="11"/>
                        <a:pt x="8" y="11"/>
                        <a:pt x="9" y="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8" name="Freeform 131">
                  <a:extLst>
                    <a:ext uri="{FF2B5EF4-FFF2-40B4-BE49-F238E27FC236}">
                      <a16:creationId xmlns:a16="http://schemas.microsoft.com/office/drawing/2014/main" id="{29A92042-2D86-4D3F-81F0-B400B44B1A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253019" y="-10945550"/>
                  <a:ext cx="878911" cy="512427"/>
                </a:xfrm>
                <a:custGeom>
                  <a:avLst/>
                  <a:gdLst>
                    <a:gd name="T0" fmla="*/ 138 w 142"/>
                    <a:gd name="T1" fmla="*/ 47 h 83"/>
                    <a:gd name="T2" fmla="*/ 127 w 142"/>
                    <a:gd name="T3" fmla="*/ 42 h 83"/>
                    <a:gd name="T4" fmla="*/ 121 w 142"/>
                    <a:gd name="T5" fmla="*/ 42 h 83"/>
                    <a:gd name="T6" fmla="*/ 113 w 142"/>
                    <a:gd name="T7" fmla="*/ 40 h 83"/>
                    <a:gd name="T8" fmla="*/ 105 w 142"/>
                    <a:gd name="T9" fmla="*/ 46 h 83"/>
                    <a:gd name="T10" fmla="*/ 101 w 142"/>
                    <a:gd name="T11" fmla="*/ 47 h 83"/>
                    <a:gd name="T12" fmla="*/ 94 w 142"/>
                    <a:gd name="T13" fmla="*/ 43 h 83"/>
                    <a:gd name="T14" fmla="*/ 87 w 142"/>
                    <a:gd name="T15" fmla="*/ 41 h 83"/>
                    <a:gd name="T16" fmla="*/ 83 w 142"/>
                    <a:gd name="T17" fmla="*/ 33 h 83"/>
                    <a:gd name="T18" fmla="*/ 81 w 142"/>
                    <a:gd name="T19" fmla="*/ 25 h 83"/>
                    <a:gd name="T20" fmla="*/ 75 w 142"/>
                    <a:gd name="T21" fmla="*/ 21 h 83"/>
                    <a:gd name="T22" fmla="*/ 59 w 142"/>
                    <a:gd name="T23" fmla="*/ 20 h 83"/>
                    <a:gd name="T24" fmla="*/ 48 w 142"/>
                    <a:gd name="T25" fmla="*/ 21 h 83"/>
                    <a:gd name="T26" fmla="*/ 39 w 142"/>
                    <a:gd name="T27" fmla="*/ 10 h 83"/>
                    <a:gd name="T28" fmla="*/ 36 w 142"/>
                    <a:gd name="T29" fmla="*/ 14 h 83"/>
                    <a:gd name="T30" fmla="*/ 27 w 142"/>
                    <a:gd name="T31" fmla="*/ 12 h 83"/>
                    <a:gd name="T32" fmla="*/ 26 w 142"/>
                    <a:gd name="T33" fmla="*/ 1 h 83"/>
                    <a:gd name="T34" fmla="*/ 22 w 142"/>
                    <a:gd name="T35" fmla="*/ 13 h 83"/>
                    <a:gd name="T36" fmla="*/ 21 w 142"/>
                    <a:gd name="T37" fmla="*/ 0 h 83"/>
                    <a:gd name="T38" fmla="*/ 1 w 142"/>
                    <a:gd name="T39" fmla="*/ 5 h 83"/>
                    <a:gd name="T40" fmla="*/ 0 w 142"/>
                    <a:gd name="T41" fmla="*/ 41 h 83"/>
                    <a:gd name="T42" fmla="*/ 0 w 142"/>
                    <a:gd name="T43" fmla="*/ 41 h 83"/>
                    <a:gd name="T44" fmla="*/ 5 w 142"/>
                    <a:gd name="T45" fmla="*/ 42 h 83"/>
                    <a:gd name="T46" fmla="*/ 8 w 142"/>
                    <a:gd name="T47" fmla="*/ 39 h 83"/>
                    <a:gd name="T48" fmla="*/ 14 w 142"/>
                    <a:gd name="T49" fmla="*/ 34 h 83"/>
                    <a:gd name="T50" fmla="*/ 17 w 142"/>
                    <a:gd name="T51" fmla="*/ 31 h 83"/>
                    <a:gd name="T52" fmla="*/ 20 w 142"/>
                    <a:gd name="T53" fmla="*/ 30 h 83"/>
                    <a:gd name="T54" fmla="*/ 26 w 142"/>
                    <a:gd name="T55" fmla="*/ 31 h 83"/>
                    <a:gd name="T56" fmla="*/ 32 w 142"/>
                    <a:gd name="T57" fmla="*/ 33 h 83"/>
                    <a:gd name="T58" fmla="*/ 35 w 142"/>
                    <a:gd name="T59" fmla="*/ 42 h 83"/>
                    <a:gd name="T60" fmla="*/ 47 w 142"/>
                    <a:gd name="T61" fmla="*/ 43 h 83"/>
                    <a:gd name="T62" fmla="*/ 50 w 142"/>
                    <a:gd name="T63" fmla="*/ 48 h 83"/>
                    <a:gd name="T64" fmla="*/ 54 w 142"/>
                    <a:gd name="T65" fmla="*/ 55 h 83"/>
                    <a:gd name="T66" fmla="*/ 62 w 142"/>
                    <a:gd name="T67" fmla="*/ 61 h 83"/>
                    <a:gd name="T68" fmla="*/ 71 w 142"/>
                    <a:gd name="T69" fmla="*/ 66 h 83"/>
                    <a:gd name="T70" fmla="*/ 79 w 142"/>
                    <a:gd name="T71" fmla="*/ 72 h 83"/>
                    <a:gd name="T72" fmla="*/ 86 w 142"/>
                    <a:gd name="T73" fmla="*/ 74 h 83"/>
                    <a:gd name="T74" fmla="*/ 87 w 142"/>
                    <a:gd name="T75" fmla="*/ 80 h 83"/>
                    <a:gd name="T76" fmla="*/ 88 w 142"/>
                    <a:gd name="T77" fmla="*/ 79 h 83"/>
                    <a:gd name="T78" fmla="*/ 94 w 142"/>
                    <a:gd name="T79" fmla="*/ 82 h 83"/>
                    <a:gd name="T80" fmla="*/ 98 w 142"/>
                    <a:gd name="T81" fmla="*/ 83 h 83"/>
                    <a:gd name="T82" fmla="*/ 101 w 142"/>
                    <a:gd name="T83" fmla="*/ 75 h 83"/>
                    <a:gd name="T84" fmla="*/ 100 w 142"/>
                    <a:gd name="T85" fmla="*/ 68 h 83"/>
                    <a:gd name="T86" fmla="*/ 95 w 142"/>
                    <a:gd name="T87" fmla="*/ 61 h 83"/>
                    <a:gd name="T88" fmla="*/ 103 w 142"/>
                    <a:gd name="T89" fmla="*/ 59 h 83"/>
                    <a:gd name="T90" fmla="*/ 105 w 142"/>
                    <a:gd name="T91" fmla="*/ 54 h 83"/>
                    <a:gd name="T92" fmla="*/ 109 w 142"/>
                    <a:gd name="T93" fmla="*/ 50 h 83"/>
                    <a:gd name="T94" fmla="*/ 115 w 142"/>
                    <a:gd name="T95" fmla="*/ 48 h 83"/>
                    <a:gd name="T96" fmla="*/ 121 w 142"/>
                    <a:gd name="T97" fmla="*/ 47 h 83"/>
                    <a:gd name="T98" fmla="*/ 118 w 142"/>
                    <a:gd name="T99" fmla="*/ 54 h 83"/>
                    <a:gd name="T100" fmla="*/ 127 w 142"/>
                    <a:gd name="T101" fmla="*/ 52 h 83"/>
                    <a:gd name="T102" fmla="*/ 135 w 142"/>
                    <a:gd name="T103" fmla="*/ 51 h 83"/>
                    <a:gd name="T104" fmla="*/ 138 w 142"/>
                    <a:gd name="T105" fmla="*/ 47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42" h="83">
                      <a:moveTo>
                        <a:pt x="138" y="47"/>
                      </a:moveTo>
                      <a:cubicBezTo>
                        <a:pt x="134" y="44"/>
                        <a:pt x="128" y="40"/>
                        <a:pt x="127" y="42"/>
                      </a:cubicBezTo>
                      <a:cubicBezTo>
                        <a:pt x="127" y="44"/>
                        <a:pt x="122" y="44"/>
                        <a:pt x="121" y="42"/>
                      </a:cubicBezTo>
                      <a:cubicBezTo>
                        <a:pt x="119" y="40"/>
                        <a:pt x="118" y="38"/>
                        <a:pt x="113" y="40"/>
                      </a:cubicBezTo>
                      <a:cubicBezTo>
                        <a:pt x="108" y="42"/>
                        <a:pt x="105" y="44"/>
                        <a:pt x="105" y="46"/>
                      </a:cubicBezTo>
                      <a:cubicBezTo>
                        <a:pt x="105" y="48"/>
                        <a:pt x="101" y="50"/>
                        <a:pt x="101" y="47"/>
                      </a:cubicBezTo>
                      <a:cubicBezTo>
                        <a:pt x="101" y="45"/>
                        <a:pt x="97" y="44"/>
                        <a:pt x="94" y="43"/>
                      </a:cubicBezTo>
                      <a:cubicBezTo>
                        <a:pt x="92" y="43"/>
                        <a:pt x="88" y="44"/>
                        <a:pt x="87" y="41"/>
                      </a:cubicBezTo>
                      <a:cubicBezTo>
                        <a:pt x="87" y="39"/>
                        <a:pt x="83" y="36"/>
                        <a:pt x="83" y="33"/>
                      </a:cubicBezTo>
                      <a:cubicBezTo>
                        <a:pt x="83" y="30"/>
                        <a:pt x="84" y="26"/>
                        <a:pt x="81" y="25"/>
                      </a:cubicBezTo>
                      <a:cubicBezTo>
                        <a:pt x="79" y="25"/>
                        <a:pt x="77" y="21"/>
                        <a:pt x="75" y="21"/>
                      </a:cubicBezTo>
                      <a:cubicBezTo>
                        <a:pt x="73" y="21"/>
                        <a:pt x="60" y="21"/>
                        <a:pt x="59" y="20"/>
                      </a:cubicBezTo>
                      <a:cubicBezTo>
                        <a:pt x="57" y="19"/>
                        <a:pt x="49" y="23"/>
                        <a:pt x="48" y="21"/>
                      </a:cubicBezTo>
                      <a:cubicBezTo>
                        <a:pt x="48" y="19"/>
                        <a:pt x="42" y="13"/>
                        <a:pt x="39" y="10"/>
                      </a:cubicBezTo>
                      <a:cubicBezTo>
                        <a:pt x="38" y="12"/>
                        <a:pt x="38" y="13"/>
                        <a:pt x="36" y="14"/>
                      </a:cubicBezTo>
                      <a:cubicBezTo>
                        <a:pt x="30" y="18"/>
                        <a:pt x="25" y="17"/>
                        <a:pt x="27" y="12"/>
                      </a:cubicBezTo>
                      <a:cubicBezTo>
                        <a:pt x="28" y="7"/>
                        <a:pt x="29" y="1"/>
                        <a:pt x="26" y="1"/>
                      </a:cubicBezTo>
                      <a:cubicBezTo>
                        <a:pt x="23" y="1"/>
                        <a:pt x="25" y="12"/>
                        <a:pt x="22" y="13"/>
                      </a:cubicBezTo>
                      <a:cubicBezTo>
                        <a:pt x="20" y="13"/>
                        <a:pt x="19" y="5"/>
                        <a:pt x="21" y="0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2" y="42"/>
                        <a:pt x="4" y="42"/>
                        <a:pt x="5" y="42"/>
                      </a:cubicBezTo>
                      <a:cubicBezTo>
                        <a:pt x="8" y="43"/>
                        <a:pt x="8" y="40"/>
                        <a:pt x="8" y="39"/>
                      </a:cubicBezTo>
                      <a:cubicBezTo>
                        <a:pt x="8" y="37"/>
                        <a:pt x="12" y="34"/>
                        <a:pt x="14" y="34"/>
                      </a:cubicBezTo>
                      <a:cubicBezTo>
                        <a:pt x="16" y="35"/>
                        <a:pt x="16" y="31"/>
                        <a:pt x="17" y="31"/>
                      </a:cubicBezTo>
                      <a:cubicBezTo>
                        <a:pt x="18" y="31"/>
                        <a:pt x="19" y="31"/>
                        <a:pt x="20" y="30"/>
                      </a:cubicBezTo>
                      <a:cubicBezTo>
                        <a:pt x="21" y="28"/>
                        <a:pt x="25" y="30"/>
                        <a:pt x="26" y="31"/>
                      </a:cubicBezTo>
                      <a:cubicBezTo>
                        <a:pt x="27" y="32"/>
                        <a:pt x="30" y="33"/>
                        <a:pt x="32" y="33"/>
                      </a:cubicBezTo>
                      <a:cubicBezTo>
                        <a:pt x="34" y="34"/>
                        <a:pt x="35" y="40"/>
                        <a:pt x="35" y="42"/>
                      </a:cubicBezTo>
                      <a:cubicBezTo>
                        <a:pt x="35" y="43"/>
                        <a:pt x="45" y="43"/>
                        <a:pt x="47" y="43"/>
                      </a:cubicBezTo>
                      <a:cubicBezTo>
                        <a:pt x="48" y="43"/>
                        <a:pt x="48" y="46"/>
                        <a:pt x="50" y="48"/>
                      </a:cubicBezTo>
                      <a:cubicBezTo>
                        <a:pt x="52" y="51"/>
                        <a:pt x="53" y="53"/>
                        <a:pt x="54" y="55"/>
                      </a:cubicBezTo>
                      <a:cubicBezTo>
                        <a:pt x="54" y="57"/>
                        <a:pt x="60" y="59"/>
                        <a:pt x="62" y="61"/>
                      </a:cubicBezTo>
                      <a:cubicBezTo>
                        <a:pt x="63" y="63"/>
                        <a:pt x="68" y="65"/>
                        <a:pt x="71" y="66"/>
                      </a:cubicBezTo>
                      <a:cubicBezTo>
                        <a:pt x="74" y="68"/>
                        <a:pt x="77" y="72"/>
                        <a:pt x="79" y="72"/>
                      </a:cubicBezTo>
                      <a:cubicBezTo>
                        <a:pt x="81" y="72"/>
                        <a:pt x="86" y="74"/>
                        <a:pt x="86" y="74"/>
                      </a:cubicBezTo>
                      <a:cubicBezTo>
                        <a:pt x="87" y="80"/>
                        <a:pt x="87" y="80"/>
                        <a:pt x="87" y="80"/>
                      </a:cubicBezTo>
                      <a:cubicBezTo>
                        <a:pt x="87" y="80"/>
                        <a:pt x="88" y="80"/>
                        <a:pt x="88" y="79"/>
                      </a:cubicBezTo>
                      <a:cubicBezTo>
                        <a:pt x="91" y="79"/>
                        <a:pt x="92" y="82"/>
                        <a:pt x="94" y="82"/>
                      </a:cubicBezTo>
                      <a:cubicBezTo>
                        <a:pt x="95" y="82"/>
                        <a:pt x="97" y="82"/>
                        <a:pt x="98" y="83"/>
                      </a:cubicBezTo>
                      <a:cubicBezTo>
                        <a:pt x="98" y="79"/>
                        <a:pt x="99" y="76"/>
                        <a:pt x="101" y="75"/>
                      </a:cubicBezTo>
                      <a:cubicBezTo>
                        <a:pt x="103" y="73"/>
                        <a:pt x="100" y="70"/>
                        <a:pt x="100" y="68"/>
                      </a:cubicBezTo>
                      <a:cubicBezTo>
                        <a:pt x="100" y="65"/>
                        <a:pt x="95" y="64"/>
                        <a:pt x="95" y="61"/>
                      </a:cubicBezTo>
                      <a:cubicBezTo>
                        <a:pt x="96" y="59"/>
                        <a:pt x="100" y="60"/>
                        <a:pt x="103" y="59"/>
                      </a:cubicBezTo>
                      <a:cubicBezTo>
                        <a:pt x="105" y="58"/>
                        <a:pt x="103" y="54"/>
                        <a:pt x="105" y="54"/>
                      </a:cubicBezTo>
                      <a:cubicBezTo>
                        <a:pt x="107" y="54"/>
                        <a:pt x="108" y="52"/>
                        <a:pt x="109" y="50"/>
                      </a:cubicBezTo>
                      <a:cubicBezTo>
                        <a:pt x="110" y="48"/>
                        <a:pt x="113" y="50"/>
                        <a:pt x="115" y="48"/>
                      </a:cubicBezTo>
                      <a:cubicBezTo>
                        <a:pt x="117" y="47"/>
                        <a:pt x="120" y="46"/>
                        <a:pt x="121" y="47"/>
                      </a:cubicBezTo>
                      <a:cubicBezTo>
                        <a:pt x="121" y="48"/>
                        <a:pt x="119" y="52"/>
                        <a:pt x="118" y="54"/>
                      </a:cubicBezTo>
                      <a:cubicBezTo>
                        <a:pt x="121" y="54"/>
                        <a:pt x="126" y="53"/>
                        <a:pt x="127" y="52"/>
                      </a:cubicBezTo>
                      <a:cubicBezTo>
                        <a:pt x="128" y="51"/>
                        <a:pt x="133" y="54"/>
                        <a:pt x="135" y="51"/>
                      </a:cubicBezTo>
                      <a:cubicBezTo>
                        <a:pt x="136" y="48"/>
                        <a:pt x="142" y="50"/>
                        <a:pt x="138" y="4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49" name="Freeform 132">
                  <a:extLst>
                    <a:ext uri="{FF2B5EF4-FFF2-40B4-BE49-F238E27FC236}">
                      <a16:creationId xmlns:a16="http://schemas.microsoft.com/office/drawing/2014/main" id="{AC2FF61C-D5FB-4E5D-A63F-61CA27B8D8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779481" y="-13819035"/>
                  <a:ext cx="1290798" cy="2033494"/>
                </a:xfrm>
                <a:custGeom>
                  <a:avLst/>
                  <a:gdLst>
                    <a:gd name="T0" fmla="*/ 198 w 209"/>
                    <a:gd name="T1" fmla="*/ 172 h 329"/>
                    <a:gd name="T2" fmla="*/ 198 w 209"/>
                    <a:gd name="T3" fmla="*/ 162 h 329"/>
                    <a:gd name="T4" fmla="*/ 187 w 209"/>
                    <a:gd name="T5" fmla="*/ 160 h 329"/>
                    <a:gd name="T6" fmla="*/ 174 w 209"/>
                    <a:gd name="T7" fmla="*/ 160 h 329"/>
                    <a:gd name="T8" fmla="*/ 167 w 209"/>
                    <a:gd name="T9" fmla="*/ 159 h 329"/>
                    <a:gd name="T10" fmla="*/ 155 w 209"/>
                    <a:gd name="T11" fmla="*/ 162 h 329"/>
                    <a:gd name="T12" fmla="*/ 145 w 209"/>
                    <a:gd name="T13" fmla="*/ 173 h 329"/>
                    <a:gd name="T14" fmla="*/ 145 w 209"/>
                    <a:gd name="T15" fmla="*/ 161 h 329"/>
                    <a:gd name="T16" fmla="*/ 131 w 209"/>
                    <a:gd name="T17" fmla="*/ 169 h 329"/>
                    <a:gd name="T18" fmla="*/ 124 w 209"/>
                    <a:gd name="T19" fmla="*/ 172 h 329"/>
                    <a:gd name="T20" fmla="*/ 118 w 209"/>
                    <a:gd name="T21" fmla="*/ 170 h 329"/>
                    <a:gd name="T22" fmla="*/ 107 w 209"/>
                    <a:gd name="T23" fmla="*/ 179 h 329"/>
                    <a:gd name="T24" fmla="*/ 100 w 209"/>
                    <a:gd name="T25" fmla="*/ 185 h 329"/>
                    <a:gd name="T26" fmla="*/ 93 w 209"/>
                    <a:gd name="T27" fmla="*/ 188 h 329"/>
                    <a:gd name="T28" fmla="*/ 80 w 209"/>
                    <a:gd name="T29" fmla="*/ 191 h 329"/>
                    <a:gd name="T30" fmla="*/ 76 w 209"/>
                    <a:gd name="T31" fmla="*/ 198 h 329"/>
                    <a:gd name="T32" fmla="*/ 92 w 209"/>
                    <a:gd name="T33" fmla="*/ 199 h 329"/>
                    <a:gd name="T34" fmla="*/ 80 w 209"/>
                    <a:gd name="T35" fmla="*/ 208 h 329"/>
                    <a:gd name="T36" fmla="*/ 62 w 209"/>
                    <a:gd name="T37" fmla="*/ 227 h 329"/>
                    <a:gd name="T38" fmla="*/ 50 w 209"/>
                    <a:gd name="T39" fmla="*/ 243 h 329"/>
                    <a:gd name="T40" fmla="*/ 40 w 209"/>
                    <a:gd name="T41" fmla="*/ 257 h 329"/>
                    <a:gd name="T42" fmla="*/ 27 w 209"/>
                    <a:gd name="T43" fmla="*/ 266 h 329"/>
                    <a:gd name="T44" fmla="*/ 12 w 209"/>
                    <a:gd name="T45" fmla="*/ 275 h 329"/>
                    <a:gd name="T46" fmla="*/ 5 w 209"/>
                    <a:gd name="T47" fmla="*/ 288 h 329"/>
                    <a:gd name="T48" fmla="*/ 2 w 209"/>
                    <a:gd name="T49" fmla="*/ 302 h 329"/>
                    <a:gd name="T50" fmla="*/ 9 w 209"/>
                    <a:gd name="T51" fmla="*/ 307 h 329"/>
                    <a:gd name="T52" fmla="*/ 7 w 209"/>
                    <a:gd name="T53" fmla="*/ 313 h 329"/>
                    <a:gd name="T54" fmla="*/ 15 w 209"/>
                    <a:gd name="T55" fmla="*/ 326 h 329"/>
                    <a:gd name="T56" fmla="*/ 47 w 209"/>
                    <a:gd name="T57" fmla="*/ 310 h 329"/>
                    <a:gd name="T58" fmla="*/ 56 w 209"/>
                    <a:gd name="T59" fmla="*/ 313 h 329"/>
                    <a:gd name="T60" fmla="*/ 62 w 209"/>
                    <a:gd name="T61" fmla="*/ 293 h 329"/>
                    <a:gd name="T62" fmla="*/ 60 w 209"/>
                    <a:gd name="T63" fmla="*/ 268 h 329"/>
                    <a:gd name="T64" fmla="*/ 74 w 209"/>
                    <a:gd name="T65" fmla="*/ 249 h 329"/>
                    <a:gd name="T66" fmla="*/ 84 w 209"/>
                    <a:gd name="T67" fmla="*/ 226 h 329"/>
                    <a:gd name="T68" fmla="*/ 94 w 209"/>
                    <a:gd name="T69" fmla="*/ 206 h 329"/>
                    <a:gd name="T70" fmla="*/ 117 w 209"/>
                    <a:gd name="T71" fmla="*/ 194 h 329"/>
                    <a:gd name="T72" fmla="*/ 133 w 209"/>
                    <a:gd name="T73" fmla="*/ 183 h 329"/>
                    <a:gd name="T74" fmla="*/ 161 w 209"/>
                    <a:gd name="T75" fmla="*/ 192 h 329"/>
                    <a:gd name="T76" fmla="*/ 179 w 209"/>
                    <a:gd name="T77" fmla="*/ 173 h 329"/>
                    <a:gd name="T78" fmla="*/ 198 w 209"/>
                    <a:gd name="T79" fmla="*/ 181 h 329"/>
                    <a:gd name="T80" fmla="*/ 58 w 209"/>
                    <a:gd name="T81" fmla="*/ 23 h 329"/>
                    <a:gd name="T82" fmla="*/ 78 w 209"/>
                    <a:gd name="T83" fmla="*/ 35 h 329"/>
                    <a:gd name="T84" fmla="*/ 93 w 209"/>
                    <a:gd name="T85" fmla="*/ 38 h 329"/>
                    <a:gd name="T86" fmla="*/ 94 w 209"/>
                    <a:gd name="T87" fmla="*/ 49 h 329"/>
                    <a:gd name="T88" fmla="*/ 80 w 209"/>
                    <a:gd name="T89" fmla="*/ 61 h 329"/>
                    <a:gd name="T90" fmla="*/ 96 w 209"/>
                    <a:gd name="T91" fmla="*/ 68 h 329"/>
                    <a:gd name="T92" fmla="*/ 114 w 209"/>
                    <a:gd name="T93" fmla="*/ 37 h 329"/>
                    <a:gd name="T94" fmla="*/ 130 w 209"/>
                    <a:gd name="T95" fmla="*/ 45 h 329"/>
                    <a:gd name="T96" fmla="*/ 151 w 209"/>
                    <a:gd name="T97" fmla="*/ 53 h 329"/>
                    <a:gd name="T98" fmla="*/ 144 w 209"/>
                    <a:gd name="T99" fmla="*/ 42 h 329"/>
                    <a:gd name="T100" fmla="*/ 126 w 209"/>
                    <a:gd name="T101" fmla="*/ 27 h 329"/>
                    <a:gd name="T102" fmla="*/ 108 w 209"/>
                    <a:gd name="T103" fmla="*/ 18 h 329"/>
                    <a:gd name="T104" fmla="*/ 91 w 209"/>
                    <a:gd name="T105" fmla="*/ 8 h 329"/>
                    <a:gd name="T106" fmla="*/ 84 w 209"/>
                    <a:gd name="T107" fmla="*/ 18 h 329"/>
                    <a:gd name="T108" fmla="*/ 67 w 209"/>
                    <a:gd name="T109" fmla="*/ 17 h 329"/>
                    <a:gd name="T110" fmla="*/ 57 w 209"/>
                    <a:gd name="T111" fmla="*/ 13 h 329"/>
                    <a:gd name="T112" fmla="*/ 51 w 209"/>
                    <a:gd name="T113" fmla="*/ 38 h 329"/>
                    <a:gd name="T114" fmla="*/ 51 w 209"/>
                    <a:gd name="T115" fmla="*/ 38 h 329"/>
                    <a:gd name="T116" fmla="*/ 119 w 209"/>
                    <a:gd name="T117" fmla="*/ 18 h 329"/>
                    <a:gd name="T118" fmla="*/ 167 w 209"/>
                    <a:gd name="T119" fmla="*/ 17 h 329"/>
                    <a:gd name="T120" fmla="*/ 146 w 209"/>
                    <a:gd name="T121" fmla="*/ 6 h 329"/>
                    <a:gd name="T122" fmla="*/ 127 w 209"/>
                    <a:gd name="T123" fmla="*/ 5 h 329"/>
                    <a:gd name="T124" fmla="*/ 113 w 209"/>
                    <a:gd name="T125" fmla="*/ 7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09" h="329">
                      <a:moveTo>
                        <a:pt x="202" y="176"/>
                      </a:moveTo>
                      <a:cubicBezTo>
                        <a:pt x="202" y="178"/>
                        <a:pt x="199" y="177"/>
                        <a:pt x="199" y="175"/>
                      </a:cubicBezTo>
                      <a:cubicBezTo>
                        <a:pt x="199" y="174"/>
                        <a:pt x="194" y="172"/>
                        <a:pt x="193" y="171"/>
                      </a:cubicBezTo>
                      <a:cubicBezTo>
                        <a:pt x="193" y="171"/>
                        <a:pt x="196" y="171"/>
                        <a:pt x="198" y="172"/>
                      </a:cubicBezTo>
                      <a:cubicBezTo>
                        <a:pt x="199" y="173"/>
                        <a:pt x="201" y="172"/>
                        <a:pt x="203" y="170"/>
                      </a:cubicBezTo>
                      <a:cubicBezTo>
                        <a:pt x="205" y="168"/>
                        <a:pt x="208" y="170"/>
                        <a:pt x="208" y="168"/>
                      </a:cubicBezTo>
                      <a:cubicBezTo>
                        <a:pt x="209" y="166"/>
                        <a:pt x="205" y="165"/>
                        <a:pt x="204" y="164"/>
                      </a:cubicBezTo>
                      <a:cubicBezTo>
                        <a:pt x="203" y="163"/>
                        <a:pt x="201" y="161"/>
                        <a:pt x="198" y="162"/>
                      </a:cubicBezTo>
                      <a:cubicBezTo>
                        <a:pt x="195" y="162"/>
                        <a:pt x="195" y="161"/>
                        <a:pt x="194" y="160"/>
                      </a:cubicBezTo>
                      <a:cubicBezTo>
                        <a:pt x="192" y="158"/>
                        <a:pt x="188" y="161"/>
                        <a:pt x="188" y="164"/>
                      </a:cubicBezTo>
                      <a:cubicBezTo>
                        <a:pt x="188" y="167"/>
                        <a:pt x="185" y="167"/>
                        <a:pt x="186" y="165"/>
                      </a:cubicBezTo>
                      <a:cubicBezTo>
                        <a:pt x="187" y="163"/>
                        <a:pt x="184" y="161"/>
                        <a:pt x="187" y="160"/>
                      </a:cubicBezTo>
                      <a:cubicBezTo>
                        <a:pt x="189" y="160"/>
                        <a:pt x="188" y="156"/>
                        <a:pt x="183" y="156"/>
                      </a:cubicBezTo>
                      <a:cubicBezTo>
                        <a:pt x="179" y="155"/>
                        <a:pt x="177" y="159"/>
                        <a:pt x="178" y="160"/>
                      </a:cubicBezTo>
                      <a:cubicBezTo>
                        <a:pt x="179" y="161"/>
                        <a:pt x="175" y="167"/>
                        <a:pt x="173" y="167"/>
                      </a:cubicBezTo>
                      <a:cubicBezTo>
                        <a:pt x="172" y="167"/>
                        <a:pt x="174" y="162"/>
                        <a:pt x="174" y="160"/>
                      </a:cubicBezTo>
                      <a:cubicBezTo>
                        <a:pt x="173" y="157"/>
                        <a:pt x="172" y="159"/>
                        <a:pt x="169" y="163"/>
                      </a:cubicBezTo>
                      <a:cubicBezTo>
                        <a:pt x="165" y="166"/>
                        <a:pt x="163" y="170"/>
                        <a:pt x="161" y="170"/>
                      </a:cubicBezTo>
                      <a:cubicBezTo>
                        <a:pt x="159" y="171"/>
                        <a:pt x="159" y="167"/>
                        <a:pt x="162" y="165"/>
                      </a:cubicBezTo>
                      <a:cubicBezTo>
                        <a:pt x="165" y="163"/>
                        <a:pt x="165" y="159"/>
                        <a:pt x="167" y="159"/>
                      </a:cubicBezTo>
                      <a:cubicBezTo>
                        <a:pt x="169" y="159"/>
                        <a:pt x="169" y="156"/>
                        <a:pt x="166" y="156"/>
                      </a:cubicBezTo>
                      <a:cubicBezTo>
                        <a:pt x="164" y="155"/>
                        <a:pt x="163" y="158"/>
                        <a:pt x="162" y="159"/>
                      </a:cubicBezTo>
                      <a:cubicBezTo>
                        <a:pt x="161" y="160"/>
                        <a:pt x="156" y="158"/>
                        <a:pt x="156" y="159"/>
                      </a:cubicBezTo>
                      <a:cubicBezTo>
                        <a:pt x="156" y="160"/>
                        <a:pt x="154" y="160"/>
                        <a:pt x="155" y="162"/>
                      </a:cubicBezTo>
                      <a:cubicBezTo>
                        <a:pt x="156" y="163"/>
                        <a:pt x="154" y="165"/>
                        <a:pt x="153" y="163"/>
                      </a:cubicBezTo>
                      <a:cubicBezTo>
                        <a:pt x="152" y="161"/>
                        <a:pt x="149" y="162"/>
                        <a:pt x="148" y="165"/>
                      </a:cubicBezTo>
                      <a:cubicBezTo>
                        <a:pt x="146" y="167"/>
                        <a:pt x="144" y="167"/>
                        <a:pt x="146" y="168"/>
                      </a:cubicBezTo>
                      <a:cubicBezTo>
                        <a:pt x="147" y="169"/>
                        <a:pt x="147" y="172"/>
                        <a:pt x="145" y="173"/>
                      </a:cubicBezTo>
                      <a:cubicBezTo>
                        <a:pt x="143" y="173"/>
                        <a:pt x="144" y="167"/>
                        <a:pt x="142" y="167"/>
                      </a:cubicBezTo>
                      <a:cubicBezTo>
                        <a:pt x="140" y="168"/>
                        <a:pt x="141" y="164"/>
                        <a:pt x="144" y="164"/>
                      </a:cubicBezTo>
                      <a:cubicBezTo>
                        <a:pt x="146" y="164"/>
                        <a:pt x="148" y="161"/>
                        <a:pt x="148" y="160"/>
                      </a:cubicBezTo>
                      <a:cubicBezTo>
                        <a:pt x="147" y="159"/>
                        <a:pt x="145" y="159"/>
                        <a:pt x="145" y="161"/>
                      </a:cubicBezTo>
                      <a:cubicBezTo>
                        <a:pt x="145" y="163"/>
                        <a:pt x="141" y="162"/>
                        <a:pt x="138" y="162"/>
                      </a:cubicBezTo>
                      <a:cubicBezTo>
                        <a:pt x="135" y="162"/>
                        <a:pt x="136" y="166"/>
                        <a:pt x="139" y="167"/>
                      </a:cubicBezTo>
                      <a:cubicBezTo>
                        <a:pt x="142" y="169"/>
                        <a:pt x="138" y="171"/>
                        <a:pt x="137" y="169"/>
                      </a:cubicBezTo>
                      <a:cubicBezTo>
                        <a:pt x="135" y="168"/>
                        <a:pt x="132" y="168"/>
                        <a:pt x="131" y="169"/>
                      </a:cubicBezTo>
                      <a:cubicBezTo>
                        <a:pt x="129" y="170"/>
                        <a:pt x="135" y="172"/>
                        <a:pt x="135" y="173"/>
                      </a:cubicBezTo>
                      <a:cubicBezTo>
                        <a:pt x="135" y="174"/>
                        <a:pt x="132" y="172"/>
                        <a:pt x="131" y="173"/>
                      </a:cubicBezTo>
                      <a:cubicBezTo>
                        <a:pt x="131" y="174"/>
                        <a:pt x="127" y="172"/>
                        <a:pt x="127" y="170"/>
                      </a:cubicBezTo>
                      <a:cubicBezTo>
                        <a:pt x="127" y="168"/>
                        <a:pt x="121" y="171"/>
                        <a:pt x="124" y="172"/>
                      </a:cubicBezTo>
                      <a:cubicBezTo>
                        <a:pt x="127" y="172"/>
                        <a:pt x="126" y="174"/>
                        <a:pt x="126" y="177"/>
                      </a:cubicBezTo>
                      <a:cubicBezTo>
                        <a:pt x="126" y="180"/>
                        <a:pt x="123" y="178"/>
                        <a:pt x="124" y="175"/>
                      </a:cubicBezTo>
                      <a:cubicBezTo>
                        <a:pt x="124" y="173"/>
                        <a:pt x="121" y="173"/>
                        <a:pt x="119" y="175"/>
                      </a:cubicBezTo>
                      <a:cubicBezTo>
                        <a:pt x="117" y="176"/>
                        <a:pt x="119" y="172"/>
                        <a:pt x="118" y="170"/>
                      </a:cubicBezTo>
                      <a:cubicBezTo>
                        <a:pt x="117" y="168"/>
                        <a:pt x="115" y="170"/>
                        <a:pt x="113" y="171"/>
                      </a:cubicBezTo>
                      <a:cubicBezTo>
                        <a:pt x="110" y="171"/>
                        <a:pt x="109" y="171"/>
                        <a:pt x="111" y="173"/>
                      </a:cubicBezTo>
                      <a:cubicBezTo>
                        <a:pt x="112" y="175"/>
                        <a:pt x="112" y="177"/>
                        <a:pt x="110" y="177"/>
                      </a:cubicBezTo>
                      <a:cubicBezTo>
                        <a:pt x="108" y="176"/>
                        <a:pt x="107" y="177"/>
                        <a:pt x="107" y="179"/>
                      </a:cubicBezTo>
                      <a:cubicBezTo>
                        <a:pt x="108" y="180"/>
                        <a:pt x="105" y="181"/>
                        <a:pt x="104" y="179"/>
                      </a:cubicBezTo>
                      <a:cubicBezTo>
                        <a:pt x="104" y="177"/>
                        <a:pt x="100" y="178"/>
                        <a:pt x="99" y="180"/>
                      </a:cubicBezTo>
                      <a:cubicBezTo>
                        <a:pt x="98" y="182"/>
                        <a:pt x="94" y="183"/>
                        <a:pt x="95" y="185"/>
                      </a:cubicBezTo>
                      <a:cubicBezTo>
                        <a:pt x="95" y="187"/>
                        <a:pt x="98" y="184"/>
                        <a:pt x="100" y="185"/>
                      </a:cubicBezTo>
                      <a:cubicBezTo>
                        <a:pt x="102" y="185"/>
                        <a:pt x="100" y="187"/>
                        <a:pt x="101" y="188"/>
                      </a:cubicBezTo>
                      <a:cubicBezTo>
                        <a:pt x="102" y="189"/>
                        <a:pt x="102" y="191"/>
                        <a:pt x="100" y="190"/>
                      </a:cubicBezTo>
                      <a:cubicBezTo>
                        <a:pt x="99" y="188"/>
                        <a:pt x="96" y="188"/>
                        <a:pt x="96" y="190"/>
                      </a:cubicBezTo>
                      <a:cubicBezTo>
                        <a:pt x="96" y="193"/>
                        <a:pt x="94" y="190"/>
                        <a:pt x="93" y="188"/>
                      </a:cubicBezTo>
                      <a:cubicBezTo>
                        <a:pt x="91" y="186"/>
                        <a:pt x="90" y="191"/>
                        <a:pt x="88" y="190"/>
                      </a:cubicBezTo>
                      <a:cubicBezTo>
                        <a:pt x="87" y="189"/>
                        <a:pt x="91" y="185"/>
                        <a:pt x="90" y="184"/>
                      </a:cubicBezTo>
                      <a:cubicBezTo>
                        <a:pt x="89" y="182"/>
                        <a:pt x="88" y="185"/>
                        <a:pt x="85" y="187"/>
                      </a:cubicBezTo>
                      <a:cubicBezTo>
                        <a:pt x="83" y="190"/>
                        <a:pt x="79" y="190"/>
                        <a:pt x="80" y="191"/>
                      </a:cubicBezTo>
                      <a:cubicBezTo>
                        <a:pt x="81" y="193"/>
                        <a:pt x="77" y="193"/>
                        <a:pt x="77" y="196"/>
                      </a:cubicBezTo>
                      <a:cubicBezTo>
                        <a:pt x="76" y="198"/>
                        <a:pt x="70" y="199"/>
                        <a:pt x="67" y="201"/>
                      </a:cubicBezTo>
                      <a:cubicBezTo>
                        <a:pt x="63" y="203"/>
                        <a:pt x="68" y="204"/>
                        <a:pt x="70" y="201"/>
                      </a:cubicBezTo>
                      <a:cubicBezTo>
                        <a:pt x="72" y="199"/>
                        <a:pt x="72" y="200"/>
                        <a:pt x="76" y="198"/>
                      </a:cubicBezTo>
                      <a:cubicBezTo>
                        <a:pt x="79" y="196"/>
                        <a:pt x="82" y="195"/>
                        <a:pt x="83" y="195"/>
                      </a:cubicBezTo>
                      <a:cubicBezTo>
                        <a:pt x="85" y="196"/>
                        <a:pt x="87" y="197"/>
                        <a:pt x="88" y="195"/>
                      </a:cubicBezTo>
                      <a:cubicBezTo>
                        <a:pt x="90" y="193"/>
                        <a:pt x="92" y="193"/>
                        <a:pt x="93" y="194"/>
                      </a:cubicBezTo>
                      <a:cubicBezTo>
                        <a:pt x="95" y="196"/>
                        <a:pt x="91" y="197"/>
                        <a:pt x="92" y="199"/>
                      </a:cubicBezTo>
                      <a:cubicBezTo>
                        <a:pt x="94" y="201"/>
                        <a:pt x="90" y="202"/>
                        <a:pt x="90" y="200"/>
                      </a:cubicBezTo>
                      <a:cubicBezTo>
                        <a:pt x="90" y="198"/>
                        <a:pt x="88" y="197"/>
                        <a:pt x="87" y="198"/>
                      </a:cubicBezTo>
                      <a:cubicBezTo>
                        <a:pt x="86" y="200"/>
                        <a:pt x="85" y="202"/>
                        <a:pt x="83" y="202"/>
                      </a:cubicBezTo>
                      <a:cubicBezTo>
                        <a:pt x="82" y="202"/>
                        <a:pt x="80" y="205"/>
                        <a:pt x="80" y="208"/>
                      </a:cubicBezTo>
                      <a:cubicBezTo>
                        <a:pt x="80" y="210"/>
                        <a:pt x="77" y="208"/>
                        <a:pt x="77" y="210"/>
                      </a:cubicBezTo>
                      <a:cubicBezTo>
                        <a:pt x="77" y="213"/>
                        <a:pt x="73" y="217"/>
                        <a:pt x="70" y="220"/>
                      </a:cubicBezTo>
                      <a:cubicBezTo>
                        <a:pt x="66" y="223"/>
                        <a:pt x="69" y="224"/>
                        <a:pt x="68" y="226"/>
                      </a:cubicBezTo>
                      <a:cubicBezTo>
                        <a:pt x="67" y="228"/>
                        <a:pt x="63" y="226"/>
                        <a:pt x="62" y="227"/>
                      </a:cubicBezTo>
                      <a:cubicBezTo>
                        <a:pt x="61" y="228"/>
                        <a:pt x="63" y="233"/>
                        <a:pt x="61" y="235"/>
                      </a:cubicBezTo>
                      <a:cubicBezTo>
                        <a:pt x="59" y="236"/>
                        <a:pt x="61" y="238"/>
                        <a:pt x="61" y="240"/>
                      </a:cubicBezTo>
                      <a:cubicBezTo>
                        <a:pt x="61" y="242"/>
                        <a:pt x="56" y="239"/>
                        <a:pt x="56" y="241"/>
                      </a:cubicBezTo>
                      <a:cubicBezTo>
                        <a:pt x="56" y="243"/>
                        <a:pt x="52" y="242"/>
                        <a:pt x="50" y="243"/>
                      </a:cubicBezTo>
                      <a:cubicBezTo>
                        <a:pt x="49" y="243"/>
                        <a:pt x="53" y="246"/>
                        <a:pt x="55" y="248"/>
                      </a:cubicBezTo>
                      <a:cubicBezTo>
                        <a:pt x="57" y="249"/>
                        <a:pt x="53" y="251"/>
                        <a:pt x="52" y="249"/>
                      </a:cubicBezTo>
                      <a:cubicBezTo>
                        <a:pt x="52" y="247"/>
                        <a:pt x="49" y="250"/>
                        <a:pt x="45" y="251"/>
                      </a:cubicBezTo>
                      <a:cubicBezTo>
                        <a:pt x="42" y="253"/>
                        <a:pt x="43" y="256"/>
                        <a:pt x="40" y="257"/>
                      </a:cubicBezTo>
                      <a:cubicBezTo>
                        <a:pt x="37" y="257"/>
                        <a:pt x="38" y="261"/>
                        <a:pt x="36" y="263"/>
                      </a:cubicBezTo>
                      <a:cubicBezTo>
                        <a:pt x="34" y="264"/>
                        <a:pt x="35" y="259"/>
                        <a:pt x="32" y="259"/>
                      </a:cubicBezTo>
                      <a:cubicBezTo>
                        <a:pt x="29" y="259"/>
                        <a:pt x="29" y="261"/>
                        <a:pt x="31" y="264"/>
                      </a:cubicBezTo>
                      <a:cubicBezTo>
                        <a:pt x="33" y="266"/>
                        <a:pt x="28" y="264"/>
                        <a:pt x="27" y="266"/>
                      </a:cubicBezTo>
                      <a:cubicBezTo>
                        <a:pt x="25" y="269"/>
                        <a:pt x="20" y="268"/>
                        <a:pt x="19" y="269"/>
                      </a:cubicBezTo>
                      <a:cubicBezTo>
                        <a:pt x="18" y="271"/>
                        <a:pt x="22" y="271"/>
                        <a:pt x="23" y="273"/>
                      </a:cubicBezTo>
                      <a:cubicBezTo>
                        <a:pt x="24" y="274"/>
                        <a:pt x="19" y="273"/>
                        <a:pt x="16" y="273"/>
                      </a:cubicBezTo>
                      <a:cubicBezTo>
                        <a:pt x="14" y="272"/>
                        <a:pt x="14" y="276"/>
                        <a:pt x="12" y="275"/>
                      </a:cubicBezTo>
                      <a:cubicBezTo>
                        <a:pt x="10" y="275"/>
                        <a:pt x="7" y="278"/>
                        <a:pt x="8" y="279"/>
                      </a:cubicBezTo>
                      <a:cubicBezTo>
                        <a:pt x="10" y="281"/>
                        <a:pt x="7" y="281"/>
                        <a:pt x="5" y="280"/>
                      </a:cubicBezTo>
                      <a:cubicBezTo>
                        <a:pt x="4" y="279"/>
                        <a:pt x="2" y="282"/>
                        <a:pt x="2" y="284"/>
                      </a:cubicBezTo>
                      <a:cubicBezTo>
                        <a:pt x="1" y="286"/>
                        <a:pt x="5" y="287"/>
                        <a:pt x="5" y="288"/>
                      </a:cubicBezTo>
                      <a:cubicBezTo>
                        <a:pt x="5" y="289"/>
                        <a:pt x="2" y="290"/>
                        <a:pt x="4" y="291"/>
                      </a:cubicBezTo>
                      <a:cubicBezTo>
                        <a:pt x="6" y="291"/>
                        <a:pt x="4" y="293"/>
                        <a:pt x="3" y="294"/>
                      </a:cubicBezTo>
                      <a:cubicBezTo>
                        <a:pt x="1" y="294"/>
                        <a:pt x="1" y="296"/>
                        <a:pt x="3" y="297"/>
                      </a:cubicBezTo>
                      <a:cubicBezTo>
                        <a:pt x="4" y="299"/>
                        <a:pt x="0" y="300"/>
                        <a:pt x="2" y="302"/>
                      </a:cubicBezTo>
                      <a:cubicBezTo>
                        <a:pt x="4" y="305"/>
                        <a:pt x="6" y="302"/>
                        <a:pt x="6" y="304"/>
                      </a:cubicBezTo>
                      <a:cubicBezTo>
                        <a:pt x="7" y="306"/>
                        <a:pt x="10" y="304"/>
                        <a:pt x="12" y="301"/>
                      </a:cubicBezTo>
                      <a:cubicBezTo>
                        <a:pt x="15" y="299"/>
                        <a:pt x="16" y="304"/>
                        <a:pt x="14" y="304"/>
                      </a:cubicBezTo>
                      <a:cubicBezTo>
                        <a:pt x="11" y="304"/>
                        <a:pt x="9" y="305"/>
                        <a:pt x="9" y="307"/>
                      </a:cubicBezTo>
                      <a:cubicBezTo>
                        <a:pt x="10" y="309"/>
                        <a:pt x="6" y="309"/>
                        <a:pt x="6" y="306"/>
                      </a:cubicBezTo>
                      <a:cubicBezTo>
                        <a:pt x="6" y="304"/>
                        <a:pt x="2" y="307"/>
                        <a:pt x="3" y="309"/>
                      </a:cubicBezTo>
                      <a:cubicBezTo>
                        <a:pt x="5" y="311"/>
                        <a:pt x="3" y="312"/>
                        <a:pt x="3" y="314"/>
                      </a:cubicBezTo>
                      <a:cubicBezTo>
                        <a:pt x="3" y="315"/>
                        <a:pt x="6" y="315"/>
                        <a:pt x="7" y="313"/>
                      </a:cubicBezTo>
                      <a:cubicBezTo>
                        <a:pt x="9" y="311"/>
                        <a:pt x="11" y="311"/>
                        <a:pt x="12" y="313"/>
                      </a:cubicBezTo>
                      <a:cubicBezTo>
                        <a:pt x="13" y="315"/>
                        <a:pt x="10" y="314"/>
                        <a:pt x="10" y="317"/>
                      </a:cubicBezTo>
                      <a:cubicBezTo>
                        <a:pt x="10" y="319"/>
                        <a:pt x="8" y="317"/>
                        <a:pt x="6" y="319"/>
                      </a:cubicBezTo>
                      <a:cubicBezTo>
                        <a:pt x="5" y="321"/>
                        <a:pt x="12" y="325"/>
                        <a:pt x="15" y="326"/>
                      </a:cubicBezTo>
                      <a:cubicBezTo>
                        <a:pt x="17" y="326"/>
                        <a:pt x="19" y="329"/>
                        <a:pt x="24" y="328"/>
                      </a:cubicBezTo>
                      <a:cubicBezTo>
                        <a:pt x="29" y="328"/>
                        <a:pt x="38" y="319"/>
                        <a:pt x="39" y="317"/>
                      </a:cubicBezTo>
                      <a:cubicBezTo>
                        <a:pt x="40" y="316"/>
                        <a:pt x="43" y="317"/>
                        <a:pt x="45" y="316"/>
                      </a:cubicBezTo>
                      <a:cubicBezTo>
                        <a:pt x="47" y="315"/>
                        <a:pt x="45" y="311"/>
                        <a:pt x="47" y="310"/>
                      </a:cubicBezTo>
                      <a:cubicBezTo>
                        <a:pt x="48" y="310"/>
                        <a:pt x="49" y="314"/>
                        <a:pt x="50" y="315"/>
                      </a:cubicBezTo>
                      <a:cubicBezTo>
                        <a:pt x="51" y="315"/>
                        <a:pt x="52" y="316"/>
                        <a:pt x="52" y="318"/>
                      </a:cubicBezTo>
                      <a:cubicBezTo>
                        <a:pt x="53" y="318"/>
                        <a:pt x="54" y="318"/>
                        <a:pt x="54" y="319"/>
                      </a:cubicBezTo>
                      <a:cubicBezTo>
                        <a:pt x="56" y="320"/>
                        <a:pt x="56" y="315"/>
                        <a:pt x="56" y="313"/>
                      </a:cubicBezTo>
                      <a:cubicBezTo>
                        <a:pt x="56" y="312"/>
                        <a:pt x="58" y="309"/>
                        <a:pt x="57" y="307"/>
                      </a:cubicBezTo>
                      <a:cubicBezTo>
                        <a:pt x="57" y="305"/>
                        <a:pt x="62" y="306"/>
                        <a:pt x="63" y="305"/>
                      </a:cubicBezTo>
                      <a:cubicBezTo>
                        <a:pt x="64" y="303"/>
                        <a:pt x="64" y="298"/>
                        <a:pt x="62" y="297"/>
                      </a:cubicBezTo>
                      <a:cubicBezTo>
                        <a:pt x="61" y="296"/>
                        <a:pt x="60" y="293"/>
                        <a:pt x="62" y="293"/>
                      </a:cubicBezTo>
                      <a:cubicBezTo>
                        <a:pt x="64" y="293"/>
                        <a:pt x="65" y="292"/>
                        <a:pt x="65" y="289"/>
                      </a:cubicBezTo>
                      <a:cubicBezTo>
                        <a:pt x="65" y="286"/>
                        <a:pt x="60" y="287"/>
                        <a:pt x="60" y="283"/>
                      </a:cubicBezTo>
                      <a:cubicBezTo>
                        <a:pt x="59" y="280"/>
                        <a:pt x="62" y="280"/>
                        <a:pt x="60" y="276"/>
                      </a:cubicBezTo>
                      <a:cubicBezTo>
                        <a:pt x="58" y="272"/>
                        <a:pt x="61" y="270"/>
                        <a:pt x="60" y="268"/>
                      </a:cubicBezTo>
                      <a:cubicBezTo>
                        <a:pt x="59" y="266"/>
                        <a:pt x="59" y="264"/>
                        <a:pt x="61" y="260"/>
                      </a:cubicBezTo>
                      <a:cubicBezTo>
                        <a:pt x="63" y="256"/>
                        <a:pt x="67" y="254"/>
                        <a:pt x="69" y="254"/>
                      </a:cubicBezTo>
                      <a:cubicBezTo>
                        <a:pt x="70" y="255"/>
                        <a:pt x="73" y="256"/>
                        <a:pt x="74" y="254"/>
                      </a:cubicBezTo>
                      <a:cubicBezTo>
                        <a:pt x="75" y="252"/>
                        <a:pt x="75" y="250"/>
                        <a:pt x="74" y="249"/>
                      </a:cubicBezTo>
                      <a:cubicBezTo>
                        <a:pt x="73" y="249"/>
                        <a:pt x="70" y="248"/>
                        <a:pt x="72" y="245"/>
                      </a:cubicBezTo>
                      <a:cubicBezTo>
                        <a:pt x="75" y="242"/>
                        <a:pt x="77" y="238"/>
                        <a:pt x="78" y="235"/>
                      </a:cubicBezTo>
                      <a:cubicBezTo>
                        <a:pt x="78" y="232"/>
                        <a:pt x="77" y="229"/>
                        <a:pt x="78" y="228"/>
                      </a:cubicBezTo>
                      <a:cubicBezTo>
                        <a:pt x="79" y="227"/>
                        <a:pt x="82" y="228"/>
                        <a:pt x="84" y="226"/>
                      </a:cubicBezTo>
                      <a:cubicBezTo>
                        <a:pt x="86" y="225"/>
                        <a:pt x="85" y="223"/>
                        <a:pt x="86" y="222"/>
                      </a:cubicBezTo>
                      <a:cubicBezTo>
                        <a:pt x="87" y="220"/>
                        <a:pt x="88" y="217"/>
                        <a:pt x="90" y="215"/>
                      </a:cubicBezTo>
                      <a:cubicBezTo>
                        <a:pt x="91" y="214"/>
                        <a:pt x="93" y="213"/>
                        <a:pt x="92" y="211"/>
                      </a:cubicBezTo>
                      <a:cubicBezTo>
                        <a:pt x="91" y="210"/>
                        <a:pt x="94" y="208"/>
                        <a:pt x="94" y="206"/>
                      </a:cubicBezTo>
                      <a:cubicBezTo>
                        <a:pt x="94" y="203"/>
                        <a:pt x="98" y="201"/>
                        <a:pt x="100" y="201"/>
                      </a:cubicBezTo>
                      <a:cubicBezTo>
                        <a:pt x="103" y="201"/>
                        <a:pt x="106" y="201"/>
                        <a:pt x="106" y="199"/>
                      </a:cubicBezTo>
                      <a:cubicBezTo>
                        <a:pt x="106" y="196"/>
                        <a:pt x="105" y="191"/>
                        <a:pt x="108" y="193"/>
                      </a:cubicBezTo>
                      <a:cubicBezTo>
                        <a:pt x="112" y="194"/>
                        <a:pt x="114" y="193"/>
                        <a:pt x="117" y="194"/>
                      </a:cubicBezTo>
                      <a:cubicBezTo>
                        <a:pt x="119" y="196"/>
                        <a:pt x="122" y="196"/>
                        <a:pt x="122" y="193"/>
                      </a:cubicBezTo>
                      <a:cubicBezTo>
                        <a:pt x="122" y="190"/>
                        <a:pt x="123" y="185"/>
                        <a:pt x="127" y="187"/>
                      </a:cubicBezTo>
                      <a:cubicBezTo>
                        <a:pt x="127" y="187"/>
                        <a:pt x="127" y="187"/>
                        <a:pt x="127" y="187"/>
                      </a:cubicBezTo>
                      <a:cubicBezTo>
                        <a:pt x="128" y="185"/>
                        <a:pt x="131" y="183"/>
                        <a:pt x="133" y="183"/>
                      </a:cubicBezTo>
                      <a:cubicBezTo>
                        <a:pt x="136" y="184"/>
                        <a:pt x="138" y="189"/>
                        <a:pt x="141" y="190"/>
                      </a:cubicBezTo>
                      <a:cubicBezTo>
                        <a:pt x="145" y="191"/>
                        <a:pt x="149" y="192"/>
                        <a:pt x="150" y="190"/>
                      </a:cubicBezTo>
                      <a:cubicBezTo>
                        <a:pt x="151" y="188"/>
                        <a:pt x="154" y="191"/>
                        <a:pt x="156" y="191"/>
                      </a:cubicBezTo>
                      <a:cubicBezTo>
                        <a:pt x="159" y="190"/>
                        <a:pt x="159" y="195"/>
                        <a:pt x="161" y="192"/>
                      </a:cubicBezTo>
                      <a:cubicBezTo>
                        <a:pt x="163" y="189"/>
                        <a:pt x="161" y="187"/>
                        <a:pt x="164" y="187"/>
                      </a:cubicBezTo>
                      <a:cubicBezTo>
                        <a:pt x="168" y="188"/>
                        <a:pt x="166" y="183"/>
                        <a:pt x="166" y="180"/>
                      </a:cubicBezTo>
                      <a:cubicBezTo>
                        <a:pt x="166" y="178"/>
                        <a:pt x="171" y="177"/>
                        <a:pt x="171" y="175"/>
                      </a:cubicBezTo>
                      <a:cubicBezTo>
                        <a:pt x="171" y="173"/>
                        <a:pt x="178" y="175"/>
                        <a:pt x="179" y="173"/>
                      </a:cubicBezTo>
                      <a:cubicBezTo>
                        <a:pt x="180" y="172"/>
                        <a:pt x="184" y="170"/>
                        <a:pt x="185" y="173"/>
                      </a:cubicBezTo>
                      <a:cubicBezTo>
                        <a:pt x="187" y="176"/>
                        <a:pt x="193" y="177"/>
                        <a:pt x="194" y="179"/>
                      </a:cubicBezTo>
                      <a:cubicBezTo>
                        <a:pt x="194" y="180"/>
                        <a:pt x="194" y="182"/>
                        <a:pt x="194" y="183"/>
                      </a:cubicBezTo>
                      <a:cubicBezTo>
                        <a:pt x="195" y="182"/>
                        <a:pt x="196" y="181"/>
                        <a:pt x="198" y="181"/>
                      </a:cubicBezTo>
                      <a:cubicBezTo>
                        <a:pt x="200" y="181"/>
                        <a:pt x="202" y="178"/>
                        <a:pt x="204" y="178"/>
                      </a:cubicBezTo>
                      <a:cubicBezTo>
                        <a:pt x="206" y="179"/>
                        <a:pt x="208" y="178"/>
                        <a:pt x="208" y="175"/>
                      </a:cubicBezTo>
                      <a:cubicBezTo>
                        <a:pt x="206" y="174"/>
                        <a:pt x="203" y="174"/>
                        <a:pt x="202" y="176"/>
                      </a:cubicBezTo>
                      <a:close/>
                      <a:moveTo>
                        <a:pt x="58" y="23"/>
                      </a:moveTo>
                      <a:cubicBezTo>
                        <a:pt x="62" y="24"/>
                        <a:pt x="55" y="28"/>
                        <a:pt x="54" y="31"/>
                      </a:cubicBezTo>
                      <a:cubicBezTo>
                        <a:pt x="53" y="35"/>
                        <a:pt x="59" y="38"/>
                        <a:pt x="62" y="40"/>
                      </a:cubicBezTo>
                      <a:cubicBezTo>
                        <a:pt x="65" y="43"/>
                        <a:pt x="71" y="42"/>
                        <a:pt x="73" y="41"/>
                      </a:cubicBezTo>
                      <a:cubicBezTo>
                        <a:pt x="76" y="39"/>
                        <a:pt x="75" y="34"/>
                        <a:pt x="78" y="35"/>
                      </a:cubicBezTo>
                      <a:cubicBezTo>
                        <a:pt x="81" y="35"/>
                        <a:pt x="79" y="32"/>
                        <a:pt x="82" y="31"/>
                      </a:cubicBezTo>
                      <a:cubicBezTo>
                        <a:pt x="84" y="30"/>
                        <a:pt x="85" y="33"/>
                        <a:pt x="83" y="36"/>
                      </a:cubicBezTo>
                      <a:cubicBezTo>
                        <a:pt x="80" y="38"/>
                        <a:pt x="86" y="38"/>
                        <a:pt x="89" y="35"/>
                      </a:cubicBezTo>
                      <a:cubicBezTo>
                        <a:pt x="93" y="32"/>
                        <a:pt x="93" y="35"/>
                        <a:pt x="93" y="38"/>
                      </a:cubicBezTo>
                      <a:cubicBezTo>
                        <a:pt x="92" y="41"/>
                        <a:pt x="85" y="39"/>
                        <a:pt x="83" y="42"/>
                      </a:cubicBezTo>
                      <a:cubicBezTo>
                        <a:pt x="81" y="45"/>
                        <a:pt x="74" y="43"/>
                        <a:pt x="70" y="46"/>
                      </a:cubicBezTo>
                      <a:cubicBezTo>
                        <a:pt x="67" y="50"/>
                        <a:pt x="73" y="50"/>
                        <a:pt x="78" y="49"/>
                      </a:cubicBezTo>
                      <a:cubicBezTo>
                        <a:pt x="82" y="48"/>
                        <a:pt x="91" y="48"/>
                        <a:pt x="94" y="49"/>
                      </a:cubicBezTo>
                      <a:cubicBezTo>
                        <a:pt x="97" y="49"/>
                        <a:pt x="92" y="50"/>
                        <a:pt x="86" y="50"/>
                      </a:cubicBezTo>
                      <a:cubicBezTo>
                        <a:pt x="81" y="50"/>
                        <a:pt x="79" y="52"/>
                        <a:pt x="80" y="53"/>
                      </a:cubicBezTo>
                      <a:cubicBezTo>
                        <a:pt x="80" y="55"/>
                        <a:pt x="72" y="52"/>
                        <a:pt x="72" y="55"/>
                      </a:cubicBezTo>
                      <a:cubicBezTo>
                        <a:pt x="71" y="58"/>
                        <a:pt x="79" y="60"/>
                        <a:pt x="80" y="61"/>
                      </a:cubicBezTo>
                      <a:cubicBezTo>
                        <a:pt x="81" y="63"/>
                        <a:pt x="86" y="62"/>
                        <a:pt x="88" y="62"/>
                      </a:cubicBezTo>
                      <a:cubicBezTo>
                        <a:pt x="89" y="63"/>
                        <a:pt x="84" y="65"/>
                        <a:pt x="84" y="65"/>
                      </a:cubicBezTo>
                      <a:cubicBezTo>
                        <a:pt x="83" y="66"/>
                        <a:pt x="89" y="68"/>
                        <a:pt x="90" y="69"/>
                      </a:cubicBezTo>
                      <a:cubicBezTo>
                        <a:pt x="91" y="71"/>
                        <a:pt x="96" y="70"/>
                        <a:pt x="96" y="68"/>
                      </a:cubicBezTo>
                      <a:cubicBezTo>
                        <a:pt x="95" y="65"/>
                        <a:pt x="99" y="55"/>
                        <a:pt x="105" y="53"/>
                      </a:cubicBezTo>
                      <a:cubicBezTo>
                        <a:pt x="110" y="51"/>
                        <a:pt x="107" y="50"/>
                        <a:pt x="108" y="46"/>
                      </a:cubicBezTo>
                      <a:cubicBezTo>
                        <a:pt x="109" y="43"/>
                        <a:pt x="113" y="46"/>
                        <a:pt x="112" y="43"/>
                      </a:cubicBezTo>
                      <a:cubicBezTo>
                        <a:pt x="110" y="41"/>
                        <a:pt x="111" y="40"/>
                        <a:pt x="114" y="37"/>
                      </a:cubicBezTo>
                      <a:cubicBezTo>
                        <a:pt x="118" y="33"/>
                        <a:pt x="120" y="36"/>
                        <a:pt x="124" y="34"/>
                      </a:cubicBezTo>
                      <a:cubicBezTo>
                        <a:pt x="128" y="32"/>
                        <a:pt x="130" y="35"/>
                        <a:pt x="126" y="36"/>
                      </a:cubicBezTo>
                      <a:cubicBezTo>
                        <a:pt x="122" y="36"/>
                        <a:pt x="124" y="40"/>
                        <a:pt x="127" y="42"/>
                      </a:cubicBezTo>
                      <a:cubicBezTo>
                        <a:pt x="130" y="43"/>
                        <a:pt x="127" y="44"/>
                        <a:pt x="130" y="45"/>
                      </a:cubicBezTo>
                      <a:cubicBezTo>
                        <a:pt x="132" y="45"/>
                        <a:pt x="132" y="49"/>
                        <a:pt x="128" y="52"/>
                      </a:cubicBezTo>
                      <a:cubicBezTo>
                        <a:pt x="125" y="56"/>
                        <a:pt x="129" y="56"/>
                        <a:pt x="136" y="54"/>
                      </a:cubicBezTo>
                      <a:cubicBezTo>
                        <a:pt x="143" y="51"/>
                        <a:pt x="139" y="56"/>
                        <a:pt x="141" y="58"/>
                      </a:cubicBezTo>
                      <a:cubicBezTo>
                        <a:pt x="142" y="60"/>
                        <a:pt x="148" y="56"/>
                        <a:pt x="151" y="53"/>
                      </a:cubicBezTo>
                      <a:cubicBezTo>
                        <a:pt x="154" y="50"/>
                        <a:pt x="158" y="50"/>
                        <a:pt x="158" y="48"/>
                      </a:cubicBezTo>
                      <a:cubicBezTo>
                        <a:pt x="157" y="46"/>
                        <a:pt x="154" y="46"/>
                        <a:pt x="152" y="47"/>
                      </a:cubicBezTo>
                      <a:cubicBezTo>
                        <a:pt x="149" y="48"/>
                        <a:pt x="143" y="47"/>
                        <a:pt x="145" y="45"/>
                      </a:cubicBezTo>
                      <a:cubicBezTo>
                        <a:pt x="147" y="43"/>
                        <a:pt x="147" y="42"/>
                        <a:pt x="144" y="42"/>
                      </a:cubicBezTo>
                      <a:cubicBezTo>
                        <a:pt x="141" y="43"/>
                        <a:pt x="135" y="41"/>
                        <a:pt x="138" y="40"/>
                      </a:cubicBezTo>
                      <a:cubicBezTo>
                        <a:pt x="140" y="39"/>
                        <a:pt x="136" y="35"/>
                        <a:pt x="133" y="35"/>
                      </a:cubicBezTo>
                      <a:cubicBezTo>
                        <a:pt x="131" y="36"/>
                        <a:pt x="131" y="33"/>
                        <a:pt x="132" y="31"/>
                      </a:cubicBezTo>
                      <a:cubicBezTo>
                        <a:pt x="132" y="29"/>
                        <a:pt x="124" y="28"/>
                        <a:pt x="126" y="27"/>
                      </a:cubicBezTo>
                      <a:cubicBezTo>
                        <a:pt x="127" y="27"/>
                        <a:pt x="123" y="25"/>
                        <a:pt x="122" y="26"/>
                      </a:cubicBezTo>
                      <a:cubicBezTo>
                        <a:pt x="121" y="28"/>
                        <a:pt x="119" y="27"/>
                        <a:pt x="119" y="25"/>
                      </a:cubicBezTo>
                      <a:cubicBezTo>
                        <a:pt x="119" y="23"/>
                        <a:pt x="113" y="24"/>
                        <a:pt x="111" y="24"/>
                      </a:cubicBezTo>
                      <a:cubicBezTo>
                        <a:pt x="109" y="24"/>
                        <a:pt x="110" y="19"/>
                        <a:pt x="108" y="18"/>
                      </a:cubicBezTo>
                      <a:cubicBezTo>
                        <a:pt x="106" y="16"/>
                        <a:pt x="103" y="21"/>
                        <a:pt x="101" y="20"/>
                      </a:cubicBezTo>
                      <a:cubicBezTo>
                        <a:pt x="100" y="20"/>
                        <a:pt x="103" y="17"/>
                        <a:pt x="103" y="15"/>
                      </a:cubicBezTo>
                      <a:cubicBezTo>
                        <a:pt x="104" y="13"/>
                        <a:pt x="96" y="10"/>
                        <a:pt x="95" y="12"/>
                      </a:cubicBezTo>
                      <a:cubicBezTo>
                        <a:pt x="94" y="14"/>
                        <a:pt x="93" y="9"/>
                        <a:pt x="91" y="8"/>
                      </a:cubicBezTo>
                      <a:cubicBezTo>
                        <a:pt x="89" y="8"/>
                        <a:pt x="90" y="12"/>
                        <a:pt x="89" y="12"/>
                      </a:cubicBezTo>
                      <a:cubicBezTo>
                        <a:pt x="87" y="12"/>
                        <a:pt x="85" y="14"/>
                        <a:pt x="88" y="16"/>
                      </a:cubicBezTo>
                      <a:cubicBezTo>
                        <a:pt x="90" y="18"/>
                        <a:pt x="93" y="27"/>
                        <a:pt x="93" y="28"/>
                      </a:cubicBezTo>
                      <a:cubicBezTo>
                        <a:pt x="92" y="29"/>
                        <a:pt x="84" y="22"/>
                        <a:pt x="84" y="18"/>
                      </a:cubicBezTo>
                      <a:cubicBezTo>
                        <a:pt x="83" y="14"/>
                        <a:pt x="79" y="11"/>
                        <a:pt x="78" y="14"/>
                      </a:cubicBezTo>
                      <a:cubicBezTo>
                        <a:pt x="77" y="16"/>
                        <a:pt x="74" y="17"/>
                        <a:pt x="75" y="20"/>
                      </a:cubicBezTo>
                      <a:cubicBezTo>
                        <a:pt x="76" y="23"/>
                        <a:pt x="73" y="24"/>
                        <a:pt x="73" y="22"/>
                      </a:cubicBezTo>
                      <a:cubicBezTo>
                        <a:pt x="73" y="19"/>
                        <a:pt x="68" y="17"/>
                        <a:pt x="67" y="17"/>
                      </a:cubicBezTo>
                      <a:cubicBezTo>
                        <a:pt x="65" y="17"/>
                        <a:pt x="71" y="15"/>
                        <a:pt x="74" y="14"/>
                      </a:cubicBezTo>
                      <a:cubicBezTo>
                        <a:pt x="76" y="13"/>
                        <a:pt x="71" y="11"/>
                        <a:pt x="69" y="13"/>
                      </a:cubicBezTo>
                      <a:cubicBezTo>
                        <a:pt x="67" y="14"/>
                        <a:pt x="64" y="12"/>
                        <a:pt x="62" y="14"/>
                      </a:cubicBezTo>
                      <a:cubicBezTo>
                        <a:pt x="61" y="16"/>
                        <a:pt x="59" y="14"/>
                        <a:pt x="57" y="13"/>
                      </a:cubicBezTo>
                      <a:cubicBezTo>
                        <a:pt x="54" y="13"/>
                        <a:pt x="52" y="17"/>
                        <a:pt x="50" y="16"/>
                      </a:cubicBezTo>
                      <a:cubicBezTo>
                        <a:pt x="48" y="15"/>
                        <a:pt x="47" y="20"/>
                        <a:pt x="50" y="24"/>
                      </a:cubicBezTo>
                      <a:cubicBezTo>
                        <a:pt x="53" y="28"/>
                        <a:pt x="55" y="23"/>
                        <a:pt x="58" y="23"/>
                      </a:cubicBezTo>
                      <a:close/>
                      <a:moveTo>
                        <a:pt x="51" y="38"/>
                      </a:moveTo>
                      <a:cubicBezTo>
                        <a:pt x="53" y="38"/>
                        <a:pt x="55" y="42"/>
                        <a:pt x="57" y="42"/>
                      </a:cubicBezTo>
                      <a:cubicBezTo>
                        <a:pt x="58" y="42"/>
                        <a:pt x="54" y="37"/>
                        <a:pt x="52" y="35"/>
                      </a:cubicBezTo>
                      <a:cubicBezTo>
                        <a:pt x="49" y="32"/>
                        <a:pt x="49" y="30"/>
                        <a:pt x="46" y="31"/>
                      </a:cubicBezTo>
                      <a:cubicBezTo>
                        <a:pt x="43" y="32"/>
                        <a:pt x="49" y="37"/>
                        <a:pt x="51" y="38"/>
                      </a:cubicBezTo>
                      <a:close/>
                      <a:moveTo>
                        <a:pt x="108" y="9"/>
                      </a:moveTo>
                      <a:cubicBezTo>
                        <a:pt x="109" y="10"/>
                        <a:pt x="105" y="10"/>
                        <a:pt x="107" y="12"/>
                      </a:cubicBezTo>
                      <a:cubicBezTo>
                        <a:pt x="112" y="17"/>
                        <a:pt x="133" y="11"/>
                        <a:pt x="136" y="13"/>
                      </a:cubicBezTo>
                      <a:cubicBezTo>
                        <a:pt x="139" y="14"/>
                        <a:pt x="119" y="16"/>
                        <a:pt x="119" y="18"/>
                      </a:cubicBezTo>
                      <a:cubicBezTo>
                        <a:pt x="120" y="21"/>
                        <a:pt x="137" y="22"/>
                        <a:pt x="138" y="21"/>
                      </a:cubicBezTo>
                      <a:cubicBezTo>
                        <a:pt x="140" y="20"/>
                        <a:pt x="142" y="24"/>
                        <a:pt x="148" y="24"/>
                      </a:cubicBezTo>
                      <a:cubicBezTo>
                        <a:pt x="154" y="25"/>
                        <a:pt x="153" y="22"/>
                        <a:pt x="157" y="22"/>
                      </a:cubicBezTo>
                      <a:cubicBezTo>
                        <a:pt x="161" y="22"/>
                        <a:pt x="167" y="20"/>
                        <a:pt x="167" y="17"/>
                      </a:cubicBezTo>
                      <a:cubicBezTo>
                        <a:pt x="168" y="15"/>
                        <a:pt x="180" y="12"/>
                        <a:pt x="178" y="8"/>
                      </a:cubicBezTo>
                      <a:cubicBezTo>
                        <a:pt x="177" y="4"/>
                        <a:pt x="166" y="7"/>
                        <a:pt x="163" y="5"/>
                      </a:cubicBezTo>
                      <a:cubicBezTo>
                        <a:pt x="159" y="4"/>
                        <a:pt x="152" y="2"/>
                        <a:pt x="151" y="4"/>
                      </a:cubicBezTo>
                      <a:cubicBezTo>
                        <a:pt x="149" y="7"/>
                        <a:pt x="147" y="7"/>
                        <a:pt x="146" y="6"/>
                      </a:cubicBezTo>
                      <a:cubicBezTo>
                        <a:pt x="145" y="5"/>
                        <a:pt x="147" y="0"/>
                        <a:pt x="142" y="1"/>
                      </a:cubicBezTo>
                      <a:cubicBezTo>
                        <a:pt x="136" y="3"/>
                        <a:pt x="141" y="8"/>
                        <a:pt x="140" y="9"/>
                      </a:cubicBezTo>
                      <a:cubicBezTo>
                        <a:pt x="139" y="10"/>
                        <a:pt x="134" y="8"/>
                        <a:pt x="134" y="5"/>
                      </a:cubicBezTo>
                      <a:cubicBezTo>
                        <a:pt x="133" y="3"/>
                        <a:pt x="128" y="8"/>
                        <a:pt x="127" y="5"/>
                      </a:cubicBezTo>
                      <a:cubicBezTo>
                        <a:pt x="126" y="2"/>
                        <a:pt x="120" y="0"/>
                        <a:pt x="118" y="0"/>
                      </a:cubicBezTo>
                      <a:cubicBezTo>
                        <a:pt x="117" y="0"/>
                        <a:pt x="120" y="2"/>
                        <a:pt x="119" y="4"/>
                      </a:cubicBezTo>
                      <a:cubicBezTo>
                        <a:pt x="118" y="5"/>
                        <a:pt x="114" y="2"/>
                        <a:pt x="113" y="2"/>
                      </a:cubicBezTo>
                      <a:cubicBezTo>
                        <a:pt x="112" y="2"/>
                        <a:pt x="114" y="5"/>
                        <a:pt x="113" y="7"/>
                      </a:cubicBezTo>
                      <a:cubicBezTo>
                        <a:pt x="113" y="8"/>
                        <a:pt x="110" y="2"/>
                        <a:pt x="107" y="2"/>
                      </a:cubicBezTo>
                      <a:cubicBezTo>
                        <a:pt x="105" y="2"/>
                        <a:pt x="106" y="5"/>
                        <a:pt x="104" y="5"/>
                      </a:cubicBezTo>
                      <a:cubicBezTo>
                        <a:pt x="102" y="5"/>
                        <a:pt x="106" y="8"/>
                        <a:pt x="108" y="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0" name="Freeform 133">
                  <a:extLst>
                    <a:ext uri="{FF2B5EF4-FFF2-40B4-BE49-F238E27FC236}">
                      <a16:creationId xmlns:a16="http://schemas.microsoft.com/office/drawing/2014/main" id="{6127D307-7E0F-4711-9C3A-AE489A25EC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4636841" y="-10942306"/>
                  <a:ext cx="852965" cy="852965"/>
                </a:xfrm>
                <a:custGeom>
                  <a:avLst/>
                  <a:gdLst>
                    <a:gd name="T0" fmla="*/ 122 w 138"/>
                    <a:gd name="T1" fmla="*/ 17 h 138"/>
                    <a:gd name="T2" fmla="*/ 100 w 138"/>
                    <a:gd name="T3" fmla="*/ 6 h 138"/>
                    <a:gd name="T4" fmla="*/ 97 w 138"/>
                    <a:gd name="T5" fmla="*/ 22 h 138"/>
                    <a:gd name="T6" fmla="*/ 87 w 138"/>
                    <a:gd name="T7" fmla="*/ 29 h 138"/>
                    <a:gd name="T8" fmla="*/ 85 w 138"/>
                    <a:gd name="T9" fmla="*/ 40 h 138"/>
                    <a:gd name="T10" fmla="*/ 94 w 138"/>
                    <a:gd name="T11" fmla="*/ 38 h 138"/>
                    <a:gd name="T12" fmla="*/ 96 w 138"/>
                    <a:gd name="T13" fmla="*/ 31 h 138"/>
                    <a:gd name="T14" fmla="*/ 113 w 138"/>
                    <a:gd name="T15" fmla="*/ 32 h 138"/>
                    <a:gd name="T16" fmla="*/ 129 w 138"/>
                    <a:gd name="T17" fmla="*/ 23 h 138"/>
                    <a:gd name="T18" fmla="*/ 130 w 138"/>
                    <a:gd name="T19" fmla="*/ 15 h 138"/>
                    <a:gd name="T20" fmla="*/ 85 w 138"/>
                    <a:gd name="T21" fmla="*/ 58 h 138"/>
                    <a:gd name="T22" fmla="*/ 76 w 138"/>
                    <a:gd name="T23" fmla="*/ 77 h 138"/>
                    <a:gd name="T24" fmla="*/ 64 w 138"/>
                    <a:gd name="T25" fmla="*/ 80 h 138"/>
                    <a:gd name="T26" fmla="*/ 53 w 138"/>
                    <a:gd name="T27" fmla="*/ 94 h 138"/>
                    <a:gd name="T28" fmla="*/ 38 w 138"/>
                    <a:gd name="T29" fmla="*/ 97 h 138"/>
                    <a:gd name="T30" fmla="*/ 14 w 138"/>
                    <a:gd name="T31" fmla="*/ 107 h 138"/>
                    <a:gd name="T32" fmla="*/ 22 w 138"/>
                    <a:gd name="T33" fmla="*/ 110 h 138"/>
                    <a:gd name="T34" fmla="*/ 46 w 138"/>
                    <a:gd name="T35" fmla="*/ 112 h 138"/>
                    <a:gd name="T36" fmla="*/ 58 w 138"/>
                    <a:gd name="T37" fmla="*/ 106 h 138"/>
                    <a:gd name="T38" fmla="*/ 71 w 138"/>
                    <a:gd name="T39" fmla="*/ 104 h 138"/>
                    <a:gd name="T40" fmla="*/ 82 w 138"/>
                    <a:gd name="T41" fmla="*/ 100 h 138"/>
                    <a:gd name="T42" fmla="*/ 91 w 138"/>
                    <a:gd name="T43" fmla="*/ 87 h 138"/>
                    <a:gd name="T44" fmla="*/ 101 w 138"/>
                    <a:gd name="T45" fmla="*/ 66 h 138"/>
                    <a:gd name="T46" fmla="*/ 87 w 138"/>
                    <a:gd name="T47" fmla="*/ 47 h 138"/>
                    <a:gd name="T48" fmla="*/ 27 w 138"/>
                    <a:gd name="T49" fmla="*/ 111 h 138"/>
                    <a:gd name="T50" fmla="*/ 30 w 138"/>
                    <a:gd name="T51" fmla="*/ 120 h 138"/>
                    <a:gd name="T52" fmla="*/ 42 w 138"/>
                    <a:gd name="T53" fmla="*/ 110 h 138"/>
                    <a:gd name="T54" fmla="*/ 18 w 138"/>
                    <a:gd name="T55" fmla="*/ 119 h 138"/>
                    <a:gd name="T56" fmla="*/ 5 w 138"/>
                    <a:gd name="T57" fmla="*/ 116 h 138"/>
                    <a:gd name="T58" fmla="*/ 6 w 138"/>
                    <a:gd name="T59" fmla="*/ 119 h 138"/>
                    <a:gd name="T60" fmla="*/ 11 w 138"/>
                    <a:gd name="T61" fmla="*/ 137 h 138"/>
                    <a:gd name="T62" fmla="*/ 18 w 138"/>
                    <a:gd name="T63" fmla="*/ 119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38" h="138">
                      <a:moveTo>
                        <a:pt x="130" y="15"/>
                      </a:moveTo>
                      <a:cubicBezTo>
                        <a:pt x="129" y="13"/>
                        <a:pt x="126" y="16"/>
                        <a:pt x="122" y="17"/>
                      </a:cubicBezTo>
                      <a:cubicBezTo>
                        <a:pt x="119" y="17"/>
                        <a:pt x="108" y="8"/>
                        <a:pt x="105" y="4"/>
                      </a:cubicBezTo>
                      <a:cubicBezTo>
                        <a:pt x="102" y="0"/>
                        <a:pt x="97" y="3"/>
                        <a:pt x="100" y="6"/>
                      </a:cubicBezTo>
                      <a:cubicBezTo>
                        <a:pt x="102" y="9"/>
                        <a:pt x="99" y="10"/>
                        <a:pt x="99" y="15"/>
                      </a:cubicBezTo>
                      <a:cubicBezTo>
                        <a:pt x="99" y="19"/>
                        <a:pt x="96" y="19"/>
                        <a:pt x="97" y="22"/>
                      </a:cubicBezTo>
                      <a:cubicBezTo>
                        <a:pt x="97" y="25"/>
                        <a:pt x="93" y="24"/>
                        <a:pt x="90" y="25"/>
                      </a:cubicBezTo>
                      <a:cubicBezTo>
                        <a:pt x="87" y="25"/>
                        <a:pt x="90" y="28"/>
                        <a:pt x="87" y="29"/>
                      </a:cubicBezTo>
                      <a:cubicBezTo>
                        <a:pt x="84" y="31"/>
                        <a:pt x="84" y="33"/>
                        <a:pt x="85" y="34"/>
                      </a:cubicBezTo>
                      <a:cubicBezTo>
                        <a:pt x="87" y="35"/>
                        <a:pt x="86" y="38"/>
                        <a:pt x="85" y="40"/>
                      </a:cubicBezTo>
                      <a:cubicBezTo>
                        <a:pt x="85" y="42"/>
                        <a:pt x="88" y="41"/>
                        <a:pt x="90" y="39"/>
                      </a:cubicBezTo>
                      <a:cubicBezTo>
                        <a:pt x="91" y="36"/>
                        <a:pt x="93" y="40"/>
                        <a:pt x="94" y="38"/>
                      </a:cubicBezTo>
                      <a:cubicBezTo>
                        <a:pt x="94" y="35"/>
                        <a:pt x="89" y="34"/>
                        <a:pt x="89" y="32"/>
                      </a:cubicBezTo>
                      <a:cubicBezTo>
                        <a:pt x="89" y="29"/>
                        <a:pt x="93" y="32"/>
                        <a:pt x="96" y="31"/>
                      </a:cubicBezTo>
                      <a:cubicBezTo>
                        <a:pt x="99" y="30"/>
                        <a:pt x="104" y="31"/>
                        <a:pt x="108" y="34"/>
                      </a:cubicBezTo>
                      <a:cubicBezTo>
                        <a:pt x="111" y="37"/>
                        <a:pt x="112" y="36"/>
                        <a:pt x="113" y="32"/>
                      </a:cubicBezTo>
                      <a:cubicBezTo>
                        <a:pt x="114" y="28"/>
                        <a:pt x="119" y="26"/>
                        <a:pt x="125" y="26"/>
                      </a:cubicBezTo>
                      <a:cubicBezTo>
                        <a:pt x="130" y="26"/>
                        <a:pt x="131" y="24"/>
                        <a:pt x="129" y="23"/>
                      </a:cubicBezTo>
                      <a:cubicBezTo>
                        <a:pt x="127" y="21"/>
                        <a:pt x="138" y="15"/>
                        <a:pt x="138" y="13"/>
                      </a:cubicBezTo>
                      <a:cubicBezTo>
                        <a:pt x="138" y="11"/>
                        <a:pt x="132" y="17"/>
                        <a:pt x="130" y="15"/>
                      </a:cubicBezTo>
                      <a:close/>
                      <a:moveTo>
                        <a:pt x="87" y="47"/>
                      </a:moveTo>
                      <a:cubicBezTo>
                        <a:pt x="84" y="49"/>
                        <a:pt x="83" y="56"/>
                        <a:pt x="85" y="58"/>
                      </a:cubicBezTo>
                      <a:cubicBezTo>
                        <a:pt x="88" y="60"/>
                        <a:pt x="81" y="64"/>
                        <a:pt x="81" y="69"/>
                      </a:cubicBezTo>
                      <a:cubicBezTo>
                        <a:pt x="81" y="73"/>
                        <a:pt x="77" y="73"/>
                        <a:pt x="76" y="77"/>
                      </a:cubicBezTo>
                      <a:cubicBezTo>
                        <a:pt x="76" y="80"/>
                        <a:pt x="73" y="79"/>
                        <a:pt x="69" y="82"/>
                      </a:cubicBezTo>
                      <a:cubicBezTo>
                        <a:pt x="65" y="85"/>
                        <a:pt x="63" y="82"/>
                        <a:pt x="64" y="80"/>
                      </a:cubicBezTo>
                      <a:cubicBezTo>
                        <a:pt x="65" y="78"/>
                        <a:pt x="57" y="81"/>
                        <a:pt x="58" y="86"/>
                      </a:cubicBezTo>
                      <a:cubicBezTo>
                        <a:pt x="58" y="91"/>
                        <a:pt x="51" y="92"/>
                        <a:pt x="53" y="94"/>
                      </a:cubicBezTo>
                      <a:cubicBezTo>
                        <a:pt x="54" y="97"/>
                        <a:pt x="47" y="98"/>
                        <a:pt x="48" y="96"/>
                      </a:cubicBezTo>
                      <a:cubicBezTo>
                        <a:pt x="48" y="94"/>
                        <a:pt x="43" y="95"/>
                        <a:pt x="38" y="97"/>
                      </a:cubicBezTo>
                      <a:cubicBezTo>
                        <a:pt x="32" y="99"/>
                        <a:pt x="29" y="95"/>
                        <a:pt x="26" y="98"/>
                      </a:cubicBezTo>
                      <a:cubicBezTo>
                        <a:pt x="23" y="101"/>
                        <a:pt x="18" y="106"/>
                        <a:pt x="14" y="107"/>
                      </a:cubicBezTo>
                      <a:cubicBezTo>
                        <a:pt x="10" y="108"/>
                        <a:pt x="12" y="113"/>
                        <a:pt x="14" y="112"/>
                      </a:cubicBezTo>
                      <a:cubicBezTo>
                        <a:pt x="17" y="110"/>
                        <a:pt x="21" y="112"/>
                        <a:pt x="22" y="110"/>
                      </a:cubicBezTo>
                      <a:cubicBezTo>
                        <a:pt x="24" y="108"/>
                        <a:pt x="36" y="105"/>
                        <a:pt x="43" y="105"/>
                      </a:cubicBezTo>
                      <a:cubicBezTo>
                        <a:pt x="50" y="104"/>
                        <a:pt x="46" y="108"/>
                        <a:pt x="46" y="112"/>
                      </a:cubicBezTo>
                      <a:cubicBezTo>
                        <a:pt x="46" y="116"/>
                        <a:pt x="52" y="115"/>
                        <a:pt x="56" y="111"/>
                      </a:cubicBezTo>
                      <a:cubicBezTo>
                        <a:pt x="59" y="108"/>
                        <a:pt x="61" y="108"/>
                        <a:pt x="58" y="106"/>
                      </a:cubicBezTo>
                      <a:cubicBezTo>
                        <a:pt x="56" y="104"/>
                        <a:pt x="59" y="102"/>
                        <a:pt x="61" y="105"/>
                      </a:cubicBezTo>
                      <a:cubicBezTo>
                        <a:pt x="63" y="108"/>
                        <a:pt x="69" y="108"/>
                        <a:pt x="71" y="104"/>
                      </a:cubicBezTo>
                      <a:cubicBezTo>
                        <a:pt x="73" y="100"/>
                        <a:pt x="74" y="105"/>
                        <a:pt x="77" y="104"/>
                      </a:cubicBezTo>
                      <a:cubicBezTo>
                        <a:pt x="80" y="104"/>
                        <a:pt x="81" y="97"/>
                        <a:pt x="82" y="100"/>
                      </a:cubicBezTo>
                      <a:cubicBezTo>
                        <a:pt x="82" y="102"/>
                        <a:pt x="86" y="102"/>
                        <a:pt x="89" y="99"/>
                      </a:cubicBezTo>
                      <a:cubicBezTo>
                        <a:pt x="92" y="95"/>
                        <a:pt x="90" y="90"/>
                        <a:pt x="91" y="87"/>
                      </a:cubicBezTo>
                      <a:cubicBezTo>
                        <a:pt x="93" y="84"/>
                        <a:pt x="95" y="78"/>
                        <a:pt x="93" y="75"/>
                      </a:cubicBezTo>
                      <a:cubicBezTo>
                        <a:pt x="91" y="71"/>
                        <a:pt x="98" y="69"/>
                        <a:pt x="101" y="66"/>
                      </a:cubicBezTo>
                      <a:cubicBezTo>
                        <a:pt x="104" y="63"/>
                        <a:pt x="97" y="49"/>
                        <a:pt x="97" y="45"/>
                      </a:cubicBezTo>
                      <a:cubicBezTo>
                        <a:pt x="97" y="40"/>
                        <a:pt x="89" y="46"/>
                        <a:pt x="87" y="47"/>
                      </a:cubicBezTo>
                      <a:close/>
                      <a:moveTo>
                        <a:pt x="34" y="109"/>
                      </a:moveTo>
                      <a:cubicBezTo>
                        <a:pt x="33" y="112"/>
                        <a:pt x="31" y="111"/>
                        <a:pt x="27" y="111"/>
                      </a:cubicBezTo>
                      <a:cubicBezTo>
                        <a:pt x="23" y="112"/>
                        <a:pt x="23" y="121"/>
                        <a:pt x="26" y="122"/>
                      </a:cubicBezTo>
                      <a:cubicBezTo>
                        <a:pt x="28" y="123"/>
                        <a:pt x="29" y="123"/>
                        <a:pt x="30" y="120"/>
                      </a:cubicBezTo>
                      <a:cubicBezTo>
                        <a:pt x="31" y="117"/>
                        <a:pt x="35" y="116"/>
                        <a:pt x="37" y="117"/>
                      </a:cubicBezTo>
                      <a:cubicBezTo>
                        <a:pt x="39" y="119"/>
                        <a:pt x="42" y="114"/>
                        <a:pt x="42" y="110"/>
                      </a:cubicBezTo>
                      <a:cubicBezTo>
                        <a:pt x="42" y="107"/>
                        <a:pt x="35" y="107"/>
                        <a:pt x="34" y="109"/>
                      </a:cubicBezTo>
                      <a:close/>
                      <a:moveTo>
                        <a:pt x="18" y="119"/>
                      </a:moveTo>
                      <a:cubicBezTo>
                        <a:pt x="18" y="116"/>
                        <a:pt x="13" y="117"/>
                        <a:pt x="12" y="114"/>
                      </a:cubicBezTo>
                      <a:cubicBezTo>
                        <a:pt x="12" y="112"/>
                        <a:pt x="9" y="114"/>
                        <a:pt x="5" y="116"/>
                      </a:cubicBezTo>
                      <a:cubicBezTo>
                        <a:pt x="2" y="119"/>
                        <a:pt x="0" y="119"/>
                        <a:pt x="2" y="122"/>
                      </a:cubicBezTo>
                      <a:cubicBezTo>
                        <a:pt x="3" y="124"/>
                        <a:pt x="5" y="122"/>
                        <a:pt x="6" y="119"/>
                      </a:cubicBezTo>
                      <a:cubicBezTo>
                        <a:pt x="7" y="117"/>
                        <a:pt x="10" y="123"/>
                        <a:pt x="8" y="128"/>
                      </a:cubicBezTo>
                      <a:cubicBezTo>
                        <a:pt x="5" y="132"/>
                        <a:pt x="8" y="138"/>
                        <a:pt x="11" y="137"/>
                      </a:cubicBezTo>
                      <a:cubicBezTo>
                        <a:pt x="13" y="137"/>
                        <a:pt x="16" y="128"/>
                        <a:pt x="20" y="124"/>
                      </a:cubicBezTo>
                      <a:cubicBezTo>
                        <a:pt x="23" y="119"/>
                        <a:pt x="18" y="121"/>
                        <a:pt x="18" y="11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1" name="Freeform 134">
                  <a:extLst>
                    <a:ext uri="{FF2B5EF4-FFF2-40B4-BE49-F238E27FC236}">
                      <a16:creationId xmlns:a16="http://schemas.microsoft.com/office/drawing/2014/main" id="{FC52B464-2957-442C-90C2-0E82CFBEC90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7351407" y="-11457977"/>
                  <a:ext cx="2986998" cy="2065926"/>
                </a:xfrm>
                <a:custGeom>
                  <a:avLst/>
                  <a:gdLst>
                    <a:gd name="T0" fmla="*/ 459 w 483"/>
                    <a:gd name="T1" fmla="*/ 63 h 335"/>
                    <a:gd name="T2" fmla="*/ 435 w 483"/>
                    <a:gd name="T3" fmla="*/ 45 h 335"/>
                    <a:gd name="T4" fmla="*/ 416 w 483"/>
                    <a:gd name="T5" fmla="*/ 19 h 335"/>
                    <a:gd name="T6" fmla="*/ 388 w 483"/>
                    <a:gd name="T7" fmla="*/ 1 h 335"/>
                    <a:gd name="T8" fmla="*/ 369 w 483"/>
                    <a:gd name="T9" fmla="*/ 15 h 335"/>
                    <a:gd name="T10" fmla="*/ 353 w 483"/>
                    <a:gd name="T11" fmla="*/ 39 h 335"/>
                    <a:gd name="T12" fmla="*/ 329 w 483"/>
                    <a:gd name="T13" fmla="*/ 52 h 335"/>
                    <a:gd name="T14" fmla="*/ 344 w 483"/>
                    <a:gd name="T15" fmla="*/ 62 h 335"/>
                    <a:gd name="T16" fmla="*/ 343 w 483"/>
                    <a:gd name="T17" fmla="*/ 75 h 335"/>
                    <a:gd name="T18" fmla="*/ 301 w 483"/>
                    <a:gd name="T19" fmla="*/ 91 h 335"/>
                    <a:gd name="T20" fmla="*/ 271 w 483"/>
                    <a:gd name="T21" fmla="*/ 116 h 335"/>
                    <a:gd name="T22" fmla="*/ 224 w 483"/>
                    <a:gd name="T23" fmla="*/ 119 h 335"/>
                    <a:gd name="T24" fmla="*/ 172 w 483"/>
                    <a:gd name="T25" fmla="*/ 112 h 335"/>
                    <a:gd name="T26" fmla="*/ 150 w 483"/>
                    <a:gd name="T27" fmla="*/ 90 h 335"/>
                    <a:gd name="T28" fmla="*/ 129 w 483"/>
                    <a:gd name="T29" fmla="*/ 64 h 335"/>
                    <a:gd name="T30" fmla="*/ 109 w 483"/>
                    <a:gd name="T31" fmla="*/ 47 h 335"/>
                    <a:gd name="T32" fmla="*/ 98 w 483"/>
                    <a:gd name="T33" fmla="*/ 54 h 335"/>
                    <a:gd name="T34" fmla="*/ 79 w 483"/>
                    <a:gd name="T35" fmla="*/ 69 h 335"/>
                    <a:gd name="T36" fmla="*/ 63 w 483"/>
                    <a:gd name="T37" fmla="*/ 87 h 335"/>
                    <a:gd name="T38" fmla="*/ 55 w 483"/>
                    <a:gd name="T39" fmla="*/ 107 h 335"/>
                    <a:gd name="T40" fmla="*/ 37 w 483"/>
                    <a:gd name="T41" fmla="*/ 126 h 335"/>
                    <a:gd name="T42" fmla="*/ 14 w 483"/>
                    <a:gd name="T43" fmla="*/ 133 h 335"/>
                    <a:gd name="T44" fmla="*/ 0 w 483"/>
                    <a:gd name="T45" fmla="*/ 143 h 335"/>
                    <a:gd name="T46" fmla="*/ 10 w 483"/>
                    <a:gd name="T47" fmla="*/ 166 h 335"/>
                    <a:gd name="T48" fmla="*/ 28 w 483"/>
                    <a:gd name="T49" fmla="*/ 182 h 335"/>
                    <a:gd name="T50" fmla="*/ 42 w 483"/>
                    <a:gd name="T51" fmla="*/ 177 h 335"/>
                    <a:gd name="T52" fmla="*/ 40 w 483"/>
                    <a:gd name="T53" fmla="*/ 197 h 335"/>
                    <a:gd name="T54" fmla="*/ 40 w 483"/>
                    <a:gd name="T55" fmla="*/ 217 h 335"/>
                    <a:gd name="T56" fmla="*/ 55 w 483"/>
                    <a:gd name="T57" fmla="*/ 230 h 335"/>
                    <a:gd name="T58" fmla="*/ 98 w 483"/>
                    <a:gd name="T59" fmla="*/ 248 h 335"/>
                    <a:gd name="T60" fmla="*/ 116 w 483"/>
                    <a:gd name="T61" fmla="*/ 252 h 335"/>
                    <a:gd name="T62" fmla="*/ 130 w 483"/>
                    <a:gd name="T63" fmla="*/ 248 h 335"/>
                    <a:gd name="T64" fmla="*/ 149 w 483"/>
                    <a:gd name="T65" fmla="*/ 243 h 335"/>
                    <a:gd name="T66" fmla="*/ 173 w 483"/>
                    <a:gd name="T67" fmla="*/ 243 h 335"/>
                    <a:gd name="T68" fmla="*/ 186 w 483"/>
                    <a:gd name="T69" fmla="*/ 252 h 335"/>
                    <a:gd name="T70" fmla="*/ 182 w 483"/>
                    <a:gd name="T71" fmla="*/ 282 h 335"/>
                    <a:gd name="T72" fmla="*/ 195 w 483"/>
                    <a:gd name="T73" fmla="*/ 299 h 335"/>
                    <a:gd name="T74" fmla="*/ 212 w 483"/>
                    <a:gd name="T75" fmla="*/ 307 h 335"/>
                    <a:gd name="T76" fmla="*/ 225 w 483"/>
                    <a:gd name="T77" fmla="*/ 294 h 335"/>
                    <a:gd name="T78" fmla="*/ 251 w 483"/>
                    <a:gd name="T79" fmla="*/ 293 h 335"/>
                    <a:gd name="T80" fmla="*/ 267 w 483"/>
                    <a:gd name="T81" fmla="*/ 303 h 335"/>
                    <a:gd name="T82" fmla="*/ 280 w 483"/>
                    <a:gd name="T83" fmla="*/ 314 h 335"/>
                    <a:gd name="T84" fmla="*/ 317 w 483"/>
                    <a:gd name="T85" fmla="*/ 295 h 335"/>
                    <a:gd name="T86" fmla="*/ 345 w 483"/>
                    <a:gd name="T87" fmla="*/ 280 h 335"/>
                    <a:gd name="T88" fmla="*/ 359 w 483"/>
                    <a:gd name="T89" fmla="*/ 263 h 335"/>
                    <a:gd name="T90" fmla="*/ 373 w 483"/>
                    <a:gd name="T91" fmla="*/ 246 h 335"/>
                    <a:gd name="T92" fmla="*/ 376 w 483"/>
                    <a:gd name="T93" fmla="*/ 231 h 335"/>
                    <a:gd name="T94" fmla="*/ 372 w 483"/>
                    <a:gd name="T95" fmla="*/ 219 h 335"/>
                    <a:gd name="T96" fmla="*/ 370 w 483"/>
                    <a:gd name="T97" fmla="*/ 207 h 335"/>
                    <a:gd name="T98" fmla="*/ 360 w 483"/>
                    <a:gd name="T99" fmla="*/ 180 h 335"/>
                    <a:gd name="T100" fmla="*/ 382 w 483"/>
                    <a:gd name="T101" fmla="*/ 168 h 335"/>
                    <a:gd name="T102" fmla="*/ 354 w 483"/>
                    <a:gd name="T103" fmla="*/ 160 h 335"/>
                    <a:gd name="T104" fmla="*/ 365 w 483"/>
                    <a:gd name="T105" fmla="*/ 137 h 335"/>
                    <a:gd name="T106" fmla="*/ 378 w 483"/>
                    <a:gd name="T107" fmla="*/ 149 h 335"/>
                    <a:gd name="T108" fmla="*/ 414 w 483"/>
                    <a:gd name="T109" fmla="*/ 128 h 335"/>
                    <a:gd name="T110" fmla="*/ 432 w 483"/>
                    <a:gd name="T111" fmla="*/ 120 h 335"/>
                    <a:gd name="T112" fmla="*/ 452 w 483"/>
                    <a:gd name="T113" fmla="*/ 113 h 335"/>
                    <a:gd name="T114" fmla="*/ 454 w 483"/>
                    <a:gd name="T115" fmla="*/ 91 h 335"/>
                    <a:gd name="T116" fmla="*/ 476 w 483"/>
                    <a:gd name="T117" fmla="*/ 77 h 335"/>
                    <a:gd name="T118" fmla="*/ 368 w 483"/>
                    <a:gd name="T119" fmla="*/ 299 h 335"/>
                    <a:gd name="T120" fmla="*/ 271 w 483"/>
                    <a:gd name="T121" fmla="*/ 328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83" h="335">
                      <a:moveTo>
                        <a:pt x="480" y="60"/>
                      </a:moveTo>
                      <a:cubicBezTo>
                        <a:pt x="480" y="56"/>
                        <a:pt x="475" y="57"/>
                        <a:pt x="474" y="58"/>
                      </a:cubicBezTo>
                      <a:cubicBezTo>
                        <a:pt x="472" y="59"/>
                        <a:pt x="467" y="58"/>
                        <a:pt x="466" y="61"/>
                      </a:cubicBezTo>
                      <a:cubicBezTo>
                        <a:pt x="464" y="64"/>
                        <a:pt x="462" y="62"/>
                        <a:pt x="459" y="63"/>
                      </a:cubicBezTo>
                      <a:cubicBezTo>
                        <a:pt x="455" y="63"/>
                        <a:pt x="451" y="62"/>
                        <a:pt x="451" y="60"/>
                      </a:cubicBezTo>
                      <a:cubicBezTo>
                        <a:pt x="451" y="57"/>
                        <a:pt x="449" y="55"/>
                        <a:pt x="449" y="53"/>
                      </a:cubicBezTo>
                      <a:cubicBezTo>
                        <a:pt x="449" y="50"/>
                        <a:pt x="446" y="51"/>
                        <a:pt x="443" y="49"/>
                      </a:cubicBezTo>
                      <a:cubicBezTo>
                        <a:pt x="441" y="47"/>
                        <a:pt x="436" y="45"/>
                        <a:pt x="435" y="45"/>
                      </a:cubicBezTo>
                      <a:cubicBezTo>
                        <a:pt x="434" y="46"/>
                        <a:pt x="432" y="43"/>
                        <a:pt x="427" y="42"/>
                      </a:cubicBezTo>
                      <a:cubicBezTo>
                        <a:pt x="423" y="42"/>
                        <a:pt x="424" y="40"/>
                        <a:pt x="424" y="38"/>
                      </a:cubicBezTo>
                      <a:cubicBezTo>
                        <a:pt x="425" y="36"/>
                        <a:pt x="421" y="31"/>
                        <a:pt x="420" y="28"/>
                      </a:cubicBezTo>
                      <a:cubicBezTo>
                        <a:pt x="420" y="25"/>
                        <a:pt x="417" y="25"/>
                        <a:pt x="416" y="19"/>
                      </a:cubicBezTo>
                      <a:cubicBezTo>
                        <a:pt x="414" y="13"/>
                        <a:pt x="411" y="14"/>
                        <a:pt x="412" y="11"/>
                      </a:cubicBezTo>
                      <a:cubicBezTo>
                        <a:pt x="412" y="8"/>
                        <a:pt x="408" y="7"/>
                        <a:pt x="407" y="5"/>
                      </a:cubicBezTo>
                      <a:cubicBezTo>
                        <a:pt x="405" y="4"/>
                        <a:pt x="400" y="4"/>
                        <a:pt x="397" y="3"/>
                      </a:cubicBezTo>
                      <a:cubicBezTo>
                        <a:pt x="393" y="1"/>
                        <a:pt x="391" y="2"/>
                        <a:pt x="388" y="1"/>
                      </a:cubicBezTo>
                      <a:cubicBezTo>
                        <a:pt x="384" y="0"/>
                        <a:pt x="377" y="2"/>
                        <a:pt x="376" y="2"/>
                      </a:cubicBezTo>
                      <a:cubicBezTo>
                        <a:pt x="375" y="2"/>
                        <a:pt x="369" y="1"/>
                        <a:pt x="366" y="5"/>
                      </a:cubicBezTo>
                      <a:cubicBezTo>
                        <a:pt x="362" y="10"/>
                        <a:pt x="365" y="10"/>
                        <a:pt x="366" y="10"/>
                      </a:cubicBezTo>
                      <a:cubicBezTo>
                        <a:pt x="368" y="10"/>
                        <a:pt x="369" y="14"/>
                        <a:pt x="369" y="15"/>
                      </a:cubicBezTo>
                      <a:cubicBezTo>
                        <a:pt x="369" y="17"/>
                        <a:pt x="366" y="19"/>
                        <a:pt x="365" y="19"/>
                      </a:cubicBezTo>
                      <a:cubicBezTo>
                        <a:pt x="364" y="20"/>
                        <a:pt x="361" y="25"/>
                        <a:pt x="360" y="27"/>
                      </a:cubicBezTo>
                      <a:cubicBezTo>
                        <a:pt x="360" y="29"/>
                        <a:pt x="356" y="34"/>
                        <a:pt x="356" y="35"/>
                      </a:cubicBezTo>
                      <a:cubicBezTo>
                        <a:pt x="357" y="37"/>
                        <a:pt x="354" y="39"/>
                        <a:pt x="353" y="39"/>
                      </a:cubicBezTo>
                      <a:cubicBezTo>
                        <a:pt x="351" y="39"/>
                        <a:pt x="347" y="42"/>
                        <a:pt x="345" y="43"/>
                      </a:cubicBezTo>
                      <a:cubicBezTo>
                        <a:pt x="344" y="43"/>
                        <a:pt x="338" y="42"/>
                        <a:pt x="337" y="41"/>
                      </a:cubicBezTo>
                      <a:cubicBezTo>
                        <a:pt x="337" y="40"/>
                        <a:pt x="336" y="40"/>
                        <a:pt x="336" y="39"/>
                      </a:cubicBezTo>
                      <a:cubicBezTo>
                        <a:pt x="329" y="52"/>
                        <a:pt x="329" y="52"/>
                        <a:pt x="329" y="52"/>
                      </a:cubicBezTo>
                      <a:cubicBezTo>
                        <a:pt x="329" y="56"/>
                        <a:pt x="329" y="56"/>
                        <a:pt x="329" y="56"/>
                      </a:cubicBezTo>
                      <a:cubicBezTo>
                        <a:pt x="329" y="56"/>
                        <a:pt x="324" y="58"/>
                        <a:pt x="328" y="61"/>
                      </a:cubicBezTo>
                      <a:cubicBezTo>
                        <a:pt x="331" y="64"/>
                        <a:pt x="331" y="61"/>
                        <a:pt x="336" y="61"/>
                      </a:cubicBezTo>
                      <a:cubicBezTo>
                        <a:pt x="341" y="61"/>
                        <a:pt x="343" y="65"/>
                        <a:pt x="344" y="62"/>
                      </a:cubicBezTo>
                      <a:cubicBezTo>
                        <a:pt x="345" y="60"/>
                        <a:pt x="349" y="58"/>
                        <a:pt x="351" y="61"/>
                      </a:cubicBezTo>
                      <a:cubicBezTo>
                        <a:pt x="354" y="64"/>
                        <a:pt x="362" y="69"/>
                        <a:pt x="362" y="72"/>
                      </a:cubicBezTo>
                      <a:cubicBezTo>
                        <a:pt x="361" y="75"/>
                        <a:pt x="357" y="74"/>
                        <a:pt x="353" y="73"/>
                      </a:cubicBezTo>
                      <a:cubicBezTo>
                        <a:pt x="350" y="72"/>
                        <a:pt x="346" y="75"/>
                        <a:pt x="343" y="75"/>
                      </a:cubicBezTo>
                      <a:cubicBezTo>
                        <a:pt x="340" y="75"/>
                        <a:pt x="336" y="76"/>
                        <a:pt x="333" y="79"/>
                      </a:cubicBezTo>
                      <a:cubicBezTo>
                        <a:pt x="330" y="82"/>
                        <a:pt x="331" y="85"/>
                        <a:pt x="326" y="86"/>
                      </a:cubicBezTo>
                      <a:cubicBezTo>
                        <a:pt x="321" y="87"/>
                        <a:pt x="319" y="86"/>
                        <a:pt x="314" y="90"/>
                      </a:cubicBezTo>
                      <a:cubicBezTo>
                        <a:pt x="309" y="93"/>
                        <a:pt x="303" y="92"/>
                        <a:pt x="301" y="91"/>
                      </a:cubicBezTo>
                      <a:cubicBezTo>
                        <a:pt x="299" y="90"/>
                        <a:pt x="295" y="89"/>
                        <a:pt x="293" y="93"/>
                      </a:cubicBezTo>
                      <a:cubicBezTo>
                        <a:pt x="291" y="96"/>
                        <a:pt x="296" y="98"/>
                        <a:pt x="295" y="102"/>
                      </a:cubicBezTo>
                      <a:cubicBezTo>
                        <a:pt x="295" y="106"/>
                        <a:pt x="290" y="105"/>
                        <a:pt x="286" y="110"/>
                      </a:cubicBezTo>
                      <a:cubicBezTo>
                        <a:pt x="281" y="115"/>
                        <a:pt x="275" y="117"/>
                        <a:pt x="271" y="116"/>
                      </a:cubicBezTo>
                      <a:cubicBezTo>
                        <a:pt x="267" y="116"/>
                        <a:pt x="260" y="113"/>
                        <a:pt x="253" y="117"/>
                      </a:cubicBezTo>
                      <a:cubicBezTo>
                        <a:pt x="246" y="120"/>
                        <a:pt x="242" y="124"/>
                        <a:pt x="239" y="124"/>
                      </a:cubicBezTo>
                      <a:cubicBezTo>
                        <a:pt x="236" y="123"/>
                        <a:pt x="236" y="120"/>
                        <a:pt x="233" y="121"/>
                      </a:cubicBezTo>
                      <a:cubicBezTo>
                        <a:pt x="229" y="121"/>
                        <a:pt x="227" y="120"/>
                        <a:pt x="224" y="119"/>
                      </a:cubicBezTo>
                      <a:cubicBezTo>
                        <a:pt x="222" y="117"/>
                        <a:pt x="220" y="120"/>
                        <a:pt x="216" y="117"/>
                      </a:cubicBezTo>
                      <a:cubicBezTo>
                        <a:pt x="212" y="113"/>
                        <a:pt x="204" y="114"/>
                        <a:pt x="201" y="113"/>
                      </a:cubicBezTo>
                      <a:cubicBezTo>
                        <a:pt x="198" y="113"/>
                        <a:pt x="186" y="113"/>
                        <a:pt x="182" y="113"/>
                      </a:cubicBezTo>
                      <a:cubicBezTo>
                        <a:pt x="178" y="112"/>
                        <a:pt x="172" y="114"/>
                        <a:pt x="172" y="112"/>
                      </a:cubicBezTo>
                      <a:cubicBezTo>
                        <a:pt x="171" y="110"/>
                        <a:pt x="168" y="108"/>
                        <a:pt x="167" y="104"/>
                      </a:cubicBezTo>
                      <a:cubicBezTo>
                        <a:pt x="166" y="99"/>
                        <a:pt x="163" y="97"/>
                        <a:pt x="161" y="97"/>
                      </a:cubicBezTo>
                      <a:cubicBezTo>
                        <a:pt x="158" y="96"/>
                        <a:pt x="158" y="94"/>
                        <a:pt x="156" y="93"/>
                      </a:cubicBezTo>
                      <a:cubicBezTo>
                        <a:pt x="154" y="93"/>
                        <a:pt x="153" y="90"/>
                        <a:pt x="150" y="90"/>
                      </a:cubicBezTo>
                      <a:cubicBezTo>
                        <a:pt x="146" y="90"/>
                        <a:pt x="133" y="88"/>
                        <a:pt x="131" y="85"/>
                      </a:cubicBezTo>
                      <a:cubicBezTo>
                        <a:pt x="130" y="82"/>
                        <a:pt x="133" y="82"/>
                        <a:pt x="133" y="79"/>
                      </a:cubicBezTo>
                      <a:cubicBezTo>
                        <a:pt x="133" y="76"/>
                        <a:pt x="135" y="72"/>
                        <a:pt x="134" y="71"/>
                      </a:cubicBezTo>
                      <a:cubicBezTo>
                        <a:pt x="132" y="69"/>
                        <a:pt x="130" y="67"/>
                        <a:pt x="129" y="64"/>
                      </a:cubicBezTo>
                      <a:cubicBezTo>
                        <a:pt x="129" y="62"/>
                        <a:pt x="125" y="59"/>
                        <a:pt x="123" y="59"/>
                      </a:cubicBezTo>
                      <a:cubicBezTo>
                        <a:pt x="120" y="59"/>
                        <a:pt x="118" y="57"/>
                        <a:pt x="115" y="55"/>
                      </a:cubicBezTo>
                      <a:cubicBezTo>
                        <a:pt x="113" y="53"/>
                        <a:pt x="111" y="53"/>
                        <a:pt x="110" y="47"/>
                      </a:cubicBezTo>
                      <a:cubicBezTo>
                        <a:pt x="109" y="47"/>
                        <a:pt x="109" y="47"/>
                        <a:pt x="109" y="47"/>
                      </a:cubicBezTo>
                      <a:cubicBezTo>
                        <a:pt x="108" y="46"/>
                        <a:pt x="107" y="46"/>
                        <a:pt x="106" y="46"/>
                      </a:cubicBezTo>
                      <a:cubicBezTo>
                        <a:pt x="106" y="46"/>
                        <a:pt x="105" y="46"/>
                        <a:pt x="104" y="45"/>
                      </a:cubicBezTo>
                      <a:cubicBezTo>
                        <a:pt x="103" y="47"/>
                        <a:pt x="101" y="48"/>
                        <a:pt x="101" y="50"/>
                      </a:cubicBezTo>
                      <a:cubicBezTo>
                        <a:pt x="101" y="52"/>
                        <a:pt x="100" y="54"/>
                        <a:pt x="98" y="54"/>
                      </a:cubicBezTo>
                      <a:cubicBezTo>
                        <a:pt x="95" y="54"/>
                        <a:pt x="93" y="56"/>
                        <a:pt x="93" y="60"/>
                      </a:cubicBezTo>
                      <a:cubicBezTo>
                        <a:pt x="92" y="65"/>
                        <a:pt x="95" y="65"/>
                        <a:pt x="94" y="67"/>
                      </a:cubicBezTo>
                      <a:cubicBezTo>
                        <a:pt x="93" y="69"/>
                        <a:pt x="88" y="71"/>
                        <a:pt x="86" y="70"/>
                      </a:cubicBezTo>
                      <a:cubicBezTo>
                        <a:pt x="85" y="69"/>
                        <a:pt x="81" y="69"/>
                        <a:pt x="79" y="69"/>
                      </a:cubicBezTo>
                      <a:cubicBezTo>
                        <a:pt x="76" y="69"/>
                        <a:pt x="74" y="65"/>
                        <a:pt x="73" y="69"/>
                      </a:cubicBezTo>
                      <a:cubicBezTo>
                        <a:pt x="73" y="73"/>
                        <a:pt x="67" y="83"/>
                        <a:pt x="68" y="85"/>
                      </a:cubicBezTo>
                      <a:cubicBezTo>
                        <a:pt x="70" y="86"/>
                        <a:pt x="71" y="88"/>
                        <a:pt x="68" y="88"/>
                      </a:cubicBezTo>
                      <a:cubicBezTo>
                        <a:pt x="66" y="88"/>
                        <a:pt x="64" y="88"/>
                        <a:pt x="63" y="87"/>
                      </a:cubicBezTo>
                      <a:cubicBezTo>
                        <a:pt x="61" y="86"/>
                        <a:pt x="58" y="88"/>
                        <a:pt x="55" y="88"/>
                      </a:cubicBezTo>
                      <a:cubicBezTo>
                        <a:pt x="54" y="88"/>
                        <a:pt x="49" y="91"/>
                        <a:pt x="50" y="91"/>
                      </a:cubicBezTo>
                      <a:cubicBezTo>
                        <a:pt x="52" y="92"/>
                        <a:pt x="52" y="97"/>
                        <a:pt x="52" y="98"/>
                      </a:cubicBezTo>
                      <a:cubicBezTo>
                        <a:pt x="52" y="100"/>
                        <a:pt x="56" y="106"/>
                        <a:pt x="55" y="107"/>
                      </a:cubicBezTo>
                      <a:cubicBezTo>
                        <a:pt x="55" y="109"/>
                        <a:pt x="51" y="111"/>
                        <a:pt x="51" y="113"/>
                      </a:cubicBezTo>
                      <a:cubicBezTo>
                        <a:pt x="51" y="116"/>
                        <a:pt x="52" y="118"/>
                        <a:pt x="51" y="118"/>
                      </a:cubicBezTo>
                      <a:cubicBezTo>
                        <a:pt x="49" y="119"/>
                        <a:pt x="45" y="121"/>
                        <a:pt x="43" y="122"/>
                      </a:cubicBezTo>
                      <a:cubicBezTo>
                        <a:pt x="42" y="123"/>
                        <a:pt x="38" y="123"/>
                        <a:pt x="37" y="126"/>
                      </a:cubicBezTo>
                      <a:cubicBezTo>
                        <a:pt x="36" y="128"/>
                        <a:pt x="35" y="130"/>
                        <a:pt x="31" y="129"/>
                      </a:cubicBezTo>
                      <a:cubicBezTo>
                        <a:pt x="28" y="129"/>
                        <a:pt x="26" y="128"/>
                        <a:pt x="24" y="131"/>
                      </a:cubicBezTo>
                      <a:cubicBezTo>
                        <a:pt x="21" y="134"/>
                        <a:pt x="20" y="133"/>
                        <a:pt x="19" y="134"/>
                      </a:cubicBezTo>
                      <a:cubicBezTo>
                        <a:pt x="17" y="136"/>
                        <a:pt x="15" y="133"/>
                        <a:pt x="14" y="133"/>
                      </a:cubicBezTo>
                      <a:cubicBezTo>
                        <a:pt x="12" y="132"/>
                        <a:pt x="10" y="134"/>
                        <a:pt x="9" y="134"/>
                      </a:cubicBezTo>
                      <a:cubicBezTo>
                        <a:pt x="7" y="134"/>
                        <a:pt x="6" y="137"/>
                        <a:pt x="4" y="137"/>
                      </a:cubicBezTo>
                      <a:cubicBezTo>
                        <a:pt x="3" y="138"/>
                        <a:pt x="1" y="137"/>
                        <a:pt x="1" y="139"/>
                      </a:cubicBezTo>
                      <a:cubicBezTo>
                        <a:pt x="1" y="141"/>
                        <a:pt x="1" y="142"/>
                        <a:pt x="0" y="143"/>
                      </a:cubicBezTo>
                      <a:cubicBezTo>
                        <a:pt x="0" y="143"/>
                        <a:pt x="0" y="143"/>
                        <a:pt x="0" y="143"/>
                      </a:cubicBezTo>
                      <a:cubicBezTo>
                        <a:pt x="1" y="150"/>
                        <a:pt x="1" y="150"/>
                        <a:pt x="1" y="150"/>
                      </a:cubicBezTo>
                      <a:cubicBezTo>
                        <a:pt x="1" y="150"/>
                        <a:pt x="8" y="153"/>
                        <a:pt x="9" y="155"/>
                      </a:cubicBezTo>
                      <a:cubicBezTo>
                        <a:pt x="9" y="158"/>
                        <a:pt x="10" y="166"/>
                        <a:pt x="10" y="166"/>
                      </a:cubicBezTo>
                      <a:cubicBezTo>
                        <a:pt x="10" y="166"/>
                        <a:pt x="10" y="166"/>
                        <a:pt x="10" y="166"/>
                      </a:cubicBezTo>
                      <a:cubicBezTo>
                        <a:pt x="13" y="169"/>
                        <a:pt x="17" y="171"/>
                        <a:pt x="17" y="172"/>
                      </a:cubicBezTo>
                      <a:cubicBezTo>
                        <a:pt x="17" y="173"/>
                        <a:pt x="18" y="177"/>
                        <a:pt x="22" y="178"/>
                      </a:cubicBezTo>
                      <a:cubicBezTo>
                        <a:pt x="24" y="179"/>
                        <a:pt x="26" y="181"/>
                        <a:pt x="28" y="182"/>
                      </a:cubicBezTo>
                      <a:cubicBezTo>
                        <a:pt x="28" y="181"/>
                        <a:pt x="28" y="181"/>
                        <a:pt x="28" y="181"/>
                      </a:cubicBezTo>
                      <a:cubicBezTo>
                        <a:pt x="31" y="181"/>
                        <a:pt x="31" y="181"/>
                        <a:pt x="31" y="181"/>
                      </a:cubicBezTo>
                      <a:cubicBezTo>
                        <a:pt x="31" y="181"/>
                        <a:pt x="32" y="181"/>
                        <a:pt x="33" y="182"/>
                      </a:cubicBezTo>
                      <a:cubicBezTo>
                        <a:pt x="34" y="180"/>
                        <a:pt x="39" y="177"/>
                        <a:pt x="42" y="177"/>
                      </a:cubicBezTo>
                      <a:cubicBezTo>
                        <a:pt x="45" y="177"/>
                        <a:pt x="52" y="183"/>
                        <a:pt x="52" y="185"/>
                      </a:cubicBezTo>
                      <a:cubicBezTo>
                        <a:pt x="51" y="187"/>
                        <a:pt x="46" y="194"/>
                        <a:pt x="43" y="194"/>
                      </a:cubicBezTo>
                      <a:cubicBezTo>
                        <a:pt x="43" y="194"/>
                        <a:pt x="41" y="194"/>
                        <a:pt x="40" y="195"/>
                      </a:cubicBezTo>
                      <a:cubicBezTo>
                        <a:pt x="40" y="196"/>
                        <a:pt x="40" y="197"/>
                        <a:pt x="40" y="197"/>
                      </a:cubicBezTo>
                      <a:cubicBezTo>
                        <a:pt x="40" y="199"/>
                        <a:pt x="42" y="202"/>
                        <a:pt x="44" y="204"/>
                      </a:cubicBezTo>
                      <a:cubicBezTo>
                        <a:pt x="46" y="207"/>
                        <a:pt x="41" y="209"/>
                        <a:pt x="39" y="207"/>
                      </a:cubicBezTo>
                      <a:cubicBezTo>
                        <a:pt x="37" y="205"/>
                        <a:pt x="36" y="209"/>
                        <a:pt x="37" y="211"/>
                      </a:cubicBezTo>
                      <a:cubicBezTo>
                        <a:pt x="39" y="212"/>
                        <a:pt x="38" y="217"/>
                        <a:pt x="40" y="217"/>
                      </a:cubicBezTo>
                      <a:cubicBezTo>
                        <a:pt x="42" y="217"/>
                        <a:pt x="44" y="222"/>
                        <a:pt x="47" y="222"/>
                      </a:cubicBezTo>
                      <a:cubicBezTo>
                        <a:pt x="49" y="222"/>
                        <a:pt x="52" y="226"/>
                        <a:pt x="52" y="226"/>
                      </a:cubicBezTo>
                      <a:cubicBezTo>
                        <a:pt x="52" y="226"/>
                        <a:pt x="55" y="228"/>
                        <a:pt x="55" y="229"/>
                      </a:cubicBezTo>
                      <a:cubicBezTo>
                        <a:pt x="55" y="230"/>
                        <a:pt x="55" y="230"/>
                        <a:pt x="55" y="230"/>
                      </a:cubicBezTo>
                      <a:cubicBezTo>
                        <a:pt x="58" y="230"/>
                        <a:pt x="60" y="230"/>
                        <a:pt x="60" y="228"/>
                      </a:cubicBezTo>
                      <a:cubicBezTo>
                        <a:pt x="60" y="227"/>
                        <a:pt x="64" y="227"/>
                        <a:pt x="66" y="230"/>
                      </a:cubicBezTo>
                      <a:cubicBezTo>
                        <a:pt x="69" y="232"/>
                        <a:pt x="79" y="239"/>
                        <a:pt x="83" y="242"/>
                      </a:cubicBezTo>
                      <a:cubicBezTo>
                        <a:pt x="86" y="245"/>
                        <a:pt x="95" y="248"/>
                        <a:pt x="98" y="248"/>
                      </a:cubicBezTo>
                      <a:cubicBezTo>
                        <a:pt x="101" y="248"/>
                        <a:pt x="104" y="250"/>
                        <a:pt x="109" y="250"/>
                      </a:cubicBezTo>
                      <a:cubicBezTo>
                        <a:pt x="109" y="250"/>
                        <a:pt x="110" y="250"/>
                        <a:pt x="111" y="250"/>
                      </a:cubicBezTo>
                      <a:cubicBezTo>
                        <a:pt x="111" y="249"/>
                        <a:pt x="112" y="249"/>
                        <a:pt x="113" y="248"/>
                      </a:cubicBezTo>
                      <a:cubicBezTo>
                        <a:pt x="115" y="246"/>
                        <a:pt x="116" y="249"/>
                        <a:pt x="116" y="252"/>
                      </a:cubicBezTo>
                      <a:cubicBezTo>
                        <a:pt x="115" y="253"/>
                        <a:pt x="116" y="255"/>
                        <a:pt x="116" y="256"/>
                      </a:cubicBezTo>
                      <a:cubicBezTo>
                        <a:pt x="117" y="255"/>
                        <a:pt x="118" y="253"/>
                        <a:pt x="118" y="252"/>
                      </a:cubicBezTo>
                      <a:cubicBezTo>
                        <a:pt x="120" y="248"/>
                        <a:pt x="122" y="248"/>
                        <a:pt x="124" y="247"/>
                      </a:cubicBezTo>
                      <a:cubicBezTo>
                        <a:pt x="125" y="246"/>
                        <a:pt x="127" y="246"/>
                        <a:pt x="130" y="248"/>
                      </a:cubicBezTo>
                      <a:cubicBezTo>
                        <a:pt x="134" y="250"/>
                        <a:pt x="135" y="246"/>
                        <a:pt x="140" y="251"/>
                      </a:cubicBezTo>
                      <a:cubicBezTo>
                        <a:pt x="141" y="250"/>
                        <a:pt x="142" y="250"/>
                        <a:pt x="142" y="250"/>
                      </a:cubicBezTo>
                      <a:cubicBezTo>
                        <a:pt x="143" y="250"/>
                        <a:pt x="145" y="248"/>
                        <a:pt x="146" y="246"/>
                      </a:cubicBezTo>
                      <a:cubicBezTo>
                        <a:pt x="148" y="245"/>
                        <a:pt x="148" y="243"/>
                        <a:pt x="149" y="243"/>
                      </a:cubicBezTo>
                      <a:cubicBezTo>
                        <a:pt x="151" y="243"/>
                        <a:pt x="152" y="241"/>
                        <a:pt x="156" y="239"/>
                      </a:cubicBezTo>
                      <a:cubicBezTo>
                        <a:pt x="161" y="236"/>
                        <a:pt x="164" y="240"/>
                        <a:pt x="166" y="238"/>
                      </a:cubicBezTo>
                      <a:cubicBezTo>
                        <a:pt x="168" y="237"/>
                        <a:pt x="170" y="236"/>
                        <a:pt x="170" y="238"/>
                      </a:cubicBezTo>
                      <a:cubicBezTo>
                        <a:pt x="170" y="239"/>
                        <a:pt x="173" y="241"/>
                        <a:pt x="173" y="243"/>
                      </a:cubicBezTo>
                      <a:cubicBezTo>
                        <a:pt x="174" y="245"/>
                        <a:pt x="177" y="246"/>
                        <a:pt x="178" y="246"/>
                      </a:cubicBezTo>
                      <a:cubicBezTo>
                        <a:pt x="178" y="245"/>
                        <a:pt x="179" y="245"/>
                        <a:pt x="179" y="245"/>
                      </a:cubicBezTo>
                      <a:cubicBezTo>
                        <a:pt x="181" y="243"/>
                        <a:pt x="185" y="245"/>
                        <a:pt x="185" y="247"/>
                      </a:cubicBezTo>
                      <a:cubicBezTo>
                        <a:pt x="185" y="249"/>
                        <a:pt x="185" y="252"/>
                        <a:pt x="186" y="252"/>
                      </a:cubicBezTo>
                      <a:cubicBezTo>
                        <a:pt x="188" y="252"/>
                        <a:pt x="190" y="252"/>
                        <a:pt x="190" y="256"/>
                      </a:cubicBezTo>
                      <a:cubicBezTo>
                        <a:pt x="190" y="259"/>
                        <a:pt x="191" y="264"/>
                        <a:pt x="188" y="267"/>
                      </a:cubicBezTo>
                      <a:cubicBezTo>
                        <a:pt x="184" y="271"/>
                        <a:pt x="180" y="277"/>
                        <a:pt x="181" y="279"/>
                      </a:cubicBezTo>
                      <a:cubicBezTo>
                        <a:pt x="182" y="280"/>
                        <a:pt x="180" y="284"/>
                        <a:pt x="182" y="282"/>
                      </a:cubicBezTo>
                      <a:cubicBezTo>
                        <a:pt x="185" y="281"/>
                        <a:pt x="191" y="282"/>
                        <a:pt x="190" y="284"/>
                      </a:cubicBezTo>
                      <a:cubicBezTo>
                        <a:pt x="189" y="285"/>
                        <a:pt x="190" y="290"/>
                        <a:pt x="192" y="290"/>
                      </a:cubicBezTo>
                      <a:cubicBezTo>
                        <a:pt x="195" y="291"/>
                        <a:pt x="196" y="292"/>
                        <a:pt x="195" y="294"/>
                      </a:cubicBezTo>
                      <a:cubicBezTo>
                        <a:pt x="195" y="296"/>
                        <a:pt x="193" y="299"/>
                        <a:pt x="195" y="299"/>
                      </a:cubicBezTo>
                      <a:cubicBezTo>
                        <a:pt x="197" y="299"/>
                        <a:pt x="200" y="299"/>
                        <a:pt x="200" y="302"/>
                      </a:cubicBezTo>
                      <a:cubicBezTo>
                        <a:pt x="199" y="304"/>
                        <a:pt x="201" y="306"/>
                        <a:pt x="205" y="304"/>
                      </a:cubicBezTo>
                      <a:cubicBezTo>
                        <a:pt x="207" y="303"/>
                        <a:pt x="208" y="303"/>
                        <a:pt x="208" y="303"/>
                      </a:cubicBezTo>
                      <a:cubicBezTo>
                        <a:pt x="210" y="303"/>
                        <a:pt x="210" y="307"/>
                        <a:pt x="212" y="307"/>
                      </a:cubicBezTo>
                      <a:cubicBezTo>
                        <a:pt x="215" y="308"/>
                        <a:pt x="214" y="302"/>
                        <a:pt x="213" y="301"/>
                      </a:cubicBezTo>
                      <a:cubicBezTo>
                        <a:pt x="212" y="300"/>
                        <a:pt x="213" y="296"/>
                        <a:pt x="214" y="297"/>
                      </a:cubicBezTo>
                      <a:cubicBezTo>
                        <a:pt x="215" y="298"/>
                        <a:pt x="218" y="297"/>
                        <a:pt x="219" y="295"/>
                      </a:cubicBezTo>
                      <a:cubicBezTo>
                        <a:pt x="221" y="293"/>
                        <a:pt x="224" y="296"/>
                        <a:pt x="225" y="294"/>
                      </a:cubicBezTo>
                      <a:cubicBezTo>
                        <a:pt x="227" y="292"/>
                        <a:pt x="229" y="296"/>
                        <a:pt x="232" y="294"/>
                      </a:cubicBezTo>
                      <a:cubicBezTo>
                        <a:pt x="235" y="293"/>
                        <a:pt x="236" y="296"/>
                        <a:pt x="238" y="293"/>
                      </a:cubicBezTo>
                      <a:cubicBezTo>
                        <a:pt x="239" y="291"/>
                        <a:pt x="243" y="288"/>
                        <a:pt x="244" y="289"/>
                      </a:cubicBezTo>
                      <a:cubicBezTo>
                        <a:pt x="245" y="290"/>
                        <a:pt x="246" y="292"/>
                        <a:pt x="251" y="293"/>
                      </a:cubicBezTo>
                      <a:cubicBezTo>
                        <a:pt x="256" y="293"/>
                        <a:pt x="253" y="296"/>
                        <a:pt x="253" y="297"/>
                      </a:cubicBezTo>
                      <a:cubicBezTo>
                        <a:pt x="253" y="299"/>
                        <a:pt x="259" y="303"/>
                        <a:pt x="261" y="303"/>
                      </a:cubicBezTo>
                      <a:cubicBezTo>
                        <a:pt x="261" y="304"/>
                        <a:pt x="262" y="304"/>
                        <a:pt x="263" y="305"/>
                      </a:cubicBezTo>
                      <a:cubicBezTo>
                        <a:pt x="264" y="304"/>
                        <a:pt x="267" y="305"/>
                        <a:pt x="267" y="303"/>
                      </a:cubicBezTo>
                      <a:cubicBezTo>
                        <a:pt x="268" y="301"/>
                        <a:pt x="271" y="302"/>
                        <a:pt x="272" y="304"/>
                      </a:cubicBezTo>
                      <a:cubicBezTo>
                        <a:pt x="273" y="305"/>
                        <a:pt x="274" y="306"/>
                        <a:pt x="276" y="304"/>
                      </a:cubicBezTo>
                      <a:cubicBezTo>
                        <a:pt x="279" y="302"/>
                        <a:pt x="280" y="306"/>
                        <a:pt x="279" y="307"/>
                      </a:cubicBezTo>
                      <a:cubicBezTo>
                        <a:pt x="277" y="308"/>
                        <a:pt x="278" y="312"/>
                        <a:pt x="280" y="314"/>
                      </a:cubicBezTo>
                      <a:cubicBezTo>
                        <a:pt x="283" y="316"/>
                        <a:pt x="283" y="313"/>
                        <a:pt x="283" y="311"/>
                      </a:cubicBezTo>
                      <a:cubicBezTo>
                        <a:pt x="282" y="308"/>
                        <a:pt x="286" y="306"/>
                        <a:pt x="294" y="304"/>
                      </a:cubicBezTo>
                      <a:cubicBezTo>
                        <a:pt x="301" y="301"/>
                        <a:pt x="309" y="296"/>
                        <a:pt x="310" y="295"/>
                      </a:cubicBezTo>
                      <a:cubicBezTo>
                        <a:pt x="310" y="293"/>
                        <a:pt x="315" y="297"/>
                        <a:pt x="317" y="295"/>
                      </a:cubicBezTo>
                      <a:cubicBezTo>
                        <a:pt x="320" y="293"/>
                        <a:pt x="329" y="293"/>
                        <a:pt x="331" y="293"/>
                      </a:cubicBezTo>
                      <a:cubicBezTo>
                        <a:pt x="334" y="293"/>
                        <a:pt x="334" y="290"/>
                        <a:pt x="336" y="288"/>
                      </a:cubicBezTo>
                      <a:cubicBezTo>
                        <a:pt x="339" y="286"/>
                        <a:pt x="338" y="285"/>
                        <a:pt x="341" y="285"/>
                      </a:cubicBezTo>
                      <a:cubicBezTo>
                        <a:pt x="344" y="284"/>
                        <a:pt x="345" y="281"/>
                        <a:pt x="345" y="280"/>
                      </a:cubicBezTo>
                      <a:cubicBezTo>
                        <a:pt x="345" y="278"/>
                        <a:pt x="351" y="278"/>
                        <a:pt x="351" y="276"/>
                      </a:cubicBezTo>
                      <a:cubicBezTo>
                        <a:pt x="351" y="275"/>
                        <a:pt x="355" y="274"/>
                        <a:pt x="355" y="272"/>
                      </a:cubicBezTo>
                      <a:cubicBezTo>
                        <a:pt x="355" y="271"/>
                        <a:pt x="357" y="271"/>
                        <a:pt x="358" y="269"/>
                      </a:cubicBezTo>
                      <a:cubicBezTo>
                        <a:pt x="359" y="268"/>
                        <a:pt x="358" y="264"/>
                        <a:pt x="359" y="263"/>
                      </a:cubicBezTo>
                      <a:cubicBezTo>
                        <a:pt x="361" y="263"/>
                        <a:pt x="359" y="260"/>
                        <a:pt x="358" y="259"/>
                      </a:cubicBezTo>
                      <a:cubicBezTo>
                        <a:pt x="358" y="258"/>
                        <a:pt x="362" y="258"/>
                        <a:pt x="364" y="257"/>
                      </a:cubicBezTo>
                      <a:cubicBezTo>
                        <a:pt x="366" y="255"/>
                        <a:pt x="367" y="253"/>
                        <a:pt x="368" y="251"/>
                      </a:cubicBezTo>
                      <a:cubicBezTo>
                        <a:pt x="368" y="249"/>
                        <a:pt x="371" y="247"/>
                        <a:pt x="373" y="246"/>
                      </a:cubicBezTo>
                      <a:cubicBezTo>
                        <a:pt x="374" y="246"/>
                        <a:pt x="375" y="242"/>
                        <a:pt x="375" y="240"/>
                      </a:cubicBezTo>
                      <a:cubicBezTo>
                        <a:pt x="374" y="237"/>
                        <a:pt x="377" y="238"/>
                        <a:pt x="376" y="237"/>
                      </a:cubicBezTo>
                      <a:cubicBezTo>
                        <a:pt x="374" y="236"/>
                        <a:pt x="376" y="233"/>
                        <a:pt x="379" y="232"/>
                      </a:cubicBezTo>
                      <a:cubicBezTo>
                        <a:pt x="382" y="231"/>
                        <a:pt x="378" y="230"/>
                        <a:pt x="376" y="231"/>
                      </a:cubicBezTo>
                      <a:cubicBezTo>
                        <a:pt x="374" y="232"/>
                        <a:pt x="373" y="227"/>
                        <a:pt x="371" y="229"/>
                      </a:cubicBezTo>
                      <a:cubicBezTo>
                        <a:pt x="370" y="231"/>
                        <a:pt x="366" y="228"/>
                        <a:pt x="369" y="227"/>
                      </a:cubicBezTo>
                      <a:cubicBezTo>
                        <a:pt x="371" y="227"/>
                        <a:pt x="375" y="224"/>
                        <a:pt x="377" y="223"/>
                      </a:cubicBezTo>
                      <a:cubicBezTo>
                        <a:pt x="379" y="223"/>
                        <a:pt x="374" y="219"/>
                        <a:pt x="372" y="219"/>
                      </a:cubicBezTo>
                      <a:cubicBezTo>
                        <a:pt x="370" y="219"/>
                        <a:pt x="367" y="214"/>
                        <a:pt x="365" y="214"/>
                      </a:cubicBezTo>
                      <a:cubicBezTo>
                        <a:pt x="363" y="214"/>
                        <a:pt x="367" y="212"/>
                        <a:pt x="369" y="213"/>
                      </a:cubicBezTo>
                      <a:cubicBezTo>
                        <a:pt x="372" y="215"/>
                        <a:pt x="375" y="216"/>
                        <a:pt x="377" y="215"/>
                      </a:cubicBezTo>
                      <a:cubicBezTo>
                        <a:pt x="378" y="214"/>
                        <a:pt x="372" y="209"/>
                        <a:pt x="370" y="207"/>
                      </a:cubicBezTo>
                      <a:cubicBezTo>
                        <a:pt x="368" y="206"/>
                        <a:pt x="370" y="203"/>
                        <a:pt x="368" y="202"/>
                      </a:cubicBezTo>
                      <a:cubicBezTo>
                        <a:pt x="367" y="201"/>
                        <a:pt x="364" y="195"/>
                        <a:pt x="363" y="193"/>
                      </a:cubicBezTo>
                      <a:cubicBezTo>
                        <a:pt x="362" y="190"/>
                        <a:pt x="357" y="189"/>
                        <a:pt x="356" y="188"/>
                      </a:cubicBezTo>
                      <a:cubicBezTo>
                        <a:pt x="355" y="186"/>
                        <a:pt x="356" y="182"/>
                        <a:pt x="360" y="180"/>
                      </a:cubicBezTo>
                      <a:cubicBezTo>
                        <a:pt x="364" y="179"/>
                        <a:pt x="362" y="176"/>
                        <a:pt x="364" y="176"/>
                      </a:cubicBezTo>
                      <a:cubicBezTo>
                        <a:pt x="365" y="176"/>
                        <a:pt x="367" y="176"/>
                        <a:pt x="368" y="173"/>
                      </a:cubicBezTo>
                      <a:cubicBezTo>
                        <a:pt x="369" y="170"/>
                        <a:pt x="372" y="172"/>
                        <a:pt x="373" y="170"/>
                      </a:cubicBezTo>
                      <a:cubicBezTo>
                        <a:pt x="374" y="169"/>
                        <a:pt x="380" y="169"/>
                        <a:pt x="382" y="168"/>
                      </a:cubicBezTo>
                      <a:cubicBezTo>
                        <a:pt x="384" y="166"/>
                        <a:pt x="380" y="162"/>
                        <a:pt x="378" y="162"/>
                      </a:cubicBezTo>
                      <a:cubicBezTo>
                        <a:pt x="375" y="163"/>
                        <a:pt x="372" y="162"/>
                        <a:pt x="370" y="159"/>
                      </a:cubicBezTo>
                      <a:cubicBezTo>
                        <a:pt x="368" y="156"/>
                        <a:pt x="363" y="164"/>
                        <a:pt x="359" y="166"/>
                      </a:cubicBezTo>
                      <a:cubicBezTo>
                        <a:pt x="355" y="168"/>
                        <a:pt x="353" y="163"/>
                        <a:pt x="354" y="160"/>
                      </a:cubicBezTo>
                      <a:cubicBezTo>
                        <a:pt x="355" y="157"/>
                        <a:pt x="351" y="157"/>
                        <a:pt x="346" y="157"/>
                      </a:cubicBezTo>
                      <a:cubicBezTo>
                        <a:pt x="340" y="157"/>
                        <a:pt x="342" y="147"/>
                        <a:pt x="346" y="147"/>
                      </a:cubicBezTo>
                      <a:cubicBezTo>
                        <a:pt x="349" y="147"/>
                        <a:pt x="354" y="150"/>
                        <a:pt x="356" y="144"/>
                      </a:cubicBezTo>
                      <a:cubicBezTo>
                        <a:pt x="358" y="138"/>
                        <a:pt x="360" y="143"/>
                        <a:pt x="365" y="137"/>
                      </a:cubicBezTo>
                      <a:cubicBezTo>
                        <a:pt x="369" y="132"/>
                        <a:pt x="375" y="129"/>
                        <a:pt x="379" y="132"/>
                      </a:cubicBezTo>
                      <a:cubicBezTo>
                        <a:pt x="383" y="135"/>
                        <a:pt x="374" y="140"/>
                        <a:pt x="373" y="143"/>
                      </a:cubicBezTo>
                      <a:cubicBezTo>
                        <a:pt x="372" y="146"/>
                        <a:pt x="374" y="147"/>
                        <a:pt x="372" y="149"/>
                      </a:cubicBezTo>
                      <a:cubicBezTo>
                        <a:pt x="370" y="152"/>
                        <a:pt x="373" y="152"/>
                        <a:pt x="378" y="149"/>
                      </a:cubicBezTo>
                      <a:cubicBezTo>
                        <a:pt x="382" y="146"/>
                        <a:pt x="388" y="143"/>
                        <a:pt x="392" y="141"/>
                      </a:cubicBezTo>
                      <a:cubicBezTo>
                        <a:pt x="394" y="140"/>
                        <a:pt x="395" y="140"/>
                        <a:pt x="396" y="140"/>
                      </a:cubicBezTo>
                      <a:cubicBezTo>
                        <a:pt x="397" y="139"/>
                        <a:pt x="398" y="137"/>
                        <a:pt x="399" y="137"/>
                      </a:cubicBezTo>
                      <a:cubicBezTo>
                        <a:pt x="402" y="135"/>
                        <a:pt x="412" y="131"/>
                        <a:pt x="414" y="128"/>
                      </a:cubicBezTo>
                      <a:cubicBezTo>
                        <a:pt x="415" y="126"/>
                        <a:pt x="417" y="123"/>
                        <a:pt x="419" y="123"/>
                      </a:cubicBezTo>
                      <a:cubicBezTo>
                        <a:pt x="421" y="123"/>
                        <a:pt x="421" y="125"/>
                        <a:pt x="424" y="125"/>
                      </a:cubicBezTo>
                      <a:cubicBezTo>
                        <a:pt x="427" y="125"/>
                        <a:pt x="431" y="126"/>
                        <a:pt x="429" y="123"/>
                      </a:cubicBezTo>
                      <a:cubicBezTo>
                        <a:pt x="428" y="121"/>
                        <a:pt x="429" y="121"/>
                        <a:pt x="432" y="120"/>
                      </a:cubicBezTo>
                      <a:cubicBezTo>
                        <a:pt x="436" y="120"/>
                        <a:pt x="435" y="116"/>
                        <a:pt x="438" y="116"/>
                      </a:cubicBezTo>
                      <a:cubicBezTo>
                        <a:pt x="441" y="116"/>
                        <a:pt x="440" y="110"/>
                        <a:pt x="443" y="110"/>
                      </a:cubicBezTo>
                      <a:cubicBezTo>
                        <a:pt x="445" y="110"/>
                        <a:pt x="446" y="113"/>
                        <a:pt x="449" y="112"/>
                      </a:cubicBezTo>
                      <a:cubicBezTo>
                        <a:pt x="450" y="112"/>
                        <a:pt x="451" y="112"/>
                        <a:pt x="452" y="113"/>
                      </a:cubicBezTo>
                      <a:cubicBezTo>
                        <a:pt x="452" y="112"/>
                        <a:pt x="453" y="112"/>
                        <a:pt x="453" y="111"/>
                      </a:cubicBezTo>
                      <a:cubicBezTo>
                        <a:pt x="453" y="108"/>
                        <a:pt x="454" y="105"/>
                        <a:pt x="453" y="104"/>
                      </a:cubicBezTo>
                      <a:cubicBezTo>
                        <a:pt x="452" y="101"/>
                        <a:pt x="453" y="99"/>
                        <a:pt x="452" y="97"/>
                      </a:cubicBezTo>
                      <a:cubicBezTo>
                        <a:pt x="452" y="95"/>
                        <a:pt x="452" y="91"/>
                        <a:pt x="454" y="91"/>
                      </a:cubicBezTo>
                      <a:cubicBezTo>
                        <a:pt x="456" y="91"/>
                        <a:pt x="458" y="86"/>
                        <a:pt x="460" y="88"/>
                      </a:cubicBezTo>
                      <a:cubicBezTo>
                        <a:pt x="463" y="90"/>
                        <a:pt x="467" y="90"/>
                        <a:pt x="467" y="88"/>
                      </a:cubicBezTo>
                      <a:cubicBezTo>
                        <a:pt x="467" y="86"/>
                        <a:pt x="471" y="86"/>
                        <a:pt x="471" y="83"/>
                      </a:cubicBezTo>
                      <a:cubicBezTo>
                        <a:pt x="472" y="80"/>
                        <a:pt x="475" y="79"/>
                        <a:pt x="476" y="77"/>
                      </a:cubicBezTo>
                      <a:cubicBezTo>
                        <a:pt x="477" y="74"/>
                        <a:pt x="478" y="68"/>
                        <a:pt x="480" y="66"/>
                      </a:cubicBezTo>
                      <a:cubicBezTo>
                        <a:pt x="483" y="65"/>
                        <a:pt x="480" y="64"/>
                        <a:pt x="480" y="60"/>
                      </a:cubicBezTo>
                      <a:close/>
                      <a:moveTo>
                        <a:pt x="364" y="285"/>
                      </a:moveTo>
                      <a:cubicBezTo>
                        <a:pt x="361" y="295"/>
                        <a:pt x="367" y="299"/>
                        <a:pt x="368" y="299"/>
                      </a:cubicBezTo>
                      <a:cubicBezTo>
                        <a:pt x="370" y="297"/>
                        <a:pt x="380" y="277"/>
                        <a:pt x="378" y="274"/>
                      </a:cubicBezTo>
                      <a:cubicBezTo>
                        <a:pt x="376" y="271"/>
                        <a:pt x="366" y="276"/>
                        <a:pt x="364" y="285"/>
                      </a:cubicBezTo>
                      <a:close/>
                      <a:moveTo>
                        <a:pt x="279" y="317"/>
                      </a:moveTo>
                      <a:cubicBezTo>
                        <a:pt x="276" y="317"/>
                        <a:pt x="268" y="322"/>
                        <a:pt x="271" y="328"/>
                      </a:cubicBezTo>
                      <a:cubicBezTo>
                        <a:pt x="274" y="335"/>
                        <a:pt x="284" y="330"/>
                        <a:pt x="284" y="328"/>
                      </a:cubicBezTo>
                      <a:cubicBezTo>
                        <a:pt x="285" y="325"/>
                        <a:pt x="289" y="320"/>
                        <a:pt x="289" y="318"/>
                      </a:cubicBezTo>
                      <a:cubicBezTo>
                        <a:pt x="288" y="316"/>
                        <a:pt x="282" y="317"/>
                        <a:pt x="279" y="31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2" name="Freeform 135">
                  <a:extLst>
                    <a:ext uri="{FF2B5EF4-FFF2-40B4-BE49-F238E27FC236}">
                      <a16:creationId xmlns:a16="http://schemas.microsoft.com/office/drawing/2014/main" id="{5A08328D-6874-4F2B-BA1A-AAFC7BC21DA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4069278" y="-8347737"/>
                  <a:ext cx="632427" cy="402158"/>
                </a:xfrm>
                <a:custGeom>
                  <a:avLst/>
                  <a:gdLst>
                    <a:gd name="T0" fmla="*/ 73 w 102"/>
                    <a:gd name="T1" fmla="*/ 60 h 65"/>
                    <a:gd name="T2" fmla="*/ 68 w 102"/>
                    <a:gd name="T3" fmla="*/ 54 h 65"/>
                    <a:gd name="T4" fmla="*/ 60 w 102"/>
                    <a:gd name="T5" fmla="*/ 51 h 65"/>
                    <a:gd name="T6" fmla="*/ 54 w 102"/>
                    <a:gd name="T7" fmla="*/ 40 h 65"/>
                    <a:gd name="T8" fmla="*/ 52 w 102"/>
                    <a:gd name="T9" fmla="*/ 33 h 65"/>
                    <a:gd name="T10" fmla="*/ 54 w 102"/>
                    <a:gd name="T11" fmla="*/ 28 h 65"/>
                    <a:gd name="T12" fmla="*/ 38 w 102"/>
                    <a:gd name="T13" fmla="*/ 19 h 65"/>
                    <a:gd name="T14" fmla="*/ 6 w 102"/>
                    <a:gd name="T15" fmla="*/ 2 h 65"/>
                    <a:gd name="T16" fmla="*/ 0 w 102"/>
                    <a:gd name="T17" fmla="*/ 0 h 65"/>
                    <a:gd name="T18" fmla="*/ 0 w 102"/>
                    <a:gd name="T19" fmla="*/ 51 h 65"/>
                    <a:gd name="T20" fmla="*/ 9 w 102"/>
                    <a:gd name="T21" fmla="*/ 54 h 65"/>
                    <a:gd name="T22" fmla="*/ 18 w 102"/>
                    <a:gd name="T23" fmla="*/ 48 h 65"/>
                    <a:gd name="T24" fmla="*/ 23 w 102"/>
                    <a:gd name="T25" fmla="*/ 42 h 65"/>
                    <a:gd name="T26" fmla="*/ 40 w 102"/>
                    <a:gd name="T27" fmla="*/ 46 h 65"/>
                    <a:gd name="T28" fmla="*/ 58 w 102"/>
                    <a:gd name="T29" fmla="*/ 62 h 65"/>
                    <a:gd name="T30" fmla="*/ 75 w 102"/>
                    <a:gd name="T31" fmla="*/ 65 h 65"/>
                    <a:gd name="T32" fmla="*/ 73 w 102"/>
                    <a:gd name="T33" fmla="*/ 60 h 65"/>
                    <a:gd name="T34" fmla="*/ 87 w 102"/>
                    <a:gd name="T35" fmla="*/ 18 h 65"/>
                    <a:gd name="T36" fmla="*/ 77 w 102"/>
                    <a:gd name="T37" fmla="*/ 23 h 65"/>
                    <a:gd name="T38" fmla="*/ 60 w 102"/>
                    <a:gd name="T39" fmla="*/ 24 h 65"/>
                    <a:gd name="T40" fmla="*/ 73 w 102"/>
                    <a:gd name="T41" fmla="*/ 30 h 65"/>
                    <a:gd name="T42" fmla="*/ 90 w 102"/>
                    <a:gd name="T43" fmla="*/ 22 h 65"/>
                    <a:gd name="T44" fmla="*/ 92 w 102"/>
                    <a:gd name="T45" fmla="*/ 15 h 65"/>
                    <a:gd name="T46" fmla="*/ 87 w 102"/>
                    <a:gd name="T47" fmla="*/ 18 h 65"/>
                    <a:gd name="T48" fmla="*/ 95 w 102"/>
                    <a:gd name="T49" fmla="*/ 9 h 65"/>
                    <a:gd name="T50" fmla="*/ 93 w 102"/>
                    <a:gd name="T51" fmla="*/ 9 h 65"/>
                    <a:gd name="T52" fmla="*/ 98 w 102"/>
                    <a:gd name="T53" fmla="*/ 17 h 65"/>
                    <a:gd name="T54" fmla="*/ 95 w 102"/>
                    <a:gd name="T55" fmla="*/ 9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02" h="65">
                      <a:moveTo>
                        <a:pt x="73" y="60"/>
                      </a:moveTo>
                      <a:cubicBezTo>
                        <a:pt x="72" y="59"/>
                        <a:pt x="67" y="56"/>
                        <a:pt x="68" y="54"/>
                      </a:cubicBezTo>
                      <a:cubicBezTo>
                        <a:pt x="68" y="53"/>
                        <a:pt x="63" y="53"/>
                        <a:pt x="60" y="51"/>
                      </a:cubicBezTo>
                      <a:cubicBezTo>
                        <a:pt x="56" y="49"/>
                        <a:pt x="57" y="42"/>
                        <a:pt x="54" y="40"/>
                      </a:cubicBezTo>
                      <a:cubicBezTo>
                        <a:pt x="50" y="38"/>
                        <a:pt x="48" y="33"/>
                        <a:pt x="52" y="33"/>
                      </a:cubicBezTo>
                      <a:cubicBezTo>
                        <a:pt x="56" y="34"/>
                        <a:pt x="57" y="31"/>
                        <a:pt x="54" y="28"/>
                      </a:cubicBezTo>
                      <a:cubicBezTo>
                        <a:pt x="50" y="25"/>
                        <a:pt x="38" y="24"/>
                        <a:pt x="38" y="19"/>
                      </a:cubicBezTo>
                      <a:cubicBezTo>
                        <a:pt x="37" y="15"/>
                        <a:pt x="16" y="4"/>
                        <a:pt x="6" y="2"/>
                      </a:cubicBezTo>
                      <a:cubicBezTo>
                        <a:pt x="4" y="2"/>
                        <a:pt x="2" y="1"/>
                        <a:pt x="0" y="0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2" y="52"/>
                        <a:pt x="5" y="54"/>
                        <a:pt x="9" y="54"/>
                      </a:cubicBezTo>
                      <a:cubicBezTo>
                        <a:pt x="19" y="54"/>
                        <a:pt x="17" y="48"/>
                        <a:pt x="18" y="48"/>
                      </a:cubicBezTo>
                      <a:cubicBezTo>
                        <a:pt x="20" y="48"/>
                        <a:pt x="21" y="45"/>
                        <a:pt x="23" y="42"/>
                      </a:cubicBezTo>
                      <a:cubicBezTo>
                        <a:pt x="25" y="40"/>
                        <a:pt x="35" y="42"/>
                        <a:pt x="40" y="46"/>
                      </a:cubicBezTo>
                      <a:cubicBezTo>
                        <a:pt x="46" y="50"/>
                        <a:pt x="52" y="63"/>
                        <a:pt x="58" y="62"/>
                      </a:cubicBezTo>
                      <a:cubicBezTo>
                        <a:pt x="63" y="61"/>
                        <a:pt x="69" y="65"/>
                        <a:pt x="75" y="65"/>
                      </a:cubicBezTo>
                      <a:cubicBezTo>
                        <a:pt x="80" y="65"/>
                        <a:pt x="75" y="61"/>
                        <a:pt x="73" y="60"/>
                      </a:cubicBezTo>
                      <a:close/>
                      <a:moveTo>
                        <a:pt x="87" y="18"/>
                      </a:moveTo>
                      <a:cubicBezTo>
                        <a:pt x="87" y="20"/>
                        <a:pt x="83" y="21"/>
                        <a:pt x="77" y="23"/>
                      </a:cubicBezTo>
                      <a:cubicBezTo>
                        <a:pt x="71" y="26"/>
                        <a:pt x="60" y="21"/>
                        <a:pt x="60" y="24"/>
                      </a:cubicBezTo>
                      <a:cubicBezTo>
                        <a:pt x="60" y="26"/>
                        <a:pt x="67" y="30"/>
                        <a:pt x="73" y="30"/>
                      </a:cubicBezTo>
                      <a:cubicBezTo>
                        <a:pt x="80" y="30"/>
                        <a:pt x="90" y="24"/>
                        <a:pt x="90" y="22"/>
                      </a:cubicBezTo>
                      <a:cubicBezTo>
                        <a:pt x="90" y="20"/>
                        <a:pt x="94" y="16"/>
                        <a:pt x="92" y="15"/>
                      </a:cubicBezTo>
                      <a:cubicBezTo>
                        <a:pt x="91" y="13"/>
                        <a:pt x="87" y="15"/>
                        <a:pt x="87" y="18"/>
                      </a:cubicBezTo>
                      <a:close/>
                      <a:moveTo>
                        <a:pt x="95" y="9"/>
                      </a:moveTo>
                      <a:cubicBezTo>
                        <a:pt x="91" y="6"/>
                        <a:pt x="88" y="5"/>
                        <a:pt x="93" y="9"/>
                      </a:cubicBezTo>
                      <a:cubicBezTo>
                        <a:pt x="97" y="14"/>
                        <a:pt x="95" y="17"/>
                        <a:pt x="98" y="17"/>
                      </a:cubicBezTo>
                      <a:cubicBezTo>
                        <a:pt x="102" y="15"/>
                        <a:pt x="99" y="11"/>
                        <a:pt x="95" y="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3" name="Freeform 136">
                  <a:extLst>
                    <a:ext uri="{FF2B5EF4-FFF2-40B4-BE49-F238E27FC236}">
                      <a16:creationId xmlns:a16="http://schemas.microsoft.com/office/drawing/2014/main" id="{175A93FF-8951-4029-BE48-A5EF216F3F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72491" y="-8970433"/>
                  <a:ext cx="110269" cy="204323"/>
                </a:xfrm>
                <a:custGeom>
                  <a:avLst/>
                  <a:gdLst>
                    <a:gd name="T0" fmla="*/ 4 w 18"/>
                    <a:gd name="T1" fmla="*/ 0 h 33"/>
                    <a:gd name="T2" fmla="*/ 2 w 18"/>
                    <a:gd name="T3" fmla="*/ 8 h 33"/>
                    <a:gd name="T4" fmla="*/ 1 w 18"/>
                    <a:gd name="T5" fmla="*/ 18 h 33"/>
                    <a:gd name="T6" fmla="*/ 5 w 18"/>
                    <a:gd name="T7" fmla="*/ 30 h 33"/>
                    <a:gd name="T8" fmla="*/ 17 w 18"/>
                    <a:gd name="T9" fmla="*/ 19 h 33"/>
                    <a:gd name="T10" fmla="*/ 4 w 18"/>
                    <a:gd name="T11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8" h="33">
                      <a:moveTo>
                        <a:pt x="4" y="0"/>
                      </a:moveTo>
                      <a:cubicBezTo>
                        <a:pt x="2" y="0"/>
                        <a:pt x="3" y="4"/>
                        <a:pt x="2" y="8"/>
                      </a:cubicBezTo>
                      <a:cubicBezTo>
                        <a:pt x="0" y="11"/>
                        <a:pt x="1" y="14"/>
                        <a:pt x="1" y="18"/>
                      </a:cubicBezTo>
                      <a:cubicBezTo>
                        <a:pt x="2" y="23"/>
                        <a:pt x="1" y="28"/>
                        <a:pt x="5" y="30"/>
                      </a:cubicBezTo>
                      <a:cubicBezTo>
                        <a:pt x="10" y="33"/>
                        <a:pt x="17" y="25"/>
                        <a:pt x="17" y="19"/>
                      </a:cubicBezTo>
                      <a:cubicBezTo>
                        <a:pt x="18" y="12"/>
                        <a:pt x="6" y="0"/>
                        <a:pt x="4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4" name="Freeform 137">
                  <a:extLst>
                    <a:ext uri="{FF2B5EF4-FFF2-40B4-BE49-F238E27FC236}">
                      <a16:creationId xmlns:a16="http://schemas.microsoft.com/office/drawing/2014/main" id="{0D5CAC4E-9495-49EA-9B7C-99D6212E23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8934093" y="-9460159"/>
                  <a:ext cx="593509" cy="366484"/>
                </a:xfrm>
                <a:custGeom>
                  <a:avLst/>
                  <a:gdLst>
                    <a:gd name="T0" fmla="*/ 68 w 96"/>
                    <a:gd name="T1" fmla="*/ 3 h 59"/>
                    <a:gd name="T2" fmla="*/ 52 w 96"/>
                    <a:gd name="T3" fmla="*/ 3 h 59"/>
                    <a:gd name="T4" fmla="*/ 40 w 96"/>
                    <a:gd name="T5" fmla="*/ 14 h 59"/>
                    <a:gd name="T6" fmla="*/ 34 w 96"/>
                    <a:gd name="T7" fmla="*/ 16 h 59"/>
                    <a:gd name="T8" fmla="*/ 23 w 96"/>
                    <a:gd name="T9" fmla="*/ 15 h 59"/>
                    <a:gd name="T10" fmla="*/ 13 w 96"/>
                    <a:gd name="T11" fmla="*/ 14 h 59"/>
                    <a:gd name="T12" fmla="*/ 7 w 96"/>
                    <a:gd name="T13" fmla="*/ 13 h 59"/>
                    <a:gd name="T14" fmla="*/ 4 w 96"/>
                    <a:gd name="T15" fmla="*/ 16 h 59"/>
                    <a:gd name="T16" fmla="*/ 4 w 96"/>
                    <a:gd name="T17" fmla="*/ 20 h 59"/>
                    <a:gd name="T18" fmla="*/ 0 w 96"/>
                    <a:gd name="T19" fmla="*/ 22 h 59"/>
                    <a:gd name="T20" fmla="*/ 1 w 96"/>
                    <a:gd name="T21" fmla="*/ 27 h 59"/>
                    <a:gd name="T22" fmla="*/ 3 w 96"/>
                    <a:gd name="T23" fmla="*/ 40 h 59"/>
                    <a:gd name="T24" fmla="*/ 6 w 96"/>
                    <a:gd name="T25" fmla="*/ 52 h 59"/>
                    <a:gd name="T26" fmla="*/ 20 w 96"/>
                    <a:gd name="T27" fmla="*/ 50 h 59"/>
                    <a:gd name="T28" fmla="*/ 31 w 96"/>
                    <a:gd name="T29" fmla="*/ 47 h 59"/>
                    <a:gd name="T30" fmla="*/ 40 w 96"/>
                    <a:gd name="T31" fmla="*/ 42 h 59"/>
                    <a:gd name="T32" fmla="*/ 48 w 96"/>
                    <a:gd name="T33" fmla="*/ 41 h 59"/>
                    <a:gd name="T34" fmla="*/ 54 w 96"/>
                    <a:gd name="T35" fmla="*/ 37 h 59"/>
                    <a:gd name="T36" fmla="*/ 71 w 96"/>
                    <a:gd name="T37" fmla="*/ 31 h 59"/>
                    <a:gd name="T38" fmla="*/ 79 w 96"/>
                    <a:gd name="T39" fmla="*/ 23 h 59"/>
                    <a:gd name="T40" fmla="*/ 86 w 96"/>
                    <a:gd name="T41" fmla="*/ 21 h 59"/>
                    <a:gd name="T42" fmla="*/ 76 w 96"/>
                    <a:gd name="T43" fmla="*/ 0 h 59"/>
                    <a:gd name="T44" fmla="*/ 68 w 96"/>
                    <a:gd name="T45" fmla="*/ 3 h 59"/>
                    <a:gd name="T46" fmla="*/ 88 w 96"/>
                    <a:gd name="T47" fmla="*/ 56 h 59"/>
                    <a:gd name="T48" fmla="*/ 96 w 96"/>
                    <a:gd name="T49" fmla="*/ 54 h 59"/>
                    <a:gd name="T50" fmla="*/ 88 w 96"/>
                    <a:gd name="T51" fmla="*/ 56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96" h="59">
                      <a:moveTo>
                        <a:pt x="68" y="3"/>
                      </a:moveTo>
                      <a:cubicBezTo>
                        <a:pt x="64" y="3"/>
                        <a:pt x="53" y="3"/>
                        <a:pt x="52" y="3"/>
                      </a:cubicBezTo>
                      <a:cubicBezTo>
                        <a:pt x="51" y="4"/>
                        <a:pt x="41" y="11"/>
                        <a:pt x="40" y="14"/>
                      </a:cubicBezTo>
                      <a:cubicBezTo>
                        <a:pt x="38" y="17"/>
                        <a:pt x="36" y="18"/>
                        <a:pt x="34" y="16"/>
                      </a:cubicBezTo>
                      <a:cubicBezTo>
                        <a:pt x="32" y="15"/>
                        <a:pt x="24" y="15"/>
                        <a:pt x="23" y="15"/>
                      </a:cubicBezTo>
                      <a:cubicBezTo>
                        <a:pt x="22" y="14"/>
                        <a:pt x="16" y="13"/>
                        <a:pt x="13" y="14"/>
                      </a:cubicBezTo>
                      <a:cubicBezTo>
                        <a:pt x="10" y="14"/>
                        <a:pt x="8" y="12"/>
                        <a:pt x="7" y="13"/>
                      </a:cubicBezTo>
                      <a:cubicBezTo>
                        <a:pt x="6" y="13"/>
                        <a:pt x="4" y="15"/>
                        <a:pt x="4" y="16"/>
                      </a:cubicBezTo>
                      <a:cubicBezTo>
                        <a:pt x="3" y="17"/>
                        <a:pt x="4" y="19"/>
                        <a:pt x="4" y="20"/>
                      </a:cubicBezTo>
                      <a:cubicBezTo>
                        <a:pt x="4" y="20"/>
                        <a:pt x="2" y="21"/>
                        <a:pt x="0" y="22"/>
                      </a:cubicBezTo>
                      <a:cubicBezTo>
                        <a:pt x="1" y="24"/>
                        <a:pt x="1" y="26"/>
                        <a:pt x="1" y="27"/>
                      </a:cubicBezTo>
                      <a:cubicBezTo>
                        <a:pt x="0" y="30"/>
                        <a:pt x="1" y="36"/>
                        <a:pt x="3" y="40"/>
                      </a:cubicBezTo>
                      <a:cubicBezTo>
                        <a:pt x="6" y="44"/>
                        <a:pt x="5" y="50"/>
                        <a:pt x="6" y="52"/>
                      </a:cubicBezTo>
                      <a:cubicBezTo>
                        <a:pt x="7" y="53"/>
                        <a:pt x="16" y="53"/>
                        <a:pt x="20" y="50"/>
                      </a:cubicBezTo>
                      <a:cubicBezTo>
                        <a:pt x="25" y="47"/>
                        <a:pt x="28" y="47"/>
                        <a:pt x="31" y="47"/>
                      </a:cubicBezTo>
                      <a:cubicBezTo>
                        <a:pt x="34" y="47"/>
                        <a:pt x="39" y="44"/>
                        <a:pt x="40" y="42"/>
                      </a:cubicBezTo>
                      <a:cubicBezTo>
                        <a:pt x="41" y="41"/>
                        <a:pt x="46" y="41"/>
                        <a:pt x="48" y="41"/>
                      </a:cubicBezTo>
                      <a:cubicBezTo>
                        <a:pt x="50" y="41"/>
                        <a:pt x="52" y="39"/>
                        <a:pt x="54" y="37"/>
                      </a:cubicBezTo>
                      <a:cubicBezTo>
                        <a:pt x="56" y="35"/>
                        <a:pt x="63" y="34"/>
                        <a:pt x="71" y="31"/>
                      </a:cubicBezTo>
                      <a:cubicBezTo>
                        <a:pt x="79" y="29"/>
                        <a:pt x="77" y="25"/>
                        <a:pt x="79" y="23"/>
                      </a:cubicBezTo>
                      <a:cubicBezTo>
                        <a:pt x="80" y="21"/>
                        <a:pt x="82" y="22"/>
                        <a:pt x="86" y="21"/>
                      </a:cubicBezTo>
                      <a:cubicBezTo>
                        <a:pt x="82" y="13"/>
                        <a:pt x="78" y="5"/>
                        <a:pt x="76" y="0"/>
                      </a:cubicBezTo>
                      <a:cubicBezTo>
                        <a:pt x="72" y="1"/>
                        <a:pt x="69" y="2"/>
                        <a:pt x="68" y="3"/>
                      </a:cubicBezTo>
                      <a:close/>
                      <a:moveTo>
                        <a:pt x="88" y="56"/>
                      </a:moveTo>
                      <a:cubicBezTo>
                        <a:pt x="90" y="59"/>
                        <a:pt x="95" y="55"/>
                        <a:pt x="96" y="54"/>
                      </a:cubicBezTo>
                      <a:cubicBezTo>
                        <a:pt x="96" y="53"/>
                        <a:pt x="84" y="53"/>
                        <a:pt x="88" y="5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5" name="Freeform 138">
                  <a:extLst>
                    <a:ext uri="{FF2B5EF4-FFF2-40B4-BE49-F238E27FC236}">
                      <a16:creationId xmlns:a16="http://schemas.microsoft.com/office/drawing/2014/main" id="{06E9384B-53B1-4DC5-AF94-CD6DCC5557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72486" y="-5840736"/>
                  <a:ext cx="129728" cy="87568"/>
                </a:xfrm>
                <a:custGeom>
                  <a:avLst/>
                  <a:gdLst>
                    <a:gd name="T0" fmla="*/ 9 w 21"/>
                    <a:gd name="T1" fmla="*/ 3 h 14"/>
                    <a:gd name="T2" fmla="*/ 7 w 21"/>
                    <a:gd name="T3" fmla="*/ 12 h 14"/>
                    <a:gd name="T4" fmla="*/ 13 w 21"/>
                    <a:gd name="T5" fmla="*/ 12 h 14"/>
                    <a:gd name="T6" fmla="*/ 20 w 21"/>
                    <a:gd name="T7" fmla="*/ 9 h 14"/>
                    <a:gd name="T8" fmla="*/ 9 w 21"/>
                    <a:gd name="T9" fmla="*/ 3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14">
                      <a:moveTo>
                        <a:pt x="9" y="3"/>
                      </a:moveTo>
                      <a:cubicBezTo>
                        <a:pt x="8" y="0"/>
                        <a:pt x="0" y="9"/>
                        <a:pt x="7" y="12"/>
                      </a:cubicBezTo>
                      <a:cubicBezTo>
                        <a:pt x="10" y="13"/>
                        <a:pt x="11" y="10"/>
                        <a:pt x="13" y="12"/>
                      </a:cubicBezTo>
                      <a:cubicBezTo>
                        <a:pt x="15" y="14"/>
                        <a:pt x="20" y="13"/>
                        <a:pt x="20" y="9"/>
                      </a:cubicBezTo>
                      <a:cubicBezTo>
                        <a:pt x="21" y="4"/>
                        <a:pt x="11" y="5"/>
                        <a:pt x="9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6" name="Freeform 139">
                  <a:extLst>
                    <a:ext uri="{FF2B5EF4-FFF2-40B4-BE49-F238E27FC236}">
                      <a16:creationId xmlns:a16="http://schemas.microsoft.com/office/drawing/2014/main" id="{7E05B2E7-454C-4C7D-AEE5-652F4651F98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381717" y="-8218008"/>
                  <a:ext cx="402158" cy="291889"/>
                </a:xfrm>
                <a:custGeom>
                  <a:avLst/>
                  <a:gdLst>
                    <a:gd name="T0" fmla="*/ 1 w 65"/>
                    <a:gd name="T1" fmla="*/ 2 h 47"/>
                    <a:gd name="T2" fmla="*/ 11 w 65"/>
                    <a:gd name="T3" fmla="*/ 14 h 47"/>
                    <a:gd name="T4" fmla="*/ 1 w 65"/>
                    <a:gd name="T5" fmla="*/ 2 h 47"/>
                    <a:gd name="T6" fmla="*/ 16 w 65"/>
                    <a:gd name="T7" fmla="*/ 12 h 47"/>
                    <a:gd name="T8" fmla="*/ 23 w 65"/>
                    <a:gd name="T9" fmla="*/ 18 h 47"/>
                    <a:gd name="T10" fmla="*/ 16 w 65"/>
                    <a:gd name="T11" fmla="*/ 12 h 47"/>
                    <a:gd name="T12" fmla="*/ 43 w 65"/>
                    <a:gd name="T13" fmla="*/ 27 h 47"/>
                    <a:gd name="T14" fmla="*/ 31 w 65"/>
                    <a:gd name="T15" fmla="*/ 21 h 47"/>
                    <a:gd name="T16" fmla="*/ 43 w 65"/>
                    <a:gd name="T17" fmla="*/ 27 h 47"/>
                    <a:gd name="T18" fmla="*/ 41 w 65"/>
                    <a:gd name="T19" fmla="*/ 34 h 47"/>
                    <a:gd name="T20" fmla="*/ 49 w 65"/>
                    <a:gd name="T21" fmla="*/ 39 h 47"/>
                    <a:gd name="T22" fmla="*/ 41 w 65"/>
                    <a:gd name="T23" fmla="*/ 34 h 47"/>
                    <a:gd name="T24" fmla="*/ 56 w 65"/>
                    <a:gd name="T25" fmla="*/ 42 h 47"/>
                    <a:gd name="T26" fmla="*/ 63 w 65"/>
                    <a:gd name="T27" fmla="*/ 46 h 47"/>
                    <a:gd name="T28" fmla="*/ 56 w 65"/>
                    <a:gd name="T29" fmla="*/ 42 h 47"/>
                    <a:gd name="T30" fmla="*/ 50 w 65"/>
                    <a:gd name="T31" fmla="*/ 26 h 47"/>
                    <a:gd name="T32" fmla="*/ 56 w 65"/>
                    <a:gd name="T33" fmla="*/ 37 h 47"/>
                    <a:gd name="T34" fmla="*/ 50 w 65"/>
                    <a:gd name="T35" fmla="*/ 26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5" h="47">
                      <a:moveTo>
                        <a:pt x="1" y="2"/>
                      </a:moveTo>
                      <a:cubicBezTo>
                        <a:pt x="0" y="4"/>
                        <a:pt x="8" y="16"/>
                        <a:pt x="11" y="14"/>
                      </a:cubicBezTo>
                      <a:cubicBezTo>
                        <a:pt x="16" y="11"/>
                        <a:pt x="1" y="0"/>
                        <a:pt x="1" y="2"/>
                      </a:cubicBezTo>
                      <a:close/>
                      <a:moveTo>
                        <a:pt x="16" y="12"/>
                      </a:moveTo>
                      <a:cubicBezTo>
                        <a:pt x="16" y="13"/>
                        <a:pt x="21" y="19"/>
                        <a:pt x="23" y="18"/>
                      </a:cubicBezTo>
                      <a:cubicBezTo>
                        <a:pt x="24" y="17"/>
                        <a:pt x="16" y="11"/>
                        <a:pt x="16" y="12"/>
                      </a:cubicBezTo>
                      <a:close/>
                      <a:moveTo>
                        <a:pt x="43" y="27"/>
                      </a:moveTo>
                      <a:cubicBezTo>
                        <a:pt x="45" y="25"/>
                        <a:pt x="32" y="18"/>
                        <a:pt x="31" y="21"/>
                      </a:cubicBezTo>
                      <a:cubicBezTo>
                        <a:pt x="31" y="23"/>
                        <a:pt x="41" y="28"/>
                        <a:pt x="43" y="27"/>
                      </a:cubicBezTo>
                      <a:close/>
                      <a:moveTo>
                        <a:pt x="41" y="34"/>
                      </a:moveTo>
                      <a:cubicBezTo>
                        <a:pt x="42" y="38"/>
                        <a:pt x="47" y="40"/>
                        <a:pt x="49" y="39"/>
                      </a:cubicBezTo>
                      <a:cubicBezTo>
                        <a:pt x="52" y="37"/>
                        <a:pt x="40" y="31"/>
                        <a:pt x="41" y="34"/>
                      </a:cubicBezTo>
                      <a:close/>
                      <a:moveTo>
                        <a:pt x="56" y="42"/>
                      </a:moveTo>
                      <a:cubicBezTo>
                        <a:pt x="56" y="43"/>
                        <a:pt x="61" y="47"/>
                        <a:pt x="63" y="46"/>
                      </a:cubicBezTo>
                      <a:cubicBezTo>
                        <a:pt x="65" y="44"/>
                        <a:pt x="55" y="41"/>
                        <a:pt x="56" y="42"/>
                      </a:cubicBezTo>
                      <a:close/>
                      <a:moveTo>
                        <a:pt x="50" y="26"/>
                      </a:moveTo>
                      <a:cubicBezTo>
                        <a:pt x="48" y="30"/>
                        <a:pt x="55" y="37"/>
                        <a:pt x="56" y="37"/>
                      </a:cubicBezTo>
                      <a:cubicBezTo>
                        <a:pt x="57" y="37"/>
                        <a:pt x="51" y="23"/>
                        <a:pt x="50" y="2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7" name="Freeform 140">
                  <a:extLst>
                    <a:ext uri="{FF2B5EF4-FFF2-40B4-BE49-F238E27FC236}">
                      <a16:creationId xmlns:a16="http://schemas.microsoft.com/office/drawing/2014/main" id="{AC9F0E84-54AE-43D3-85BA-C39F7BC253A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381717" y="-8218008"/>
                  <a:ext cx="402158" cy="291889"/>
                </a:xfrm>
                <a:custGeom>
                  <a:avLst/>
                  <a:gdLst>
                    <a:gd name="T0" fmla="*/ 1 w 65"/>
                    <a:gd name="T1" fmla="*/ 2 h 47"/>
                    <a:gd name="T2" fmla="*/ 11 w 65"/>
                    <a:gd name="T3" fmla="*/ 14 h 47"/>
                    <a:gd name="T4" fmla="*/ 1 w 65"/>
                    <a:gd name="T5" fmla="*/ 2 h 47"/>
                    <a:gd name="T6" fmla="*/ 16 w 65"/>
                    <a:gd name="T7" fmla="*/ 12 h 47"/>
                    <a:gd name="T8" fmla="*/ 23 w 65"/>
                    <a:gd name="T9" fmla="*/ 18 h 47"/>
                    <a:gd name="T10" fmla="*/ 16 w 65"/>
                    <a:gd name="T11" fmla="*/ 12 h 47"/>
                    <a:gd name="T12" fmla="*/ 43 w 65"/>
                    <a:gd name="T13" fmla="*/ 27 h 47"/>
                    <a:gd name="T14" fmla="*/ 31 w 65"/>
                    <a:gd name="T15" fmla="*/ 21 h 47"/>
                    <a:gd name="T16" fmla="*/ 43 w 65"/>
                    <a:gd name="T17" fmla="*/ 27 h 47"/>
                    <a:gd name="T18" fmla="*/ 41 w 65"/>
                    <a:gd name="T19" fmla="*/ 34 h 47"/>
                    <a:gd name="T20" fmla="*/ 49 w 65"/>
                    <a:gd name="T21" fmla="*/ 39 h 47"/>
                    <a:gd name="T22" fmla="*/ 41 w 65"/>
                    <a:gd name="T23" fmla="*/ 34 h 47"/>
                    <a:gd name="T24" fmla="*/ 56 w 65"/>
                    <a:gd name="T25" fmla="*/ 42 h 47"/>
                    <a:gd name="T26" fmla="*/ 63 w 65"/>
                    <a:gd name="T27" fmla="*/ 46 h 47"/>
                    <a:gd name="T28" fmla="*/ 56 w 65"/>
                    <a:gd name="T29" fmla="*/ 42 h 47"/>
                    <a:gd name="T30" fmla="*/ 50 w 65"/>
                    <a:gd name="T31" fmla="*/ 26 h 47"/>
                    <a:gd name="T32" fmla="*/ 56 w 65"/>
                    <a:gd name="T33" fmla="*/ 37 h 47"/>
                    <a:gd name="T34" fmla="*/ 50 w 65"/>
                    <a:gd name="T35" fmla="*/ 26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5" h="47">
                      <a:moveTo>
                        <a:pt x="1" y="2"/>
                      </a:moveTo>
                      <a:cubicBezTo>
                        <a:pt x="0" y="4"/>
                        <a:pt x="8" y="16"/>
                        <a:pt x="11" y="14"/>
                      </a:cubicBezTo>
                      <a:cubicBezTo>
                        <a:pt x="16" y="11"/>
                        <a:pt x="1" y="0"/>
                        <a:pt x="1" y="2"/>
                      </a:cubicBezTo>
                      <a:close/>
                      <a:moveTo>
                        <a:pt x="16" y="12"/>
                      </a:moveTo>
                      <a:cubicBezTo>
                        <a:pt x="16" y="13"/>
                        <a:pt x="21" y="19"/>
                        <a:pt x="23" y="18"/>
                      </a:cubicBezTo>
                      <a:cubicBezTo>
                        <a:pt x="24" y="17"/>
                        <a:pt x="16" y="11"/>
                        <a:pt x="16" y="12"/>
                      </a:cubicBezTo>
                      <a:close/>
                      <a:moveTo>
                        <a:pt x="43" y="27"/>
                      </a:moveTo>
                      <a:cubicBezTo>
                        <a:pt x="45" y="25"/>
                        <a:pt x="32" y="18"/>
                        <a:pt x="31" y="21"/>
                      </a:cubicBezTo>
                      <a:cubicBezTo>
                        <a:pt x="31" y="23"/>
                        <a:pt x="41" y="28"/>
                        <a:pt x="43" y="27"/>
                      </a:cubicBezTo>
                      <a:close/>
                      <a:moveTo>
                        <a:pt x="41" y="34"/>
                      </a:moveTo>
                      <a:cubicBezTo>
                        <a:pt x="42" y="38"/>
                        <a:pt x="47" y="40"/>
                        <a:pt x="49" y="39"/>
                      </a:cubicBezTo>
                      <a:cubicBezTo>
                        <a:pt x="52" y="37"/>
                        <a:pt x="40" y="31"/>
                        <a:pt x="41" y="34"/>
                      </a:cubicBezTo>
                      <a:close/>
                      <a:moveTo>
                        <a:pt x="56" y="42"/>
                      </a:moveTo>
                      <a:cubicBezTo>
                        <a:pt x="56" y="43"/>
                        <a:pt x="61" y="47"/>
                        <a:pt x="63" y="46"/>
                      </a:cubicBezTo>
                      <a:cubicBezTo>
                        <a:pt x="65" y="44"/>
                        <a:pt x="55" y="41"/>
                        <a:pt x="56" y="42"/>
                      </a:cubicBezTo>
                      <a:close/>
                      <a:moveTo>
                        <a:pt x="50" y="26"/>
                      </a:moveTo>
                      <a:cubicBezTo>
                        <a:pt x="48" y="30"/>
                        <a:pt x="55" y="37"/>
                        <a:pt x="56" y="37"/>
                      </a:cubicBezTo>
                      <a:cubicBezTo>
                        <a:pt x="57" y="37"/>
                        <a:pt x="51" y="23"/>
                        <a:pt x="50" y="2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8" name="Freeform 141">
                  <a:extLst>
                    <a:ext uri="{FF2B5EF4-FFF2-40B4-BE49-F238E27FC236}">
                      <a16:creationId xmlns:a16="http://schemas.microsoft.com/office/drawing/2014/main" id="{4BD87B47-C7F8-4FBC-A315-00E4C4B9EF1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5470345" y="-7952065"/>
                  <a:ext cx="2036736" cy="1816198"/>
                </a:xfrm>
                <a:custGeom>
                  <a:avLst/>
                  <a:gdLst>
                    <a:gd name="T0" fmla="*/ 326 w 330"/>
                    <a:gd name="T1" fmla="*/ 128 h 294"/>
                    <a:gd name="T2" fmla="*/ 312 w 330"/>
                    <a:gd name="T3" fmla="*/ 114 h 294"/>
                    <a:gd name="T4" fmla="*/ 302 w 330"/>
                    <a:gd name="T5" fmla="*/ 100 h 294"/>
                    <a:gd name="T6" fmla="*/ 293 w 330"/>
                    <a:gd name="T7" fmla="*/ 89 h 294"/>
                    <a:gd name="T8" fmla="*/ 269 w 330"/>
                    <a:gd name="T9" fmla="*/ 66 h 294"/>
                    <a:gd name="T10" fmla="*/ 262 w 330"/>
                    <a:gd name="T11" fmla="*/ 38 h 294"/>
                    <a:gd name="T12" fmla="*/ 247 w 330"/>
                    <a:gd name="T13" fmla="*/ 24 h 294"/>
                    <a:gd name="T14" fmla="*/ 235 w 330"/>
                    <a:gd name="T15" fmla="*/ 7 h 294"/>
                    <a:gd name="T16" fmla="*/ 231 w 330"/>
                    <a:gd name="T17" fmla="*/ 37 h 294"/>
                    <a:gd name="T18" fmla="*/ 212 w 330"/>
                    <a:gd name="T19" fmla="*/ 55 h 294"/>
                    <a:gd name="T20" fmla="*/ 189 w 330"/>
                    <a:gd name="T21" fmla="*/ 42 h 294"/>
                    <a:gd name="T22" fmla="*/ 185 w 330"/>
                    <a:gd name="T23" fmla="*/ 25 h 294"/>
                    <a:gd name="T24" fmla="*/ 191 w 330"/>
                    <a:gd name="T25" fmla="*/ 12 h 294"/>
                    <a:gd name="T26" fmla="*/ 179 w 330"/>
                    <a:gd name="T27" fmla="*/ 14 h 294"/>
                    <a:gd name="T28" fmla="*/ 158 w 330"/>
                    <a:gd name="T29" fmla="*/ 10 h 294"/>
                    <a:gd name="T30" fmla="*/ 138 w 330"/>
                    <a:gd name="T31" fmla="*/ 23 h 294"/>
                    <a:gd name="T32" fmla="*/ 131 w 330"/>
                    <a:gd name="T33" fmla="*/ 37 h 294"/>
                    <a:gd name="T34" fmla="*/ 119 w 330"/>
                    <a:gd name="T35" fmla="*/ 31 h 294"/>
                    <a:gd name="T36" fmla="*/ 105 w 330"/>
                    <a:gd name="T37" fmla="*/ 33 h 294"/>
                    <a:gd name="T38" fmla="*/ 94 w 330"/>
                    <a:gd name="T39" fmla="*/ 39 h 294"/>
                    <a:gd name="T40" fmla="*/ 87 w 330"/>
                    <a:gd name="T41" fmla="*/ 53 h 294"/>
                    <a:gd name="T42" fmla="*/ 75 w 330"/>
                    <a:gd name="T43" fmla="*/ 54 h 294"/>
                    <a:gd name="T44" fmla="*/ 49 w 330"/>
                    <a:gd name="T45" fmla="*/ 79 h 294"/>
                    <a:gd name="T46" fmla="*/ 24 w 330"/>
                    <a:gd name="T47" fmla="*/ 87 h 294"/>
                    <a:gd name="T48" fmla="*/ 9 w 330"/>
                    <a:gd name="T49" fmla="*/ 93 h 294"/>
                    <a:gd name="T50" fmla="*/ 4 w 330"/>
                    <a:gd name="T51" fmla="*/ 121 h 294"/>
                    <a:gd name="T52" fmla="*/ 6 w 330"/>
                    <a:gd name="T53" fmla="*/ 133 h 294"/>
                    <a:gd name="T54" fmla="*/ 15 w 330"/>
                    <a:gd name="T55" fmla="*/ 162 h 294"/>
                    <a:gd name="T56" fmla="*/ 16 w 330"/>
                    <a:gd name="T57" fmla="*/ 198 h 294"/>
                    <a:gd name="T58" fmla="*/ 40 w 330"/>
                    <a:gd name="T59" fmla="*/ 210 h 294"/>
                    <a:gd name="T60" fmla="*/ 74 w 330"/>
                    <a:gd name="T61" fmla="*/ 200 h 294"/>
                    <a:gd name="T62" fmla="*/ 112 w 330"/>
                    <a:gd name="T63" fmla="*/ 186 h 294"/>
                    <a:gd name="T64" fmla="*/ 156 w 330"/>
                    <a:gd name="T65" fmla="*/ 183 h 294"/>
                    <a:gd name="T66" fmla="*/ 171 w 330"/>
                    <a:gd name="T67" fmla="*/ 192 h 294"/>
                    <a:gd name="T68" fmla="*/ 187 w 330"/>
                    <a:gd name="T69" fmla="*/ 205 h 294"/>
                    <a:gd name="T70" fmla="*/ 198 w 330"/>
                    <a:gd name="T71" fmla="*/ 203 h 294"/>
                    <a:gd name="T72" fmla="*/ 205 w 330"/>
                    <a:gd name="T73" fmla="*/ 207 h 294"/>
                    <a:gd name="T74" fmla="*/ 217 w 330"/>
                    <a:gd name="T75" fmla="*/ 226 h 294"/>
                    <a:gd name="T76" fmla="*/ 245 w 330"/>
                    <a:gd name="T77" fmla="*/ 246 h 294"/>
                    <a:gd name="T78" fmla="*/ 260 w 330"/>
                    <a:gd name="T79" fmla="*/ 244 h 294"/>
                    <a:gd name="T80" fmla="*/ 270 w 330"/>
                    <a:gd name="T81" fmla="*/ 249 h 294"/>
                    <a:gd name="T82" fmla="*/ 298 w 330"/>
                    <a:gd name="T83" fmla="*/ 236 h 294"/>
                    <a:gd name="T84" fmla="*/ 316 w 330"/>
                    <a:gd name="T85" fmla="*/ 190 h 294"/>
                    <a:gd name="T86" fmla="*/ 327 w 330"/>
                    <a:gd name="T87" fmla="*/ 163 h 294"/>
                    <a:gd name="T88" fmla="*/ 149 w 330"/>
                    <a:gd name="T89" fmla="*/ 8 h 294"/>
                    <a:gd name="T90" fmla="*/ 189 w 330"/>
                    <a:gd name="T91" fmla="*/ 219 h 294"/>
                    <a:gd name="T92" fmla="*/ 270 w 330"/>
                    <a:gd name="T93" fmla="*/ 269 h 294"/>
                    <a:gd name="T94" fmla="*/ 271 w 330"/>
                    <a:gd name="T95" fmla="*/ 293 h 294"/>
                    <a:gd name="T96" fmla="*/ 282 w 330"/>
                    <a:gd name="T97" fmla="*/ 287 h 294"/>
                    <a:gd name="T98" fmla="*/ 270 w 330"/>
                    <a:gd name="T99" fmla="*/ 269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30" h="294">
                      <a:moveTo>
                        <a:pt x="328" y="148"/>
                      </a:moveTo>
                      <a:cubicBezTo>
                        <a:pt x="329" y="147"/>
                        <a:pt x="327" y="141"/>
                        <a:pt x="326" y="142"/>
                      </a:cubicBezTo>
                      <a:cubicBezTo>
                        <a:pt x="325" y="143"/>
                        <a:pt x="325" y="133"/>
                        <a:pt x="326" y="128"/>
                      </a:cubicBezTo>
                      <a:cubicBezTo>
                        <a:pt x="327" y="124"/>
                        <a:pt x="326" y="124"/>
                        <a:pt x="324" y="127"/>
                      </a:cubicBezTo>
                      <a:cubicBezTo>
                        <a:pt x="321" y="129"/>
                        <a:pt x="319" y="122"/>
                        <a:pt x="318" y="121"/>
                      </a:cubicBezTo>
                      <a:cubicBezTo>
                        <a:pt x="318" y="119"/>
                        <a:pt x="315" y="114"/>
                        <a:pt x="312" y="114"/>
                      </a:cubicBezTo>
                      <a:cubicBezTo>
                        <a:pt x="309" y="115"/>
                        <a:pt x="311" y="110"/>
                        <a:pt x="308" y="111"/>
                      </a:cubicBezTo>
                      <a:cubicBezTo>
                        <a:pt x="305" y="111"/>
                        <a:pt x="305" y="107"/>
                        <a:pt x="305" y="102"/>
                      </a:cubicBezTo>
                      <a:cubicBezTo>
                        <a:pt x="306" y="98"/>
                        <a:pt x="303" y="101"/>
                        <a:pt x="302" y="100"/>
                      </a:cubicBezTo>
                      <a:cubicBezTo>
                        <a:pt x="301" y="98"/>
                        <a:pt x="300" y="99"/>
                        <a:pt x="298" y="100"/>
                      </a:cubicBezTo>
                      <a:cubicBezTo>
                        <a:pt x="296" y="101"/>
                        <a:pt x="295" y="96"/>
                        <a:pt x="296" y="95"/>
                      </a:cubicBezTo>
                      <a:cubicBezTo>
                        <a:pt x="296" y="93"/>
                        <a:pt x="295" y="91"/>
                        <a:pt x="293" y="89"/>
                      </a:cubicBezTo>
                      <a:cubicBezTo>
                        <a:pt x="290" y="87"/>
                        <a:pt x="290" y="85"/>
                        <a:pt x="290" y="83"/>
                      </a:cubicBezTo>
                      <a:cubicBezTo>
                        <a:pt x="290" y="80"/>
                        <a:pt x="275" y="73"/>
                        <a:pt x="271" y="72"/>
                      </a:cubicBezTo>
                      <a:cubicBezTo>
                        <a:pt x="268" y="71"/>
                        <a:pt x="271" y="68"/>
                        <a:pt x="269" y="66"/>
                      </a:cubicBezTo>
                      <a:cubicBezTo>
                        <a:pt x="268" y="65"/>
                        <a:pt x="267" y="60"/>
                        <a:pt x="267" y="57"/>
                      </a:cubicBezTo>
                      <a:cubicBezTo>
                        <a:pt x="267" y="53"/>
                        <a:pt x="262" y="51"/>
                        <a:pt x="263" y="48"/>
                      </a:cubicBezTo>
                      <a:cubicBezTo>
                        <a:pt x="263" y="45"/>
                        <a:pt x="261" y="42"/>
                        <a:pt x="262" y="38"/>
                      </a:cubicBezTo>
                      <a:cubicBezTo>
                        <a:pt x="262" y="35"/>
                        <a:pt x="256" y="34"/>
                        <a:pt x="256" y="32"/>
                      </a:cubicBezTo>
                      <a:cubicBezTo>
                        <a:pt x="256" y="30"/>
                        <a:pt x="253" y="32"/>
                        <a:pt x="250" y="32"/>
                      </a:cubicBezTo>
                      <a:cubicBezTo>
                        <a:pt x="247" y="32"/>
                        <a:pt x="247" y="28"/>
                        <a:pt x="247" y="24"/>
                      </a:cubicBezTo>
                      <a:cubicBezTo>
                        <a:pt x="248" y="20"/>
                        <a:pt x="246" y="13"/>
                        <a:pt x="244" y="11"/>
                      </a:cubicBezTo>
                      <a:cubicBezTo>
                        <a:pt x="241" y="9"/>
                        <a:pt x="241" y="2"/>
                        <a:pt x="240" y="1"/>
                      </a:cubicBezTo>
                      <a:cubicBezTo>
                        <a:pt x="239" y="0"/>
                        <a:pt x="234" y="5"/>
                        <a:pt x="235" y="7"/>
                      </a:cubicBezTo>
                      <a:cubicBezTo>
                        <a:pt x="235" y="10"/>
                        <a:pt x="234" y="12"/>
                        <a:pt x="233" y="14"/>
                      </a:cubicBezTo>
                      <a:cubicBezTo>
                        <a:pt x="231" y="15"/>
                        <a:pt x="234" y="21"/>
                        <a:pt x="232" y="23"/>
                      </a:cubicBezTo>
                      <a:cubicBezTo>
                        <a:pt x="229" y="25"/>
                        <a:pt x="231" y="32"/>
                        <a:pt x="231" y="37"/>
                      </a:cubicBezTo>
                      <a:cubicBezTo>
                        <a:pt x="230" y="41"/>
                        <a:pt x="230" y="46"/>
                        <a:pt x="228" y="49"/>
                      </a:cubicBezTo>
                      <a:cubicBezTo>
                        <a:pt x="226" y="52"/>
                        <a:pt x="226" y="57"/>
                        <a:pt x="222" y="59"/>
                      </a:cubicBezTo>
                      <a:cubicBezTo>
                        <a:pt x="217" y="60"/>
                        <a:pt x="212" y="57"/>
                        <a:pt x="212" y="55"/>
                      </a:cubicBezTo>
                      <a:cubicBezTo>
                        <a:pt x="212" y="52"/>
                        <a:pt x="207" y="51"/>
                        <a:pt x="205" y="51"/>
                      </a:cubicBezTo>
                      <a:cubicBezTo>
                        <a:pt x="202" y="52"/>
                        <a:pt x="201" y="48"/>
                        <a:pt x="197" y="45"/>
                      </a:cubicBezTo>
                      <a:cubicBezTo>
                        <a:pt x="193" y="42"/>
                        <a:pt x="190" y="46"/>
                        <a:pt x="189" y="42"/>
                      </a:cubicBezTo>
                      <a:cubicBezTo>
                        <a:pt x="187" y="39"/>
                        <a:pt x="186" y="38"/>
                        <a:pt x="183" y="36"/>
                      </a:cubicBezTo>
                      <a:cubicBezTo>
                        <a:pt x="180" y="34"/>
                        <a:pt x="181" y="34"/>
                        <a:pt x="184" y="32"/>
                      </a:cubicBezTo>
                      <a:cubicBezTo>
                        <a:pt x="187" y="30"/>
                        <a:pt x="186" y="28"/>
                        <a:pt x="185" y="25"/>
                      </a:cubicBezTo>
                      <a:cubicBezTo>
                        <a:pt x="183" y="23"/>
                        <a:pt x="186" y="24"/>
                        <a:pt x="190" y="22"/>
                      </a:cubicBezTo>
                      <a:cubicBezTo>
                        <a:pt x="193" y="20"/>
                        <a:pt x="190" y="17"/>
                        <a:pt x="192" y="16"/>
                      </a:cubicBezTo>
                      <a:cubicBezTo>
                        <a:pt x="195" y="15"/>
                        <a:pt x="194" y="13"/>
                        <a:pt x="191" y="12"/>
                      </a:cubicBezTo>
                      <a:cubicBezTo>
                        <a:pt x="188" y="12"/>
                        <a:pt x="189" y="15"/>
                        <a:pt x="188" y="16"/>
                      </a:cubicBezTo>
                      <a:cubicBezTo>
                        <a:pt x="187" y="16"/>
                        <a:pt x="186" y="11"/>
                        <a:pt x="185" y="11"/>
                      </a:cubicBezTo>
                      <a:cubicBezTo>
                        <a:pt x="184" y="11"/>
                        <a:pt x="180" y="16"/>
                        <a:pt x="179" y="14"/>
                      </a:cubicBezTo>
                      <a:cubicBezTo>
                        <a:pt x="177" y="11"/>
                        <a:pt x="167" y="9"/>
                        <a:pt x="163" y="9"/>
                      </a:cubicBezTo>
                      <a:cubicBezTo>
                        <a:pt x="159" y="8"/>
                        <a:pt x="158" y="3"/>
                        <a:pt x="155" y="4"/>
                      </a:cubicBezTo>
                      <a:cubicBezTo>
                        <a:pt x="153" y="5"/>
                        <a:pt x="156" y="7"/>
                        <a:pt x="158" y="10"/>
                      </a:cubicBezTo>
                      <a:cubicBezTo>
                        <a:pt x="161" y="12"/>
                        <a:pt x="150" y="14"/>
                        <a:pt x="146" y="13"/>
                      </a:cubicBezTo>
                      <a:cubicBezTo>
                        <a:pt x="143" y="12"/>
                        <a:pt x="147" y="16"/>
                        <a:pt x="144" y="16"/>
                      </a:cubicBezTo>
                      <a:cubicBezTo>
                        <a:pt x="141" y="16"/>
                        <a:pt x="140" y="21"/>
                        <a:pt x="138" y="23"/>
                      </a:cubicBezTo>
                      <a:cubicBezTo>
                        <a:pt x="136" y="26"/>
                        <a:pt x="137" y="27"/>
                        <a:pt x="135" y="29"/>
                      </a:cubicBezTo>
                      <a:cubicBezTo>
                        <a:pt x="132" y="30"/>
                        <a:pt x="132" y="32"/>
                        <a:pt x="135" y="36"/>
                      </a:cubicBezTo>
                      <a:cubicBezTo>
                        <a:pt x="138" y="39"/>
                        <a:pt x="134" y="39"/>
                        <a:pt x="131" y="37"/>
                      </a:cubicBezTo>
                      <a:cubicBezTo>
                        <a:pt x="128" y="34"/>
                        <a:pt x="126" y="34"/>
                        <a:pt x="126" y="37"/>
                      </a:cubicBezTo>
                      <a:cubicBezTo>
                        <a:pt x="126" y="40"/>
                        <a:pt x="123" y="39"/>
                        <a:pt x="123" y="35"/>
                      </a:cubicBezTo>
                      <a:cubicBezTo>
                        <a:pt x="124" y="32"/>
                        <a:pt x="120" y="33"/>
                        <a:pt x="119" y="31"/>
                      </a:cubicBezTo>
                      <a:cubicBezTo>
                        <a:pt x="118" y="29"/>
                        <a:pt x="114" y="26"/>
                        <a:pt x="112" y="26"/>
                      </a:cubicBezTo>
                      <a:cubicBezTo>
                        <a:pt x="110" y="27"/>
                        <a:pt x="110" y="29"/>
                        <a:pt x="107" y="29"/>
                      </a:cubicBezTo>
                      <a:cubicBezTo>
                        <a:pt x="105" y="29"/>
                        <a:pt x="105" y="30"/>
                        <a:pt x="105" y="33"/>
                      </a:cubicBezTo>
                      <a:cubicBezTo>
                        <a:pt x="105" y="35"/>
                        <a:pt x="101" y="33"/>
                        <a:pt x="99" y="33"/>
                      </a:cubicBezTo>
                      <a:cubicBezTo>
                        <a:pt x="96" y="33"/>
                        <a:pt x="99" y="36"/>
                        <a:pt x="97" y="37"/>
                      </a:cubicBezTo>
                      <a:cubicBezTo>
                        <a:pt x="96" y="37"/>
                        <a:pt x="96" y="39"/>
                        <a:pt x="94" y="39"/>
                      </a:cubicBezTo>
                      <a:cubicBezTo>
                        <a:pt x="91" y="39"/>
                        <a:pt x="92" y="44"/>
                        <a:pt x="92" y="47"/>
                      </a:cubicBezTo>
                      <a:cubicBezTo>
                        <a:pt x="92" y="50"/>
                        <a:pt x="88" y="46"/>
                        <a:pt x="86" y="47"/>
                      </a:cubicBezTo>
                      <a:cubicBezTo>
                        <a:pt x="84" y="47"/>
                        <a:pt x="87" y="50"/>
                        <a:pt x="87" y="53"/>
                      </a:cubicBezTo>
                      <a:cubicBezTo>
                        <a:pt x="88" y="56"/>
                        <a:pt x="86" y="55"/>
                        <a:pt x="85" y="57"/>
                      </a:cubicBezTo>
                      <a:cubicBezTo>
                        <a:pt x="84" y="58"/>
                        <a:pt x="82" y="53"/>
                        <a:pt x="82" y="51"/>
                      </a:cubicBezTo>
                      <a:cubicBezTo>
                        <a:pt x="82" y="48"/>
                        <a:pt x="79" y="50"/>
                        <a:pt x="75" y="54"/>
                      </a:cubicBezTo>
                      <a:cubicBezTo>
                        <a:pt x="72" y="57"/>
                        <a:pt x="76" y="62"/>
                        <a:pt x="75" y="63"/>
                      </a:cubicBezTo>
                      <a:cubicBezTo>
                        <a:pt x="74" y="64"/>
                        <a:pt x="67" y="70"/>
                        <a:pt x="63" y="75"/>
                      </a:cubicBezTo>
                      <a:cubicBezTo>
                        <a:pt x="60" y="79"/>
                        <a:pt x="52" y="77"/>
                        <a:pt x="49" y="79"/>
                      </a:cubicBezTo>
                      <a:cubicBezTo>
                        <a:pt x="47" y="81"/>
                        <a:pt x="44" y="79"/>
                        <a:pt x="41" y="81"/>
                      </a:cubicBezTo>
                      <a:cubicBezTo>
                        <a:pt x="39" y="83"/>
                        <a:pt x="34" y="87"/>
                        <a:pt x="34" y="85"/>
                      </a:cubicBezTo>
                      <a:cubicBezTo>
                        <a:pt x="33" y="82"/>
                        <a:pt x="27" y="84"/>
                        <a:pt x="24" y="87"/>
                      </a:cubicBezTo>
                      <a:cubicBezTo>
                        <a:pt x="21" y="90"/>
                        <a:pt x="17" y="92"/>
                        <a:pt x="14" y="92"/>
                      </a:cubicBezTo>
                      <a:cubicBezTo>
                        <a:pt x="11" y="93"/>
                        <a:pt x="11" y="97"/>
                        <a:pt x="10" y="98"/>
                      </a:cubicBezTo>
                      <a:cubicBezTo>
                        <a:pt x="9" y="99"/>
                        <a:pt x="9" y="95"/>
                        <a:pt x="9" y="93"/>
                      </a:cubicBezTo>
                      <a:cubicBezTo>
                        <a:pt x="9" y="92"/>
                        <a:pt x="6" y="95"/>
                        <a:pt x="5" y="99"/>
                      </a:cubicBezTo>
                      <a:cubicBezTo>
                        <a:pt x="4" y="103"/>
                        <a:pt x="8" y="104"/>
                        <a:pt x="5" y="108"/>
                      </a:cubicBezTo>
                      <a:cubicBezTo>
                        <a:pt x="3" y="112"/>
                        <a:pt x="0" y="116"/>
                        <a:pt x="4" y="121"/>
                      </a:cubicBezTo>
                      <a:cubicBezTo>
                        <a:pt x="8" y="126"/>
                        <a:pt x="10" y="129"/>
                        <a:pt x="8" y="132"/>
                      </a:cubicBezTo>
                      <a:cubicBezTo>
                        <a:pt x="7" y="134"/>
                        <a:pt x="5" y="127"/>
                        <a:pt x="4" y="128"/>
                      </a:cubicBezTo>
                      <a:cubicBezTo>
                        <a:pt x="3" y="129"/>
                        <a:pt x="7" y="132"/>
                        <a:pt x="6" y="133"/>
                      </a:cubicBezTo>
                      <a:cubicBezTo>
                        <a:pt x="5" y="135"/>
                        <a:pt x="1" y="127"/>
                        <a:pt x="0" y="129"/>
                      </a:cubicBezTo>
                      <a:cubicBezTo>
                        <a:pt x="0" y="131"/>
                        <a:pt x="8" y="143"/>
                        <a:pt x="8" y="147"/>
                      </a:cubicBezTo>
                      <a:cubicBezTo>
                        <a:pt x="9" y="152"/>
                        <a:pt x="16" y="156"/>
                        <a:pt x="15" y="162"/>
                      </a:cubicBezTo>
                      <a:cubicBezTo>
                        <a:pt x="15" y="169"/>
                        <a:pt x="21" y="179"/>
                        <a:pt x="22" y="181"/>
                      </a:cubicBezTo>
                      <a:cubicBezTo>
                        <a:pt x="23" y="182"/>
                        <a:pt x="20" y="187"/>
                        <a:pt x="21" y="192"/>
                      </a:cubicBezTo>
                      <a:cubicBezTo>
                        <a:pt x="21" y="196"/>
                        <a:pt x="19" y="198"/>
                        <a:pt x="16" y="198"/>
                      </a:cubicBezTo>
                      <a:cubicBezTo>
                        <a:pt x="13" y="198"/>
                        <a:pt x="15" y="203"/>
                        <a:pt x="18" y="203"/>
                      </a:cubicBezTo>
                      <a:cubicBezTo>
                        <a:pt x="21" y="204"/>
                        <a:pt x="20" y="206"/>
                        <a:pt x="24" y="209"/>
                      </a:cubicBezTo>
                      <a:cubicBezTo>
                        <a:pt x="28" y="211"/>
                        <a:pt x="37" y="210"/>
                        <a:pt x="40" y="210"/>
                      </a:cubicBezTo>
                      <a:cubicBezTo>
                        <a:pt x="43" y="210"/>
                        <a:pt x="44" y="206"/>
                        <a:pt x="48" y="205"/>
                      </a:cubicBezTo>
                      <a:cubicBezTo>
                        <a:pt x="52" y="205"/>
                        <a:pt x="51" y="204"/>
                        <a:pt x="53" y="202"/>
                      </a:cubicBezTo>
                      <a:cubicBezTo>
                        <a:pt x="55" y="199"/>
                        <a:pt x="65" y="200"/>
                        <a:pt x="74" y="200"/>
                      </a:cubicBezTo>
                      <a:cubicBezTo>
                        <a:pt x="84" y="201"/>
                        <a:pt x="88" y="198"/>
                        <a:pt x="89" y="194"/>
                      </a:cubicBezTo>
                      <a:cubicBezTo>
                        <a:pt x="90" y="191"/>
                        <a:pt x="97" y="190"/>
                        <a:pt x="100" y="188"/>
                      </a:cubicBezTo>
                      <a:cubicBezTo>
                        <a:pt x="102" y="185"/>
                        <a:pt x="105" y="185"/>
                        <a:pt x="112" y="186"/>
                      </a:cubicBezTo>
                      <a:cubicBezTo>
                        <a:pt x="119" y="186"/>
                        <a:pt x="125" y="182"/>
                        <a:pt x="130" y="180"/>
                      </a:cubicBezTo>
                      <a:cubicBezTo>
                        <a:pt x="134" y="179"/>
                        <a:pt x="142" y="179"/>
                        <a:pt x="146" y="178"/>
                      </a:cubicBezTo>
                      <a:cubicBezTo>
                        <a:pt x="151" y="177"/>
                        <a:pt x="151" y="184"/>
                        <a:pt x="156" y="183"/>
                      </a:cubicBezTo>
                      <a:cubicBezTo>
                        <a:pt x="161" y="183"/>
                        <a:pt x="163" y="185"/>
                        <a:pt x="166" y="184"/>
                      </a:cubicBezTo>
                      <a:cubicBezTo>
                        <a:pt x="168" y="184"/>
                        <a:pt x="168" y="186"/>
                        <a:pt x="170" y="187"/>
                      </a:cubicBezTo>
                      <a:cubicBezTo>
                        <a:pt x="173" y="187"/>
                        <a:pt x="173" y="189"/>
                        <a:pt x="171" y="192"/>
                      </a:cubicBezTo>
                      <a:cubicBezTo>
                        <a:pt x="169" y="194"/>
                        <a:pt x="175" y="194"/>
                        <a:pt x="178" y="198"/>
                      </a:cubicBezTo>
                      <a:cubicBezTo>
                        <a:pt x="181" y="203"/>
                        <a:pt x="178" y="204"/>
                        <a:pt x="180" y="207"/>
                      </a:cubicBezTo>
                      <a:cubicBezTo>
                        <a:pt x="182" y="211"/>
                        <a:pt x="183" y="210"/>
                        <a:pt x="187" y="205"/>
                      </a:cubicBezTo>
                      <a:cubicBezTo>
                        <a:pt x="190" y="200"/>
                        <a:pt x="194" y="203"/>
                        <a:pt x="195" y="199"/>
                      </a:cubicBezTo>
                      <a:cubicBezTo>
                        <a:pt x="195" y="195"/>
                        <a:pt x="199" y="190"/>
                        <a:pt x="201" y="192"/>
                      </a:cubicBezTo>
                      <a:cubicBezTo>
                        <a:pt x="204" y="194"/>
                        <a:pt x="200" y="195"/>
                        <a:pt x="198" y="203"/>
                      </a:cubicBezTo>
                      <a:cubicBezTo>
                        <a:pt x="196" y="212"/>
                        <a:pt x="194" y="207"/>
                        <a:pt x="193" y="210"/>
                      </a:cubicBezTo>
                      <a:cubicBezTo>
                        <a:pt x="192" y="212"/>
                        <a:pt x="201" y="213"/>
                        <a:pt x="201" y="209"/>
                      </a:cubicBezTo>
                      <a:cubicBezTo>
                        <a:pt x="201" y="205"/>
                        <a:pt x="202" y="203"/>
                        <a:pt x="205" y="207"/>
                      </a:cubicBezTo>
                      <a:cubicBezTo>
                        <a:pt x="208" y="210"/>
                        <a:pt x="203" y="214"/>
                        <a:pt x="204" y="215"/>
                      </a:cubicBezTo>
                      <a:cubicBezTo>
                        <a:pt x="205" y="217"/>
                        <a:pt x="208" y="215"/>
                        <a:pt x="210" y="215"/>
                      </a:cubicBezTo>
                      <a:cubicBezTo>
                        <a:pt x="213" y="215"/>
                        <a:pt x="217" y="222"/>
                        <a:pt x="217" y="226"/>
                      </a:cubicBezTo>
                      <a:cubicBezTo>
                        <a:pt x="216" y="230"/>
                        <a:pt x="215" y="233"/>
                        <a:pt x="221" y="236"/>
                      </a:cubicBezTo>
                      <a:cubicBezTo>
                        <a:pt x="227" y="240"/>
                        <a:pt x="225" y="240"/>
                        <a:pt x="229" y="240"/>
                      </a:cubicBezTo>
                      <a:cubicBezTo>
                        <a:pt x="234" y="240"/>
                        <a:pt x="243" y="244"/>
                        <a:pt x="245" y="246"/>
                      </a:cubicBezTo>
                      <a:cubicBezTo>
                        <a:pt x="248" y="248"/>
                        <a:pt x="254" y="244"/>
                        <a:pt x="255" y="240"/>
                      </a:cubicBezTo>
                      <a:cubicBezTo>
                        <a:pt x="257" y="236"/>
                        <a:pt x="261" y="240"/>
                        <a:pt x="259" y="241"/>
                      </a:cubicBezTo>
                      <a:cubicBezTo>
                        <a:pt x="256" y="243"/>
                        <a:pt x="260" y="246"/>
                        <a:pt x="260" y="244"/>
                      </a:cubicBezTo>
                      <a:cubicBezTo>
                        <a:pt x="260" y="241"/>
                        <a:pt x="262" y="239"/>
                        <a:pt x="262" y="242"/>
                      </a:cubicBezTo>
                      <a:cubicBezTo>
                        <a:pt x="263" y="245"/>
                        <a:pt x="267" y="245"/>
                        <a:pt x="268" y="247"/>
                      </a:cubicBezTo>
                      <a:cubicBezTo>
                        <a:pt x="269" y="249"/>
                        <a:pt x="270" y="251"/>
                        <a:pt x="270" y="249"/>
                      </a:cubicBezTo>
                      <a:cubicBezTo>
                        <a:pt x="270" y="247"/>
                        <a:pt x="271" y="245"/>
                        <a:pt x="274" y="244"/>
                      </a:cubicBezTo>
                      <a:cubicBezTo>
                        <a:pt x="277" y="243"/>
                        <a:pt x="279" y="241"/>
                        <a:pt x="282" y="239"/>
                      </a:cubicBezTo>
                      <a:cubicBezTo>
                        <a:pt x="285" y="236"/>
                        <a:pt x="297" y="236"/>
                        <a:pt x="298" y="236"/>
                      </a:cubicBezTo>
                      <a:cubicBezTo>
                        <a:pt x="300" y="236"/>
                        <a:pt x="300" y="225"/>
                        <a:pt x="301" y="220"/>
                      </a:cubicBezTo>
                      <a:cubicBezTo>
                        <a:pt x="302" y="214"/>
                        <a:pt x="306" y="213"/>
                        <a:pt x="307" y="207"/>
                      </a:cubicBezTo>
                      <a:cubicBezTo>
                        <a:pt x="308" y="201"/>
                        <a:pt x="314" y="190"/>
                        <a:pt x="316" y="190"/>
                      </a:cubicBezTo>
                      <a:cubicBezTo>
                        <a:pt x="317" y="189"/>
                        <a:pt x="320" y="188"/>
                        <a:pt x="321" y="184"/>
                      </a:cubicBezTo>
                      <a:cubicBezTo>
                        <a:pt x="321" y="181"/>
                        <a:pt x="325" y="177"/>
                        <a:pt x="325" y="173"/>
                      </a:cubicBezTo>
                      <a:cubicBezTo>
                        <a:pt x="325" y="169"/>
                        <a:pt x="327" y="164"/>
                        <a:pt x="327" y="163"/>
                      </a:cubicBezTo>
                      <a:cubicBezTo>
                        <a:pt x="326" y="162"/>
                        <a:pt x="325" y="158"/>
                        <a:pt x="328" y="155"/>
                      </a:cubicBezTo>
                      <a:cubicBezTo>
                        <a:pt x="330" y="152"/>
                        <a:pt x="327" y="149"/>
                        <a:pt x="328" y="148"/>
                      </a:cubicBezTo>
                      <a:close/>
                      <a:moveTo>
                        <a:pt x="149" y="8"/>
                      </a:moveTo>
                      <a:cubicBezTo>
                        <a:pt x="149" y="6"/>
                        <a:pt x="136" y="8"/>
                        <a:pt x="139" y="11"/>
                      </a:cubicBezTo>
                      <a:cubicBezTo>
                        <a:pt x="141" y="12"/>
                        <a:pt x="150" y="10"/>
                        <a:pt x="149" y="8"/>
                      </a:cubicBezTo>
                      <a:close/>
                      <a:moveTo>
                        <a:pt x="189" y="219"/>
                      </a:moveTo>
                      <a:cubicBezTo>
                        <a:pt x="191" y="221"/>
                        <a:pt x="198" y="220"/>
                        <a:pt x="199" y="218"/>
                      </a:cubicBezTo>
                      <a:cubicBezTo>
                        <a:pt x="200" y="215"/>
                        <a:pt x="188" y="218"/>
                        <a:pt x="189" y="219"/>
                      </a:cubicBezTo>
                      <a:close/>
                      <a:moveTo>
                        <a:pt x="270" y="269"/>
                      </a:moveTo>
                      <a:cubicBezTo>
                        <a:pt x="265" y="269"/>
                        <a:pt x="258" y="264"/>
                        <a:pt x="256" y="265"/>
                      </a:cubicBezTo>
                      <a:cubicBezTo>
                        <a:pt x="254" y="265"/>
                        <a:pt x="263" y="278"/>
                        <a:pt x="260" y="281"/>
                      </a:cubicBezTo>
                      <a:cubicBezTo>
                        <a:pt x="258" y="284"/>
                        <a:pt x="267" y="293"/>
                        <a:pt x="271" y="293"/>
                      </a:cubicBezTo>
                      <a:cubicBezTo>
                        <a:pt x="274" y="294"/>
                        <a:pt x="273" y="290"/>
                        <a:pt x="275" y="290"/>
                      </a:cubicBezTo>
                      <a:cubicBezTo>
                        <a:pt x="278" y="290"/>
                        <a:pt x="277" y="288"/>
                        <a:pt x="277" y="286"/>
                      </a:cubicBezTo>
                      <a:cubicBezTo>
                        <a:pt x="277" y="284"/>
                        <a:pt x="280" y="288"/>
                        <a:pt x="282" y="287"/>
                      </a:cubicBezTo>
                      <a:cubicBezTo>
                        <a:pt x="284" y="286"/>
                        <a:pt x="281" y="278"/>
                        <a:pt x="284" y="278"/>
                      </a:cubicBezTo>
                      <a:cubicBezTo>
                        <a:pt x="287" y="278"/>
                        <a:pt x="285" y="269"/>
                        <a:pt x="284" y="266"/>
                      </a:cubicBezTo>
                      <a:cubicBezTo>
                        <a:pt x="283" y="263"/>
                        <a:pt x="275" y="268"/>
                        <a:pt x="270" y="26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59" name="Freeform 142">
                  <a:extLst>
                    <a:ext uri="{FF2B5EF4-FFF2-40B4-BE49-F238E27FC236}">
                      <a16:creationId xmlns:a16="http://schemas.microsoft.com/office/drawing/2014/main" id="{FD9D5778-2B85-4AD5-8E8F-B44041E32F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801184" y="-6661267"/>
                  <a:ext cx="622696" cy="739452"/>
                </a:xfrm>
                <a:custGeom>
                  <a:avLst/>
                  <a:gdLst>
                    <a:gd name="T0" fmla="*/ 62 w 101"/>
                    <a:gd name="T1" fmla="*/ 58 h 120"/>
                    <a:gd name="T2" fmla="*/ 56 w 101"/>
                    <a:gd name="T3" fmla="*/ 60 h 120"/>
                    <a:gd name="T4" fmla="*/ 48 w 101"/>
                    <a:gd name="T5" fmla="*/ 57 h 120"/>
                    <a:gd name="T6" fmla="*/ 44 w 101"/>
                    <a:gd name="T7" fmla="*/ 64 h 120"/>
                    <a:gd name="T8" fmla="*/ 37 w 101"/>
                    <a:gd name="T9" fmla="*/ 75 h 120"/>
                    <a:gd name="T10" fmla="*/ 15 w 101"/>
                    <a:gd name="T11" fmla="*/ 90 h 120"/>
                    <a:gd name="T12" fmla="*/ 5 w 101"/>
                    <a:gd name="T13" fmla="*/ 99 h 120"/>
                    <a:gd name="T14" fmla="*/ 3 w 101"/>
                    <a:gd name="T15" fmla="*/ 108 h 120"/>
                    <a:gd name="T16" fmla="*/ 10 w 101"/>
                    <a:gd name="T17" fmla="*/ 111 h 120"/>
                    <a:gd name="T18" fmla="*/ 16 w 101"/>
                    <a:gd name="T19" fmla="*/ 114 h 120"/>
                    <a:gd name="T20" fmla="*/ 31 w 101"/>
                    <a:gd name="T21" fmla="*/ 110 h 120"/>
                    <a:gd name="T22" fmla="*/ 36 w 101"/>
                    <a:gd name="T23" fmla="*/ 101 h 120"/>
                    <a:gd name="T24" fmla="*/ 40 w 101"/>
                    <a:gd name="T25" fmla="*/ 93 h 120"/>
                    <a:gd name="T26" fmla="*/ 49 w 101"/>
                    <a:gd name="T27" fmla="*/ 87 h 120"/>
                    <a:gd name="T28" fmla="*/ 52 w 101"/>
                    <a:gd name="T29" fmla="*/ 83 h 120"/>
                    <a:gd name="T30" fmla="*/ 57 w 101"/>
                    <a:gd name="T31" fmla="*/ 75 h 120"/>
                    <a:gd name="T32" fmla="*/ 63 w 101"/>
                    <a:gd name="T33" fmla="*/ 65 h 120"/>
                    <a:gd name="T34" fmla="*/ 62 w 101"/>
                    <a:gd name="T35" fmla="*/ 58 h 120"/>
                    <a:gd name="T36" fmla="*/ 11 w 101"/>
                    <a:gd name="T37" fmla="*/ 120 h 120"/>
                    <a:gd name="T38" fmla="*/ 14 w 101"/>
                    <a:gd name="T39" fmla="*/ 116 h 120"/>
                    <a:gd name="T40" fmla="*/ 11 w 101"/>
                    <a:gd name="T41" fmla="*/ 120 h 120"/>
                    <a:gd name="T42" fmla="*/ 91 w 101"/>
                    <a:gd name="T43" fmla="*/ 29 h 120"/>
                    <a:gd name="T44" fmla="*/ 83 w 101"/>
                    <a:gd name="T45" fmla="*/ 29 h 120"/>
                    <a:gd name="T46" fmla="*/ 79 w 101"/>
                    <a:gd name="T47" fmla="*/ 24 h 120"/>
                    <a:gd name="T48" fmla="*/ 75 w 101"/>
                    <a:gd name="T49" fmla="*/ 17 h 120"/>
                    <a:gd name="T50" fmla="*/ 75 w 101"/>
                    <a:gd name="T51" fmla="*/ 22 h 120"/>
                    <a:gd name="T52" fmla="*/ 72 w 101"/>
                    <a:gd name="T53" fmla="*/ 20 h 120"/>
                    <a:gd name="T54" fmla="*/ 69 w 101"/>
                    <a:gd name="T55" fmla="*/ 15 h 120"/>
                    <a:gd name="T56" fmla="*/ 66 w 101"/>
                    <a:gd name="T57" fmla="*/ 8 h 120"/>
                    <a:gd name="T58" fmla="*/ 56 w 101"/>
                    <a:gd name="T59" fmla="*/ 0 h 120"/>
                    <a:gd name="T60" fmla="*/ 58 w 101"/>
                    <a:gd name="T61" fmla="*/ 9 h 120"/>
                    <a:gd name="T62" fmla="*/ 64 w 101"/>
                    <a:gd name="T63" fmla="*/ 14 h 120"/>
                    <a:gd name="T64" fmla="*/ 68 w 101"/>
                    <a:gd name="T65" fmla="*/ 21 h 120"/>
                    <a:gd name="T66" fmla="*/ 67 w 101"/>
                    <a:gd name="T67" fmla="*/ 33 h 120"/>
                    <a:gd name="T68" fmla="*/ 61 w 101"/>
                    <a:gd name="T69" fmla="*/ 40 h 120"/>
                    <a:gd name="T70" fmla="*/ 71 w 101"/>
                    <a:gd name="T71" fmla="*/ 50 h 120"/>
                    <a:gd name="T72" fmla="*/ 69 w 101"/>
                    <a:gd name="T73" fmla="*/ 63 h 120"/>
                    <a:gd name="T74" fmla="*/ 76 w 101"/>
                    <a:gd name="T75" fmla="*/ 64 h 120"/>
                    <a:gd name="T76" fmla="*/ 85 w 101"/>
                    <a:gd name="T77" fmla="*/ 51 h 120"/>
                    <a:gd name="T78" fmla="*/ 88 w 101"/>
                    <a:gd name="T79" fmla="*/ 43 h 120"/>
                    <a:gd name="T80" fmla="*/ 93 w 101"/>
                    <a:gd name="T81" fmla="*/ 41 h 120"/>
                    <a:gd name="T82" fmla="*/ 96 w 101"/>
                    <a:gd name="T83" fmla="*/ 36 h 120"/>
                    <a:gd name="T84" fmla="*/ 99 w 101"/>
                    <a:gd name="T85" fmla="*/ 29 h 120"/>
                    <a:gd name="T86" fmla="*/ 91 w 101"/>
                    <a:gd name="T87" fmla="*/ 29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01" h="120">
                      <a:moveTo>
                        <a:pt x="62" y="58"/>
                      </a:moveTo>
                      <a:cubicBezTo>
                        <a:pt x="60" y="56"/>
                        <a:pt x="59" y="59"/>
                        <a:pt x="56" y="60"/>
                      </a:cubicBezTo>
                      <a:cubicBezTo>
                        <a:pt x="53" y="61"/>
                        <a:pt x="51" y="54"/>
                        <a:pt x="48" y="57"/>
                      </a:cubicBezTo>
                      <a:cubicBezTo>
                        <a:pt x="45" y="60"/>
                        <a:pt x="48" y="61"/>
                        <a:pt x="44" y="64"/>
                      </a:cubicBezTo>
                      <a:cubicBezTo>
                        <a:pt x="40" y="67"/>
                        <a:pt x="42" y="68"/>
                        <a:pt x="37" y="75"/>
                      </a:cubicBezTo>
                      <a:cubicBezTo>
                        <a:pt x="33" y="82"/>
                        <a:pt x="17" y="86"/>
                        <a:pt x="15" y="90"/>
                      </a:cubicBezTo>
                      <a:cubicBezTo>
                        <a:pt x="13" y="93"/>
                        <a:pt x="5" y="97"/>
                        <a:pt x="5" y="99"/>
                      </a:cubicBezTo>
                      <a:cubicBezTo>
                        <a:pt x="5" y="102"/>
                        <a:pt x="0" y="104"/>
                        <a:pt x="3" y="108"/>
                      </a:cubicBezTo>
                      <a:cubicBezTo>
                        <a:pt x="5" y="111"/>
                        <a:pt x="8" y="109"/>
                        <a:pt x="10" y="111"/>
                      </a:cubicBezTo>
                      <a:cubicBezTo>
                        <a:pt x="12" y="114"/>
                        <a:pt x="15" y="112"/>
                        <a:pt x="16" y="114"/>
                      </a:cubicBezTo>
                      <a:cubicBezTo>
                        <a:pt x="17" y="116"/>
                        <a:pt x="25" y="116"/>
                        <a:pt x="31" y="110"/>
                      </a:cubicBezTo>
                      <a:cubicBezTo>
                        <a:pt x="37" y="105"/>
                        <a:pt x="34" y="102"/>
                        <a:pt x="36" y="101"/>
                      </a:cubicBezTo>
                      <a:cubicBezTo>
                        <a:pt x="38" y="100"/>
                        <a:pt x="39" y="95"/>
                        <a:pt x="40" y="93"/>
                      </a:cubicBezTo>
                      <a:cubicBezTo>
                        <a:pt x="42" y="90"/>
                        <a:pt x="43" y="87"/>
                        <a:pt x="49" y="87"/>
                      </a:cubicBezTo>
                      <a:cubicBezTo>
                        <a:pt x="55" y="87"/>
                        <a:pt x="52" y="86"/>
                        <a:pt x="52" y="83"/>
                      </a:cubicBezTo>
                      <a:cubicBezTo>
                        <a:pt x="51" y="80"/>
                        <a:pt x="57" y="79"/>
                        <a:pt x="57" y="75"/>
                      </a:cubicBezTo>
                      <a:cubicBezTo>
                        <a:pt x="57" y="71"/>
                        <a:pt x="65" y="68"/>
                        <a:pt x="63" y="65"/>
                      </a:cubicBezTo>
                      <a:cubicBezTo>
                        <a:pt x="62" y="62"/>
                        <a:pt x="65" y="60"/>
                        <a:pt x="62" y="58"/>
                      </a:cubicBezTo>
                      <a:close/>
                      <a:moveTo>
                        <a:pt x="11" y="120"/>
                      </a:moveTo>
                      <a:cubicBezTo>
                        <a:pt x="12" y="120"/>
                        <a:pt x="16" y="119"/>
                        <a:pt x="14" y="116"/>
                      </a:cubicBezTo>
                      <a:cubicBezTo>
                        <a:pt x="11" y="113"/>
                        <a:pt x="8" y="119"/>
                        <a:pt x="11" y="120"/>
                      </a:cubicBezTo>
                      <a:close/>
                      <a:moveTo>
                        <a:pt x="91" y="29"/>
                      </a:moveTo>
                      <a:cubicBezTo>
                        <a:pt x="90" y="32"/>
                        <a:pt x="87" y="29"/>
                        <a:pt x="83" y="29"/>
                      </a:cubicBezTo>
                      <a:cubicBezTo>
                        <a:pt x="80" y="29"/>
                        <a:pt x="79" y="27"/>
                        <a:pt x="79" y="24"/>
                      </a:cubicBezTo>
                      <a:cubicBezTo>
                        <a:pt x="79" y="21"/>
                        <a:pt x="78" y="17"/>
                        <a:pt x="75" y="17"/>
                      </a:cubicBezTo>
                      <a:cubicBezTo>
                        <a:pt x="72" y="18"/>
                        <a:pt x="76" y="21"/>
                        <a:pt x="75" y="22"/>
                      </a:cubicBezTo>
                      <a:cubicBezTo>
                        <a:pt x="74" y="23"/>
                        <a:pt x="73" y="20"/>
                        <a:pt x="72" y="20"/>
                      </a:cubicBezTo>
                      <a:cubicBezTo>
                        <a:pt x="70" y="20"/>
                        <a:pt x="69" y="18"/>
                        <a:pt x="69" y="15"/>
                      </a:cubicBezTo>
                      <a:cubicBezTo>
                        <a:pt x="69" y="11"/>
                        <a:pt x="66" y="12"/>
                        <a:pt x="66" y="8"/>
                      </a:cubicBezTo>
                      <a:cubicBezTo>
                        <a:pt x="66" y="3"/>
                        <a:pt x="59" y="0"/>
                        <a:pt x="56" y="0"/>
                      </a:cubicBezTo>
                      <a:cubicBezTo>
                        <a:pt x="52" y="0"/>
                        <a:pt x="56" y="7"/>
                        <a:pt x="58" y="9"/>
                      </a:cubicBezTo>
                      <a:cubicBezTo>
                        <a:pt x="60" y="11"/>
                        <a:pt x="64" y="13"/>
                        <a:pt x="64" y="14"/>
                      </a:cubicBezTo>
                      <a:cubicBezTo>
                        <a:pt x="64" y="16"/>
                        <a:pt x="66" y="20"/>
                        <a:pt x="68" y="21"/>
                      </a:cubicBezTo>
                      <a:cubicBezTo>
                        <a:pt x="71" y="22"/>
                        <a:pt x="67" y="28"/>
                        <a:pt x="67" y="33"/>
                      </a:cubicBezTo>
                      <a:cubicBezTo>
                        <a:pt x="67" y="38"/>
                        <a:pt x="63" y="37"/>
                        <a:pt x="61" y="40"/>
                      </a:cubicBezTo>
                      <a:cubicBezTo>
                        <a:pt x="58" y="43"/>
                        <a:pt x="67" y="47"/>
                        <a:pt x="71" y="50"/>
                      </a:cubicBezTo>
                      <a:cubicBezTo>
                        <a:pt x="75" y="53"/>
                        <a:pt x="68" y="61"/>
                        <a:pt x="69" y="63"/>
                      </a:cubicBezTo>
                      <a:cubicBezTo>
                        <a:pt x="70" y="64"/>
                        <a:pt x="72" y="65"/>
                        <a:pt x="76" y="64"/>
                      </a:cubicBezTo>
                      <a:cubicBezTo>
                        <a:pt x="80" y="63"/>
                        <a:pt x="82" y="54"/>
                        <a:pt x="85" y="51"/>
                      </a:cubicBezTo>
                      <a:cubicBezTo>
                        <a:pt x="88" y="49"/>
                        <a:pt x="86" y="45"/>
                        <a:pt x="88" y="43"/>
                      </a:cubicBezTo>
                      <a:cubicBezTo>
                        <a:pt x="89" y="41"/>
                        <a:pt x="91" y="41"/>
                        <a:pt x="93" y="41"/>
                      </a:cubicBezTo>
                      <a:cubicBezTo>
                        <a:pt x="95" y="41"/>
                        <a:pt x="94" y="36"/>
                        <a:pt x="96" y="36"/>
                      </a:cubicBezTo>
                      <a:cubicBezTo>
                        <a:pt x="99" y="36"/>
                        <a:pt x="98" y="33"/>
                        <a:pt x="99" y="29"/>
                      </a:cubicBezTo>
                      <a:cubicBezTo>
                        <a:pt x="101" y="25"/>
                        <a:pt x="93" y="27"/>
                        <a:pt x="91" y="2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0" name="Freeform 143">
                  <a:extLst>
                    <a:ext uri="{FF2B5EF4-FFF2-40B4-BE49-F238E27FC236}">
                      <a16:creationId xmlns:a16="http://schemas.microsoft.com/office/drawing/2014/main" id="{F678E4B4-BA79-4CB2-B378-A936710124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259567" y="-7660176"/>
                  <a:ext cx="136215" cy="116756"/>
                </a:xfrm>
                <a:custGeom>
                  <a:avLst/>
                  <a:gdLst>
                    <a:gd name="T0" fmla="*/ 3 w 22"/>
                    <a:gd name="T1" fmla="*/ 16 h 19"/>
                    <a:gd name="T2" fmla="*/ 12 w 22"/>
                    <a:gd name="T3" fmla="*/ 14 h 19"/>
                    <a:gd name="T4" fmla="*/ 3 w 22"/>
                    <a:gd name="T5" fmla="*/ 16 h 19"/>
                    <a:gd name="T6" fmla="*/ 14 w 22"/>
                    <a:gd name="T7" fmla="*/ 7 h 19"/>
                    <a:gd name="T8" fmla="*/ 22 w 22"/>
                    <a:gd name="T9" fmla="*/ 3 h 19"/>
                    <a:gd name="T10" fmla="*/ 14 w 22"/>
                    <a:gd name="T11" fmla="*/ 7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19">
                      <a:moveTo>
                        <a:pt x="3" y="16"/>
                      </a:moveTo>
                      <a:cubicBezTo>
                        <a:pt x="6" y="19"/>
                        <a:pt x="12" y="19"/>
                        <a:pt x="12" y="14"/>
                      </a:cubicBezTo>
                      <a:cubicBezTo>
                        <a:pt x="12" y="9"/>
                        <a:pt x="0" y="14"/>
                        <a:pt x="3" y="16"/>
                      </a:cubicBezTo>
                      <a:close/>
                      <a:moveTo>
                        <a:pt x="14" y="7"/>
                      </a:moveTo>
                      <a:cubicBezTo>
                        <a:pt x="16" y="8"/>
                        <a:pt x="22" y="6"/>
                        <a:pt x="22" y="3"/>
                      </a:cubicBezTo>
                      <a:cubicBezTo>
                        <a:pt x="22" y="0"/>
                        <a:pt x="11" y="6"/>
                        <a:pt x="14" y="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1" name="Freeform 144">
                  <a:extLst>
                    <a:ext uri="{FF2B5EF4-FFF2-40B4-BE49-F238E27FC236}">
                      <a16:creationId xmlns:a16="http://schemas.microsoft.com/office/drawing/2014/main" id="{023E38C2-6F14-476B-9750-E3741A6E40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424910" y="-10773659"/>
                  <a:ext cx="710264" cy="450807"/>
                </a:xfrm>
                <a:custGeom>
                  <a:avLst/>
                  <a:gdLst>
                    <a:gd name="T0" fmla="*/ 114 w 115"/>
                    <a:gd name="T1" fmla="*/ 46 h 73"/>
                    <a:gd name="T2" fmla="*/ 107 w 115"/>
                    <a:gd name="T3" fmla="*/ 44 h 73"/>
                    <a:gd name="T4" fmla="*/ 99 w 115"/>
                    <a:gd name="T5" fmla="*/ 38 h 73"/>
                    <a:gd name="T6" fmla="*/ 90 w 115"/>
                    <a:gd name="T7" fmla="*/ 33 h 73"/>
                    <a:gd name="T8" fmla="*/ 82 w 115"/>
                    <a:gd name="T9" fmla="*/ 27 h 73"/>
                    <a:gd name="T10" fmla="*/ 78 w 115"/>
                    <a:gd name="T11" fmla="*/ 20 h 73"/>
                    <a:gd name="T12" fmla="*/ 75 w 115"/>
                    <a:gd name="T13" fmla="*/ 15 h 73"/>
                    <a:gd name="T14" fmla="*/ 63 w 115"/>
                    <a:gd name="T15" fmla="*/ 14 h 73"/>
                    <a:gd name="T16" fmla="*/ 60 w 115"/>
                    <a:gd name="T17" fmla="*/ 5 h 73"/>
                    <a:gd name="T18" fmla="*/ 54 w 115"/>
                    <a:gd name="T19" fmla="*/ 3 h 73"/>
                    <a:gd name="T20" fmla="*/ 48 w 115"/>
                    <a:gd name="T21" fmla="*/ 2 h 73"/>
                    <a:gd name="T22" fmla="*/ 45 w 115"/>
                    <a:gd name="T23" fmla="*/ 3 h 73"/>
                    <a:gd name="T24" fmla="*/ 42 w 115"/>
                    <a:gd name="T25" fmla="*/ 6 h 73"/>
                    <a:gd name="T26" fmla="*/ 36 w 115"/>
                    <a:gd name="T27" fmla="*/ 11 h 73"/>
                    <a:gd name="T28" fmla="*/ 33 w 115"/>
                    <a:gd name="T29" fmla="*/ 14 h 73"/>
                    <a:gd name="T30" fmla="*/ 28 w 115"/>
                    <a:gd name="T31" fmla="*/ 13 h 73"/>
                    <a:gd name="T32" fmla="*/ 22 w 115"/>
                    <a:gd name="T33" fmla="*/ 12 h 73"/>
                    <a:gd name="T34" fmla="*/ 12 w 115"/>
                    <a:gd name="T35" fmla="*/ 4 h 73"/>
                    <a:gd name="T36" fmla="*/ 4 w 115"/>
                    <a:gd name="T37" fmla="*/ 9 h 73"/>
                    <a:gd name="T38" fmla="*/ 8 w 115"/>
                    <a:gd name="T39" fmla="*/ 7 h 73"/>
                    <a:gd name="T40" fmla="*/ 14 w 115"/>
                    <a:gd name="T41" fmla="*/ 14 h 73"/>
                    <a:gd name="T42" fmla="*/ 18 w 115"/>
                    <a:gd name="T43" fmla="*/ 19 h 73"/>
                    <a:gd name="T44" fmla="*/ 10 w 115"/>
                    <a:gd name="T45" fmla="*/ 21 h 73"/>
                    <a:gd name="T46" fmla="*/ 2 w 115"/>
                    <a:gd name="T47" fmla="*/ 21 h 73"/>
                    <a:gd name="T48" fmla="*/ 4 w 115"/>
                    <a:gd name="T49" fmla="*/ 28 h 73"/>
                    <a:gd name="T50" fmla="*/ 4 w 115"/>
                    <a:gd name="T51" fmla="*/ 33 h 73"/>
                    <a:gd name="T52" fmla="*/ 9 w 115"/>
                    <a:gd name="T53" fmla="*/ 34 h 73"/>
                    <a:gd name="T54" fmla="*/ 11 w 115"/>
                    <a:gd name="T55" fmla="*/ 41 h 73"/>
                    <a:gd name="T56" fmla="*/ 11 w 115"/>
                    <a:gd name="T57" fmla="*/ 52 h 73"/>
                    <a:gd name="T58" fmla="*/ 17 w 115"/>
                    <a:gd name="T59" fmla="*/ 50 h 73"/>
                    <a:gd name="T60" fmla="*/ 24 w 115"/>
                    <a:gd name="T61" fmla="*/ 45 h 73"/>
                    <a:gd name="T62" fmla="*/ 30 w 115"/>
                    <a:gd name="T63" fmla="*/ 45 h 73"/>
                    <a:gd name="T64" fmla="*/ 39 w 115"/>
                    <a:gd name="T65" fmla="*/ 45 h 73"/>
                    <a:gd name="T66" fmla="*/ 45 w 115"/>
                    <a:gd name="T67" fmla="*/ 48 h 73"/>
                    <a:gd name="T68" fmla="*/ 49 w 115"/>
                    <a:gd name="T69" fmla="*/ 49 h 73"/>
                    <a:gd name="T70" fmla="*/ 56 w 115"/>
                    <a:gd name="T71" fmla="*/ 52 h 73"/>
                    <a:gd name="T72" fmla="*/ 60 w 115"/>
                    <a:gd name="T73" fmla="*/ 54 h 73"/>
                    <a:gd name="T74" fmla="*/ 65 w 115"/>
                    <a:gd name="T75" fmla="*/ 59 h 73"/>
                    <a:gd name="T76" fmla="*/ 71 w 115"/>
                    <a:gd name="T77" fmla="*/ 60 h 73"/>
                    <a:gd name="T78" fmla="*/ 72 w 115"/>
                    <a:gd name="T79" fmla="*/ 70 h 73"/>
                    <a:gd name="T80" fmla="*/ 74 w 115"/>
                    <a:gd name="T81" fmla="*/ 70 h 73"/>
                    <a:gd name="T82" fmla="*/ 80 w 115"/>
                    <a:gd name="T83" fmla="*/ 71 h 73"/>
                    <a:gd name="T84" fmla="*/ 87 w 115"/>
                    <a:gd name="T85" fmla="*/ 69 h 73"/>
                    <a:gd name="T86" fmla="*/ 98 w 115"/>
                    <a:gd name="T87" fmla="*/ 62 h 73"/>
                    <a:gd name="T88" fmla="*/ 103 w 115"/>
                    <a:gd name="T89" fmla="*/ 54 h 73"/>
                    <a:gd name="T90" fmla="*/ 109 w 115"/>
                    <a:gd name="T91" fmla="*/ 50 h 73"/>
                    <a:gd name="T92" fmla="*/ 115 w 115"/>
                    <a:gd name="T93" fmla="*/ 52 h 73"/>
                    <a:gd name="T94" fmla="*/ 114 w 115"/>
                    <a:gd name="T95" fmla="*/ 46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15" h="73">
                      <a:moveTo>
                        <a:pt x="114" y="46"/>
                      </a:moveTo>
                      <a:cubicBezTo>
                        <a:pt x="114" y="46"/>
                        <a:pt x="109" y="44"/>
                        <a:pt x="107" y="44"/>
                      </a:cubicBezTo>
                      <a:cubicBezTo>
                        <a:pt x="105" y="44"/>
                        <a:pt x="102" y="40"/>
                        <a:pt x="99" y="38"/>
                      </a:cubicBezTo>
                      <a:cubicBezTo>
                        <a:pt x="96" y="37"/>
                        <a:pt x="91" y="35"/>
                        <a:pt x="90" y="33"/>
                      </a:cubicBezTo>
                      <a:cubicBezTo>
                        <a:pt x="88" y="31"/>
                        <a:pt x="82" y="29"/>
                        <a:pt x="82" y="27"/>
                      </a:cubicBezTo>
                      <a:cubicBezTo>
                        <a:pt x="81" y="25"/>
                        <a:pt x="80" y="23"/>
                        <a:pt x="78" y="20"/>
                      </a:cubicBezTo>
                      <a:cubicBezTo>
                        <a:pt x="76" y="18"/>
                        <a:pt x="76" y="15"/>
                        <a:pt x="75" y="15"/>
                      </a:cubicBezTo>
                      <a:cubicBezTo>
                        <a:pt x="73" y="15"/>
                        <a:pt x="63" y="15"/>
                        <a:pt x="63" y="14"/>
                      </a:cubicBezTo>
                      <a:cubicBezTo>
                        <a:pt x="63" y="12"/>
                        <a:pt x="62" y="6"/>
                        <a:pt x="60" y="5"/>
                      </a:cubicBezTo>
                      <a:cubicBezTo>
                        <a:pt x="58" y="5"/>
                        <a:pt x="55" y="4"/>
                        <a:pt x="54" y="3"/>
                      </a:cubicBezTo>
                      <a:cubicBezTo>
                        <a:pt x="53" y="2"/>
                        <a:pt x="49" y="0"/>
                        <a:pt x="48" y="2"/>
                      </a:cubicBezTo>
                      <a:cubicBezTo>
                        <a:pt x="47" y="3"/>
                        <a:pt x="46" y="3"/>
                        <a:pt x="45" y="3"/>
                      </a:cubicBezTo>
                      <a:cubicBezTo>
                        <a:pt x="44" y="3"/>
                        <a:pt x="44" y="7"/>
                        <a:pt x="42" y="6"/>
                      </a:cubicBezTo>
                      <a:cubicBezTo>
                        <a:pt x="40" y="6"/>
                        <a:pt x="36" y="9"/>
                        <a:pt x="36" y="11"/>
                      </a:cubicBezTo>
                      <a:cubicBezTo>
                        <a:pt x="36" y="12"/>
                        <a:pt x="36" y="15"/>
                        <a:pt x="33" y="14"/>
                      </a:cubicBezTo>
                      <a:cubicBezTo>
                        <a:pt x="32" y="14"/>
                        <a:pt x="30" y="14"/>
                        <a:pt x="28" y="13"/>
                      </a:cubicBezTo>
                      <a:cubicBezTo>
                        <a:pt x="27" y="13"/>
                        <a:pt x="25" y="15"/>
                        <a:pt x="22" y="12"/>
                      </a:cubicBezTo>
                      <a:cubicBezTo>
                        <a:pt x="19" y="8"/>
                        <a:pt x="15" y="4"/>
                        <a:pt x="12" y="4"/>
                      </a:cubicBezTo>
                      <a:cubicBezTo>
                        <a:pt x="10" y="4"/>
                        <a:pt x="2" y="4"/>
                        <a:pt x="4" y="9"/>
                      </a:cubicBezTo>
                      <a:cubicBezTo>
                        <a:pt x="5" y="8"/>
                        <a:pt x="6" y="7"/>
                        <a:pt x="8" y="7"/>
                      </a:cubicBezTo>
                      <a:cubicBezTo>
                        <a:pt x="13" y="8"/>
                        <a:pt x="11" y="14"/>
                        <a:pt x="14" y="14"/>
                      </a:cubicBezTo>
                      <a:cubicBezTo>
                        <a:pt x="17" y="15"/>
                        <a:pt x="21" y="19"/>
                        <a:pt x="18" y="19"/>
                      </a:cubicBezTo>
                      <a:cubicBezTo>
                        <a:pt x="15" y="19"/>
                        <a:pt x="12" y="22"/>
                        <a:pt x="10" y="21"/>
                      </a:cubicBezTo>
                      <a:cubicBezTo>
                        <a:pt x="7" y="20"/>
                        <a:pt x="3" y="18"/>
                        <a:pt x="2" y="21"/>
                      </a:cubicBezTo>
                      <a:cubicBezTo>
                        <a:pt x="1" y="24"/>
                        <a:pt x="0" y="28"/>
                        <a:pt x="4" y="28"/>
                      </a:cubicBezTo>
                      <a:cubicBezTo>
                        <a:pt x="8" y="27"/>
                        <a:pt x="7" y="30"/>
                        <a:pt x="4" y="33"/>
                      </a:cubicBezTo>
                      <a:cubicBezTo>
                        <a:pt x="2" y="35"/>
                        <a:pt x="8" y="32"/>
                        <a:pt x="9" y="34"/>
                      </a:cubicBezTo>
                      <a:cubicBezTo>
                        <a:pt x="9" y="37"/>
                        <a:pt x="12" y="37"/>
                        <a:pt x="11" y="41"/>
                      </a:cubicBezTo>
                      <a:cubicBezTo>
                        <a:pt x="10" y="43"/>
                        <a:pt x="10" y="48"/>
                        <a:pt x="11" y="52"/>
                      </a:cubicBezTo>
                      <a:cubicBezTo>
                        <a:pt x="13" y="52"/>
                        <a:pt x="16" y="51"/>
                        <a:pt x="17" y="50"/>
                      </a:cubicBezTo>
                      <a:cubicBezTo>
                        <a:pt x="18" y="49"/>
                        <a:pt x="22" y="45"/>
                        <a:pt x="24" y="45"/>
                      </a:cubicBezTo>
                      <a:cubicBezTo>
                        <a:pt x="26" y="45"/>
                        <a:pt x="29" y="46"/>
                        <a:pt x="30" y="45"/>
                      </a:cubicBezTo>
                      <a:cubicBezTo>
                        <a:pt x="31" y="43"/>
                        <a:pt x="38" y="43"/>
                        <a:pt x="39" y="45"/>
                      </a:cubicBezTo>
                      <a:cubicBezTo>
                        <a:pt x="41" y="46"/>
                        <a:pt x="44" y="48"/>
                        <a:pt x="45" y="48"/>
                      </a:cubicBezTo>
                      <a:cubicBezTo>
                        <a:pt x="46" y="48"/>
                        <a:pt x="47" y="50"/>
                        <a:pt x="49" y="49"/>
                      </a:cubicBezTo>
                      <a:cubicBezTo>
                        <a:pt x="51" y="49"/>
                        <a:pt x="56" y="50"/>
                        <a:pt x="56" y="52"/>
                      </a:cubicBezTo>
                      <a:cubicBezTo>
                        <a:pt x="56" y="53"/>
                        <a:pt x="58" y="54"/>
                        <a:pt x="60" y="54"/>
                      </a:cubicBezTo>
                      <a:cubicBezTo>
                        <a:pt x="61" y="54"/>
                        <a:pt x="63" y="59"/>
                        <a:pt x="65" y="59"/>
                      </a:cubicBezTo>
                      <a:cubicBezTo>
                        <a:pt x="67" y="59"/>
                        <a:pt x="71" y="59"/>
                        <a:pt x="71" y="60"/>
                      </a:cubicBezTo>
                      <a:cubicBezTo>
                        <a:pt x="71" y="61"/>
                        <a:pt x="71" y="67"/>
                        <a:pt x="72" y="70"/>
                      </a:cubicBezTo>
                      <a:cubicBezTo>
                        <a:pt x="73" y="69"/>
                        <a:pt x="73" y="69"/>
                        <a:pt x="74" y="70"/>
                      </a:cubicBezTo>
                      <a:cubicBezTo>
                        <a:pt x="75" y="70"/>
                        <a:pt x="79" y="69"/>
                        <a:pt x="80" y="71"/>
                      </a:cubicBezTo>
                      <a:cubicBezTo>
                        <a:pt x="80" y="73"/>
                        <a:pt x="87" y="72"/>
                        <a:pt x="87" y="69"/>
                      </a:cubicBezTo>
                      <a:cubicBezTo>
                        <a:pt x="86" y="65"/>
                        <a:pt x="97" y="65"/>
                        <a:pt x="98" y="62"/>
                      </a:cubicBezTo>
                      <a:cubicBezTo>
                        <a:pt x="99" y="59"/>
                        <a:pt x="100" y="53"/>
                        <a:pt x="103" y="54"/>
                      </a:cubicBezTo>
                      <a:cubicBezTo>
                        <a:pt x="105" y="55"/>
                        <a:pt x="107" y="50"/>
                        <a:pt x="109" y="50"/>
                      </a:cubicBezTo>
                      <a:cubicBezTo>
                        <a:pt x="111" y="50"/>
                        <a:pt x="113" y="52"/>
                        <a:pt x="115" y="52"/>
                      </a:cubicBezTo>
                      <a:lnTo>
                        <a:pt x="114" y="4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2" name="Freeform 145">
                  <a:extLst>
                    <a:ext uri="{FF2B5EF4-FFF2-40B4-BE49-F238E27FC236}">
                      <a16:creationId xmlns:a16="http://schemas.microsoft.com/office/drawing/2014/main" id="{9690B0C3-0420-4BEF-9897-721043340E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859501" y="-10608256"/>
                  <a:ext cx="982694" cy="827020"/>
                </a:xfrm>
                <a:custGeom>
                  <a:avLst/>
                  <a:gdLst>
                    <a:gd name="T0" fmla="*/ 155 w 159"/>
                    <a:gd name="T1" fmla="*/ 116 h 134"/>
                    <a:gd name="T2" fmla="*/ 151 w 159"/>
                    <a:gd name="T3" fmla="*/ 107 h 134"/>
                    <a:gd name="T4" fmla="*/ 143 w 159"/>
                    <a:gd name="T5" fmla="*/ 100 h 134"/>
                    <a:gd name="T6" fmla="*/ 137 w 159"/>
                    <a:gd name="T7" fmla="*/ 93 h 134"/>
                    <a:gd name="T8" fmla="*/ 145 w 159"/>
                    <a:gd name="T9" fmla="*/ 82 h 134"/>
                    <a:gd name="T10" fmla="*/ 138 w 159"/>
                    <a:gd name="T11" fmla="*/ 77 h 134"/>
                    <a:gd name="T12" fmla="*/ 136 w 159"/>
                    <a:gd name="T13" fmla="*/ 68 h 134"/>
                    <a:gd name="T14" fmla="*/ 136 w 159"/>
                    <a:gd name="T15" fmla="*/ 60 h 134"/>
                    <a:gd name="T16" fmla="*/ 137 w 159"/>
                    <a:gd name="T17" fmla="*/ 53 h 134"/>
                    <a:gd name="T18" fmla="*/ 140 w 159"/>
                    <a:gd name="T19" fmla="*/ 46 h 134"/>
                    <a:gd name="T20" fmla="*/ 142 w 159"/>
                    <a:gd name="T21" fmla="*/ 43 h 134"/>
                    <a:gd name="T22" fmla="*/ 141 w 159"/>
                    <a:gd name="T23" fmla="*/ 33 h 134"/>
                    <a:gd name="T24" fmla="*/ 135 w 159"/>
                    <a:gd name="T25" fmla="*/ 32 h 134"/>
                    <a:gd name="T26" fmla="*/ 130 w 159"/>
                    <a:gd name="T27" fmla="*/ 27 h 134"/>
                    <a:gd name="T28" fmla="*/ 126 w 159"/>
                    <a:gd name="T29" fmla="*/ 25 h 134"/>
                    <a:gd name="T30" fmla="*/ 119 w 159"/>
                    <a:gd name="T31" fmla="*/ 22 h 134"/>
                    <a:gd name="T32" fmla="*/ 115 w 159"/>
                    <a:gd name="T33" fmla="*/ 21 h 134"/>
                    <a:gd name="T34" fmla="*/ 109 w 159"/>
                    <a:gd name="T35" fmla="*/ 18 h 134"/>
                    <a:gd name="T36" fmla="*/ 100 w 159"/>
                    <a:gd name="T37" fmla="*/ 18 h 134"/>
                    <a:gd name="T38" fmla="*/ 94 w 159"/>
                    <a:gd name="T39" fmla="*/ 18 h 134"/>
                    <a:gd name="T40" fmla="*/ 87 w 159"/>
                    <a:gd name="T41" fmla="*/ 23 h 134"/>
                    <a:gd name="T42" fmla="*/ 81 w 159"/>
                    <a:gd name="T43" fmla="*/ 25 h 134"/>
                    <a:gd name="T44" fmla="*/ 80 w 159"/>
                    <a:gd name="T45" fmla="*/ 29 h 134"/>
                    <a:gd name="T46" fmla="*/ 63 w 159"/>
                    <a:gd name="T47" fmla="*/ 33 h 134"/>
                    <a:gd name="T48" fmla="*/ 48 w 159"/>
                    <a:gd name="T49" fmla="*/ 24 h 134"/>
                    <a:gd name="T50" fmla="*/ 38 w 159"/>
                    <a:gd name="T51" fmla="*/ 14 h 134"/>
                    <a:gd name="T52" fmla="*/ 33 w 159"/>
                    <a:gd name="T53" fmla="*/ 10 h 134"/>
                    <a:gd name="T54" fmla="*/ 31 w 159"/>
                    <a:gd name="T55" fmla="*/ 3 h 134"/>
                    <a:gd name="T56" fmla="*/ 15 w 159"/>
                    <a:gd name="T57" fmla="*/ 10 h 134"/>
                    <a:gd name="T58" fmla="*/ 10 w 159"/>
                    <a:gd name="T59" fmla="*/ 7 h 134"/>
                    <a:gd name="T60" fmla="*/ 5 w 159"/>
                    <a:gd name="T61" fmla="*/ 1 h 134"/>
                    <a:gd name="T62" fmla="*/ 2 w 159"/>
                    <a:gd name="T63" fmla="*/ 5 h 134"/>
                    <a:gd name="T64" fmla="*/ 2 w 159"/>
                    <a:gd name="T65" fmla="*/ 11 h 134"/>
                    <a:gd name="T66" fmla="*/ 2 w 159"/>
                    <a:gd name="T67" fmla="*/ 20 h 134"/>
                    <a:gd name="T68" fmla="*/ 6 w 159"/>
                    <a:gd name="T69" fmla="*/ 26 h 134"/>
                    <a:gd name="T70" fmla="*/ 9 w 159"/>
                    <a:gd name="T71" fmla="*/ 33 h 134"/>
                    <a:gd name="T72" fmla="*/ 13 w 159"/>
                    <a:gd name="T73" fmla="*/ 37 h 134"/>
                    <a:gd name="T74" fmla="*/ 17 w 159"/>
                    <a:gd name="T75" fmla="*/ 40 h 134"/>
                    <a:gd name="T76" fmla="*/ 16 w 159"/>
                    <a:gd name="T77" fmla="*/ 45 h 134"/>
                    <a:gd name="T78" fmla="*/ 12 w 159"/>
                    <a:gd name="T79" fmla="*/ 51 h 134"/>
                    <a:gd name="T80" fmla="*/ 13 w 159"/>
                    <a:gd name="T81" fmla="*/ 59 h 134"/>
                    <a:gd name="T82" fmla="*/ 17 w 159"/>
                    <a:gd name="T83" fmla="*/ 63 h 134"/>
                    <a:gd name="T84" fmla="*/ 26 w 159"/>
                    <a:gd name="T85" fmla="*/ 69 h 134"/>
                    <a:gd name="T86" fmla="*/ 30 w 159"/>
                    <a:gd name="T87" fmla="*/ 74 h 134"/>
                    <a:gd name="T88" fmla="*/ 29 w 159"/>
                    <a:gd name="T89" fmla="*/ 79 h 134"/>
                    <a:gd name="T90" fmla="*/ 32 w 159"/>
                    <a:gd name="T91" fmla="*/ 85 h 134"/>
                    <a:gd name="T92" fmla="*/ 37 w 159"/>
                    <a:gd name="T93" fmla="*/ 91 h 134"/>
                    <a:gd name="T94" fmla="*/ 39 w 159"/>
                    <a:gd name="T95" fmla="*/ 91 h 134"/>
                    <a:gd name="T96" fmla="*/ 42 w 159"/>
                    <a:gd name="T97" fmla="*/ 90 h 134"/>
                    <a:gd name="T98" fmla="*/ 48 w 159"/>
                    <a:gd name="T99" fmla="*/ 90 h 134"/>
                    <a:gd name="T100" fmla="*/ 56 w 159"/>
                    <a:gd name="T101" fmla="*/ 102 h 134"/>
                    <a:gd name="T102" fmla="*/ 61 w 159"/>
                    <a:gd name="T103" fmla="*/ 110 h 134"/>
                    <a:gd name="T104" fmla="*/ 70 w 159"/>
                    <a:gd name="T105" fmla="*/ 114 h 134"/>
                    <a:gd name="T106" fmla="*/ 89 w 159"/>
                    <a:gd name="T107" fmla="*/ 121 h 134"/>
                    <a:gd name="T108" fmla="*/ 102 w 159"/>
                    <a:gd name="T109" fmla="*/ 118 h 134"/>
                    <a:gd name="T110" fmla="*/ 108 w 159"/>
                    <a:gd name="T111" fmla="*/ 128 h 134"/>
                    <a:gd name="T112" fmla="*/ 136 w 159"/>
                    <a:gd name="T113" fmla="*/ 134 h 134"/>
                    <a:gd name="T114" fmla="*/ 144 w 159"/>
                    <a:gd name="T115" fmla="*/ 134 h 134"/>
                    <a:gd name="T116" fmla="*/ 144 w 159"/>
                    <a:gd name="T117" fmla="*/ 132 h 134"/>
                    <a:gd name="T118" fmla="*/ 149 w 159"/>
                    <a:gd name="T119" fmla="*/ 124 h 134"/>
                    <a:gd name="T120" fmla="*/ 157 w 159"/>
                    <a:gd name="T121" fmla="*/ 122 h 134"/>
                    <a:gd name="T122" fmla="*/ 155 w 159"/>
                    <a:gd name="T123" fmla="*/ 116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59" h="134">
                      <a:moveTo>
                        <a:pt x="155" y="116"/>
                      </a:moveTo>
                      <a:cubicBezTo>
                        <a:pt x="153" y="115"/>
                        <a:pt x="155" y="109"/>
                        <a:pt x="151" y="107"/>
                      </a:cubicBezTo>
                      <a:cubicBezTo>
                        <a:pt x="147" y="105"/>
                        <a:pt x="144" y="103"/>
                        <a:pt x="143" y="100"/>
                      </a:cubicBezTo>
                      <a:cubicBezTo>
                        <a:pt x="142" y="98"/>
                        <a:pt x="137" y="95"/>
                        <a:pt x="137" y="93"/>
                      </a:cubicBezTo>
                      <a:cubicBezTo>
                        <a:pt x="138" y="91"/>
                        <a:pt x="147" y="85"/>
                        <a:pt x="145" y="82"/>
                      </a:cubicBezTo>
                      <a:cubicBezTo>
                        <a:pt x="144" y="78"/>
                        <a:pt x="138" y="79"/>
                        <a:pt x="138" y="77"/>
                      </a:cubicBezTo>
                      <a:cubicBezTo>
                        <a:pt x="137" y="76"/>
                        <a:pt x="138" y="72"/>
                        <a:pt x="136" y="68"/>
                      </a:cubicBezTo>
                      <a:cubicBezTo>
                        <a:pt x="135" y="65"/>
                        <a:pt x="138" y="62"/>
                        <a:pt x="136" y="60"/>
                      </a:cubicBezTo>
                      <a:cubicBezTo>
                        <a:pt x="135" y="58"/>
                        <a:pt x="137" y="54"/>
                        <a:pt x="137" y="53"/>
                      </a:cubicBezTo>
                      <a:cubicBezTo>
                        <a:pt x="138" y="51"/>
                        <a:pt x="141" y="50"/>
                        <a:pt x="140" y="46"/>
                      </a:cubicBezTo>
                      <a:cubicBezTo>
                        <a:pt x="140" y="44"/>
                        <a:pt x="141" y="43"/>
                        <a:pt x="142" y="43"/>
                      </a:cubicBezTo>
                      <a:cubicBezTo>
                        <a:pt x="141" y="40"/>
                        <a:pt x="141" y="34"/>
                        <a:pt x="141" y="33"/>
                      </a:cubicBezTo>
                      <a:cubicBezTo>
                        <a:pt x="141" y="32"/>
                        <a:pt x="137" y="32"/>
                        <a:pt x="135" y="32"/>
                      </a:cubicBezTo>
                      <a:cubicBezTo>
                        <a:pt x="133" y="32"/>
                        <a:pt x="131" y="27"/>
                        <a:pt x="130" y="27"/>
                      </a:cubicBezTo>
                      <a:cubicBezTo>
                        <a:pt x="128" y="27"/>
                        <a:pt x="126" y="26"/>
                        <a:pt x="126" y="25"/>
                      </a:cubicBezTo>
                      <a:cubicBezTo>
                        <a:pt x="126" y="23"/>
                        <a:pt x="121" y="22"/>
                        <a:pt x="119" y="22"/>
                      </a:cubicBezTo>
                      <a:cubicBezTo>
                        <a:pt x="117" y="23"/>
                        <a:pt x="116" y="21"/>
                        <a:pt x="115" y="21"/>
                      </a:cubicBezTo>
                      <a:cubicBezTo>
                        <a:pt x="114" y="21"/>
                        <a:pt x="111" y="19"/>
                        <a:pt x="109" y="18"/>
                      </a:cubicBezTo>
                      <a:cubicBezTo>
                        <a:pt x="108" y="16"/>
                        <a:pt x="101" y="16"/>
                        <a:pt x="100" y="18"/>
                      </a:cubicBezTo>
                      <a:cubicBezTo>
                        <a:pt x="99" y="19"/>
                        <a:pt x="96" y="18"/>
                        <a:pt x="94" y="18"/>
                      </a:cubicBezTo>
                      <a:cubicBezTo>
                        <a:pt x="92" y="18"/>
                        <a:pt x="88" y="22"/>
                        <a:pt x="87" y="23"/>
                      </a:cubicBezTo>
                      <a:cubicBezTo>
                        <a:pt x="86" y="24"/>
                        <a:pt x="83" y="25"/>
                        <a:pt x="81" y="25"/>
                      </a:cubicBezTo>
                      <a:cubicBezTo>
                        <a:pt x="81" y="27"/>
                        <a:pt x="81" y="28"/>
                        <a:pt x="80" y="29"/>
                      </a:cubicBezTo>
                      <a:cubicBezTo>
                        <a:pt x="79" y="31"/>
                        <a:pt x="70" y="32"/>
                        <a:pt x="63" y="33"/>
                      </a:cubicBezTo>
                      <a:cubicBezTo>
                        <a:pt x="56" y="33"/>
                        <a:pt x="56" y="24"/>
                        <a:pt x="48" y="24"/>
                      </a:cubicBezTo>
                      <a:cubicBezTo>
                        <a:pt x="43" y="24"/>
                        <a:pt x="39" y="19"/>
                        <a:pt x="38" y="14"/>
                      </a:cubicBezTo>
                      <a:cubicBezTo>
                        <a:pt x="35" y="13"/>
                        <a:pt x="32" y="11"/>
                        <a:pt x="33" y="10"/>
                      </a:cubicBezTo>
                      <a:cubicBezTo>
                        <a:pt x="33" y="9"/>
                        <a:pt x="35" y="1"/>
                        <a:pt x="31" y="3"/>
                      </a:cubicBezTo>
                      <a:cubicBezTo>
                        <a:pt x="27" y="5"/>
                        <a:pt x="22" y="11"/>
                        <a:pt x="15" y="10"/>
                      </a:cubicBezTo>
                      <a:cubicBezTo>
                        <a:pt x="8" y="9"/>
                        <a:pt x="13" y="8"/>
                        <a:pt x="10" y="7"/>
                      </a:cubicBezTo>
                      <a:cubicBezTo>
                        <a:pt x="6" y="5"/>
                        <a:pt x="8" y="1"/>
                        <a:pt x="5" y="1"/>
                      </a:cubicBezTo>
                      <a:cubicBezTo>
                        <a:pt x="1" y="0"/>
                        <a:pt x="4" y="5"/>
                        <a:pt x="2" y="5"/>
                      </a:cubicBezTo>
                      <a:cubicBezTo>
                        <a:pt x="0" y="5"/>
                        <a:pt x="2" y="10"/>
                        <a:pt x="2" y="11"/>
                      </a:cubicBezTo>
                      <a:cubicBezTo>
                        <a:pt x="3" y="13"/>
                        <a:pt x="1" y="20"/>
                        <a:pt x="2" y="20"/>
                      </a:cubicBezTo>
                      <a:cubicBezTo>
                        <a:pt x="4" y="20"/>
                        <a:pt x="6" y="25"/>
                        <a:pt x="6" y="26"/>
                      </a:cubicBezTo>
                      <a:cubicBezTo>
                        <a:pt x="6" y="27"/>
                        <a:pt x="9" y="31"/>
                        <a:pt x="9" y="33"/>
                      </a:cubicBezTo>
                      <a:cubicBezTo>
                        <a:pt x="9" y="35"/>
                        <a:pt x="12" y="37"/>
                        <a:pt x="13" y="37"/>
                      </a:cubicBezTo>
                      <a:cubicBezTo>
                        <a:pt x="15" y="37"/>
                        <a:pt x="17" y="38"/>
                        <a:pt x="17" y="40"/>
                      </a:cubicBezTo>
                      <a:cubicBezTo>
                        <a:pt x="16" y="42"/>
                        <a:pt x="17" y="45"/>
                        <a:pt x="16" y="45"/>
                      </a:cubicBezTo>
                      <a:cubicBezTo>
                        <a:pt x="14" y="45"/>
                        <a:pt x="14" y="51"/>
                        <a:pt x="12" y="51"/>
                      </a:cubicBezTo>
                      <a:cubicBezTo>
                        <a:pt x="11" y="52"/>
                        <a:pt x="12" y="58"/>
                        <a:pt x="13" y="59"/>
                      </a:cubicBezTo>
                      <a:cubicBezTo>
                        <a:pt x="15" y="59"/>
                        <a:pt x="17" y="61"/>
                        <a:pt x="17" y="63"/>
                      </a:cubicBezTo>
                      <a:cubicBezTo>
                        <a:pt x="17" y="65"/>
                        <a:pt x="24" y="69"/>
                        <a:pt x="26" y="69"/>
                      </a:cubicBezTo>
                      <a:cubicBezTo>
                        <a:pt x="28" y="70"/>
                        <a:pt x="29" y="73"/>
                        <a:pt x="30" y="74"/>
                      </a:cubicBezTo>
                      <a:cubicBezTo>
                        <a:pt x="31" y="75"/>
                        <a:pt x="29" y="78"/>
                        <a:pt x="29" y="79"/>
                      </a:cubicBezTo>
                      <a:cubicBezTo>
                        <a:pt x="30" y="81"/>
                        <a:pt x="32" y="82"/>
                        <a:pt x="32" y="85"/>
                      </a:cubicBezTo>
                      <a:cubicBezTo>
                        <a:pt x="32" y="86"/>
                        <a:pt x="34" y="89"/>
                        <a:pt x="37" y="91"/>
                      </a:cubicBezTo>
                      <a:cubicBezTo>
                        <a:pt x="37" y="91"/>
                        <a:pt x="38" y="91"/>
                        <a:pt x="39" y="91"/>
                      </a:cubicBezTo>
                      <a:cubicBezTo>
                        <a:pt x="41" y="91"/>
                        <a:pt x="41" y="88"/>
                        <a:pt x="42" y="90"/>
                      </a:cubicBezTo>
                      <a:cubicBezTo>
                        <a:pt x="44" y="91"/>
                        <a:pt x="46" y="90"/>
                        <a:pt x="48" y="90"/>
                      </a:cubicBezTo>
                      <a:cubicBezTo>
                        <a:pt x="50" y="89"/>
                        <a:pt x="54" y="98"/>
                        <a:pt x="56" y="102"/>
                      </a:cubicBezTo>
                      <a:cubicBezTo>
                        <a:pt x="58" y="106"/>
                        <a:pt x="58" y="108"/>
                        <a:pt x="61" y="110"/>
                      </a:cubicBezTo>
                      <a:cubicBezTo>
                        <a:pt x="63" y="111"/>
                        <a:pt x="67" y="110"/>
                        <a:pt x="70" y="114"/>
                      </a:cubicBezTo>
                      <a:cubicBezTo>
                        <a:pt x="74" y="118"/>
                        <a:pt x="84" y="121"/>
                        <a:pt x="89" y="121"/>
                      </a:cubicBezTo>
                      <a:cubicBezTo>
                        <a:pt x="93" y="122"/>
                        <a:pt x="96" y="117"/>
                        <a:pt x="102" y="118"/>
                      </a:cubicBezTo>
                      <a:cubicBezTo>
                        <a:pt x="107" y="119"/>
                        <a:pt x="106" y="126"/>
                        <a:pt x="108" y="128"/>
                      </a:cubicBezTo>
                      <a:cubicBezTo>
                        <a:pt x="110" y="131"/>
                        <a:pt x="132" y="133"/>
                        <a:pt x="136" y="134"/>
                      </a:cubicBezTo>
                      <a:cubicBezTo>
                        <a:pt x="137" y="134"/>
                        <a:pt x="141" y="134"/>
                        <a:pt x="144" y="134"/>
                      </a:cubicBezTo>
                      <a:cubicBezTo>
                        <a:pt x="144" y="134"/>
                        <a:pt x="144" y="133"/>
                        <a:pt x="144" y="132"/>
                      </a:cubicBezTo>
                      <a:cubicBezTo>
                        <a:pt x="144" y="129"/>
                        <a:pt x="147" y="125"/>
                        <a:pt x="149" y="124"/>
                      </a:cubicBezTo>
                      <a:cubicBezTo>
                        <a:pt x="152" y="123"/>
                        <a:pt x="154" y="122"/>
                        <a:pt x="157" y="122"/>
                      </a:cubicBezTo>
                      <a:cubicBezTo>
                        <a:pt x="159" y="122"/>
                        <a:pt x="157" y="117"/>
                        <a:pt x="155" y="11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3" name="Freeform 146">
                  <a:extLst>
                    <a:ext uri="{FF2B5EF4-FFF2-40B4-BE49-F238E27FC236}">
                      <a16:creationId xmlns:a16="http://schemas.microsoft.com/office/drawing/2014/main" id="{5C72F3B8-421A-4692-B0D6-C2698E54314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8729772" y="-11587706"/>
                  <a:ext cx="2020521" cy="950262"/>
                </a:xfrm>
                <a:custGeom>
                  <a:avLst/>
                  <a:gdLst>
                    <a:gd name="T0" fmla="*/ 316 w 327"/>
                    <a:gd name="T1" fmla="*/ 64 h 154"/>
                    <a:gd name="T2" fmla="*/ 305 w 327"/>
                    <a:gd name="T3" fmla="*/ 53 h 154"/>
                    <a:gd name="T4" fmla="*/ 284 w 327"/>
                    <a:gd name="T5" fmla="*/ 50 h 154"/>
                    <a:gd name="T6" fmla="*/ 265 w 327"/>
                    <a:gd name="T7" fmla="*/ 36 h 154"/>
                    <a:gd name="T8" fmla="*/ 243 w 327"/>
                    <a:gd name="T9" fmla="*/ 12 h 154"/>
                    <a:gd name="T10" fmla="*/ 220 w 327"/>
                    <a:gd name="T11" fmla="*/ 21 h 154"/>
                    <a:gd name="T12" fmla="*/ 215 w 327"/>
                    <a:gd name="T13" fmla="*/ 15 h 154"/>
                    <a:gd name="T14" fmla="*/ 203 w 327"/>
                    <a:gd name="T15" fmla="*/ 14 h 154"/>
                    <a:gd name="T16" fmla="*/ 197 w 327"/>
                    <a:gd name="T17" fmla="*/ 2 h 154"/>
                    <a:gd name="T18" fmla="*/ 169 w 327"/>
                    <a:gd name="T19" fmla="*/ 7 h 154"/>
                    <a:gd name="T20" fmla="*/ 137 w 327"/>
                    <a:gd name="T21" fmla="*/ 14 h 154"/>
                    <a:gd name="T22" fmla="*/ 121 w 327"/>
                    <a:gd name="T23" fmla="*/ 22 h 154"/>
                    <a:gd name="T24" fmla="*/ 118 w 327"/>
                    <a:gd name="T25" fmla="*/ 33 h 154"/>
                    <a:gd name="T26" fmla="*/ 121 w 327"/>
                    <a:gd name="T27" fmla="*/ 43 h 154"/>
                    <a:gd name="T28" fmla="*/ 112 w 327"/>
                    <a:gd name="T29" fmla="*/ 49 h 154"/>
                    <a:gd name="T30" fmla="*/ 100 w 327"/>
                    <a:gd name="T31" fmla="*/ 48 h 154"/>
                    <a:gd name="T32" fmla="*/ 80 w 327"/>
                    <a:gd name="T33" fmla="*/ 50 h 154"/>
                    <a:gd name="T34" fmla="*/ 65 w 327"/>
                    <a:gd name="T35" fmla="*/ 50 h 154"/>
                    <a:gd name="T36" fmla="*/ 44 w 327"/>
                    <a:gd name="T37" fmla="*/ 41 h 154"/>
                    <a:gd name="T38" fmla="*/ 25 w 327"/>
                    <a:gd name="T39" fmla="*/ 47 h 154"/>
                    <a:gd name="T40" fmla="*/ 18 w 327"/>
                    <a:gd name="T41" fmla="*/ 60 h 154"/>
                    <a:gd name="T42" fmla="*/ 2 w 327"/>
                    <a:gd name="T43" fmla="*/ 63 h 154"/>
                    <a:gd name="T44" fmla="*/ 0 w 327"/>
                    <a:gd name="T45" fmla="*/ 74 h 154"/>
                    <a:gd name="T46" fmla="*/ 12 w 327"/>
                    <a:gd name="T47" fmla="*/ 81 h 154"/>
                    <a:gd name="T48" fmla="*/ 20 w 327"/>
                    <a:gd name="T49" fmla="*/ 95 h 154"/>
                    <a:gd name="T50" fmla="*/ 41 w 327"/>
                    <a:gd name="T51" fmla="*/ 90 h 154"/>
                    <a:gd name="T52" fmla="*/ 46 w 327"/>
                    <a:gd name="T53" fmla="*/ 107 h 154"/>
                    <a:gd name="T54" fmla="*/ 31 w 327"/>
                    <a:gd name="T55" fmla="*/ 117 h 154"/>
                    <a:gd name="T56" fmla="*/ 46 w 327"/>
                    <a:gd name="T57" fmla="*/ 132 h 154"/>
                    <a:gd name="T58" fmla="*/ 53 w 327"/>
                    <a:gd name="T59" fmla="*/ 141 h 154"/>
                    <a:gd name="T60" fmla="*/ 77 w 327"/>
                    <a:gd name="T61" fmla="*/ 145 h 154"/>
                    <a:gd name="T62" fmla="*/ 99 w 327"/>
                    <a:gd name="T63" fmla="*/ 103 h 154"/>
                    <a:gd name="T64" fmla="*/ 111 w 327"/>
                    <a:gd name="T65" fmla="*/ 104 h 154"/>
                    <a:gd name="T66" fmla="*/ 136 w 327"/>
                    <a:gd name="T67" fmla="*/ 124 h 154"/>
                    <a:gd name="T68" fmla="*/ 160 w 327"/>
                    <a:gd name="T69" fmla="*/ 137 h 154"/>
                    <a:gd name="T70" fmla="*/ 178 w 327"/>
                    <a:gd name="T71" fmla="*/ 151 h 154"/>
                    <a:gd name="T72" fmla="*/ 195 w 327"/>
                    <a:gd name="T73" fmla="*/ 143 h 154"/>
                    <a:gd name="T74" fmla="*/ 213 w 327"/>
                    <a:gd name="T75" fmla="*/ 133 h 154"/>
                    <a:gd name="T76" fmla="*/ 239 w 327"/>
                    <a:gd name="T77" fmla="*/ 132 h 154"/>
                    <a:gd name="T78" fmla="*/ 274 w 327"/>
                    <a:gd name="T79" fmla="*/ 138 h 154"/>
                    <a:gd name="T80" fmla="*/ 275 w 327"/>
                    <a:gd name="T81" fmla="*/ 119 h 154"/>
                    <a:gd name="T82" fmla="*/ 286 w 327"/>
                    <a:gd name="T83" fmla="*/ 108 h 154"/>
                    <a:gd name="T84" fmla="*/ 296 w 327"/>
                    <a:gd name="T85" fmla="*/ 90 h 154"/>
                    <a:gd name="T86" fmla="*/ 317 w 327"/>
                    <a:gd name="T87" fmla="*/ 88 h 154"/>
                    <a:gd name="T88" fmla="*/ 324 w 327"/>
                    <a:gd name="T89" fmla="*/ 71 h 154"/>
                    <a:gd name="T90" fmla="*/ 122 w 327"/>
                    <a:gd name="T91" fmla="*/ 98 h 154"/>
                    <a:gd name="T92" fmla="*/ 257 w 327"/>
                    <a:gd name="T93" fmla="*/ 97 h 154"/>
                    <a:gd name="T94" fmla="*/ 224 w 327"/>
                    <a:gd name="T95" fmla="*/ 97 h 154"/>
                    <a:gd name="T96" fmla="*/ 257 w 327"/>
                    <a:gd name="T97" fmla="*/ 97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27" h="154">
                      <a:moveTo>
                        <a:pt x="325" y="63"/>
                      </a:moveTo>
                      <a:cubicBezTo>
                        <a:pt x="325" y="61"/>
                        <a:pt x="324" y="62"/>
                        <a:pt x="323" y="63"/>
                      </a:cubicBezTo>
                      <a:cubicBezTo>
                        <a:pt x="321" y="63"/>
                        <a:pt x="318" y="64"/>
                        <a:pt x="316" y="64"/>
                      </a:cubicBezTo>
                      <a:cubicBezTo>
                        <a:pt x="315" y="64"/>
                        <a:pt x="312" y="62"/>
                        <a:pt x="312" y="60"/>
                      </a:cubicBezTo>
                      <a:cubicBezTo>
                        <a:pt x="312" y="59"/>
                        <a:pt x="312" y="57"/>
                        <a:pt x="310" y="57"/>
                      </a:cubicBezTo>
                      <a:cubicBezTo>
                        <a:pt x="309" y="57"/>
                        <a:pt x="307" y="57"/>
                        <a:pt x="305" y="53"/>
                      </a:cubicBezTo>
                      <a:cubicBezTo>
                        <a:pt x="304" y="50"/>
                        <a:pt x="302" y="50"/>
                        <a:pt x="300" y="49"/>
                      </a:cubicBezTo>
                      <a:cubicBezTo>
                        <a:pt x="299" y="48"/>
                        <a:pt x="294" y="51"/>
                        <a:pt x="292" y="51"/>
                      </a:cubicBezTo>
                      <a:cubicBezTo>
                        <a:pt x="290" y="52"/>
                        <a:pt x="287" y="51"/>
                        <a:pt x="284" y="50"/>
                      </a:cubicBezTo>
                      <a:cubicBezTo>
                        <a:pt x="282" y="50"/>
                        <a:pt x="280" y="45"/>
                        <a:pt x="278" y="46"/>
                      </a:cubicBezTo>
                      <a:cubicBezTo>
                        <a:pt x="276" y="46"/>
                        <a:pt x="275" y="51"/>
                        <a:pt x="273" y="51"/>
                      </a:cubicBezTo>
                      <a:cubicBezTo>
                        <a:pt x="272" y="51"/>
                        <a:pt x="268" y="41"/>
                        <a:pt x="265" y="36"/>
                      </a:cubicBezTo>
                      <a:cubicBezTo>
                        <a:pt x="262" y="31"/>
                        <a:pt x="256" y="21"/>
                        <a:pt x="250" y="19"/>
                      </a:cubicBezTo>
                      <a:cubicBezTo>
                        <a:pt x="245" y="17"/>
                        <a:pt x="247" y="14"/>
                        <a:pt x="248" y="13"/>
                      </a:cubicBezTo>
                      <a:cubicBezTo>
                        <a:pt x="249" y="11"/>
                        <a:pt x="245" y="11"/>
                        <a:pt x="243" y="12"/>
                      </a:cubicBezTo>
                      <a:cubicBezTo>
                        <a:pt x="240" y="13"/>
                        <a:pt x="238" y="16"/>
                        <a:pt x="235" y="16"/>
                      </a:cubicBezTo>
                      <a:cubicBezTo>
                        <a:pt x="233" y="17"/>
                        <a:pt x="229" y="21"/>
                        <a:pt x="227" y="20"/>
                      </a:cubicBezTo>
                      <a:cubicBezTo>
                        <a:pt x="224" y="19"/>
                        <a:pt x="223" y="23"/>
                        <a:pt x="220" y="21"/>
                      </a:cubicBezTo>
                      <a:cubicBezTo>
                        <a:pt x="218" y="19"/>
                        <a:pt x="223" y="18"/>
                        <a:pt x="223" y="16"/>
                      </a:cubicBezTo>
                      <a:cubicBezTo>
                        <a:pt x="223" y="14"/>
                        <a:pt x="220" y="17"/>
                        <a:pt x="219" y="16"/>
                      </a:cubicBezTo>
                      <a:cubicBezTo>
                        <a:pt x="218" y="15"/>
                        <a:pt x="215" y="13"/>
                        <a:pt x="215" y="15"/>
                      </a:cubicBezTo>
                      <a:cubicBezTo>
                        <a:pt x="215" y="17"/>
                        <a:pt x="213" y="16"/>
                        <a:pt x="213" y="15"/>
                      </a:cubicBezTo>
                      <a:cubicBezTo>
                        <a:pt x="213" y="13"/>
                        <a:pt x="211" y="11"/>
                        <a:pt x="210" y="13"/>
                      </a:cubicBezTo>
                      <a:cubicBezTo>
                        <a:pt x="209" y="14"/>
                        <a:pt x="204" y="15"/>
                        <a:pt x="203" y="14"/>
                      </a:cubicBezTo>
                      <a:cubicBezTo>
                        <a:pt x="202" y="13"/>
                        <a:pt x="203" y="12"/>
                        <a:pt x="204" y="10"/>
                      </a:cubicBezTo>
                      <a:cubicBezTo>
                        <a:pt x="204" y="9"/>
                        <a:pt x="202" y="7"/>
                        <a:pt x="202" y="5"/>
                      </a:cubicBezTo>
                      <a:cubicBezTo>
                        <a:pt x="202" y="3"/>
                        <a:pt x="199" y="1"/>
                        <a:pt x="197" y="2"/>
                      </a:cubicBezTo>
                      <a:cubicBezTo>
                        <a:pt x="195" y="2"/>
                        <a:pt x="193" y="2"/>
                        <a:pt x="191" y="1"/>
                      </a:cubicBezTo>
                      <a:cubicBezTo>
                        <a:pt x="189" y="0"/>
                        <a:pt x="181" y="1"/>
                        <a:pt x="181" y="3"/>
                      </a:cubicBezTo>
                      <a:cubicBezTo>
                        <a:pt x="180" y="5"/>
                        <a:pt x="171" y="6"/>
                        <a:pt x="169" y="7"/>
                      </a:cubicBezTo>
                      <a:cubicBezTo>
                        <a:pt x="167" y="8"/>
                        <a:pt x="160" y="9"/>
                        <a:pt x="158" y="9"/>
                      </a:cubicBezTo>
                      <a:cubicBezTo>
                        <a:pt x="155" y="9"/>
                        <a:pt x="153" y="12"/>
                        <a:pt x="149" y="12"/>
                      </a:cubicBezTo>
                      <a:cubicBezTo>
                        <a:pt x="146" y="12"/>
                        <a:pt x="140" y="12"/>
                        <a:pt x="137" y="14"/>
                      </a:cubicBezTo>
                      <a:cubicBezTo>
                        <a:pt x="134" y="16"/>
                        <a:pt x="130" y="14"/>
                        <a:pt x="128" y="15"/>
                      </a:cubicBezTo>
                      <a:cubicBezTo>
                        <a:pt x="125" y="16"/>
                        <a:pt x="122" y="15"/>
                        <a:pt x="121" y="15"/>
                      </a:cubicBezTo>
                      <a:cubicBezTo>
                        <a:pt x="120" y="16"/>
                        <a:pt x="120" y="20"/>
                        <a:pt x="121" y="22"/>
                      </a:cubicBezTo>
                      <a:cubicBezTo>
                        <a:pt x="122" y="24"/>
                        <a:pt x="128" y="25"/>
                        <a:pt x="128" y="26"/>
                      </a:cubicBezTo>
                      <a:cubicBezTo>
                        <a:pt x="129" y="27"/>
                        <a:pt x="123" y="27"/>
                        <a:pt x="120" y="27"/>
                      </a:cubicBezTo>
                      <a:cubicBezTo>
                        <a:pt x="117" y="28"/>
                        <a:pt x="118" y="31"/>
                        <a:pt x="118" y="33"/>
                      </a:cubicBezTo>
                      <a:cubicBezTo>
                        <a:pt x="119" y="35"/>
                        <a:pt x="115" y="36"/>
                        <a:pt x="113" y="37"/>
                      </a:cubicBezTo>
                      <a:cubicBezTo>
                        <a:pt x="111" y="38"/>
                        <a:pt x="113" y="41"/>
                        <a:pt x="115" y="41"/>
                      </a:cubicBezTo>
                      <a:cubicBezTo>
                        <a:pt x="118" y="41"/>
                        <a:pt x="119" y="43"/>
                        <a:pt x="121" y="43"/>
                      </a:cubicBezTo>
                      <a:cubicBezTo>
                        <a:pt x="123" y="43"/>
                        <a:pt x="123" y="47"/>
                        <a:pt x="123" y="49"/>
                      </a:cubicBezTo>
                      <a:cubicBezTo>
                        <a:pt x="123" y="51"/>
                        <a:pt x="121" y="52"/>
                        <a:pt x="118" y="52"/>
                      </a:cubicBezTo>
                      <a:cubicBezTo>
                        <a:pt x="115" y="52"/>
                        <a:pt x="114" y="50"/>
                        <a:pt x="112" y="49"/>
                      </a:cubicBezTo>
                      <a:cubicBezTo>
                        <a:pt x="110" y="49"/>
                        <a:pt x="111" y="53"/>
                        <a:pt x="109" y="53"/>
                      </a:cubicBezTo>
                      <a:cubicBezTo>
                        <a:pt x="108" y="54"/>
                        <a:pt x="108" y="51"/>
                        <a:pt x="105" y="51"/>
                      </a:cubicBezTo>
                      <a:cubicBezTo>
                        <a:pt x="103" y="51"/>
                        <a:pt x="101" y="50"/>
                        <a:pt x="100" y="48"/>
                      </a:cubicBezTo>
                      <a:cubicBezTo>
                        <a:pt x="99" y="46"/>
                        <a:pt x="94" y="46"/>
                        <a:pt x="92" y="48"/>
                      </a:cubicBezTo>
                      <a:cubicBezTo>
                        <a:pt x="90" y="50"/>
                        <a:pt x="89" y="49"/>
                        <a:pt x="88" y="48"/>
                      </a:cubicBezTo>
                      <a:cubicBezTo>
                        <a:pt x="86" y="46"/>
                        <a:pt x="80" y="48"/>
                        <a:pt x="80" y="50"/>
                      </a:cubicBezTo>
                      <a:cubicBezTo>
                        <a:pt x="79" y="52"/>
                        <a:pt x="75" y="53"/>
                        <a:pt x="72" y="51"/>
                      </a:cubicBezTo>
                      <a:cubicBezTo>
                        <a:pt x="69" y="49"/>
                        <a:pt x="68" y="48"/>
                        <a:pt x="68" y="51"/>
                      </a:cubicBezTo>
                      <a:cubicBezTo>
                        <a:pt x="68" y="53"/>
                        <a:pt x="65" y="51"/>
                        <a:pt x="65" y="50"/>
                      </a:cubicBezTo>
                      <a:cubicBezTo>
                        <a:pt x="65" y="48"/>
                        <a:pt x="61" y="45"/>
                        <a:pt x="59" y="44"/>
                      </a:cubicBezTo>
                      <a:cubicBezTo>
                        <a:pt x="57" y="43"/>
                        <a:pt x="50" y="43"/>
                        <a:pt x="49" y="41"/>
                      </a:cubicBezTo>
                      <a:cubicBezTo>
                        <a:pt x="49" y="40"/>
                        <a:pt x="45" y="39"/>
                        <a:pt x="44" y="41"/>
                      </a:cubicBezTo>
                      <a:cubicBezTo>
                        <a:pt x="43" y="44"/>
                        <a:pt x="41" y="42"/>
                        <a:pt x="39" y="41"/>
                      </a:cubicBezTo>
                      <a:cubicBezTo>
                        <a:pt x="38" y="40"/>
                        <a:pt x="35" y="42"/>
                        <a:pt x="33" y="43"/>
                      </a:cubicBezTo>
                      <a:cubicBezTo>
                        <a:pt x="32" y="44"/>
                        <a:pt x="27" y="47"/>
                        <a:pt x="25" y="47"/>
                      </a:cubicBezTo>
                      <a:cubicBezTo>
                        <a:pt x="22" y="47"/>
                        <a:pt x="24" y="50"/>
                        <a:pt x="21" y="51"/>
                      </a:cubicBezTo>
                      <a:cubicBezTo>
                        <a:pt x="17" y="51"/>
                        <a:pt x="18" y="54"/>
                        <a:pt x="18" y="55"/>
                      </a:cubicBezTo>
                      <a:cubicBezTo>
                        <a:pt x="19" y="56"/>
                        <a:pt x="21" y="59"/>
                        <a:pt x="18" y="60"/>
                      </a:cubicBezTo>
                      <a:cubicBezTo>
                        <a:pt x="15" y="61"/>
                        <a:pt x="14" y="56"/>
                        <a:pt x="11" y="55"/>
                      </a:cubicBezTo>
                      <a:cubicBezTo>
                        <a:pt x="9" y="53"/>
                        <a:pt x="7" y="55"/>
                        <a:pt x="7" y="58"/>
                      </a:cubicBezTo>
                      <a:cubicBezTo>
                        <a:pt x="7" y="60"/>
                        <a:pt x="4" y="60"/>
                        <a:pt x="2" y="63"/>
                      </a:cubicBezTo>
                      <a:cubicBezTo>
                        <a:pt x="1" y="65"/>
                        <a:pt x="5" y="65"/>
                        <a:pt x="5" y="66"/>
                      </a:cubicBezTo>
                      <a:cubicBezTo>
                        <a:pt x="5" y="68"/>
                        <a:pt x="3" y="69"/>
                        <a:pt x="2" y="69"/>
                      </a:cubicBezTo>
                      <a:cubicBezTo>
                        <a:pt x="1" y="69"/>
                        <a:pt x="0" y="73"/>
                        <a:pt x="0" y="74"/>
                      </a:cubicBezTo>
                      <a:cubicBezTo>
                        <a:pt x="1" y="75"/>
                        <a:pt x="5" y="75"/>
                        <a:pt x="5" y="77"/>
                      </a:cubicBezTo>
                      <a:cubicBezTo>
                        <a:pt x="5" y="80"/>
                        <a:pt x="4" y="82"/>
                        <a:pt x="6" y="81"/>
                      </a:cubicBezTo>
                      <a:cubicBezTo>
                        <a:pt x="8" y="81"/>
                        <a:pt x="11" y="81"/>
                        <a:pt x="12" y="81"/>
                      </a:cubicBezTo>
                      <a:cubicBezTo>
                        <a:pt x="13" y="81"/>
                        <a:pt x="14" y="84"/>
                        <a:pt x="17" y="87"/>
                      </a:cubicBezTo>
                      <a:cubicBezTo>
                        <a:pt x="19" y="90"/>
                        <a:pt x="21" y="91"/>
                        <a:pt x="18" y="92"/>
                      </a:cubicBezTo>
                      <a:cubicBezTo>
                        <a:pt x="16" y="92"/>
                        <a:pt x="17" y="94"/>
                        <a:pt x="20" y="95"/>
                      </a:cubicBezTo>
                      <a:cubicBezTo>
                        <a:pt x="21" y="96"/>
                        <a:pt x="22" y="96"/>
                        <a:pt x="22" y="97"/>
                      </a:cubicBezTo>
                      <a:cubicBezTo>
                        <a:pt x="23" y="97"/>
                        <a:pt x="23" y="96"/>
                        <a:pt x="24" y="96"/>
                      </a:cubicBezTo>
                      <a:cubicBezTo>
                        <a:pt x="28" y="92"/>
                        <a:pt x="35" y="89"/>
                        <a:pt x="41" y="90"/>
                      </a:cubicBezTo>
                      <a:cubicBezTo>
                        <a:pt x="46" y="92"/>
                        <a:pt x="51" y="89"/>
                        <a:pt x="53" y="93"/>
                      </a:cubicBezTo>
                      <a:cubicBezTo>
                        <a:pt x="56" y="96"/>
                        <a:pt x="53" y="102"/>
                        <a:pt x="54" y="105"/>
                      </a:cubicBezTo>
                      <a:cubicBezTo>
                        <a:pt x="55" y="107"/>
                        <a:pt x="50" y="107"/>
                        <a:pt x="46" y="107"/>
                      </a:cubicBezTo>
                      <a:cubicBezTo>
                        <a:pt x="43" y="106"/>
                        <a:pt x="35" y="108"/>
                        <a:pt x="36" y="110"/>
                      </a:cubicBezTo>
                      <a:cubicBezTo>
                        <a:pt x="37" y="112"/>
                        <a:pt x="40" y="117"/>
                        <a:pt x="35" y="115"/>
                      </a:cubicBezTo>
                      <a:cubicBezTo>
                        <a:pt x="30" y="112"/>
                        <a:pt x="28" y="117"/>
                        <a:pt x="31" y="117"/>
                      </a:cubicBezTo>
                      <a:cubicBezTo>
                        <a:pt x="34" y="117"/>
                        <a:pt x="37" y="121"/>
                        <a:pt x="37" y="123"/>
                      </a:cubicBezTo>
                      <a:cubicBezTo>
                        <a:pt x="37" y="125"/>
                        <a:pt x="37" y="130"/>
                        <a:pt x="40" y="129"/>
                      </a:cubicBezTo>
                      <a:cubicBezTo>
                        <a:pt x="42" y="128"/>
                        <a:pt x="42" y="132"/>
                        <a:pt x="46" y="132"/>
                      </a:cubicBezTo>
                      <a:cubicBezTo>
                        <a:pt x="49" y="132"/>
                        <a:pt x="52" y="133"/>
                        <a:pt x="49" y="136"/>
                      </a:cubicBezTo>
                      <a:cubicBezTo>
                        <a:pt x="47" y="139"/>
                        <a:pt x="51" y="148"/>
                        <a:pt x="52" y="146"/>
                      </a:cubicBezTo>
                      <a:cubicBezTo>
                        <a:pt x="53" y="145"/>
                        <a:pt x="52" y="142"/>
                        <a:pt x="53" y="141"/>
                      </a:cubicBezTo>
                      <a:cubicBezTo>
                        <a:pt x="51" y="136"/>
                        <a:pt x="59" y="136"/>
                        <a:pt x="61" y="136"/>
                      </a:cubicBezTo>
                      <a:cubicBezTo>
                        <a:pt x="64" y="136"/>
                        <a:pt x="68" y="140"/>
                        <a:pt x="71" y="144"/>
                      </a:cubicBezTo>
                      <a:cubicBezTo>
                        <a:pt x="74" y="148"/>
                        <a:pt x="77" y="145"/>
                        <a:pt x="77" y="145"/>
                      </a:cubicBezTo>
                      <a:cubicBezTo>
                        <a:pt x="78" y="109"/>
                        <a:pt x="78" y="109"/>
                        <a:pt x="78" y="109"/>
                      </a:cubicBezTo>
                      <a:cubicBezTo>
                        <a:pt x="98" y="104"/>
                        <a:pt x="98" y="104"/>
                        <a:pt x="98" y="104"/>
                      </a:cubicBezTo>
                      <a:cubicBezTo>
                        <a:pt x="98" y="104"/>
                        <a:pt x="99" y="103"/>
                        <a:pt x="99" y="103"/>
                      </a:cubicBezTo>
                      <a:cubicBezTo>
                        <a:pt x="101" y="99"/>
                        <a:pt x="105" y="102"/>
                        <a:pt x="106" y="103"/>
                      </a:cubicBezTo>
                      <a:cubicBezTo>
                        <a:pt x="107" y="104"/>
                        <a:pt x="107" y="99"/>
                        <a:pt x="109" y="99"/>
                      </a:cubicBezTo>
                      <a:cubicBezTo>
                        <a:pt x="112" y="99"/>
                        <a:pt x="109" y="104"/>
                        <a:pt x="111" y="104"/>
                      </a:cubicBezTo>
                      <a:cubicBezTo>
                        <a:pt x="113" y="104"/>
                        <a:pt x="117" y="110"/>
                        <a:pt x="116" y="114"/>
                      </a:cubicBezTo>
                      <a:cubicBezTo>
                        <a:pt x="119" y="117"/>
                        <a:pt x="125" y="123"/>
                        <a:pt x="125" y="125"/>
                      </a:cubicBezTo>
                      <a:cubicBezTo>
                        <a:pt x="126" y="127"/>
                        <a:pt x="134" y="123"/>
                        <a:pt x="136" y="124"/>
                      </a:cubicBezTo>
                      <a:cubicBezTo>
                        <a:pt x="137" y="125"/>
                        <a:pt x="150" y="125"/>
                        <a:pt x="152" y="125"/>
                      </a:cubicBezTo>
                      <a:cubicBezTo>
                        <a:pt x="154" y="125"/>
                        <a:pt x="156" y="129"/>
                        <a:pt x="158" y="129"/>
                      </a:cubicBezTo>
                      <a:cubicBezTo>
                        <a:pt x="161" y="130"/>
                        <a:pt x="160" y="134"/>
                        <a:pt x="160" y="137"/>
                      </a:cubicBezTo>
                      <a:cubicBezTo>
                        <a:pt x="160" y="140"/>
                        <a:pt x="164" y="143"/>
                        <a:pt x="164" y="145"/>
                      </a:cubicBezTo>
                      <a:cubicBezTo>
                        <a:pt x="165" y="148"/>
                        <a:pt x="169" y="147"/>
                        <a:pt x="171" y="147"/>
                      </a:cubicBezTo>
                      <a:cubicBezTo>
                        <a:pt x="174" y="148"/>
                        <a:pt x="178" y="149"/>
                        <a:pt x="178" y="151"/>
                      </a:cubicBezTo>
                      <a:cubicBezTo>
                        <a:pt x="178" y="154"/>
                        <a:pt x="182" y="152"/>
                        <a:pt x="182" y="150"/>
                      </a:cubicBezTo>
                      <a:cubicBezTo>
                        <a:pt x="182" y="148"/>
                        <a:pt x="185" y="146"/>
                        <a:pt x="190" y="144"/>
                      </a:cubicBezTo>
                      <a:cubicBezTo>
                        <a:pt x="192" y="143"/>
                        <a:pt x="194" y="143"/>
                        <a:pt x="195" y="143"/>
                      </a:cubicBezTo>
                      <a:cubicBezTo>
                        <a:pt x="196" y="141"/>
                        <a:pt x="197" y="139"/>
                        <a:pt x="197" y="139"/>
                      </a:cubicBezTo>
                      <a:cubicBezTo>
                        <a:pt x="199" y="138"/>
                        <a:pt x="202" y="136"/>
                        <a:pt x="202" y="133"/>
                      </a:cubicBezTo>
                      <a:cubicBezTo>
                        <a:pt x="202" y="131"/>
                        <a:pt x="209" y="131"/>
                        <a:pt x="213" y="133"/>
                      </a:cubicBezTo>
                      <a:cubicBezTo>
                        <a:pt x="217" y="135"/>
                        <a:pt x="220" y="135"/>
                        <a:pt x="220" y="132"/>
                      </a:cubicBezTo>
                      <a:cubicBezTo>
                        <a:pt x="221" y="129"/>
                        <a:pt x="227" y="128"/>
                        <a:pt x="229" y="129"/>
                      </a:cubicBezTo>
                      <a:cubicBezTo>
                        <a:pt x="231" y="130"/>
                        <a:pt x="236" y="133"/>
                        <a:pt x="239" y="132"/>
                      </a:cubicBezTo>
                      <a:cubicBezTo>
                        <a:pt x="242" y="131"/>
                        <a:pt x="256" y="132"/>
                        <a:pt x="260" y="133"/>
                      </a:cubicBezTo>
                      <a:cubicBezTo>
                        <a:pt x="264" y="134"/>
                        <a:pt x="265" y="131"/>
                        <a:pt x="268" y="135"/>
                      </a:cubicBezTo>
                      <a:cubicBezTo>
                        <a:pt x="270" y="138"/>
                        <a:pt x="271" y="135"/>
                        <a:pt x="274" y="138"/>
                      </a:cubicBezTo>
                      <a:cubicBezTo>
                        <a:pt x="274" y="137"/>
                        <a:pt x="274" y="136"/>
                        <a:pt x="274" y="134"/>
                      </a:cubicBezTo>
                      <a:cubicBezTo>
                        <a:pt x="274" y="132"/>
                        <a:pt x="278" y="130"/>
                        <a:pt x="278" y="128"/>
                      </a:cubicBezTo>
                      <a:cubicBezTo>
                        <a:pt x="279" y="127"/>
                        <a:pt x="275" y="121"/>
                        <a:pt x="275" y="119"/>
                      </a:cubicBezTo>
                      <a:cubicBezTo>
                        <a:pt x="275" y="118"/>
                        <a:pt x="275" y="113"/>
                        <a:pt x="273" y="112"/>
                      </a:cubicBezTo>
                      <a:cubicBezTo>
                        <a:pt x="272" y="112"/>
                        <a:pt x="277" y="109"/>
                        <a:pt x="278" y="109"/>
                      </a:cubicBezTo>
                      <a:cubicBezTo>
                        <a:pt x="281" y="109"/>
                        <a:pt x="284" y="107"/>
                        <a:pt x="286" y="108"/>
                      </a:cubicBezTo>
                      <a:cubicBezTo>
                        <a:pt x="287" y="109"/>
                        <a:pt x="289" y="109"/>
                        <a:pt x="291" y="109"/>
                      </a:cubicBezTo>
                      <a:cubicBezTo>
                        <a:pt x="294" y="109"/>
                        <a:pt x="293" y="107"/>
                        <a:pt x="291" y="106"/>
                      </a:cubicBezTo>
                      <a:cubicBezTo>
                        <a:pt x="290" y="104"/>
                        <a:pt x="296" y="94"/>
                        <a:pt x="296" y="90"/>
                      </a:cubicBezTo>
                      <a:cubicBezTo>
                        <a:pt x="297" y="86"/>
                        <a:pt x="299" y="90"/>
                        <a:pt x="302" y="90"/>
                      </a:cubicBezTo>
                      <a:cubicBezTo>
                        <a:pt x="304" y="90"/>
                        <a:pt x="308" y="90"/>
                        <a:pt x="309" y="91"/>
                      </a:cubicBezTo>
                      <a:cubicBezTo>
                        <a:pt x="311" y="92"/>
                        <a:pt x="316" y="90"/>
                        <a:pt x="317" y="88"/>
                      </a:cubicBezTo>
                      <a:cubicBezTo>
                        <a:pt x="318" y="86"/>
                        <a:pt x="315" y="86"/>
                        <a:pt x="316" y="81"/>
                      </a:cubicBezTo>
                      <a:cubicBezTo>
                        <a:pt x="316" y="77"/>
                        <a:pt x="318" y="75"/>
                        <a:pt x="321" y="75"/>
                      </a:cubicBezTo>
                      <a:cubicBezTo>
                        <a:pt x="323" y="75"/>
                        <a:pt x="324" y="73"/>
                        <a:pt x="324" y="71"/>
                      </a:cubicBezTo>
                      <a:cubicBezTo>
                        <a:pt x="324" y="69"/>
                        <a:pt x="326" y="68"/>
                        <a:pt x="327" y="66"/>
                      </a:cubicBezTo>
                      <a:cubicBezTo>
                        <a:pt x="326" y="65"/>
                        <a:pt x="326" y="64"/>
                        <a:pt x="325" y="63"/>
                      </a:cubicBezTo>
                      <a:close/>
                      <a:moveTo>
                        <a:pt x="122" y="98"/>
                      </a:moveTo>
                      <a:cubicBezTo>
                        <a:pt x="121" y="99"/>
                        <a:pt x="112" y="96"/>
                        <a:pt x="111" y="95"/>
                      </a:cubicBezTo>
                      <a:cubicBezTo>
                        <a:pt x="110" y="93"/>
                        <a:pt x="124" y="95"/>
                        <a:pt x="122" y="98"/>
                      </a:cubicBezTo>
                      <a:close/>
                      <a:moveTo>
                        <a:pt x="257" y="97"/>
                      </a:moveTo>
                      <a:cubicBezTo>
                        <a:pt x="250" y="97"/>
                        <a:pt x="236" y="93"/>
                        <a:pt x="230" y="100"/>
                      </a:cubicBezTo>
                      <a:cubicBezTo>
                        <a:pt x="224" y="106"/>
                        <a:pt x="228" y="110"/>
                        <a:pt x="225" y="110"/>
                      </a:cubicBezTo>
                      <a:cubicBezTo>
                        <a:pt x="222" y="111"/>
                        <a:pt x="221" y="100"/>
                        <a:pt x="224" y="97"/>
                      </a:cubicBezTo>
                      <a:cubicBezTo>
                        <a:pt x="228" y="94"/>
                        <a:pt x="238" y="92"/>
                        <a:pt x="245" y="94"/>
                      </a:cubicBezTo>
                      <a:cubicBezTo>
                        <a:pt x="252" y="96"/>
                        <a:pt x="264" y="92"/>
                        <a:pt x="265" y="93"/>
                      </a:cubicBezTo>
                      <a:cubicBezTo>
                        <a:pt x="267" y="93"/>
                        <a:pt x="264" y="97"/>
                        <a:pt x="257" y="9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4" name="Freeform 147">
                  <a:extLst>
                    <a:ext uri="{FF2B5EF4-FFF2-40B4-BE49-F238E27FC236}">
                      <a16:creationId xmlns:a16="http://schemas.microsoft.com/office/drawing/2014/main" id="{340B5DCF-8E25-4DA0-90BE-8A53AA5E4F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062730" y="-13929304"/>
                  <a:ext cx="8490724" cy="3252941"/>
                </a:xfrm>
                <a:custGeom>
                  <a:avLst/>
                  <a:gdLst>
                    <a:gd name="T0" fmla="*/ 361 w 1374"/>
                    <a:gd name="T1" fmla="*/ 10 h 527"/>
                    <a:gd name="T2" fmla="*/ 611 w 1374"/>
                    <a:gd name="T3" fmla="*/ 5 h 527"/>
                    <a:gd name="T4" fmla="*/ 481 w 1374"/>
                    <a:gd name="T5" fmla="*/ 150 h 527"/>
                    <a:gd name="T6" fmla="*/ 663 w 1374"/>
                    <a:gd name="T7" fmla="*/ 49 h 527"/>
                    <a:gd name="T8" fmla="*/ 1003 w 1374"/>
                    <a:gd name="T9" fmla="*/ 110 h 527"/>
                    <a:gd name="T10" fmla="*/ 1054 w 1374"/>
                    <a:gd name="T11" fmla="*/ 117 h 527"/>
                    <a:gd name="T12" fmla="*/ 982 w 1374"/>
                    <a:gd name="T13" fmla="*/ 426 h 527"/>
                    <a:gd name="T14" fmla="*/ 244 w 1374"/>
                    <a:gd name="T15" fmla="*/ 22 h 527"/>
                    <a:gd name="T16" fmla="*/ 1332 w 1374"/>
                    <a:gd name="T17" fmla="*/ 242 h 527"/>
                    <a:gd name="T18" fmla="*/ 1194 w 1374"/>
                    <a:gd name="T19" fmla="*/ 202 h 527"/>
                    <a:gd name="T20" fmla="*/ 1063 w 1374"/>
                    <a:gd name="T21" fmla="*/ 177 h 527"/>
                    <a:gd name="T22" fmla="*/ 974 w 1374"/>
                    <a:gd name="T23" fmla="*/ 150 h 527"/>
                    <a:gd name="T24" fmla="*/ 903 w 1374"/>
                    <a:gd name="T25" fmla="*/ 167 h 527"/>
                    <a:gd name="T26" fmla="*/ 845 w 1374"/>
                    <a:gd name="T27" fmla="*/ 138 h 527"/>
                    <a:gd name="T28" fmla="*/ 748 w 1374"/>
                    <a:gd name="T29" fmla="*/ 136 h 527"/>
                    <a:gd name="T30" fmla="*/ 738 w 1374"/>
                    <a:gd name="T31" fmla="*/ 118 h 527"/>
                    <a:gd name="T32" fmla="*/ 699 w 1374"/>
                    <a:gd name="T33" fmla="*/ 83 h 527"/>
                    <a:gd name="T34" fmla="*/ 631 w 1374"/>
                    <a:gd name="T35" fmla="*/ 96 h 527"/>
                    <a:gd name="T36" fmla="*/ 547 w 1374"/>
                    <a:gd name="T37" fmla="*/ 114 h 527"/>
                    <a:gd name="T38" fmla="*/ 519 w 1374"/>
                    <a:gd name="T39" fmla="*/ 137 h 527"/>
                    <a:gd name="T40" fmla="*/ 479 w 1374"/>
                    <a:gd name="T41" fmla="*/ 177 h 527"/>
                    <a:gd name="T42" fmla="*/ 456 w 1374"/>
                    <a:gd name="T43" fmla="*/ 204 h 527"/>
                    <a:gd name="T44" fmla="*/ 422 w 1374"/>
                    <a:gd name="T45" fmla="*/ 243 h 527"/>
                    <a:gd name="T46" fmla="*/ 438 w 1374"/>
                    <a:gd name="T47" fmla="*/ 213 h 527"/>
                    <a:gd name="T48" fmla="*/ 387 w 1374"/>
                    <a:gd name="T49" fmla="*/ 187 h 527"/>
                    <a:gd name="T50" fmla="*/ 326 w 1374"/>
                    <a:gd name="T51" fmla="*/ 196 h 527"/>
                    <a:gd name="T52" fmla="*/ 269 w 1374"/>
                    <a:gd name="T53" fmla="*/ 210 h 527"/>
                    <a:gd name="T54" fmla="*/ 196 w 1374"/>
                    <a:gd name="T55" fmla="*/ 214 h 527"/>
                    <a:gd name="T56" fmla="*/ 150 w 1374"/>
                    <a:gd name="T57" fmla="*/ 262 h 527"/>
                    <a:gd name="T58" fmla="*/ 103 w 1374"/>
                    <a:gd name="T59" fmla="*/ 233 h 527"/>
                    <a:gd name="T60" fmla="*/ 107 w 1374"/>
                    <a:gd name="T61" fmla="*/ 200 h 527"/>
                    <a:gd name="T62" fmla="*/ 79 w 1374"/>
                    <a:gd name="T63" fmla="*/ 230 h 527"/>
                    <a:gd name="T64" fmla="*/ 70 w 1374"/>
                    <a:gd name="T65" fmla="*/ 315 h 527"/>
                    <a:gd name="T66" fmla="*/ 74 w 1374"/>
                    <a:gd name="T67" fmla="*/ 370 h 527"/>
                    <a:gd name="T68" fmla="*/ 115 w 1374"/>
                    <a:gd name="T69" fmla="*/ 412 h 527"/>
                    <a:gd name="T70" fmla="*/ 161 w 1374"/>
                    <a:gd name="T71" fmla="*/ 450 h 527"/>
                    <a:gd name="T72" fmla="*/ 165 w 1374"/>
                    <a:gd name="T73" fmla="*/ 503 h 527"/>
                    <a:gd name="T74" fmla="*/ 238 w 1374"/>
                    <a:gd name="T75" fmla="*/ 476 h 527"/>
                    <a:gd name="T76" fmla="*/ 237 w 1374"/>
                    <a:gd name="T77" fmla="*/ 430 h 527"/>
                    <a:gd name="T78" fmla="*/ 325 w 1374"/>
                    <a:gd name="T79" fmla="*/ 432 h 527"/>
                    <a:gd name="T80" fmla="*/ 374 w 1374"/>
                    <a:gd name="T81" fmla="*/ 388 h 527"/>
                    <a:gd name="T82" fmla="*/ 451 w 1374"/>
                    <a:gd name="T83" fmla="*/ 395 h 527"/>
                    <a:gd name="T84" fmla="*/ 541 w 1374"/>
                    <a:gd name="T85" fmla="*/ 442 h 527"/>
                    <a:gd name="T86" fmla="*/ 625 w 1374"/>
                    <a:gd name="T87" fmla="*/ 432 h 527"/>
                    <a:gd name="T88" fmla="*/ 697 w 1374"/>
                    <a:gd name="T89" fmla="*/ 437 h 527"/>
                    <a:gd name="T90" fmla="*/ 804 w 1374"/>
                    <a:gd name="T91" fmla="*/ 419 h 527"/>
                    <a:gd name="T92" fmla="*/ 888 w 1374"/>
                    <a:gd name="T93" fmla="*/ 453 h 527"/>
                    <a:gd name="T94" fmla="*/ 899 w 1374"/>
                    <a:gd name="T95" fmla="*/ 508 h 527"/>
                    <a:gd name="T96" fmla="*/ 961 w 1374"/>
                    <a:gd name="T97" fmla="*/ 393 h 527"/>
                    <a:gd name="T98" fmla="*/ 970 w 1374"/>
                    <a:gd name="T99" fmla="*/ 348 h 527"/>
                    <a:gd name="T100" fmla="*/ 1078 w 1374"/>
                    <a:gd name="T101" fmla="*/ 337 h 527"/>
                    <a:gd name="T102" fmla="*/ 1152 w 1374"/>
                    <a:gd name="T103" fmla="*/ 299 h 527"/>
                    <a:gd name="T104" fmla="*/ 1098 w 1374"/>
                    <a:gd name="T105" fmla="*/ 424 h 527"/>
                    <a:gd name="T106" fmla="*/ 1151 w 1374"/>
                    <a:gd name="T107" fmla="*/ 352 h 527"/>
                    <a:gd name="T108" fmla="*/ 1235 w 1374"/>
                    <a:gd name="T109" fmla="*/ 309 h 527"/>
                    <a:gd name="T110" fmla="*/ 1292 w 1374"/>
                    <a:gd name="T111" fmla="*/ 262 h 527"/>
                    <a:gd name="T112" fmla="*/ 1347 w 1374"/>
                    <a:gd name="T113" fmla="*/ 267 h 527"/>
                    <a:gd name="T114" fmla="*/ 707 w 1374"/>
                    <a:gd name="T115" fmla="*/ 392 h 527"/>
                    <a:gd name="T116" fmla="*/ 277 w 1374"/>
                    <a:gd name="T117" fmla="*/ 23 h 527"/>
                    <a:gd name="T118" fmla="*/ 282 w 1374"/>
                    <a:gd name="T119" fmla="*/ 14 h 527"/>
                    <a:gd name="T120" fmla="*/ 300 w 1374"/>
                    <a:gd name="T121" fmla="*/ 145 h 527"/>
                    <a:gd name="T122" fmla="*/ 301 w 1374"/>
                    <a:gd name="T123" fmla="*/ 111 h 5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374" h="527">
                      <a:moveTo>
                        <a:pt x="21" y="381"/>
                      </a:moveTo>
                      <a:cubicBezTo>
                        <a:pt x="20" y="381"/>
                        <a:pt x="17" y="380"/>
                        <a:pt x="16" y="379"/>
                      </a:cubicBezTo>
                      <a:cubicBezTo>
                        <a:pt x="16" y="378"/>
                        <a:pt x="13" y="378"/>
                        <a:pt x="11" y="378"/>
                      </a:cubicBezTo>
                      <a:cubicBezTo>
                        <a:pt x="12" y="379"/>
                        <a:pt x="12" y="379"/>
                        <a:pt x="13" y="380"/>
                      </a:cubicBezTo>
                      <a:cubicBezTo>
                        <a:pt x="14" y="382"/>
                        <a:pt x="8" y="382"/>
                        <a:pt x="10" y="384"/>
                      </a:cubicBezTo>
                      <a:cubicBezTo>
                        <a:pt x="12" y="386"/>
                        <a:pt x="6" y="386"/>
                        <a:pt x="6" y="384"/>
                      </a:cubicBezTo>
                      <a:cubicBezTo>
                        <a:pt x="6" y="382"/>
                        <a:pt x="1" y="383"/>
                        <a:pt x="1" y="384"/>
                      </a:cubicBezTo>
                      <a:cubicBezTo>
                        <a:pt x="1" y="385"/>
                        <a:pt x="1" y="386"/>
                        <a:pt x="0" y="386"/>
                      </a:cubicBezTo>
                      <a:cubicBezTo>
                        <a:pt x="2" y="387"/>
                        <a:pt x="4" y="388"/>
                        <a:pt x="4" y="388"/>
                      </a:cubicBezTo>
                      <a:cubicBezTo>
                        <a:pt x="5" y="388"/>
                        <a:pt x="20" y="390"/>
                        <a:pt x="25" y="389"/>
                      </a:cubicBezTo>
                      <a:cubicBezTo>
                        <a:pt x="25" y="388"/>
                        <a:pt x="26" y="385"/>
                        <a:pt x="26" y="383"/>
                      </a:cubicBezTo>
                      <a:cubicBezTo>
                        <a:pt x="26" y="382"/>
                        <a:pt x="22" y="380"/>
                        <a:pt x="21" y="381"/>
                      </a:cubicBezTo>
                      <a:close/>
                      <a:moveTo>
                        <a:pt x="365" y="14"/>
                      </a:moveTo>
                      <a:cubicBezTo>
                        <a:pt x="374" y="13"/>
                        <a:pt x="374" y="8"/>
                        <a:pt x="369" y="8"/>
                      </a:cubicBezTo>
                      <a:cubicBezTo>
                        <a:pt x="364" y="7"/>
                        <a:pt x="364" y="10"/>
                        <a:pt x="361" y="10"/>
                      </a:cubicBezTo>
                      <a:cubicBezTo>
                        <a:pt x="359" y="10"/>
                        <a:pt x="350" y="12"/>
                        <a:pt x="352" y="14"/>
                      </a:cubicBezTo>
                      <a:cubicBezTo>
                        <a:pt x="354" y="16"/>
                        <a:pt x="361" y="15"/>
                        <a:pt x="365" y="14"/>
                      </a:cubicBezTo>
                      <a:close/>
                      <a:moveTo>
                        <a:pt x="411" y="147"/>
                      </a:moveTo>
                      <a:cubicBezTo>
                        <a:pt x="414" y="147"/>
                        <a:pt x="423" y="145"/>
                        <a:pt x="423" y="144"/>
                      </a:cubicBezTo>
                      <a:cubicBezTo>
                        <a:pt x="424" y="142"/>
                        <a:pt x="420" y="140"/>
                        <a:pt x="415" y="140"/>
                      </a:cubicBezTo>
                      <a:cubicBezTo>
                        <a:pt x="409" y="140"/>
                        <a:pt x="408" y="146"/>
                        <a:pt x="411" y="147"/>
                      </a:cubicBezTo>
                      <a:close/>
                      <a:moveTo>
                        <a:pt x="587" y="25"/>
                      </a:moveTo>
                      <a:cubicBezTo>
                        <a:pt x="591" y="27"/>
                        <a:pt x="590" y="28"/>
                        <a:pt x="585" y="28"/>
                      </a:cubicBezTo>
                      <a:cubicBezTo>
                        <a:pt x="580" y="28"/>
                        <a:pt x="576" y="30"/>
                        <a:pt x="579" y="31"/>
                      </a:cubicBezTo>
                      <a:cubicBezTo>
                        <a:pt x="582" y="32"/>
                        <a:pt x="581" y="35"/>
                        <a:pt x="586" y="36"/>
                      </a:cubicBezTo>
                      <a:cubicBezTo>
                        <a:pt x="591" y="37"/>
                        <a:pt x="596" y="33"/>
                        <a:pt x="596" y="30"/>
                      </a:cubicBezTo>
                      <a:cubicBezTo>
                        <a:pt x="595" y="27"/>
                        <a:pt x="613" y="25"/>
                        <a:pt x="618" y="23"/>
                      </a:cubicBezTo>
                      <a:cubicBezTo>
                        <a:pt x="623" y="22"/>
                        <a:pt x="615" y="17"/>
                        <a:pt x="620" y="17"/>
                      </a:cubicBezTo>
                      <a:cubicBezTo>
                        <a:pt x="625" y="16"/>
                        <a:pt x="623" y="14"/>
                        <a:pt x="617" y="13"/>
                      </a:cubicBezTo>
                      <a:cubicBezTo>
                        <a:pt x="610" y="12"/>
                        <a:pt x="613" y="7"/>
                        <a:pt x="611" y="5"/>
                      </a:cubicBezTo>
                      <a:cubicBezTo>
                        <a:pt x="609" y="3"/>
                        <a:pt x="608" y="7"/>
                        <a:pt x="599" y="9"/>
                      </a:cubicBezTo>
                      <a:cubicBezTo>
                        <a:pt x="591" y="10"/>
                        <a:pt x="587" y="13"/>
                        <a:pt x="590" y="14"/>
                      </a:cubicBezTo>
                      <a:cubicBezTo>
                        <a:pt x="593" y="16"/>
                        <a:pt x="590" y="20"/>
                        <a:pt x="587" y="20"/>
                      </a:cubicBezTo>
                      <a:cubicBezTo>
                        <a:pt x="583" y="19"/>
                        <a:pt x="582" y="23"/>
                        <a:pt x="587" y="25"/>
                      </a:cubicBezTo>
                      <a:close/>
                      <a:moveTo>
                        <a:pt x="599" y="32"/>
                      </a:moveTo>
                      <a:cubicBezTo>
                        <a:pt x="599" y="34"/>
                        <a:pt x="592" y="37"/>
                        <a:pt x="594" y="39"/>
                      </a:cubicBezTo>
                      <a:cubicBezTo>
                        <a:pt x="596" y="41"/>
                        <a:pt x="598" y="40"/>
                        <a:pt x="600" y="41"/>
                      </a:cubicBezTo>
                      <a:cubicBezTo>
                        <a:pt x="602" y="41"/>
                        <a:pt x="603" y="47"/>
                        <a:pt x="608" y="46"/>
                      </a:cubicBezTo>
                      <a:cubicBezTo>
                        <a:pt x="612" y="45"/>
                        <a:pt x="624" y="51"/>
                        <a:pt x="631" y="51"/>
                      </a:cubicBezTo>
                      <a:cubicBezTo>
                        <a:pt x="637" y="51"/>
                        <a:pt x="638" y="45"/>
                        <a:pt x="636" y="45"/>
                      </a:cubicBezTo>
                      <a:cubicBezTo>
                        <a:pt x="634" y="45"/>
                        <a:pt x="636" y="41"/>
                        <a:pt x="640" y="36"/>
                      </a:cubicBezTo>
                      <a:cubicBezTo>
                        <a:pt x="643" y="30"/>
                        <a:pt x="628" y="26"/>
                        <a:pt x="628" y="31"/>
                      </a:cubicBezTo>
                      <a:cubicBezTo>
                        <a:pt x="628" y="35"/>
                        <a:pt x="623" y="30"/>
                        <a:pt x="622" y="27"/>
                      </a:cubicBezTo>
                      <a:cubicBezTo>
                        <a:pt x="620" y="24"/>
                        <a:pt x="599" y="29"/>
                        <a:pt x="599" y="32"/>
                      </a:cubicBezTo>
                      <a:close/>
                      <a:moveTo>
                        <a:pt x="481" y="150"/>
                      </a:moveTo>
                      <a:cubicBezTo>
                        <a:pt x="484" y="152"/>
                        <a:pt x="487" y="151"/>
                        <a:pt x="487" y="148"/>
                      </a:cubicBezTo>
                      <a:cubicBezTo>
                        <a:pt x="486" y="144"/>
                        <a:pt x="478" y="149"/>
                        <a:pt x="481" y="150"/>
                      </a:cubicBezTo>
                      <a:close/>
                      <a:moveTo>
                        <a:pt x="581" y="8"/>
                      </a:moveTo>
                      <a:cubicBezTo>
                        <a:pt x="582" y="5"/>
                        <a:pt x="566" y="6"/>
                        <a:pt x="570" y="10"/>
                      </a:cubicBezTo>
                      <a:cubicBezTo>
                        <a:pt x="571" y="11"/>
                        <a:pt x="580" y="12"/>
                        <a:pt x="581" y="8"/>
                      </a:cubicBezTo>
                      <a:close/>
                      <a:moveTo>
                        <a:pt x="1280" y="181"/>
                      </a:moveTo>
                      <a:cubicBezTo>
                        <a:pt x="1285" y="183"/>
                        <a:pt x="1288" y="178"/>
                        <a:pt x="1292" y="180"/>
                      </a:cubicBezTo>
                      <a:cubicBezTo>
                        <a:pt x="1296" y="183"/>
                        <a:pt x="1305" y="179"/>
                        <a:pt x="1309" y="179"/>
                      </a:cubicBezTo>
                      <a:cubicBezTo>
                        <a:pt x="1313" y="178"/>
                        <a:pt x="1311" y="173"/>
                        <a:pt x="1300" y="172"/>
                      </a:cubicBezTo>
                      <a:cubicBezTo>
                        <a:pt x="1289" y="170"/>
                        <a:pt x="1275" y="178"/>
                        <a:pt x="1280" y="181"/>
                      </a:cubicBezTo>
                      <a:close/>
                      <a:moveTo>
                        <a:pt x="636" y="65"/>
                      </a:moveTo>
                      <a:cubicBezTo>
                        <a:pt x="640" y="67"/>
                        <a:pt x="650" y="63"/>
                        <a:pt x="657" y="63"/>
                      </a:cubicBezTo>
                      <a:cubicBezTo>
                        <a:pt x="665" y="63"/>
                        <a:pt x="685" y="58"/>
                        <a:pt x="685" y="54"/>
                      </a:cubicBezTo>
                      <a:cubicBezTo>
                        <a:pt x="686" y="50"/>
                        <a:pt x="678" y="50"/>
                        <a:pt x="675" y="47"/>
                      </a:cubicBezTo>
                      <a:cubicBezTo>
                        <a:pt x="672" y="44"/>
                        <a:pt x="665" y="47"/>
                        <a:pt x="663" y="49"/>
                      </a:cubicBezTo>
                      <a:cubicBezTo>
                        <a:pt x="661" y="52"/>
                        <a:pt x="660" y="50"/>
                        <a:pt x="664" y="45"/>
                      </a:cubicBezTo>
                      <a:cubicBezTo>
                        <a:pt x="669" y="41"/>
                        <a:pt x="660" y="37"/>
                        <a:pt x="659" y="40"/>
                      </a:cubicBezTo>
                      <a:cubicBezTo>
                        <a:pt x="659" y="43"/>
                        <a:pt x="651" y="40"/>
                        <a:pt x="651" y="43"/>
                      </a:cubicBezTo>
                      <a:cubicBezTo>
                        <a:pt x="651" y="46"/>
                        <a:pt x="648" y="47"/>
                        <a:pt x="648" y="49"/>
                      </a:cubicBezTo>
                      <a:cubicBezTo>
                        <a:pt x="648" y="52"/>
                        <a:pt x="642" y="48"/>
                        <a:pt x="642" y="54"/>
                      </a:cubicBezTo>
                      <a:cubicBezTo>
                        <a:pt x="642" y="60"/>
                        <a:pt x="633" y="63"/>
                        <a:pt x="636" y="65"/>
                      </a:cubicBezTo>
                      <a:close/>
                      <a:moveTo>
                        <a:pt x="943" y="114"/>
                      </a:moveTo>
                      <a:cubicBezTo>
                        <a:pt x="946" y="116"/>
                        <a:pt x="948" y="118"/>
                        <a:pt x="949" y="120"/>
                      </a:cubicBezTo>
                      <a:cubicBezTo>
                        <a:pt x="951" y="121"/>
                        <a:pt x="958" y="119"/>
                        <a:pt x="961" y="118"/>
                      </a:cubicBezTo>
                      <a:cubicBezTo>
                        <a:pt x="964" y="117"/>
                        <a:pt x="964" y="122"/>
                        <a:pt x="969" y="119"/>
                      </a:cubicBezTo>
                      <a:cubicBezTo>
                        <a:pt x="973" y="116"/>
                        <a:pt x="978" y="118"/>
                        <a:pt x="983" y="118"/>
                      </a:cubicBezTo>
                      <a:cubicBezTo>
                        <a:pt x="988" y="118"/>
                        <a:pt x="982" y="111"/>
                        <a:pt x="983" y="108"/>
                      </a:cubicBezTo>
                      <a:cubicBezTo>
                        <a:pt x="983" y="106"/>
                        <a:pt x="989" y="107"/>
                        <a:pt x="987" y="110"/>
                      </a:cubicBezTo>
                      <a:cubicBezTo>
                        <a:pt x="985" y="112"/>
                        <a:pt x="990" y="118"/>
                        <a:pt x="997" y="117"/>
                      </a:cubicBezTo>
                      <a:cubicBezTo>
                        <a:pt x="1005" y="117"/>
                        <a:pt x="999" y="112"/>
                        <a:pt x="1003" y="110"/>
                      </a:cubicBezTo>
                      <a:cubicBezTo>
                        <a:pt x="1007" y="109"/>
                        <a:pt x="1006" y="107"/>
                        <a:pt x="1001" y="103"/>
                      </a:cubicBezTo>
                      <a:cubicBezTo>
                        <a:pt x="995" y="100"/>
                        <a:pt x="988" y="102"/>
                        <a:pt x="983" y="100"/>
                      </a:cubicBezTo>
                      <a:cubicBezTo>
                        <a:pt x="978" y="98"/>
                        <a:pt x="972" y="98"/>
                        <a:pt x="972" y="103"/>
                      </a:cubicBezTo>
                      <a:cubicBezTo>
                        <a:pt x="972" y="108"/>
                        <a:pt x="962" y="97"/>
                        <a:pt x="957" y="96"/>
                      </a:cubicBezTo>
                      <a:cubicBezTo>
                        <a:pt x="951" y="94"/>
                        <a:pt x="935" y="110"/>
                        <a:pt x="943" y="114"/>
                      </a:cubicBezTo>
                      <a:close/>
                      <a:moveTo>
                        <a:pt x="993" y="145"/>
                      </a:moveTo>
                      <a:cubicBezTo>
                        <a:pt x="997" y="144"/>
                        <a:pt x="990" y="136"/>
                        <a:pt x="982" y="135"/>
                      </a:cubicBezTo>
                      <a:cubicBezTo>
                        <a:pt x="975" y="134"/>
                        <a:pt x="968" y="140"/>
                        <a:pt x="969" y="141"/>
                      </a:cubicBezTo>
                      <a:cubicBezTo>
                        <a:pt x="971" y="144"/>
                        <a:pt x="988" y="146"/>
                        <a:pt x="993" y="145"/>
                      </a:cubicBezTo>
                      <a:close/>
                      <a:moveTo>
                        <a:pt x="974" y="129"/>
                      </a:moveTo>
                      <a:cubicBezTo>
                        <a:pt x="974" y="125"/>
                        <a:pt x="961" y="130"/>
                        <a:pt x="966" y="132"/>
                      </a:cubicBezTo>
                      <a:cubicBezTo>
                        <a:pt x="969" y="133"/>
                        <a:pt x="974" y="133"/>
                        <a:pt x="974" y="129"/>
                      </a:cubicBezTo>
                      <a:close/>
                      <a:moveTo>
                        <a:pt x="1015" y="114"/>
                      </a:moveTo>
                      <a:cubicBezTo>
                        <a:pt x="1021" y="115"/>
                        <a:pt x="1024" y="120"/>
                        <a:pt x="1035" y="121"/>
                      </a:cubicBezTo>
                      <a:cubicBezTo>
                        <a:pt x="1046" y="121"/>
                        <a:pt x="1054" y="119"/>
                        <a:pt x="1054" y="117"/>
                      </a:cubicBezTo>
                      <a:cubicBezTo>
                        <a:pt x="1054" y="115"/>
                        <a:pt x="1044" y="111"/>
                        <a:pt x="1041" y="113"/>
                      </a:cubicBezTo>
                      <a:cubicBezTo>
                        <a:pt x="1038" y="115"/>
                        <a:pt x="1035" y="110"/>
                        <a:pt x="1032" y="111"/>
                      </a:cubicBezTo>
                      <a:cubicBezTo>
                        <a:pt x="1028" y="112"/>
                        <a:pt x="1022" y="112"/>
                        <a:pt x="1021" y="109"/>
                      </a:cubicBezTo>
                      <a:cubicBezTo>
                        <a:pt x="1019" y="105"/>
                        <a:pt x="1012" y="114"/>
                        <a:pt x="1015" y="114"/>
                      </a:cubicBezTo>
                      <a:close/>
                      <a:moveTo>
                        <a:pt x="221" y="18"/>
                      </a:moveTo>
                      <a:cubicBezTo>
                        <a:pt x="226" y="13"/>
                        <a:pt x="233" y="17"/>
                        <a:pt x="234" y="15"/>
                      </a:cubicBezTo>
                      <a:cubicBezTo>
                        <a:pt x="235" y="13"/>
                        <a:pt x="224" y="12"/>
                        <a:pt x="220" y="14"/>
                      </a:cubicBezTo>
                      <a:cubicBezTo>
                        <a:pt x="216" y="16"/>
                        <a:pt x="206" y="14"/>
                        <a:pt x="208" y="17"/>
                      </a:cubicBezTo>
                      <a:cubicBezTo>
                        <a:pt x="208" y="19"/>
                        <a:pt x="215" y="23"/>
                        <a:pt x="221" y="18"/>
                      </a:cubicBezTo>
                      <a:close/>
                      <a:moveTo>
                        <a:pt x="991" y="419"/>
                      </a:moveTo>
                      <a:cubicBezTo>
                        <a:pt x="988" y="413"/>
                        <a:pt x="995" y="406"/>
                        <a:pt x="990" y="402"/>
                      </a:cubicBezTo>
                      <a:cubicBezTo>
                        <a:pt x="985" y="399"/>
                        <a:pt x="987" y="391"/>
                        <a:pt x="985" y="393"/>
                      </a:cubicBezTo>
                      <a:cubicBezTo>
                        <a:pt x="982" y="394"/>
                        <a:pt x="985" y="401"/>
                        <a:pt x="981" y="401"/>
                      </a:cubicBezTo>
                      <a:cubicBezTo>
                        <a:pt x="977" y="402"/>
                        <a:pt x="981" y="405"/>
                        <a:pt x="979" y="410"/>
                      </a:cubicBezTo>
                      <a:cubicBezTo>
                        <a:pt x="978" y="415"/>
                        <a:pt x="980" y="422"/>
                        <a:pt x="982" y="426"/>
                      </a:cubicBezTo>
                      <a:cubicBezTo>
                        <a:pt x="984" y="430"/>
                        <a:pt x="979" y="453"/>
                        <a:pt x="981" y="457"/>
                      </a:cubicBezTo>
                      <a:cubicBezTo>
                        <a:pt x="983" y="461"/>
                        <a:pt x="978" y="477"/>
                        <a:pt x="980" y="479"/>
                      </a:cubicBezTo>
                      <a:cubicBezTo>
                        <a:pt x="983" y="483"/>
                        <a:pt x="981" y="475"/>
                        <a:pt x="985" y="474"/>
                      </a:cubicBezTo>
                      <a:cubicBezTo>
                        <a:pt x="989" y="473"/>
                        <a:pt x="989" y="479"/>
                        <a:pt x="992" y="480"/>
                      </a:cubicBezTo>
                      <a:cubicBezTo>
                        <a:pt x="994" y="481"/>
                        <a:pt x="993" y="472"/>
                        <a:pt x="990" y="473"/>
                      </a:cubicBezTo>
                      <a:cubicBezTo>
                        <a:pt x="988" y="473"/>
                        <a:pt x="986" y="467"/>
                        <a:pt x="985" y="463"/>
                      </a:cubicBezTo>
                      <a:cubicBezTo>
                        <a:pt x="984" y="460"/>
                        <a:pt x="987" y="455"/>
                        <a:pt x="987" y="450"/>
                      </a:cubicBezTo>
                      <a:cubicBezTo>
                        <a:pt x="987" y="446"/>
                        <a:pt x="993" y="446"/>
                        <a:pt x="997" y="449"/>
                      </a:cubicBezTo>
                      <a:cubicBezTo>
                        <a:pt x="1000" y="453"/>
                        <a:pt x="1001" y="451"/>
                        <a:pt x="999" y="448"/>
                      </a:cubicBezTo>
                      <a:cubicBezTo>
                        <a:pt x="998" y="445"/>
                        <a:pt x="993" y="426"/>
                        <a:pt x="991" y="419"/>
                      </a:cubicBezTo>
                      <a:close/>
                      <a:moveTo>
                        <a:pt x="243" y="15"/>
                      </a:moveTo>
                      <a:cubicBezTo>
                        <a:pt x="246" y="18"/>
                        <a:pt x="234" y="17"/>
                        <a:pt x="232" y="19"/>
                      </a:cubicBezTo>
                      <a:cubicBezTo>
                        <a:pt x="230" y="22"/>
                        <a:pt x="223" y="21"/>
                        <a:pt x="224" y="24"/>
                      </a:cubicBezTo>
                      <a:cubicBezTo>
                        <a:pt x="226" y="27"/>
                        <a:pt x="238" y="27"/>
                        <a:pt x="238" y="24"/>
                      </a:cubicBezTo>
                      <a:cubicBezTo>
                        <a:pt x="238" y="22"/>
                        <a:pt x="244" y="24"/>
                        <a:pt x="244" y="22"/>
                      </a:cubicBezTo>
                      <a:cubicBezTo>
                        <a:pt x="244" y="20"/>
                        <a:pt x="247" y="18"/>
                        <a:pt x="254" y="17"/>
                      </a:cubicBezTo>
                      <a:cubicBezTo>
                        <a:pt x="260" y="17"/>
                        <a:pt x="260" y="14"/>
                        <a:pt x="254" y="11"/>
                      </a:cubicBezTo>
                      <a:cubicBezTo>
                        <a:pt x="248" y="8"/>
                        <a:pt x="240" y="13"/>
                        <a:pt x="243" y="15"/>
                      </a:cubicBezTo>
                      <a:close/>
                      <a:moveTo>
                        <a:pt x="233" y="208"/>
                      </a:moveTo>
                      <a:cubicBezTo>
                        <a:pt x="239" y="213"/>
                        <a:pt x="245" y="205"/>
                        <a:pt x="248" y="204"/>
                      </a:cubicBezTo>
                      <a:cubicBezTo>
                        <a:pt x="251" y="204"/>
                        <a:pt x="246" y="201"/>
                        <a:pt x="241" y="199"/>
                      </a:cubicBezTo>
                      <a:cubicBezTo>
                        <a:pt x="235" y="198"/>
                        <a:pt x="228" y="203"/>
                        <a:pt x="233" y="208"/>
                      </a:cubicBezTo>
                      <a:close/>
                      <a:moveTo>
                        <a:pt x="1372" y="248"/>
                      </a:moveTo>
                      <a:cubicBezTo>
                        <a:pt x="1370" y="247"/>
                        <a:pt x="1362" y="242"/>
                        <a:pt x="1360" y="240"/>
                      </a:cubicBezTo>
                      <a:cubicBezTo>
                        <a:pt x="1358" y="237"/>
                        <a:pt x="1349" y="236"/>
                        <a:pt x="1349" y="237"/>
                      </a:cubicBezTo>
                      <a:cubicBezTo>
                        <a:pt x="1349" y="238"/>
                        <a:pt x="1346" y="237"/>
                        <a:pt x="1345" y="235"/>
                      </a:cubicBezTo>
                      <a:cubicBezTo>
                        <a:pt x="1345" y="234"/>
                        <a:pt x="1335" y="233"/>
                        <a:pt x="1335" y="235"/>
                      </a:cubicBezTo>
                      <a:cubicBezTo>
                        <a:pt x="1335" y="237"/>
                        <a:pt x="1337" y="237"/>
                        <a:pt x="1338" y="239"/>
                      </a:cubicBezTo>
                      <a:cubicBezTo>
                        <a:pt x="1340" y="241"/>
                        <a:pt x="1337" y="242"/>
                        <a:pt x="1337" y="244"/>
                      </a:cubicBezTo>
                      <a:cubicBezTo>
                        <a:pt x="1338" y="246"/>
                        <a:pt x="1334" y="243"/>
                        <a:pt x="1332" y="242"/>
                      </a:cubicBezTo>
                      <a:cubicBezTo>
                        <a:pt x="1331" y="240"/>
                        <a:pt x="1331" y="236"/>
                        <a:pt x="1332" y="233"/>
                      </a:cubicBezTo>
                      <a:cubicBezTo>
                        <a:pt x="1332" y="231"/>
                        <a:pt x="1329" y="231"/>
                        <a:pt x="1329" y="229"/>
                      </a:cubicBezTo>
                      <a:cubicBezTo>
                        <a:pt x="1328" y="227"/>
                        <a:pt x="1318" y="222"/>
                        <a:pt x="1313" y="220"/>
                      </a:cubicBezTo>
                      <a:cubicBezTo>
                        <a:pt x="1309" y="218"/>
                        <a:pt x="1303" y="216"/>
                        <a:pt x="1301" y="214"/>
                      </a:cubicBezTo>
                      <a:cubicBezTo>
                        <a:pt x="1300" y="212"/>
                        <a:pt x="1292" y="211"/>
                        <a:pt x="1289" y="208"/>
                      </a:cubicBezTo>
                      <a:cubicBezTo>
                        <a:pt x="1285" y="205"/>
                        <a:pt x="1272" y="199"/>
                        <a:pt x="1266" y="199"/>
                      </a:cubicBezTo>
                      <a:cubicBezTo>
                        <a:pt x="1260" y="198"/>
                        <a:pt x="1262" y="195"/>
                        <a:pt x="1259" y="196"/>
                      </a:cubicBezTo>
                      <a:cubicBezTo>
                        <a:pt x="1256" y="196"/>
                        <a:pt x="1244" y="196"/>
                        <a:pt x="1240" y="195"/>
                      </a:cubicBezTo>
                      <a:cubicBezTo>
                        <a:pt x="1236" y="194"/>
                        <a:pt x="1235" y="197"/>
                        <a:pt x="1232" y="196"/>
                      </a:cubicBezTo>
                      <a:cubicBezTo>
                        <a:pt x="1230" y="195"/>
                        <a:pt x="1216" y="190"/>
                        <a:pt x="1214" y="192"/>
                      </a:cubicBezTo>
                      <a:cubicBezTo>
                        <a:pt x="1212" y="194"/>
                        <a:pt x="1213" y="197"/>
                        <a:pt x="1211" y="197"/>
                      </a:cubicBezTo>
                      <a:cubicBezTo>
                        <a:pt x="1210" y="198"/>
                        <a:pt x="1211" y="200"/>
                        <a:pt x="1215" y="203"/>
                      </a:cubicBezTo>
                      <a:cubicBezTo>
                        <a:pt x="1219" y="207"/>
                        <a:pt x="1217" y="210"/>
                        <a:pt x="1213" y="211"/>
                      </a:cubicBezTo>
                      <a:cubicBezTo>
                        <a:pt x="1210" y="213"/>
                        <a:pt x="1204" y="210"/>
                        <a:pt x="1202" y="207"/>
                      </a:cubicBezTo>
                      <a:cubicBezTo>
                        <a:pt x="1200" y="204"/>
                        <a:pt x="1195" y="206"/>
                        <a:pt x="1194" y="202"/>
                      </a:cubicBezTo>
                      <a:cubicBezTo>
                        <a:pt x="1193" y="198"/>
                        <a:pt x="1196" y="198"/>
                        <a:pt x="1198" y="200"/>
                      </a:cubicBezTo>
                      <a:cubicBezTo>
                        <a:pt x="1200" y="202"/>
                        <a:pt x="1204" y="200"/>
                        <a:pt x="1204" y="198"/>
                      </a:cubicBezTo>
                      <a:cubicBezTo>
                        <a:pt x="1204" y="195"/>
                        <a:pt x="1198" y="193"/>
                        <a:pt x="1194" y="194"/>
                      </a:cubicBezTo>
                      <a:cubicBezTo>
                        <a:pt x="1190" y="194"/>
                        <a:pt x="1188" y="199"/>
                        <a:pt x="1184" y="201"/>
                      </a:cubicBezTo>
                      <a:cubicBezTo>
                        <a:pt x="1181" y="203"/>
                        <a:pt x="1166" y="200"/>
                        <a:pt x="1164" y="199"/>
                      </a:cubicBezTo>
                      <a:cubicBezTo>
                        <a:pt x="1163" y="197"/>
                        <a:pt x="1142" y="199"/>
                        <a:pt x="1140" y="200"/>
                      </a:cubicBezTo>
                      <a:cubicBezTo>
                        <a:pt x="1138" y="202"/>
                        <a:pt x="1139" y="207"/>
                        <a:pt x="1138" y="208"/>
                      </a:cubicBezTo>
                      <a:cubicBezTo>
                        <a:pt x="1137" y="208"/>
                        <a:pt x="1136" y="201"/>
                        <a:pt x="1136" y="200"/>
                      </a:cubicBezTo>
                      <a:cubicBezTo>
                        <a:pt x="1136" y="199"/>
                        <a:pt x="1134" y="198"/>
                        <a:pt x="1130" y="198"/>
                      </a:cubicBezTo>
                      <a:cubicBezTo>
                        <a:pt x="1126" y="198"/>
                        <a:pt x="1124" y="198"/>
                        <a:pt x="1126" y="196"/>
                      </a:cubicBezTo>
                      <a:cubicBezTo>
                        <a:pt x="1127" y="194"/>
                        <a:pt x="1124" y="193"/>
                        <a:pt x="1127" y="191"/>
                      </a:cubicBezTo>
                      <a:cubicBezTo>
                        <a:pt x="1130" y="189"/>
                        <a:pt x="1122" y="183"/>
                        <a:pt x="1114" y="179"/>
                      </a:cubicBezTo>
                      <a:cubicBezTo>
                        <a:pt x="1106" y="176"/>
                        <a:pt x="1088" y="178"/>
                        <a:pt x="1084" y="180"/>
                      </a:cubicBezTo>
                      <a:cubicBezTo>
                        <a:pt x="1079" y="181"/>
                        <a:pt x="1069" y="181"/>
                        <a:pt x="1065" y="181"/>
                      </a:cubicBezTo>
                      <a:cubicBezTo>
                        <a:pt x="1060" y="181"/>
                        <a:pt x="1064" y="179"/>
                        <a:pt x="1063" y="177"/>
                      </a:cubicBezTo>
                      <a:cubicBezTo>
                        <a:pt x="1061" y="175"/>
                        <a:pt x="1054" y="172"/>
                        <a:pt x="1053" y="174"/>
                      </a:cubicBezTo>
                      <a:cubicBezTo>
                        <a:pt x="1052" y="176"/>
                        <a:pt x="1050" y="174"/>
                        <a:pt x="1050" y="172"/>
                      </a:cubicBezTo>
                      <a:cubicBezTo>
                        <a:pt x="1050" y="171"/>
                        <a:pt x="1042" y="169"/>
                        <a:pt x="1039" y="169"/>
                      </a:cubicBezTo>
                      <a:cubicBezTo>
                        <a:pt x="1037" y="170"/>
                        <a:pt x="1035" y="167"/>
                        <a:pt x="1039" y="167"/>
                      </a:cubicBezTo>
                      <a:cubicBezTo>
                        <a:pt x="1042" y="167"/>
                        <a:pt x="1048" y="167"/>
                        <a:pt x="1045" y="163"/>
                      </a:cubicBezTo>
                      <a:cubicBezTo>
                        <a:pt x="1043" y="160"/>
                        <a:pt x="1021" y="158"/>
                        <a:pt x="1019" y="159"/>
                      </a:cubicBezTo>
                      <a:cubicBezTo>
                        <a:pt x="1017" y="160"/>
                        <a:pt x="1019" y="163"/>
                        <a:pt x="1015" y="167"/>
                      </a:cubicBezTo>
                      <a:cubicBezTo>
                        <a:pt x="1010" y="171"/>
                        <a:pt x="1005" y="168"/>
                        <a:pt x="1006" y="166"/>
                      </a:cubicBezTo>
                      <a:cubicBezTo>
                        <a:pt x="1007" y="164"/>
                        <a:pt x="1012" y="164"/>
                        <a:pt x="1012" y="162"/>
                      </a:cubicBezTo>
                      <a:cubicBezTo>
                        <a:pt x="1012" y="160"/>
                        <a:pt x="1004" y="161"/>
                        <a:pt x="1003" y="160"/>
                      </a:cubicBezTo>
                      <a:cubicBezTo>
                        <a:pt x="1002" y="158"/>
                        <a:pt x="1005" y="157"/>
                        <a:pt x="1008" y="157"/>
                      </a:cubicBezTo>
                      <a:cubicBezTo>
                        <a:pt x="1011" y="158"/>
                        <a:pt x="1016" y="159"/>
                        <a:pt x="1016" y="157"/>
                      </a:cubicBezTo>
                      <a:cubicBezTo>
                        <a:pt x="1016" y="156"/>
                        <a:pt x="1013" y="156"/>
                        <a:pt x="1008" y="155"/>
                      </a:cubicBezTo>
                      <a:cubicBezTo>
                        <a:pt x="1003" y="154"/>
                        <a:pt x="992" y="152"/>
                        <a:pt x="986" y="152"/>
                      </a:cubicBezTo>
                      <a:cubicBezTo>
                        <a:pt x="980" y="153"/>
                        <a:pt x="977" y="150"/>
                        <a:pt x="974" y="150"/>
                      </a:cubicBezTo>
                      <a:cubicBezTo>
                        <a:pt x="970" y="149"/>
                        <a:pt x="970" y="151"/>
                        <a:pt x="972" y="153"/>
                      </a:cubicBezTo>
                      <a:cubicBezTo>
                        <a:pt x="973" y="155"/>
                        <a:pt x="969" y="156"/>
                        <a:pt x="965" y="156"/>
                      </a:cubicBezTo>
                      <a:cubicBezTo>
                        <a:pt x="961" y="155"/>
                        <a:pt x="955" y="158"/>
                        <a:pt x="957" y="161"/>
                      </a:cubicBezTo>
                      <a:cubicBezTo>
                        <a:pt x="960" y="164"/>
                        <a:pt x="962" y="160"/>
                        <a:pt x="964" y="161"/>
                      </a:cubicBezTo>
                      <a:cubicBezTo>
                        <a:pt x="966" y="162"/>
                        <a:pt x="959" y="164"/>
                        <a:pt x="962" y="165"/>
                      </a:cubicBezTo>
                      <a:cubicBezTo>
                        <a:pt x="964" y="167"/>
                        <a:pt x="964" y="169"/>
                        <a:pt x="964" y="171"/>
                      </a:cubicBezTo>
                      <a:cubicBezTo>
                        <a:pt x="964" y="172"/>
                        <a:pt x="959" y="173"/>
                        <a:pt x="958" y="171"/>
                      </a:cubicBezTo>
                      <a:cubicBezTo>
                        <a:pt x="956" y="169"/>
                        <a:pt x="953" y="170"/>
                        <a:pt x="950" y="170"/>
                      </a:cubicBezTo>
                      <a:cubicBezTo>
                        <a:pt x="947" y="170"/>
                        <a:pt x="944" y="172"/>
                        <a:pt x="948" y="172"/>
                      </a:cubicBezTo>
                      <a:cubicBezTo>
                        <a:pt x="951" y="172"/>
                        <a:pt x="952" y="175"/>
                        <a:pt x="948" y="175"/>
                      </a:cubicBezTo>
                      <a:cubicBezTo>
                        <a:pt x="943" y="176"/>
                        <a:pt x="944" y="171"/>
                        <a:pt x="941" y="171"/>
                      </a:cubicBezTo>
                      <a:cubicBezTo>
                        <a:pt x="938" y="172"/>
                        <a:pt x="932" y="169"/>
                        <a:pt x="929" y="169"/>
                      </a:cubicBezTo>
                      <a:cubicBezTo>
                        <a:pt x="926" y="169"/>
                        <a:pt x="924" y="172"/>
                        <a:pt x="920" y="172"/>
                      </a:cubicBezTo>
                      <a:cubicBezTo>
                        <a:pt x="915" y="173"/>
                        <a:pt x="909" y="170"/>
                        <a:pt x="907" y="168"/>
                      </a:cubicBezTo>
                      <a:cubicBezTo>
                        <a:pt x="906" y="165"/>
                        <a:pt x="905" y="165"/>
                        <a:pt x="903" y="167"/>
                      </a:cubicBezTo>
                      <a:cubicBezTo>
                        <a:pt x="901" y="170"/>
                        <a:pt x="901" y="175"/>
                        <a:pt x="899" y="176"/>
                      </a:cubicBezTo>
                      <a:cubicBezTo>
                        <a:pt x="896" y="176"/>
                        <a:pt x="896" y="181"/>
                        <a:pt x="893" y="182"/>
                      </a:cubicBezTo>
                      <a:cubicBezTo>
                        <a:pt x="891" y="183"/>
                        <a:pt x="891" y="180"/>
                        <a:pt x="888" y="180"/>
                      </a:cubicBezTo>
                      <a:cubicBezTo>
                        <a:pt x="886" y="181"/>
                        <a:pt x="877" y="172"/>
                        <a:pt x="876" y="169"/>
                      </a:cubicBezTo>
                      <a:cubicBezTo>
                        <a:pt x="876" y="167"/>
                        <a:pt x="871" y="162"/>
                        <a:pt x="869" y="161"/>
                      </a:cubicBezTo>
                      <a:cubicBezTo>
                        <a:pt x="868" y="160"/>
                        <a:pt x="871" y="160"/>
                        <a:pt x="872" y="161"/>
                      </a:cubicBezTo>
                      <a:cubicBezTo>
                        <a:pt x="874" y="163"/>
                        <a:pt x="876" y="163"/>
                        <a:pt x="878" y="162"/>
                      </a:cubicBezTo>
                      <a:cubicBezTo>
                        <a:pt x="880" y="161"/>
                        <a:pt x="880" y="157"/>
                        <a:pt x="877" y="157"/>
                      </a:cubicBezTo>
                      <a:cubicBezTo>
                        <a:pt x="873" y="156"/>
                        <a:pt x="875" y="154"/>
                        <a:pt x="876" y="153"/>
                      </a:cubicBezTo>
                      <a:cubicBezTo>
                        <a:pt x="878" y="153"/>
                        <a:pt x="873" y="148"/>
                        <a:pt x="875" y="148"/>
                      </a:cubicBezTo>
                      <a:cubicBezTo>
                        <a:pt x="876" y="147"/>
                        <a:pt x="876" y="145"/>
                        <a:pt x="873" y="145"/>
                      </a:cubicBezTo>
                      <a:cubicBezTo>
                        <a:pt x="870" y="145"/>
                        <a:pt x="868" y="142"/>
                        <a:pt x="868" y="141"/>
                      </a:cubicBezTo>
                      <a:cubicBezTo>
                        <a:pt x="867" y="140"/>
                        <a:pt x="856" y="139"/>
                        <a:pt x="857" y="141"/>
                      </a:cubicBezTo>
                      <a:cubicBezTo>
                        <a:pt x="857" y="143"/>
                        <a:pt x="853" y="142"/>
                        <a:pt x="854" y="141"/>
                      </a:cubicBezTo>
                      <a:cubicBezTo>
                        <a:pt x="854" y="139"/>
                        <a:pt x="850" y="140"/>
                        <a:pt x="845" y="138"/>
                      </a:cubicBezTo>
                      <a:cubicBezTo>
                        <a:pt x="839" y="137"/>
                        <a:pt x="839" y="133"/>
                        <a:pt x="838" y="133"/>
                      </a:cubicBezTo>
                      <a:cubicBezTo>
                        <a:pt x="836" y="133"/>
                        <a:pt x="836" y="138"/>
                        <a:pt x="834" y="137"/>
                      </a:cubicBezTo>
                      <a:cubicBezTo>
                        <a:pt x="831" y="136"/>
                        <a:pt x="828" y="138"/>
                        <a:pt x="830" y="141"/>
                      </a:cubicBezTo>
                      <a:cubicBezTo>
                        <a:pt x="831" y="144"/>
                        <a:pt x="830" y="145"/>
                        <a:pt x="830" y="147"/>
                      </a:cubicBezTo>
                      <a:cubicBezTo>
                        <a:pt x="829" y="150"/>
                        <a:pt x="828" y="149"/>
                        <a:pt x="825" y="148"/>
                      </a:cubicBezTo>
                      <a:cubicBezTo>
                        <a:pt x="822" y="147"/>
                        <a:pt x="822" y="150"/>
                        <a:pt x="815" y="149"/>
                      </a:cubicBezTo>
                      <a:cubicBezTo>
                        <a:pt x="808" y="147"/>
                        <a:pt x="805" y="149"/>
                        <a:pt x="804" y="147"/>
                      </a:cubicBezTo>
                      <a:cubicBezTo>
                        <a:pt x="803" y="144"/>
                        <a:pt x="801" y="144"/>
                        <a:pt x="801" y="146"/>
                      </a:cubicBezTo>
                      <a:cubicBezTo>
                        <a:pt x="801" y="148"/>
                        <a:pt x="790" y="147"/>
                        <a:pt x="790" y="144"/>
                      </a:cubicBezTo>
                      <a:cubicBezTo>
                        <a:pt x="789" y="142"/>
                        <a:pt x="791" y="141"/>
                        <a:pt x="793" y="141"/>
                      </a:cubicBezTo>
                      <a:cubicBezTo>
                        <a:pt x="794" y="140"/>
                        <a:pt x="791" y="139"/>
                        <a:pt x="786" y="139"/>
                      </a:cubicBezTo>
                      <a:cubicBezTo>
                        <a:pt x="780" y="140"/>
                        <a:pt x="776" y="136"/>
                        <a:pt x="771" y="137"/>
                      </a:cubicBezTo>
                      <a:cubicBezTo>
                        <a:pt x="765" y="138"/>
                        <a:pt x="752" y="139"/>
                        <a:pt x="751" y="140"/>
                      </a:cubicBezTo>
                      <a:cubicBezTo>
                        <a:pt x="749" y="140"/>
                        <a:pt x="752" y="144"/>
                        <a:pt x="749" y="144"/>
                      </a:cubicBezTo>
                      <a:cubicBezTo>
                        <a:pt x="747" y="144"/>
                        <a:pt x="749" y="139"/>
                        <a:pt x="748" y="136"/>
                      </a:cubicBezTo>
                      <a:cubicBezTo>
                        <a:pt x="748" y="133"/>
                        <a:pt x="744" y="133"/>
                        <a:pt x="744" y="135"/>
                      </a:cubicBezTo>
                      <a:cubicBezTo>
                        <a:pt x="745" y="137"/>
                        <a:pt x="738" y="138"/>
                        <a:pt x="736" y="136"/>
                      </a:cubicBezTo>
                      <a:cubicBezTo>
                        <a:pt x="734" y="135"/>
                        <a:pt x="731" y="133"/>
                        <a:pt x="727" y="131"/>
                      </a:cubicBezTo>
                      <a:cubicBezTo>
                        <a:pt x="722" y="130"/>
                        <a:pt x="716" y="135"/>
                        <a:pt x="717" y="137"/>
                      </a:cubicBezTo>
                      <a:cubicBezTo>
                        <a:pt x="719" y="138"/>
                        <a:pt x="722" y="137"/>
                        <a:pt x="722" y="138"/>
                      </a:cubicBezTo>
                      <a:cubicBezTo>
                        <a:pt x="723" y="140"/>
                        <a:pt x="713" y="139"/>
                        <a:pt x="713" y="141"/>
                      </a:cubicBezTo>
                      <a:cubicBezTo>
                        <a:pt x="713" y="142"/>
                        <a:pt x="703" y="145"/>
                        <a:pt x="700" y="145"/>
                      </a:cubicBezTo>
                      <a:cubicBezTo>
                        <a:pt x="692" y="146"/>
                        <a:pt x="691" y="146"/>
                        <a:pt x="687" y="149"/>
                      </a:cubicBezTo>
                      <a:cubicBezTo>
                        <a:pt x="683" y="152"/>
                        <a:pt x="686" y="146"/>
                        <a:pt x="689" y="144"/>
                      </a:cubicBezTo>
                      <a:cubicBezTo>
                        <a:pt x="692" y="141"/>
                        <a:pt x="695" y="142"/>
                        <a:pt x="697" y="140"/>
                      </a:cubicBezTo>
                      <a:cubicBezTo>
                        <a:pt x="698" y="137"/>
                        <a:pt x="701" y="138"/>
                        <a:pt x="705" y="137"/>
                      </a:cubicBezTo>
                      <a:cubicBezTo>
                        <a:pt x="710" y="136"/>
                        <a:pt x="710" y="134"/>
                        <a:pt x="712" y="133"/>
                      </a:cubicBezTo>
                      <a:cubicBezTo>
                        <a:pt x="714" y="132"/>
                        <a:pt x="719" y="130"/>
                        <a:pt x="720" y="128"/>
                      </a:cubicBezTo>
                      <a:cubicBezTo>
                        <a:pt x="721" y="125"/>
                        <a:pt x="732" y="122"/>
                        <a:pt x="734" y="122"/>
                      </a:cubicBezTo>
                      <a:cubicBezTo>
                        <a:pt x="736" y="122"/>
                        <a:pt x="737" y="118"/>
                        <a:pt x="738" y="118"/>
                      </a:cubicBezTo>
                      <a:cubicBezTo>
                        <a:pt x="739" y="118"/>
                        <a:pt x="745" y="115"/>
                        <a:pt x="747" y="114"/>
                      </a:cubicBezTo>
                      <a:cubicBezTo>
                        <a:pt x="750" y="113"/>
                        <a:pt x="751" y="111"/>
                        <a:pt x="751" y="109"/>
                      </a:cubicBezTo>
                      <a:cubicBezTo>
                        <a:pt x="751" y="107"/>
                        <a:pt x="748" y="108"/>
                        <a:pt x="748" y="106"/>
                      </a:cubicBezTo>
                      <a:cubicBezTo>
                        <a:pt x="747" y="105"/>
                        <a:pt x="749" y="106"/>
                        <a:pt x="752" y="105"/>
                      </a:cubicBezTo>
                      <a:cubicBezTo>
                        <a:pt x="754" y="104"/>
                        <a:pt x="752" y="101"/>
                        <a:pt x="750" y="101"/>
                      </a:cubicBezTo>
                      <a:cubicBezTo>
                        <a:pt x="748" y="102"/>
                        <a:pt x="751" y="99"/>
                        <a:pt x="749" y="97"/>
                      </a:cubicBezTo>
                      <a:cubicBezTo>
                        <a:pt x="747" y="95"/>
                        <a:pt x="744" y="99"/>
                        <a:pt x="744" y="96"/>
                      </a:cubicBezTo>
                      <a:cubicBezTo>
                        <a:pt x="744" y="94"/>
                        <a:pt x="743" y="91"/>
                        <a:pt x="742" y="90"/>
                      </a:cubicBezTo>
                      <a:cubicBezTo>
                        <a:pt x="741" y="88"/>
                        <a:pt x="738" y="92"/>
                        <a:pt x="735" y="90"/>
                      </a:cubicBezTo>
                      <a:cubicBezTo>
                        <a:pt x="732" y="88"/>
                        <a:pt x="723" y="86"/>
                        <a:pt x="723" y="87"/>
                      </a:cubicBezTo>
                      <a:cubicBezTo>
                        <a:pt x="723" y="88"/>
                        <a:pt x="719" y="86"/>
                        <a:pt x="718" y="87"/>
                      </a:cubicBezTo>
                      <a:cubicBezTo>
                        <a:pt x="717" y="88"/>
                        <a:pt x="711" y="88"/>
                        <a:pt x="708" y="87"/>
                      </a:cubicBezTo>
                      <a:cubicBezTo>
                        <a:pt x="706" y="86"/>
                        <a:pt x="703" y="88"/>
                        <a:pt x="703" y="90"/>
                      </a:cubicBezTo>
                      <a:cubicBezTo>
                        <a:pt x="703" y="92"/>
                        <a:pt x="695" y="91"/>
                        <a:pt x="693" y="91"/>
                      </a:cubicBezTo>
                      <a:cubicBezTo>
                        <a:pt x="692" y="91"/>
                        <a:pt x="699" y="84"/>
                        <a:pt x="699" y="83"/>
                      </a:cubicBezTo>
                      <a:cubicBezTo>
                        <a:pt x="699" y="82"/>
                        <a:pt x="686" y="84"/>
                        <a:pt x="686" y="82"/>
                      </a:cubicBezTo>
                      <a:cubicBezTo>
                        <a:pt x="685" y="81"/>
                        <a:pt x="679" y="81"/>
                        <a:pt x="676" y="81"/>
                      </a:cubicBezTo>
                      <a:cubicBezTo>
                        <a:pt x="674" y="81"/>
                        <a:pt x="676" y="80"/>
                        <a:pt x="679" y="80"/>
                      </a:cubicBezTo>
                      <a:cubicBezTo>
                        <a:pt x="681" y="80"/>
                        <a:pt x="683" y="78"/>
                        <a:pt x="686" y="77"/>
                      </a:cubicBezTo>
                      <a:cubicBezTo>
                        <a:pt x="689" y="77"/>
                        <a:pt x="688" y="76"/>
                        <a:pt x="687" y="74"/>
                      </a:cubicBezTo>
                      <a:cubicBezTo>
                        <a:pt x="686" y="72"/>
                        <a:pt x="683" y="73"/>
                        <a:pt x="680" y="72"/>
                      </a:cubicBezTo>
                      <a:cubicBezTo>
                        <a:pt x="678" y="72"/>
                        <a:pt x="674" y="70"/>
                        <a:pt x="672" y="70"/>
                      </a:cubicBezTo>
                      <a:cubicBezTo>
                        <a:pt x="669" y="70"/>
                        <a:pt x="667" y="72"/>
                        <a:pt x="661" y="73"/>
                      </a:cubicBezTo>
                      <a:cubicBezTo>
                        <a:pt x="656" y="74"/>
                        <a:pt x="655" y="78"/>
                        <a:pt x="652" y="79"/>
                      </a:cubicBezTo>
                      <a:cubicBezTo>
                        <a:pt x="649" y="81"/>
                        <a:pt x="644" y="86"/>
                        <a:pt x="647" y="86"/>
                      </a:cubicBezTo>
                      <a:cubicBezTo>
                        <a:pt x="649" y="87"/>
                        <a:pt x="648" y="88"/>
                        <a:pt x="648" y="90"/>
                      </a:cubicBezTo>
                      <a:cubicBezTo>
                        <a:pt x="649" y="91"/>
                        <a:pt x="647" y="92"/>
                        <a:pt x="644" y="91"/>
                      </a:cubicBezTo>
                      <a:cubicBezTo>
                        <a:pt x="641" y="91"/>
                        <a:pt x="632" y="91"/>
                        <a:pt x="632" y="93"/>
                      </a:cubicBezTo>
                      <a:cubicBezTo>
                        <a:pt x="632" y="95"/>
                        <a:pt x="637" y="96"/>
                        <a:pt x="637" y="97"/>
                      </a:cubicBezTo>
                      <a:cubicBezTo>
                        <a:pt x="637" y="98"/>
                        <a:pt x="633" y="97"/>
                        <a:pt x="631" y="96"/>
                      </a:cubicBezTo>
                      <a:cubicBezTo>
                        <a:pt x="629" y="95"/>
                        <a:pt x="625" y="95"/>
                        <a:pt x="624" y="97"/>
                      </a:cubicBezTo>
                      <a:cubicBezTo>
                        <a:pt x="623" y="99"/>
                        <a:pt x="620" y="99"/>
                        <a:pt x="619" y="98"/>
                      </a:cubicBezTo>
                      <a:cubicBezTo>
                        <a:pt x="618" y="98"/>
                        <a:pt x="615" y="99"/>
                        <a:pt x="613" y="99"/>
                      </a:cubicBezTo>
                      <a:cubicBezTo>
                        <a:pt x="612" y="98"/>
                        <a:pt x="617" y="95"/>
                        <a:pt x="616" y="94"/>
                      </a:cubicBezTo>
                      <a:cubicBezTo>
                        <a:pt x="614" y="93"/>
                        <a:pt x="609" y="94"/>
                        <a:pt x="608" y="96"/>
                      </a:cubicBezTo>
                      <a:cubicBezTo>
                        <a:pt x="607" y="98"/>
                        <a:pt x="604" y="95"/>
                        <a:pt x="603" y="95"/>
                      </a:cubicBezTo>
                      <a:cubicBezTo>
                        <a:pt x="601" y="96"/>
                        <a:pt x="600" y="97"/>
                        <a:pt x="597" y="98"/>
                      </a:cubicBezTo>
                      <a:cubicBezTo>
                        <a:pt x="595" y="99"/>
                        <a:pt x="591" y="97"/>
                        <a:pt x="590" y="99"/>
                      </a:cubicBezTo>
                      <a:cubicBezTo>
                        <a:pt x="589" y="101"/>
                        <a:pt x="594" y="101"/>
                        <a:pt x="595" y="102"/>
                      </a:cubicBezTo>
                      <a:cubicBezTo>
                        <a:pt x="595" y="103"/>
                        <a:pt x="582" y="103"/>
                        <a:pt x="581" y="104"/>
                      </a:cubicBezTo>
                      <a:cubicBezTo>
                        <a:pt x="581" y="105"/>
                        <a:pt x="576" y="105"/>
                        <a:pt x="571" y="105"/>
                      </a:cubicBezTo>
                      <a:cubicBezTo>
                        <a:pt x="566" y="106"/>
                        <a:pt x="568" y="108"/>
                        <a:pt x="564" y="109"/>
                      </a:cubicBezTo>
                      <a:cubicBezTo>
                        <a:pt x="559" y="110"/>
                        <a:pt x="557" y="110"/>
                        <a:pt x="556" y="112"/>
                      </a:cubicBezTo>
                      <a:cubicBezTo>
                        <a:pt x="555" y="114"/>
                        <a:pt x="551" y="115"/>
                        <a:pt x="550" y="113"/>
                      </a:cubicBezTo>
                      <a:cubicBezTo>
                        <a:pt x="548" y="111"/>
                        <a:pt x="544" y="114"/>
                        <a:pt x="547" y="114"/>
                      </a:cubicBezTo>
                      <a:cubicBezTo>
                        <a:pt x="549" y="114"/>
                        <a:pt x="547" y="116"/>
                        <a:pt x="545" y="116"/>
                      </a:cubicBezTo>
                      <a:cubicBezTo>
                        <a:pt x="544" y="115"/>
                        <a:pt x="540" y="118"/>
                        <a:pt x="542" y="118"/>
                      </a:cubicBezTo>
                      <a:cubicBezTo>
                        <a:pt x="545" y="118"/>
                        <a:pt x="546" y="119"/>
                        <a:pt x="545" y="121"/>
                      </a:cubicBezTo>
                      <a:cubicBezTo>
                        <a:pt x="544" y="122"/>
                        <a:pt x="539" y="119"/>
                        <a:pt x="538" y="120"/>
                      </a:cubicBezTo>
                      <a:cubicBezTo>
                        <a:pt x="537" y="122"/>
                        <a:pt x="540" y="123"/>
                        <a:pt x="542" y="123"/>
                      </a:cubicBezTo>
                      <a:cubicBezTo>
                        <a:pt x="544" y="123"/>
                        <a:pt x="545" y="124"/>
                        <a:pt x="546" y="126"/>
                      </a:cubicBezTo>
                      <a:cubicBezTo>
                        <a:pt x="546" y="127"/>
                        <a:pt x="541" y="125"/>
                        <a:pt x="540" y="126"/>
                      </a:cubicBezTo>
                      <a:cubicBezTo>
                        <a:pt x="539" y="127"/>
                        <a:pt x="540" y="128"/>
                        <a:pt x="543" y="128"/>
                      </a:cubicBezTo>
                      <a:cubicBezTo>
                        <a:pt x="545" y="128"/>
                        <a:pt x="543" y="129"/>
                        <a:pt x="545" y="131"/>
                      </a:cubicBezTo>
                      <a:cubicBezTo>
                        <a:pt x="545" y="131"/>
                        <a:pt x="546" y="131"/>
                        <a:pt x="546" y="131"/>
                      </a:cubicBezTo>
                      <a:cubicBezTo>
                        <a:pt x="547" y="133"/>
                        <a:pt x="545" y="133"/>
                        <a:pt x="545" y="135"/>
                      </a:cubicBezTo>
                      <a:cubicBezTo>
                        <a:pt x="545" y="136"/>
                        <a:pt x="543" y="137"/>
                        <a:pt x="543" y="135"/>
                      </a:cubicBezTo>
                      <a:cubicBezTo>
                        <a:pt x="543" y="134"/>
                        <a:pt x="536" y="134"/>
                        <a:pt x="535" y="135"/>
                      </a:cubicBezTo>
                      <a:cubicBezTo>
                        <a:pt x="534" y="137"/>
                        <a:pt x="533" y="138"/>
                        <a:pt x="531" y="136"/>
                      </a:cubicBezTo>
                      <a:cubicBezTo>
                        <a:pt x="530" y="135"/>
                        <a:pt x="525" y="137"/>
                        <a:pt x="519" y="137"/>
                      </a:cubicBezTo>
                      <a:cubicBezTo>
                        <a:pt x="513" y="137"/>
                        <a:pt x="501" y="138"/>
                        <a:pt x="498" y="139"/>
                      </a:cubicBezTo>
                      <a:cubicBezTo>
                        <a:pt x="496" y="140"/>
                        <a:pt x="493" y="144"/>
                        <a:pt x="496" y="147"/>
                      </a:cubicBezTo>
                      <a:cubicBezTo>
                        <a:pt x="498" y="150"/>
                        <a:pt x="496" y="151"/>
                        <a:pt x="496" y="152"/>
                      </a:cubicBezTo>
                      <a:cubicBezTo>
                        <a:pt x="496" y="154"/>
                        <a:pt x="503" y="158"/>
                        <a:pt x="507" y="158"/>
                      </a:cubicBezTo>
                      <a:cubicBezTo>
                        <a:pt x="511" y="159"/>
                        <a:pt x="514" y="163"/>
                        <a:pt x="511" y="166"/>
                      </a:cubicBezTo>
                      <a:cubicBezTo>
                        <a:pt x="509" y="169"/>
                        <a:pt x="502" y="165"/>
                        <a:pt x="498" y="162"/>
                      </a:cubicBezTo>
                      <a:cubicBezTo>
                        <a:pt x="493" y="158"/>
                        <a:pt x="483" y="157"/>
                        <a:pt x="479" y="157"/>
                      </a:cubicBezTo>
                      <a:cubicBezTo>
                        <a:pt x="476" y="157"/>
                        <a:pt x="478" y="154"/>
                        <a:pt x="474" y="154"/>
                      </a:cubicBezTo>
                      <a:cubicBezTo>
                        <a:pt x="469" y="154"/>
                        <a:pt x="465" y="158"/>
                        <a:pt x="468" y="158"/>
                      </a:cubicBezTo>
                      <a:cubicBezTo>
                        <a:pt x="471" y="158"/>
                        <a:pt x="473" y="158"/>
                        <a:pt x="472" y="159"/>
                      </a:cubicBezTo>
                      <a:cubicBezTo>
                        <a:pt x="470" y="161"/>
                        <a:pt x="473" y="160"/>
                        <a:pt x="476" y="162"/>
                      </a:cubicBezTo>
                      <a:cubicBezTo>
                        <a:pt x="480" y="163"/>
                        <a:pt x="473" y="166"/>
                        <a:pt x="469" y="163"/>
                      </a:cubicBezTo>
                      <a:cubicBezTo>
                        <a:pt x="466" y="161"/>
                        <a:pt x="462" y="163"/>
                        <a:pt x="461" y="165"/>
                      </a:cubicBezTo>
                      <a:cubicBezTo>
                        <a:pt x="460" y="167"/>
                        <a:pt x="465" y="172"/>
                        <a:pt x="471" y="173"/>
                      </a:cubicBezTo>
                      <a:cubicBezTo>
                        <a:pt x="478" y="174"/>
                        <a:pt x="476" y="176"/>
                        <a:pt x="479" y="177"/>
                      </a:cubicBezTo>
                      <a:cubicBezTo>
                        <a:pt x="482" y="178"/>
                        <a:pt x="480" y="179"/>
                        <a:pt x="478" y="180"/>
                      </a:cubicBezTo>
                      <a:cubicBezTo>
                        <a:pt x="476" y="180"/>
                        <a:pt x="471" y="177"/>
                        <a:pt x="468" y="175"/>
                      </a:cubicBezTo>
                      <a:cubicBezTo>
                        <a:pt x="465" y="173"/>
                        <a:pt x="456" y="176"/>
                        <a:pt x="455" y="174"/>
                      </a:cubicBezTo>
                      <a:cubicBezTo>
                        <a:pt x="453" y="172"/>
                        <a:pt x="456" y="170"/>
                        <a:pt x="454" y="168"/>
                      </a:cubicBezTo>
                      <a:cubicBezTo>
                        <a:pt x="452" y="167"/>
                        <a:pt x="454" y="164"/>
                        <a:pt x="456" y="160"/>
                      </a:cubicBezTo>
                      <a:cubicBezTo>
                        <a:pt x="458" y="157"/>
                        <a:pt x="456" y="151"/>
                        <a:pt x="453" y="150"/>
                      </a:cubicBezTo>
                      <a:cubicBezTo>
                        <a:pt x="450" y="150"/>
                        <a:pt x="450" y="153"/>
                        <a:pt x="450" y="154"/>
                      </a:cubicBezTo>
                      <a:cubicBezTo>
                        <a:pt x="451" y="155"/>
                        <a:pt x="451" y="159"/>
                        <a:pt x="448" y="162"/>
                      </a:cubicBezTo>
                      <a:cubicBezTo>
                        <a:pt x="446" y="165"/>
                        <a:pt x="439" y="165"/>
                        <a:pt x="439" y="167"/>
                      </a:cubicBezTo>
                      <a:cubicBezTo>
                        <a:pt x="439" y="169"/>
                        <a:pt x="434" y="171"/>
                        <a:pt x="436" y="172"/>
                      </a:cubicBezTo>
                      <a:cubicBezTo>
                        <a:pt x="437" y="174"/>
                        <a:pt x="444" y="181"/>
                        <a:pt x="445" y="183"/>
                      </a:cubicBezTo>
                      <a:cubicBezTo>
                        <a:pt x="446" y="185"/>
                        <a:pt x="439" y="193"/>
                        <a:pt x="440" y="197"/>
                      </a:cubicBezTo>
                      <a:cubicBezTo>
                        <a:pt x="441" y="201"/>
                        <a:pt x="439" y="203"/>
                        <a:pt x="440" y="205"/>
                      </a:cubicBezTo>
                      <a:cubicBezTo>
                        <a:pt x="442" y="207"/>
                        <a:pt x="445" y="205"/>
                        <a:pt x="447" y="206"/>
                      </a:cubicBezTo>
                      <a:cubicBezTo>
                        <a:pt x="448" y="207"/>
                        <a:pt x="452" y="205"/>
                        <a:pt x="456" y="204"/>
                      </a:cubicBezTo>
                      <a:cubicBezTo>
                        <a:pt x="460" y="203"/>
                        <a:pt x="468" y="208"/>
                        <a:pt x="471" y="209"/>
                      </a:cubicBezTo>
                      <a:cubicBezTo>
                        <a:pt x="474" y="211"/>
                        <a:pt x="473" y="213"/>
                        <a:pt x="474" y="215"/>
                      </a:cubicBezTo>
                      <a:cubicBezTo>
                        <a:pt x="476" y="218"/>
                        <a:pt x="471" y="218"/>
                        <a:pt x="471" y="221"/>
                      </a:cubicBezTo>
                      <a:cubicBezTo>
                        <a:pt x="471" y="225"/>
                        <a:pt x="480" y="226"/>
                        <a:pt x="480" y="227"/>
                      </a:cubicBezTo>
                      <a:cubicBezTo>
                        <a:pt x="480" y="228"/>
                        <a:pt x="474" y="228"/>
                        <a:pt x="471" y="227"/>
                      </a:cubicBezTo>
                      <a:cubicBezTo>
                        <a:pt x="468" y="226"/>
                        <a:pt x="468" y="222"/>
                        <a:pt x="467" y="222"/>
                      </a:cubicBezTo>
                      <a:cubicBezTo>
                        <a:pt x="466" y="221"/>
                        <a:pt x="469" y="218"/>
                        <a:pt x="469" y="216"/>
                      </a:cubicBezTo>
                      <a:cubicBezTo>
                        <a:pt x="469" y="213"/>
                        <a:pt x="466" y="212"/>
                        <a:pt x="465" y="211"/>
                      </a:cubicBezTo>
                      <a:cubicBezTo>
                        <a:pt x="464" y="209"/>
                        <a:pt x="462" y="207"/>
                        <a:pt x="460" y="207"/>
                      </a:cubicBezTo>
                      <a:cubicBezTo>
                        <a:pt x="458" y="208"/>
                        <a:pt x="450" y="208"/>
                        <a:pt x="448" y="211"/>
                      </a:cubicBezTo>
                      <a:cubicBezTo>
                        <a:pt x="445" y="213"/>
                        <a:pt x="448" y="219"/>
                        <a:pt x="449" y="222"/>
                      </a:cubicBezTo>
                      <a:cubicBezTo>
                        <a:pt x="451" y="225"/>
                        <a:pt x="442" y="229"/>
                        <a:pt x="443" y="231"/>
                      </a:cubicBezTo>
                      <a:cubicBezTo>
                        <a:pt x="443" y="234"/>
                        <a:pt x="440" y="235"/>
                        <a:pt x="437" y="237"/>
                      </a:cubicBezTo>
                      <a:cubicBezTo>
                        <a:pt x="433" y="239"/>
                        <a:pt x="429" y="240"/>
                        <a:pt x="429" y="243"/>
                      </a:cubicBezTo>
                      <a:cubicBezTo>
                        <a:pt x="429" y="246"/>
                        <a:pt x="425" y="245"/>
                        <a:pt x="422" y="243"/>
                      </a:cubicBezTo>
                      <a:cubicBezTo>
                        <a:pt x="420" y="242"/>
                        <a:pt x="416" y="244"/>
                        <a:pt x="413" y="244"/>
                      </a:cubicBezTo>
                      <a:cubicBezTo>
                        <a:pt x="409" y="244"/>
                        <a:pt x="409" y="241"/>
                        <a:pt x="406" y="242"/>
                      </a:cubicBezTo>
                      <a:cubicBezTo>
                        <a:pt x="403" y="243"/>
                        <a:pt x="402" y="240"/>
                        <a:pt x="402" y="238"/>
                      </a:cubicBezTo>
                      <a:cubicBezTo>
                        <a:pt x="403" y="236"/>
                        <a:pt x="406" y="238"/>
                        <a:pt x="407" y="239"/>
                      </a:cubicBezTo>
                      <a:cubicBezTo>
                        <a:pt x="407" y="241"/>
                        <a:pt x="409" y="240"/>
                        <a:pt x="411" y="239"/>
                      </a:cubicBezTo>
                      <a:cubicBezTo>
                        <a:pt x="414" y="238"/>
                        <a:pt x="413" y="241"/>
                        <a:pt x="416" y="241"/>
                      </a:cubicBezTo>
                      <a:cubicBezTo>
                        <a:pt x="419" y="241"/>
                        <a:pt x="418" y="239"/>
                        <a:pt x="420" y="239"/>
                      </a:cubicBezTo>
                      <a:cubicBezTo>
                        <a:pt x="423" y="240"/>
                        <a:pt x="423" y="239"/>
                        <a:pt x="422" y="237"/>
                      </a:cubicBezTo>
                      <a:cubicBezTo>
                        <a:pt x="421" y="236"/>
                        <a:pt x="424" y="235"/>
                        <a:pt x="426" y="234"/>
                      </a:cubicBezTo>
                      <a:cubicBezTo>
                        <a:pt x="427" y="234"/>
                        <a:pt x="427" y="231"/>
                        <a:pt x="428" y="230"/>
                      </a:cubicBezTo>
                      <a:cubicBezTo>
                        <a:pt x="430" y="229"/>
                        <a:pt x="429" y="228"/>
                        <a:pt x="430" y="228"/>
                      </a:cubicBezTo>
                      <a:cubicBezTo>
                        <a:pt x="432" y="227"/>
                        <a:pt x="433" y="225"/>
                        <a:pt x="434" y="225"/>
                      </a:cubicBezTo>
                      <a:cubicBezTo>
                        <a:pt x="436" y="225"/>
                        <a:pt x="437" y="222"/>
                        <a:pt x="436" y="221"/>
                      </a:cubicBezTo>
                      <a:cubicBezTo>
                        <a:pt x="435" y="220"/>
                        <a:pt x="436" y="216"/>
                        <a:pt x="438" y="216"/>
                      </a:cubicBezTo>
                      <a:cubicBezTo>
                        <a:pt x="439" y="215"/>
                        <a:pt x="439" y="214"/>
                        <a:pt x="438" y="213"/>
                      </a:cubicBezTo>
                      <a:cubicBezTo>
                        <a:pt x="437" y="212"/>
                        <a:pt x="431" y="208"/>
                        <a:pt x="432" y="206"/>
                      </a:cubicBezTo>
                      <a:cubicBezTo>
                        <a:pt x="432" y="204"/>
                        <a:pt x="431" y="199"/>
                        <a:pt x="431" y="198"/>
                      </a:cubicBezTo>
                      <a:cubicBezTo>
                        <a:pt x="432" y="196"/>
                        <a:pt x="432" y="192"/>
                        <a:pt x="431" y="190"/>
                      </a:cubicBezTo>
                      <a:cubicBezTo>
                        <a:pt x="431" y="188"/>
                        <a:pt x="433" y="186"/>
                        <a:pt x="433" y="182"/>
                      </a:cubicBezTo>
                      <a:cubicBezTo>
                        <a:pt x="434" y="178"/>
                        <a:pt x="429" y="174"/>
                        <a:pt x="427" y="172"/>
                      </a:cubicBezTo>
                      <a:cubicBezTo>
                        <a:pt x="424" y="171"/>
                        <a:pt x="426" y="169"/>
                        <a:pt x="429" y="166"/>
                      </a:cubicBezTo>
                      <a:cubicBezTo>
                        <a:pt x="433" y="164"/>
                        <a:pt x="433" y="155"/>
                        <a:pt x="433" y="153"/>
                      </a:cubicBezTo>
                      <a:cubicBezTo>
                        <a:pt x="433" y="151"/>
                        <a:pt x="426" y="149"/>
                        <a:pt x="423" y="149"/>
                      </a:cubicBezTo>
                      <a:cubicBezTo>
                        <a:pt x="420" y="150"/>
                        <a:pt x="410" y="149"/>
                        <a:pt x="408" y="149"/>
                      </a:cubicBezTo>
                      <a:cubicBezTo>
                        <a:pt x="405" y="148"/>
                        <a:pt x="404" y="151"/>
                        <a:pt x="403" y="153"/>
                      </a:cubicBezTo>
                      <a:cubicBezTo>
                        <a:pt x="402" y="156"/>
                        <a:pt x="399" y="159"/>
                        <a:pt x="398" y="165"/>
                      </a:cubicBezTo>
                      <a:cubicBezTo>
                        <a:pt x="396" y="170"/>
                        <a:pt x="390" y="172"/>
                        <a:pt x="387" y="173"/>
                      </a:cubicBezTo>
                      <a:cubicBezTo>
                        <a:pt x="384" y="174"/>
                        <a:pt x="382" y="178"/>
                        <a:pt x="384" y="180"/>
                      </a:cubicBezTo>
                      <a:cubicBezTo>
                        <a:pt x="385" y="182"/>
                        <a:pt x="387" y="180"/>
                        <a:pt x="388" y="181"/>
                      </a:cubicBezTo>
                      <a:cubicBezTo>
                        <a:pt x="389" y="182"/>
                        <a:pt x="388" y="187"/>
                        <a:pt x="387" y="187"/>
                      </a:cubicBezTo>
                      <a:cubicBezTo>
                        <a:pt x="386" y="188"/>
                        <a:pt x="389" y="190"/>
                        <a:pt x="387" y="191"/>
                      </a:cubicBezTo>
                      <a:cubicBezTo>
                        <a:pt x="385" y="192"/>
                        <a:pt x="383" y="195"/>
                        <a:pt x="384" y="197"/>
                      </a:cubicBezTo>
                      <a:cubicBezTo>
                        <a:pt x="385" y="198"/>
                        <a:pt x="391" y="199"/>
                        <a:pt x="393" y="200"/>
                      </a:cubicBezTo>
                      <a:cubicBezTo>
                        <a:pt x="396" y="202"/>
                        <a:pt x="395" y="204"/>
                        <a:pt x="397" y="207"/>
                      </a:cubicBezTo>
                      <a:cubicBezTo>
                        <a:pt x="399" y="209"/>
                        <a:pt x="401" y="208"/>
                        <a:pt x="402" y="209"/>
                      </a:cubicBezTo>
                      <a:cubicBezTo>
                        <a:pt x="403" y="211"/>
                        <a:pt x="398" y="217"/>
                        <a:pt x="397" y="217"/>
                      </a:cubicBezTo>
                      <a:cubicBezTo>
                        <a:pt x="395" y="217"/>
                        <a:pt x="389" y="211"/>
                        <a:pt x="387" y="209"/>
                      </a:cubicBezTo>
                      <a:cubicBezTo>
                        <a:pt x="385" y="208"/>
                        <a:pt x="378" y="206"/>
                        <a:pt x="374" y="204"/>
                      </a:cubicBezTo>
                      <a:cubicBezTo>
                        <a:pt x="370" y="202"/>
                        <a:pt x="367" y="202"/>
                        <a:pt x="363" y="199"/>
                      </a:cubicBezTo>
                      <a:cubicBezTo>
                        <a:pt x="359" y="197"/>
                        <a:pt x="356" y="195"/>
                        <a:pt x="349" y="196"/>
                      </a:cubicBezTo>
                      <a:cubicBezTo>
                        <a:pt x="341" y="196"/>
                        <a:pt x="336" y="194"/>
                        <a:pt x="334" y="194"/>
                      </a:cubicBezTo>
                      <a:cubicBezTo>
                        <a:pt x="331" y="195"/>
                        <a:pt x="332" y="192"/>
                        <a:pt x="328" y="190"/>
                      </a:cubicBezTo>
                      <a:cubicBezTo>
                        <a:pt x="324" y="188"/>
                        <a:pt x="321" y="185"/>
                        <a:pt x="318" y="187"/>
                      </a:cubicBezTo>
                      <a:cubicBezTo>
                        <a:pt x="316" y="188"/>
                        <a:pt x="317" y="193"/>
                        <a:pt x="321" y="193"/>
                      </a:cubicBezTo>
                      <a:cubicBezTo>
                        <a:pt x="324" y="194"/>
                        <a:pt x="322" y="196"/>
                        <a:pt x="326" y="196"/>
                      </a:cubicBezTo>
                      <a:cubicBezTo>
                        <a:pt x="330" y="195"/>
                        <a:pt x="332" y="197"/>
                        <a:pt x="332" y="199"/>
                      </a:cubicBezTo>
                      <a:cubicBezTo>
                        <a:pt x="331" y="202"/>
                        <a:pt x="333" y="204"/>
                        <a:pt x="335" y="206"/>
                      </a:cubicBezTo>
                      <a:cubicBezTo>
                        <a:pt x="337" y="208"/>
                        <a:pt x="336" y="210"/>
                        <a:pt x="333" y="210"/>
                      </a:cubicBezTo>
                      <a:cubicBezTo>
                        <a:pt x="330" y="210"/>
                        <a:pt x="326" y="211"/>
                        <a:pt x="327" y="213"/>
                      </a:cubicBezTo>
                      <a:cubicBezTo>
                        <a:pt x="329" y="215"/>
                        <a:pt x="326" y="216"/>
                        <a:pt x="323" y="215"/>
                      </a:cubicBezTo>
                      <a:cubicBezTo>
                        <a:pt x="320" y="214"/>
                        <a:pt x="322" y="211"/>
                        <a:pt x="323" y="210"/>
                      </a:cubicBezTo>
                      <a:cubicBezTo>
                        <a:pt x="324" y="209"/>
                        <a:pt x="320" y="207"/>
                        <a:pt x="318" y="206"/>
                      </a:cubicBezTo>
                      <a:cubicBezTo>
                        <a:pt x="316" y="206"/>
                        <a:pt x="308" y="212"/>
                        <a:pt x="306" y="213"/>
                      </a:cubicBezTo>
                      <a:cubicBezTo>
                        <a:pt x="304" y="213"/>
                        <a:pt x="298" y="211"/>
                        <a:pt x="292" y="213"/>
                      </a:cubicBezTo>
                      <a:cubicBezTo>
                        <a:pt x="287" y="214"/>
                        <a:pt x="287" y="218"/>
                        <a:pt x="285" y="218"/>
                      </a:cubicBezTo>
                      <a:cubicBezTo>
                        <a:pt x="283" y="218"/>
                        <a:pt x="276" y="219"/>
                        <a:pt x="274" y="217"/>
                      </a:cubicBezTo>
                      <a:cubicBezTo>
                        <a:pt x="272" y="216"/>
                        <a:pt x="274" y="215"/>
                        <a:pt x="276" y="215"/>
                      </a:cubicBezTo>
                      <a:cubicBezTo>
                        <a:pt x="279" y="215"/>
                        <a:pt x="279" y="214"/>
                        <a:pt x="278" y="213"/>
                      </a:cubicBezTo>
                      <a:cubicBezTo>
                        <a:pt x="277" y="211"/>
                        <a:pt x="280" y="208"/>
                        <a:pt x="280" y="207"/>
                      </a:cubicBezTo>
                      <a:cubicBezTo>
                        <a:pt x="280" y="206"/>
                        <a:pt x="270" y="209"/>
                        <a:pt x="269" y="210"/>
                      </a:cubicBezTo>
                      <a:cubicBezTo>
                        <a:pt x="267" y="212"/>
                        <a:pt x="269" y="214"/>
                        <a:pt x="267" y="215"/>
                      </a:cubicBezTo>
                      <a:cubicBezTo>
                        <a:pt x="266" y="216"/>
                        <a:pt x="266" y="213"/>
                        <a:pt x="264" y="213"/>
                      </a:cubicBezTo>
                      <a:cubicBezTo>
                        <a:pt x="262" y="212"/>
                        <a:pt x="248" y="215"/>
                        <a:pt x="245" y="218"/>
                      </a:cubicBezTo>
                      <a:cubicBezTo>
                        <a:pt x="243" y="221"/>
                        <a:pt x="238" y="221"/>
                        <a:pt x="238" y="223"/>
                      </a:cubicBezTo>
                      <a:cubicBezTo>
                        <a:pt x="238" y="225"/>
                        <a:pt x="231" y="225"/>
                        <a:pt x="229" y="226"/>
                      </a:cubicBezTo>
                      <a:cubicBezTo>
                        <a:pt x="226" y="227"/>
                        <a:pt x="228" y="232"/>
                        <a:pt x="227" y="234"/>
                      </a:cubicBezTo>
                      <a:cubicBezTo>
                        <a:pt x="226" y="237"/>
                        <a:pt x="216" y="236"/>
                        <a:pt x="213" y="236"/>
                      </a:cubicBezTo>
                      <a:cubicBezTo>
                        <a:pt x="210" y="236"/>
                        <a:pt x="209" y="230"/>
                        <a:pt x="207" y="230"/>
                      </a:cubicBezTo>
                      <a:cubicBezTo>
                        <a:pt x="204" y="230"/>
                        <a:pt x="206" y="226"/>
                        <a:pt x="207" y="225"/>
                      </a:cubicBezTo>
                      <a:cubicBezTo>
                        <a:pt x="207" y="223"/>
                        <a:pt x="209" y="225"/>
                        <a:pt x="212" y="223"/>
                      </a:cubicBezTo>
                      <a:cubicBezTo>
                        <a:pt x="215" y="221"/>
                        <a:pt x="218" y="224"/>
                        <a:pt x="219" y="222"/>
                      </a:cubicBezTo>
                      <a:cubicBezTo>
                        <a:pt x="221" y="221"/>
                        <a:pt x="215" y="218"/>
                        <a:pt x="214" y="215"/>
                      </a:cubicBezTo>
                      <a:cubicBezTo>
                        <a:pt x="214" y="212"/>
                        <a:pt x="208" y="211"/>
                        <a:pt x="204" y="212"/>
                      </a:cubicBezTo>
                      <a:cubicBezTo>
                        <a:pt x="201" y="213"/>
                        <a:pt x="197" y="212"/>
                        <a:pt x="194" y="211"/>
                      </a:cubicBezTo>
                      <a:cubicBezTo>
                        <a:pt x="192" y="209"/>
                        <a:pt x="192" y="213"/>
                        <a:pt x="196" y="214"/>
                      </a:cubicBezTo>
                      <a:cubicBezTo>
                        <a:pt x="199" y="215"/>
                        <a:pt x="197" y="218"/>
                        <a:pt x="198" y="219"/>
                      </a:cubicBezTo>
                      <a:cubicBezTo>
                        <a:pt x="199" y="221"/>
                        <a:pt x="197" y="225"/>
                        <a:pt x="195" y="228"/>
                      </a:cubicBezTo>
                      <a:cubicBezTo>
                        <a:pt x="193" y="231"/>
                        <a:pt x="194" y="231"/>
                        <a:pt x="198" y="231"/>
                      </a:cubicBezTo>
                      <a:cubicBezTo>
                        <a:pt x="201" y="231"/>
                        <a:pt x="201" y="235"/>
                        <a:pt x="201" y="238"/>
                      </a:cubicBezTo>
                      <a:cubicBezTo>
                        <a:pt x="201" y="241"/>
                        <a:pt x="198" y="242"/>
                        <a:pt x="198" y="244"/>
                      </a:cubicBezTo>
                      <a:cubicBezTo>
                        <a:pt x="198" y="247"/>
                        <a:pt x="195" y="243"/>
                        <a:pt x="195" y="244"/>
                      </a:cubicBezTo>
                      <a:cubicBezTo>
                        <a:pt x="194" y="245"/>
                        <a:pt x="193" y="244"/>
                        <a:pt x="192" y="242"/>
                      </a:cubicBezTo>
                      <a:cubicBezTo>
                        <a:pt x="192" y="240"/>
                        <a:pt x="187" y="241"/>
                        <a:pt x="184" y="240"/>
                      </a:cubicBezTo>
                      <a:cubicBezTo>
                        <a:pt x="181" y="240"/>
                        <a:pt x="180" y="241"/>
                        <a:pt x="179" y="243"/>
                      </a:cubicBezTo>
                      <a:cubicBezTo>
                        <a:pt x="178" y="245"/>
                        <a:pt x="174" y="246"/>
                        <a:pt x="172" y="246"/>
                      </a:cubicBezTo>
                      <a:cubicBezTo>
                        <a:pt x="170" y="246"/>
                        <a:pt x="166" y="250"/>
                        <a:pt x="164" y="252"/>
                      </a:cubicBezTo>
                      <a:cubicBezTo>
                        <a:pt x="162" y="253"/>
                        <a:pt x="162" y="256"/>
                        <a:pt x="165" y="259"/>
                      </a:cubicBezTo>
                      <a:cubicBezTo>
                        <a:pt x="168" y="261"/>
                        <a:pt x="168" y="263"/>
                        <a:pt x="168" y="265"/>
                      </a:cubicBezTo>
                      <a:cubicBezTo>
                        <a:pt x="168" y="266"/>
                        <a:pt x="160" y="266"/>
                        <a:pt x="158" y="264"/>
                      </a:cubicBezTo>
                      <a:cubicBezTo>
                        <a:pt x="157" y="263"/>
                        <a:pt x="152" y="262"/>
                        <a:pt x="150" y="262"/>
                      </a:cubicBezTo>
                      <a:cubicBezTo>
                        <a:pt x="148" y="263"/>
                        <a:pt x="143" y="257"/>
                        <a:pt x="141" y="257"/>
                      </a:cubicBezTo>
                      <a:cubicBezTo>
                        <a:pt x="138" y="257"/>
                        <a:pt x="137" y="260"/>
                        <a:pt x="136" y="261"/>
                      </a:cubicBezTo>
                      <a:cubicBezTo>
                        <a:pt x="135" y="263"/>
                        <a:pt x="137" y="263"/>
                        <a:pt x="138" y="266"/>
                      </a:cubicBezTo>
                      <a:cubicBezTo>
                        <a:pt x="140" y="269"/>
                        <a:pt x="144" y="269"/>
                        <a:pt x="146" y="269"/>
                      </a:cubicBezTo>
                      <a:cubicBezTo>
                        <a:pt x="148" y="269"/>
                        <a:pt x="148" y="272"/>
                        <a:pt x="147" y="274"/>
                      </a:cubicBezTo>
                      <a:cubicBezTo>
                        <a:pt x="146" y="275"/>
                        <a:pt x="142" y="276"/>
                        <a:pt x="141" y="275"/>
                      </a:cubicBezTo>
                      <a:cubicBezTo>
                        <a:pt x="140" y="273"/>
                        <a:pt x="135" y="275"/>
                        <a:pt x="135" y="273"/>
                      </a:cubicBezTo>
                      <a:cubicBezTo>
                        <a:pt x="134" y="271"/>
                        <a:pt x="131" y="268"/>
                        <a:pt x="127" y="269"/>
                      </a:cubicBezTo>
                      <a:cubicBezTo>
                        <a:pt x="123" y="269"/>
                        <a:pt x="123" y="267"/>
                        <a:pt x="123" y="264"/>
                      </a:cubicBezTo>
                      <a:cubicBezTo>
                        <a:pt x="123" y="261"/>
                        <a:pt x="121" y="259"/>
                        <a:pt x="121" y="258"/>
                      </a:cubicBezTo>
                      <a:cubicBezTo>
                        <a:pt x="121" y="257"/>
                        <a:pt x="119" y="254"/>
                        <a:pt x="121" y="253"/>
                      </a:cubicBezTo>
                      <a:cubicBezTo>
                        <a:pt x="123" y="252"/>
                        <a:pt x="122" y="250"/>
                        <a:pt x="122" y="248"/>
                      </a:cubicBezTo>
                      <a:cubicBezTo>
                        <a:pt x="122" y="246"/>
                        <a:pt x="119" y="243"/>
                        <a:pt x="116" y="243"/>
                      </a:cubicBezTo>
                      <a:cubicBezTo>
                        <a:pt x="113" y="243"/>
                        <a:pt x="113" y="240"/>
                        <a:pt x="111" y="240"/>
                      </a:cubicBezTo>
                      <a:cubicBezTo>
                        <a:pt x="108" y="239"/>
                        <a:pt x="103" y="235"/>
                        <a:pt x="103" y="233"/>
                      </a:cubicBezTo>
                      <a:cubicBezTo>
                        <a:pt x="103" y="231"/>
                        <a:pt x="99" y="231"/>
                        <a:pt x="100" y="230"/>
                      </a:cubicBezTo>
                      <a:cubicBezTo>
                        <a:pt x="101" y="230"/>
                        <a:pt x="104" y="231"/>
                        <a:pt x="107" y="233"/>
                      </a:cubicBezTo>
                      <a:cubicBezTo>
                        <a:pt x="109" y="235"/>
                        <a:pt x="112" y="237"/>
                        <a:pt x="118" y="238"/>
                      </a:cubicBezTo>
                      <a:cubicBezTo>
                        <a:pt x="123" y="238"/>
                        <a:pt x="126" y="241"/>
                        <a:pt x="132" y="242"/>
                      </a:cubicBezTo>
                      <a:cubicBezTo>
                        <a:pt x="138" y="243"/>
                        <a:pt x="142" y="244"/>
                        <a:pt x="151" y="245"/>
                      </a:cubicBezTo>
                      <a:cubicBezTo>
                        <a:pt x="160" y="246"/>
                        <a:pt x="171" y="237"/>
                        <a:pt x="174" y="235"/>
                      </a:cubicBezTo>
                      <a:cubicBezTo>
                        <a:pt x="176" y="232"/>
                        <a:pt x="173" y="227"/>
                        <a:pt x="173" y="225"/>
                      </a:cubicBezTo>
                      <a:cubicBezTo>
                        <a:pt x="173" y="223"/>
                        <a:pt x="169" y="223"/>
                        <a:pt x="169" y="222"/>
                      </a:cubicBezTo>
                      <a:cubicBezTo>
                        <a:pt x="168" y="220"/>
                        <a:pt x="165" y="218"/>
                        <a:pt x="162" y="218"/>
                      </a:cubicBezTo>
                      <a:cubicBezTo>
                        <a:pt x="158" y="218"/>
                        <a:pt x="158" y="214"/>
                        <a:pt x="155" y="214"/>
                      </a:cubicBezTo>
                      <a:cubicBezTo>
                        <a:pt x="152" y="214"/>
                        <a:pt x="151" y="213"/>
                        <a:pt x="143" y="208"/>
                      </a:cubicBezTo>
                      <a:cubicBezTo>
                        <a:pt x="136" y="203"/>
                        <a:pt x="126" y="200"/>
                        <a:pt x="125" y="201"/>
                      </a:cubicBezTo>
                      <a:cubicBezTo>
                        <a:pt x="123" y="202"/>
                        <a:pt x="122" y="202"/>
                        <a:pt x="121" y="200"/>
                      </a:cubicBezTo>
                      <a:cubicBezTo>
                        <a:pt x="119" y="198"/>
                        <a:pt x="117" y="199"/>
                        <a:pt x="115" y="200"/>
                      </a:cubicBezTo>
                      <a:cubicBezTo>
                        <a:pt x="113" y="202"/>
                        <a:pt x="111" y="199"/>
                        <a:pt x="107" y="200"/>
                      </a:cubicBezTo>
                      <a:cubicBezTo>
                        <a:pt x="104" y="201"/>
                        <a:pt x="102" y="198"/>
                        <a:pt x="103" y="197"/>
                      </a:cubicBezTo>
                      <a:cubicBezTo>
                        <a:pt x="104" y="196"/>
                        <a:pt x="109" y="197"/>
                        <a:pt x="109" y="195"/>
                      </a:cubicBezTo>
                      <a:cubicBezTo>
                        <a:pt x="109" y="193"/>
                        <a:pt x="107" y="195"/>
                        <a:pt x="103" y="193"/>
                      </a:cubicBezTo>
                      <a:cubicBezTo>
                        <a:pt x="100" y="191"/>
                        <a:pt x="98" y="192"/>
                        <a:pt x="98" y="194"/>
                      </a:cubicBezTo>
                      <a:cubicBezTo>
                        <a:pt x="97" y="196"/>
                        <a:pt x="94" y="195"/>
                        <a:pt x="93" y="194"/>
                      </a:cubicBezTo>
                      <a:cubicBezTo>
                        <a:pt x="93" y="194"/>
                        <a:pt x="92" y="194"/>
                        <a:pt x="92" y="193"/>
                      </a:cubicBezTo>
                      <a:cubicBezTo>
                        <a:pt x="92" y="196"/>
                        <a:pt x="90" y="197"/>
                        <a:pt x="88" y="196"/>
                      </a:cubicBezTo>
                      <a:cubicBezTo>
                        <a:pt x="86" y="196"/>
                        <a:pt x="84" y="199"/>
                        <a:pt x="82" y="199"/>
                      </a:cubicBezTo>
                      <a:cubicBezTo>
                        <a:pt x="79" y="199"/>
                        <a:pt x="77" y="202"/>
                        <a:pt x="76" y="204"/>
                      </a:cubicBezTo>
                      <a:cubicBezTo>
                        <a:pt x="76" y="206"/>
                        <a:pt x="73" y="205"/>
                        <a:pt x="73" y="207"/>
                      </a:cubicBezTo>
                      <a:cubicBezTo>
                        <a:pt x="73" y="208"/>
                        <a:pt x="73" y="209"/>
                        <a:pt x="72" y="211"/>
                      </a:cubicBezTo>
                      <a:cubicBezTo>
                        <a:pt x="71" y="212"/>
                        <a:pt x="72" y="213"/>
                        <a:pt x="73" y="215"/>
                      </a:cubicBezTo>
                      <a:cubicBezTo>
                        <a:pt x="74" y="218"/>
                        <a:pt x="77" y="218"/>
                        <a:pt x="78" y="218"/>
                      </a:cubicBezTo>
                      <a:cubicBezTo>
                        <a:pt x="79" y="219"/>
                        <a:pt x="84" y="223"/>
                        <a:pt x="84" y="224"/>
                      </a:cubicBezTo>
                      <a:cubicBezTo>
                        <a:pt x="84" y="226"/>
                        <a:pt x="80" y="229"/>
                        <a:pt x="79" y="230"/>
                      </a:cubicBezTo>
                      <a:cubicBezTo>
                        <a:pt x="77" y="231"/>
                        <a:pt x="75" y="233"/>
                        <a:pt x="76" y="235"/>
                      </a:cubicBezTo>
                      <a:cubicBezTo>
                        <a:pt x="77" y="236"/>
                        <a:pt x="81" y="242"/>
                        <a:pt x="84" y="247"/>
                      </a:cubicBezTo>
                      <a:cubicBezTo>
                        <a:pt x="87" y="252"/>
                        <a:pt x="83" y="250"/>
                        <a:pt x="81" y="252"/>
                      </a:cubicBezTo>
                      <a:cubicBezTo>
                        <a:pt x="80" y="254"/>
                        <a:pt x="82" y="257"/>
                        <a:pt x="82" y="258"/>
                      </a:cubicBezTo>
                      <a:cubicBezTo>
                        <a:pt x="83" y="259"/>
                        <a:pt x="80" y="259"/>
                        <a:pt x="81" y="260"/>
                      </a:cubicBezTo>
                      <a:cubicBezTo>
                        <a:pt x="81" y="262"/>
                        <a:pt x="84" y="262"/>
                        <a:pt x="85" y="263"/>
                      </a:cubicBezTo>
                      <a:cubicBezTo>
                        <a:pt x="85" y="264"/>
                        <a:pt x="82" y="265"/>
                        <a:pt x="83" y="267"/>
                      </a:cubicBezTo>
                      <a:cubicBezTo>
                        <a:pt x="85" y="269"/>
                        <a:pt x="87" y="269"/>
                        <a:pt x="88" y="271"/>
                      </a:cubicBezTo>
                      <a:cubicBezTo>
                        <a:pt x="88" y="274"/>
                        <a:pt x="82" y="274"/>
                        <a:pt x="83" y="276"/>
                      </a:cubicBezTo>
                      <a:cubicBezTo>
                        <a:pt x="83" y="278"/>
                        <a:pt x="90" y="280"/>
                        <a:pt x="93" y="284"/>
                      </a:cubicBezTo>
                      <a:cubicBezTo>
                        <a:pt x="96" y="287"/>
                        <a:pt x="96" y="288"/>
                        <a:pt x="95" y="290"/>
                      </a:cubicBezTo>
                      <a:cubicBezTo>
                        <a:pt x="94" y="294"/>
                        <a:pt x="85" y="297"/>
                        <a:pt x="83" y="301"/>
                      </a:cubicBezTo>
                      <a:cubicBezTo>
                        <a:pt x="81" y="306"/>
                        <a:pt x="74" y="308"/>
                        <a:pt x="71" y="311"/>
                      </a:cubicBezTo>
                      <a:cubicBezTo>
                        <a:pt x="69" y="313"/>
                        <a:pt x="68" y="315"/>
                        <a:pt x="67" y="316"/>
                      </a:cubicBezTo>
                      <a:cubicBezTo>
                        <a:pt x="68" y="316"/>
                        <a:pt x="70" y="316"/>
                        <a:pt x="70" y="315"/>
                      </a:cubicBezTo>
                      <a:cubicBezTo>
                        <a:pt x="72" y="314"/>
                        <a:pt x="74" y="319"/>
                        <a:pt x="75" y="320"/>
                      </a:cubicBezTo>
                      <a:cubicBezTo>
                        <a:pt x="77" y="322"/>
                        <a:pt x="81" y="320"/>
                        <a:pt x="82" y="322"/>
                      </a:cubicBezTo>
                      <a:cubicBezTo>
                        <a:pt x="84" y="323"/>
                        <a:pt x="81" y="323"/>
                        <a:pt x="79" y="323"/>
                      </a:cubicBezTo>
                      <a:cubicBezTo>
                        <a:pt x="76" y="323"/>
                        <a:pt x="75" y="324"/>
                        <a:pt x="71" y="326"/>
                      </a:cubicBezTo>
                      <a:cubicBezTo>
                        <a:pt x="68" y="327"/>
                        <a:pt x="68" y="328"/>
                        <a:pt x="67" y="329"/>
                      </a:cubicBezTo>
                      <a:cubicBezTo>
                        <a:pt x="69" y="331"/>
                        <a:pt x="66" y="332"/>
                        <a:pt x="65" y="334"/>
                      </a:cubicBezTo>
                      <a:cubicBezTo>
                        <a:pt x="64" y="336"/>
                        <a:pt x="63" y="337"/>
                        <a:pt x="63" y="338"/>
                      </a:cubicBezTo>
                      <a:cubicBezTo>
                        <a:pt x="62" y="340"/>
                        <a:pt x="63" y="341"/>
                        <a:pt x="63" y="343"/>
                      </a:cubicBezTo>
                      <a:cubicBezTo>
                        <a:pt x="63" y="345"/>
                        <a:pt x="64" y="345"/>
                        <a:pt x="65" y="347"/>
                      </a:cubicBezTo>
                      <a:cubicBezTo>
                        <a:pt x="66" y="349"/>
                        <a:pt x="64" y="349"/>
                        <a:pt x="63" y="350"/>
                      </a:cubicBezTo>
                      <a:cubicBezTo>
                        <a:pt x="62" y="351"/>
                        <a:pt x="62" y="353"/>
                        <a:pt x="64" y="354"/>
                      </a:cubicBezTo>
                      <a:cubicBezTo>
                        <a:pt x="65" y="355"/>
                        <a:pt x="65" y="357"/>
                        <a:pt x="65" y="358"/>
                      </a:cubicBezTo>
                      <a:cubicBezTo>
                        <a:pt x="64" y="360"/>
                        <a:pt x="66" y="362"/>
                        <a:pt x="67" y="363"/>
                      </a:cubicBezTo>
                      <a:cubicBezTo>
                        <a:pt x="69" y="364"/>
                        <a:pt x="68" y="368"/>
                        <a:pt x="69" y="369"/>
                      </a:cubicBezTo>
                      <a:cubicBezTo>
                        <a:pt x="71" y="369"/>
                        <a:pt x="72" y="370"/>
                        <a:pt x="74" y="370"/>
                      </a:cubicBezTo>
                      <a:cubicBezTo>
                        <a:pt x="76" y="369"/>
                        <a:pt x="77" y="370"/>
                        <a:pt x="78" y="372"/>
                      </a:cubicBezTo>
                      <a:cubicBezTo>
                        <a:pt x="79" y="373"/>
                        <a:pt x="80" y="373"/>
                        <a:pt x="82" y="372"/>
                      </a:cubicBezTo>
                      <a:cubicBezTo>
                        <a:pt x="84" y="371"/>
                        <a:pt x="89" y="373"/>
                        <a:pt x="90" y="374"/>
                      </a:cubicBezTo>
                      <a:cubicBezTo>
                        <a:pt x="91" y="374"/>
                        <a:pt x="90" y="377"/>
                        <a:pt x="90" y="379"/>
                      </a:cubicBezTo>
                      <a:cubicBezTo>
                        <a:pt x="90" y="381"/>
                        <a:pt x="89" y="384"/>
                        <a:pt x="91" y="385"/>
                      </a:cubicBezTo>
                      <a:cubicBezTo>
                        <a:pt x="93" y="386"/>
                        <a:pt x="93" y="389"/>
                        <a:pt x="95" y="390"/>
                      </a:cubicBezTo>
                      <a:cubicBezTo>
                        <a:pt x="97" y="391"/>
                        <a:pt x="98" y="394"/>
                        <a:pt x="100" y="395"/>
                      </a:cubicBezTo>
                      <a:cubicBezTo>
                        <a:pt x="101" y="395"/>
                        <a:pt x="104" y="397"/>
                        <a:pt x="104" y="399"/>
                      </a:cubicBezTo>
                      <a:cubicBezTo>
                        <a:pt x="104" y="400"/>
                        <a:pt x="102" y="402"/>
                        <a:pt x="100" y="402"/>
                      </a:cubicBezTo>
                      <a:cubicBezTo>
                        <a:pt x="98" y="403"/>
                        <a:pt x="95" y="400"/>
                        <a:pt x="94" y="402"/>
                      </a:cubicBezTo>
                      <a:cubicBezTo>
                        <a:pt x="93" y="403"/>
                        <a:pt x="95" y="405"/>
                        <a:pt x="95" y="409"/>
                      </a:cubicBezTo>
                      <a:cubicBezTo>
                        <a:pt x="96" y="413"/>
                        <a:pt x="97" y="413"/>
                        <a:pt x="99" y="413"/>
                      </a:cubicBezTo>
                      <a:cubicBezTo>
                        <a:pt x="101" y="413"/>
                        <a:pt x="101" y="412"/>
                        <a:pt x="103" y="411"/>
                      </a:cubicBezTo>
                      <a:cubicBezTo>
                        <a:pt x="104" y="411"/>
                        <a:pt x="107" y="412"/>
                        <a:pt x="108" y="411"/>
                      </a:cubicBezTo>
                      <a:cubicBezTo>
                        <a:pt x="109" y="411"/>
                        <a:pt x="114" y="410"/>
                        <a:pt x="115" y="412"/>
                      </a:cubicBezTo>
                      <a:cubicBezTo>
                        <a:pt x="115" y="413"/>
                        <a:pt x="116" y="417"/>
                        <a:pt x="116" y="418"/>
                      </a:cubicBezTo>
                      <a:cubicBezTo>
                        <a:pt x="115" y="419"/>
                        <a:pt x="117" y="421"/>
                        <a:pt x="117" y="422"/>
                      </a:cubicBezTo>
                      <a:cubicBezTo>
                        <a:pt x="118" y="424"/>
                        <a:pt x="122" y="423"/>
                        <a:pt x="123" y="424"/>
                      </a:cubicBezTo>
                      <a:cubicBezTo>
                        <a:pt x="125" y="424"/>
                        <a:pt x="127" y="428"/>
                        <a:pt x="127" y="430"/>
                      </a:cubicBezTo>
                      <a:cubicBezTo>
                        <a:pt x="126" y="432"/>
                        <a:pt x="129" y="432"/>
                        <a:pt x="130" y="432"/>
                      </a:cubicBezTo>
                      <a:cubicBezTo>
                        <a:pt x="131" y="431"/>
                        <a:pt x="132" y="433"/>
                        <a:pt x="134" y="433"/>
                      </a:cubicBezTo>
                      <a:cubicBezTo>
                        <a:pt x="135" y="434"/>
                        <a:pt x="137" y="434"/>
                        <a:pt x="138" y="433"/>
                      </a:cubicBezTo>
                      <a:cubicBezTo>
                        <a:pt x="139" y="432"/>
                        <a:pt x="142" y="432"/>
                        <a:pt x="142" y="433"/>
                      </a:cubicBezTo>
                      <a:cubicBezTo>
                        <a:pt x="143" y="434"/>
                        <a:pt x="146" y="436"/>
                        <a:pt x="146" y="437"/>
                      </a:cubicBezTo>
                      <a:cubicBezTo>
                        <a:pt x="146" y="438"/>
                        <a:pt x="150" y="437"/>
                        <a:pt x="153" y="438"/>
                      </a:cubicBezTo>
                      <a:cubicBezTo>
                        <a:pt x="155" y="439"/>
                        <a:pt x="157" y="439"/>
                        <a:pt x="159" y="440"/>
                      </a:cubicBezTo>
                      <a:cubicBezTo>
                        <a:pt x="162" y="441"/>
                        <a:pt x="164" y="441"/>
                        <a:pt x="164" y="443"/>
                      </a:cubicBezTo>
                      <a:cubicBezTo>
                        <a:pt x="164" y="444"/>
                        <a:pt x="162" y="445"/>
                        <a:pt x="162" y="446"/>
                      </a:cubicBezTo>
                      <a:cubicBezTo>
                        <a:pt x="162" y="447"/>
                        <a:pt x="164" y="447"/>
                        <a:pt x="164" y="448"/>
                      </a:cubicBezTo>
                      <a:cubicBezTo>
                        <a:pt x="164" y="450"/>
                        <a:pt x="161" y="450"/>
                        <a:pt x="161" y="450"/>
                      </a:cubicBezTo>
                      <a:cubicBezTo>
                        <a:pt x="160" y="451"/>
                        <a:pt x="162" y="453"/>
                        <a:pt x="163" y="453"/>
                      </a:cubicBezTo>
                      <a:cubicBezTo>
                        <a:pt x="163" y="454"/>
                        <a:pt x="161" y="457"/>
                        <a:pt x="161" y="458"/>
                      </a:cubicBezTo>
                      <a:cubicBezTo>
                        <a:pt x="161" y="459"/>
                        <a:pt x="156" y="458"/>
                        <a:pt x="155" y="458"/>
                      </a:cubicBezTo>
                      <a:cubicBezTo>
                        <a:pt x="153" y="458"/>
                        <a:pt x="150" y="462"/>
                        <a:pt x="148" y="462"/>
                      </a:cubicBezTo>
                      <a:cubicBezTo>
                        <a:pt x="147" y="463"/>
                        <a:pt x="148" y="465"/>
                        <a:pt x="148" y="466"/>
                      </a:cubicBezTo>
                      <a:cubicBezTo>
                        <a:pt x="152" y="465"/>
                        <a:pt x="156" y="465"/>
                        <a:pt x="156" y="466"/>
                      </a:cubicBezTo>
                      <a:cubicBezTo>
                        <a:pt x="157" y="467"/>
                        <a:pt x="148" y="471"/>
                        <a:pt x="146" y="472"/>
                      </a:cubicBezTo>
                      <a:cubicBezTo>
                        <a:pt x="145" y="472"/>
                        <a:pt x="150" y="475"/>
                        <a:pt x="149" y="476"/>
                      </a:cubicBezTo>
                      <a:cubicBezTo>
                        <a:pt x="149" y="478"/>
                        <a:pt x="144" y="478"/>
                        <a:pt x="145" y="481"/>
                      </a:cubicBezTo>
                      <a:cubicBezTo>
                        <a:pt x="145" y="484"/>
                        <a:pt x="143" y="484"/>
                        <a:pt x="140" y="484"/>
                      </a:cubicBezTo>
                      <a:cubicBezTo>
                        <a:pt x="138" y="484"/>
                        <a:pt x="137" y="486"/>
                        <a:pt x="138" y="486"/>
                      </a:cubicBezTo>
                      <a:cubicBezTo>
                        <a:pt x="139" y="487"/>
                        <a:pt x="139" y="490"/>
                        <a:pt x="144" y="491"/>
                      </a:cubicBezTo>
                      <a:cubicBezTo>
                        <a:pt x="150" y="493"/>
                        <a:pt x="155" y="498"/>
                        <a:pt x="159" y="502"/>
                      </a:cubicBezTo>
                      <a:cubicBezTo>
                        <a:pt x="160" y="503"/>
                        <a:pt x="161" y="503"/>
                        <a:pt x="161" y="504"/>
                      </a:cubicBezTo>
                      <a:cubicBezTo>
                        <a:pt x="163" y="503"/>
                        <a:pt x="164" y="503"/>
                        <a:pt x="165" y="503"/>
                      </a:cubicBezTo>
                      <a:cubicBezTo>
                        <a:pt x="167" y="502"/>
                        <a:pt x="172" y="504"/>
                        <a:pt x="174" y="505"/>
                      </a:cubicBezTo>
                      <a:cubicBezTo>
                        <a:pt x="177" y="507"/>
                        <a:pt x="186" y="505"/>
                        <a:pt x="187" y="506"/>
                      </a:cubicBezTo>
                      <a:cubicBezTo>
                        <a:pt x="188" y="508"/>
                        <a:pt x="190" y="510"/>
                        <a:pt x="192" y="510"/>
                      </a:cubicBezTo>
                      <a:cubicBezTo>
                        <a:pt x="193" y="510"/>
                        <a:pt x="195" y="513"/>
                        <a:pt x="197" y="512"/>
                      </a:cubicBezTo>
                      <a:cubicBezTo>
                        <a:pt x="198" y="511"/>
                        <a:pt x="203" y="511"/>
                        <a:pt x="205" y="511"/>
                      </a:cubicBezTo>
                      <a:cubicBezTo>
                        <a:pt x="206" y="511"/>
                        <a:pt x="206" y="512"/>
                        <a:pt x="208" y="512"/>
                      </a:cubicBezTo>
                      <a:cubicBezTo>
                        <a:pt x="209" y="512"/>
                        <a:pt x="209" y="517"/>
                        <a:pt x="210" y="517"/>
                      </a:cubicBezTo>
                      <a:cubicBezTo>
                        <a:pt x="211" y="517"/>
                        <a:pt x="215" y="520"/>
                        <a:pt x="218" y="521"/>
                      </a:cubicBezTo>
                      <a:cubicBezTo>
                        <a:pt x="220" y="521"/>
                        <a:pt x="223" y="525"/>
                        <a:pt x="224" y="525"/>
                      </a:cubicBezTo>
                      <a:cubicBezTo>
                        <a:pt x="225" y="525"/>
                        <a:pt x="227" y="527"/>
                        <a:pt x="227" y="525"/>
                      </a:cubicBezTo>
                      <a:cubicBezTo>
                        <a:pt x="228" y="523"/>
                        <a:pt x="231" y="524"/>
                        <a:pt x="232" y="521"/>
                      </a:cubicBezTo>
                      <a:cubicBezTo>
                        <a:pt x="228" y="516"/>
                        <a:pt x="223" y="510"/>
                        <a:pt x="223" y="507"/>
                      </a:cubicBezTo>
                      <a:cubicBezTo>
                        <a:pt x="223" y="503"/>
                        <a:pt x="225" y="500"/>
                        <a:pt x="220" y="496"/>
                      </a:cubicBezTo>
                      <a:cubicBezTo>
                        <a:pt x="215" y="492"/>
                        <a:pt x="221" y="489"/>
                        <a:pt x="224" y="485"/>
                      </a:cubicBezTo>
                      <a:cubicBezTo>
                        <a:pt x="227" y="481"/>
                        <a:pt x="234" y="479"/>
                        <a:pt x="238" y="476"/>
                      </a:cubicBezTo>
                      <a:cubicBezTo>
                        <a:pt x="238" y="475"/>
                        <a:pt x="237" y="475"/>
                        <a:pt x="236" y="474"/>
                      </a:cubicBezTo>
                      <a:cubicBezTo>
                        <a:pt x="233" y="473"/>
                        <a:pt x="232" y="471"/>
                        <a:pt x="234" y="471"/>
                      </a:cubicBezTo>
                      <a:cubicBezTo>
                        <a:pt x="237" y="470"/>
                        <a:pt x="235" y="469"/>
                        <a:pt x="233" y="466"/>
                      </a:cubicBezTo>
                      <a:cubicBezTo>
                        <a:pt x="230" y="463"/>
                        <a:pt x="229" y="460"/>
                        <a:pt x="228" y="460"/>
                      </a:cubicBezTo>
                      <a:cubicBezTo>
                        <a:pt x="227" y="460"/>
                        <a:pt x="224" y="460"/>
                        <a:pt x="222" y="460"/>
                      </a:cubicBezTo>
                      <a:cubicBezTo>
                        <a:pt x="220" y="461"/>
                        <a:pt x="221" y="459"/>
                        <a:pt x="221" y="456"/>
                      </a:cubicBezTo>
                      <a:cubicBezTo>
                        <a:pt x="221" y="454"/>
                        <a:pt x="217" y="454"/>
                        <a:pt x="216" y="453"/>
                      </a:cubicBezTo>
                      <a:cubicBezTo>
                        <a:pt x="216" y="452"/>
                        <a:pt x="217" y="448"/>
                        <a:pt x="218" y="448"/>
                      </a:cubicBezTo>
                      <a:cubicBezTo>
                        <a:pt x="219" y="448"/>
                        <a:pt x="221" y="447"/>
                        <a:pt x="221" y="445"/>
                      </a:cubicBezTo>
                      <a:cubicBezTo>
                        <a:pt x="221" y="444"/>
                        <a:pt x="217" y="444"/>
                        <a:pt x="218" y="442"/>
                      </a:cubicBezTo>
                      <a:cubicBezTo>
                        <a:pt x="220" y="439"/>
                        <a:pt x="223" y="439"/>
                        <a:pt x="223" y="437"/>
                      </a:cubicBezTo>
                      <a:cubicBezTo>
                        <a:pt x="223" y="434"/>
                        <a:pt x="225" y="432"/>
                        <a:pt x="227" y="434"/>
                      </a:cubicBezTo>
                      <a:cubicBezTo>
                        <a:pt x="230" y="435"/>
                        <a:pt x="231" y="440"/>
                        <a:pt x="234" y="439"/>
                      </a:cubicBezTo>
                      <a:cubicBezTo>
                        <a:pt x="237" y="438"/>
                        <a:pt x="235" y="435"/>
                        <a:pt x="234" y="434"/>
                      </a:cubicBezTo>
                      <a:cubicBezTo>
                        <a:pt x="234" y="433"/>
                        <a:pt x="233" y="430"/>
                        <a:pt x="237" y="430"/>
                      </a:cubicBezTo>
                      <a:cubicBezTo>
                        <a:pt x="240" y="429"/>
                        <a:pt x="238" y="426"/>
                        <a:pt x="241" y="426"/>
                      </a:cubicBezTo>
                      <a:cubicBezTo>
                        <a:pt x="243" y="426"/>
                        <a:pt x="248" y="423"/>
                        <a:pt x="249" y="422"/>
                      </a:cubicBezTo>
                      <a:cubicBezTo>
                        <a:pt x="251" y="421"/>
                        <a:pt x="254" y="419"/>
                        <a:pt x="255" y="420"/>
                      </a:cubicBezTo>
                      <a:cubicBezTo>
                        <a:pt x="257" y="421"/>
                        <a:pt x="259" y="423"/>
                        <a:pt x="260" y="420"/>
                      </a:cubicBezTo>
                      <a:cubicBezTo>
                        <a:pt x="261" y="418"/>
                        <a:pt x="265" y="419"/>
                        <a:pt x="265" y="420"/>
                      </a:cubicBezTo>
                      <a:cubicBezTo>
                        <a:pt x="266" y="422"/>
                        <a:pt x="273" y="422"/>
                        <a:pt x="275" y="423"/>
                      </a:cubicBezTo>
                      <a:cubicBezTo>
                        <a:pt x="277" y="424"/>
                        <a:pt x="281" y="427"/>
                        <a:pt x="281" y="429"/>
                      </a:cubicBezTo>
                      <a:cubicBezTo>
                        <a:pt x="281" y="430"/>
                        <a:pt x="284" y="432"/>
                        <a:pt x="284" y="430"/>
                      </a:cubicBezTo>
                      <a:cubicBezTo>
                        <a:pt x="284" y="427"/>
                        <a:pt x="285" y="428"/>
                        <a:pt x="288" y="430"/>
                      </a:cubicBezTo>
                      <a:cubicBezTo>
                        <a:pt x="291" y="432"/>
                        <a:pt x="295" y="431"/>
                        <a:pt x="296" y="429"/>
                      </a:cubicBezTo>
                      <a:cubicBezTo>
                        <a:pt x="296" y="427"/>
                        <a:pt x="302" y="425"/>
                        <a:pt x="304" y="427"/>
                      </a:cubicBezTo>
                      <a:cubicBezTo>
                        <a:pt x="305" y="428"/>
                        <a:pt x="306" y="429"/>
                        <a:pt x="308" y="427"/>
                      </a:cubicBezTo>
                      <a:cubicBezTo>
                        <a:pt x="310" y="425"/>
                        <a:pt x="315" y="425"/>
                        <a:pt x="316" y="427"/>
                      </a:cubicBezTo>
                      <a:cubicBezTo>
                        <a:pt x="317" y="429"/>
                        <a:pt x="319" y="430"/>
                        <a:pt x="321" y="430"/>
                      </a:cubicBezTo>
                      <a:cubicBezTo>
                        <a:pt x="324" y="430"/>
                        <a:pt x="324" y="433"/>
                        <a:pt x="325" y="432"/>
                      </a:cubicBezTo>
                      <a:cubicBezTo>
                        <a:pt x="327" y="432"/>
                        <a:pt x="326" y="428"/>
                        <a:pt x="328" y="428"/>
                      </a:cubicBezTo>
                      <a:cubicBezTo>
                        <a:pt x="330" y="429"/>
                        <a:pt x="331" y="431"/>
                        <a:pt x="334" y="431"/>
                      </a:cubicBezTo>
                      <a:cubicBezTo>
                        <a:pt x="337" y="431"/>
                        <a:pt x="339" y="430"/>
                        <a:pt x="339" y="428"/>
                      </a:cubicBezTo>
                      <a:cubicBezTo>
                        <a:pt x="339" y="426"/>
                        <a:pt x="339" y="422"/>
                        <a:pt x="337" y="422"/>
                      </a:cubicBezTo>
                      <a:cubicBezTo>
                        <a:pt x="335" y="422"/>
                        <a:pt x="334" y="420"/>
                        <a:pt x="331" y="420"/>
                      </a:cubicBezTo>
                      <a:cubicBezTo>
                        <a:pt x="329" y="420"/>
                        <a:pt x="327" y="417"/>
                        <a:pt x="329" y="416"/>
                      </a:cubicBezTo>
                      <a:cubicBezTo>
                        <a:pt x="331" y="415"/>
                        <a:pt x="335" y="414"/>
                        <a:pt x="334" y="412"/>
                      </a:cubicBezTo>
                      <a:cubicBezTo>
                        <a:pt x="334" y="410"/>
                        <a:pt x="333" y="407"/>
                        <a:pt x="336" y="406"/>
                      </a:cubicBezTo>
                      <a:cubicBezTo>
                        <a:pt x="339" y="406"/>
                        <a:pt x="345" y="406"/>
                        <a:pt x="344" y="405"/>
                      </a:cubicBezTo>
                      <a:cubicBezTo>
                        <a:pt x="344" y="404"/>
                        <a:pt x="338" y="403"/>
                        <a:pt x="337" y="401"/>
                      </a:cubicBezTo>
                      <a:cubicBezTo>
                        <a:pt x="336" y="399"/>
                        <a:pt x="336" y="395"/>
                        <a:pt x="337" y="394"/>
                      </a:cubicBezTo>
                      <a:cubicBezTo>
                        <a:pt x="338" y="394"/>
                        <a:pt x="341" y="395"/>
                        <a:pt x="344" y="394"/>
                      </a:cubicBezTo>
                      <a:cubicBezTo>
                        <a:pt x="346" y="393"/>
                        <a:pt x="350" y="395"/>
                        <a:pt x="353" y="393"/>
                      </a:cubicBezTo>
                      <a:cubicBezTo>
                        <a:pt x="356" y="391"/>
                        <a:pt x="362" y="391"/>
                        <a:pt x="365" y="391"/>
                      </a:cubicBezTo>
                      <a:cubicBezTo>
                        <a:pt x="369" y="391"/>
                        <a:pt x="371" y="388"/>
                        <a:pt x="374" y="388"/>
                      </a:cubicBezTo>
                      <a:cubicBezTo>
                        <a:pt x="376" y="388"/>
                        <a:pt x="383" y="387"/>
                        <a:pt x="385" y="386"/>
                      </a:cubicBezTo>
                      <a:cubicBezTo>
                        <a:pt x="387" y="385"/>
                        <a:pt x="396" y="384"/>
                        <a:pt x="397" y="382"/>
                      </a:cubicBezTo>
                      <a:cubicBezTo>
                        <a:pt x="397" y="380"/>
                        <a:pt x="405" y="379"/>
                        <a:pt x="407" y="380"/>
                      </a:cubicBezTo>
                      <a:cubicBezTo>
                        <a:pt x="409" y="381"/>
                        <a:pt x="411" y="381"/>
                        <a:pt x="413" y="381"/>
                      </a:cubicBezTo>
                      <a:cubicBezTo>
                        <a:pt x="415" y="380"/>
                        <a:pt x="418" y="382"/>
                        <a:pt x="418" y="384"/>
                      </a:cubicBezTo>
                      <a:cubicBezTo>
                        <a:pt x="418" y="386"/>
                        <a:pt x="420" y="388"/>
                        <a:pt x="420" y="389"/>
                      </a:cubicBezTo>
                      <a:cubicBezTo>
                        <a:pt x="419" y="391"/>
                        <a:pt x="418" y="392"/>
                        <a:pt x="419" y="393"/>
                      </a:cubicBezTo>
                      <a:cubicBezTo>
                        <a:pt x="420" y="394"/>
                        <a:pt x="425" y="393"/>
                        <a:pt x="426" y="392"/>
                      </a:cubicBezTo>
                      <a:cubicBezTo>
                        <a:pt x="427" y="390"/>
                        <a:pt x="429" y="392"/>
                        <a:pt x="429" y="394"/>
                      </a:cubicBezTo>
                      <a:cubicBezTo>
                        <a:pt x="429" y="395"/>
                        <a:pt x="431" y="396"/>
                        <a:pt x="431" y="394"/>
                      </a:cubicBezTo>
                      <a:cubicBezTo>
                        <a:pt x="431" y="392"/>
                        <a:pt x="434" y="394"/>
                        <a:pt x="435" y="395"/>
                      </a:cubicBezTo>
                      <a:cubicBezTo>
                        <a:pt x="436" y="396"/>
                        <a:pt x="439" y="393"/>
                        <a:pt x="439" y="395"/>
                      </a:cubicBezTo>
                      <a:cubicBezTo>
                        <a:pt x="439" y="397"/>
                        <a:pt x="434" y="398"/>
                        <a:pt x="436" y="400"/>
                      </a:cubicBezTo>
                      <a:cubicBezTo>
                        <a:pt x="439" y="402"/>
                        <a:pt x="440" y="398"/>
                        <a:pt x="443" y="399"/>
                      </a:cubicBezTo>
                      <a:cubicBezTo>
                        <a:pt x="445" y="400"/>
                        <a:pt x="449" y="396"/>
                        <a:pt x="451" y="395"/>
                      </a:cubicBezTo>
                      <a:cubicBezTo>
                        <a:pt x="454" y="395"/>
                        <a:pt x="456" y="392"/>
                        <a:pt x="459" y="391"/>
                      </a:cubicBezTo>
                      <a:cubicBezTo>
                        <a:pt x="461" y="390"/>
                        <a:pt x="465" y="390"/>
                        <a:pt x="464" y="392"/>
                      </a:cubicBezTo>
                      <a:cubicBezTo>
                        <a:pt x="463" y="393"/>
                        <a:pt x="461" y="396"/>
                        <a:pt x="466" y="398"/>
                      </a:cubicBezTo>
                      <a:cubicBezTo>
                        <a:pt x="472" y="400"/>
                        <a:pt x="478" y="410"/>
                        <a:pt x="481" y="415"/>
                      </a:cubicBezTo>
                      <a:cubicBezTo>
                        <a:pt x="484" y="420"/>
                        <a:pt x="488" y="430"/>
                        <a:pt x="489" y="430"/>
                      </a:cubicBezTo>
                      <a:cubicBezTo>
                        <a:pt x="491" y="430"/>
                        <a:pt x="492" y="425"/>
                        <a:pt x="494" y="425"/>
                      </a:cubicBezTo>
                      <a:cubicBezTo>
                        <a:pt x="496" y="424"/>
                        <a:pt x="498" y="429"/>
                        <a:pt x="500" y="429"/>
                      </a:cubicBezTo>
                      <a:cubicBezTo>
                        <a:pt x="503" y="430"/>
                        <a:pt x="506" y="431"/>
                        <a:pt x="508" y="430"/>
                      </a:cubicBezTo>
                      <a:cubicBezTo>
                        <a:pt x="510" y="430"/>
                        <a:pt x="515" y="427"/>
                        <a:pt x="516" y="428"/>
                      </a:cubicBezTo>
                      <a:cubicBezTo>
                        <a:pt x="518" y="429"/>
                        <a:pt x="520" y="429"/>
                        <a:pt x="521" y="432"/>
                      </a:cubicBezTo>
                      <a:cubicBezTo>
                        <a:pt x="523" y="436"/>
                        <a:pt x="525" y="436"/>
                        <a:pt x="526" y="436"/>
                      </a:cubicBezTo>
                      <a:cubicBezTo>
                        <a:pt x="528" y="436"/>
                        <a:pt x="528" y="438"/>
                        <a:pt x="528" y="439"/>
                      </a:cubicBezTo>
                      <a:cubicBezTo>
                        <a:pt x="528" y="441"/>
                        <a:pt x="531" y="443"/>
                        <a:pt x="532" y="443"/>
                      </a:cubicBezTo>
                      <a:cubicBezTo>
                        <a:pt x="534" y="443"/>
                        <a:pt x="537" y="442"/>
                        <a:pt x="539" y="442"/>
                      </a:cubicBezTo>
                      <a:cubicBezTo>
                        <a:pt x="540" y="441"/>
                        <a:pt x="541" y="440"/>
                        <a:pt x="541" y="442"/>
                      </a:cubicBezTo>
                      <a:cubicBezTo>
                        <a:pt x="542" y="443"/>
                        <a:pt x="544" y="446"/>
                        <a:pt x="545" y="446"/>
                      </a:cubicBezTo>
                      <a:cubicBezTo>
                        <a:pt x="547" y="446"/>
                        <a:pt x="549" y="447"/>
                        <a:pt x="550" y="446"/>
                      </a:cubicBezTo>
                      <a:cubicBezTo>
                        <a:pt x="550" y="445"/>
                        <a:pt x="554" y="444"/>
                        <a:pt x="555" y="444"/>
                      </a:cubicBezTo>
                      <a:cubicBezTo>
                        <a:pt x="557" y="444"/>
                        <a:pt x="562" y="443"/>
                        <a:pt x="563" y="441"/>
                      </a:cubicBezTo>
                      <a:cubicBezTo>
                        <a:pt x="564" y="438"/>
                        <a:pt x="568" y="438"/>
                        <a:pt x="569" y="437"/>
                      </a:cubicBezTo>
                      <a:cubicBezTo>
                        <a:pt x="570" y="436"/>
                        <a:pt x="573" y="435"/>
                        <a:pt x="574" y="433"/>
                      </a:cubicBezTo>
                      <a:cubicBezTo>
                        <a:pt x="575" y="432"/>
                        <a:pt x="579" y="432"/>
                        <a:pt x="579" y="431"/>
                      </a:cubicBezTo>
                      <a:cubicBezTo>
                        <a:pt x="580" y="430"/>
                        <a:pt x="583" y="430"/>
                        <a:pt x="585" y="430"/>
                      </a:cubicBezTo>
                      <a:cubicBezTo>
                        <a:pt x="587" y="431"/>
                        <a:pt x="595" y="432"/>
                        <a:pt x="596" y="432"/>
                      </a:cubicBezTo>
                      <a:cubicBezTo>
                        <a:pt x="598" y="432"/>
                        <a:pt x="598" y="436"/>
                        <a:pt x="599" y="437"/>
                      </a:cubicBezTo>
                      <a:cubicBezTo>
                        <a:pt x="600" y="437"/>
                        <a:pt x="604" y="440"/>
                        <a:pt x="606" y="439"/>
                      </a:cubicBezTo>
                      <a:cubicBezTo>
                        <a:pt x="607" y="438"/>
                        <a:pt x="610" y="437"/>
                        <a:pt x="612" y="439"/>
                      </a:cubicBezTo>
                      <a:cubicBezTo>
                        <a:pt x="614" y="440"/>
                        <a:pt x="617" y="442"/>
                        <a:pt x="618" y="440"/>
                      </a:cubicBezTo>
                      <a:cubicBezTo>
                        <a:pt x="619" y="439"/>
                        <a:pt x="624" y="438"/>
                        <a:pt x="624" y="437"/>
                      </a:cubicBezTo>
                      <a:cubicBezTo>
                        <a:pt x="625" y="436"/>
                        <a:pt x="626" y="433"/>
                        <a:pt x="625" y="432"/>
                      </a:cubicBezTo>
                      <a:cubicBezTo>
                        <a:pt x="623" y="431"/>
                        <a:pt x="622" y="427"/>
                        <a:pt x="622" y="426"/>
                      </a:cubicBezTo>
                      <a:cubicBezTo>
                        <a:pt x="621" y="424"/>
                        <a:pt x="625" y="423"/>
                        <a:pt x="625" y="422"/>
                      </a:cubicBezTo>
                      <a:cubicBezTo>
                        <a:pt x="626" y="420"/>
                        <a:pt x="628" y="420"/>
                        <a:pt x="629" y="419"/>
                      </a:cubicBezTo>
                      <a:cubicBezTo>
                        <a:pt x="630" y="418"/>
                        <a:pt x="631" y="416"/>
                        <a:pt x="632" y="416"/>
                      </a:cubicBezTo>
                      <a:cubicBezTo>
                        <a:pt x="634" y="417"/>
                        <a:pt x="637" y="418"/>
                        <a:pt x="638" y="418"/>
                      </a:cubicBezTo>
                      <a:cubicBezTo>
                        <a:pt x="639" y="419"/>
                        <a:pt x="642" y="420"/>
                        <a:pt x="643" y="420"/>
                      </a:cubicBezTo>
                      <a:cubicBezTo>
                        <a:pt x="645" y="420"/>
                        <a:pt x="647" y="421"/>
                        <a:pt x="649" y="422"/>
                      </a:cubicBezTo>
                      <a:cubicBezTo>
                        <a:pt x="651" y="423"/>
                        <a:pt x="656" y="423"/>
                        <a:pt x="657" y="424"/>
                      </a:cubicBezTo>
                      <a:cubicBezTo>
                        <a:pt x="658" y="426"/>
                        <a:pt x="657" y="430"/>
                        <a:pt x="658" y="431"/>
                      </a:cubicBezTo>
                      <a:cubicBezTo>
                        <a:pt x="659" y="433"/>
                        <a:pt x="662" y="436"/>
                        <a:pt x="663" y="435"/>
                      </a:cubicBezTo>
                      <a:cubicBezTo>
                        <a:pt x="664" y="434"/>
                        <a:pt x="668" y="437"/>
                        <a:pt x="670" y="437"/>
                      </a:cubicBezTo>
                      <a:cubicBezTo>
                        <a:pt x="672" y="437"/>
                        <a:pt x="674" y="434"/>
                        <a:pt x="676" y="434"/>
                      </a:cubicBezTo>
                      <a:cubicBezTo>
                        <a:pt x="677" y="434"/>
                        <a:pt x="682" y="433"/>
                        <a:pt x="683" y="433"/>
                      </a:cubicBezTo>
                      <a:cubicBezTo>
                        <a:pt x="685" y="434"/>
                        <a:pt x="690" y="436"/>
                        <a:pt x="691" y="435"/>
                      </a:cubicBezTo>
                      <a:cubicBezTo>
                        <a:pt x="691" y="435"/>
                        <a:pt x="696" y="435"/>
                        <a:pt x="697" y="437"/>
                      </a:cubicBezTo>
                      <a:cubicBezTo>
                        <a:pt x="697" y="438"/>
                        <a:pt x="703" y="438"/>
                        <a:pt x="703" y="440"/>
                      </a:cubicBezTo>
                      <a:cubicBezTo>
                        <a:pt x="703" y="442"/>
                        <a:pt x="707" y="442"/>
                        <a:pt x="708" y="444"/>
                      </a:cubicBezTo>
                      <a:cubicBezTo>
                        <a:pt x="709" y="446"/>
                        <a:pt x="716" y="445"/>
                        <a:pt x="718" y="446"/>
                      </a:cubicBezTo>
                      <a:cubicBezTo>
                        <a:pt x="719" y="447"/>
                        <a:pt x="728" y="447"/>
                        <a:pt x="729" y="446"/>
                      </a:cubicBezTo>
                      <a:cubicBezTo>
                        <a:pt x="729" y="445"/>
                        <a:pt x="737" y="445"/>
                        <a:pt x="739" y="444"/>
                      </a:cubicBezTo>
                      <a:cubicBezTo>
                        <a:pt x="741" y="442"/>
                        <a:pt x="745" y="443"/>
                        <a:pt x="745" y="441"/>
                      </a:cubicBezTo>
                      <a:cubicBezTo>
                        <a:pt x="746" y="440"/>
                        <a:pt x="750" y="438"/>
                        <a:pt x="752" y="437"/>
                      </a:cubicBezTo>
                      <a:cubicBezTo>
                        <a:pt x="754" y="436"/>
                        <a:pt x="761" y="436"/>
                        <a:pt x="762" y="437"/>
                      </a:cubicBezTo>
                      <a:cubicBezTo>
                        <a:pt x="762" y="439"/>
                        <a:pt x="767" y="440"/>
                        <a:pt x="769" y="439"/>
                      </a:cubicBezTo>
                      <a:cubicBezTo>
                        <a:pt x="771" y="438"/>
                        <a:pt x="776" y="439"/>
                        <a:pt x="776" y="441"/>
                      </a:cubicBezTo>
                      <a:cubicBezTo>
                        <a:pt x="777" y="442"/>
                        <a:pt x="783" y="443"/>
                        <a:pt x="784" y="443"/>
                      </a:cubicBezTo>
                      <a:cubicBezTo>
                        <a:pt x="786" y="442"/>
                        <a:pt x="790" y="439"/>
                        <a:pt x="792" y="439"/>
                      </a:cubicBezTo>
                      <a:cubicBezTo>
                        <a:pt x="793" y="439"/>
                        <a:pt x="796" y="437"/>
                        <a:pt x="795" y="435"/>
                      </a:cubicBezTo>
                      <a:cubicBezTo>
                        <a:pt x="795" y="434"/>
                        <a:pt x="799" y="429"/>
                        <a:pt x="799" y="427"/>
                      </a:cubicBezTo>
                      <a:cubicBezTo>
                        <a:pt x="800" y="425"/>
                        <a:pt x="803" y="420"/>
                        <a:pt x="804" y="419"/>
                      </a:cubicBezTo>
                      <a:cubicBezTo>
                        <a:pt x="805" y="419"/>
                        <a:pt x="808" y="417"/>
                        <a:pt x="808" y="415"/>
                      </a:cubicBezTo>
                      <a:cubicBezTo>
                        <a:pt x="808" y="414"/>
                        <a:pt x="807" y="410"/>
                        <a:pt x="805" y="410"/>
                      </a:cubicBezTo>
                      <a:cubicBezTo>
                        <a:pt x="804" y="410"/>
                        <a:pt x="801" y="410"/>
                        <a:pt x="805" y="405"/>
                      </a:cubicBezTo>
                      <a:cubicBezTo>
                        <a:pt x="808" y="401"/>
                        <a:pt x="814" y="402"/>
                        <a:pt x="815" y="402"/>
                      </a:cubicBezTo>
                      <a:cubicBezTo>
                        <a:pt x="816" y="402"/>
                        <a:pt x="823" y="400"/>
                        <a:pt x="827" y="401"/>
                      </a:cubicBezTo>
                      <a:cubicBezTo>
                        <a:pt x="830" y="402"/>
                        <a:pt x="832" y="401"/>
                        <a:pt x="836" y="403"/>
                      </a:cubicBezTo>
                      <a:cubicBezTo>
                        <a:pt x="839" y="404"/>
                        <a:pt x="844" y="404"/>
                        <a:pt x="846" y="405"/>
                      </a:cubicBezTo>
                      <a:cubicBezTo>
                        <a:pt x="847" y="407"/>
                        <a:pt x="851" y="408"/>
                        <a:pt x="851" y="411"/>
                      </a:cubicBezTo>
                      <a:cubicBezTo>
                        <a:pt x="850" y="414"/>
                        <a:pt x="853" y="413"/>
                        <a:pt x="855" y="419"/>
                      </a:cubicBezTo>
                      <a:cubicBezTo>
                        <a:pt x="856" y="425"/>
                        <a:pt x="859" y="425"/>
                        <a:pt x="859" y="428"/>
                      </a:cubicBezTo>
                      <a:cubicBezTo>
                        <a:pt x="860" y="431"/>
                        <a:pt x="864" y="436"/>
                        <a:pt x="863" y="438"/>
                      </a:cubicBezTo>
                      <a:cubicBezTo>
                        <a:pt x="863" y="440"/>
                        <a:pt x="862" y="442"/>
                        <a:pt x="866" y="442"/>
                      </a:cubicBezTo>
                      <a:cubicBezTo>
                        <a:pt x="871" y="443"/>
                        <a:pt x="873" y="446"/>
                        <a:pt x="874" y="445"/>
                      </a:cubicBezTo>
                      <a:cubicBezTo>
                        <a:pt x="875" y="445"/>
                        <a:pt x="880" y="447"/>
                        <a:pt x="882" y="449"/>
                      </a:cubicBezTo>
                      <a:cubicBezTo>
                        <a:pt x="885" y="451"/>
                        <a:pt x="888" y="450"/>
                        <a:pt x="888" y="453"/>
                      </a:cubicBezTo>
                      <a:cubicBezTo>
                        <a:pt x="888" y="455"/>
                        <a:pt x="890" y="457"/>
                        <a:pt x="890" y="460"/>
                      </a:cubicBezTo>
                      <a:cubicBezTo>
                        <a:pt x="890" y="462"/>
                        <a:pt x="894" y="463"/>
                        <a:pt x="898" y="463"/>
                      </a:cubicBezTo>
                      <a:cubicBezTo>
                        <a:pt x="901" y="462"/>
                        <a:pt x="903" y="464"/>
                        <a:pt x="905" y="461"/>
                      </a:cubicBezTo>
                      <a:cubicBezTo>
                        <a:pt x="906" y="458"/>
                        <a:pt x="911" y="459"/>
                        <a:pt x="913" y="458"/>
                      </a:cubicBezTo>
                      <a:cubicBezTo>
                        <a:pt x="914" y="457"/>
                        <a:pt x="919" y="456"/>
                        <a:pt x="919" y="460"/>
                      </a:cubicBezTo>
                      <a:cubicBezTo>
                        <a:pt x="919" y="464"/>
                        <a:pt x="922" y="465"/>
                        <a:pt x="919" y="466"/>
                      </a:cubicBezTo>
                      <a:cubicBezTo>
                        <a:pt x="917" y="468"/>
                        <a:pt x="916" y="474"/>
                        <a:pt x="915" y="477"/>
                      </a:cubicBezTo>
                      <a:cubicBezTo>
                        <a:pt x="914" y="479"/>
                        <a:pt x="911" y="480"/>
                        <a:pt x="910" y="483"/>
                      </a:cubicBezTo>
                      <a:cubicBezTo>
                        <a:pt x="910" y="486"/>
                        <a:pt x="906" y="486"/>
                        <a:pt x="906" y="488"/>
                      </a:cubicBezTo>
                      <a:cubicBezTo>
                        <a:pt x="906" y="490"/>
                        <a:pt x="902" y="490"/>
                        <a:pt x="899" y="488"/>
                      </a:cubicBezTo>
                      <a:cubicBezTo>
                        <a:pt x="897" y="486"/>
                        <a:pt x="895" y="491"/>
                        <a:pt x="893" y="491"/>
                      </a:cubicBezTo>
                      <a:cubicBezTo>
                        <a:pt x="891" y="491"/>
                        <a:pt x="891" y="495"/>
                        <a:pt x="891" y="497"/>
                      </a:cubicBezTo>
                      <a:cubicBezTo>
                        <a:pt x="892" y="499"/>
                        <a:pt x="891" y="501"/>
                        <a:pt x="892" y="504"/>
                      </a:cubicBezTo>
                      <a:cubicBezTo>
                        <a:pt x="893" y="505"/>
                        <a:pt x="892" y="508"/>
                        <a:pt x="892" y="511"/>
                      </a:cubicBezTo>
                      <a:cubicBezTo>
                        <a:pt x="895" y="509"/>
                        <a:pt x="898" y="508"/>
                        <a:pt x="899" y="508"/>
                      </a:cubicBezTo>
                      <a:cubicBezTo>
                        <a:pt x="902" y="508"/>
                        <a:pt x="905" y="513"/>
                        <a:pt x="908" y="513"/>
                      </a:cubicBezTo>
                      <a:cubicBezTo>
                        <a:pt x="912" y="513"/>
                        <a:pt x="927" y="503"/>
                        <a:pt x="927" y="501"/>
                      </a:cubicBezTo>
                      <a:cubicBezTo>
                        <a:pt x="927" y="500"/>
                        <a:pt x="936" y="491"/>
                        <a:pt x="940" y="487"/>
                      </a:cubicBezTo>
                      <a:cubicBezTo>
                        <a:pt x="944" y="482"/>
                        <a:pt x="950" y="476"/>
                        <a:pt x="952" y="471"/>
                      </a:cubicBezTo>
                      <a:cubicBezTo>
                        <a:pt x="953" y="468"/>
                        <a:pt x="959" y="462"/>
                        <a:pt x="960" y="459"/>
                      </a:cubicBezTo>
                      <a:cubicBezTo>
                        <a:pt x="962" y="457"/>
                        <a:pt x="963" y="457"/>
                        <a:pt x="965" y="451"/>
                      </a:cubicBezTo>
                      <a:cubicBezTo>
                        <a:pt x="968" y="446"/>
                        <a:pt x="968" y="431"/>
                        <a:pt x="969" y="430"/>
                      </a:cubicBezTo>
                      <a:cubicBezTo>
                        <a:pt x="970" y="429"/>
                        <a:pt x="969" y="427"/>
                        <a:pt x="970" y="425"/>
                      </a:cubicBezTo>
                      <a:cubicBezTo>
                        <a:pt x="972" y="424"/>
                        <a:pt x="971" y="421"/>
                        <a:pt x="973" y="419"/>
                      </a:cubicBezTo>
                      <a:cubicBezTo>
                        <a:pt x="976" y="417"/>
                        <a:pt x="975" y="416"/>
                        <a:pt x="975" y="414"/>
                      </a:cubicBezTo>
                      <a:cubicBezTo>
                        <a:pt x="974" y="413"/>
                        <a:pt x="975" y="409"/>
                        <a:pt x="974" y="408"/>
                      </a:cubicBezTo>
                      <a:cubicBezTo>
                        <a:pt x="974" y="407"/>
                        <a:pt x="974" y="406"/>
                        <a:pt x="975" y="406"/>
                      </a:cubicBezTo>
                      <a:cubicBezTo>
                        <a:pt x="977" y="405"/>
                        <a:pt x="974" y="403"/>
                        <a:pt x="972" y="402"/>
                      </a:cubicBezTo>
                      <a:cubicBezTo>
                        <a:pt x="970" y="401"/>
                        <a:pt x="968" y="400"/>
                        <a:pt x="967" y="398"/>
                      </a:cubicBezTo>
                      <a:cubicBezTo>
                        <a:pt x="967" y="395"/>
                        <a:pt x="964" y="393"/>
                        <a:pt x="961" y="393"/>
                      </a:cubicBezTo>
                      <a:cubicBezTo>
                        <a:pt x="958" y="393"/>
                        <a:pt x="954" y="391"/>
                        <a:pt x="954" y="393"/>
                      </a:cubicBezTo>
                      <a:cubicBezTo>
                        <a:pt x="955" y="395"/>
                        <a:pt x="954" y="396"/>
                        <a:pt x="953" y="396"/>
                      </a:cubicBezTo>
                      <a:cubicBezTo>
                        <a:pt x="951" y="396"/>
                        <a:pt x="951" y="397"/>
                        <a:pt x="949" y="399"/>
                      </a:cubicBezTo>
                      <a:cubicBezTo>
                        <a:pt x="948" y="401"/>
                        <a:pt x="942" y="402"/>
                        <a:pt x="945" y="399"/>
                      </a:cubicBezTo>
                      <a:cubicBezTo>
                        <a:pt x="947" y="397"/>
                        <a:pt x="944" y="397"/>
                        <a:pt x="944" y="395"/>
                      </a:cubicBezTo>
                      <a:cubicBezTo>
                        <a:pt x="945" y="392"/>
                        <a:pt x="947" y="390"/>
                        <a:pt x="944" y="391"/>
                      </a:cubicBezTo>
                      <a:cubicBezTo>
                        <a:pt x="941" y="393"/>
                        <a:pt x="941" y="397"/>
                        <a:pt x="939" y="397"/>
                      </a:cubicBezTo>
                      <a:cubicBezTo>
                        <a:pt x="937" y="398"/>
                        <a:pt x="937" y="391"/>
                        <a:pt x="938" y="389"/>
                      </a:cubicBezTo>
                      <a:cubicBezTo>
                        <a:pt x="939" y="387"/>
                        <a:pt x="934" y="389"/>
                        <a:pt x="929" y="389"/>
                      </a:cubicBezTo>
                      <a:cubicBezTo>
                        <a:pt x="924" y="388"/>
                        <a:pt x="925" y="385"/>
                        <a:pt x="929" y="383"/>
                      </a:cubicBezTo>
                      <a:cubicBezTo>
                        <a:pt x="933" y="381"/>
                        <a:pt x="933" y="379"/>
                        <a:pt x="935" y="378"/>
                      </a:cubicBezTo>
                      <a:cubicBezTo>
                        <a:pt x="937" y="377"/>
                        <a:pt x="942" y="373"/>
                        <a:pt x="945" y="372"/>
                      </a:cubicBezTo>
                      <a:cubicBezTo>
                        <a:pt x="948" y="370"/>
                        <a:pt x="949" y="368"/>
                        <a:pt x="949" y="366"/>
                      </a:cubicBezTo>
                      <a:cubicBezTo>
                        <a:pt x="950" y="364"/>
                        <a:pt x="956" y="361"/>
                        <a:pt x="961" y="357"/>
                      </a:cubicBezTo>
                      <a:cubicBezTo>
                        <a:pt x="966" y="353"/>
                        <a:pt x="968" y="351"/>
                        <a:pt x="970" y="348"/>
                      </a:cubicBezTo>
                      <a:cubicBezTo>
                        <a:pt x="971" y="346"/>
                        <a:pt x="978" y="342"/>
                        <a:pt x="979" y="341"/>
                      </a:cubicBezTo>
                      <a:cubicBezTo>
                        <a:pt x="979" y="339"/>
                        <a:pt x="988" y="334"/>
                        <a:pt x="994" y="333"/>
                      </a:cubicBezTo>
                      <a:cubicBezTo>
                        <a:pt x="1000" y="332"/>
                        <a:pt x="1009" y="333"/>
                        <a:pt x="1011" y="335"/>
                      </a:cubicBezTo>
                      <a:cubicBezTo>
                        <a:pt x="1013" y="337"/>
                        <a:pt x="1014" y="336"/>
                        <a:pt x="1015" y="335"/>
                      </a:cubicBezTo>
                      <a:cubicBezTo>
                        <a:pt x="1016" y="334"/>
                        <a:pt x="1019" y="334"/>
                        <a:pt x="1023" y="335"/>
                      </a:cubicBezTo>
                      <a:cubicBezTo>
                        <a:pt x="1027" y="335"/>
                        <a:pt x="1028" y="333"/>
                        <a:pt x="1031" y="334"/>
                      </a:cubicBezTo>
                      <a:cubicBezTo>
                        <a:pt x="1033" y="334"/>
                        <a:pt x="1036" y="335"/>
                        <a:pt x="1037" y="332"/>
                      </a:cubicBezTo>
                      <a:cubicBezTo>
                        <a:pt x="1039" y="328"/>
                        <a:pt x="1047" y="329"/>
                        <a:pt x="1049" y="330"/>
                      </a:cubicBezTo>
                      <a:cubicBezTo>
                        <a:pt x="1050" y="332"/>
                        <a:pt x="1052" y="333"/>
                        <a:pt x="1055" y="332"/>
                      </a:cubicBezTo>
                      <a:cubicBezTo>
                        <a:pt x="1057" y="330"/>
                        <a:pt x="1057" y="334"/>
                        <a:pt x="1060" y="334"/>
                      </a:cubicBezTo>
                      <a:cubicBezTo>
                        <a:pt x="1063" y="335"/>
                        <a:pt x="1061" y="337"/>
                        <a:pt x="1059" y="337"/>
                      </a:cubicBezTo>
                      <a:cubicBezTo>
                        <a:pt x="1056" y="337"/>
                        <a:pt x="1053" y="338"/>
                        <a:pt x="1056" y="340"/>
                      </a:cubicBezTo>
                      <a:cubicBezTo>
                        <a:pt x="1059" y="341"/>
                        <a:pt x="1062" y="338"/>
                        <a:pt x="1064" y="338"/>
                      </a:cubicBezTo>
                      <a:cubicBezTo>
                        <a:pt x="1066" y="339"/>
                        <a:pt x="1070" y="339"/>
                        <a:pt x="1073" y="337"/>
                      </a:cubicBezTo>
                      <a:cubicBezTo>
                        <a:pt x="1076" y="335"/>
                        <a:pt x="1076" y="339"/>
                        <a:pt x="1078" y="337"/>
                      </a:cubicBezTo>
                      <a:cubicBezTo>
                        <a:pt x="1080" y="335"/>
                        <a:pt x="1085" y="335"/>
                        <a:pt x="1087" y="335"/>
                      </a:cubicBezTo>
                      <a:cubicBezTo>
                        <a:pt x="1089" y="335"/>
                        <a:pt x="1087" y="332"/>
                        <a:pt x="1083" y="332"/>
                      </a:cubicBezTo>
                      <a:cubicBezTo>
                        <a:pt x="1080" y="332"/>
                        <a:pt x="1080" y="330"/>
                        <a:pt x="1083" y="326"/>
                      </a:cubicBezTo>
                      <a:cubicBezTo>
                        <a:pt x="1086" y="321"/>
                        <a:pt x="1091" y="318"/>
                        <a:pt x="1095" y="315"/>
                      </a:cubicBezTo>
                      <a:cubicBezTo>
                        <a:pt x="1098" y="312"/>
                        <a:pt x="1101" y="314"/>
                        <a:pt x="1101" y="312"/>
                      </a:cubicBezTo>
                      <a:cubicBezTo>
                        <a:pt x="1101" y="310"/>
                        <a:pt x="1102" y="304"/>
                        <a:pt x="1105" y="304"/>
                      </a:cubicBezTo>
                      <a:cubicBezTo>
                        <a:pt x="1107" y="304"/>
                        <a:pt x="1114" y="305"/>
                        <a:pt x="1118" y="303"/>
                      </a:cubicBezTo>
                      <a:cubicBezTo>
                        <a:pt x="1122" y="301"/>
                        <a:pt x="1122" y="305"/>
                        <a:pt x="1123" y="305"/>
                      </a:cubicBezTo>
                      <a:cubicBezTo>
                        <a:pt x="1125" y="306"/>
                        <a:pt x="1127" y="302"/>
                        <a:pt x="1129" y="303"/>
                      </a:cubicBezTo>
                      <a:cubicBezTo>
                        <a:pt x="1131" y="304"/>
                        <a:pt x="1126" y="307"/>
                        <a:pt x="1125" y="311"/>
                      </a:cubicBezTo>
                      <a:cubicBezTo>
                        <a:pt x="1124" y="314"/>
                        <a:pt x="1128" y="313"/>
                        <a:pt x="1130" y="314"/>
                      </a:cubicBezTo>
                      <a:cubicBezTo>
                        <a:pt x="1132" y="315"/>
                        <a:pt x="1127" y="316"/>
                        <a:pt x="1128" y="317"/>
                      </a:cubicBezTo>
                      <a:cubicBezTo>
                        <a:pt x="1128" y="318"/>
                        <a:pt x="1132" y="318"/>
                        <a:pt x="1137" y="313"/>
                      </a:cubicBezTo>
                      <a:cubicBezTo>
                        <a:pt x="1143" y="308"/>
                        <a:pt x="1147" y="306"/>
                        <a:pt x="1151" y="306"/>
                      </a:cubicBezTo>
                      <a:cubicBezTo>
                        <a:pt x="1154" y="307"/>
                        <a:pt x="1152" y="303"/>
                        <a:pt x="1152" y="299"/>
                      </a:cubicBezTo>
                      <a:cubicBezTo>
                        <a:pt x="1153" y="294"/>
                        <a:pt x="1163" y="292"/>
                        <a:pt x="1166" y="294"/>
                      </a:cubicBezTo>
                      <a:cubicBezTo>
                        <a:pt x="1170" y="295"/>
                        <a:pt x="1169" y="296"/>
                        <a:pt x="1166" y="296"/>
                      </a:cubicBezTo>
                      <a:cubicBezTo>
                        <a:pt x="1163" y="295"/>
                        <a:pt x="1160" y="298"/>
                        <a:pt x="1160" y="302"/>
                      </a:cubicBezTo>
                      <a:cubicBezTo>
                        <a:pt x="1160" y="306"/>
                        <a:pt x="1157" y="307"/>
                        <a:pt x="1159" y="309"/>
                      </a:cubicBezTo>
                      <a:cubicBezTo>
                        <a:pt x="1160" y="310"/>
                        <a:pt x="1156" y="311"/>
                        <a:pt x="1156" y="312"/>
                      </a:cubicBezTo>
                      <a:cubicBezTo>
                        <a:pt x="1156" y="314"/>
                        <a:pt x="1156" y="315"/>
                        <a:pt x="1154" y="316"/>
                      </a:cubicBezTo>
                      <a:cubicBezTo>
                        <a:pt x="1152" y="317"/>
                        <a:pt x="1144" y="317"/>
                        <a:pt x="1143" y="320"/>
                      </a:cubicBezTo>
                      <a:cubicBezTo>
                        <a:pt x="1143" y="324"/>
                        <a:pt x="1139" y="324"/>
                        <a:pt x="1137" y="328"/>
                      </a:cubicBezTo>
                      <a:cubicBezTo>
                        <a:pt x="1135" y="332"/>
                        <a:pt x="1127" y="334"/>
                        <a:pt x="1122" y="341"/>
                      </a:cubicBezTo>
                      <a:cubicBezTo>
                        <a:pt x="1117" y="349"/>
                        <a:pt x="1109" y="349"/>
                        <a:pt x="1109" y="350"/>
                      </a:cubicBezTo>
                      <a:cubicBezTo>
                        <a:pt x="1109" y="352"/>
                        <a:pt x="1103" y="352"/>
                        <a:pt x="1101" y="352"/>
                      </a:cubicBezTo>
                      <a:cubicBezTo>
                        <a:pt x="1099" y="352"/>
                        <a:pt x="1103" y="357"/>
                        <a:pt x="1099" y="362"/>
                      </a:cubicBezTo>
                      <a:cubicBezTo>
                        <a:pt x="1094" y="367"/>
                        <a:pt x="1091" y="373"/>
                        <a:pt x="1091" y="380"/>
                      </a:cubicBezTo>
                      <a:cubicBezTo>
                        <a:pt x="1091" y="387"/>
                        <a:pt x="1094" y="406"/>
                        <a:pt x="1096" y="410"/>
                      </a:cubicBezTo>
                      <a:cubicBezTo>
                        <a:pt x="1098" y="413"/>
                        <a:pt x="1096" y="422"/>
                        <a:pt x="1098" y="424"/>
                      </a:cubicBezTo>
                      <a:cubicBezTo>
                        <a:pt x="1100" y="425"/>
                        <a:pt x="1099" y="428"/>
                        <a:pt x="1100" y="429"/>
                      </a:cubicBezTo>
                      <a:cubicBezTo>
                        <a:pt x="1101" y="430"/>
                        <a:pt x="1106" y="425"/>
                        <a:pt x="1109" y="422"/>
                      </a:cubicBezTo>
                      <a:cubicBezTo>
                        <a:pt x="1112" y="420"/>
                        <a:pt x="1111" y="419"/>
                        <a:pt x="1113" y="418"/>
                      </a:cubicBezTo>
                      <a:cubicBezTo>
                        <a:pt x="1115" y="416"/>
                        <a:pt x="1114" y="411"/>
                        <a:pt x="1114" y="409"/>
                      </a:cubicBezTo>
                      <a:cubicBezTo>
                        <a:pt x="1115" y="408"/>
                        <a:pt x="1119" y="407"/>
                        <a:pt x="1120" y="406"/>
                      </a:cubicBezTo>
                      <a:cubicBezTo>
                        <a:pt x="1121" y="404"/>
                        <a:pt x="1124" y="405"/>
                        <a:pt x="1126" y="404"/>
                      </a:cubicBezTo>
                      <a:cubicBezTo>
                        <a:pt x="1128" y="404"/>
                        <a:pt x="1126" y="400"/>
                        <a:pt x="1125" y="398"/>
                      </a:cubicBezTo>
                      <a:cubicBezTo>
                        <a:pt x="1125" y="395"/>
                        <a:pt x="1130" y="392"/>
                        <a:pt x="1133" y="390"/>
                      </a:cubicBezTo>
                      <a:cubicBezTo>
                        <a:pt x="1136" y="388"/>
                        <a:pt x="1139" y="392"/>
                        <a:pt x="1143" y="389"/>
                      </a:cubicBezTo>
                      <a:cubicBezTo>
                        <a:pt x="1146" y="386"/>
                        <a:pt x="1142" y="382"/>
                        <a:pt x="1141" y="381"/>
                      </a:cubicBezTo>
                      <a:cubicBezTo>
                        <a:pt x="1140" y="379"/>
                        <a:pt x="1144" y="372"/>
                        <a:pt x="1147" y="371"/>
                      </a:cubicBezTo>
                      <a:cubicBezTo>
                        <a:pt x="1149" y="370"/>
                        <a:pt x="1151" y="373"/>
                        <a:pt x="1153" y="371"/>
                      </a:cubicBezTo>
                      <a:cubicBezTo>
                        <a:pt x="1155" y="368"/>
                        <a:pt x="1151" y="365"/>
                        <a:pt x="1149" y="365"/>
                      </a:cubicBezTo>
                      <a:cubicBezTo>
                        <a:pt x="1148" y="365"/>
                        <a:pt x="1147" y="359"/>
                        <a:pt x="1151" y="356"/>
                      </a:cubicBezTo>
                      <a:cubicBezTo>
                        <a:pt x="1155" y="353"/>
                        <a:pt x="1153" y="353"/>
                        <a:pt x="1151" y="352"/>
                      </a:cubicBezTo>
                      <a:cubicBezTo>
                        <a:pt x="1148" y="351"/>
                        <a:pt x="1148" y="352"/>
                        <a:pt x="1146" y="352"/>
                      </a:cubicBezTo>
                      <a:cubicBezTo>
                        <a:pt x="1144" y="352"/>
                        <a:pt x="1141" y="348"/>
                        <a:pt x="1145" y="344"/>
                      </a:cubicBezTo>
                      <a:cubicBezTo>
                        <a:pt x="1148" y="340"/>
                        <a:pt x="1151" y="340"/>
                        <a:pt x="1151" y="337"/>
                      </a:cubicBezTo>
                      <a:cubicBezTo>
                        <a:pt x="1152" y="333"/>
                        <a:pt x="1156" y="328"/>
                        <a:pt x="1157" y="327"/>
                      </a:cubicBezTo>
                      <a:cubicBezTo>
                        <a:pt x="1158" y="325"/>
                        <a:pt x="1163" y="327"/>
                        <a:pt x="1164" y="326"/>
                      </a:cubicBezTo>
                      <a:cubicBezTo>
                        <a:pt x="1166" y="326"/>
                        <a:pt x="1166" y="330"/>
                        <a:pt x="1168" y="328"/>
                      </a:cubicBezTo>
                      <a:cubicBezTo>
                        <a:pt x="1170" y="326"/>
                        <a:pt x="1173" y="320"/>
                        <a:pt x="1176" y="320"/>
                      </a:cubicBezTo>
                      <a:cubicBezTo>
                        <a:pt x="1178" y="320"/>
                        <a:pt x="1177" y="324"/>
                        <a:pt x="1177" y="327"/>
                      </a:cubicBezTo>
                      <a:cubicBezTo>
                        <a:pt x="1178" y="330"/>
                        <a:pt x="1180" y="326"/>
                        <a:pt x="1185" y="323"/>
                      </a:cubicBezTo>
                      <a:cubicBezTo>
                        <a:pt x="1190" y="319"/>
                        <a:pt x="1201" y="320"/>
                        <a:pt x="1205" y="321"/>
                      </a:cubicBezTo>
                      <a:cubicBezTo>
                        <a:pt x="1208" y="323"/>
                        <a:pt x="1209" y="327"/>
                        <a:pt x="1211" y="326"/>
                      </a:cubicBezTo>
                      <a:cubicBezTo>
                        <a:pt x="1214" y="326"/>
                        <a:pt x="1211" y="322"/>
                        <a:pt x="1214" y="322"/>
                      </a:cubicBezTo>
                      <a:cubicBezTo>
                        <a:pt x="1217" y="321"/>
                        <a:pt x="1222" y="318"/>
                        <a:pt x="1226" y="315"/>
                      </a:cubicBezTo>
                      <a:cubicBezTo>
                        <a:pt x="1230" y="312"/>
                        <a:pt x="1229" y="314"/>
                        <a:pt x="1231" y="312"/>
                      </a:cubicBezTo>
                      <a:cubicBezTo>
                        <a:pt x="1233" y="309"/>
                        <a:pt x="1235" y="310"/>
                        <a:pt x="1235" y="309"/>
                      </a:cubicBezTo>
                      <a:cubicBezTo>
                        <a:pt x="1236" y="307"/>
                        <a:pt x="1241" y="304"/>
                        <a:pt x="1249" y="303"/>
                      </a:cubicBezTo>
                      <a:cubicBezTo>
                        <a:pt x="1256" y="301"/>
                        <a:pt x="1266" y="296"/>
                        <a:pt x="1265" y="294"/>
                      </a:cubicBezTo>
                      <a:cubicBezTo>
                        <a:pt x="1265" y="293"/>
                        <a:pt x="1268" y="292"/>
                        <a:pt x="1269" y="294"/>
                      </a:cubicBezTo>
                      <a:cubicBezTo>
                        <a:pt x="1269" y="295"/>
                        <a:pt x="1272" y="295"/>
                        <a:pt x="1276" y="296"/>
                      </a:cubicBezTo>
                      <a:cubicBezTo>
                        <a:pt x="1280" y="296"/>
                        <a:pt x="1282" y="298"/>
                        <a:pt x="1285" y="295"/>
                      </a:cubicBezTo>
                      <a:cubicBezTo>
                        <a:pt x="1288" y="292"/>
                        <a:pt x="1284" y="291"/>
                        <a:pt x="1284" y="288"/>
                      </a:cubicBezTo>
                      <a:cubicBezTo>
                        <a:pt x="1285" y="286"/>
                        <a:pt x="1279" y="283"/>
                        <a:pt x="1280" y="281"/>
                      </a:cubicBezTo>
                      <a:cubicBezTo>
                        <a:pt x="1280" y="278"/>
                        <a:pt x="1276" y="272"/>
                        <a:pt x="1274" y="273"/>
                      </a:cubicBezTo>
                      <a:cubicBezTo>
                        <a:pt x="1273" y="274"/>
                        <a:pt x="1270" y="272"/>
                        <a:pt x="1270" y="270"/>
                      </a:cubicBezTo>
                      <a:cubicBezTo>
                        <a:pt x="1270" y="268"/>
                        <a:pt x="1269" y="266"/>
                        <a:pt x="1267" y="267"/>
                      </a:cubicBezTo>
                      <a:cubicBezTo>
                        <a:pt x="1265" y="269"/>
                        <a:pt x="1261" y="268"/>
                        <a:pt x="1260" y="266"/>
                      </a:cubicBezTo>
                      <a:cubicBezTo>
                        <a:pt x="1260" y="264"/>
                        <a:pt x="1265" y="262"/>
                        <a:pt x="1268" y="264"/>
                      </a:cubicBezTo>
                      <a:cubicBezTo>
                        <a:pt x="1272" y="265"/>
                        <a:pt x="1271" y="267"/>
                        <a:pt x="1273" y="268"/>
                      </a:cubicBezTo>
                      <a:cubicBezTo>
                        <a:pt x="1274" y="269"/>
                        <a:pt x="1279" y="268"/>
                        <a:pt x="1282" y="267"/>
                      </a:cubicBezTo>
                      <a:cubicBezTo>
                        <a:pt x="1284" y="266"/>
                        <a:pt x="1291" y="264"/>
                        <a:pt x="1292" y="262"/>
                      </a:cubicBezTo>
                      <a:cubicBezTo>
                        <a:pt x="1294" y="259"/>
                        <a:pt x="1292" y="259"/>
                        <a:pt x="1295" y="257"/>
                      </a:cubicBezTo>
                      <a:cubicBezTo>
                        <a:pt x="1297" y="256"/>
                        <a:pt x="1295" y="254"/>
                        <a:pt x="1293" y="253"/>
                      </a:cubicBezTo>
                      <a:cubicBezTo>
                        <a:pt x="1291" y="252"/>
                        <a:pt x="1292" y="249"/>
                        <a:pt x="1294" y="249"/>
                      </a:cubicBezTo>
                      <a:cubicBezTo>
                        <a:pt x="1296" y="249"/>
                        <a:pt x="1295" y="246"/>
                        <a:pt x="1297" y="246"/>
                      </a:cubicBezTo>
                      <a:cubicBezTo>
                        <a:pt x="1298" y="246"/>
                        <a:pt x="1298" y="247"/>
                        <a:pt x="1301" y="246"/>
                      </a:cubicBezTo>
                      <a:cubicBezTo>
                        <a:pt x="1304" y="245"/>
                        <a:pt x="1301" y="248"/>
                        <a:pt x="1300" y="250"/>
                      </a:cubicBezTo>
                      <a:cubicBezTo>
                        <a:pt x="1299" y="252"/>
                        <a:pt x="1302" y="254"/>
                        <a:pt x="1303" y="256"/>
                      </a:cubicBezTo>
                      <a:cubicBezTo>
                        <a:pt x="1303" y="257"/>
                        <a:pt x="1308" y="257"/>
                        <a:pt x="1311" y="256"/>
                      </a:cubicBezTo>
                      <a:cubicBezTo>
                        <a:pt x="1314" y="254"/>
                        <a:pt x="1323" y="258"/>
                        <a:pt x="1324" y="260"/>
                      </a:cubicBezTo>
                      <a:cubicBezTo>
                        <a:pt x="1324" y="262"/>
                        <a:pt x="1326" y="265"/>
                        <a:pt x="1329" y="267"/>
                      </a:cubicBezTo>
                      <a:cubicBezTo>
                        <a:pt x="1333" y="269"/>
                        <a:pt x="1337" y="268"/>
                        <a:pt x="1337" y="270"/>
                      </a:cubicBezTo>
                      <a:cubicBezTo>
                        <a:pt x="1338" y="272"/>
                        <a:pt x="1340" y="272"/>
                        <a:pt x="1342" y="272"/>
                      </a:cubicBezTo>
                      <a:cubicBezTo>
                        <a:pt x="1344" y="272"/>
                        <a:pt x="1345" y="274"/>
                        <a:pt x="1347" y="272"/>
                      </a:cubicBezTo>
                      <a:cubicBezTo>
                        <a:pt x="1348" y="271"/>
                        <a:pt x="1349" y="273"/>
                        <a:pt x="1351" y="272"/>
                      </a:cubicBezTo>
                      <a:cubicBezTo>
                        <a:pt x="1353" y="270"/>
                        <a:pt x="1347" y="269"/>
                        <a:pt x="1347" y="267"/>
                      </a:cubicBezTo>
                      <a:cubicBezTo>
                        <a:pt x="1348" y="266"/>
                        <a:pt x="1350" y="268"/>
                        <a:pt x="1351" y="268"/>
                      </a:cubicBezTo>
                      <a:cubicBezTo>
                        <a:pt x="1353" y="268"/>
                        <a:pt x="1351" y="264"/>
                        <a:pt x="1352" y="264"/>
                      </a:cubicBezTo>
                      <a:cubicBezTo>
                        <a:pt x="1353" y="264"/>
                        <a:pt x="1352" y="257"/>
                        <a:pt x="1351" y="256"/>
                      </a:cubicBezTo>
                      <a:cubicBezTo>
                        <a:pt x="1350" y="256"/>
                        <a:pt x="1351" y="253"/>
                        <a:pt x="1353" y="255"/>
                      </a:cubicBezTo>
                      <a:cubicBezTo>
                        <a:pt x="1356" y="257"/>
                        <a:pt x="1360" y="257"/>
                        <a:pt x="1363" y="257"/>
                      </a:cubicBezTo>
                      <a:cubicBezTo>
                        <a:pt x="1365" y="257"/>
                        <a:pt x="1363" y="255"/>
                        <a:pt x="1361" y="255"/>
                      </a:cubicBezTo>
                      <a:cubicBezTo>
                        <a:pt x="1359" y="255"/>
                        <a:pt x="1361" y="253"/>
                        <a:pt x="1362" y="254"/>
                      </a:cubicBezTo>
                      <a:cubicBezTo>
                        <a:pt x="1364" y="255"/>
                        <a:pt x="1367" y="256"/>
                        <a:pt x="1367" y="255"/>
                      </a:cubicBezTo>
                      <a:cubicBezTo>
                        <a:pt x="1367" y="253"/>
                        <a:pt x="1368" y="250"/>
                        <a:pt x="1371" y="250"/>
                      </a:cubicBezTo>
                      <a:cubicBezTo>
                        <a:pt x="1373" y="250"/>
                        <a:pt x="1374" y="249"/>
                        <a:pt x="1372" y="248"/>
                      </a:cubicBezTo>
                      <a:close/>
                      <a:moveTo>
                        <a:pt x="709" y="404"/>
                      </a:moveTo>
                      <a:cubicBezTo>
                        <a:pt x="702" y="410"/>
                        <a:pt x="688" y="412"/>
                        <a:pt x="688" y="417"/>
                      </a:cubicBezTo>
                      <a:cubicBezTo>
                        <a:pt x="688" y="422"/>
                        <a:pt x="672" y="424"/>
                        <a:pt x="671" y="422"/>
                      </a:cubicBezTo>
                      <a:cubicBezTo>
                        <a:pt x="669" y="420"/>
                        <a:pt x="683" y="419"/>
                        <a:pt x="686" y="412"/>
                      </a:cubicBezTo>
                      <a:cubicBezTo>
                        <a:pt x="689" y="405"/>
                        <a:pt x="701" y="401"/>
                        <a:pt x="707" y="392"/>
                      </a:cubicBezTo>
                      <a:cubicBezTo>
                        <a:pt x="712" y="385"/>
                        <a:pt x="715" y="375"/>
                        <a:pt x="718" y="376"/>
                      </a:cubicBezTo>
                      <a:cubicBezTo>
                        <a:pt x="720" y="376"/>
                        <a:pt x="716" y="398"/>
                        <a:pt x="709" y="404"/>
                      </a:cubicBezTo>
                      <a:close/>
                      <a:moveTo>
                        <a:pt x="739" y="125"/>
                      </a:moveTo>
                      <a:cubicBezTo>
                        <a:pt x="738" y="127"/>
                        <a:pt x="733" y="127"/>
                        <a:pt x="734" y="129"/>
                      </a:cubicBezTo>
                      <a:cubicBezTo>
                        <a:pt x="737" y="132"/>
                        <a:pt x="749" y="130"/>
                        <a:pt x="749" y="126"/>
                      </a:cubicBezTo>
                      <a:cubicBezTo>
                        <a:pt x="749" y="122"/>
                        <a:pt x="740" y="123"/>
                        <a:pt x="739" y="125"/>
                      </a:cubicBezTo>
                      <a:close/>
                      <a:moveTo>
                        <a:pt x="306" y="7"/>
                      </a:moveTo>
                      <a:cubicBezTo>
                        <a:pt x="312" y="7"/>
                        <a:pt x="310" y="4"/>
                        <a:pt x="314" y="4"/>
                      </a:cubicBezTo>
                      <a:cubicBezTo>
                        <a:pt x="318" y="5"/>
                        <a:pt x="323" y="4"/>
                        <a:pt x="321" y="2"/>
                      </a:cubicBezTo>
                      <a:cubicBezTo>
                        <a:pt x="319" y="0"/>
                        <a:pt x="305" y="1"/>
                        <a:pt x="306" y="3"/>
                      </a:cubicBezTo>
                      <a:cubicBezTo>
                        <a:pt x="308" y="4"/>
                        <a:pt x="295" y="4"/>
                        <a:pt x="296" y="4"/>
                      </a:cubicBezTo>
                      <a:cubicBezTo>
                        <a:pt x="296" y="6"/>
                        <a:pt x="300" y="7"/>
                        <a:pt x="306" y="7"/>
                      </a:cubicBezTo>
                      <a:close/>
                      <a:moveTo>
                        <a:pt x="277" y="23"/>
                      </a:moveTo>
                      <a:cubicBezTo>
                        <a:pt x="277" y="19"/>
                        <a:pt x="264" y="24"/>
                        <a:pt x="267" y="24"/>
                      </a:cubicBezTo>
                      <a:cubicBezTo>
                        <a:pt x="269" y="25"/>
                        <a:pt x="277" y="27"/>
                        <a:pt x="277" y="23"/>
                      </a:cubicBezTo>
                      <a:close/>
                      <a:moveTo>
                        <a:pt x="307" y="20"/>
                      </a:moveTo>
                      <a:cubicBezTo>
                        <a:pt x="308" y="22"/>
                        <a:pt x="306" y="22"/>
                        <a:pt x="301" y="22"/>
                      </a:cubicBezTo>
                      <a:cubicBezTo>
                        <a:pt x="296" y="22"/>
                        <a:pt x="294" y="25"/>
                        <a:pt x="296" y="27"/>
                      </a:cubicBezTo>
                      <a:cubicBezTo>
                        <a:pt x="299" y="29"/>
                        <a:pt x="312" y="28"/>
                        <a:pt x="314" y="26"/>
                      </a:cubicBezTo>
                      <a:cubicBezTo>
                        <a:pt x="316" y="23"/>
                        <a:pt x="322" y="25"/>
                        <a:pt x="323" y="22"/>
                      </a:cubicBezTo>
                      <a:cubicBezTo>
                        <a:pt x="324" y="19"/>
                        <a:pt x="306" y="18"/>
                        <a:pt x="307" y="20"/>
                      </a:cubicBezTo>
                      <a:close/>
                      <a:moveTo>
                        <a:pt x="348" y="16"/>
                      </a:moveTo>
                      <a:cubicBezTo>
                        <a:pt x="350" y="13"/>
                        <a:pt x="345" y="13"/>
                        <a:pt x="344" y="11"/>
                      </a:cubicBezTo>
                      <a:cubicBezTo>
                        <a:pt x="344" y="9"/>
                        <a:pt x="330" y="9"/>
                        <a:pt x="331" y="11"/>
                      </a:cubicBezTo>
                      <a:cubicBezTo>
                        <a:pt x="332" y="13"/>
                        <a:pt x="322" y="16"/>
                        <a:pt x="325" y="18"/>
                      </a:cubicBezTo>
                      <a:cubicBezTo>
                        <a:pt x="331" y="23"/>
                        <a:pt x="346" y="18"/>
                        <a:pt x="348" y="16"/>
                      </a:cubicBezTo>
                      <a:close/>
                      <a:moveTo>
                        <a:pt x="310" y="12"/>
                      </a:moveTo>
                      <a:cubicBezTo>
                        <a:pt x="311" y="7"/>
                        <a:pt x="302" y="11"/>
                        <a:pt x="296" y="8"/>
                      </a:cubicBezTo>
                      <a:cubicBezTo>
                        <a:pt x="290" y="6"/>
                        <a:pt x="286" y="6"/>
                        <a:pt x="291" y="9"/>
                      </a:cubicBezTo>
                      <a:cubicBezTo>
                        <a:pt x="292" y="11"/>
                        <a:pt x="280" y="12"/>
                        <a:pt x="282" y="14"/>
                      </a:cubicBezTo>
                      <a:cubicBezTo>
                        <a:pt x="286" y="19"/>
                        <a:pt x="309" y="17"/>
                        <a:pt x="310" y="12"/>
                      </a:cubicBezTo>
                      <a:close/>
                      <a:moveTo>
                        <a:pt x="275" y="144"/>
                      </a:moveTo>
                      <a:cubicBezTo>
                        <a:pt x="275" y="146"/>
                        <a:pt x="273" y="148"/>
                        <a:pt x="269" y="148"/>
                      </a:cubicBezTo>
                      <a:cubicBezTo>
                        <a:pt x="264" y="148"/>
                        <a:pt x="271" y="151"/>
                        <a:pt x="272" y="153"/>
                      </a:cubicBezTo>
                      <a:cubicBezTo>
                        <a:pt x="272" y="156"/>
                        <a:pt x="267" y="154"/>
                        <a:pt x="267" y="158"/>
                      </a:cubicBezTo>
                      <a:cubicBezTo>
                        <a:pt x="267" y="162"/>
                        <a:pt x="258" y="158"/>
                        <a:pt x="257" y="163"/>
                      </a:cubicBezTo>
                      <a:cubicBezTo>
                        <a:pt x="256" y="169"/>
                        <a:pt x="261" y="168"/>
                        <a:pt x="265" y="168"/>
                      </a:cubicBezTo>
                      <a:cubicBezTo>
                        <a:pt x="269" y="168"/>
                        <a:pt x="263" y="172"/>
                        <a:pt x="266" y="174"/>
                      </a:cubicBezTo>
                      <a:cubicBezTo>
                        <a:pt x="269" y="176"/>
                        <a:pt x="271" y="175"/>
                        <a:pt x="269" y="171"/>
                      </a:cubicBezTo>
                      <a:cubicBezTo>
                        <a:pt x="267" y="167"/>
                        <a:pt x="279" y="173"/>
                        <a:pt x="276" y="176"/>
                      </a:cubicBezTo>
                      <a:cubicBezTo>
                        <a:pt x="272" y="179"/>
                        <a:pt x="281" y="181"/>
                        <a:pt x="286" y="182"/>
                      </a:cubicBezTo>
                      <a:cubicBezTo>
                        <a:pt x="291" y="182"/>
                        <a:pt x="307" y="185"/>
                        <a:pt x="307" y="182"/>
                      </a:cubicBezTo>
                      <a:cubicBezTo>
                        <a:pt x="307" y="179"/>
                        <a:pt x="301" y="177"/>
                        <a:pt x="296" y="172"/>
                      </a:cubicBezTo>
                      <a:cubicBezTo>
                        <a:pt x="291" y="167"/>
                        <a:pt x="287" y="158"/>
                        <a:pt x="293" y="155"/>
                      </a:cubicBezTo>
                      <a:cubicBezTo>
                        <a:pt x="299" y="151"/>
                        <a:pt x="294" y="149"/>
                        <a:pt x="300" y="145"/>
                      </a:cubicBezTo>
                      <a:cubicBezTo>
                        <a:pt x="305" y="141"/>
                        <a:pt x="302" y="137"/>
                        <a:pt x="307" y="137"/>
                      </a:cubicBezTo>
                      <a:cubicBezTo>
                        <a:pt x="311" y="136"/>
                        <a:pt x="306" y="132"/>
                        <a:pt x="311" y="131"/>
                      </a:cubicBezTo>
                      <a:cubicBezTo>
                        <a:pt x="316" y="131"/>
                        <a:pt x="317" y="125"/>
                        <a:pt x="316" y="124"/>
                      </a:cubicBezTo>
                      <a:cubicBezTo>
                        <a:pt x="315" y="122"/>
                        <a:pt x="321" y="124"/>
                        <a:pt x="324" y="121"/>
                      </a:cubicBezTo>
                      <a:cubicBezTo>
                        <a:pt x="326" y="118"/>
                        <a:pt x="332" y="120"/>
                        <a:pt x="334" y="116"/>
                      </a:cubicBezTo>
                      <a:cubicBezTo>
                        <a:pt x="336" y="112"/>
                        <a:pt x="364" y="103"/>
                        <a:pt x="379" y="99"/>
                      </a:cubicBezTo>
                      <a:cubicBezTo>
                        <a:pt x="394" y="96"/>
                        <a:pt x="405" y="89"/>
                        <a:pt x="400" y="85"/>
                      </a:cubicBezTo>
                      <a:cubicBezTo>
                        <a:pt x="394" y="81"/>
                        <a:pt x="379" y="86"/>
                        <a:pt x="375" y="90"/>
                      </a:cubicBezTo>
                      <a:cubicBezTo>
                        <a:pt x="371" y="93"/>
                        <a:pt x="366" y="91"/>
                        <a:pt x="362" y="93"/>
                      </a:cubicBezTo>
                      <a:cubicBezTo>
                        <a:pt x="358" y="95"/>
                        <a:pt x="350" y="97"/>
                        <a:pt x="346" y="94"/>
                      </a:cubicBezTo>
                      <a:cubicBezTo>
                        <a:pt x="342" y="91"/>
                        <a:pt x="337" y="97"/>
                        <a:pt x="334" y="97"/>
                      </a:cubicBezTo>
                      <a:cubicBezTo>
                        <a:pt x="331" y="97"/>
                        <a:pt x="327" y="100"/>
                        <a:pt x="324" y="100"/>
                      </a:cubicBezTo>
                      <a:cubicBezTo>
                        <a:pt x="321" y="100"/>
                        <a:pt x="314" y="102"/>
                        <a:pt x="314" y="104"/>
                      </a:cubicBezTo>
                      <a:cubicBezTo>
                        <a:pt x="313" y="106"/>
                        <a:pt x="307" y="106"/>
                        <a:pt x="307" y="108"/>
                      </a:cubicBezTo>
                      <a:cubicBezTo>
                        <a:pt x="307" y="111"/>
                        <a:pt x="303" y="113"/>
                        <a:pt x="301" y="111"/>
                      </a:cubicBezTo>
                      <a:cubicBezTo>
                        <a:pt x="298" y="108"/>
                        <a:pt x="295" y="113"/>
                        <a:pt x="299" y="116"/>
                      </a:cubicBezTo>
                      <a:cubicBezTo>
                        <a:pt x="302" y="119"/>
                        <a:pt x="292" y="119"/>
                        <a:pt x="294" y="121"/>
                      </a:cubicBezTo>
                      <a:cubicBezTo>
                        <a:pt x="296" y="123"/>
                        <a:pt x="291" y="124"/>
                        <a:pt x="292" y="126"/>
                      </a:cubicBezTo>
                      <a:cubicBezTo>
                        <a:pt x="293" y="129"/>
                        <a:pt x="288" y="129"/>
                        <a:pt x="285" y="130"/>
                      </a:cubicBezTo>
                      <a:cubicBezTo>
                        <a:pt x="281" y="131"/>
                        <a:pt x="279" y="135"/>
                        <a:pt x="284" y="136"/>
                      </a:cubicBezTo>
                      <a:cubicBezTo>
                        <a:pt x="288" y="136"/>
                        <a:pt x="281" y="137"/>
                        <a:pt x="282" y="140"/>
                      </a:cubicBezTo>
                      <a:cubicBezTo>
                        <a:pt x="282" y="144"/>
                        <a:pt x="274" y="141"/>
                        <a:pt x="275" y="14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5" name="Freeform 148">
                  <a:extLst>
                    <a:ext uri="{FF2B5EF4-FFF2-40B4-BE49-F238E27FC236}">
                      <a16:creationId xmlns:a16="http://schemas.microsoft.com/office/drawing/2014/main" id="{A5294AA4-7440-4613-9659-8E1D7863A7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062730" y="-13929304"/>
                  <a:ext cx="8490724" cy="3252941"/>
                </a:xfrm>
                <a:custGeom>
                  <a:avLst/>
                  <a:gdLst>
                    <a:gd name="T0" fmla="*/ 361 w 1374"/>
                    <a:gd name="T1" fmla="*/ 10 h 527"/>
                    <a:gd name="T2" fmla="*/ 611 w 1374"/>
                    <a:gd name="T3" fmla="*/ 5 h 527"/>
                    <a:gd name="T4" fmla="*/ 481 w 1374"/>
                    <a:gd name="T5" fmla="*/ 150 h 527"/>
                    <a:gd name="T6" fmla="*/ 663 w 1374"/>
                    <a:gd name="T7" fmla="*/ 49 h 527"/>
                    <a:gd name="T8" fmla="*/ 1003 w 1374"/>
                    <a:gd name="T9" fmla="*/ 110 h 527"/>
                    <a:gd name="T10" fmla="*/ 1054 w 1374"/>
                    <a:gd name="T11" fmla="*/ 117 h 527"/>
                    <a:gd name="T12" fmla="*/ 982 w 1374"/>
                    <a:gd name="T13" fmla="*/ 426 h 527"/>
                    <a:gd name="T14" fmla="*/ 244 w 1374"/>
                    <a:gd name="T15" fmla="*/ 22 h 527"/>
                    <a:gd name="T16" fmla="*/ 1332 w 1374"/>
                    <a:gd name="T17" fmla="*/ 242 h 527"/>
                    <a:gd name="T18" fmla="*/ 1194 w 1374"/>
                    <a:gd name="T19" fmla="*/ 202 h 527"/>
                    <a:gd name="T20" fmla="*/ 1063 w 1374"/>
                    <a:gd name="T21" fmla="*/ 177 h 527"/>
                    <a:gd name="T22" fmla="*/ 974 w 1374"/>
                    <a:gd name="T23" fmla="*/ 150 h 527"/>
                    <a:gd name="T24" fmla="*/ 903 w 1374"/>
                    <a:gd name="T25" fmla="*/ 167 h 527"/>
                    <a:gd name="T26" fmla="*/ 845 w 1374"/>
                    <a:gd name="T27" fmla="*/ 138 h 527"/>
                    <a:gd name="T28" fmla="*/ 748 w 1374"/>
                    <a:gd name="T29" fmla="*/ 136 h 527"/>
                    <a:gd name="T30" fmla="*/ 738 w 1374"/>
                    <a:gd name="T31" fmla="*/ 118 h 527"/>
                    <a:gd name="T32" fmla="*/ 699 w 1374"/>
                    <a:gd name="T33" fmla="*/ 83 h 527"/>
                    <a:gd name="T34" fmla="*/ 631 w 1374"/>
                    <a:gd name="T35" fmla="*/ 96 h 527"/>
                    <a:gd name="T36" fmla="*/ 547 w 1374"/>
                    <a:gd name="T37" fmla="*/ 114 h 527"/>
                    <a:gd name="T38" fmla="*/ 519 w 1374"/>
                    <a:gd name="T39" fmla="*/ 137 h 527"/>
                    <a:gd name="T40" fmla="*/ 479 w 1374"/>
                    <a:gd name="T41" fmla="*/ 177 h 527"/>
                    <a:gd name="T42" fmla="*/ 456 w 1374"/>
                    <a:gd name="T43" fmla="*/ 204 h 527"/>
                    <a:gd name="T44" fmla="*/ 422 w 1374"/>
                    <a:gd name="T45" fmla="*/ 243 h 527"/>
                    <a:gd name="T46" fmla="*/ 438 w 1374"/>
                    <a:gd name="T47" fmla="*/ 213 h 527"/>
                    <a:gd name="T48" fmla="*/ 387 w 1374"/>
                    <a:gd name="T49" fmla="*/ 187 h 527"/>
                    <a:gd name="T50" fmla="*/ 326 w 1374"/>
                    <a:gd name="T51" fmla="*/ 196 h 527"/>
                    <a:gd name="T52" fmla="*/ 269 w 1374"/>
                    <a:gd name="T53" fmla="*/ 210 h 527"/>
                    <a:gd name="T54" fmla="*/ 196 w 1374"/>
                    <a:gd name="T55" fmla="*/ 214 h 527"/>
                    <a:gd name="T56" fmla="*/ 150 w 1374"/>
                    <a:gd name="T57" fmla="*/ 262 h 527"/>
                    <a:gd name="T58" fmla="*/ 103 w 1374"/>
                    <a:gd name="T59" fmla="*/ 233 h 527"/>
                    <a:gd name="T60" fmla="*/ 107 w 1374"/>
                    <a:gd name="T61" fmla="*/ 200 h 527"/>
                    <a:gd name="T62" fmla="*/ 79 w 1374"/>
                    <a:gd name="T63" fmla="*/ 230 h 527"/>
                    <a:gd name="T64" fmla="*/ 70 w 1374"/>
                    <a:gd name="T65" fmla="*/ 315 h 527"/>
                    <a:gd name="T66" fmla="*/ 74 w 1374"/>
                    <a:gd name="T67" fmla="*/ 370 h 527"/>
                    <a:gd name="T68" fmla="*/ 115 w 1374"/>
                    <a:gd name="T69" fmla="*/ 412 h 527"/>
                    <a:gd name="T70" fmla="*/ 161 w 1374"/>
                    <a:gd name="T71" fmla="*/ 450 h 527"/>
                    <a:gd name="T72" fmla="*/ 165 w 1374"/>
                    <a:gd name="T73" fmla="*/ 503 h 527"/>
                    <a:gd name="T74" fmla="*/ 238 w 1374"/>
                    <a:gd name="T75" fmla="*/ 476 h 527"/>
                    <a:gd name="T76" fmla="*/ 237 w 1374"/>
                    <a:gd name="T77" fmla="*/ 430 h 527"/>
                    <a:gd name="T78" fmla="*/ 325 w 1374"/>
                    <a:gd name="T79" fmla="*/ 432 h 527"/>
                    <a:gd name="T80" fmla="*/ 374 w 1374"/>
                    <a:gd name="T81" fmla="*/ 388 h 527"/>
                    <a:gd name="T82" fmla="*/ 451 w 1374"/>
                    <a:gd name="T83" fmla="*/ 395 h 527"/>
                    <a:gd name="T84" fmla="*/ 541 w 1374"/>
                    <a:gd name="T85" fmla="*/ 442 h 527"/>
                    <a:gd name="T86" fmla="*/ 625 w 1374"/>
                    <a:gd name="T87" fmla="*/ 432 h 527"/>
                    <a:gd name="T88" fmla="*/ 697 w 1374"/>
                    <a:gd name="T89" fmla="*/ 437 h 527"/>
                    <a:gd name="T90" fmla="*/ 804 w 1374"/>
                    <a:gd name="T91" fmla="*/ 419 h 527"/>
                    <a:gd name="T92" fmla="*/ 888 w 1374"/>
                    <a:gd name="T93" fmla="*/ 453 h 527"/>
                    <a:gd name="T94" fmla="*/ 899 w 1374"/>
                    <a:gd name="T95" fmla="*/ 508 h 527"/>
                    <a:gd name="T96" fmla="*/ 961 w 1374"/>
                    <a:gd name="T97" fmla="*/ 393 h 527"/>
                    <a:gd name="T98" fmla="*/ 970 w 1374"/>
                    <a:gd name="T99" fmla="*/ 348 h 527"/>
                    <a:gd name="T100" fmla="*/ 1078 w 1374"/>
                    <a:gd name="T101" fmla="*/ 337 h 527"/>
                    <a:gd name="T102" fmla="*/ 1152 w 1374"/>
                    <a:gd name="T103" fmla="*/ 299 h 527"/>
                    <a:gd name="T104" fmla="*/ 1098 w 1374"/>
                    <a:gd name="T105" fmla="*/ 424 h 527"/>
                    <a:gd name="T106" fmla="*/ 1151 w 1374"/>
                    <a:gd name="T107" fmla="*/ 352 h 527"/>
                    <a:gd name="T108" fmla="*/ 1235 w 1374"/>
                    <a:gd name="T109" fmla="*/ 309 h 527"/>
                    <a:gd name="T110" fmla="*/ 1292 w 1374"/>
                    <a:gd name="T111" fmla="*/ 262 h 527"/>
                    <a:gd name="T112" fmla="*/ 1347 w 1374"/>
                    <a:gd name="T113" fmla="*/ 267 h 527"/>
                    <a:gd name="T114" fmla="*/ 707 w 1374"/>
                    <a:gd name="T115" fmla="*/ 392 h 527"/>
                    <a:gd name="T116" fmla="*/ 277 w 1374"/>
                    <a:gd name="T117" fmla="*/ 23 h 527"/>
                    <a:gd name="T118" fmla="*/ 282 w 1374"/>
                    <a:gd name="T119" fmla="*/ 14 h 527"/>
                    <a:gd name="T120" fmla="*/ 300 w 1374"/>
                    <a:gd name="T121" fmla="*/ 145 h 527"/>
                    <a:gd name="T122" fmla="*/ 301 w 1374"/>
                    <a:gd name="T123" fmla="*/ 111 h 5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374" h="527">
                      <a:moveTo>
                        <a:pt x="21" y="381"/>
                      </a:moveTo>
                      <a:cubicBezTo>
                        <a:pt x="20" y="381"/>
                        <a:pt x="17" y="380"/>
                        <a:pt x="16" y="379"/>
                      </a:cubicBezTo>
                      <a:cubicBezTo>
                        <a:pt x="16" y="378"/>
                        <a:pt x="13" y="378"/>
                        <a:pt x="11" y="378"/>
                      </a:cubicBezTo>
                      <a:cubicBezTo>
                        <a:pt x="12" y="379"/>
                        <a:pt x="12" y="379"/>
                        <a:pt x="13" y="380"/>
                      </a:cubicBezTo>
                      <a:cubicBezTo>
                        <a:pt x="14" y="382"/>
                        <a:pt x="8" y="382"/>
                        <a:pt x="10" y="384"/>
                      </a:cubicBezTo>
                      <a:cubicBezTo>
                        <a:pt x="12" y="386"/>
                        <a:pt x="6" y="386"/>
                        <a:pt x="6" y="384"/>
                      </a:cubicBezTo>
                      <a:cubicBezTo>
                        <a:pt x="6" y="382"/>
                        <a:pt x="1" y="383"/>
                        <a:pt x="1" y="384"/>
                      </a:cubicBezTo>
                      <a:cubicBezTo>
                        <a:pt x="1" y="385"/>
                        <a:pt x="1" y="386"/>
                        <a:pt x="0" y="386"/>
                      </a:cubicBezTo>
                      <a:cubicBezTo>
                        <a:pt x="2" y="387"/>
                        <a:pt x="4" y="388"/>
                        <a:pt x="4" y="388"/>
                      </a:cubicBezTo>
                      <a:cubicBezTo>
                        <a:pt x="5" y="388"/>
                        <a:pt x="20" y="390"/>
                        <a:pt x="25" y="389"/>
                      </a:cubicBezTo>
                      <a:cubicBezTo>
                        <a:pt x="25" y="388"/>
                        <a:pt x="26" y="385"/>
                        <a:pt x="26" y="383"/>
                      </a:cubicBezTo>
                      <a:cubicBezTo>
                        <a:pt x="26" y="382"/>
                        <a:pt x="22" y="380"/>
                        <a:pt x="21" y="381"/>
                      </a:cubicBezTo>
                      <a:close/>
                      <a:moveTo>
                        <a:pt x="365" y="14"/>
                      </a:moveTo>
                      <a:cubicBezTo>
                        <a:pt x="374" y="13"/>
                        <a:pt x="374" y="8"/>
                        <a:pt x="369" y="8"/>
                      </a:cubicBezTo>
                      <a:cubicBezTo>
                        <a:pt x="364" y="7"/>
                        <a:pt x="364" y="10"/>
                        <a:pt x="361" y="10"/>
                      </a:cubicBezTo>
                      <a:cubicBezTo>
                        <a:pt x="359" y="10"/>
                        <a:pt x="350" y="12"/>
                        <a:pt x="352" y="14"/>
                      </a:cubicBezTo>
                      <a:cubicBezTo>
                        <a:pt x="354" y="16"/>
                        <a:pt x="361" y="15"/>
                        <a:pt x="365" y="14"/>
                      </a:cubicBezTo>
                      <a:close/>
                      <a:moveTo>
                        <a:pt x="411" y="147"/>
                      </a:moveTo>
                      <a:cubicBezTo>
                        <a:pt x="414" y="147"/>
                        <a:pt x="423" y="145"/>
                        <a:pt x="423" y="144"/>
                      </a:cubicBezTo>
                      <a:cubicBezTo>
                        <a:pt x="424" y="142"/>
                        <a:pt x="420" y="140"/>
                        <a:pt x="415" y="140"/>
                      </a:cubicBezTo>
                      <a:cubicBezTo>
                        <a:pt x="409" y="140"/>
                        <a:pt x="408" y="146"/>
                        <a:pt x="411" y="147"/>
                      </a:cubicBezTo>
                      <a:close/>
                      <a:moveTo>
                        <a:pt x="587" y="25"/>
                      </a:moveTo>
                      <a:cubicBezTo>
                        <a:pt x="591" y="27"/>
                        <a:pt x="590" y="28"/>
                        <a:pt x="585" y="28"/>
                      </a:cubicBezTo>
                      <a:cubicBezTo>
                        <a:pt x="580" y="28"/>
                        <a:pt x="576" y="30"/>
                        <a:pt x="579" y="31"/>
                      </a:cubicBezTo>
                      <a:cubicBezTo>
                        <a:pt x="582" y="32"/>
                        <a:pt x="581" y="35"/>
                        <a:pt x="586" y="36"/>
                      </a:cubicBezTo>
                      <a:cubicBezTo>
                        <a:pt x="591" y="37"/>
                        <a:pt x="596" y="33"/>
                        <a:pt x="596" y="30"/>
                      </a:cubicBezTo>
                      <a:cubicBezTo>
                        <a:pt x="595" y="27"/>
                        <a:pt x="613" y="25"/>
                        <a:pt x="618" y="23"/>
                      </a:cubicBezTo>
                      <a:cubicBezTo>
                        <a:pt x="623" y="22"/>
                        <a:pt x="615" y="17"/>
                        <a:pt x="620" y="17"/>
                      </a:cubicBezTo>
                      <a:cubicBezTo>
                        <a:pt x="625" y="16"/>
                        <a:pt x="623" y="14"/>
                        <a:pt x="617" y="13"/>
                      </a:cubicBezTo>
                      <a:cubicBezTo>
                        <a:pt x="610" y="12"/>
                        <a:pt x="613" y="7"/>
                        <a:pt x="611" y="5"/>
                      </a:cubicBezTo>
                      <a:cubicBezTo>
                        <a:pt x="609" y="3"/>
                        <a:pt x="608" y="7"/>
                        <a:pt x="599" y="9"/>
                      </a:cubicBezTo>
                      <a:cubicBezTo>
                        <a:pt x="591" y="10"/>
                        <a:pt x="587" y="13"/>
                        <a:pt x="590" y="14"/>
                      </a:cubicBezTo>
                      <a:cubicBezTo>
                        <a:pt x="593" y="16"/>
                        <a:pt x="590" y="20"/>
                        <a:pt x="587" y="20"/>
                      </a:cubicBezTo>
                      <a:cubicBezTo>
                        <a:pt x="583" y="19"/>
                        <a:pt x="582" y="23"/>
                        <a:pt x="587" y="25"/>
                      </a:cubicBezTo>
                      <a:close/>
                      <a:moveTo>
                        <a:pt x="599" y="32"/>
                      </a:moveTo>
                      <a:cubicBezTo>
                        <a:pt x="599" y="34"/>
                        <a:pt x="592" y="37"/>
                        <a:pt x="594" y="39"/>
                      </a:cubicBezTo>
                      <a:cubicBezTo>
                        <a:pt x="596" y="41"/>
                        <a:pt x="598" y="40"/>
                        <a:pt x="600" y="41"/>
                      </a:cubicBezTo>
                      <a:cubicBezTo>
                        <a:pt x="602" y="41"/>
                        <a:pt x="603" y="47"/>
                        <a:pt x="608" y="46"/>
                      </a:cubicBezTo>
                      <a:cubicBezTo>
                        <a:pt x="612" y="45"/>
                        <a:pt x="624" y="51"/>
                        <a:pt x="631" y="51"/>
                      </a:cubicBezTo>
                      <a:cubicBezTo>
                        <a:pt x="637" y="51"/>
                        <a:pt x="638" y="45"/>
                        <a:pt x="636" y="45"/>
                      </a:cubicBezTo>
                      <a:cubicBezTo>
                        <a:pt x="634" y="45"/>
                        <a:pt x="636" y="41"/>
                        <a:pt x="640" y="36"/>
                      </a:cubicBezTo>
                      <a:cubicBezTo>
                        <a:pt x="643" y="30"/>
                        <a:pt x="628" y="26"/>
                        <a:pt x="628" y="31"/>
                      </a:cubicBezTo>
                      <a:cubicBezTo>
                        <a:pt x="628" y="35"/>
                        <a:pt x="623" y="30"/>
                        <a:pt x="622" y="27"/>
                      </a:cubicBezTo>
                      <a:cubicBezTo>
                        <a:pt x="620" y="24"/>
                        <a:pt x="599" y="29"/>
                        <a:pt x="599" y="32"/>
                      </a:cubicBezTo>
                      <a:close/>
                      <a:moveTo>
                        <a:pt x="481" y="150"/>
                      </a:moveTo>
                      <a:cubicBezTo>
                        <a:pt x="484" y="152"/>
                        <a:pt x="487" y="151"/>
                        <a:pt x="487" y="148"/>
                      </a:cubicBezTo>
                      <a:cubicBezTo>
                        <a:pt x="486" y="144"/>
                        <a:pt x="478" y="149"/>
                        <a:pt x="481" y="150"/>
                      </a:cubicBezTo>
                      <a:close/>
                      <a:moveTo>
                        <a:pt x="581" y="8"/>
                      </a:moveTo>
                      <a:cubicBezTo>
                        <a:pt x="582" y="5"/>
                        <a:pt x="566" y="6"/>
                        <a:pt x="570" y="10"/>
                      </a:cubicBezTo>
                      <a:cubicBezTo>
                        <a:pt x="571" y="11"/>
                        <a:pt x="580" y="12"/>
                        <a:pt x="581" y="8"/>
                      </a:cubicBezTo>
                      <a:close/>
                      <a:moveTo>
                        <a:pt x="1280" y="181"/>
                      </a:moveTo>
                      <a:cubicBezTo>
                        <a:pt x="1285" y="183"/>
                        <a:pt x="1288" y="178"/>
                        <a:pt x="1292" y="180"/>
                      </a:cubicBezTo>
                      <a:cubicBezTo>
                        <a:pt x="1296" y="183"/>
                        <a:pt x="1305" y="179"/>
                        <a:pt x="1309" y="179"/>
                      </a:cubicBezTo>
                      <a:cubicBezTo>
                        <a:pt x="1313" y="178"/>
                        <a:pt x="1311" y="173"/>
                        <a:pt x="1300" y="172"/>
                      </a:cubicBezTo>
                      <a:cubicBezTo>
                        <a:pt x="1289" y="170"/>
                        <a:pt x="1275" y="178"/>
                        <a:pt x="1280" y="181"/>
                      </a:cubicBezTo>
                      <a:close/>
                      <a:moveTo>
                        <a:pt x="636" y="65"/>
                      </a:moveTo>
                      <a:cubicBezTo>
                        <a:pt x="640" y="67"/>
                        <a:pt x="650" y="63"/>
                        <a:pt x="657" y="63"/>
                      </a:cubicBezTo>
                      <a:cubicBezTo>
                        <a:pt x="665" y="63"/>
                        <a:pt x="685" y="58"/>
                        <a:pt x="685" y="54"/>
                      </a:cubicBezTo>
                      <a:cubicBezTo>
                        <a:pt x="686" y="50"/>
                        <a:pt x="678" y="50"/>
                        <a:pt x="675" y="47"/>
                      </a:cubicBezTo>
                      <a:cubicBezTo>
                        <a:pt x="672" y="44"/>
                        <a:pt x="665" y="47"/>
                        <a:pt x="663" y="49"/>
                      </a:cubicBezTo>
                      <a:cubicBezTo>
                        <a:pt x="661" y="52"/>
                        <a:pt x="660" y="50"/>
                        <a:pt x="664" y="45"/>
                      </a:cubicBezTo>
                      <a:cubicBezTo>
                        <a:pt x="669" y="41"/>
                        <a:pt x="660" y="37"/>
                        <a:pt x="659" y="40"/>
                      </a:cubicBezTo>
                      <a:cubicBezTo>
                        <a:pt x="659" y="43"/>
                        <a:pt x="651" y="40"/>
                        <a:pt x="651" y="43"/>
                      </a:cubicBezTo>
                      <a:cubicBezTo>
                        <a:pt x="651" y="46"/>
                        <a:pt x="648" y="47"/>
                        <a:pt x="648" y="49"/>
                      </a:cubicBezTo>
                      <a:cubicBezTo>
                        <a:pt x="648" y="52"/>
                        <a:pt x="642" y="48"/>
                        <a:pt x="642" y="54"/>
                      </a:cubicBezTo>
                      <a:cubicBezTo>
                        <a:pt x="642" y="60"/>
                        <a:pt x="633" y="63"/>
                        <a:pt x="636" y="65"/>
                      </a:cubicBezTo>
                      <a:close/>
                      <a:moveTo>
                        <a:pt x="943" y="114"/>
                      </a:moveTo>
                      <a:cubicBezTo>
                        <a:pt x="946" y="116"/>
                        <a:pt x="948" y="118"/>
                        <a:pt x="949" y="120"/>
                      </a:cubicBezTo>
                      <a:cubicBezTo>
                        <a:pt x="951" y="121"/>
                        <a:pt x="958" y="119"/>
                        <a:pt x="961" y="118"/>
                      </a:cubicBezTo>
                      <a:cubicBezTo>
                        <a:pt x="964" y="117"/>
                        <a:pt x="964" y="122"/>
                        <a:pt x="969" y="119"/>
                      </a:cubicBezTo>
                      <a:cubicBezTo>
                        <a:pt x="973" y="116"/>
                        <a:pt x="978" y="118"/>
                        <a:pt x="983" y="118"/>
                      </a:cubicBezTo>
                      <a:cubicBezTo>
                        <a:pt x="988" y="118"/>
                        <a:pt x="982" y="111"/>
                        <a:pt x="983" y="108"/>
                      </a:cubicBezTo>
                      <a:cubicBezTo>
                        <a:pt x="983" y="106"/>
                        <a:pt x="989" y="107"/>
                        <a:pt x="987" y="110"/>
                      </a:cubicBezTo>
                      <a:cubicBezTo>
                        <a:pt x="985" y="112"/>
                        <a:pt x="990" y="118"/>
                        <a:pt x="997" y="117"/>
                      </a:cubicBezTo>
                      <a:cubicBezTo>
                        <a:pt x="1005" y="117"/>
                        <a:pt x="999" y="112"/>
                        <a:pt x="1003" y="110"/>
                      </a:cubicBezTo>
                      <a:cubicBezTo>
                        <a:pt x="1007" y="109"/>
                        <a:pt x="1006" y="107"/>
                        <a:pt x="1001" y="103"/>
                      </a:cubicBezTo>
                      <a:cubicBezTo>
                        <a:pt x="995" y="100"/>
                        <a:pt x="988" y="102"/>
                        <a:pt x="983" y="100"/>
                      </a:cubicBezTo>
                      <a:cubicBezTo>
                        <a:pt x="978" y="98"/>
                        <a:pt x="972" y="98"/>
                        <a:pt x="972" y="103"/>
                      </a:cubicBezTo>
                      <a:cubicBezTo>
                        <a:pt x="972" y="108"/>
                        <a:pt x="962" y="97"/>
                        <a:pt x="957" y="96"/>
                      </a:cubicBezTo>
                      <a:cubicBezTo>
                        <a:pt x="951" y="94"/>
                        <a:pt x="935" y="110"/>
                        <a:pt x="943" y="114"/>
                      </a:cubicBezTo>
                      <a:close/>
                      <a:moveTo>
                        <a:pt x="993" y="145"/>
                      </a:moveTo>
                      <a:cubicBezTo>
                        <a:pt x="997" y="144"/>
                        <a:pt x="990" y="136"/>
                        <a:pt x="982" y="135"/>
                      </a:cubicBezTo>
                      <a:cubicBezTo>
                        <a:pt x="975" y="134"/>
                        <a:pt x="968" y="140"/>
                        <a:pt x="969" y="141"/>
                      </a:cubicBezTo>
                      <a:cubicBezTo>
                        <a:pt x="971" y="144"/>
                        <a:pt x="988" y="146"/>
                        <a:pt x="993" y="145"/>
                      </a:cubicBezTo>
                      <a:close/>
                      <a:moveTo>
                        <a:pt x="974" y="129"/>
                      </a:moveTo>
                      <a:cubicBezTo>
                        <a:pt x="974" y="125"/>
                        <a:pt x="961" y="130"/>
                        <a:pt x="966" y="132"/>
                      </a:cubicBezTo>
                      <a:cubicBezTo>
                        <a:pt x="969" y="133"/>
                        <a:pt x="974" y="133"/>
                        <a:pt x="974" y="129"/>
                      </a:cubicBezTo>
                      <a:close/>
                      <a:moveTo>
                        <a:pt x="1015" y="114"/>
                      </a:moveTo>
                      <a:cubicBezTo>
                        <a:pt x="1021" y="115"/>
                        <a:pt x="1024" y="120"/>
                        <a:pt x="1035" y="121"/>
                      </a:cubicBezTo>
                      <a:cubicBezTo>
                        <a:pt x="1046" y="121"/>
                        <a:pt x="1054" y="119"/>
                        <a:pt x="1054" y="117"/>
                      </a:cubicBezTo>
                      <a:cubicBezTo>
                        <a:pt x="1054" y="115"/>
                        <a:pt x="1044" y="111"/>
                        <a:pt x="1041" y="113"/>
                      </a:cubicBezTo>
                      <a:cubicBezTo>
                        <a:pt x="1038" y="115"/>
                        <a:pt x="1035" y="110"/>
                        <a:pt x="1032" y="111"/>
                      </a:cubicBezTo>
                      <a:cubicBezTo>
                        <a:pt x="1028" y="112"/>
                        <a:pt x="1022" y="112"/>
                        <a:pt x="1021" y="109"/>
                      </a:cubicBezTo>
                      <a:cubicBezTo>
                        <a:pt x="1019" y="105"/>
                        <a:pt x="1012" y="114"/>
                        <a:pt x="1015" y="114"/>
                      </a:cubicBezTo>
                      <a:close/>
                      <a:moveTo>
                        <a:pt x="221" y="18"/>
                      </a:moveTo>
                      <a:cubicBezTo>
                        <a:pt x="226" y="13"/>
                        <a:pt x="233" y="17"/>
                        <a:pt x="234" y="15"/>
                      </a:cubicBezTo>
                      <a:cubicBezTo>
                        <a:pt x="235" y="13"/>
                        <a:pt x="224" y="12"/>
                        <a:pt x="220" y="14"/>
                      </a:cubicBezTo>
                      <a:cubicBezTo>
                        <a:pt x="216" y="16"/>
                        <a:pt x="206" y="14"/>
                        <a:pt x="208" y="17"/>
                      </a:cubicBezTo>
                      <a:cubicBezTo>
                        <a:pt x="208" y="19"/>
                        <a:pt x="215" y="23"/>
                        <a:pt x="221" y="18"/>
                      </a:cubicBezTo>
                      <a:close/>
                      <a:moveTo>
                        <a:pt x="991" y="419"/>
                      </a:moveTo>
                      <a:cubicBezTo>
                        <a:pt x="988" y="413"/>
                        <a:pt x="995" y="406"/>
                        <a:pt x="990" y="402"/>
                      </a:cubicBezTo>
                      <a:cubicBezTo>
                        <a:pt x="985" y="399"/>
                        <a:pt x="987" y="391"/>
                        <a:pt x="985" y="393"/>
                      </a:cubicBezTo>
                      <a:cubicBezTo>
                        <a:pt x="982" y="394"/>
                        <a:pt x="985" y="401"/>
                        <a:pt x="981" y="401"/>
                      </a:cubicBezTo>
                      <a:cubicBezTo>
                        <a:pt x="977" y="402"/>
                        <a:pt x="981" y="405"/>
                        <a:pt x="979" y="410"/>
                      </a:cubicBezTo>
                      <a:cubicBezTo>
                        <a:pt x="978" y="415"/>
                        <a:pt x="980" y="422"/>
                        <a:pt x="982" y="426"/>
                      </a:cubicBezTo>
                      <a:cubicBezTo>
                        <a:pt x="984" y="430"/>
                        <a:pt x="979" y="453"/>
                        <a:pt x="981" y="457"/>
                      </a:cubicBezTo>
                      <a:cubicBezTo>
                        <a:pt x="983" y="461"/>
                        <a:pt x="978" y="477"/>
                        <a:pt x="980" y="479"/>
                      </a:cubicBezTo>
                      <a:cubicBezTo>
                        <a:pt x="983" y="483"/>
                        <a:pt x="981" y="475"/>
                        <a:pt x="985" y="474"/>
                      </a:cubicBezTo>
                      <a:cubicBezTo>
                        <a:pt x="989" y="473"/>
                        <a:pt x="989" y="479"/>
                        <a:pt x="992" y="480"/>
                      </a:cubicBezTo>
                      <a:cubicBezTo>
                        <a:pt x="994" y="481"/>
                        <a:pt x="993" y="472"/>
                        <a:pt x="990" y="473"/>
                      </a:cubicBezTo>
                      <a:cubicBezTo>
                        <a:pt x="988" y="473"/>
                        <a:pt x="986" y="467"/>
                        <a:pt x="985" y="463"/>
                      </a:cubicBezTo>
                      <a:cubicBezTo>
                        <a:pt x="984" y="460"/>
                        <a:pt x="987" y="455"/>
                        <a:pt x="987" y="450"/>
                      </a:cubicBezTo>
                      <a:cubicBezTo>
                        <a:pt x="987" y="446"/>
                        <a:pt x="993" y="446"/>
                        <a:pt x="997" y="449"/>
                      </a:cubicBezTo>
                      <a:cubicBezTo>
                        <a:pt x="1000" y="453"/>
                        <a:pt x="1001" y="451"/>
                        <a:pt x="999" y="448"/>
                      </a:cubicBezTo>
                      <a:cubicBezTo>
                        <a:pt x="998" y="445"/>
                        <a:pt x="993" y="426"/>
                        <a:pt x="991" y="419"/>
                      </a:cubicBezTo>
                      <a:close/>
                      <a:moveTo>
                        <a:pt x="243" y="15"/>
                      </a:moveTo>
                      <a:cubicBezTo>
                        <a:pt x="246" y="18"/>
                        <a:pt x="234" y="17"/>
                        <a:pt x="232" y="19"/>
                      </a:cubicBezTo>
                      <a:cubicBezTo>
                        <a:pt x="230" y="22"/>
                        <a:pt x="223" y="21"/>
                        <a:pt x="224" y="24"/>
                      </a:cubicBezTo>
                      <a:cubicBezTo>
                        <a:pt x="226" y="27"/>
                        <a:pt x="238" y="27"/>
                        <a:pt x="238" y="24"/>
                      </a:cubicBezTo>
                      <a:cubicBezTo>
                        <a:pt x="238" y="22"/>
                        <a:pt x="244" y="24"/>
                        <a:pt x="244" y="22"/>
                      </a:cubicBezTo>
                      <a:cubicBezTo>
                        <a:pt x="244" y="20"/>
                        <a:pt x="247" y="18"/>
                        <a:pt x="254" y="17"/>
                      </a:cubicBezTo>
                      <a:cubicBezTo>
                        <a:pt x="260" y="17"/>
                        <a:pt x="260" y="14"/>
                        <a:pt x="254" y="11"/>
                      </a:cubicBezTo>
                      <a:cubicBezTo>
                        <a:pt x="248" y="8"/>
                        <a:pt x="240" y="13"/>
                        <a:pt x="243" y="15"/>
                      </a:cubicBezTo>
                      <a:close/>
                      <a:moveTo>
                        <a:pt x="233" y="208"/>
                      </a:moveTo>
                      <a:cubicBezTo>
                        <a:pt x="239" y="213"/>
                        <a:pt x="245" y="205"/>
                        <a:pt x="248" y="204"/>
                      </a:cubicBezTo>
                      <a:cubicBezTo>
                        <a:pt x="251" y="204"/>
                        <a:pt x="246" y="201"/>
                        <a:pt x="241" y="199"/>
                      </a:cubicBezTo>
                      <a:cubicBezTo>
                        <a:pt x="235" y="198"/>
                        <a:pt x="228" y="203"/>
                        <a:pt x="233" y="208"/>
                      </a:cubicBezTo>
                      <a:close/>
                      <a:moveTo>
                        <a:pt x="1372" y="248"/>
                      </a:moveTo>
                      <a:cubicBezTo>
                        <a:pt x="1370" y="247"/>
                        <a:pt x="1362" y="242"/>
                        <a:pt x="1360" y="240"/>
                      </a:cubicBezTo>
                      <a:cubicBezTo>
                        <a:pt x="1358" y="237"/>
                        <a:pt x="1349" y="236"/>
                        <a:pt x="1349" y="237"/>
                      </a:cubicBezTo>
                      <a:cubicBezTo>
                        <a:pt x="1349" y="238"/>
                        <a:pt x="1346" y="237"/>
                        <a:pt x="1345" y="235"/>
                      </a:cubicBezTo>
                      <a:cubicBezTo>
                        <a:pt x="1345" y="234"/>
                        <a:pt x="1335" y="233"/>
                        <a:pt x="1335" y="235"/>
                      </a:cubicBezTo>
                      <a:cubicBezTo>
                        <a:pt x="1335" y="237"/>
                        <a:pt x="1337" y="237"/>
                        <a:pt x="1338" y="239"/>
                      </a:cubicBezTo>
                      <a:cubicBezTo>
                        <a:pt x="1340" y="241"/>
                        <a:pt x="1337" y="242"/>
                        <a:pt x="1337" y="244"/>
                      </a:cubicBezTo>
                      <a:cubicBezTo>
                        <a:pt x="1338" y="246"/>
                        <a:pt x="1334" y="243"/>
                        <a:pt x="1332" y="242"/>
                      </a:cubicBezTo>
                      <a:cubicBezTo>
                        <a:pt x="1331" y="240"/>
                        <a:pt x="1331" y="236"/>
                        <a:pt x="1332" y="233"/>
                      </a:cubicBezTo>
                      <a:cubicBezTo>
                        <a:pt x="1332" y="231"/>
                        <a:pt x="1329" y="231"/>
                        <a:pt x="1329" y="229"/>
                      </a:cubicBezTo>
                      <a:cubicBezTo>
                        <a:pt x="1328" y="227"/>
                        <a:pt x="1318" y="222"/>
                        <a:pt x="1313" y="220"/>
                      </a:cubicBezTo>
                      <a:cubicBezTo>
                        <a:pt x="1309" y="218"/>
                        <a:pt x="1303" y="216"/>
                        <a:pt x="1301" y="214"/>
                      </a:cubicBezTo>
                      <a:cubicBezTo>
                        <a:pt x="1300" y="212"/>
                        <a:pt x="1292" y="211"/>
                        <a:pt x="1289" y="208"/>
                      </a:cubicBezTo>
                      <a:cubicBezTo>
                        <a:pt x="1285" y="205"/>
                        <a:pt x="1272" y="199"/>
                        <a:pt x="1266" y="199"/>
                      </a:cubicBezTo>
                      <a:cubicBezTo>
                        <a:pt x="1260" y="198"/>
                        <a:pt x="1262" y="195"/>
                        <a:pt x="1259" y="196"/>
                      </a:cubicBezTo>
                      <a:cubicBezTo>
                        <a:pt x="1256" y="196"/>
                        <a:pt x="1244" y="196"/>
                        <a:pt x="1240" y="195"/>
                      </a:cubicBezTo>
                      <a:cubicBezTo>
                        <a:pt x="1236" y="194"/>
                        <a:pt x="1235" y="197"/>
                        <a:pt x="1232" y="196"/>
                      </a:cubicBezTo>
                      <a:cubicBezTo>
                        <a:pt x="1230" y="195"/>
                        <a:pt x="1216" y="190"/>
                        <a:pt x="1214" y="192"/>
                      </a:cubicBezTo>
                      <a:cubicBezTo>
                        <a:pt x="1212" y="194"/>
                        <a:pt x="1213" y="197"/>
                        <a:pt x="1211" y="197"/>
                      </a:cubicBezTo>
                      <a:cubicBezTo>
                        <a:pt x="1210" y="198"/>
                        <a:pt x="1211" y="200"/>
                        <a:pt x="1215" y="203"/>
                      </a:cubicBezTo>
                      <a:cubicBezTo>
                        <a:pt x="1219" y="207"/>
                        <a:pt x="1217" y="210"/>
                        <a:pt x="1213" y="211"/>
                      </a:cubicBezTo>
                      <a:cubicBezTo>
                        <a:pt x="1210" y="213"/>
                        <a:pt x="1204" y="210"/>
                        <a:pt x="1202" y="207"/>
                      </a:cubicBezTo>
                      <a:cubicBezTo>
                        <a:pt x="1200" y="204"/>
                        <a:pt x="1195" y="206"/>
                        <a:pt x="1194" y="202"/>
                      </a:cubicBezTo>
                      <a:cubicBezTo>
                        <a:pt x="1193" y="198"/>
                        <a:pt x="1196" y="198"/>
                        <a:pt x="1198" y="200"/>
                      </a:cubicBezTo>
                      <a:cubicBezTo>
                        <a:pt x="1200" y="202"/>
                        <a:pt x="1204" y="200"/>
                        <a:pt x="1204" y="198"/>
                      </a:cubicBezTo>
                      <a:cubicBezTo>
                        <a:pt x="1204" y="195"/>
                        <a:pt x="1198" y="193"/>
                        <a:pt x="1194" y="194"/>
                      </a:cubicBezTo>
                      <a:cubicBezTo>
                        <a:pt x="1190" y="194"/>
                        <a:pt x="1188" y="199"/>
                        <a:pt x="1184" y="201"/>
                      </a:cubicBezTo>
                      <a:cubicBezTo>
                        <a:pt x="1181" y="203"/>
                        <a:pt x="1166" y="200"/>
                        <a:pt x="1164" y="199"/>
                      </a:cubicBezTo>
                      <a:cubicBezTo>
                        <a:pt x="1163" y="197"/>
                        <a:pt x="1142" y="199"/>
                        <a:pt x="1140" y="200"/>
                      </a:cubicBezTo>
                      <a:cubicBezTo>
                        <a:pt x="1138" y="202"/>
                        <a:pt x="1139" y="207"/>
                        <a:pt x="1138" y="208"/>
                      </a:cubicBezTo>
                      <a:cubicBezTo>
                        <a:pt x="1137" y="208"/>
                        <a:pt x="1136" y="201"/>
                        <a:pt x="1136" y="200"/>
                      </a:cubicBezTo>
                      <a:cubicBezTo>
                        <a:pt x="1136" y="199"/>
                        <a:pt x="1134" y="198"/>
                        <a:pt x="1130" y="198"/>
                      </a:cubicBezTo>
                      <a:cubicBezTo>
                        <a:pt x="1126" y="198"/>
                        <a:pt x="1124" y="198"/>
                        <a:pt x="1126" y="196"/>
                      </a:cubicBezTo>
                      <a:cubicBezTo>
                        <a:pt x="1127" y="194"/>
                        <a:pt x="1124" y="193"/>
                        <a:pt x="1127" y="191"/>
                      </a:cubicBezTo>
                      <a:cubicBezTo>
                        <a:pt x="1130" y="189"/>
                        <a:pt x="1122" y="183"/>
                        <a:pt x="1114" y="179"/>
                      </a:cubicBezTo>
                      <a:cubicBezTo>
                        <a:pt x="1106" y="176"/>
                        <a:pt x="1088" y="178"/>
                        <a:pt x="1084" y="180"/>
                      </a:cubicBezTo>
                      <a:cubicBezTo>
                        <a:pt x="1079" y="181"/>
                        <a:pt x="1069" y="181"/>
                        <a:pt x="1065" y="181"/>
                      </a:cubicBezTo>
                      <a:cubicBezTo>
                        <a:pt x="1060" y="181"/>
                        <a:pt x="1064" y="179"/>
                        <a:pt x="1063" y="177"/>
                      </a:cubicBezTo>
                      <a:cubicBezTo>
                        <a:pt x="1061" y="175"/>
                        <a:pt x="1054" y="172"/>
                        <a:pt x="1053" y="174"/>
                      </a:cubicBezTo>
                      <a:cubicBezTo>
                        <a:pt x="1052" y="176"/>
                        <a:pt x="1050" y="174"/>
                        <a:pt x="1050" y="172"/>
                      </a:cubicBezTo>
                      <a:cubicBezTo>
                        <a:pt x="1050" y="171"/>
                        <a:pt x="1042" y="169"/>
                        <a:pt x="1039" y="169"/>
                      </a:cubicBezTo>
                      <a:cubicBezTo>
                        <a:pt x="1037" y="170"/>
                        <a:pt x="1035" y="167"/>
                        <a:pt x="1039" y="167"/>
                      </a:cubicBezTo>
                      <a:cubicBezTo>
                        <a:pt x="1042" y="167"/>
                        <a:pt x="1048" y="167"/>
                        <a:pt x="1045" y="163"/>
                      </a:cubicBezTo>
                      <a:cubicBezTo>
                        <a:pt x="1043" y="160"/>
                        <a:pt x="1021" y="158"/>
                        <a:pt x="1019" y="159"/>
                      </a:cubicBezTo>
                      <a:cubicBezTo>
                        <a:pt x="1017" y="160"/>
                        <a:pt x="1019" y="163"/>
                        <a:pt x="1015" y="167"/>
                      </a:cubicBezTo>
                      <a:cubicBezTo>
                        <a:pt x="1010" y="171"/>
                        <a:pt x="1005" y="168"/>
                        <a:pt x="1006" y="166"/>
                      </a:cubicBezTo>
                      <a:cubicBezTo>
                        <a:pt x="1007" y="164"/>
                        <a:pt x="1012" y="164"/>
                        <a:pt x="1012" y="162"/>
                      </a:cubicBezTo>
                      <a:cubicBezTo>
                        <a:pt x="1012" y="160"/>
                        <a:pt x="1004" y="161"/>
                        <a:pt x="1003" y="160"/>
                      </a:cubicBezTo>
                      <a:cubicBezTo>
                        <a:pt x="1002" y="158"/>
                        <a:pt x="1005" y="157"/>
                        <a:pt x="1008" y="157"/>
                      </a:cubicBezTo>
                      <a:cubicBezTo>
                        <a:pt x="1011" y="158"/>
                        <a:pt x="1016" y="159"/>
                        <a:pt x="1016" y="157"/>
                      </a:cubicBezTo>
                      <a:cubicBezTo>
                        <a:pt x="1016" y="156"/>
                        <a:pt x="1013" y="156"/>
                        <a:pt x="1008" y="155"/>
                      </a:cubicBezTo>
                      <a:cubicBezTo>
                        <a:pt x="1003" y="154"/>
                        <a:pt x="992" y="152"/>
                        <a:pt x="986" y="152"/>
                      </a:cubicBezTo>
                      <a:cubicBezTo>
                        <a:pt x="980" y="153"/>
                        <a:pt x="977" y="150"/>
                        <a:pt x="974" y="150"/>
                      </a:cubicBezTo>
                      <a:cubicBezTo>
                        <a:pt x="970" y="149"/>
                        <a:pt x="970" y="151"/>
                        <a:pt x="972" y="153"/>
                      </a:cubicBezTo>
                      <a:cubicBezTo>
                        <a:pt x="973" y="155"/>
                        <a:pt x="969" y="156"/>
                        <a:pt x="965" y="156"/>
                      </a:cubicBezTo>
                      <a:cubicBezTo>
                        <a:pt x="961" y="155"/>
                        <a:pt x="955" y="158"/>
                        <a:pt x="957" y="161"/>
                      </a:cubicBezTo>
                      <a:cubicBezTo>
                        <a:pt x="960" y="164"/>
                        <a:pt x="962" y="160"/>
                        <a:pt x="964" y="161"/>
                      </a:cubicBezTo>
                      <a:cubicBezTo>
                        <a:pt x="966" y="162"/>
                        <a:pt x="959" y="164"/>
                        <a:pt x="962" y="165"/>
                      </a:cubicBezTo>
                      <a:cubicBezTo>
                        <a:pt x="964" y="167"/>
                        <a:pt x="964" y="169"/>
                        <a:pt x="964" y="171"/>
                      </a:cubicBezTo>
                      <a:cubicBezTo>
                        <a:pt x="964" y="172"/>
                        <a:pt x="959" y="173"/>
                        <a:pt x="958" y="171"/>
                      </a:cubicBezTo>
                      <a:cubicBezTo>
                        <a:pt x="956" y="169"/>
                        <a:pt x="953" y="170"/>
                        <a:pt x="950" y="170"/>
                      </a:cubicBezTo>
                      <a:cubicBezTo>
                        <a:pt x="947" y="170"/>
                        <a:pt x="944" y="172"/>
                        <a:pt x="948" y="172"/>
                      </a:cubicBezTo>
                      <a:cubicBezTo>
                        <a:pt x="951" y="172"/>
                        <a:pt x="952" y="175"/>
                        <a:pt x="948" y="175"/>
                      </a:cubicBezTo>
                      <a:cubicBezTo>
                        <a:pt x="943" y="176"/>
                        <a:pt x="944" y="171"/>
                        <a:pt x="941" y="171"/>
                      </a:cubicBezTo>
                      <a:cubicBezTo>
                        <a:pt x="938" y="172"/>
                        <a:pt x="932" y="169"/>
                        <a:pt x="929" y="169"/>
                      </a:cubicBezTo>
                      <a:cubicBezTo>
                        <a:pt x="926" y="169"/>
                        <a:pt x="924" y="172"/>
                        <a:pt x="920" y="172"/>
                      </a:cubicBezTo>
                      <a:cubicBezTo>
                        <a:pt x="915" y="173"/>
                        <a:pt x="909" y="170"/>
                        <a:pt x="907" y="168"/>
                      </a:cubicBezTo>
                      <a:cubicBezTo>
                        <a:pt x="906" y="165"/>
                        <a:pt x="905" y="165"/>
                        <a:pt x="903" y="167"/>
                      </a:cubicBezTo>
                      <a:cubicBezTo>
                        <a:pt x="901" y="170"/>
                        <a:pt x="901" y="175"/>
                        <a:pt x="899" y="176"/>
                      </a:cubicBezTo>
                      <a:cubicBezTo>
                        <a:pt x="896" y="176"/>
                        <a:pt x="896" y="181"/>
                        <a:pt x="893" y="182"/>
                      </a:cubicBezTo>
                      <a:cubicBezTo>
                        <a:pt x="891" y="183"/>
                        <a:pt x="891" y="180"/>
                        <a:pt x="888" y="180"/>
                      </a:cubicBezTo>
                      <a:cubicBezTo>
                        <a:pt x="886" y="181"/>
                        <a:pt x="877" y="172"/>
                        <a:pt x="876" y="169"/>
                      </a:cubicBezTo>
                      <a:cubicBezTo>
                        <a:pt x="876" y="167"/>
                        <a:pt x="871" y="162"/>
                        <a:pt x="869" y="161"/>
                      </a:cubicBezTo>
                      <a:cubicBezTo>
                        <a:pt x="868" y="160"/>
                        <a:pt x="871" y="160"/>
                        <a:pt x="872" y="161"/>
                      </a:cubicBezTo>
                      <a:cubicBezTo>
                        <a:pt x="874" y="163"/>
                        <a:pt x="876" y="163"/>
                        <a:pt x="878" y="162"/>
                      </a:cubicBezTo>
                      <a:cubicBezTo>
                        <a:pt x="880" y="161"/>
                        <a:pt x="880" y="157"/>
                        <a:pt x="877" y="157"/>
                      </a:cubicBezTo>
                      <a:cubicBezTo>
                        <a:pt x="873" y="156"/>
                        <a:pt x="875" y="154"/>
                        <a:pt x="876" y="153"/>
                      </a:cubicBezTo>
                      <a:cubicBezTo>
                        <a:pt x="878" y="153"/>
                        <a:pt x="873" y="148"/>
                        <a:pt x="875" y="148"/>
                      </a:cubicBezTo>
                      <a:cubicBezTo>
                        <a:pt x="876" y="147"/>
                        <a:pt x="876" y="145"/>
                        <a:pt x="873" y="145"/>
                      </a:cubicBezTo>
                      <a:cubicBezTo>
                        <a:pt x="870" y="145"/>
                        <a:pt x="868" y="142"/>
                        <a:pt x="868" y="141"/>
                      </a:cubicBezTo>
                      <a:cubicBezTo>
                        <a:pt x="867" y="140"/>
                        <a:pt x="856" y="139"/>
                        <a:pt x="857" y="141"/>
                      </a:cubicBezTo>
                      <a:cubicBezTo>
                        <a:pt x="857" y="143"/>
                        <a:pt x="853" y="142"/>
                        <a:pt x="854" y="141"/>
                      </a:cubicBezTo>
                      <a:cubicBezTo>
                        <a:pt x="854" y="139"/>
                        <a:pt x="850" y="140"/>
                        <a:pt x="845" y="138"/>
                      </a:cubicBezTo>
                      <a:cubicBezTo>
                        <a:pt x="839" y="137"/>
                        <a:pt x="839" y="133"/>
                        <a:pt x="838" y="133"/>
                      </a:cubicBezTo>
                      <a:cubicBezTo>
                        <a:pt x="836" y="133"/>
                        <a:pt x="836" y="138"/>
                        <a:pt x="834" y="137"/>
                      </a:cubicBezTo>
                      <a:cubicBezTo>
                        <a:pt x="831" y="136"/>
                        <a:pt x="828" y="138"/>
                        <a:pt x="830" y="141"/>
                      </a:cubicBezTo>
                      <a:cubicBezTo>
                        <a:pt x="831" y="144"/>
                        <a:pt x="830" y="145"/>
                        <a:pt x="830" y="147"/>
                      </a:cubicBezTo>
                      <a:cubicBezTo>
                        <a:pt x="829" y="150"/>
                        <a:pt x="828" y="149"/>
                        <a:pt x="825" y="148"/>
                      </a:cubicBezTo>
                      <a:cubicBezTo>
                        <a:pt x="822" y="147"/>
                        <a:pt x="822" y="150"/>
                        <a:pt x="815" y="149"/>
                      </a:cubicBezTo>
                      <a:cubicBezTo>
                        <a:pt x="808" y="147"/>
                        <a:pt x="805" y="149"/>
                        <a:pt x="804" y="147"/>
                      </a:cubicBezTo>
                      <a:cubicBezTo>
                        <a:pt x="803" y="144"/>
                        <a:pt x="801" y="144"/>
                        <a:pt x="801" y="146"/>
                      </a:cubicBezTo>
                      <a:cubicBezTo>
                        <a:pt x="801" y="148"/>
                        <a:pt x="790" y="147"/>
                        <a:pt x="790" y="144"/>
                      </a:cubicBezTo>
                      <a:cubicBezTo>
                        <a:pt x="789" y="142"/>
                        <a:pt x="791" y="141"/>
                        <a:pt x="793" y="141"/>
                      </a:cubicBezTo>
                      <a:cubicBezTo>
                        <a:pt x="794" y="140"/>
                        <a:pt x="791" y="139"/>
                        <a:pt x="786" y="139"/>
                      </a:cubicBezTo>
                      <a:cubicBezTo>
                        <a:pt x="780" y="140"/>
                        <a:pt x="776" y="136"/>
                        <a:pt x="771" y="137"/>
                      </a:cubicBezTo>
                      <a:cubicBezTo>
                        <a:pt x="765" y="138"/>
                        <a:pt x="752" y="139"/>
                        <a:pt x="751" y="140"/>
                      </a:cubicBezTo>
                      <a:cubicBezTo>
                        <a:pt x="749" y="140"/>
                        <a:pt x="752" y="144"/>
                        <a:pt x="749" y="144"/>
                      </a:cubicBezTo>
                      <a:cubicBezTo>
                        <a:pt x="747" y="144"/>
                        <a:pt x="749" y="139"/>
                        <a:pt x="748" y="136"/>
                      </a:cubicBezTo>
                      <a:cubicBezTo>
                        <a:pt x="748" y="133"/>
                        <a:pt x="744" y="133"/>
                        <a:pt x="744" y="135"/>
                      </a:cubicBezTo>
                      <a:cubicBezTo>
                        <a:pt x="745" y="137"/>
                        <a:pt x="738" y="138"/>
                        <a:pt x="736" y="136"/>
                      </a:cubicBezTo>
                      <a:cubicBezTo>
                        <a:pt x="734" y="135"/>
                        <a:pt x="731" y="133"/>
                        <a:pt x="727" y="131"/>
                      </a:cubicBezTo>
                      <a:cubicBezTo>
                        <a:pt x="722" y="130"/>
                        <a:pt x="716" y="135"/>
                        <a:pt x="717" y="137"/>
                      </a:cubicBezTo>
                      <a:cubicBezTo>
                        <a:pt x="719" y="138"/>
                        <a:pt x="722" y="137"/>
                        <a:pt x="722" y="138"/>
                      </a:cubicBezTo>
                      <a:cubicBezTo>
                        <a:pt x="723" y="140"/>
                        <a:pt x="713" y="139"/>
                        <a:pt x="713" y="141"/>
                      </a:cubicBezTo>
                      <a:cubicBezTo>
                        <a:pt x="713" y="142"/>
                        <a:pt x="703" y="145"/>
                        <a:pt x="700" y="145"/>
                      </a:cubicBezTo>
                      <a:cubicBezTo>
                        <a:pt x="692" y="146"/>
                        <a:pt x="691" y="146"/>
                        <a:pt x="687" y="149"/>
                      </a:cubicBezTo>
                      <a:cubicBezTo>
                        <a:pt x="683" y="152"/>
                        <a:pt x="686" y="146"/>
                        <a:pt x="689" y="144"/>
                      </a:cubicBezTo>
                      <a:cubicBezTo>
                        <a:pt x="692" y="141"/>
                        <a:pt x="695" y="142"/>
                        <a:pt x="697" y="140"/>
                      </a:cubicBezTo>
                      <a:cubicBezTo>
                        <a:pt x="698" y="137"/>
                        <a:pt x="701" y="138"/>
                        <a:pt x="705" y="137"/>
                      </a:cubicBezTo>
                      <a:cubicBezTo>
                        <a:pt x="710" y="136"/>
                        <a:pt x="710" y="134"/>
                        <a:pt x="712" y="133"/>
                      </a:cubicBezTo>
                      <a:cubicBezTo>
                        <a:pt x="714" y="132"/>
                        <a:pt x="719" y="130"/>
                        <a:pt x="720" y="128"/>
                      </a:cubicBezTo>
                      <a:cubicBezTo>
                        <a:pt x="721" y="125"/>
                        <a:pt x="732" y="122"/>
                        <a:pt x="734" y="122"/>
                      </a:cubicBezTo>
                      <a:cubicBezTo>
                        <a:pt x="736" y="122"/>
                        <a:pt x="737" y="118"/>
                        <a:pt x="738" y="118"/>
                      </a:cubicBezTo>
                      <a:cubicBezTo>
                        <a:pt x="739" y="118"/>
                        <a:pt x="745" y="115"/>
                        <a:pt x="747" y="114"/>
                      </a:cubicBezTo>
                      <a:cubicBezTo>
                        <a:pt x="750" y="113"/>
                        <a:pt x="751" y="111"/>
                        <a:pt x="751" y="109"/>
                      </a:cubicBezTo>
                      <a:cubicBezTo>
                        <a:pt x="751" y="107"/>
                        <a:pt x="748" y="108"/>
                        <a:pt x="748" y="106"/>
                      </a:cubicBezTo>
                      <a:cubicBezTo>
                        <a:pt x="747" y="105"/>
                        <a:pt x="749" y="106"/>
                        <a:pt x="752" y="105"/>
                      </a:cubicBezTo>
                      <a:cubicBezTo>
                        <a:pt x="754" y="104"/>
                        <a:pt x="752" y="101"/>
                        <a:pt x="750" y="101"/>
                      </a:cubicBezTo>
                      <a:cubicBezTo>
                        <a:pt x="748" y="102"/>
                        <a:pt x="751" y="99"/>
                        <a:pt x="749" y="97"/>
                      </a:cubicBezTo>
                      <a:cubicBezTo>
                        <a:pt x="747" y="95"/>
                        <a:pt x="744" y="99"/>
                        <a:pt x="744" y="96"/>
                      </a:cubicBezTo>
                      <a:cubicBezTo>
                        <a:pt x="744" y="94"/>
                        <a:pt x="743" y="91"/>
                        <a:pt x="742" y="90"/>
                      </a:cubicBezTo>
                      <a:cubicBezTo>
                        <a:pt x="741" y="88"/>
                        <a:pt x="738" y="92"/>
                        <a:pt x="735" y="90"/>
                      </a:cubicBezTo>
                      <a:cubicBezTo>
                        <a:pt x="732" y="88"/>
                        <a:pt x="723" y="86"/>
                        <a:pt x="723" y="87"/>
                      </a:cubicBezTo>
                      <a:cubicBezTo>
                        <a:pt x="723" y="88"/>
                        <a:pt x="719" y="86"/>
                        <a:pt x="718" y="87"/>
                      </a:cubicBezTo>
                      <a:cubicBezTo>
                        <a:pt x="717" y="88"/>
                        <a:pt x="711" y="88"/>
                        <a:pt x="708" y="87"/>
                      </a:cubicBezTo>
                      <a:cubicBezTo>
                        <a:pt x="706" y="86"/>
                        <a:pt x="703" y="88"/>
                        <a:pt x="703" y="90"/>
                      </a:cubicBezTo>
                      <a:cubicBezTo>
                        <a:pt x="703" y="92"/>
                        <a:pt x="695" y="91"/>
                        <a:pt x="693" y="91"/>
                      </a:cubicBezTo>
                      <a:cubicBezTo>
                        <a:pt x="692" y="91"/>
                        <a:pt x="699" y="84"/>
                        <a:pt x="699" y="83"/>
                      </a:cubicBezTo>
                      <a:cubicBezTo>
                        <a:pt x="699" y="82"/>
                        <a:pt x="686" y="84"/>
                        <a:pt x="686" y="82"/>
                      </a:cubicBezTo>
                      <a:cubicBezTo>
                        <a:pt x="685" y="81"/>
                        <a:pt x="679" y="81"/>
                        <a:pt x="676" y="81"/>
                      </a:cubicBezTo>
                      <a:cubicBezTo>
                        <a:pt x="674" y="81"/>
                        <a:pt x="676" y="80"/>
                        <a:pt x="679" y="80"/>
                      </a:cubicBezTo>
                      <a:cubicBezTo>
                        <a:pt x="681" y="80"/>
                        <a:pt x="683" y="78"/>
                        <a:pt x="686" y="77"/>
                      </a:cubicBezTo>
                      <a:cubicBezTo>
                        <a:pt x="689" y="77"/>
                        <a:pt x="688" y="76"/>
                        <a:pt x="687" y="74"/>
                      </a:cubicBezTo>
                      <a:cubicBezTo>
                        <a:pt x="686" y="72"/>
                        <a:pt x="683" y="73"/>
                        <a:pt x="680" y="72"/>
                      </a:cubicBezTo>
                      <a:cubicBezTo>
                        <a:pt x="678" y="72"/>
                        <a:pt x="674" y="70"/>
                        <a:pt x="672" y="70"/>
                      </a:cubicBezTo>
                      <a:cubicBezTo>
                        <a:pt x="669" y="70"/>
                        <a:pt x="667" y="72"/>
                        <a:pt x="661" y="73"/>
                      </a:cubicBezTo>
                      <a:cubicBezTo>
                        <a:pt x="656" y="74"/>
                        <a:pt x="655" y="78"/>
                        <a:pt x="652" y="79"/>
                      </a:cubicBezTo>
                      <a:cubicBezTo>
                        <a:pt x="649" y="81"/>
                        <a:pt x="644" y="86"/>
                        <a:pt x="647" y="86"/>
                      </a:cubicBezTo>
                      <a:cubicBezTo>
                        <a:pt x="649" y="87"/>
                        <a:pt x="648" y="88"/>
                        <a:pt x="648" y="90"/>
                      </a:cubicBezTo>
                      <a:cubicBezTo>
                        <a:pt x="649" y="91"/>
                        <a:pt x="647" y="92"/>
                        <a:pt x="644" y="91"/>
                      </a:cubicBezTo>
                      <a:cubicBezTo>
                        <a:pt x="641" y="91"/>
                        <a:pt x="632" y="91"/>
                        <a:pt x="632" y="93"/>
                      </a:cubicBezTo>
                      <a:cubicBezTo>
                        <a:pt x="632" y="95"/>
                        <a:pt x="637" y="96"/>
                        <a:pt x="637" y="97"/>
                      </a:cubicBezTo>
                      <a:cubicBezTo>
                        <a:pt x="637" y="98"/>
                        <a:pt x="633" y="97"/>
                        <a:pt x="631" y="96"/>
                      </a:cubicBezTo>
                      <a:cubicBezTo>
                        <a:pt x="629" y="95"/>
                        <a:pt x="625" y="95"/>
                        <a:pt x="624" y="97"/>
                      </a:cubicBezTo>
                      <a:cubicBezTo>
                        <a:pt x="623" y="99"/>
                        <a:pt x="620" y="99"/>
                        <a:pt x="619" y="98"/>
                      </a:cubicBezTo>
                      <a:cubicBezTo>
                        <a:pt x="618" y="98"/>
                        <a:pt x="615" y="99"/>
                        <a:pt x="613" y="99"/>
                      </a:cubicBezTo>
                      <a:cubicBezTo>
                        <a:pt x="612" y="98"/>
                        <a:pt x="617" y="95"/>
                        <a:pt x="616" y="94"/>
                      </a:cubicBezTo>
                      <a:cubicBezTo>
                        <a:pt x="614" y="93"/>
                        <a:pt x="609" y="94"/>
                        <a:pt x="608" y="96"/>
                      </a:cubicBezTo>
                      <a:cubicBezTo>
                        <a:pt x="607" y="98"/>
                        <a:pt x="604" y="95"/>
                        <a:pt x="603" y="95"/>
                      </a:cubicBezTo>
                      <a:cubicBezTo>
                        <a:pt x="601" y="96"/>
                        <a:pt x="600" y="97"/>
                        <a:pt x="597" y="98"/>
                      </a:cubicBezTo>
                      <a:cubicBezTo>
                        <a:pt x="595" y="99"/>
                        <a:pt x="591" y="97"/>
                        <a:pt x="590" y="99"/>
                      </a:cubicBezTo>
                      <a:cubicBezTo>
                        <a:pt x="589" y="101"/>
                        <a:pt x="594" y="101"/>
                        <a:pt x="595" y="102"/>
                      </a:cubicBezTo>
                      <a:cubicBezTo>
                        <a:pt x="595" y="103"/>
                        <a:pt x="582" y="103"/>
                        <a:pt x="581" y="104"/>
                      </a:cubicBezTo>
                      <a:cubicBezTo>
                        <a:pt x="581" y="105"/>
                        <a:pt x="576" y="105"/>
                        <a:pt x="571" y="105"/>
                      </a:cubicBezTo>
                      <a:cubicBezTo>
                        <a:pt x="566" y="106"/>
                        <a:pt x="568" y="108"/>
                        <a:pt x="564" y="109"/>
                      </a:cubicBezTo>
                      <a:cubicBezTo>
                        <a:pt x="559" y="110"/>
                        <a:pt x="557" y="110"/>
                        <a:pt x="556" y="112"/>
                      </a:cubicBezTo>
                      <a:cubicBezTo>
                        <a:pt x="555" y="114"/>
                        <a:pt x="551" y="115"/>
                        <a:pt x="550" y="113"/>
                      </a:cubicBezTo>
                      <a:cubicBezTo>
                        <a:pt x="548" y="111"/>
                        <a:pt x="544" y="114"/>
                        <a:pt x="547" y="114"/>
                      </a:cubicBezTo>
                      <a:cubicBezTo>
                        <a:pt x="549" y="114"/>
                        <a:pt x="547" y="116"/>
                        <a:pt x="545" y="116"/>
                      </a:cubicBezTo>
                      <a:cubicBezTo>
                        <a:pt x="544" y="115"/>
                        <a:pt x="540" y="118"/>
                        <a:pt x="542" y="118"/>
                      </a:cubicBezTo>
                      <a:cubicBezTo>
                        <a:pt x="545" y="118"/>
                        <a:pt x="546" y="119"/>
                        <a:pt x="545" y="121"/>
                      </a:cubicBezTo>
                      <a:cubicBezTo>
                        <a:pt x="544" y="122"/>
                        <a:pt x="539" y="119"/>
                        <a:pt x="538" y="120"/>
                      </a:cubicBezTo>
                      <a:cubicBezTo>
                        <a:pt x="537" y="122"/>
                        <a:pt x="540" y="123"/>
                        <a:pt x="542" y="123"/>
                      </a:cubicBezTo>
                      <a:cubicBezTo>
                        <a:pt x="544" y="123"/>
                        <a:pt x="545" y="124"/>
                        <a:pt x="546" y="126"/>
                      </a:cubicBezTo>
                      <a:cubicBezTo>
                        <a:pt x="546" y="127"/>
                        <a:pt x="541" y="125"/>
                        <a:pt x="540" y="126"/>
                      </a:cubicBezTo>
                      <a:cubicBezTo>
                        <a:pt x="539" y="127"/>
                        <a:pt x="540" y="128"/>
                        <a:pt x="543" y="128"/>
                      </a:cubicBezTo>
                      <a:cubicBezTo>
                        <a:pt x="545" y="128"/>
                        <a:pt x="543" y="129"/>
                        <a:pt x="545" y="131"/>
                      </a:cubicBezTo>
                      <a:cubicBezTo>
                        <a:pt x="545" y="131"/>
                        <a:pt x="546" y="131"/>
                        <a:pt x="546" y="131"/>
                      </a:cubicBezTo>
                      <a:cubicBezTo>
                        <a:pt x="547" y="133"/>
                        <a:pt x="545" y="133"/>
                        <a:pt x="545" y="135"/>
                      </a:cubicBezTo>
                      <a:cubicBezTo>
                        <a:pt x="545" y="136"/>
                        <a:pt x="543" y="137"/>
                        <a:pt x="543" y="135"/>
                      </a:cubicBezTo>
                      <a:cubicBezTo>
                        <a:pt x="543" y="134"/>
                        <a:pt x="536" y="134"/>
                        <a:pt x="535" y="135"/>
                      </a:cubicBezTo>
                      <a:cubicBezTo>
                        <a:pt x="534" y="137"/>
                        <a:pt x="533" y="138"/>
                        <a:pt x="531" y="136"/>
                      </a:cubicBezTo>
                      <a:cubicBezTo>
                        <a:pt x="530" y="135"/>
                        <a:pt x="525" y="137"/>
                        <a:pt x="519" y="137"/>
                      </a:cubicBezTo>
                      <a:cubicBezTo>
                        <a:pt x="513" y="137"/>
                        <a:pt x="501" y="138"/>
                        <a:pt x="498" y="139"/>
                      </a:cubicBezTo>
                      <a:cubicBezTo>
                        <a:pt x="496" y="140"/>
                        <a:pt x="493" y="144"/>
                        <a:pt x="496" y="147"/>
                      </a:cubicBezTo>
                      <a:cubicBezTo>
                        <a:pt x="498" y="150"/>
                        <a:pt x="496" y="151"/>
                        <a:pt x="496" y="152"/>
                      </a:cubicBezTo>
                      <a:cubicBezTo>
                        <a:pt x="496" y="154"/>
                        <a:pt x="503" y="158"/>
                        <a:pt x="507" y="158"/>
                      </a:cubicBezTo>
                      <a:cubicBezTo>
                        <a:pt x="511" y="159"/>
                        <a:pt x="514" y="163"/>
                        <a:pt x="511" y="166"/>
                      </a:cubicBezTo>
                      <a:cubicBezTo>
                        <a:pt x="509" y="169"/>
                        <a:pt x="502" y="165"/>
                        <a:pt x="498" y="162"/>
                      </a:cubicBezTo>
                      <a:cubicBezTo>
                        <a:pt x="493" y="158"/>
                        <a:pt x="483" y="157"/>
                        <a:pt x="479" y="157"/>
                      </a:cubicBezTo>
                      <a:cubicBezTo>
                        <a:pt x="476" y="157"/>
                        <a:pt x="478" y="154"/>
                        <a:pt x="474" y="154"/>
                      </a:cubicBezTo>
                      <a:cubicBezTo>
                        <a:pt x="469" y="154"/>
                        <a:pt x="465" y="158"/>
                        <a:pt x="468" y="158"/>
                      </a:cubicBezTo>
                      <a:cubicBezTo>
                        <a:pt x="471" y="158"/>
                        <a:pt x="473" y="158"/>
                        <a:pt x="472" y="159"/>
                      </a:cubicBezTo>
                      <a:cubicBezTo>
                        <a:pt x="470" y="161"/>
                        <a:pt x="473" y="160"/>
                        <a:pt x="476" y="162"/>
                      </a:cubicBezTo>
                      <a:cubicBezTo>
                        <a:pt x="480" y="163"/>
                        <a:pt x="473" y="166"/>
                        <a:pt x="469" y="163"/>
                      </a:cubicBezTo>
                      <a:cubicBezTo>
                        <a:pt x="466" y="161"/>
                        <a:pt x="462" y="163"/>
                        <a:pt x="461" y="165"/>
                      </a:cubicBezTo>
                      <a:cubicBezTo>
                        <a:pt x="460" y="167"/>
                        <a:pt x="465" y="172"/>
                        <a:pt x="471" y="173"/>
                      </a:cubicBezTo>
                      <a:cubicBezTo>
                        <a:pt x="478" y="174"/>
                        <a:pt x="476" y="176"/>
                        <a:pt x="479" y="177"/>
                      </a:cubicBezTo>
                      <a:cubicBezTo>
                        <a:pt x="482" y="178"/>
                        <a:pt x="480" y="179"/>
                        <a:pt x="478" y="180"/>
                      </a:cubicBezTo>
                      <a:cubicBezTo>
                        <a:pt x="476" y="180"/>
                        <a:pt x="471" y="177"/>
                        <a:pt x="468" y="175"/>
                      </a:cubicBezTo>
                      <a:cubicBezTo>
                        <a:pt x="465" y="173"/>
                        <a:pt x="456" y="176"/>
                        <a:pt x="455" y="174"/>
                      </a:cubicBezTo>
                      <a:cubicBezTo>
                        <a:pt x="453" y="172"/>
                        <a:pt x="456" y="170"/>
                        <a:pt x="454" y="168"/>
                      </a:cubicBezTo>
                      <a:cubicBezTo>
                        <a:pt x="452" y="167"/>
                        <a:pt x="454" y="164"/>
                        <a:pt x="456" y="160"/>
                      </a:cubicBezTo>
                      <a:cubicBezTo>
                        <a:pt x="458" y="157"/>
                        <a:pt x="456" y="151"/>
                        <a:pt x="453" y="150"/>
                      </a:cubicBezTo>
                      <a:cubicBezTo>
                        <a:pt x="450" y="150"/>
                        <a:pt x="450" y="153"/>
                        <a:pt x="450" y="154"/>
                      </a:cubicBezTo>
                      <a:cubicBezTo>
                        <a:pt x="451" y="155"/>
                        <a:pt x="451" y="159"/>
                        <a:pt x="448" y="162"/>
                      </a:cubicBezTo>
                      <a:cubicBezTo>
                        <a:pt x="446" y="165"/>
                        <a:pt x="439" y="165"/>
                        <a:pt x="439" y="167"/>
                      </a:cubicBezTo>
                      <a:cubicBezTo>
                        <a:pt x="439" y="169"/>
                        <a:pt x="434" y="171"/>
                        <a:pt x="436" y="172"/>
                      </a:cubicBezTo>
                      <a:cubicBezTo>
                        <a:pt x="437" y="174"/>
                        <a:pt x="444" y="181"/>
                        <a:pt x="445" y="183"/>
                      </a:cubicBezTo>
                      <a:cubicBezTo>
                        <a:pt x="446" y="185"/>
                        <a:pt x="439" y="193"/>
                        <a:pt x="440" y="197"/>
                      </a:cubicBezTo>
                      <a:cubicBezTo>
                        <a:pt x="441" y="201"/>
                        <a:pt x="439" y="203"/>
                        <a:pt x="440" y="205"/>
                      </a:cubicBezTo>
                      <a:cubicBezTo>
                        <a:pt x="442" y="207"/>
                        <a:pt x="445" y="205"/>
                        <a:pt x="447" y="206"/>
                      </a:cubicBezTo>
                      <a:cubicBezTo>
                        <a:pt x="448" y="207"/>
                        <a:pt x="452" y="205"/>
                        <a:pt x="456" y="204"/>
                      </a:cubicBezTo>
                      <a:cubicBezTo>
                        <a:pt x="460" y="203"/>
                        <a:pt x="468" y="208"/>
                        <a:pt x="471" y="209"/>
                      </a:cubicBezTo>
                      <a:cubicBezTo>
                        <a:pt x="474" y="211"/>
                        <a:pt x="473" y="213"/>
                        <a:pt x="474" y="215"/>
                      </a:cubicBezTo>
                      <a:cubicBezTo>
                        <a:pt x="476" y="218"/>
                        <a:pt x="471" y="218"/>
                        <a:pt x="471" y="221"/>
                      </a:cubicBezTo>
                      <a:cubicBezTo>
                        <a:pt x="471" y="225"/>
                        <a:pt x="480" y="226"/>
                        <a:pt x="480" y="227"/>
                      </a:cubicBezTo>
                      <a:cubicBezTo>
                        <a:pt x="480" y="228"/>
                        <a:pt x="474" y="228"/>
                        <a:pt x="471" y="227"/>
                      </a:cubicBezTo>
                      <a:cubicBezTo>
                        <a:pt x="468" y="226"/>
                        <a:pt x="468" y="222"/>
                        <a:pt x="467" y="222"/>
                      </a:cubicBezTo>
                      <a:cubicBezTo>
                        <a:pt x="466" y="221"/>
                        <a:pt x="469" y="218"/>
                        <a:pt x="469" y="216"/>
                      </a:cubicBezTo>
                      <a:cubicBezTo>
                        <a:pt x="469" y="213"/>
                        <a:pt x="466" y="212"/>
                        <a:pt x="465" y="211"/>
                      </a:cubicBezTo>
                      <a:cubicBezTo>
                        <a:pt x="464" y="209"/>
                        <a:pt x="462" y="207"/>
                        <a:pt x="460" y="207"/>
                      </a:cubicBezTo>
                      <a:cubicBezTo>
                        <a:pt x="458" y="208"/>
                        <a:pt x="450" y="208"/>
                        <a:pt x="448" y="211"/>
                      </a:cubicBezTo>
                      <a:cubicBezTo>
                        <a:pt x="445" y="213"/>
                        <a:pt x="448" y="219"/>
                        <a:pt x="449" y="222"/>
                      </a:cubicBezTo>
                      <a:cubicBezTo>
                        <a:pt x="451" y="225"/>
                        <a:pt x="442" y="229"/>
                        <a:pt x="443" y="231"/>
                      </a:cubicBezTo>
                      <a:cubicBezTo>
                        <a:pt x="443" y="234"/>
                        <a:pt x="440" y="235"/>
                        <a:pt x="437" y="237"/>
                      </a:cubicBezTo>
                      <a:cubicBezTo>
                        <a:pt x="433" y="239"/>
                        <a:pt x="429" y="240"/>
                        <a:pt x="429" y="243"/>
                      </a:cubicBezTo>
                      <a:cubicBezTo>
                        <a:pt x="429" y="246"/>
                        <a:pt x="425" y="245"/>
                        <a:pt x="422" y="243"/>
                      </a:cubicBezTo>
                      <a:cubicBezTo>
                        <a:pt x="420" y="242"/>
                        <a:pt x="416" y="244"/>
                        <a:pt x="413" y="244"/>
                      </a:cubicBezTo>
                      <a:cubicBezTo>
                        <a:pt x="409" y="244"/>
                        <a:pt x="409" y="241"/>
                        <a:pt x="406" y="242"/>
                      </a:cubicBezTo>
                      <a:cubicBezTo>
                        <a:pt x="403" y="243"/>
                        <a:pt x="402" y="240"/>
                        <a:pt x="402" y="238"/>
                      </a:cubicBezTo>
                      <a:cubicBezTo>
                        <a:pt x="403" y="236"/>
                        <a:pt x="406" y="238"/>
                        <a:pt x="407" y="239"/>
                      </a:cubicBezTo>
                      <a:cubicBezTo>
                        <a:pt x="407" y="241"/>
                        <a:pt x="409" y="240"/>
                        <a:pt x="411" y="239"/>
                      </a:cubicBezTo>
                      <a:cubicBezTo>
                        <a:pt x="414" y="238"/>
                        <a:pt x="413" y="241"/>
                        <a:pt x="416" y="241"/>
                      </a:cubicBezTo>
                      <a:cubicBezTo>
                        <a:pt x="419" y="241"/>
                        <a:pt x="418" y="239"/>
                        <a:pt x="420" y="239"/>
                      </a:cubicBezTo>
                      <a:cubicBezTo>
                        <a:pt x="423" y="240"/>
                        <a:pt x="423" y="239"/>
                        <a:pt x="422" y="237"/>
                      </a:cubicBezTo>
                      <a:cubicBezTo>
                        <a:pt x="421" y="236"/>
                        <a:pt x="424" y="235"/>
                        <a:pt x="426" y="234"/>
                      </a:cubicBezTo>
                      <a:cubicBezTo>
                        <a:pt x="427" y="234"/>
                        <a:pt x="427" y="231"/>
                        <a:pt x="428" y="230"/>
                      </a:cubicBezTo>
                      <a:cubicBezTo>
                        <a:pt x="430" y="229"/>
                        <a:pt x="429" y="228"/>
                        <a:pt x="430" y="228"/>
                      </a:cubicBezTo>
                      <a:cubicBezTo>
                        <a:pt x="432" y="227"/>
                        <a:pt x="433" y="225"/>
                        <a:pt x="434" y="225"/>
                      </a:cubicBezTo>
                      <a:cubicBezTo>
                        <a:pt x="436" y="225"/>
                        <a:pt x="437" y="222"/>
                        <a:pt x="436" y="221"/>
                      </a:cubicBezTo>
                      <a:cubicBezTo>
                        <a:pt x="435" y="220"/>
                        <a:pt x="436" y="216"/>
                        <a:pt x="438" y="216"/>
                      </a:cubicBezTo>
                      <a:cubicBezTo>
                        <a:pt x="439" y="215"/>
                        <a:pt x="439" y="214"/>
                        <a:pt x="438" y="213"/>
                      </a:cubicBezTo>
                      <a:cubicBezTo>
                        <a:pt x="437" y="212"/>
                        <a:pt x="431" y="208"/>
                        <a:pt x="432" y="206"/>
                      </a:cubicBezTo>
                      <a:cubicBezTo>
                        <a:pt x="432" y="204"/>
                        <a:pt x="431" y="199"/>
                        <a:pt x="431" y="198"/>
                      </a:cubicBezTo>
                      <a:cubicBezTo>
                        <a:pt x="432" y="196"/>
                        <a:pt x="432" y="192"/>
                        <a:pt x="431" y="190"/>
                      </a:cubicBezTo>
                      <a:cubicBezTo>
                        <a:pt x="431" y="188"/>
                        <a:pt x="433" y="186"/>
                        <a:pt x="433" y="182"/>
                      </a:cubicBezTo>
                      <a:cubicBezTo>
                        <a:pt x="434" y="178"/>
                        <a:pt x="429" y="174"/>
                        <a:pt x="427" y="172"/>
                      </a:cubicBezTo>
                      <a:cubicBezTo>
                        <a:pt x="424" y="171"/>
                        <a:pt x="426" y="169"/>
                        <a:pt x="429" y="166"/>
                      </a:cubicBezTo>
                      <a:cubicBezTo>
                        <a:pt x="433" y="164"/>
                        <a:pt x="433" y="155"/>
                        <a:pt x="433" y="153"/>
                      </a:cubicBezTo>
                      <a:cubicBezTo>
                        <a:pt x="433" y="151"/>
                        <a:pt x="426" y="149"/>
                        <a:pt x="423" y="149"/>
                      </a:cubicBezTo>
                      <a:cubicBezTo>
                        <a:pt x="420" y="150"/>
                        <a:pt x="410" y="149"/>
                        <a:pt x="408" y="149"/>
                      </a:cubicBezTo>
                      <a:cubicBezTo>
                        <a:pt x="405" y="148"/>
                        <a:pt x="404" y="151"/>
                        <a:pt x="403" y="153"/>
                      </a:cubicBezTo>
                      <a:cubicBezTo>
                        <a:pt x="402" y="156"/>
                        <a:pt x="399" y="159"/>
                        <a:pt x="398" y="165"/>
                      </a:cubicBezTo>
                      <a:cubicBezTo>
                        <a:pt x="396" y="170"/>
                        <a:pt x="390" y="172"/>
                        <a:pt x="387" y="173"/>
                      </a:cubicBezTo>
                      <a:cubicBezTo>
                        <a:pt x="384" y="174"/>
                        <a:pt x="382" y="178"/>
                        <a:pt x="384" y="180"/>
                      </a:cubicBezTo>
                      <a:cubicBezTo>
                        <a:pt x="385" y="182"/>
                        <a:pt x="387" y="180"/>
                        <a:pt x="388" y="181"/>
                      </a:cubicBezTo>
                      <a:cubicBezTo>
                        <a:pt x="389" y="182"/>
                        <a:pt x="388" y="187"/>
                        <a:pt x="387" y="187"/>
                      </a:cubicBezTo>
                      <a:cubicBezTo>
                        <a:pt x="386" y="188"/>
                        <a:pt x="389" y="190"/>
                        <a:pt x="387" y="191"/>
                      </a:cubicBezTo>
                      <a:cubicBezTo>
                        <a:pt x="385" y="192"/>
                        <a:pt x="383" y="195"/>
                        <a:pt x="384" y="197"/>
                      </a:cubicBezTo>
                      <a:cubicBezTo>
                        <a:pt x="385" y="198"/>
                        <a:pt x="391" y="199"/>
                        <a:pt x="393" y="200"/>
                      </a:cubicBezTo>
                      <a:cubicBezTo>
                        <a:pt x="396" y="202"/>
                        <a:pt x="395" y="204"/>
                        <a:pt x="397" y="207"/>
                      </a:cubicBezTo>
                      <a:cubicBezTo>
                        <a:pt x="399" y="209"/>
                        <a:pt x="401" y="208"/>
                        <a:pt x="402" y="209"/>
                      </a:cubicBezTo>
                      <a:cubicBezTo>
                        <a:pt x="403" y="211"/>
                        <a:pt x="398" y="217"/>
                        <a:pt x="397" y="217"/>
                      </a:cubicBezTo>
                      <a:cubicBezTo>
                        <a:pt x="395" y="217"/>
                        <a:pt x="389" y="211"/>
                        <a:pt x="387" y="209"/>
                      </a:cubicBezTo>
                      <a:cubicBezTo>
                        <a:pt x="385" y="208"/>
                        <a:pt x="378" y="206"/>
                        <a:pt x="374" y="204"/>
                      </a:cubicBezTo>
                      <a:cubicBezTo>
                        <a:pt x="370" y="202"/>
                        <a:pt x="367" y="202"/>
                        <a:pt x="363" y="199"/>
                      </a:cubicBezTo>
                      <a:cubicBezTo>
                        <a:pt x="359" y="197"/>
                        <a:pt x="356" y="195"/>
                        <a:pt x="349" y="196"/>
                      </a:cubicBezTo>
                      <a:cubicBezTo>
                        <a:pt x="341" y="196"/>
                        <a:pt x="336" y="194"/>
                        <a:pt x="334" y="194"/>
                      </a:cubicBezTo>
                      <a:cubicBezTo>
                        <a:pt x="331" y="195"/>
                        <a:pt x="332" y="192"/>
                        <a:pt x="328" y="190"/>
                      </a:cubicBezTo>
                      <a:cubicBezTo>
                        <a:pt x="324" y="188"/>
                        <a:pt x="321" y="185"/>
                        <a:pt x="318" y="187"/>
                      </a:cubicBezTo>
                      <a:cubicBezTo>
                        <a:pt x="316" y="188"/>
                        <a:pt x="317" y="193"/>
                        <a:pt x="321" y="193"/>
                      </a:cubicBezTo>
                      <a:cubicBezTo>
                        <a:pt x="324" y="194"/>
                        <a:pt x="322" y="196"/>
                        <a:pt x="326" y="196"/>
                      </a:cubicBezTo>
                      <a:cubicBezTo>
                        <a:pt x="330" y="195"/>
                        <a:pt x="332" y="197"/>
                        <a:pt x="332" y="199"/>
                      </a:cubicBezTo>
                      <a:cubicBezTo>
                        <a:pt x="331" y="202"/>
                        <a:pt x="333" y="204"/>
                        <a:pt x="335" y="206"/>
                      </a:cubicBezTo>
                      <a:cubicBezTo>
                        <a:pt x="337" y="208"/>
                        <a:pt x="336" y="210"/>
                        <a:pt x="333" y="210"/>
                      </a:cubicBezTo>
                      <a:cubicBezTo>
                        <a:pt x="330" y="210"/>
                        <a:pt x="326" y="211"/>
                        <a:pt x="327" y="213"/>
                      </a:cubicBezTo>
                      <a:cubicBezTo>
                        <a:pt x="329" y="215"/>
                        <a:pt x="326" y="216"/>
                        <a:pt x="323" y="215"/>
                      </a:cubicBezTo>
                      <a:cubicBezTo>
                        <a:pt x="320" y="214"/>
                        <a:pt x="322" y="211"/>
                        <a:pt x="323" y="210"/>
                      </a:cubicBezTo>
                      <a:cubicBezTo>
                        <a:pt x="324" y="209"/>
                        <a:pt x="320" y="207"/>
                        <a:pt x="318" y="206"/>
                      </a:cubicBezTo>
                      <a:cubicBezTo>
                        <a:pt x="316" y="206"/>
                        <a:pt x="308" y="212"/>
                        <a:pt x="306" y="213"/>
                      </a:cubicBezTo>
                      <a:cubicBezTo>
                        <a:pt x="304" y="213"/>
                        <a:pt x="298" y="211"/>
                        <a:pt x="292" y="213"/>
                      </a:cubicBezTo>
                      <a:cubicBezTo>
                        <a:pt x="287" y="214"/>
                        <a:pt x="287" y="218"/>
                        <a:pt x="285" y="218"/>
                      </a:cubicBezTo>
                      <a:cubicBezTo>
                        <a:pt x="283" y="218"/>
                        <a:pt x="276" y="219"/>
                        <a:pt x="274" y="217"/>
                      </a:cubicBezTo>
                      <a:cubicBezTo>
                        <a:pt x="272" y="216"/>
                        <a:pt x="274" y="215"/>
                        <a:pt x="276" y="215"/>
                      </a:cubicBezTo>
                      <a:cubicBezTo>
                        <a:pt x="279" y="215"/>
                        <a:pt x="279" y="214"/>
                        <a:pt x="278" y="213"/>
                      </a:cubicBezTo>
                      <a:cubicBezTo>
                        <a:pt x="277" y="211"/>
                        <a:pt x="280" y="208"/>
                        <a:pt x="280" y="207"/>
                      </a:cubicBezTo>
                      <a:cubicBezTo>
                        <a:pt x="280" y="206"/>
                        <a:pt x="270" y="209"/>
                        <a:pt x="269" y="210"/>
                      </a:cubicBezTo>
                      <a:cubicBezTo>
                        <a:pt x="267" y="212"/>
                        <a:pt x="269" y="214"/>
                        <a:pt x="267" y="215"/>
                      </a:cubicBezTo>
                      <a:cubicBezTo>
                        <a:pt x="266" y="216"/>
                        <a:pt x="266" y="213"/>
                        <a:pt x="264" y="213"/>
                      </a:cubicBezTo>
                      <a:cubicBezTo>
                        <a:pt x="262" y="212"/>
                        <a:pt x="248" y="215"/>
                        <a:pt x="245" y="218"/>
                      </a:cubicBezTo>
                      <a:cubicBezTo>
                        <a:pt x="243" y="221"/>
                        <a:pt x="238" y="221"/>
                        <a:pt x="238" y="223"/>
                      </a:cubicBezTo>
                      <a:cubicBezTo>
                        <a:pt x="238" y="225"/>
                        <a:pt x="231" y="225"/>
                        <a:pt x="229" y="226"/>
                      </a:cubicBezTo>
                      <a:cubicBezTo>
                        <a:pt x="226" y="227"/>
                        <a:pt x="228" y="232"/>
                        <a:pt x="227" y="234"/>
                      </a:cubicBezTo>
                      <a:cubicBezTo>
                        <a:pt x="226" y="237"/>
                        <a:pt x="216" y="236"/>
                        <a:pt x="213" y="236"/>
                      </a:cubicBezTo>
                      <a:cubicBezTo>
                        <a:pt x="210" y="236"/>
                        <a:pt x="209" y="230"/>
                        <a:pt x="207" y="230"/>
                      </a:cubicBezTo>
                      <a:cubicBezTo>
                        <a:pt x="204" y="230"/>
                        <a:pt x="206" y="226"/>
                        <a:pt x="207" y="225"/>
                      </a:cubicBezTo>
                      <a:cubicBezTo>
                        <a:pt x="207" y="223"/>
                        <a:pt x="209" y="225"/>
                        <a:pt x="212" y="223"/>
                      </a:cubicBezTo>
                      <a:cubicBezTo>
                        <a:pt x="215" y="221"/>
                        <a:pt x="218" y="224"/>
                        <a:pt x="219" y="222"/>
                      </a:cubicBezTo>
                      <a:cubicBezTo>
                        <a:pt x="221" y="221"/>
                        <a:pt x="215" y="218"/>
                        <a:pt x="214" y="215"/>
                      </a:cubicBezTo>
                      <a:cubicBezTo>
                        <a:pt x="214" y="212"/>
                        <a:pt x="208" y="211"/>
                        <a:pt x="204" y="212"/>
                      </a:cubicBezTo>
                      <a:cubicBezTo>
                        <a:pt x="201" y="213"/>
                        <a:pt x="197" y="212"/>
                        <a:pt x="194" y="211"/>
                      </a:cubicBezTo>
                      <a:cubicBezTo>
                        <a:pt x="192" y="209"/>
                        <a:pt x="192" y="213"/>
                        <a:pt x="196" y="214"/>
                      </a:cubicBezTo>
                      <a:cubicBezTo>
                        <a:pt x="199" y="215"/>
                        <a:pt x="197" y="218"/>
                        <a:pt x="198" y="219"/>
                      </a:cubicBezTo>
                      <a:cubicBezTo>
                        <a:pt x="199" y="221"/>
                        <a:pt x="197" y="225"/>
                        <a:pt x="195" y="228"/>
                      </a:cubicBezTo>
                      <a:cubicBezTo>
                        <a:pt x="193" y="231"/>
                        <a:pt x="194" y="231"/>
                        <a:pt x="198" y="231"/>
                      </a:cubicBezTo>
                      <a:cubicBezTo>
                        <a:pt x="201" y="231"/>
                        <a:pt x="201" y="235"/>
                        <a:pt x="201" y="238"/>
                      </a:cubicBezTo>
                      <a:cubicBezTo>
                        <a:pt x="201" y="241"/>
                        <a:pt x="198" y="242"/>
                        <a:pt x="198" y="244"/>
                      </a:cubicBezTo>
                      <a:cubicBezTo>
                        <a:pt x="198" y="247"/>
                        <a:pt x="195" y="243"/>
                        <a:pt x="195" y="244"/>
                      </a:cubicBezTo>
                      <a:cubicBezTo>
                        <a:pt x="194" y="245"/>
                        <a:pt x="193" y="244"/>
                        <a:pt x="192" y="242"/>
                      </a:cubicBezTo>
                      <a:cubicBezTo>
                        <a:pt x="192" y="240"/>
                        <a:pt x="187" y="241"/>
                        <a:pt x="184" y="240"/>
                      </a:cubicBezTo>
                      <a:cubicBezTo>
                        <a:pt x="181" y="240"/>
                        <a:pt x="180" y="241"/>
                        <a:pt x="179" y="243"/>
                      </a:cubicBezTo>
                      <a:cubicBezTo>
                        <a:pt x="178" y="245"/>
                        <a:pt x="174" y="246"/>
                        <a:pt x="172" y="246"/>
                      </a:cubicBezTo>
                      <a:cubicBezTo>
                        <a:pt x="170" y="246"/>
                        <a:pt x="166" y="250"/>
                        <a:pt x="164" y="252"/>
                      </a:cubicBezTo>
                      <a:cubicBezTo>
                        <a:pt x="162" y="253"/>
                        <a:pt x="162" y="256"/>
                        <a:pt x="165" y="259"/>
                      </a:cubicBezTo>
                      <a:cubicBezTo>
                        <a:pt x="168" y="261"/>
                        <a:pt x="168" y="263"/>
                        <a:pt x="168" y="265"/>
                      </a:cubicBezTo>
                      <a:cubicBezTo>
                        <a:pt x="168" y="266"/>
                        <a:pt x="160" y="266"/>
                        <a:pt x="158" y="264"/>
                      </a:cubicBezTo>
                      <a:cubicBezTo>
                        <a:pt x="157" y="263"/>
                        <a:pt x="152" y="262"/>
                        <a:pt x="150" y="262"/>
                      </a:cubicBezTo>
                      <a:cubicBezTo>
                        <a:pt x="148" y="263"/>
                        <a:pt x="143" y="257"/>
                        <a:pt x="141" y="257"/>
                      </a:cubicBezTo>
                      <a:cubicBezTo>
                        <a:pt x="138" y="257"/>
                        <a:pt x="137" y="260"/>
                        <a:pt x="136" y="261"/>
                      </a:cubicBezTo>
                      <a:cubicBezTo>
                        <a:pt x="135" y="263"/>
                        <a:pt x="137" y="263"/>
                        <a:pt x="138" y="266"/>
                      </a:cubicBezTo>
                      <a:cubicBezTo>
                        <a:pt x="140" y="269"/>
                        <a:pt x="144" y="269"/>
                        <a:pt x="146" y="269"/>
                      </a:cubicBezTo>
                      <a:cubicBezTo>
                        <a:pt x="148" y="269"/>
                        <a:pt x="148" y="272"/>
                        <a:pt x="147" y="274"/>
                      </a:cubicBezTo>
                      <a:cubicBezTo>
                        <a:pt x="146" y="275"/>
                        <a:pt x="142" y="276"/>
                        <a:pt x="141" y="275"/>
                      </a:cubicBezTo>
                      <a:cubicBezTo>
                        <a:pt x="140" y="273"/>
                        <a:pt x="135" y="275"/>
                        <a:pt x="135" y="273"/>
                      </a:cubicBezTo>
                      <a:cubicBezTo>
                        <a:pt x="134" y="271"/>
                        <a:pt x="131" y="268"/>
                        <a:pt x="127" y="269"/>
                      </a:cubicBezTo>
                      <a:cubicBezTo>
                        <a:pt x="123" y="269"/>
                        <a:pt x="123" y="267"/>
                        <a:pt x="123" y="264"/>
                      </a:cubicBezTo>
                      <a:cubicBezTo>
                        <a:pt x="123" y="261"/>
                        <a:pt x="121" y="259"/>
                        <a:pt x="121" y="258"/>
                      </a:cubicBezTo>
                      <a:cubicBezTo>
                        <a:pt x="121" y="257"/>
                        <a:pt x="119" y="254"/>
                        <a:pt x="121" y="253"/>
                      </a:cubicBezTo>
                      <a:cubicBezTo>
                        <a:pt x="123" y="252"/>
                        <a:pt x="122" y="250"/>
                        <a:pt x="122" y="248"/>
                      </a:cubicBezTo>
                      <a:cubicBezTo>
                        <a:pt x="122" y="246"/>
                        <a:pt x="119" y="243"/>
                        <a:pt x="116" y="243"/>
                      </a:cubicBezTo>
                      <a:cubicBezTo>
                        <a:pt x="113" y="243"/>
                        <a:pt x="113" y="240"/>
                        <a:pt x="111" y="240"/>
                      </a:cubicBezTo>
                      <a:cubicBezTo>
                        <a:pt x="108" y="239"/>
                        <a:pt x="103" y="235"/>
                        <a:pt x="103" y="233"/>
                      </a:cubicBezTo>
                      <a:cubicBezTo>
                        <a:pt x="103" y="231"/>
                        <a:pt x="99" y="231"/>
                        <a:pt x="100" y="230"/>
                      </a:cubicBezTo>
                      <a:cubicBezTo>
                        <a:pt x="101" y="230"/>
                        <a:pt x="104" y="231"/>
                        <a:pt x="107" y="233"/>
                      </a:cubicBezTo>
                      <a:cubicBezTo>
                        <a:pt x="109" y="235"/>
                        <a:pt x="112" y="237"/>
                        <a:pt x="118" y="238"/>
                      </a:cubicBezTo>
                      <a:cubicBezTo>
                        <a:pt x="123" y="238"/>
                        <a:pt x="126" y="241"/>
                        <a:pt x="132" y="242"/>
                      </a:cubicBezTo>
                      <a:cubicBezTo>
                        <a:pt x="138" y="243"/>
                        <a:pt x="142" y="244"/>
                        <a:pt x="151" y="245"/>
                      </a:cubicBezTo>
                      <a:cubicBezTo>
                        <a:pt x="160" y="246"/>
                        <a:pt x="171" y="237"/>
                        <a:pt x="174" y="235"/>
                      </a:cubicBezTo>
                      <a:cubicBezTo>
                        <a:pt x="176" y="232"/>
                        <a:pt x="173" y="227"/>
                        <a:pt x="173" y="225"/>
                      </a:cubicBezTo>
                      <a:cubicBezTo>
                        <a:pt x="173" y="223"/>
                        <a:pt x="169" y="223"/>
                        <a:pt x="169" y="222"/>
                      </a:cubicBezTo>
                      <a:cubicBezTo>
                        <a:pt x="168" y="220"/>
                        <a:pt x="165" y="218"/>
                        <a:pt x="162" y="218"/>
                      </a:cubicBezTo>
                      <a:cubicBezTo>
                        <a:pt x="158" y="218"/>
                        <a:pt x="158" y="214"/>
                        <a:pt x="155" y="214"/>
                      </a:cubicBezTo>
                      <a:cubicBezTo>
                        <a:pt x="152" y="214"/>
                        <a:pt x="151" y="213"/>
                        <a:pt x="143" y="208"/>
                      </a:cubicBezTo>
                      <a:cubicBezTo>
                        <a:pt x="136" y="203"/>
                        <a:pt x="126" y="200"/>
                        <a:pt x="125" y="201"/>
                      </a:cubicBezTo>
                      <a:cubicBezTo>
                        <a:pt x="123" y="202"/>
                        <a:pt x="122" y="202"/>
                        <a:pt x="121" y="200"/>
                      </a:cubicBezTo>
                      <a:cubicBezTo>
                        <a:pt x="119" y="198"/>
                        <a:pt x="117" y="199"/>
                        <a:pt x="115" y="200"/>
                      </a:cubicBezTo>
                      <a:cubicBezTo>
                        <a:pt x="113" y="202"/>
                        <a:pt x="111" y="199"/>
                        <a:pt x="107" y="200"/>
                      </a:cubicBezTo>
                      <a:cubicBezTo>
                        <a:pt x="104" y="201"/>
                        <a:pt x="102" y="198"/>
                        <a:pt x="103" y="197"/>
                      </a:cubicBezTo>
                      <a:cubicBezTo>
                        <a:pt x="104" y="196"/>
                        <a:pt x="109" y="197"/>
                        <a:pt x="109" y="195"/>
                      </a:cubicBezTo>
                      <a:cubicBezTo>
                        <a:pt x="109" y="193"/>
                        <a:pt x="107" y="195"/>
                        <a:pt x="103" y="193"/>
                      </a:cubicBezTo>
                      <a:cubicBezTo>
                        <a:pt x="100" y="191"/>
                        <a:pt x="98" y="192"/>
                        <a:pt x="98" y="194"/>
                      </a:cubicBezTo>
                      <a:cubicBezTo>
                        <a:pt x="97" y="196"/>
                        <a:pt x="94" y="195"/>
                        <a:pt x="93" y="194"/>
                      </a:cubicBezTo>
                      <a:cubicBezTo>
                        <a:pt x="93" y="194"/>
                        <a:pt x="92" y="194"/>
                        <a:pt x="92" y="193"/>
                      </a:cubicBezTo>
                      <a:cubicBezTo>
                        <a:pt x="92" y="196"/>
                        <a:pt x="90" y="197"/>
                        <a:pt x="88" y="196"/>
                      </a:cubicBezTo>
                      <a:cubicBezTo>
                        <a:pt x="86" y="196"/>
                        <a:pt x="84" y="199"/>
                        <a:pt x="82" y="199"/>
                      </a:cubicBezTo>
                      <a:cubicBezTo>
                        <a:pt x="79" y="199"/>
                        <a:pt x="77" y="202"/>
                        <a:pt x="76" y="204"/>
                      </a:cubicBezTo>
                      <a:cubicBezTo>
                        <a:pt x="76" y="206"/>
                        <a:pt x="73" y="205"/>
                        <a:pt x="73" y="207"/>
                      </a:cubicBezTo>
                      <a:cubicBezTo>
                        <a:pt x="73" y="208"/>
                        <a:pt x="73" y="209"/>
                        <a:pt x="72" y="211"/>
                      </a:cubicBezTo>
                      <a:cubicBezTo>
                        <a:pt x="71" y="212"/>
                        <a:pt x="72" y="213"/>
                        <a:pt x="73" y="215"/>
                      </a:cubicBezTo>
                      <a:cubicBezTo>
                        <a:pt x="74" y="218"/>
                        <a:pt x="77" y="218"/>
                        <a:pt x="78" y="218"/>
                      </a:cubicBezTo>
                      <a:cubicBezTo>
                        <a:pt x="79" y="219"/>
                        <a:pt x="84" y="223"/>
                        <a:pt x="84" y="224"/>
                      </a:cubicBezTo>
                      <a:cubicBezTo>
                        <a:pt x="84" y="226"/>
                        <a:pt x="80" y="229"/>
                        <a:pt x="79" y="230"/>
                      </a:cubicBezTo>
                      <a:cubicBezTo>
                        <a:pt x="77" y="231"/>
                        <a:pt x="75" y="233"/>
                        <a:pt x="76" y="235"/>
                      </a:cubicBezTo>
                      <a:cubicBezTo>
                        <a:pt x="77" y="236"/>
                        <a:pt x="81" y="242"/>
                        <a:pt x="84" y="247"/>
                      </a:cubicBezTo>
                      <a:cubicBezTo>
                        <a:pt x="87" y="252"/>
                        <a:pt x="83" y="250"/>
                        <a:pt x="81" y="252"/>
                      </a:cubicBezTo>
                      <a:cubicBezTo>
                        <a:pt x="80" y="254"/>
                        <a:pt x="82" y="257"/>
                        <a:pt x="82" y="258"/>
                      </a:cubicBezTo>
                      <a:cubicBezTo>
                        <a:pt x="83" y="259"/>
                        <a:pt x="80" y="259"/>
                        <a:pt x="81" y="260"/>
                      </a:cubicBezTo>
                      <a:cubicBezTo>
                        <a:pt x="81" y="262"/>
                        <a:pt x="84" y="262"/>
                        <a:pt x="85" y="263"/>
                      </a:cubicBezTo>
                      <a:cubicBezTo>
                        <a:pt x="85" y="264"/>
                        <a:pt x="82" y="265"/>
                        <a:pt x="83" y="267"/>
                      </a:cubicBezTo>
                      <a:cubicBezTo>
                        <a:pt x="85" y="269"/>
                        <a:pt x="87" y="269"/>
                        <a:pt x="88" y="271"/>
                      </a:cubicBezTo>
                      <a:cubicBezTo>
                        <a:pt x="88" y="274"/>
                        <a:pt x="82" y="274"/>
                        <a:pt x="83" y="276"/>
                      </a:cubicBezTo>
                      <a:cubicBezTo>
                        <a:pt x="83" y="278"/>
                        <a:pt x="90" y="280"/>
                        <a:pt x="93" y="284"/>
                      </a:cubicBezTo>
                      <a:cubicBezTo>
                        <a:pt x="96" y="287"/>
                        <a:pt x="96" y="288"/>
                        <a:pt x="95" y="290"/>
                      </a:cubicBezTo>
                      <a:cubicBezTo>
                        <a:pt x="94" y="294"/>
                        <a:pt x="85" y="297"/>
                        <a:pt x="83" y="301"/>
                      </a:cubicBezTo>
                      <a:cubicBezTo>
                        <a:pt x="81" y="306"/>
                        <a:pt x="74" y="308"/>
                        <a:pt x="71" y="311"/>
                      </a:cubicBezTo>
                      <a:cubicBezTo>
                        <a:pt x="69" y="313"/>
                        <a:pt x="68" y="315"/>
                        <a:pt x="67" y="316"/>
                      </a:cubicBezTo>
                      <a:cubicBezTo>
                        <a:pt x="68" y="316"/>
                        <a:pt x="70" y="316"/>
                        <a:pt x="70" y="315"/>
                      </a:cubicBezTo>
                      <a:cubicBezTo>
                        <a:pt x="72" y="314"/>
                        <a:pt x="74" y="319"/>
                        <a:pt x="75" y="320"/>
                      </a:cubicBezTo>
                      <a:cubicBezTo>
                        <a:pt x="77" y="322"/>
                        <a:pt x="81" y="320"/>
                        <a:pt x="82" y="322"/>
                      </a:cubicBezTo>
                      <a:cubicBezTo>
                        <a:pt x="84" y="323"/>
                        <a:pt x="81" y="323"/>
                        <a:pt x="79" y="323"/>
                      </a:cubicBezTo>
                      <a:cubicBezTo>
                        <a:pt x="76" y="323"/>
                        <a:pt x="75" y="324"/>
                        <a:pt x="71" y="326"/>
                      </a:cubicBezTo>
                      <a:cubicBezTo>
                        <a:pt x="68" y="327"/>
                        <a:pt x="68" y="328"/>
                        <a:pt x="67" y="329"/>
                      </a:cubicBezTo>
                      <a:cubicBezTo>
                        <a:pt x="69" y="331"/>
                        <a:pt x="66" y="332"/>
                        <a:pt x="65" y="334"/>
                      </a:cubicBezTo>
                      <a:cubicBezTo>
                        <a:pt x="64" y="336"/>
                        <a:pt x="63" y="337"/>
                        <a:pt x="63" y="338"/>
                      </a:cubicBezTo>
                      <a:cubicBezTo>
                        <a:pt x="62" y="340"/>
                        <a:pt x="63" y="341"/>
                        <a:pt x="63" y="343"/>
                      </a:cubicBezTo>
                      <a:cubicBezTo>
                        <a:pt x="63" y="345"/>
                        <a:pt x="64" y="345"/>
                        <a:pt x="65" y="347"/>
                      </a:cubicBezTo>
                      <a:cubicBezTo>
                        <a:pt x="66" y="349"/>
                        <a:pt x="64" y="349"/>
                        <a:pt x="63" y="350"/>
                      </a:cubicBezTo>
                      <a:cubicBezTo>
                        <a:pt x="62" y="351"/>
                        <a:pt x="62" y="353"/>
                        <a:pt x="64" y="354"/>
                      </a:cubicBezTo>
                      <a:cubicBezTo>
                        <a:pt x="65" y="355"/>
                        <a:pt x="65" y="357"/>
                        <a:pt x="65" y="358"/>
                      </a:cubicBezTo>
                      <a:cubicBezTo>
                        <a:pt x="64" y="360"/>
                        <a:pt x="66" y="362"/>
                        <a:pt x="67" y="363"/>
                      </a:cubicBezTo>
                      <a:cubicBezTo>
                        <a:pt x="69" y="364"/>
                        <a:pt x="68" y="368"/>
                        <a:pt x="69" y="369"/>
                      </a:cubicBezTo>
                      <a:cubicBezTo>
                        <a:pt x="71" y="369"/>
                        <a:pt x="72" y="370"/>
                        <a:pt x="74" y="370"/>
                      </a:cubicBezTo>
                      <a:cubicBezTo>
                        <a:pt x="76" y="369"/>
                        <a:pt x="77" y="370"/>
                        <a:pt x="78" y="372"/>
                      </a:cubicBezTo>
                      <a:cubicBezTo>
                        <a:pt x="79" y="373"/>
                        <a:pt x="80" y="373"/>
                        <a:pt x="82" y="372"/>
                      </a:cubicBezTo>
                      <a:cubicBezTo>
                        <a:pt x="84" y="371"/>
                        <a:pt x="89" y="373"/>
                        <a:pt x="90" y="374"/>
                      </a:cubicBezTo>
                      <a:cubicBezTo>
                        <a:pt x="91" y="374"/>
                        <a:pt x="90" y="377"/>
                        <a:pt x="90" y="379"/>
                      </a:cubicBezTo>
                      <a:cubicBezTo>
                        <a:pt x="90" y="381"/>
                        <a:pt x="89" y="384"/>
                        <a:pt x="91" y="385"/>
                      </a:cubicBezTo>
                      <a:cubicBezTo>
                        <a:pt x="93" y="386"/>
                        <a:pt x="93" y="389"/>
                        <a:pt x="95" y="390"/>
                      </a:cubicBezTo>
                      <a:cubicBezTo>
                        <a:pt x="97" y="391"/>
                        <a:pt x="98" y="394"/>
                        <a:pt x="100" y="395"/>
                      </a:cubicBezTo>
                      <a:cubicBezTo>
                        <a:pt x="101" y="395"/>
                        <a:pt x="104" y="397"/>
                        <a:pt x="104" y="399"/>
                      </a:cubicBezTo>
                      <a:cubicBezTo>
                        <a:pt x="104" y="400"/>
                        <a:pt x="102" y="402"/>
                        <a:pt x="100" y="402"/>
                      </a:cubicBezTo>
                      <a:cubicBezTo>
                        <a:pt x="98" y="403"/>
                        <a:pt x="95" y="400"/>
                        <a:pt x="94" y="402"/>
                      </a:cubicBezTo>
                      <a:cubicBezTo>
                        <a:pt x="93" y="403"/>
                        <a:pt x="95" y="405"/>
                        <a:pt x="95" y="409"/>
                      </a:cubicBezTo>
                      <a:cubicBezTo>
                        <a:pt x="96" y="413"/>
                        <a:pt x="97" y="413"/>
                        <a:pt x="99" y="413"/>
                      </a:cubicBezTo>
                      <a:cubicBezTo>
                        <a:pt x="101" y="413"/>
                        <a:pt x="101" y="412"/>
                        <a:pt x="103" y="411"/>
                      </a:cubicBezTo>
                      <a:cubicBezTo>
                        <a:pt x="104" y="411"/>
                        <a:pt x="107" y="412"/>
                        <a:pt x="108" y="411"/>
                      </a:cubicBezTo>
                      <a:cubicBezTo>
                        <a:pt x="109" y="411"/>
                        <a:pt x="114" y="410"/>
                        <a:pt x="115" y="412"/>
                      </a:cubicBezTo>
                      <a:cubicBezTo>
                        <a:pt x="115" y="413"/>
                        <a:pt x="116" y="417"/>
                        <a:pt x="116" y="418"/>
                      </a:cubicBezTo>
                      <a:cubicBezTo>
                        <a:pt x="115" y="419"/>
                        <a:pt x="117" y="421"/>
                        <a:pt x="117" y="422"/>
                      </a:cubicBezTo>
                      <a:cubicBezTo>
                        <a:pt x="118" y="424"/>
                        <a:pt x="122" y="423"/>
                        <a:pt x="123" y="424"/>
                      </a:cubicBezTo>
                      <a:cubicBezTo>
                        <a:pt x="125" y="424"/>
                        <a:pt x="127" y="428"/>
                        <a:pt x="127" y="430"/>
                      </a:cubicBezTo>
                      <a:cubicBezTo>
                        <a:pt x="126" y="432"/>
                        <a:pt x="129" y="432"/>
                        <a:pt x="130" y="432"/>
                      </a:cubicBezTo>
                      <a:cubicBezTo>
                        <a:pt x="131" y="431"/>
                        <a:pt x="132" y="433"/>
                        <a:pt x="134" y="433"/>
                      </a:cubicBezTo>
                      <a:cubicBezTo>
                        <a:pt x="135" y="434"/>
                        <a:pt x="137" y="434"/>
                        <a:pt x="138" y="433"/>
                      </a:cubicBezTo>
                      <a:cubicBezTo>
                        <a:pt x="139" y="432"/>
                        <a:pt x="142" y="432"/>
                        <a:pt x="142" y="433"/>
                      </a:cubicBezTo>
                      <a:cubicBezTo>
                        <a:pt x="143" y="434"/>
                        <a:pt x="146" y="436"/>
                        <a:pt x="146" y="437"/>
                      </a:cubicBezTo>
                      <a:cubicBezTo>
                        <a:pt x="146" y="438"/>
                        <a:pt x="150" y="437"/>
                        <a:pt x="153" y="438"/>
                      </a:cubicBezTo>
                      <a:cubicBezTo>
                        <a:pt x="155" y="439"/>
                        <a:pt x="157" y="439"/>
                        <a:pt x="159" y="440"/>
                      </a:cubicBezTo>
                      <a:cubicBezTo>
                        <a:pt x="162" y="441"/>
                        <a:pt x="164" y="441"/>
                        <a:pt x="164" y="443"/>
                      </a:cubicBezTo>
                      <a:cubicBezTo>
                        <a:pt x="164" y="444"/>
                        <a:pt x="162" y="445"/>
                        <a:pt x="162" y="446"/>
                      </a:cubicBezTo>
                      <a:cubicBezTo>
                        <a:pt x="162" y="447"/>
                        <a:pt x="164" y="447"/>
                        <a:pt x="164" y="448"/>
                      </a:cubicBezTo>
                      <a:cubicBezTo>
                        <a:pt x="164" y="450"/>
                        <a:pt x="161" y="450"/>
                        <a:pt x="161" y="450"/>
                      </a:cubicBezTo>
                      <a:cubicBezTo>
                        <a:pt x="160" y="451"/>
                        <a:pt x="162" y="453"/>
                        <a:pt x="163" y="453"/>
                      </a:cubicBezTo>
                      <a:cubicBezTo>
                        <a:pt x="163" y="454"/>
                        <a:pt x="161" y="457"/>
                        <a:pt x="161" y="458"/>
                      </a:cubicBezTo>
                      <a:cubicBezTo>
                        <a:pt x="161" y="459"/>
                        <a:pt x="156" y="458"/>
                        <a:pt x="155" y="458"/>
                      </a:cubicBezTo>
                      <a:cubicBezTo>
                        <a:pt x="153" y="458"/>
                        <a:pt x="150" y="462"/>
                        <a:pt x="148" y="462"/>
                      </a:cubicBezTo>
                      <a:cubicBezTo>
                        <a:pt x="147" y="463"/>
                        <a:pt x="148" y="465"/>
                        <a:pt x="148" y="466"/>
                      </a:cubicBezTo>
                      <a:cubicBezTo>
                        <a:pt x="152" y="465"/>
                        <a:pt x="156" y="465"/>
                        <a:pt x="156" y="466"/>
                      </a:cubicBezTo>
                      <a:cubicBezTo>
                        <a:pt x="157" y="467"/>
                        <a:pt x="148" y="471"/>
                        <a:pt x="146" y="472"/>
                      </a:cubicBezTo>
                      <a:cubicBezTo>
                        <a:pt x="145" y="472"/>
                        <a:pt x="150" y="475"/>
                        <a:pt x="149" y="476"/>
                      </a:cubicBezTo>
                      <a:cubicBezTo>
                        <a:pt x="149" y="478"/>
                        <a:pt x="144" y="478"/>
                        <a:pt x="145" y="481"/>
                      </a:cubicBezTo>
                      <a:cubicBezTo>
                        <a:pt x="145" y="484"/>
                        <a:pt x="143" y="484"/>
                        <a:pt x="140" y="484"/>
                      </a:cubicBezTo>
                      <a:cubicBezTo>
                        <a:pt x="138" y="484"/>
                        <a:pt x="137" y="486"/>
                        <a:pt x="138" y="486"/>
                      </a:cubicBezTo>
                      <a:cubicBezTo>
                        <a:pt x="139" y="487"/>
                        <a:pt x="139" y="490"/>
                        <a:pt x="144" y="491"/>
                      </a:cubicBezTo>
                      <a:cubicBezTo>
                        <a:pt x="150" y="493"/>
                        <a:pt x="155" y="498"/>
                        <a:pt x="159" y="502"/>
                      </a:cubicBezTo>
                      <a:cubicBezTo>
                        <a:pt x="160" y="503"/>
                        <a:pt x="161" y="503"/>
                        <a:pt x="161" y="504"/>
                      </a:cubicBezTo>
                      <a:cubicBezTo>
                        <a:pt x="163" y="503"/>
                        <a:pt x="164" y="503"/>
                        <a:pt x="165" y="503"/>
                      </a:cubicBezTo>
                      <a:cubicBezTo>
                        <a:pt x="167" y="502"/>
                        <a:pt x="172" y="504"/>
                        <a:pt x="174" y="505"/>
                      </a:cubicBezTo>
                      <a:cubicBezTo>
                        <a:pt x="177" y="507"/>
                        <a:pt x="186" y="505"/>
                        <a:pt x="187" y="506"/>
                      </a:cubicBezTo>
                      <a:cubicBezTo>
                        <a:pt x="188" y="508"/>
                        <a:pt x="190" y="510"/>
                        <a:pt x="192" y="510"/>
                      </a:cubicBezTo>
                      <a:cubicBezTo>
                        <a:pt x="193" y="510"/>
                        <a:pt x="195" y="513"/>
                        <a:pt x="197" y="512"/>
                      </a:cubicBezTo>
                      <a:cubicBezTo>
                        <a:pt x="198" y="511"/>
                        <a:pt x="203" y="511"/>
                        <a:pt x="205" y="511"/>
                      </a:cubicBezTo>
                      <a:cubicBezTo>
                        <a:pt x="206" y="511"/>
                        <a:pt x="206" y="512"/>
                        <a:pt x="208" y="512"/>
                      </a:cubicBezTo>
                      <a:cubicBezTo>
                        <a:pt x="209" y="512"/>
                        <a:pt x="209" y="517"/>
                        <a:pt x="210" y="517"/>
                      </a:cubicBezTo>
                      <a:cubicBezTo>
                        <a:pt x="211" y="517"/>
                        <a:pt x="215" y="520"/>
                        <a:pt x="218" y="521"/>
                      </a:cubicBezTo>
                      <a:cubicBezTo>
                        <a:pt x="220" y="521"/>
                        <a:pt x="223" y="525"/>
                        <a:pt x="224" y="525"/>
                      </a:cubicBezTo>
                      <a:cubicBezTo>
                        <a:pt x="225" y="525"/>
                        <a:pt x="227" y="527"/>
                        <a:pt x="227" y="525"/>
                      </a:cubicBezTo>
                      <a:cubicBezTo>
                        <a:pt x="228" y="523"/>
                        <a:pt x="231" y="524"/>
                        <a:pt x="232" y="521"/>
                      </a:cubicBezTo>
                      <a:cubicBezTo>
                        <a:pt x="228" y="516"/>
                        <a:pt x="223" y="510"/>
                        <a:pt x="223" y="507"/>
                      </a:cubicBezTo>
                      <a:cubicBezTo>
                        <a:pt x="223" y="503"/>
                        <a:pt x="225" y="500"/>
                        <a:pt x="220" y="496"/>
                      </a:cubicBezTo>
                      <a:cubicBezTo>
                        <a:pt x="215" y="492"/>
                        <a:pt x="221" y="489"/>
                        <a:pt x="224" y="485"/>
                      </a:cubicBezTo>
                      <a:cubicBezTo>
                        <a:pt x="227" y="481"/>
                        <a:pt x="234" y="479"/>
                        <a:pt x="238" y="476"/>
                      </a:cubicBezTo>
                      <a:cubicBezTo>
                        <a:pt x="238" y="475"/>
                        <a:pt x="237" y="475"/>
                        <a:pt x="236" y="474"/>
                      </a:cubicBezTo>
                      <a:cubicBezTo>
                        <a:pt x="233" y="473"/>
                        <a:pt x="232" y="471"/>
                        <a:pt x="234" y="471"/>
                      </a:cubicBezTo>
                      <a:cubicBezTo>
                        <a:pt x="237" y="470"/>
                        <a:pt x="235" y="469"/>
                        <a:pt x="233" y="466"/>
                      </a:cubicBezTo>
                      <a:cubicBezTo>
                        <a:pt x="230" y="463"/>
                        <a:pt x="229" y="460"/>
                        <a:pt x="228" y="460"/>
                      </a:cubicBezTo>
                      <a:cubicBezTo>
                        <a:pt x="227" y="460"/>
                        <a:pt x="224" y="460"/>
                        <a:pt x="222" y="460"/>
                      </a:cubicBezTo>
                      <a:cubicBezTo>
                        <a:pt x="220" y="461"/>
                        <a:pt x="221" y="459"/>
                        <a:pt x="221" y="456"/>
                      </a:cubicBezTo>
                      <a:cubicBezTo>
                        <a:pt x="221" y="454"/>
                        <a:pt x="217" y="454"/>
                        <a:pt x="216" y="453"/>
                      </a:cubicBezTo>
                      <a:cubicBezTo>
                        <a:pt x="216" y="452"/>
                        <a:pt x="217" y="448"/>
                        <a:pt x="218" y="448"/>
                      </a:cubicBezTo>
                      <a:cubicBezTo>
                        <a:pt x="219" y="448"/>
                        <a:pt x="221" y="447"/>
                        <a:pt x="221" y="445"/>
                      </a:cubicBezTo>
                      <a:cubicBezTo>
                        <a:pt x="221" y="444"/>
                        <a:pt x="217" y="444"/>
                        <a:pt x="218" y="442"/>
                      </a:cubicBezTo>
                      <a:cubicBezTo>
                        <a:pt x="220" y="439"/>
                        <a:pt x="223" y="439"/>
                        <a:pt x="223" y="437"/>
                      </a:cubicBezTo>
                      <a:cubicBezTo>
                        <a:pt x="223" y="434"/>
                        <a:pt x="225" y="432"/>
                        <a:pt x="227" y="434"/>
                      </a:cubicBezTo>
                      <a:cubicBezTo>
                        <a:pt x="230" y="435"/>
                        <a:pt x="231" y="440"/>
                        <a:pt x="234" y="439"/>
                      </a:cubicBezTo>
                      <a:cubicBezTo>
                        <a:pt x="237" y="438"/>
                        <a:pt x="235" y="435"/>
                        <a:pt x="234" y="434"/>
                      </a:cubicBezTo>
                      <a:cubicBezTo>
                        <a:pt x="234" y="433"/>
                        <a:pt x="233" y="430"/>
                        <a:pt x="237" y="430"/>
                      </a:cubicBezTo>
                      <a:cubicBezTo>
                        <a:pt x="240" y="429"/>
                        <a:pt x="238" y="426"/>
                        <a:pt x="241" y="426"/>
                      </a:cubicBezTo>
                      <a:cubicBezTo>
                        <a:pt x="243" y="426"/>
                        <a:pt x="248" y="423"/>
                        <a:pt x="249" y="422"/>
                      </a:cubicBezTo>
                      <a:cubicBezTo>
                        <a:pt x="251" y="421"/>
                        <a:pt x="254" y="419"/>
                        <a:pt x="255" y="420"/>
                      </a:cubicBezTo>
                      <a:cubicBezTo>
                        <a:pt x="257" y="421"/>
                        <a:pt x="259" y="423"/>
                        <a:pt x="260" y="420"/>
                      </a:cubicBezTo>
                      <a:cubicBezTo>
                        <a:pt x="261" y="418"/>
                        <a:pt x="265" y="419"/>
                        <a:pt x="265" y="420"/>
                      </a:cubicBezTo>
                      <a:cubicBezTo>
                        <a:pt x="266" y="422"/>
                        <a:pt x="273" y="422"/>
                        <a:pt x="275" y="423"/>
                      </a:cubicBezTo>
                      <a:cubicBezTo>
                        <a:pt x="277" y="424"/>
                        <a:pt x="281" y="427"/>
                        <a:pt x="281" y="429"/>
                      </a:cubicBezTo>
                      <a:cubicBezTo>
                        <a:pt x="281" y="430"/>
                        <a:pt x="284" y="432"/>
                        <a:pt x="284" y="430"/>
                      </a:cubicBezTo>
                      <a:cubicBezTo>
                        <a:pt x="284" y="427"/>
                        <a:pt x="285" y="428"/>
                        <a:pt x="288" y="430"/>
                      </a:cubicBezTo>
                      <a:cubicBezTo>
                        <a:pt x="291" y="432"/>
                        <a:pt x="295" y="431"/>
                        <a:pt x="296" y="429"/>
                      </a:cubicBezTo>
                      <a:cubicBezTo>
                        <a:pt x="296" y="427"/>
                        <a:pt x="302" y="425"/>
                        <a:pt x="304" y="427"/>
                      </a:cubicBezTo>
                      <a:cubicBezTo>
                        <a:pt x="305" y="428"/>
                        <a:pt x="306" y="429"/>
                        <a:pt x="308" y="427"/>
                      </a:cubicBezTo>
                      <a:cubicBezTo>
                        <a:pt x="310" y="425"/>
                        <a:pt x="315" y="425"/>
                        <a:pt x="316" y="427"/>
                      </a:cubicBezTo>
                      <a:cubicBezTo>
                        <a:pt x="317" y="429"/>
                        <a:pt x="319" y="430"/>
                        <a:pt x="321" y="430"/>
                      </a:cubicBezTo>
                      <a:cubicBezTo>
                        <a:pt x="324" y="430"/>
                        <a:pt x="324" y="433"/>
                        <a:pt x="325" y="432"/>
                      </a:cubicBezTo>
                      <a:cubicBezTo>
                        <a:pt x="327" y="432"/>
                        <a:pt x="326" y="428"/>
                        <a:pt x="328" y="428"/>
                      </a:cubicBezTo>
                      <a:cubicBezTo>
                        <a:pt x="330" y="429"/>
                        <a:pt x="331" y="431"/>
                        <a:pt x="334" y="431"/>
                      </a:cubicBezTo>
                      <a:cubicBezTo>
                        <a:pt x="337" y="431"/>
                        <a:pt x="339" y="430"/>
                        <a:pt x="339" y="428"/>
                      </a:cubicBezTo>
                      <a:cubicBezTo>
                        <a:pt x="339" y="426"/>
                        <a:pt x="339" y="422"/>
                        <a:pt x="337" y="422"/>
                      </a:cubicBezTo>
                      <a:cubicBezTo>
                        <a:pt x="335" y="422"/>
                        <a:pt x="334" y="420"/>
                        <a:pt x="331" y="420"/>
                      </a:cubicBezTo>
                      <a:cubicBezTo>
                        <a:pt x="329" y="420"/>
                        <a:pt x="327" y="417"/>
                        <a:pt x="329" y="416"/>
                      </a:cubicBezTo>
                      <a:cubicBezTo>
                        <a:pt x="331" y="415"/>
                        <a:pt x="335" y="414"/>
                        <a:pt x="334" y="412"/>
                      </a:cubicBezTo>
                      <a:cubicBezTo>
                        <a:pt x="334" y="410"/>
                        <a:pt x="333" y="407"/>
                        <a:pt x="336" y="406"/>
                      </a:cubicBezTo>
                      <a:cubicBezTo>
                        <a:pt x="339" y="406"/>
                        <a:pt x="345" y="406"/>
                        <a:pt x="344" y="405"/>
                      </a:cubicBezTo>
                      <a:cubicBezTo>
                        <a:pt x="344" y="404"/>
                        <a:pt x="338" y="403"/>
                        <a:pt x="337" y="401"/>
                      </a:cubicBezTo>
                      <a:cubicBezTo>
                        <a:pt x="336" y="399"/>
                        <a:pt x="336" y="395"/>
                        <a:pt x="337" y="394"/>
                      </a:cubicBezTo>
                      <a:cubicBezTo>
                        <a:pt x="338" y="394"/>
                        <a:pt x="341" y="395"/>
                        <a:pt x="344" y="394"/>
                      </a:cubicBezTo>
                      <a:cubicBezTo>
                        <a:pt x="346" y="393"/>
                        <a:pt x="350" y="395"/>
                        <a:pt x="353" y="393"/>
                      </a:cubicBezTo>
                      <a:cubicBezTo>
                        <a:pt x="356" y="391"/>
                        <a:pt x="362" y="391"/>
                        <a:pt x="365" y="391"/>
                      </a:cubicBezTo>
                      <a:cubicBezTo>
                        <a:pt x="369" y="391"/>
                        <a:pt x="371" y="388"/>
                        <a:pt x="374" y="388"/>
                      </a:cubicBezTo>
                      <a:cubicBezTo>
                        <a:pt x="376" y="388"/>
                        <a:pt x="383" y="387"/>
                        <a:pt x="385" y="386"/>
                      </a:cubicBezTo>
                      <a:cubicBezTo>
                        <a:pt x="387" y="385"/>
                        <a:pt x="396" y="384"/>
                        <a:pt x="397" y="382"/>
                      </a:cubicBezTo>
                      <a:cubicBezTo>
                        <a:pt x="397" y="380"/>
                        <a:pt x="405" y="379"/>
                        <a:pt x="407" y="380"/>
                      </a:cubicBezTo>
                      <a:cubicBezTo>
                        <a:pt x="409" y="381"/>
                        <a:pt x="411" y="381"/>
                        <a:pt x="413" y="381"/>
                      </a:cubicBezTo>
                      <a:cubicBezTo>
                        <a:pt x="415" y="380"/>
                        <a:pt x="418" y="382"/>
                        <a:pt x="418" y="384"/>
                      </a:cubicBezTo>
                      <a:cubicBezTo>
                        <a:pt x="418" y="386"/>
                        <a:pt x="420" y="388"/>
                        <a:pt x="420" y="389"/>
                      </a:cubicBezTo>
                      <a:cubicBezTo>
                        <a:pt x="419" y="391"/>
                        <a:pt x="418" y="392"/>
                        <a:pt x="419" y="393"/>
                      </a:cubicBezTo>
                      <a:cubicBezTo>
                        <a:pt x="420" y="394"/>
                        <a:pt x="425" y="393"/>
                        <a:pt x="426" y="392"/>
                      </a:cubicBezTo>
                      <a:cubicBezTo>
                        <a:pt x="427" y="390"/>
                        <a:pt x="429" y="392"/>
                        <a:pt x="429" y="394"/>
                      </a:cubicBezTo>
                      <a:cubicBezTo>
                        <a:pt x="429" y="395"/>
                        <a:pt x="431" y="396"/>
                        <a:pt x="431" y="394"/>
                      </a:cubicBezTo>
                      <a:cubicBezTo>
                        <a:pt x="431" y="392"/>
                        <a:pt x="434" y="394"/>
                        <a:pt x="435" y="395"/>
                      </a:cubicBezTo>
                      <a:cubicBezTo>
                        <a:pt x="436" y="396"/>
                        <a:pt x="439" y="393"/>
                        <a:pt x="439" y="395"/>
                      </a:cubicBezTo>
                      <a:cubicBezTo>
                        <a:pt x="439" y="397"/>
                        <a:pt x="434" y="398"/>
                        <a:pt x="436" y="400"/>
                      </a:cubicBezTo>
                      <a:cubicBezTo>
                        <a:pt x="439" y="402"/>
                        <a:pt x="440" y="398"/>
                        <a:pt x="443" y="399"/>
                      </a:cubicBezTo>
                      <a:cubicBezTo>
                        <a:pt x="445" y="400"/>
                        <a:pt x="449" y="396"/>
                        <a:pt x="451" y="395"/>
                      </a:cubicBezTo>
                      <a:cubicBezTo>
                        <a:pt x="454" y="395"/>
                        <a:pt x="456" y="392"/>
                        <a:pt x="459" y="391"/>
                      </a:cubicBezTo>
                      <a:cubicBezTo>
                        <a:pt x="461" y="390"/>
                        <a:pt x="465" y="390"/>
                        <a:pt x="464" y="392"/>
                      </a:cubicBezTo>
                      <a:cubicBezTo>
                        <a:pt x="463" y="393"/>
                        <a:pt x="461" y="396"/>
                        <a:pt x="466" y="398"/>
                      </a:cubicBezTo>
                      <a:cubicBezTo>
                        <a:pt x="472" y="400"/>
                        <a:pt x="478" y="410"/>
                        <a:pt x="481" y="415"/>
                      </a:cubicBezTo>
                      <a:cubicBezTo>
                        <a:pt x="484" y="420"/>
                        <a:pt x="488" y="430"/>
                        <a:pt x="489" y="430"/>
                      </a:cubicBezTo>
                      <a:cubicBezTo>
                        <a:pt x="491" y="430"/>
                        <a:pt x="492" y="425"/>
                        <a:pt x="494" y="425"/>
                      </a:cubicBezTo>
                      <a:cubicBezTo>
                        <a:pt x="496" y="424"/>
                        <a:pt x="498" y="429"/>
                        <a:pt x="500" y="429"/>
                      </a:cubicBezTo>
                      <a:cubicBezTo>
                        <a:pt x="503" y="430"/>
                        <a:pt x="506" y="431"/>
                        <a:pt x="508" y="430"/>
                      </a:cubicBezTo>
                      <a:cubicBezTo>
                        <a:pt x="510" y="430"/>
                        <a:pt x="515" y="427"/>
                        <a:pt x="516" y="428"/>
                      </a:cubicBezTo>
                      <a:cubicBezTo>
                        <a:pt x="518" y="429"/>
                        <a:pt x="520" y="429"/>
                        <a:pt x="521" y="432"/>
                      </a:cubicBezTo>
                      <a:cubicBezTo>
                        <a:pt x="523" y="436"/>
                        <a:pt x="525" y="436"/>
                        <a:pt x="526" y="436"/>
                      </a:cubicBezTo>
                      <a:cubicBezTo>
                        <a:pt x="528" y="436"/>
                        <a:pt x="528" y="438"/>
                        <a:pt x="528" y="439"/>
                      </a:cubicBezTo>
                      <a:cubicBezTo>
                        <a:pt x="528" y="441"/>
                        <a:pt x="531" y="443"/>
                        <a:pt x="532" y="443"/>
                      </a:cubicBezTo>
                      <a:cubicBezTo>
                        <a:pt x="534" y="443"/>
                        <a:pt x="537" y="442"/>
                        <a:pt x="539" y="442"/>
                      </a:cubicBezTo>
                      <a:cubicBezTo>
                        <a:pt x="540" y="441"/>
                        <a:pt x="541" y="440"/>
                        <a:pt x="541" y="442"/>
                      </a:cubicBezTo>
                      <a:cubicBezTo>
                        <a:pt x="542" y="443"/>
                        <a:pt x="544" y="446"/>
                        <a:pt x="545" y="446"/>
                      </a:cubicBezTo>
                      <a:cubicBezTo>
                        <a:pt x="547" y="446"/>
                        <a:pt x="549" y="447"/>
                        <a:pt x="550" y="446"/>
                      </a:cubicBezTo>
                      <a:cubicBezTo>
                        <a:pt x="550" y="445"/>
                        <a:pt x="554" y="444"/>
                        <a:pt x="555" y="444"/>
                      </a:cubicBezTo>
                      <a:cubicBezTo>
                        <a:pt x="557" y="444"/>
                        <a:pt x="562" y="443"/>
                        <a:pt x="563" y="441"/>
                      </a:cubicBezTo>
                      <a:cubicBezTo>
                        <a:pt x="564" y="438"/>
                        <a:pt x="568" y="438"/>
                        <a:pt x="569" y="437"/>
                      </a:cubicBezTo>
                      <a:cubicBezTo>
                        <a:pt x="570" y="436"/>
                        <a:pt x="573" y="435"/>
                        <a:pt x="574" y="433"/>
                      </a:cubicBezTo>
                      <a:cubicBezTo>
                        <a:pt x="575" y="432"/>
                        <a:pt x="579" y="432"/>
                        <a:pt x="579" y="431"/>
                      </a:cubicBezTo>
                      <a:cubicBezTo>
                        <a:pt x="580" y="430"/>
                        <a:pt x="583" y="430"/>
                        <a:pt x="585" y="430"/>
                      </a:cubicBezTo>
                      <a:cubicBezTo>
                        <a:pt x="587" y="431"/>
                        <a:pt x="595" y="432"/>
                        <a:pt x="596" y="432"/>
                      </a:cubicBezTo>
                      <a:cubicBezTo>
                        <a:pt x="598" y="432"/>
                        <a:pt x="598" y="436"/>
                        <a:pt x="599" y="437"/>
                      </a:cubicBezTo>
                      <a:cubicBezTo>
                        <a:pt x="600" y="437"/>
                        <a:pt x="604" y="440"/>
                        <a:pt x="606" y="439"/>
                      </a:cubicBezTo>
                      <a:cubicBezTo>
                        <a:pt x="607" y="438"/>
                        <a:pt x="610" y="437"/>
                        <a:pt x="612" y="439"/>
                      </a:cubicBezTo>
                      <a:cubicBezTo>
                        <a:pt x="614" y="440"/>
                        <a:pt x="617" y="442"/>
                        <a:pt x="618" y="440"/>
                      </a:cubicBezTo>
                      <a:cubicBezTo>
                        <a:pt x="619" y="439"/>
                        <a:pt x="624" y="438"/>
                        <a:pt x="624" y="437"/>
                      </a:cubicBezTo>
                      <a:cubicBezTo>
                        <a:pt x="625" y="436"/>
                        <a:pt x="626" y="433"/>
                        <a:pt x="625" y="432"/>
                      </a:cubicBezTo>
                      <a:cubicBezTo>
                        <a:pt x="623" y="431"/>
                        <a:pt x="622" y="427"/>
                        <a:pt x="622" y="426"/>
                      </a:cubicBezTo>
                      <a:cubicBezTo>
                        <a:pt x="621" y="424"/>
                        <a:pt x="625" y="423"/>
                        <a:pt x="625" y="422"/>
                      </a:cubicBezTo>
                      <a:cubicBezTo>
                        <a:pt x="626" y="420"/>
                        <a:pt x="628" y="420"/>
                        <a:pt x="629" y="419"/>
                      </a:cubicBezTo>
                      <a:cubicBezTo>
                        <a:pt x="630" y="418"/>
                        <a:pt x="631" y="416"/>
                        <a:pt x="632" y="416"/>
                      </a:cubicBezTo>
                      <a:cubicBezTo>
                        <a:pt x="634" y="417"/>
                        <a:pt x="637" y="418"/>
                        <a:pt x="638" y="418"/>
                      </a:cubicBezTo>
                      <a:cubicBezTo>
                        <a:pt x="639" y="419"/>
                        <a:pt x="642" y="420"/>
                        <a:pt x="643" y="420"/>
                      </a:cubicBezTo>
                      <a:cubicBezTo>
                        <a:pt x="645" y="420"/>
                        <a:pt x="647" y="421"/>
                        <a:pt x="649" y="422"/>
                      </a:cubicBezTo>
                      <a:cubicBezTo>
                        <a:pt x="651" y="423"/>
                        <a:pt x="656" y="423"/>
                        <a:pt x="657" y="424"/>
                      </a:cubicBezTo>
                      <a:cubicBezTo>
                        <a:pt x="658" y="426"/>
                        <a:pt x="657" y="430"/>
                        <a:pt x="658" y="431"/>
                      </a:cubicBezTo>
                      <a:cubicBezTo>
                        <a:pt x="659" y="433"/>
                        <a:pt x="662" y="436"/>
                        <a:pt x="663" y="435"/>
                      </a:cubicBezTo>
                      <a:cubicBezTo>
                        <a:pt x="664" y="434"/>
                        <a:pt x="668" y="437"/>
                        <a:pt x="670" y="437"/>
                      </a:cubicBezTo>
                      <a:cubicBezTo>
                        <a:pt x="672" y="437"/>
                        <a:pt x="674" y="434"/>
                        <a:pt x="676" y="434"/>
                      </a:cubicBezTo>
                      <a:cubicBezTo>
                        <a:pt x="677" y="434"/>
                        <a:pt x="682" y="433"/>
                        <a:pt x="683" y="433"/>
                      </a:cubicBezTo>
                      <a:cubicBezTo>
                        <a:pt x="685" y="434"/>
                        <a:pt x="690" y="436"/>
                        <a:pt x="691" y="435"/>
                      </a:cubicBezTo>
                      <a:cubicBezTo>
                        <a:pt x="691" y="435"/>
                        <a:pt x="696" y="435"/>
                        <a:pt x="697" y="437"/>
                      </a:cubicBezTo>
                      <a:cubicBezTo>
                        <a:pt x="697" y="438"/>
                        <a:pt x="703" y="438"/>
                        <a:pt x="703" y="440"/>
                      </a:cubicBezTo>
                      <a:cubicBezTo>
                        <a:pt x="703" y="442"/>
                        <a:pt x="707" y="442"/>
                        <a:pt x="708" y="444"/>
                      </a:cubicBezTo>
                      <a:cubicBezTo>
                        <a:pt x="709" y="446"/>
                        <a:pt x="716" y="445"/>
                        <a:pt x="718" y="446"/>
                      </a:cubicBezTo>
                      <a:cubicBezTo>
                        <a:pt x="719" y="447"/>
                        <a:pt x="728" y="447"/>
                        <a:pt x="729" y="446"/>
                      </a:cubicBezTo>
                      <a:cubicBezTo>
                        <a:pt x="729" y="445"/>
                        <a:pt x="737" y="445"/>
                        <a:pt x="739" y="444"/>
                      </a:cubicBezTo>
                      <a:cubicBezTo>
                        <a:pt x="741" y="442"/>
                        <a:pt x="745" y="443"/>
                        <a:pt x="745" y="441"/>
                      </a:cubicBezTo>
                      <a:cubicBezTo>
                        <a:pt x="746" y="440"/>
                        <a:pt x="750" y="438"/>
                        <a:pt x="752" y="437"/>
                      </a:cubicBezTo>
                      <a:cubicBezTo>
                        <a:pt x="754" y="436"/>
                        <a:pt x="761" y="436"/>
                        <a:pt x="762" y="437"/>
                      </a:cubicBezTo>
                      <a:cubicBezTo>
                        <a:pt x="762" y="439"/>
                        <a:pt x="767" y="440"/>
                        <a:pt x="769" y="439"/>
                      </a:cubicBezTo>
                      <a:cubicBezTo>
                        <a:pt x="771" y="438"/>
                        <a:pt x="776" y="439"/>
                        <a:pt x="776" y="441"/>
                      </a:cubicBezTo>
                      <a:cubicBezTo>
                        <a:pt x="777" y="442"/>
                        <a:pt x="783" y="443"/>
                        <a:pt x="784" y="443"/>
                      </a:cubicBezTo>
                      <a:cubicBezTo>
                        <a:pt x="786" y="442"/>
                        <a:pt x="790" y="439"/>
                        <a:pt x="792" y="439"/>
                      </a:cubicBezTo>
                      <a:cubicBezTo>
                        <a:pt x="793" y="439"/>
                        <a:pt x="796" y="437"/>
                        <a:pt x="795" y="435"/>
                      </a:cubicBezTo>
                      <a:cubicBezTo>
                        <a:pt x="795" y="434"/>
                        <a:pt x="799" y="429"/>
                        <a:pt x="799" y="427"/>
                      </a:cubicBezTo>
                      <a:cubicBezTo>
                        <a:pt x="800" y="425"/>
                        <a:pt x="803" y="420"/>
                        <a:pt x="804" y="419"/>
                      </a:cubicBezTo>
                      <a:cubicBezTo>
                        <a:pt x="805" y="419"/>
                        <a:pt x="808" y="417"/>
                        <a:pt x="808" y="415"/>
                      </a:cubicBezTo>
                      <a:cubicBezTo>
                        <a:pt x="808" y="414"/>
                        <a:pt x="807" y="410"/>
                        <a:pt x="805" y="410"/>
                      </a:cubicBezTo>
                      <a:cubicBezTo>
                        <a:pt x="804" y="410"/>
                        <a:pt x="801" y="410"/>
                        <a:pt x="805" y="405"/>
                      </a:cubicBezTo>
                      <a:cubicBezTo>
                        <a:pt x="808" y="401"/>
                        <a:pt x="814" y="402"/>
                        <a:pt x="815" y="402"/>
                      </a:cubicBezTo>
                      <a:cubicBezTo>
                        <a:pt x="816" y="402"/>
                        <a:pt x="823" y="400"/>
                        <a:pt x="827" y="401"/>
                      </a:cubicBezTo>
                      <a:cubicBezTo>
                        <a:pt x="830" y="402"/>
                        <a:pt x="832" y="401"/>
                        <a:pt x="836" y="403"/>
                      </a:cubicBezTo>
                      <a:cubicBezTo>
                        <a:pt x="839" y="404"/>
                        <a:pt x="844" y="404"/>
                        <a:pt x="846" y="405"/>
                      </a:cubicBezTo>
                      <a:cubicBezTo>
                        <a:pt x="847" y="407"/>
                        <a:pt x="851" y="408"/>
                        <a:pt x="851" y="411"/>
                      </a:cubicBezTo>
                      <a:cubicBezTo>
                        <a:pt x="850" y="414"/>
                        <a:pt x="853" y="413"/>
                        <a:pt x="855" y="419"/>
                      </a:cubicBezTo>
                      <a:cubicBezTo>
                        <a:pt x="856" y="425"/>
                        <a:pt x="859" y="425"/>
                        <a:pt x="859" y="428"/>
                      </a:cubicBezTo>
                      <a:cubicBezTo>
                        <a:pt x="860" y="431"/>
                        <a:pt x="864" y="436"/>
                        <a:pt x="863" y="438"/>
                      </a:cubicBezTo>
                      <a:cubicBezTo>
                        <a:pt x="863" y="440"/>
                        <a:pt x="862" y="442"/>
                        <a:pt x="866" y="442"/>
                      </a:cubicBezTo>
                      <a:cubicBezTo>
                        <a:pt x="871" y="443"/>
                        <a:pt x="873" y="446"/>
                        <a:pt x="874" y="445"/>
                      </a:cubicBezTo>
                      <a:cubicBezTo>
                        <a:pt x="875" y="445"/>
                        <a:pt x="880" y="447"/>
                        <a:pt x="882" y="449"/>
                      </a:cubicBezTo>
                      <a:cubicBezTo>
                        <a:pt x="885" y="451"/>
                        <a:pt x="888" y="450"/>
                        <a:pt x="888" y="453"/>
                      </a:cubicBezTo>
                      <a:cubicBezTo>
                        <a:pt x="888" y="455"/>
                        <a:pt x="890" y="457"/>
                        <a:pt x="890" y="460"/>
                      </a:cubicBezTo>
                      <a:cubicBezTo>
                        <a:pt x="890" y="462"/>
                        <a:pt x="894" y="463"/>
                        <a:pt x="898" y="463"/>
                      </a:cubicBezTo>
                      <a:cubicBezTo>
                        <a:pt x="901" y="462"/>
                        <a:pt x="903" y="464"/>
                        <a:pt x="905" y="461"/>
                      </a:cubicBezTo>
                      <a:cubicBezTo>
                        <a:pt x="906" y="458"/>
                        <a:pt x="911" y="459"/>
                        <a:pt x="913" y="458"/>
                      </a:cubicBezTo>
                      <a:cubicBezTo>
                        <a:pt x="914" y="457"/>
                        <a:pt x="919" y="456"/>
                        <a:pt x="919" y="460"/>
                      </a:cubicBezTo>
                      <a:cubicBezTo>
                        <a:pt x="919" y="464"/>
                        <a:pt x="922" y="465"/>
                        <a:pt x="919" y="466"/>
                      </a:cubicBezTo>
                      <a:cubicBezTo>
                        <a:pt x="917" y="468"/>
                        <a:pt x="916" y="474"/>
                        <a:pt x="915" y="477"/>
                      </a:cubicBezTo>
                      <a:cubicBezTo>
                        <a:pt x="914" y="479"/>
                        <a:pt x="911" y="480"/>
                        <a:pt x="910" y="483"/>
                      </a:cubicBezTo>
                      <a:cubicBezTo>
                        <a:pt x="910" y="486"/>
                        <a:pt x="906" y="486"/>
                        <a:pt x="906" y="488"/>
                      </a:cubicBezTo>
                      <a:cubicBezTo>
                        <a:pt x="906" y="490"/>
                        <a:pt x="902" y="490"/>
                        <a:pt x="899" y="488"/>
                      </a:cubicBezTo>
                      <a:cubicBezTo>
                        <a:pt x="897" y="486"/>
                        <a:pt x="895" y="491"/>
                        <a:pt x="893" y="491"/>
                      </a:cubicBezTo>
                      <a:cubicBezTo>
                        <a:pt x="891" y="491"/>
                        <a:pt x="891" y="495"/>
                        <a:pt x="891" y="497"/>
                      </a:cubicBezTo>
                      <a:cubicBezTo>
                        <a:pt x="892" y="499"/>
                        <a:pt x="891" y="501"/>
                        <a:pt x="892" y="504"/>
                      </a:cubicBezTo>
                      <a:cubicBezTo>
                        <a:pt x="893" y="505"/>
                        <a:pt x="892" y="508"/>
                        <a:pt x="892" y="511"/>
                      </a:cubicBezTo>
                      <a:cubicBezTo>
                        <a:pt x="895" y="509"/>
                        <a:pt x="898" y="508"/>
                        <a:pt x="899" y="508"/>
                      </a:cubicBezTo>
                      <a:cubicBezTo>
                        <a:pt x="902" y="508"/>
                        <a:pt x="905" y="513"/>
                        <a:pt x="908" y="513"/>
                      </a:cubicBezTo>
                      <a:cubicBezTo>
                        <a:pt x="912" y="513"/>
                        <a:pt x="927" y="503"/>
                        <a:pt x="927" y="501"/>
                      </a:cubicBezTo>
                      <a:cubicBezTo>
                        <a:pt x="927" y="500"/>
                        <a:pt x="936" y="491"/>
                        <a:pt x="940" y="487"/>
                      </a:cubicBezTo>
                      <a:cubicBezTo>
                        <a:pt x="944" y="482"/>
                        <a:pt x="950" y="476"/>
                        <a:pt x="952" y="471"/>
                      </a:cubicBezTo>
                      <a:cubicBezTo>
                        <a:pt x="953" y="468"/>
                        <a:pt x="959" y="462"/>
                        <a:pt x="960" y="459"/>
                      </a:cubicBezTo>
                      <a:cubicBezTo>
                        <a:pt x="962" y="457"/>
                        <a:pt x="963" y="457"/>
                        <a:pt x="965" y="451"/>
                      </a:cubicBezTo>
                      <a:cubicBezTo>
                        <a:pt x="968" y="446"/>
                        <a:pt x="968" y="431"/>
                        <a:pt x="969" y="430"/>
                      </a:cubicBezTo>
                      <a:cubicBezTo>
                        <a:pt x="970" y="429"/>
                        <a:pt x="969" y="427"/>
                        <a:pt x="970" y="425"/>
                      </a:cubicBezTo>
                      <a:cubicBezTo>
                        <a:pt x="972" y="424"/>
                        <a:pt x="971" y="421"/>
                        <a:pt x="973" y="419"/>
                      </a:cubicBezTo>
                      <a:cubicBezTo>
                        <a:pt x="976" y="417"/>
                        <a:pt x="975" y="416"/>
                        <a:pt x="975" y="414"/>
                      </a:cubicBezTo>
                      <a:cubicBezTo>
                        <a:pt x="974" y="413"/>
                        <a:pt x="975" y="409"/>
                        <a:pt x="974" y="408"/>
                      </a:cubicBezTo>
                      <a:cubicBezTo>
                        <a:pt x="974" y="407"/>
                        <a:pt x="974" y="406"/>
                        <a:pt x="975" y="406"/>
                      </a:cubicBezTo>
                      <a:cubicBezTo>
                        <a:pt x="977" y="405"/>
                        <a:pt x="974" y="403"/>
                        <a:pt x="972" y="402"/>
                      </a:cubicBezTo>
                      <a:cubicBezTo>
                        <a:pt x="970" y="401"/>
                        <a:pt x="968" y="400"/>
                        <a:pt x="967" y="398"/>
                      </a:cubicBezTo>
                      <a:cubicBezTo>
                        <a:pt x="967" y="395"/>
                        <a:pt x="964" y="393"/>
                        <a:pt x="961" y="393"/>
                      </a:cubicBezTo>
                      <a:cubicBezTo>
                        <a:pt x="958" y="393"/>
                        <a:pt x="954" y="391"/>
                        <a:pt x="954" y="393"/>
                      </a:cubicBezTo>
                      <a:cubicBezTo>
                        <a:pt x="955" y="395"/>
                        <a:pt x="954" y="396"/>
                        <a:pt x="953" y="396"/>
                      </a:cubicBezTo>
                      <a:cubicBezTo>
                        <a:pt x="951" y="396"/>
                        <a:pt x="951" y="397"/>
                        <a:pt x="949" y="399"/>
                      </a:cubicBezTo>
                      <a:cubicBezTo>
                        <a:pt x="948" y="401"/>
                        <a:pt x="942" y="402"/>
                        <a:pt x="945" y="399"/>
                      </a:cubicBezTo>
                      <a:cubicBezTo>
                        <a:pt x="947" y="397"/>
                        <a:pt x="944" y="397"/>
                        <a:pt x="944" y="395"/>
                      </a:cubicBezTo>
                      <a:cubicBezTo>
                        <a:pt x="945" y="392"/>
                        <a:pt x="947" y="390"/>
                        <a:pt x="944" y="391"/>
                      </a:cubicBezTo>
                      <a:cubicBezTo>
                        <a:pt x="941" y="393"/>
                        <a:pt x="941" y="397"/>
                        <a:pt x="939" y="397"/>
                      </a:cubicBezTo>
                      <a:cubicBezTo>
                        <a:pt x="937" y="398"/>
                        <a:pt x="937" y="391"/>
                        <a:pt x="938" y="389"/>
                      </a:cubicBezTo>
                      <a:cubicBezTo>
                        <a:pt x="939" y="387"/>
                        <a:pt x="934" y="389"/>
                        <a:pt x="929" y="389"/>
                      </a:cubicBezTo>
                      <a:cubicBezTo>
                        <a:pt x="924" y="388"/>
                        <a:pt x="925" y="385"/>
                        <a:pt x="929" y="383"/>
                      </a:cubicBezTo>
                      <a:cubicBezTo>
                        <a:pt x="933" y="381"/>
                        <a:pt x="933" y="379"/>
                        <a:pt x="935" y="378"/>
                      </a:cubicBezTo>
                      <a:cubicBezTo>
                        <a:pt x="937" y="377"/>
                        <a:pt x="942" y="373"/>
                        <a:pt x="945" y="372"/>
                      </a:cubicBezTo>
                      <a:cubicBezTo>
                        <a:pt x="948" y="370"/>
                        <a:pt x="949" y="368"/>
                        <a:pt x="949" y="366"/>
                      </a:cubicBezTo>
                      <a:cubicBezTo>
                        <a:pt x="950" y="364"/>
                        <a:pt x="956" y="361"/>
                        <a:pt x="961" y="357"/>
                      </a:cubicBezTo>
                      <a:cubicBezTo>
                        <a:pt x="966" y="353"/>
                        <a:pt x="968" y="351"/>
                        <a:pt x="970" y="348"/>
                      </a:cubicBezTo>
                      <a:cubicBezTo>
                        <a:pt x="971" y="346"/>
                        <a:pt x="978" y="342"/>
                        <a:pt x="979" y="341"/>
                      </a:cubicBezTo>
                      <a:cubicBezTo>
                        <a:pt x="979" y="339"/>
                        <a:pt x="988" y="334"/>
                        <a:pt x="994" y="333"/>
                      </a:cubicBezTo>
                      <a:cubicBezTo>
                        <a:pt x="1000" y="332"/>
                        <a:pt x="1009" y="333"/>
                        <a:pt x="1011" y="335"/>
                      </a:cubicBezTo>
                      <a:cubicBezTo>
                        <a:pt x="1013" y="337"/>
                        <a:pt x="1014" y="336"/>
                        <a:pt x="1015" y="335"/>
                      </a:cubicBezTo>
                      <a:cubicBezTo>
                        <a:pt x="1016" y="334"/>
                        <a:pt x="1019" y="334"/>
                        <a:pt x="1023" y="335"/>
                      </a:cubicBezTo>
                      <a:cubicBezTo>
                        <a:pt x="1027" y="335"/>
                        <a:pt x="1028" y="333"/>
                        <a:pt x="1031" y="334"/>
                      </a:cubicBezTo>
                      <a:cubicBezTo>
                        <a:pt x="1033" y="334"/>
                        <a:pt x="1036" y="335"/>
                        <a:pt x="1037" y="332"/>
                      </a:cubicBezTo>
                      <a:cubicBezTo>
                        <a:pt x="1039" y="328"/>
                        <a:pt x="1047" y="329"/>
                        <a:pt x="1049" y="330"/>
                      </a:cubicBezTo>
                      <a:cubicBezTo>
                        <a:pt x="1050" y="332"/>
                        <a:pt x="1052" y="333"/>
                        <a:pt x="1055" y="332"/>
                      </a:cubicBezTo>
                      <a:cubicBezTo>
                        <a:pt x="1057" y="330"/>
                        <a:pt x="1057" y="334"/>
                        <a:pt x="1060" y="334"/>
                      </a:cubicBezTo>
                      <a:cubicBezTo>
                        <a:pt x="1063" y="335"/>
                        <a:pt x="1061" y="337"/>
                        <a:pt x="1059" y="337"/>
                      </a:cubicBezTo>
                      <a:cubicBezTo>
                        <a:pt x="1056" y="337"/>
                        <a:pt x="1053" y="338"/>
                        <a:pt x="1056" y="340"/>
                      </a:cubicBezTo>
                      <a:cubicBezTo>
                        <a:pt x="1059" y="341"/>
                        <a:pt x="1062" y="338"/>
                        <a:pt x="1064" y="338"/>
                      </a:cubicBezTo>
                      <a:cubicBezTo>
                        <a:pt x="1066" y="339"/>
                        <a:pt x="1070" y="339"/>
                        <a:pt x="1073" y="337"/>
                      </a:cubicBezTo>
                      <a:cubicBezTo>
                        <a:pt x="1076" y="335"/>
                        <a:pt x="1076" y="339"/>
                        <a:pt x="1078" y="337"/>
                      </a:cubicBezTo>
                      <a:cubicBezTo>
                        <a:pt x="1080" y="335"/>
                        <a:pt x="1085" y="335"/>
                        <a:pt x="1087" y="335"/>
                      </a:cubicBezTo>
                      <a:cubicBezTo>
                        <a:pt x="1089" y="335"/>
                        <a:pt x="1087" y="332"/>
                        <a:pt x="1083" y="332"/>
                      </a:cubicBezTo>
                      <a:cubicBezTo>
                        <a:pt x="1080" y="332"/>
                        <a:pt x="1080" y="330"/>
                        <a:pt x="1083" y="326"/>
                      </a:cubicBezTo>
                      <a:cubicBezTo>
                        <a:pt x="1086" y="321"/>
                        <a:pt x="1091" y="318"/>
                        <a:pt x="1095" y="315"/>
                      </a:cubicBezTo>
                      <a:cubicBezTo>
                        <a:pt x="1098" y="312"/>
                        <a:pt x="1101" y="314"/>
                        <a:pt x="1101" y="312"/>
                      </a:cubicBezTo>
                      <a:cubicBezTo>
                        <a:pt x="1101" y="310"/>
                        <a:pt x="1102" y="304"/>
                        <a:pt x="1105" y="304"/>
                      </a:cubicBezTo>
                      <a:cubicBezTo>
                        <a:pt x="1107" y="304"/>
                        <a:pt x="1114" y="305"/>
                        <a:pt x="1118" y="303"/>
                      </a:cubicBezTo>
                      <a:cubicBezTo>
                        <a:pt x="1122" y="301"/>
                        <a:pt x="1122" y="305"/>
                        <a:pt x="1123" y="305"/>
                      </a:cubicBezTo>
                      <a:cubicBezTo>
                        <a:pt x="1125" y="306"/>
                        <a:pt x="1127" y="302"/>
                        <a:pt x="1129" y="303"/>
                      </a:cubicBezTo>
                      <a:cubicBezTo>
                        <a:pt x="1131" y="304"/>
                        <a:pt x="1126" y="307"/>
                        <a:pt x="1125" y="311"/>
                      </a:cubicBezTo>
                      <a:cubicBezTo>
                        <a:pt x="1124" y="314"/>
                        <a:pt x="1128" y="313"/>
                        <a:pt x="1130" y="314"/>
                      </a:cubicBezTo>
                      <a:cubicBezTo>
                        <a:pt x="1132" y="315"/>
                        <a:pt x="1127" y="316"/>
                        <a:pt x="1128" y="317"/>
                      </a:cubicBezTo>
                      <a:cubicBezTo>
                        <a:pt x="1128" y="318"/>
                        <a:pt x="1132" y="318"/>
                        <a:pt x="1137" y="313"/>
                      </a:cubicBezTo>
                      <a:cubicBezTo>
                        <a:pt x="1143" y="308"/>
                        <a:pt x="1147" y="306"/>
                        <a:pt x="1151" y="306"/>
                      </a:cubicBezTo>
                      <a:cubicBezTo>
                        <a:pt x="1154" y="307"/>
                        <a:pt x="1152" y="303"/>
                        <a:pt x="1152" y="299"/>
                      </a:cubicBezTo>
                      <a:cubicBezTo>
                        <a:pt x="1153" y="294"/>
                        <a:pt x="1163" y="292"/>
                        <a:pt x="1166" y="294"/>
                      </a:cubicBezTo>
                      <a:cubicBezTo>
                        <a:pt x="1170" y="295"/>
                        <a:pt x="1169" y="296"/>
                        <a:pt x="1166" y="296"/>
                      </a:cubicBezTo>
                      <a:cubicBezTo>
                        <a:pt x="1163" y="295"/>
                        <a:pt x="1160" y="298"/>
                        <a:pt x="1160" y="302"/>
                      </a:cubicBezTo>
                      <a:cubicBezTo>
                        <a:pt x="1160" y="306"/>
                        <a:pt x="1157" y="307"/>
                        <a:pt x="1159" y="309"/>
                      </a:cubicBezTo>
                      <a:cubicBezTo>
                        <a:pt x="1160" y="310"/>
                        <a:pt x="1156" y="311"/>
                        <a:pt x="1156" y="312"/>
                      </a:cubicBezTo>
                      <a:cubicBezTo>
                        <a:pt x="1156" y="314"/>
                        <a:pt x="1156" y="315"/>
                        <a:pt x="1154" y="316"/>
                      </a:cubicBezTo>
                      <a:cubicBezTo>
                        <a:pt x="1152" y="317"/>
                        <a:pt x="1144" y="317"/>
                        <a:pt x="1143" y="320"/>
                      </a:cubicBezTo>
                      <a:cubicBezTo>
                        <a:pt x="1143" y="324"/>
                        <a:pt x="1139" y="324"/>
                        <a:pt x="1137" y="328"/>
                      </a:cubicBezTo>
                      <a:cubicBezTo>
                        <a:pt x="1135" y="332"/>
                        <a:pt x="1127" y="334"/>
                        <a:pt x="1122" y="341"/>
                      </a:cubicBezTo>
                      <a:cubicBezTo>
                        <a:pt x="1117" y="349"/>
                        <a:pt x="1109" y="349"/>
                        <a:pt x="1109" y="350"/>
                      </a:cubicBezTo>
                      <a:cubicBezTo>
                        <a:pt x="1109" y="352"/>
                        <a:pt x="1103" y="352"/>
                        <a:pt x="1101" y="352"/>
                      </a:cubicBezTo>
                      <a:cubicBezTo>
                        <a:pt x="1099" y="352"/>
                        <a:pt x="1103" y="357"/>
                        <a:pt x="1099" y="362"/>
                      </a:cubicBezTo>
                      <a:cubicBezTo>
                        <a:pt x="1094" y="367"/>
                        <a:pt x="1091" y="373"/>
                        <a:pt x="1091" y="380"/>
                      </a:cubicBezTo>
                      <a:cubicBezTo>
                        <a:pt x="1091" y="387"/>
                        <a:pt x="1094" y="406"/>
                        <a:pt x="1096" y="410"/>
                      </a:cubicBezTo>
                      <a:cubicBezTo>
                        <a:pt x="1098" y="413"/>
                        <a:pt x="1096" y="422"/>
                        <a:pt x="1098" y="424"/>
                      </a:cubicBezTo>
                      <a:cubicBezTo>
                        <a:pt x="1100" y="425"/>
                        <a:pt x="1099" y="428"/>
                        <a:pt x="1100" y="429"/>
                      </a:cubicBezTo>
                      <a:cubicBezTo>
                        <a:pt x="1101" y="430"/>
                        <a:pt x="1106" y="425"/>
                        <a:pt x="1109" y="422"/>
                      </a:cubicBezTo>
                      <a:cubicBezTo>
                        <a:pt x="1112" y="420"/>
                        <a:pt x="1111" y="419"/>
                        <a:pt x="1113" y="418"/>
                      </a:cubicBezTo>
                      <a:cubicBezTo>
                        <a:pt x="1115" y="416"/>
                        <a:pt x="1114" y="411"/>
                        <a:pt x="1114" y="409"/>
                      </a:cubicBezTo>
                      <a:cubicBezTo>
                        <a:pt x="1115" y="408"/>
                        <a:pt x="1119" y="407"/>
                        <a:pt x="1120" y="406"/>
                      </a:cubicBezTo>
                      <a:cubicBezTo>
                        <a:pt x="1121" y="404"/>
                        <a:pt x="1124" y="405"/>
                        <a:pt x="1126" y="404"/>
                      </a:cubicBezTo>
                      <a:cubicBezTo>
                        <a:pt x="1128" y="404"/>
                        <a:pt x="1126" y="400"/>
                        <a:pt x="1125" y="398"/>
                      </a:cubicBezTo>
                      <a:cubicBezTo>
                        <a:pt x="1125" y="395"/>
                        <a:pt x="1130" y="392"/>
                        <a:pt x="1133" y="390"/>
                      </a:cubicBezTo>
                      <a:cubicBezTo>
                        <a:pt x="1136" y="388"/>
                        <a:pt x="1139" y="392"/>
                        <a:pt x="1143" y="389"/>
                      </a:cubicBezTo>
                      <a:cubicBezTo>
                        <a:pt x="1146" y="386"/>
                        <a:pt x="1142" y="382"/>
                        <a:pt x="1141" y="381"/>
                      </a:cubicBezTo>
                      <a:cubicBezTo>
                        <a:pt x="1140" y="379"/>
                        <a:pt x="1144" y="372"/>
                        <a:pt x="1147" y="371"/>
                      </a:cubicBezTo>
                      <a:cubicBezTo>
                        <a:pt x="1149" y="370"/>
                        <a:pt x="1151" y="373"/>
                        <a:pt x="1153" y="371"/>
                      </a:cubicBezTo>
                      <a:cubicBezTo>
                        <a:pt x="1155" y="368"/>
                        <a:pt x="1151" y="365"/>
                        <a:pt x="1149" y="365"/>
                      </a:cubicBezTo>
                      <a:cubicBezTo>
                        <a:pt x="1148" y="365"/>
                        <a:pt x="1147" y="359"/>
                        <a:pt x="1151" y="356"/>
                      </a:cubicBezTo>
                      <a:cubicBezTo>
                        <a:pt x="1155" y="353"/>
                        <a:pt x="1153" y="353"/>
                        <a:pt x="1151" y="352"/>
                      </a:cubicBezTo>
                      <a:cubicBezTo>
                        <a:pt x="1148" y="351"/>
                        <a:pt x="1148" y="352"/>
                        <a:pt x="1146" y="352"/>
                      </a:cubicBezTo>
                      <a:cubicBezTo>
                        <a:pt x="1144" y="352"/>
                        <a:pt x="1141" y="348"/>
                        <a:pt x="1145" y="344"/>
                      </a:cubicBezTo>
                      <a:cubicBezTo>
                        <a:pt x="1148" y="340"/>
                        <a:pt x="1151" y="340"/>
                        <a:pt x="1151" y="337"/>
                      </a:cubicBezTo>
                      <a:cubicBezTo>
                        <a:pt x="1152" y="333"/>
                        <a:pt x="1156" y="328"/>
                        <a:pt x="1157" y="327"/>
                      </a:cubicBezTo>
                      <a:cubicBezTo>
                        <a:pt x="1158" y="325"/>
                        <a:pt x="1163" y="327"/>
                        <a:pt x="1164" y="326"/>
                      </a:cubicBezTo>
                      <a:cubicBezTo>
                        <a:pt x="1166" y="326"/>
                        <a:pt x="1166" y="330"/>
                        <a:pt x="1168" y="328"/>
                      </a:cubicBezTo>
                      <a:cubicBezTo>
                        <a:pt x="1170" y="326"/>
                        <a:pt x="1173" y="320"/>
                        <a:pt x="1176" y="320"/>
                      </a:cubicBezTo>
                      <a:cubicBezTo>
                        <a:pt x="1178" y="320"/>
                        <a:pt x="1177" y="324"/>
                        <a:pt x="1177" y="327"/>
                      </a:cubicBezTo>
                      <a:cubicBezTo>
                        <a:pt x="1178" y="330"/>
                        <a:pt x="1180" y="326"/>
                        <a:pt x="1185" y="323"/>
                      </a:cubicBezTo>
                      <a:cubicBezTo>
                        <a:pt x="1190" y="319"/>
                        <a:pt x="1201" y="320"/>
                        <a:pt x="1205" y="321"/>
                      </a:cubicBezTo>
                      <a:cubicBezTo>
                        <a:pt x="1208" y="323"/>
                        <a:pt x="1209" y="327"/>
                        <a:pt x="1211" y="326"/>
                      </a:cubicBezTo>
                      <a:cubicBezTo>
                        <a:pt x="1214" y="326"/>
                        <a:pt x="1211" y="322"/>
                        <a:pt x="1214" y="322"/>
                      </a:cubicBezTo>
                      <a:cubicBezTo>
                        <a:pt x="1217" y="321"/>
                        <a:pt x="1222" y="318"/>
                        <a:pt x="1226" y="315"/>
                      </a:cubicBezTo>
                      <a:cubicBezTo>
                        <a:pt x="1230" y="312"/>
                        <a:pt x="1229" y="314"/>
                        <a:pt x="1231" y="312"/>
                      </a:cubicBezTo>
                      <a:cubicBezTo>
                        <a:pt x="1233" y="309"/>
                        <a:pt x="1235" y="310"/>
                        <a:pt x="1235" y="309"/>
                      </a:cubicBezTo>
                      <a:cubicBezTo>
                        <a:pt x="1236" y="307"/>
                        <a:pt x="1241" y="304"/>
                        <a:pt x="1249" y="303"/>
                      </a:cubicBezTo>
                      <a:cubicBezTo>
                        <a:pt x="1256" y="301"/>
                        <a:pt x="1266" y="296"/>
                        <a:pt x="1265" y="294"/>
                      </a:cubicBezTo>
                      <a:cubicBezTo>
                        <a:pt x="1265" y="293"/>
                        <a:pt x="1268" y="292"/>
                        <a:pt x="1269" y="294"/>
                      </a:cubicBezTo>
                      <a:cubicBezTo>
                        <a:pt x="1269" y="295"/>
                        <a:pt x="1272" y="295"/>
                        <a:pt x="1276" y="296"/>
                      </a:cubicBezTo>
                      <a:cubicBezTo>
                        <a:pt x="1280" y="296"/>
                        <a:pt x="1282" y="298"/>
                        <a:pt x="1285" y="295"/>
                      </a:cubicBezTo>
                      <a:cubicBezTo>
                        <a:pt x="1288" y="292"/>
                        <a:pt x="1284" y="291"/>
                        <a:pt x="1284" y="288"/>
                      </a:cubicBezTo>
                      <a:cubicBezTo>
                        <a:pt x="1285" y="286"/>
                        <a:pt x="1279" y="283"/>
                        <a:pt x="1280" y="281"/>
                      </a:cubicBezTo>
                      <a:cubicBezTo>
                        <a:pt x="1280" y="278"/>
                        <a:pt x="1276" y="272"/>
                        <a:pt x="1274" y="273"/>
                      </a:cubicBezTo>
                      <a:cubicBezTo>
                        <a:pt x="1273" y="274"/>
                        <a:pt x="1270" y="272"/>
                        <a:pt x="1270" y="270"/>
                      </a:cubicBezTo>
                      <a:cubicBezTo>
                        <a:pt x="1270" y="268"/>
                        <a:pt x="1269" y="266"/>
                        <a:pt x="1267" y="267"/>
                      </a:cubicBezTo>
                      <a:cubicBezTo>
                        <a:pt x="1265" y="269"/>
                        <a:pt x="1261" y="268"/>
                        <a:pt x="1260" y="266"/>
                      </a:cubicBezTo>
                      <a:cubicBezTo>
                        <a:pt x="1260" y="264"/>
                        <a:pt x="1265" y="262"/>
                        <a:pt x="1268" y="264"/>
                      </a:cubicBezTo>
                      <a:cubicBezTo>
                        <a:pt x="1272" y="265"/>
                        <a:pt x="1271" y="267"/>
                        <a:pt x="1273" y="268"/>
                      </a:cubicBezTo>
                      <a:cubicBezTo>
                        <a:pt x="1274" y="269"/>
                        <a:pt x="1279" y="268"/>
                        <a:pt x="1282" y="267"/>
                      </a:cubicBezTo>
                      <a:cubicBezTo>
                        <a:pt x="1284" y="266"/>
                        <a:pt x="1291" y="264"/>
                        <a:pt x="1292" y="262"/>
                      </a:cubicBezTo>
                      <a:cubicBezTo>
                        <a:pt x="1294" y="259"/>
                        <a:pt x="1292" y="259"/>
                        <a:pt x="1295" y="257"/>
                      </a:cubicBezTo>
                      <a:cubicBezTo>
                        <a:pt x="1297" y="256"/>
                        <a:pt x="1295" y="254"/>
                        <a:pt x="1293" y="253"/>
                      </a:cubicBezTo>
                      <a:cubicBezTo>
                        <a:pt x="1291" y="252"/>
                        <a:pt x="1292" y="249"/>
                        <a:pt x="1294" y="249"/>
                      </a:cubicBezTo>
                      <a:cubicBezTo>
                        <a:pt x="1296" y="249"/>
                        <a:pt x="1295" y="246"/>
                        <a:pt x="1297" y="246"/>
                      </a:cubicBezTo>
                      <a:cubicBezTo>
                        <a:pt x="1298" y="246"/>
                        <a:pt x="1298" y="247"/>
                        <a:pt x="1301" y="246"/>
                      </a:cubicBezTo>
                      <a:cubicBezTo>
                        <a:pt x="1304" y="245"/>
                        <a:pt x="1301" y="248"/>
                        <a:pt x="1300" y="250"/>
                      </a:cubicBezTo>
                      <a:cubicBezTo>
                        <a:pt x="1299" y="252"/>
                        <a:pt x="1302" y="254"/>
                        <a:pt x="1303" y="256"/>
                      </a:cubicBezTo>
                      <a:cubicBezTo>
                        <a:pt x="1303" y="257"/>
                        <a:pt x="1308" y="257"/>
                        <a:pt x="1311" y="256"/>
                      </a:cubicBezTo>
                      <a:cubicBezTo>
                        <a:pt x="1314" y="254"/>
                        <a:pt x="1323" y="258"/>
                        <a:pt x="1324" y="260"/>
                      </a:cubicBezTo>
                      <a:cubicBezTo>
                        <a:pt x="1324" y="262"/>
                        <a:pt x="1326" y="265"/>
                        <a:pt x="1329" y="267"/>
                      </a:cubicBezTo>
                      <a:cubicBezTo>
                        <a:pt x="1333" y="269"/>
                        <a:pt x="1337" y="268"/>
                        <a:pt x="1337" y="270"/>
                      </a:cubicBezTo>
                      <a:cubicBezTo>
                        <a:pt x="1338" y="272"/>
                        <a:pt x="1340" y="272"/>
                        <a:pt x="1342" y="272"/>
                      </a:cubicBezTo>
                      <a:cubicBezTo>
                        <a:pt x="1344" y="272"/>
                        <a:pt x="1345" y="274"/>
                        <a:pt x="1347" y="272"/>
                      </a:cubicBezTo>
                      <a:cubicBezTo>
                        <a:pt x="1348" y="271"/>
                        <a:pt x="1349" y="273"/>
                        <a:pt x="1351" y="272"/>
                      </a:cubicBezTo>
                      <a:cubicBezTo>
                        <a:pt x="1353" y="270"/>
                        <a:pt x="1347" y="269"/>
                        <a:pt x="1347" y="267"/>
                      </a:cubicBezTo>
                      <a:cubicBezTo>
                        <a:pt x="1348" y="266"/>
                        <a:pt x="1350" y="268"/>
                        <a:pt x="1351" y="268"/>
                      </a:cubicBezTo>
                      <a:cubicBezTo>
                        <a:pt x="1353" y="268"/>
                        <a:pt x="1351" y="264"/>
                        <a:pt x="1352" y="264"/>
                      </a:cubicBezTo>
                      <a:cubicBezTo>
                        <a:pt x="1353" y="264"/>
                        <a:pt x="1352" y="257"/>
                        <a:pt x="1351" y="256"/>
                      </a:cubicBezTo>
                      <a:cubicBezTo>
                        <a:pt x="1350" y="256"/>
                        <a:pt x="1351" y="253"/>
                        <a:pt x="1353" y="255"/>
                      </a:cubicBezTo>
                      <a:cubicBezTo>
                        <a:pt x="1356" y="257"/>
                        <a:pt x="1360" y="257"/>
                        <a:pt x="1363" y="257"/>
                      </a:cubicBezTo>
                      <a:cubicBezTo>
                        <a:pt x="1365" y="257"/>
                        <a:pt x="1363" y="255"/>
                        <a:pt x="1361" y="255"/>
                      </a:cubicBezTo>
                      <a:cubicBezTo>
                        <a:pt x="1359" y="255"/>
                        <a:pt x="1361" y="253"/>
                        <a:pt x="1362" y="254"/>
                      </a:cubicBezTo>
                      <a:cubicBezTo>
                        <a:pt x="1364" y="255"/>
                        <a:pt x="1367" y="256"/>
                        <a:pt x="1367" y="255"/>
                      </a:cubicBezTo>
                      <a:cubicBezTo>
                        <a:pt x="1367" y="253"/>
                        <a:pt x="1368" y="250"/>
                        <a:pt x="1371" y="250"/>
                      </a:cubicBezTo>
                      <a:cubicBezTo>
                        <a:pt x="1373" y="250"/>
                        <a:pt x="1374" y="249"/>
                        <a:pt x="1372" y="248"/>
                      </a:cubicBezTo>
                      <a:close/>
                      <a:moveTo>
                        <a:pt x="709" y="404"/>
                      </a:moveTo>
                      <a:cubicBezTo>
                        <a:pt x="702" y="410"/>
                        <a:pt x="688" y="412"/>
                        <a:pt x="688" y="417"/>
                      </a:cubicBezTo>
                      <a:cubicBezTo>
                        <a:pt x="688" y="422"/>
                        <a:pt x="672" y="424"/>
                        <a:pt x="671" y="422"/>
                      </a:cubicBezTo>
                      <a:cubicBezTo>
                        <a:pt x="669" y="420"/>
                        <a:pt x="683" y="419"/>
                        <a:pt x="686" y="412"/>
                      </a:cubicBezTo>
                      <a:cubicBezTo>
                        <a:pt x="689" y="405"/>
                        <a:pt x="701" y="401"/>
                        <a:pt x="707" y="392"/>
                      </a:cubicBezTo>
                      <a:cubicBezTo>
                        <a:pt x="712" y="385"/>
                        <a:pt x="715" y="375"/>
                        <a:pt x="718" y="376"/>
                      </a:cubicBezTo>
                      <a:cubicBezTo>
                        <a:pt x="720" y="376"/>
                        <a:pt x="716" y="398"/>
                        <a:pt x="709" y="404"/>
                      </a:cubicBezTo>
                      <a:close/>
                      <a:moveTo>
                        <a:pt x="739" y="125"/>
                      </a:moveTo>
                      <a:cubicBezTo>
                        <a:pt x="738" y="127"/>
                        <a:pt x="733" y="127"/>
                        <a:pt x="734" y="129"/>
                      </a:cubicBezTo>
                      <a:cubicBezTo>
                        <a:pt x="737" y="132"/>
                        <a:pt x="749" y="130"/>
                        <a:pt x="749" y="126"/>
                      </a:cubicBezTo>
                      <a:cubicBezTo>
                        <a:pt x="749" y="122"/>
                        <a:pt x="740" y="123"/>
                        <a:pt x="739" y="125"/>
                      </a:cubicBezTo>
                      <a:close/>
                      <a:moveTo>
                        <a:pt x="306" y="7"/>
                      </a:moveTo>
                      <a:cubicBezTo>
                        <a:pt x="312" y="7"/>
                        <a:pt x="310" y="4"/>
                        <a:pt x="314" y="4"/>
                      </a:cubicBezTo>
                      <a:cubicBezTo>
                        <a:pt x="318" y="5"/>
                        <a:pt x="323" y="4"/>
                        <a:pt x="321" y="2"/>
                      </a:cubicBezTo>
                      <a:cubicBezTo>
                        <a:pt x="319" y="0"/>
                        <a:pt x="305" y="1"/>
                        <a:pt x="306" y="3"/>
                      </a:cubicBezTo>
                      <a:cubicBezTo>
                        <a:pt x="308" y="4"/>
                        <a:pt x="295" y="4"/>
                        <a:pt x="296" y="4"/>
                      </a:cubicBezTo>
                      <a:cubicBezTo>
                        <a:pt x="296" y="6"/>
                        <a:pt x="300" y="7"/>
                        <a:pt x="306" y="7"/>
                      </a:cubicBezTo>
                      <a:close/>
                      <a:moveTo>
                        <a:pt x="277" y="23"/>
                      </a:moveTo>
                      <a:cubicBezTo>
                        <a:pt x="277" y="19"/>
                        <a:pt x="264" y="24"/>
                        <a:pt x="267" y="24"/>
                      </a:cubicBezTo>
                      <a:cubicBezTo>
                        <a:pt x="269" y="25"/>
                        <a:pt x="277" y="27"/>
                        <a:pt x="277" y="23"/>
                      </a:cubicBezTo>
                      <a:close/>
                      <a:moveTo>
                        <a:pt x="307" y="20"/>
                      </a:moveTo>
                      <a:cubicBezTo>
                        <a:pt x="308" y="22"/>
                        <a:pt x="306" y="22"/>
                        <a:pt x="301" y="22"/>
                      </a:cubicBezTo>
                      <a:cubicBezTo>
                        <a:pt x="296" y="22"/>
                        <a:pt x="294" y="25"/>
                        <a:pt x="296" y="27"/>
                      </a:cubicBezTo>
                      <a:cubicBezTo>
                        <a:pt x="299" y="29"/>
                        <a:pt x="312" y="28"/>
                        <a:pt x="314" y="26"/>
                      </a:cubicBezTo>
                      <a:cubicBezTo>
                        <a:pt x="316" y="23"/>
                        <a:pt x="322" y="25"/>
                        <a:pt x="323" y="22"/>
                      </a:cubicBezTo>
                      <a:cubicBezTo>
                        <a:pt x="324" y="19"/>
                        <a:pt x="306" y="18"/>
                        <a:pt x="307" y="20"/>
                      </a:cubicBezTo>
                      <a:close/>
                      <a:moveTo>
                        <a:pt x="348" y="16"/>
                      </a:moveTo>
                      <a:cubicBezTo>
                        <a:pt x="350" y="13"/>
                        <a:pt x="345" y="13"/>
                        <a:pt x="344" y="11"/>
                      </a:cubicBezTo>
                      <a:cubicBezTo>
                        <a:pt x="344" y="9"/>
                        <a:pt x="330" y="9"/>
                        <a:pt x="331" y="11"/>
                      </a:cubicBezTo>
                      <a:cubicBezTo>
                        <a:pt x="332" y="13"/>
                        <a:pt x="322" y="16"/>
                        <a:pt x="325" y="18"/>
                      </a:cubicBezTo>
                      <a:cubicBezTo>
                        <a:pt x="331" y="23"/>
                        <a:pt x="346" y="18"/>
                        <a:pt x="348" y="16"/>
                      </a:cubicBezTo>
                      <a:close/>
                      <a:moveTo>
                        <a:pt x="310" y="12"/>
                      </a:moveTo>
                      <a:cubicBezTo>
                        <a:pt x="311" y="7"/>
                        <a:pt x="302" y="11"/>
                        <a:pt x="296" y="8"/>
                      </a:cubicBezTo>
                      <a:cubicBezTo>
                        <a:pt x="290" y="6"/>
                        <a:pt x="286" y="6"/>
                        <a:pt x="291" y="9"/>
                      </a:cubicBezTo>
                      <a:cubicBezTo>
                        <a:pt x="292" y="11"/>
                        <a:pt x="280" y="12"/>
                        <a:pt x="282" y="14"/>
                      </a:cubicBezTo>
                      <a:cubicBezTo>
                        <a:pt x="286" y="19"/>
                        <a:pt x="309" y="17"/>
                        <a:pt x="310" y="12"/>
                      </a:cubicBezTo>
                      <a:close/>
                      <a:moveTo>
                        <a:pt x="275" y="144"/>
                      </a:moveTo>
                      <a:cubicBezTo>
                        <a:pt x="275" y="146"/>
                        <a:pt x="273" y="148"/>
                        <a:pt x="269" y="148"/>
                      </a:cubicBezTo>
                      <a:cubicBezTo>
                        <a:pt x="264" y="148"/>
                        <a:pt x="271" y="151"/>
                        <a:pt x="272" y="153"/>
                      </a:cubicBezTo>
                      <a:cubicBezTo>
                        <a:pt x="272" y="156"/>
                        <a:pt x="267" y="154"/>
                        <a:pt x="267" y="158"/>
                      </a:cubicBezTo>
                      <a:cubicBezTo>
                        <a:pt x="267" y="162"/>
                        <a:pt x="258" y="158"/>
                        <a:pt x="257" y="163"/>
                      </a:cubicBezTo>
                      <a:cubicBezTo>
                        <a:pt x="256" y="169"/>
                        <a:pt x="261" y="168"/>
                        <a:pt x="265" y="168"/>
                      </a:cubicBezTo>
                      <a:cubicBezTo>
                        <a:pt x="269" y="168"/>
                        <a:pt x="263" y="172"/>
                        <a:pt x="266" y="174"/>
                      </a:cubicBezTo>
                      <a:cubicBezTo>
                        <a:pt x="269" y="176"/>
                        <a:pt x="271" y="175"/>
                        <a:pt x="269" y="171"/>
                      </a:cubicBezTo>
                      <a:cubicBezTo>
                        <a:pt x="267" y="167"/>
                        <a:pt x="279" y="173"/>
                        <a:pt x="276" y="176"/>
                      </a:cubicBezTo>
                      <a:cubicBezTo>
                        <a:pt x="272" y="179"/>
                        <a:pt x="281" y="181"/>
                        <a:pt x="286" y="182"/>
                      </a:cubicBezTo>
                      <a:cubicBezTo>
                        <a:pt x="291" y="182"/>
                        <a:pt x="307" y="185"/>
                        <a:pt x="307" y="182"/>
                      </a:cubicBezTo>
                      <a:cubicBezTo>
                        <a:pt x="307" y="179"/>
                        <a:pt x="301" y="177"/>
                        <a:pt x="296" y="172"/>
                      </a:cubicBezTo>
                      <a:cubicBezTo>
                        <a:pt x="291" y="167"/>
                        <a:pt x="287" y="158"/>
                        <a:pt x="293" y="155"/>
                      </a:cubicBezTo>
                      <a:cubicBezTo>
                        <a:pt x="299" y="151"/>
                        <a:pt x="294" y="149"/>
                        <a:pt x="300" y="145"/>
                      </a:cubicBezTo>
                      <a:cubicBezTo>
                        <a:pt x="305" y="141"/>
                        <a:pt x="302" y="137"/>
                        <a:pt x="307" y="137"/>
                      </a:cubicBezTo>
                      <a:cubicBezTo>
                        <a:pt x="311" y="136"/>
                        <a:pt x="306" y="132"/>
                        <a:pt x="311" y="131"/>
                      </a:cubicBezTo>
                      <a:cubicBezTo>
                        <a:pt x="316" y="131"/>
                        <a:pt x="317" y="125"/>
                        <a:pt x="316" y="124"/>
                      </a:cubicBezTo>
                      <a:cubicBezTo>
                        <a:pt x="315" y="122"/>
                        <a:pt x="321" y="124"/>
                        <a:pt x="324" y="121"/>
                      </a:cubicBezTo>
                      <a:cubicBezTo>
                        <a:pt x="326" y="118"/>
                        <a:pt x="332" y="120"/>
                        <a:pt x="334" y="116"/>
                      </a:cubicBezTo>
                      <a:cubicBezTo>
                        <a:pt x="336" y="112"/>
                        <a:pt x="364" y="103"/>
                        <a:pt x="379" y="99"/>
                      </a:cubicBezTo>
                      <a:cubicBezTo>
                        <a:pt x="394" y="96"/>
                        <a:pt x="405" y="89"/>
                        <a:pt x="400" y="85"/>
                      </a:cubicBezTo>
                      <a:cubicBezTo>
                        <a:pt x="394" y="81"/>
                        <a:pt x="379" y="86"/>
                        <a:pt x="375" y="90"/>
                      </a:cubicBezTo>
                      <a:cubicBezTo>
                        <a:pt x="371" y="93"/>
                        <a:pt x="366" y="91"/>
                        <a:pt x="362" y="93"/>
                      </a:cubicBezTo>
                      <a:cubicBezTo>
                        <a:pt x="358" y="95"/>
                        <a:pt x="350" y="97"/>
                        <a:pt x="346" y="94"/>
                      </a:cubicBezTo>
                      <a:cubicBezTo>
                        <a:pt x="342" y="91"/>
                        <a:pt x="337" y="97"/>
                        <a:pt x="334" y="97"/>
                      </a:cubicBezTo>
                      <a:cubicBezTo>
                        <a:pt x="331" y="97"/>
                        <a:pt x="327" y="100"/>
                        <a:pt x="324" y="100"/>
                      </a:cubicBezTo>
                      <a:cubicBezTo>
                        <a:pt x="321" y="100"/>
                        <a:pt x="314" y="102"/>
                        <a:pt x="314" y="104"/>
                      </a:cubicBezTo>
                      <a:cubicBezTo>
                        <a:pt x="313" y="106"/>
                        <a:pt x="307" y="106"/>
                        <a:pt x="307" y="108"/>
                      </a:cubicBezTo>
                      <a:cubicBezTo>
                        <a:pt x="307" y="111"/>
                        <a:pt x="303" y="113"/>
                        <a:pt x="301" y="111"/>
                      </a:cubicBezTo>
                      <a:cubicBezTo>
                        <a:pt x="298" y="108"/>
                        <a:pt x="295" y="113"/>
                        <a:pt x="299" y="116"/>
                      </a:cubicBezTo>
                      <a:cubicBezTo>
                        <a:pt x="302" y="119"/>
                        <a:pt x="292" y="119"/>
                        <a:pt x="294" y="121"/>
                      </a:cubicBezTo>
                      <a:cubicBezTo>
                        <a:pt x="296" y="123"/>
                        <a:pt x="291" y="124"/>
                        <a:pt x="292" y="126"/>
                      </a:cubicBezTo>
                      <a:cubicBezTo>
                        <a:pt x="293" y="129"/>
                        <a:pt x="288" y="129"/>
                        <a:pt x="285" y="130"/>
                      </a:cubicBezTo>
                      <a:cubicBezTo>
                        <a:pt x="281" y="131"/>
                        <a:pt x="279" y="135"/>
                        <a:pt x="284" y="136"/>
                      </a:cubicBezTo>
                      <a:cubicBezTo>
                        <a:pt x="288" y="136"/>
                        <a:pt x="281" y="137"/>
                        <a:pt x="282" y="140"/>
                      </a:cubicBezTo>
                      <a:cubicBezTo>
                        <a:pt x="282" y="144"/>
                        <a:pt x="274" y="141"/>
                        <a:pt x="275" y="14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6" name="Freeform 149">
                  <a:extLst>
                    <a:ext uri="{FF2B5EF4-FFF2-40B4-BE49-F238E27FC236}">
                      <a16:creationId xmlns:a16="http://schemas.microsoft.com/office/drawing/2014/main" id="{2ADBB7D3-DB39-4A49-93E4-B79EBFE467B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1885415" y="-10459068"/>
                  <a:ext cx="3379425" cy="3784828"/>
                </a:xfrm>
                <a:custGeom>
                  <a:avLst/>
                  <a:gdLst>
                    <a:gd name="T0" fmla="*/ 483 w 547"/>
                    <a:gd name="T1" fmla="*/ 226 h 613"/>
                    <a:gd name="T2" fmla="*/ 481 w 547"/>
                    <a:gd name="T3" fmla="*/ 214 h 613"/>
                    <a:gd name="T4" fmla="*/ 439 w 547"/>
                    <a:gd name="T5" fmla="*/ 166 h 613"/>
                    <a:gd name="T6" fmla="*/ 418 w 547"/>
                    <a:gd name="T7" fmla="*/ 113 h 613"/>
                    <a:gd name="T8" fmla="*/ 409 w 547"/>
                    <a:gd name="T9" fmla="*/ 86 h 613"/>
                    <a:gd name="T10" fmla="*/ 409 w 547"/>
                    <a:gd name="T11" fmla="*/ 56 h 613"/>
                    <a:gd name="T12" fmla="*/ 338 w 547"/>
                    <a:gd name="T13" fmla="*/ 50 h 613"/>
                    <a:gd name="T14" fmla="*/ 285 w 547"/>
                    <a:gd name="T15" fmla="*/ 61 h 613"/>
                    <a:gd name="T16" fmla="*/ 230 w 547"/>
                    <a:gd name="T17" fmla="*/ 37 h 613"/>
                    <a:gd name="T18" fmla="*/ 228 w 547"/>
                    <a:gd name="T19" fmla="*/ 5 h 613"/>
                    <a:gd name="T20" fmla="*/ 182 w 547"/>
                    <a:gd name="T21" fmla="*/ 6 h 613"/>
                    <a:gd name="T22" fmla="*/ 100 w 547"/>
                    <a:gd name="T23" fmla="*/ 19 h 613"/>
                    <a:gd name="T24" fmla="*/ 61 w 547"/>
                    <a:gd name="T25" fmla="*/ 64 h 613"/>
                    <a:gd name="T26" fmla="*/ 5 w 547"/>
                    <a:gd name="T27" fmla="*/ 135 h 613"/>
                    <a:gd name="T28" fmla="*/ 3 w 547"/>
                    <a:gd name="T29" fmla="*/ 194 h 613"/>
                    <a:gd name="T30" fmla="*/ 13 w 547"/>
                    <a:gd name="T31" fmla="*/ 222 h 613"/>
                    <a:gd name="T32" fmla="*/ 40 w 547"/>
                    <a:gd name="T33" fmla="*/ 258 h 613"/>
                    <a:gd name="T34" fmla="*/ 117 w 547"/>
                    <a:gd name="T35" fmla="*/ 277 h 613"/>
                    <a:gd name="T36" fmla="*/ 160 w 547"/>
                    <a:gd name="T37" fmla="*/ 266 h 613"/>
                    <a:gd name="T38" fmla="*/ 197 w 547"/>
                    <a:gd name="T39" fmla="*/ 281 h 613"/>
                    <a:gd name="T40" fmla="*/ 219 w 547"/>
                    <a:gd name="T41" fmla="*/ 300 h 613"/>
                    <a:gd name="T42" fmla="*/ 219 w 547"/>
                    <a:gd name="T43" fmla="*/ 317 h 613"/>
                    <a:gd name="T44" fmla="*/ 230 w 547"/>
                    <a:gd name="T45" fmla="*/ 350 h 613"/>
                    <a:gd name="T46" fmla="*/ 251 w 547"/>
                    <a:gd name="T47" fmla="*/ 411 h 613"/>
                    <a:gd name="T48" fmla="*/ 239 w 547"/>
                    <a:gd name="T49" fmla="*/ 471 h 613"/>
                    <a:gd name="T50" fmla="*/ 268 w 547"/>
                    <a:gd name="T51" fmla="*/ 556 h 613"/>
                    <a:gd name="T52" fmla="*/ 288 w 547"/>
                    <a:gd name="T53" fmla="*/ 608 h 613"/>
                    <a:gd name="T54" fmla="*/ 335 w 547"/>
                    <a:gd name="T55" fmla="*/ 604 h 613"/>
                    <a:gd name="T56" fmla="*/ 398 w 547"/>
                    <a:gd name="T57" fmla="*/ 541 h 613"/>
                    <a:gd name="T58" fmla="*/ 417 w 547"/>
                    <a:gd name="T59" fmla="*/ 496 h 613"/>
                    <a:gd name="T60" fmla="*/ 449 w 547"/>
                    <a:gd name="T61" fmla="*/ 456 h 613"/>
                    <a:gd name="T62" fmla="*/ 450 w 547"/>
                    <a:gd name="T63" fmla="*/ 388 h 613"/>
                    <a:gd name="T64" fmla="*/ 463 w 547"/>
                    <a:gd name="T65" fmla="*/ 335 h 613"/>
                    <a:gd name="T66" fmla="*/ 529 w 547"/>
                    <a:gd name="T67" fmla="*/ 267 h 613"/>
                    <a:gd name="T68" fmla="*/ 29 w 547"/>
                    <a:gd name="T69" fmla="*/ 215 h 613"/>
                    <a:gd name="T70" fmla="*/ 48 w 547"/>
                    <a:gd name="T71" fmla="*/ 219 h 613"/>
                    <a:gd name="T72" fmla="*/ 55 w 547"/>
                    <a:gd name="T73" fmla="*/ 250 h 613"/>
                    <a:gd name="T74" fmla="*/ 72 w 547"/>
                    <a:gd name="T75" fmla="*/ 258 h 613"/>
                    <a:gd name="T76" fmla="*/ 117 w 547"/>
                    <a:gd name="T77" fmla="*/ 239 h 613"/>
                    <a:gd name="T78" fmla="*/ 148 w 547"/>
                    <a:gd name="T79" fmla="*/ 229 h 613"/>
                    <a:gd name="T80" fmla="*/ 234 w 547"/>
                    <a:gd name="T81" fmla="*/ 299 h 613"/>
                    <a:gd name="T82" fmla="*/ 237 w 547"/>
                    <a:gd name="T83" fmla="*/ 124 h 613"/>
                    <a:gd name="T84" fmla="*/ 249 w 547"/>
                    <a:gd name="T85" fmla="*/ 206 h 613"/>
                    <a:gd name="T86" fmla="*/ 253 w 547"/>
                    <a:gd name="T87" fmla="*/ 211 h 613"/>
                    <a:gd name="T88" fmla="*/ 265 w 547"/>
                    <a:gd name="T89" fmla="*/ 257 h 613"/>
                    <a:gd name="T90" fmla="*/ 269 w 547"/>
                    <a:gd name="T91" fmla="*/ 297 h 613"/>
                    <a:gd name="T92" fmla="*/ 355 w 547"/>
                    <a:gd name="T93" fmla="*/ 276 h 613"/>
                    <a:gd name="T94" fmla="*/ 368 w 547"/>
                    <a:gd name="T95" fmla="*/ 499 h 613"/>
                    <a:gd name="T96" fmla="*/ 377 w 547"/>
                    <a:gd name="T97" fmla="*/ 440 h 613"/>
                    <a:gd name="T98" fmla="*/ 369 w 547"/>
                    <a:gd name="T99" fmla="*/ 345 h 613"/>
                    <a:gd name="T100" fmla="*/ 380 w 547"/>
                    <a:gd name="T101" fmla="*/ 327 h 613"/>
                    <a:gd name="T102" fmla="*/ 384 w 547"/>
                    <a:gd name="T103" fmla="*/ 502 h 613"/>
                    <a:gd name="T104" fmla="*/ 412 w 547"/>
                    <a:gd name="T105" fmla="*/ 320 h 613"/>
                    <a:gd name="T106" fmla="*/ 408 w 547"/>
                    <a:gd name="T107" fmla="*/ 421 h 613"/>
                    <a:gd name="T108" fmla="*/ 417 w 547"/>
                    <a:gd name="T109" fmla="*/ 432 h 613"/>
                    <a:gd name="T110" fmla="*/ 477 w 547"/>
                    <a:gd name="T111" fmla="*/ 228 h 6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47" h="613">
                      <a:moveTo>
                        <a:pt x="541" y="222"/>
                      </a:moveTo>
                      <a:cubicBezTo>
                        <a:pt x="540" y="224"/>
                        <a:pt x="530" y="226"/>
                        <a:pt x="523" y="226"/>
                      </a:cubicBezTo>
                      <a:cubicBezTo>
                        <a:pt x="517" y="227"/>
                        <a:pt x="513" y="227"/>
                        <a:pt x="511" y="229"/>
                      </a:cubicBezTo>
                      <a:cubicBezTo>
                        <a:pt x="508" y="232"/>
                        <a:pt x="502" y="229"/>
                        <a:pt x="500" y="231"/>
                      </a:cubicBezTo>
                      <a:cubicBezTo>
                        <a:pt x="498" y="234"/>
                        <a:pt x="489" y="236"/>
                        <a:pt x="487" y="230"/>
                      </a:cubicBezTo>
                      <a:cubicBezTo>
                        <a:pt x="486" y="228"/>
                        <a:pt x="484" y="227"/>
                        <a:pt x="483" y="226"/>
                      </a:cubicBezTo>
                      <a:cubicBezTo>
                        <a:pt x="482" y="226"/>
                        <a:pt x="482" y="227"/>
                        <a:pt x="481" y="227"/>
                      </a:cubicBezTo>
                      <a:cubicBezTo>
                        <a:pt x="482" y="227"/>
                        <a:pt x="482" y="226"/>
                        <a:pt x="483" y="226"/>
                      </a:cubicBezTo>
                      <a:cubicBezTo>
                        <a:pt x="481" y="225"/>
                        <a:pt x="479" y="224"/>
                        <a:pt x="478" y="224"/>
                      </a:cubicBezTo>
                      <a:cubicBezTo>
                        <a:pt x="477" y="223"/>
                        <a:pt x="481" y="221"/>
                        <a:pt x="483" y="220"/>
                      </a:cubicBezTo>
                      <a:cubicBezTo>
                        <a:pt x="485" y="220"/>
                        <a:pt x="484" y="217"/>
                        <a:pt x="482" y="215"/>
                      </a:cubicBezTo>
                      <a:cubicBezTo>
                        <a:pt x="482" y="215"/>
                        <a:pt x="482" y="215"/>
                        <a:pt x="481" y="214"/>
                      </a:cubicBezTo>
                      <a:cubicBezTo>
                        <a:pt x="479" y="213"/>
                        <a:pt x="476" y="210"/>
                        <a:pt x="473" y="205"/>
                      </a:cubicBezTo>
                      <a:cubicBezTo>
                        <a:pt x="468" y="199"/>
                        <a:pt x="463" y="196"/>
                        <a:pt x="460" y="196"/>
                      </a:cubicBezTo>
                      <a:cubicBezTo>
                        <a:pt x="457" y="196"/>
                        <a:pt x="457" y="191"/>
                        <a:pt x="455" y="191"/>
                      </a:cubicBezTo>
                      <a:cubicBezTo>
                        <a:pt x="453" y="191"/>
                        <a:pt x="449" y="184"/>
                        <a:pt x="449" y="179"/>
                      </a:cubicBezTo>
                      <a:cubicBezTo>
                        <a:pt x="449" y="177"/>
                        <a:pt x="447" y="173"/>
                        <a:pt x="444" y="170"/>
                      </a:cubicBezTo>
                      <a:cubicBezTo>
                        <a:pt x="442" y="168"/>
                        <a:pt x="441" y="166"/>
                        <a:pt x="439" y="166"/>
                      </a:cubicBezTo>
                      <a:cubicBezTo>
                        <a:pt x="436" y="164"/>
                        <a:pt x="435" y="159"/>
                        <a:pt x="435" y="153"/>
                      </a:cubicBezTo>
                      <a:cubicBezTo>
                        <a:pt x="435" y="147"/>
                        <a:pt x="433" y="142"/>
                        <a:pt x="433" y="140"/>
                      </a:cubicBezTo>
                      <a:cubicBezTo>
                        <a:pt x="433" y="138"/>
                        <a:pt x="429" y="133"/>
                        <a:pt x="426" y="131"/>
                      </a:cubicBezTo>
                      <a:cubicBezTo>
                        <a:pt x="423" y="130"/>
                        <a:pt x="422" y="128"/>
                        <a:pt x="421" y="125"/>
                      </a:cubicBezTo>
                      <a:cubicBezTo>
                        <a:pt x="421" y="124"/>
                        <a:pt x="421" y="123"/>
                        <a:pt x="421" y="122"/>
                      </a:cubicBezTo>
                      <a:cubicBezTo>
                        <a:pt x="422" y="118"/>
                        <a:pt x="419" y="119"/>
                        <a:pt x="418" y="113"/>
                      </a:cubicBezTo>
                      <a:cubicBezTo>
                        <a:pt x="416" y="108"/>
                        <a:pt x="409" y="100"/>
                        <a:pt x="409" y="97"/>
                      </a:cubicBezTo>
                      <a:cubicBezTo>
                        <a:pt x="409" y="94"/>
                        <a:pt x="405" y="92"/>
                        <a:pt x="405" y="89"/>
                      </a:cubicBezTo>
                      <a:cubicBezTo>
                        <a:pt x="405" y="85"/>
                        <a:pt x="403" y="85"/>
                        <a:pt x="400" y="80"/>
                      </a:cubicBezTo>
                      <a:cubicBezTo>
                        <a:pt x="396" y="74"/>
                        <a:pt x="395" y="65"/>
                        <a:pt x="396" y="65"/>
                      </a:cubicBezTo>
                      <a:cubicBezTo>
                        <a:pt x="397" y="65"/>
                        <a:pt x="400" y="73"/>
                        <a:pt x="401" y="75"/>
                      </a:cubicBezTo>
                      <a:cubicBezTo>
                        <a:pt x="403" y="78"/>
                        <a:pt x="407" y="86"/>
                        <a:pt x="409" y="86"/>
                      </a:cubicBezTo>
                      <a:cubicBezTo>
                        <a:pt x="412" y="86"/>
                        <a:pt x="413" y="74"/>
                        <a:pt x="414" y="74"/>
                      </a:cubicBezTo>
                      <a:cubicBezTo>
                        <a:pt x="414" y="74"/>
                        <a:pt x="414" y="75"/>
                        <a:pt x="415" y="75"/>
                      </a:cubicBezTo>
                      <a:cubicBezTo>
                        <a:pt x="415" y="73"/>
                        <a:pt x="415" y="73"/>
                        <a:pt x="415" y="73"/>
                      </a:cubicBezTo>
                      <a:cubicBezTo>
                        <a:pt x="416" y="69"/>
                        <a:pt x="416" y="69"/>
                        <a:pt x="416" y="69"/>
                      </a:cubicBezTo>
                      <a:cubicBezTo>
                        <a:pt x="410" y="55"/>
                        <a:pt x="410" y="55"/>
                        <a:pt x="410" y="55"/>
                      </a:cubicBezTo>
                      <a:cubicBezTo>
                        <a:pt x="410" y="56"/>
                        <a:pt x="410" y="56"/>
                        <a:pt x="409" y="56"/>
                      </a:cubicBezTo>
                      <a:cubicBezTo>
                        <a:pt x="408" y="57"/>
                        <a:pt x="404" y="55"/>
                        <a:pt x="401" y="56"/>
                      </a:cubicBezTo>
                      <a:cubicBezTo>
                        <a:pt x="397" y="57"/>
                        <a:pt x="394" y="56"/>
                        <a:pt x="391" y="54"/>
                      </a:cubicBezTo>
                      <a:cubicBezTo>
                        <a:pt x="387" y="52"/>
                        <a:pt x="375" y="54"/>
                        <a:pt x="374" y="57"/>
                      </a:cubicBezTo>
                      <a:cubicBezTo>
                        <a:pt x="372" y="59"/>
                        <a:pt x="368" y="59"/>
                        <a:pt x="365" y="57"/>
                      </a:cubicBezTo>
                      <a:cubicBezTo>
                        <a:pt x="361" y="56"/>
                        <a:pt x="357" y="54"/>
                        <a:pt x="350" y="53"/>
                      </a:cubicBezTo>
                      <a:cubicBezTo>
                        <a:pt x="344" y="53"/>
                        <a:pt x="339" y="52"/>
                        <a:pt x="338" y="50"/>
                      </a:cubicBezTo>
                      <a:cubicBezTo>
                        <a:pt x="338" y="50"/>
                        <a:pt x="338" y="50"/>
                        <a:pt x="338" y="50"/>
                      </a:cubicBezTo>
                      <a:cubicBezTo>
                        <a:pt x="337" y="48"/>
                        <a:pt x="334" y="48"/>
                        <a:pt x="327" y="47"/>
                      </a:cubicBezTo>
                      <a:cubicBezTo>
                        <a:pt x="320" y="46"/>
                        <a:pt x="323" y="41"/>
                        <a:pt x="315" y="41"/>
                      </a:cubicBezTo>
                      <a:cubicBezTo>
                        <a:pt x="307" y="40"/>
                        <a:pt x="297" y="47"/>
                        <a:pt x="297" y="50"/>
                      </a:cubicBezTo>
                      <a:cubicBezTo>
                        <a:pt x="297" y="53"/>
                        <a:pt x="300" y="57"/>
                        <a:pt x="298" y="60"/>
                      </a:cubicBezTo>
                      <a:cubicBezTo>
                        <a:pt x="295" y="64"/>
                        <a:pt x="289" y="64"/>
                        <a:pt x="285" y="61"/>
                      </a:cubicBezTo>
                      <a:cubicBezTo>
                        <a:pt x="281" y="57"/>
                        <a:pt x="275" y="55"/>
                        <a:pt x="271" y="55"/>
                      </a:cubicBezTo>
                      <a:cubicBezTo>
                        <a:pt x="266" y="55"/>
                        <a:pt x="262" y="52"/>
                        <a:pt x="263" y="50"/>
                      </a:cubicBezTo>
                      <a:cubicBezTo>
                        <a:pt x="263" y="47"/>
                        <a:pt x="261" y="46"/>
                        <a:pt x="257" y="45"/>
                      </a:cubicBezTo>
                      <a:cubicBezTo>
                        <a:pt x="253" y="44"/>
                        <a:pt x="250" y="41"/>
                        <a:pt x="243" y="42"/>
                      </a:cubicBezTo>
                      <a:cubicBezTo>
                        <a:pt x="239" y="43"/>
                        <a:pt x="236" y="41"/>
                        <a:pt x="233" y="40"/>
                      </a:cubicBezTo>
                      <a:cubicBezTo>
                        <a:pt x="232" y="39"/>
                        <a:pt x="230" y="37"/>
                        <a:pt x="230" y="37"/>
                      </a:cubicBezTo>
                      <a:cubicBezTo>
                        <a:pt x="230" y="35"/>
                        <a:pt x="228" y="32"/>
                        <a:pt x="227" y="34"/>
                      </a:cubicBezTo>
                      <a:cubicBezTo>
                        <a:pt x="226" y="35"/>
                        <a:pt x="221" y="34"/>
                        <a:pt x="221" y="31"/>
                      </a:cubicBezTo>
                      <a:cubicBezTo>
                        <a:pt x="220" y="28"/>
                        <a:pt x="224" y="28"/>
                        <a:pt x="227" y="26"/>
                      </a:cubicBezTo>
                      <a:cubicBezTo>
                        <a:pt x="230" y="23"/>
                        <a:pt x="231" y="18"/>
                        <a:pt x="227" y="15"/>
                      </a:cubicBezTo>
                      <a:cubicBezTo>
                        <a:pt x="224" y="12"/>
                        <a:pt x="226" y="10"/>
                        <a:pt x="229" y="8"/>
                      </a:cubicBezTo>
                      <a:cubicBezTo>
                        <a:pt x="231" y="5"/>
                        <a:pt x="229" y="4"/>
                        <a:pt x="228" y="5"/>
                      </a:cubicBezTo>
                      <a:cubicBezTo>
                        <a:pt x="226" y="6"/>
                        <a:pt x="224" y="6"/>
                        <a:pt x="224" y="4"/>
                      </a:cubicBezTo>
                      <a:cubicBezTo>
                        <a:pt x="223" y="1"/>
                        <a:pt x="216" y="0"/>
                        <a:pt x="213" y="3"/>
                      </a:cubicBezTo>
                      <a:cubicBezTo>
                        <a:pt x="212" y="4"/>
                        <a:pt x="210" y="4"/>
                        <a:pt x="208" y="4"/>
                      </a:cubicBezTo>
                      <a:cubicBezTo>
                        <a:pt x="205" y="4"/>
                        <a:pt x="202" y="3"/>
                        <a:pt x="201" y="3"/>
                      </a:cubicBezTo>
                      <a:cubicBezTo>
                        <a:pt x="199" y="2"/>
                        <a:pt x="195" y="3"/>
                        <a:pt x="193" y="4"/>
                      </a:cubicBezTo>
                      <a:cubicBezTo>
                        <a:pt x="190" y="4"/>
                        <a:pt x="184" y="8"/>
                        <a:pt x="182" y="6"/>
                      </a:cubicBezTo>
                      <a:cubicBezTo>
                        <a:pt x="179" y="4"/>
                        <a:pt x="158" y="7"/>
                        <a:pt x="151" y="8"/>
                      </a:cubicBezTo>
                      <a:cubicBezTo>
                        <a:pt x="145" y="8"/>
                        <a:pt x="143" y="14"/>
                        <a:pt x="139" y="14"/>
                      </a:cubicBezTo>
                      <a:cubicBezTo>
                        <a:pt x="135" y="14"/>
                        <a:pt x="129" y="17"/>
                        <a:pt x="126" y="21"/>
                      </a:cubicBezTo>
                      <a:cubicBezTo>
                        <a:pt x="125" y="22"/>
                        <a:pt x="124" y="22"/>
                        <a:pt x="123" y="22"/>
                      </a:cubicBezTo>
                      <a:cubicBezTo>
                        <a:pt x="120" y="22"/>
                        <a:pt x="117" y="20"/>
                        <a:pt x="114" y="20"/>
                      </a:cubicBezTo>
                      <a:cubicBezTo>
                        <a:pt x="110" y="20"/>
                        <a:pt x="103" y="22"/>
                        <a:pt x="100" y="19"/>
                      </a:cubicBezTo>
                      <a:cubicBezTo>
                        <a:pt x="97" y="15"/>
                        <a:pt x="95" y="14"/>
                        <a:pt x="93" y="15"/>
                      </a:cubicBezTo>
                      <a:cubicBezTo>
                        <a:pt x="90" y="16"/>
                        <a:pt x="86" y="28"/>
                        <a:pt x="84" y="31"/>
                      </a:cubicBezTo>
                      <a:cubicBezTo>
                        <a:pt x="82" y="35"/>
                        <a:pt x="75" y="37"/>
                        <a:pt x="72" y="37"/>
                      </a:cubicBezTo>
                      <a:cubicBezTo>
                        <a:pt x="68" y="37"/>
                        <a:pt x="68" y="42"/>
                        <a:pt x="66" y="44"/>
                      </a:cubicBezTo>
                      <a:cubicBezTo>
                        <a:pt x="63" y="46"/>
                        <a:pt x="64" y="49"/>
                        <a:pt x="61" y="52"/>
                      </a:cubicBezTo>
                      <a:cubicBezTo>
                        <a:pt x="58" y="54"/>
                        <a:pt x="60" y="61"/>
                        <a:pt x="61" y="64"/>
                      </a:cubicBezTo>
                      <a:cubicBezTo>
                        <a:pt x="63" y="67"/>
                        <a:pt x="56" y="75"/>
                        <a:pt x="52" y="77"/>
                      </a:cubicBezTo>
                      <a:cubicBezTo>
                        <a:pt x="48" y="80"/>
                        <a:pt x="46" y="84"/>
                        <a:pt x="40" y="85"/>
                      </a:cubicBezTo>
                      <a:cubicBezTo>
                        <a:pt x="37" y="86"/>
                        <a:pt x="35" y="87"/>
                        <a:pt x="34" y="88"/>
                      </a:cubicBezTo>
                      <a:cubicBezTo>
                        <a:pt x="32" y="90"/>
                        <a:pt x="30" y="93"/>
                        <a:pt x="30" y="95"/>
                      </a:cubicBezTo>
                      <a:cubicBezTo>
                        <a:pt x="28" y="99"/>
                        <a:pt x="19" y="105"/>
                        <a:pt x="19" y="110"/>
                      </a:cubicBezTo>
                      <a:cubicBezTo>
                        <a:pt x="19" y="116"/>
                        <a:pt x="10" y="124"/>
                        <a:pt x="5" y="135"/>
                      </a:cubicBezTo>
                      <a:cubicBezTo>
                        <a:pt x="3" y="138"/>
                        <a:pt x="3" y="141"/>
                        <a:pt x="2" y="143"/>
                      </a:cubicBezTo>
                      <a:cubicBezTo>
                        <a:pt x="2" y="148"/>
                        <a:pt x="5" y="150"/>
                        <a:pt x="7" y="152"/>
                      </a:cubicBezTo>
                      <a:cubicBezTo>
                        <a:pt x="9" y="155"/>
                        <a:pt x="5" y="160"/>
                        <a:pt x="9" y="165"/>
                      </a:cubicBezTo>
                      <a:cubicBezTo>
                        <a:pt x="12" y="170"/>
                        <a:pt x="8" y="178"/>
                        <a:pt x="6" y="181"/>
                      </a:cubicBezTo>
                      <a:cubicBezTo>
                        <a:pt x="5" y="182"/>
                        <a:pt x="5" y="185"/>
                        <a:pt x="5" y="188"/>
                      </a:cubicBezTo>
                      <a:cubicBezTo>
                        <a:pt x="4" y="190"/>
                        <a:pt x="4" y="192"/>
                        <a:pt x="3" y="194"/>
                      </a:cubicBezTo>
                      <a:cubicBezTo>
                        <a:pt x="0" y="198"/>
                        <a:pt x="4" y="204"/>
                        <a:pt x="6" y="206"/>
                      </a:cubicBezTo>
                      <a:cubicBezTo>
                        <a:pt x="6" y="206"/>
                        <a:pt x="6" y="206"/>
                        <a:pt x="6" y="207"/>
                      </a:cubicBezTo>
                      <a:cubicBezTo>
                        <a:pt x="6" y="208"/>
                        <a:pt x="5" y="210"/>
                        <a:pt x="5" y="212"/>
                      </a:cubicBezTo>
                      <a:cubicBezTo>
                        <a:pt x="5" y="213"/>
                        <a:pt x="5" y="215"/>
                        <a:pt x="6" y="216"/>
                      </a:cubicBezTo>
                      <a:cubicBezTo>
                        <a:pt x="6" y="216"/>
                        <a:pt x="7" y="216"/>
                        <a:pt x="7" y="217"/>
                      </a:cubicBezTo>
                      <a:cubicBezTo>
                        <a:pt x="9" y="219"/>
                        <a:pt x="9" y="220"/>
                        <a:pt x="13" y="222"/>
                      </a:cubicBezTo>
                      <a:cubicBezTo>
                        <a:pt x="18" y="223"/>
                        <a:pt x="13" y="225"/>
                        <a:pt x="17" y="228"/>
                      </a:cubicBezTo>
                      <a:cubicBezTo>
                        <a:pt x="17" y="228"/>
                        <a:pt x="17" y="228"/>
                        <a:pt x="18" y="228"/>
                      </a:cubicBezTo>
                      <a:cubicBezTo>
                        <a:pt x="21" y="231"/>
                        <a:pt x="20" y="233"/>
                        <a:pt x="24" y="235"/>
                      </a:cubicBezTo>
                      <a:cubicBezTo>
                        <a:pt x="26" y="238"/>
                        <a:pt x="30" y="241"/>
                        <a:pt x="33" y="245"/>
                      </a:cubicBezTo>
                      <a:cubicBezTo>
                        <a:pt x="33" y="246"/>
                        <a:pt x="33" y="247"/>
                        <a:pt x="34" y="248"/>
                      </a:cubicBezTo>
                      <a:cubicBezTo>
                        <a:pt x="36" y="255"/>
                        <a:pt x="37" y="256"/>
                        <a:pt x="40" y="258"/>
                      </a:cubicBezTo>
                      <a:cubicBezTo>
                        <a:pt x="41" y="259"/>
                        <a:pt x="44" y="261"/>
                        <a:pt x="47" y="263"/>
                      </a:cubicBezTo>
                      <a:cubicBezTo>
                        <a:pt x="50" y="265"/>
                        <a:pt x="54" y="267"/>
                        <a:pt x="57" y="270"/>
                      </a:cubicBezTo>
                      <a:cubicBezTo>
                        <a:pt x="63" y="274"/>
                        <a:pt x="72" y="280"/>
                        <a:pt x="76" y="281"/>
                      </a:cubicBezTo>
                      <a:cubicBezTo>
                        <a:pt x="76" y="282"/>
                        <a:pt x="77" y="282"/>
                        <a:pt x="78" y="282"/>
                      </a:cubicBezTo>
                      <a:cubicBezTo>
                        <a:pt x="83" y="282"/>
                        <a:pt x="91" y="278"/>
                        <a:pt x="102" y="277"/>
                      </a:cubicBezTo>
                      <a:cubicBezTo>
                        <a:pt x="108" y="275"/>
                        <a:pt x="113" y="276"/>
                        <a:pt x="117" y="277"/>
                      </a:cubicBezTo>
                      <a:cubicBezTo>
                        <a:pt x="120" y="278"/>
                        <a:pt x="122" y="279"/>
                        <a:pt x="123" y="280"/>
                      </a:cubicBezTo>
                      <a:cubicBezTo>
                        <a:pt x="125" y="280"/>
                        <a:pt x="135" y="275"/>
                        <a:pt x="139" y="273"/>
                      </a:cubicBezTo>
                      <a:cubicBezTo>
                        <a:pt x="142" y="272"/>
                        <a:pt x="146" y="271"/>
                        <a:pt x="148" y="269"/>
                      </a:cubicBezTo>
                      <a:cubicBezTo>
                        <a:pt x="149" y="269"/>
                        <a:pt x="149" y="269"/>
                        <a:pt x="150" y="268"/>
                      </a:cubicBezTo>
                      <a:cubicBezTo>
                        <a:pt x="151" y="267"/>
                        <a:pt x="152" y="267"/>
                        <a:pt x="154" y="267"/>
                      </a:cubicBezTo>
                      <a:cubicBezTo>
                        <a:pt x="156" y="266"/>
                        <a:pt x="158" y="266"/>
                        <a:pt x="160" y="266"/>
                      </a:cubicBezTo>
                      <a:cubicBezTo>
                        <a:pt x="162" y="266"/>
                        <a:pt x="164" y="263"/>
                        <a:pt x="165" y="264"/>
                      </a:cubicBezTo>
                      <a:cubicBezTo>
                        <a:pt x="165" y="264"/>
                        <a:pt x="165" y="264"/>
                        <a:pt x="165" y="264"/>
                      </a:cubicBezTo>
                      <a:cubicBezTo>
                        <a:pt x="167" y="266"/>
                        <a:pt x="173" y="267"/>
                        <a:pt x="177" y="267"/>
                      </a:cubicBezTo>
                      <a:cubicBezTo>
                        <a:pt x="181" y="268"/>
                        <a:pt x="185" y="274"/>
                        <a:pt x="185" y="276"/>
                      </a:cubicBezTo>
                      <a:cubicBezTo>
                        <a:pt x="185" y="278"/>
                        <a:pt x="187" y="282"/>
                        <a:pt x="189" y="283"/>
                      </a:cubicBezTo>
                      <a:cubicBezTo>
                        <a:pt x="191" y="284"/>
                        <a:pt x="195" y="281"/>
                        <a:pt x="197" y="281"/>
                      </a:cubicBezTo>
                      <a:cubicBezTo>
                        <a:pt x="199" y="281"/>
                        <a:pt x="206" y="281"/>
                        <a:pt x="208" y="280"/>
                      </a:cubicBezTo>
                      <a:cubicBezTo>
                        <a:pt x="208" y="279"/>
                        <a:pt x="209" y="279"/>
                        <a:pt x="209" y="280"/>
                      </a:cubicBezTo>
                      <a:cubicBezTo>
                        <a:pt x="210" y="280"/>
                        <a:pt x="211" y="282"/>
                        <a:pt x="213" y="284"/>
                      </a:cubicBezTo>
                      <a:cubicBezTo>
                        <a:pt x="214" y="286"/>
                        <a:pt x="217" y="285"/>
                        <a:pt x="219" y="285"/>
                      </a:cubicBezTo>
                      <a:cubicBezTo>
                        <a:pt x="220" y="286"/>
                        <a:pt x="221" y="292"/>
                        <a:pt x="221" y="293"/>
                      </a:cubicBezTo>
                      <a:cubicBezTo>
                        <a:pt x="221" y="295"/>
                        <a:pt x="219" y="298"/>
                        <a:pt x="219" y="300"/>
                      </a:cubicBezTo>
                      <a:cubicBezTo>
                        <a:pt x="220" y="300"/>
                        <a:pt x="220" y="300"/>
                        <a:pt x="220" y="301"/>
                      </a:cubicBezTo>
                      <a:cubicBezTo>
                        <a:pt x="221" y="302"/>
                        <a:pt x="220" y="305"/>
                        <a:pt x="218" y="306"/>
                      </a:cubicBezTo>
                      <a:cubicBezTo>
                        <a:pt x="215" y="307"/>
                        <a:pt x="215" y="309"/>
                        <a:pt x="217" y="309"/>
                      </a:cubicBezTo>
                      <a:cubicBezTo>
                        <a:pt x="219" y="309"/>
                        <a:pt x="218" y="310"/>
                        <a:pt x="218" y="311"/>
                      </a:cubicBezTo>
                      <a:cubicBezTo>
                        <a:pt x="217" y="312"/>
                        <a:pt x="217" y="312"/>
                        <a:pt x="216" y="313"/>
                      </a:cubicBezTo>
                      <a:cubicBezTo>
                        <a:pt x="215" y="314"/>
                        <a:pt x="219" y="315"/>
                        <a:pt x="219" y="317"/>
                      </a:cubicBezTo>
                      <a:cubicBezTo>
                        <a:pt x="220" y="318"/>
                        <a:pt x="215" y="318"/>
                        <a:pt x="215" y="320"/>
                      </a:cubicBezTo>
                      <a:cubicBezTo>
                        <a:pt x="215" y="322"/>
                        <a:pt x="213" y="324"/>
                        <a:pt x="212" y="325"/>
                      </a:cubicBezTo>
                      <a:cubicBezTo>
                        <a:pt x="210" y="326"/>
                        <a:pt x="216" y="331"/>
                        <a:pt x="216" y="332"/>
                      </a:cubicBezTo>
                      <a:cubicBezTo>
                        <a:pt x="216" y="334"/>
                        <a:pt x="217" y="335"/>
                        <a:pt x="221" y="340"/>
                      </a:cubicBezTo>
                      <a:cubicBezTo>
                        <a:pt x="226" y="344"/>
                        <a:pt x="224" y="345"/>
                        <a:pt x="229" y="350"/>
                      </a:cubicBezTo>
                      <a:cubicBezTo>
                        <a:pt x="230" y="350"/>
                        <a:pt x="230" y="350"/>
                        <a:pt x="230" y="350"/>
                      </a:cubicBezTo>
                      <a:cubicBezTo>
                        <a:pt x="234" y="353"/>
                        <a:pt x="236" y="356"/>
                        <a:pt x="237" y="359"/>
                      </a:cubicBezTo>
                      <a:cubicBezTo>
                        <a:pt x="239" y="362"/>
                        <a:pt x="239" y="365"/>
                        <a:pt x="240" y="368"/>
                      </a:cubicBezTo>
                      <a:cubicBezTo>
                        <a:pt x="240" y="368"/>
                        <a:pt x="240" y="368"/>
                        <a:pt x="240" y="369"/>
                      </a:cubicBezTo>
                      <a:cubicBezTo>
                        <a:pt x="242" y="374"/>
                        <a:pt x="246" y="383"/>
                        <a:pt x="247" y="385"/>
                      </a:cubicBezTo>
                      <a:cubicBezTo>
                        <a:pt x="248" y="388"/>
                        <a:pt x="246" y="390"/>
                        <a:pt x="246" y="394"/>
                      </a:cubicBezTo>
                      <a:cubicBezTo>
                        <a:pt x="246" y="398"/>
                        <a:pt x="250" y="406"/>
                        <a:pt x="251" y="411"/>
                      </a:cubicBezTo>
                      <a:cubicBezTo>
                        <a:pt x="251" y="416"/>
                        <a:pt x="248" y="419"/>
                        <a:pt x="245" y="422"/>
                      </a:cubicBezTo>
                      <a:cubicBezTo>
                        <a:pt x="242" y="426"/>
                        <a:pt x="239" y="433"/>
                        <a:pt x="239" y="438"/>
                      </a:cubicBezTo>
                      <a:cubicBezTo>
                        <a:pt x="239" y="442"/>
                        <a:pt x="235" y="447"/>
                        <a:pt x="235" y="449"/>
                      </a:cubicBezTo>
                      <a:cubicBezTo>
                        <a:pt x="235" y="451"/>
                        <a:pt x="235" y="457"/>
                        <a:pt x="234" y="460"/>
                      </a:cubicBezTo>
                      <a:cubicBezTo>
                        <a:pt x="234" y="460"/>
                        <a:pt x="234" y="460"/>
                        <a:pt x="234" y="460"/>
                      </a:cubicBezTo>
                      <a:cubicBezTo>
                        <a:pt x="234" y="463"/>
                        <a:pt x="236" y="467"/>
                        <a:pt x="239" y="471"/>
                      </a:cubicBezTo>
                      <a:cubicBezTo>
                        <a:pt x="241" y="474"/>
                        <a:pt x="245" y="481"/>
                        <a:pt x="247" y="487"/>
                      </a:cubicBezTo>
                      <a:cubicBezTo>
                        <a:pt x="248" y="493"/>
                        <a:pt x="253" y="499"/>
                        <a:pt x="255" y="504"/>
                      </a:cubicBezTo>
                      <a:cubicBezTo>
                        <a:pt x="256" y="508"/>
                        <a:pt x="254" y="515"/>
                        <a:pt x="255" y="517"/>
                      </a:cubicBezTo>
                      <a:cubicBezTo>
                        <a:pt x="256" y="520"/>
                        <a:pt x="257" y="525"/>
                        <a:pt x="258" y="530"/>
                      </a:cubicBezTo>
                      <a:cubicBezTo>
                        <a:pt x="259" y="535"/>
                        <a:pt x="259" y="545"/>
                        <a:pt x="263" y="550"/>
                      </a:cubicBezTo>
                      <a:cubicBezTo>
                        <a:pt x="265" y="551"/>
                        <a:pt x="267" y="553"/>
                        <a:pt x="268" y="556"/>
                      </a:cubicBezTo>
                      <a:cubicBezTo>
                        <a:pt x="271" y="560"/>
                        <a:pt x="273" y="565"/>
                        <a:pt x="275" y="569"/>
                      </a:cubicBezTo>
                      <a:cubicBezTo>
                        <a:pt x="276" y="575"/>
                        <a:pt x="281" y="581"/>
                        <a:pt x="282" y="585"/>
                      </a:cubicBezTo>
                      <a:cubicBezTo>
                        <a:pt x="283" y="588"/>
                        <a:pt x="285" y="592"/>
                        <a:pt x="282" y="592"/>
                      </a:cubicBezTo>
                      <a:cubicBezTo>
                        <a:pt x="280" y="593"/>
                        <a:pt x="280" y="595"/>
                        <a:pt x="282" y="599"/>
                      </a:cubicBezTo>
                      <a:cubicBezTo>
                        <a:pt x="285" y="603"/>
                        <a:pt x="283" y="605"/>
                        <a:pt x="285" y="606"/>
                      </a:cubicBezTo>
                      <a:cubicBezTo>
                        <a:pt x="287" y="606"/>
                        <a:pt x="287" y="608"/>
                        <a:pt x="288" y="608"/>
                      </a:cubicBezTo>
                      <a:cubicBezTo>
                        <a:pt x="290" y="608"/>
                        <a:pt x="291" y="610"/>
                        <a:pt x="293" y="611"/>
                      </a:cubicBezTo>
                      <a:cubicBezTo>
                        <a:pt x="294" y="613"/>
                        <a:pt x="296" y="613"/>
                        <a:pt x="298" y="611"/>
                      </a:cubicBezTo>
                      <a:cubicBezTo>
                        <a:pt x="299" y="609"/>
                        <a:pt x="303" y="608"/>
                        <a:pt x="307" y="608"/>
                      </a:cubicBezTo>
                      <a:cubicBezTo>
                        <a:pt x="311" y="608"/>
                        <a:pt x="311" y="606"/>
                        <a:pt x="315" y="605"/>
                      </a:cubicBezTo>
                      <a:cubicBezTo>
                        <a:pt x="319" y="604"/>
                        <a:pt x="324" y="604"/>
                        <a:pt x="327" y="605"/>
                      </a:cubicBezTo>
                      <a:cubicBezTo>
                        <a:pt x="331" y="606"/>
                        <a:pt x="333" y="605"/>
                        <a:pt x="335" y="604"/>
                      </a:cubicBezTo>
                      <a:cubicBezTo>
                        <a:pt x="336" y="603"/>
                        <a:pt x="340" y="606"/>
                        <a:pt x="340" y="603"/>
                      </a:cubicBezTo>
                      <a:cubicBezTo>
                        <a:pt x="340" y="600"/>
                        <a:pt x="343" y="601"/>
                        <a:pt x="347" y="601"/>
                      </a:cubicBezTo>
                      <a:cubicBezTo>
                        <a:pt x="350" y="601"/>
                        <a:pt x="357" y="596"/>
                        <a:pt x="363" y="590"/>
                      </a:cubicBezTo>
                      <a:cubicBezTo>
                        <a:pt x="369" y="585"/>
                        <a:pt x="379" y="573"/>
                        <a:pt x="382" y="567"/>
                      </a:cubicBezTo>
                      <a:cubicBezTo>
                        <a:pt x="386" y="561"/>
                        <a:pt x="391" y="557"/>
                        <a:pt x="394" y="554"/>
                      </a:cubicBezTo>
                      <a:cubicBezTo>
                        <a:pt x="396" y="552"/>
                        <a:pt x="397" y="546"/>
                        <a:pt x="398" y="541"/>
                      </a:cubicBezTo>
                      <a:cubicBezTo>
                        <a:pt x="398" y="539"/>
                        <a:pt x="398" y="538"/>
                        <a:pt x="398" y="537"/>
                      </a:cubicBezTo>
                      <a:cubicBezTo>
                        <a:pt x="398" y="533"/>
                        <a:pt x="396" y="536"/>
                        <a:pt x="395" y="534"/>
                      </a:cubicBezTo>
                      <a:cubicBezTo>
                        <a:pt x="394" y="531"/>
                        <a:pt x="401" y="527"/>
                        <a:pt x="407" y="525"/>
                      </a:cubicBezTo>
                      <a:cubicBezTo>
                        <a:pt x="414" y="522"/>
                        <a:pt x="417" y="521"/>
                        <a:pt x="417" y="518"/>
                      </a:cubicBezTo>
                      <a:cubicBezTo>
                        <a:pt x="418" y="516"/>
                        <a:pt x="417" y="509"/>
                        <a:pt x="418" y="507"/>
                      </a:cubicBezTo>
                      <a:cubicBezTo>
                        <a:pt x="419" y="504"/>
                        <a:pt x="418" y="502"/>
                        <a:pt x="417" y="496"/>
                      </a:cubicBezTo>
                      <a:cubicBezTo>
                        <a:pt x="416" y="491"/>
                        <a:pt x="414" y="490"/>
                        <a:pt x="413" y="486"/>
                      </a:cubicBezTo>
                      <a:cubicBezTo>
                        <a:pt x="412" y="483"/>
                        <a:pt x="412" y="480"/>
                        <a:pt x="414" y="480"/>
                      </a:cubicBezTo>
                      <a:cubicBezTo>
                        <a:pt x="416" y="480"/>
                        <a:pt x="416" y="479"/>
                        <a:pt x="418" y="476"/>
                      </a:cubicBezTo>
                      <a:cubicBezTo>
                        <a:pt x="420" y="473"/>
                        <a:pt x="421" y="474"/>
                        <a:pt x="425" y="472"/>
                      </a:cubicBezTo>
                      <a:cubicBezTo>
                        <a:pt x="428" y="469"/>
                        <a:pt x="428" y="466"/>
                        <a:pt x="433" y="462"/>
                      </a:cubicBezTo>
                      <a:cubicBezTo>
                        <a:pt x="438" y="458"/>
                        <a:pt x="444" y="459"/>
                        <a:pt x="449" y="456"/>
                      </a:cubicBezTo>
                      <a:cubicBezTo>
                        <a:pt x="454" y="453"/>
                        <a:pt x="462" y="441"/>
                        <a:pt x="462" y="439"/>
                      </a:cubicBezTo>
                      <a:cubicBezTo>
                        <a:pt x="461" y="437"/>
                        <a:pt x="459" y="427"/>
                        <a:pt x="460" y="423"/>
                      </a:cubicBezTo>
                      <a:cubicBezTo>
                        <a:pt x="460" y="419"/>
                        <a:pt x="459" y="409"/>
                        <a:pt x="459" y="404"/>
                      </a:cubicBezTo>
                      <a:cubicBezTo>
                        <a:pt x="459" y="404"/>
                        <a:pt x="459" y="404"/>
                        <a:pt x="459" y="404"/>
                      </a:cubicBezTo>
                      <a:cubicBezTo>
                        <a:pt x="459" y="399"/>
                        <a:pt x="453" y="401"/>
                        <a:pt x="453" y="396"/>
                      </a:cubicBezTo>
                      <a:cubicBezTo>
                        <a:pt x="453" y="391"/>
                        <a:pt x="450" y="391"/>
                        <a:pt x="450" y="388"/>
                      </a:cubicBezTo>
                      <a:cubicBezTo>
                        <a:pt x="450" y="385"/>
                        <a:pt x="450" y="382"/>
                        <a:pt x="449" y="381"/>
                      </a:cubicBezTo>
                      <a:cubicBezTo>
                        <a:pt x="448" y="381"/>
                        <a:pt x="449" y="378"/>
                        <a:pt x="451" y="375"/>
                      </a:cubicBezTo>
                      <a:cubicBezTo>
                        <a:pt x="453" y="372"/>
                        <a:pt x="447" y="372"/>
                        <a:pt x="446" y="369"/>
                      </a:cubicBezTo>
                      <a:cubicBezTo>
                        <a:pt x="446" y="367"/>
                        <a:pt x="448" y="362"/>
                        <a:pt x="450" y="356"/>
                      </a:cubicBezTo>
                      <a:cubicBezTo>
                        <a:pt x="453" y="349"/>
                        <a:pt x="457" y="340"/>
                        <a:pt x="458" y="339"/>
                      </a:cubicBezTo>
                      <a:cubicBezTo>
                        <a:pt x="460" y="336"/>
                        <a:pt x="461" y="337"/>
                        <a:pt x="463" y="335"/>
                      </a:cubicBezTo>
                      <a:cubicBezTo>
                        <a:pt x="464" y="333"/>
                        <a:pt x="465" y="336"/>
                        <a:pt x="467" y="332"/>
                      </a:cubicBezTo>
                      <a:cubicBezTo>
                        <a:pt x="468" y="332"/>
                        <a:pt x="468" y="331"/>
                        <a:pt x="468" y="331"/>
                      </a:cubicBezTo>
                      <a:cubicBezTo>
                        <a:pt x="471" y="327"/>
                        <a:pt x="480" y="319"/>
                        <a:pt x="486" y="312"/>
                      </a:cubicBezTo>
                      <a:cubicBezTo>
                        <a:pt x="493" y="305"/>
                        <a:pt x="496" y="303"/>
                        <a:pt x="500" y="301"/>
                      </a:cubicBezTo>
                      <a:cubicBezTo>
                        <a:pt x="504" y="299"/>
                        <a:pt x="513" y="290"/>
                        <a:pt x="520" y="282"/>
                      </a:cubicBezTo>
                      <a:cubicBezTo>
                        <a:pt x="524" y="276"/>
                        <a:pt x="529" y="271"/>
                        <a:pt x="529" y="267"/>
                      </a:cubicBezTo>
                      <a:cubicBezTo>
                        <a:pt x="530" y="263"/>
                        <a:pt x="534" y="258"/>
                        <a:pt x="536" y="254"/>
                      </a:cubicBezTo>
                      <a:cubicBezTo>
                        <a:pt x="539" y="251"/>
                        <a:pt x="544" y="241"/>
                        <a:pt x="544" y="238"/>
                      </a:cubicBezTo>
                      <a:cubicBezTo>
                        <a:pt x="544" y="236"/>
                        <a:pt x="546" y="229"/>
                        <a:pt x="547" y="224"/>
                      </a:cubicBezTo>
                      <a:cubicBezTo>
                        <a:pt x="547" y="219"/>
                        <a:pt x="543" y="219"/>
                        <a:pt x="541" y="222"/>
                      </a:cubicBezTo>
                      <a:close/>
                      <a:moveTo>
                        <a:pt x="29" y="216"/>
                      </a:moveTo>
                      <a:cubicBezTo>
                        <a:pt x="29" y="215"/>
                        <a:pt x="29" y="215"/>
                        <a:pt x="29" y="215"/>
                      </a:cubicBezTo>
                      <a:cubicBezTo>
                        <a:pt x="29" y="215"/>
                        <a:pt x="29" y="215"/>
                        <a:pt x="29" y="216"/>
                      </a:cubicBezTo>
                      <a:close/>
                      <a:moveTo>
                        <a:pt x="40" y="198"/>
                      </a:moveTo>
                      <a:cubicBezTo>
                        <a:pt x="40" y="198"/>
                        <a:pt x="40" y="198"/>
                        <a:pt x="40" y="198"/>
                      </a:cubicBezTo>
                      <a:cubicBezTo>
                        <a:pt x="40" y="198"/>
                        <a:pt x="40" y="198"/>
                        <a:pt x="40" y="198"/>
                      </a:cubicBezTo>
                      <a:cubicBezTo>
                        <a:pt x="40" y="198"/>
                        <a:pt x="40" y="198"/>
                        <a:pt x="40" y="198"/>
                      </a:cubicBezTo>
                      <a:close/>
                      <a:moveTo>
                        <a:pt x="48" y="219"/>
                      </a:moveTo>
                      <a:cubicBezTo>
                        <a:pt x="48" y="219"/>
                        <a:pt x="48" y="218"/>
                        <a:pt x="48" y="218"/>
                      </a:cubicBezTo>
                      <a:cubicBezTo>
                        <a:pt x="48" y="218"/>
                        <a:pt x="48" y="219"/>
                        <a:pt x="48" y="219"/>
                      </a:cubicBezTo>
                      <a:close/>
                      <a:moveTo>
                        <a:pt x="48" y="218"/>
                      </a:moveTo>
                      <a:cubicBezTo>
                        <a:pt x="47" y="218"/>
                        <a:pt x="47" y="218"/>
                        <a:pt x="47" y="218"/>
                      </a:cubicBezTo>
                      <a:cubicBezTo>
                        <a:pt x="47" y="218"/>
                        <a:pt x="47" y="218"/>
                        <a:pt x="48" y="218"/>
                      </a:cubicBezTo>
                      <a:close/>
                      <a:moveTo>
                        <a:pt x="55" y="250"/>
                      </a:moveTo>
                      <a:cubicBezTo>
                        <a:pt x="55" y="250"/>
                        <a:pt x="56" y="250"/>
                        <a:pt x="56" y="251"/>
                      </a:cubicBezTo>
                      <a:cubicBezTo>
                        <a:pt x="56" y="251"/>
                        <a:pt x="56" y="251"/>
                        <a:pt x="56" y="251"/>
                      </a:cubicBezTo>
                      <a:cubicBezTo>
                        <a:pt x="56" y="251"/>
                        <a:pt x="56" y="250"/>
                        <a:pt x="55" y="250"/>
                      </a:cubicBezTo>
                      <a:close/>
                      <a:moveTo>
                        <a:pt x="72" y="258"/>
                      </a:moveTo>
                      <a:cubicBezTo>
                        <a:pt x="72" y="258"/>
                        <a:pt x="72" y="258"/>
                        <a:pt x="72" y="258"/>
                      </a:cubicBezTo>
                      <a:cubicBezTo>
                        <a:pt x="72" y="258"/>
                        <a:pt x="72" y="258"/>
                        <a:pt x="72" y="258"/>
                      </a:cubicBezTo>
                      <a:cubicBezTo>
                        <a:pt x="72" y="258"/>
                        <a:pt x="72" y="258"/>
                        <a:pt x="72" y="258"/>
                      </a:cubicBezTo>
                      <a:close/>
                      <a:moveTo>
                        <a:pt x="95" y="233"/>
                      </a:moveTo>
                      <a:cubicBezTo>
                        <a:pt x="95" y="233"/>
                        <a:pt x="95" y="233"/>
                        <a:pt x="95" y="233"/>
                      </a:cubicBezTo>
                      <a:cubicBezTo>
                        <a:pt x="95" y="233"/>
                        <a:pt x="95" y="233"/>
                        <a:pt x="95" y="233"/>
                      </a:cubicBezTo>
                      <a:cubicBezTo>
                        <a:pt x="95" y="233"/>
                        <a:pt x="95" y="233"/>
                        <a:pt x="95" y="233"/>
                      </a:cubicBezTo>
                      <a:close/>
                      <a:moveTo>
                        <a:pt x="117" y="239"/>
                      </a:moveTo>
                      <a:cubicBezTo>
                        <a:pt x="117" y="239"/>
                        <a:pt x="117" y="239"/>
                        <a:pt x="117" y="239"/>
                      </a:cubicBezTo>
                      <a:cubicBezTo>
                        <a:pt x="117" y="239"/>
                        <a:pt x="117" y="239"/>
                        <a:pt x="117" y="239"/>
                      </a:cubicBezTo>
                      <a:cubicBezTo>
                        <a:pt x="117" y="239"/>
                        <a:pt x="117" y="239"/>
                        <a:pt x="117" y="239"/>
                      </a:cubicBezTo>
                      <a:close/>
                      <a:moveTo>
                        <a:pt x="146" y="229"/>
                      </a:moveTo>
                      <a:cubicBezTo>
                        <a:pt x="146" y="229"/>
                        <a:pt x="146" y="229"/>
                        <a:pt x="146" y="229"/>
                      </a:cubicBezTo>
                      <a:cubicBezTo>
                        <a:pt x="147" y="229"/>
                        <a:pt x="147" y="229"/>
                        <a:pt x="148" y="229"/>
                      </a:cubicBezTo>
                      <a:cubicBezTo>
                        <a:pt x="147" y="229"/>
                        <a:pt x="147" y="229"/>
                        <a:pt x="146" y="229"/>
                      </a:cubicBezTo>
                      <a:close/>
                      <a:moveTo>
                        <a:pt x="169" y="221"/>
                      </a:moveTo>
                      <a:cubicBezTo>
                        <a:pt x="169" y="221"/>
                        <a:pt x="169" y="221"/>
                        <a:pt x="169" y="221"/>
                      </a:cubicBezTo>
                      <a:cubicBezTo>
                        <a:pt x="169" y="221"/>
                        <a:pt x="169" y="221"/>
                        <a:pt x="169" y="221"/>
                      </a:cubicBezTo>
                      <a:cubicBezTo>
                        <a:pt x="169" y="221"/>
                        <a:pt x="169" y="221"/>
                        <a:pt x="169" y="221"/>
                      </a:cubicBezTo>
                      <a:close/>
                      <a:moveTo>
                        <a:pt x="234" y="299"/>
                      </a:moveTo>
                      <a:cubicBezTo>
                        <a:pt x="233" y="300"/>
                        <a:pt x="233" y="300"/>
                        <a:pt x="233" y="300"/>
                      </a:cubicBezTo>
                      <a:cubicBezTo>
                        <a:pt x="231" y="300"/>
                        <a:pt x="231" y="300"/>
                        <a:pt x="231" y="300"/>
                      </a:cubicBezTo>
                      <a:cubicBezTo>
                        <a:pt x="234" y="299"/>
                        <a:pt x="234" y="299"/>
                        <a:pt x="234" y="299"/>
                      </a:cubicBezTo>
                      <a:cubicBezTo>
                        <a:pt x="234" y="299"/>
                        <a:pt x="234" y="299"/>
                        <a:pt x="234" y="299"/>
                      </a:cubicBezTo>
                      <a:cubicBezTo>
                        <a:pt x="234" y="299"/>
                        <a:pt x="234" y="299"/>
                        <a:pt x="234" y="299"/>
                      </a:cubicBezTo>
                      <a:close/>
                      <a:moveTo>
                        <a:pt x="237" y="124"/>
                      </a:moveTo>
                      <a:cubicBezTo>
                        <a:pt x="237" y="124"/>
                        <a:pt x="237" y="124"/>
                        <a:pt x="237" y="124"/>
                      </a:cubicBezTo>
                      <a:cubicBezTo>
                        <a:pt x="237" y="124"/>
                        <a:pt x="237" y="124"/>
                        <a:pt x="237" y="124"/>
                      </a:cubicBezTo>
                      <a:cubicBezTo>
                        <a:pt x="237" y="124"/>
                        <a:pt x="237" y="124"/>
                        <a:pt x="237" y="124"/>
                      </a:cubicBezTo>
                      <a:close/>
                      <a:moveTo>
                        <a:pt x="249" y="206"/>
                      </a:moveTo>
                      <a:cubicBezTo>
                        <a:pt x="249" y="206"/>
                        <a:pt x="249" y="206"/>
                        <a:pt x="249" y="206"/>
                      </a:cubicBezTo>
                      <a:cubicBezTo>
                        <a:pt x="249" y="206"/>
                        <a:pt x="249" y="206"/>
                        <a:pt x="249" y="206"/>
                      </a:cubicBezTo>
                      <a:cubicBezTo>
                        <a:pt x="249" y="206"/>
                        <a:pt x="249" y="206"/>
                        <a:pt x="249" y="206"/>
                      </a:cubicBezTo>
                      <a:close/>
                      <a:moveTo>
                        <a:pt x="246" y="300"/>
                      </a:moveTo>
                      <a:cubicBezTo>
                        <a:pt x="246" y="300"/>
                        <a:pt x="246" y="300"/>
                        <a:pt x="246" y="300"/>
                      </a:cubicBezTo>
                      <a:cubicBezTo>
                        <a:pt x="247" y="300"/>
                        <a:pt x="248" y="300"/>
                        <a:pt x="249" y="300"/>
                      </a:cubicBezTo>
                      <a:cubicBezTo>
                        <a:pt x="248" y="300"/>
                        <a:pt x="247" y="300"/>
                        <a:pt x="246" y="300"/>
                      </a:cubicBezTo>
                      <a:close/>
                      <a:moveTo>
                        <a:pt x="253" y="211"/>
                      </a:moveTo>
                      <a:cubicBezTo>
                        <a:pt x="253" y="211"/>
                        <a:pt x="253" y="211"/>
                        <a:pt x="253" y="211"/>
                      </a:cubicBezTo>
                      <a:cubicBezTo>
                        <a:pt x="253" y="211"/>
                        <a:pt x="253" y="211"/>
                        <a:pt x="254" y="211"/>
                      </a:cubicBezTo>
                      <a:cubicBezTo>
                        <a:pt x="254" y="211"/>
                        <a:pt x="254" y="211"/>
                        <a:pt x="253" y="211"/>
                      </a:cubicBezTo>
                      <a:close/>
                      <a:moveTo>
                        <a:pt x="264" y="257"/>
                      </a:moveTo>
                      <a:cubicBezTo>
                        <a:pt x="264" y="257"/>
                        <a:pt x="264" y="257"/>
                        <a:pt x="264" y="257"/>
                      </a:cubicBezTo>
                      <a:cubicBezTo>
                        <a:pt x="264" y="257"/>
                        <a:pt x="264" y="257"/>
                        <a:pt x="265" y="257"/>
                      </a:cubicBezTo>
                      <a:cubicBezTo>
                        <a:pt x="264" y="257"/>
                        <a:pt x="264" y="257"/>
                        <a:pt x="264" y="257"/>
                      </a:cubicBezTo>
                      <a:close/>
                      <a:moveTo>
                        <a:pt x="260" y="128"/>
                      </a:moveTo>
                      <a:cubicBezTo>
                        <a:pt x="254" y="132"/>
                        <a:pt x="254" y="132"/>
                        <a:pt x="254" y="132"/>
                      </a:cubicBezTo>
                      <a:cubicBezTo>
                        <a:pt x="267" y="124"/>
                        <a:pt x="267" y="124"/>
                        <a:pt x="267" y="124"/>
                      </a:cubicBezTo>
                      <a:lnTo>
                        <a:pt x="260" y="128"/>
                      </a:lnTo>
                      <a:close/>
                      <a:moveTo>
                        <a:pt x="269" y="297"/>
                      </a:moveTo>
                      <a:cubicBezTo>
                        <a:pt x="269" y="297"/>
                        <a:pt x="269" y="297"/>
                        <a:pt x="269" y="297"/>
                      </a:cubicBezTo>
                      <a:cubicBezTo>
                        <a:pt x="269" y="296"/>
                        <a:pt x="269" y="296"/>
                        <a:pt x="269" y="296"/>
                      </a:cubicBezTo>
                      <a:cubicBezTo>
                        <a:pt x="269" y="296"/>
                        <a:pt x="269" y="296"/>
                        <a:pt x="269" y="297"/>
                      </a:cubicBezTo>
                      <a:close/>
                      <a:moveTo>
                        <a:pt x="353" y="271"/>
                      </a:moveTo>
                      <a:cubicBezTo>
                        <a:pt x="354" y="275"/>
                        <a:pt x="354" y="275"/>
                        <a:pt x="354" y="275"/>
                      </a:cubicBezTo>
                      <a:cubicBezTo>
                        <a:pt x="355" y="276"/>
                        <a:pt x="355" y="276"/>
                        <a:pt x="355" y="276"/>
                      </a:cubicBezTo>
                      <a:lnTo>
                        <a:pt x="353" y="271"/>
                      </a:lnTo>
                      <a:close/>
                      <a:moveTo>
                        <a:pt x="379" y="337"/>
                      </a:moveTo>
                      <a:cubicBezTo>
                        <a:pt x="379" y="337"/>
                        <a:pt x="379" y="337"/>
                        <a:pt x="379" y="337"/>
                      </a:cubicBezTo>
                      <a:cubicBezTo>
                        <a:pt x="379" y="337"/>
                        <a:pt x="379" y="337"/>
                        <a:pt x="379" y="337"/>
                      </a:cubicBezTo>
                      <a:cubicBezTo>
                        <a:pt x="379" y="337"/>
                        <a:pt x="379" y="337"/>
                        <a:pt x="379" y="337"/>
                      </a:cubicBezTo>
                      <a:close/>
                      <a:moveTo>
                        <a:pt x="368" y="499"/>
                      </a:moveTo>
                      <a:cubicBezTo>
                        <a:pt x="368" y="499"/>
                        <a:pt x="368" y="499"/>
                        <a:pt x="368" y="499"/>
                      </a:cubicBezTo>
                      <a:cubicBezTo>
                        <a:pt x="368" y="498"/>
                        <a:pt x="367" y="496"/>
                        <a:pt x="364" y="496"/>
                      </a:cubicBezTo>
                      <a:cubicBezTo>
                        <a:pt x="367" y="496"/>
                        <a:pt x="368" y="498"/>
                        <a:pt x="368" y="499"/>
                      </a:cubicBezTo>
                      <a:cubicBezTo>
                        <a:pt x="368" y="499"/>
                        <a:pt x="368" y="499"/>
                        <a:pt x="368" y="499"/>
                      </a:cubicBezTo>
                      <a:cubicBezTo>
                        <a:pt x="368" y="499"/>
                        <a:pt x="368" y="499"/>
                        <a:pt x="368" y="499"/>
                      </a:cubicBezTo>
                      <a:close/>
                      <a:moveTo>
                        <a:pt x="377" y="440"/>
                      </a:moveTo>
                      <a:cubicBezTo>
                        <a:pt x="377" y="440"/>
                        <a:pt x="378" y="440"/>
                        <a:pt x="378" y="440"/>
                      </a:cubicBezTo>
                      <a:cubicBezTo>
                        <a:pt x="378" y="440"/>
                        <a:pt x="377" y="440"/>
                        <a:pt x="377" y="440"/>
                      </a:cubicBezTo>
                      <a:close/>
                      <a:moveTo>
                        <a:pt x="382" y="386"/>
                      </a:moveTo>
                      <a:cubicBezTo>
                        <a:pt x="381" y="387"/>
                        <a:pt x="379" y="385"/>
                        <a:pt x="378" y="383"/>
                      </a:cubicBezTo>
                      <a:cubicBezTo>
                        <a:pt x="376" y="380"/>
                        <a:pt x="374" y="376"/>
                        <a:pt x="372" y="375"/>
                      </a:cubicBezTo>
                      <a:cubicBezTo>
                        <a:pt x="368" y="373"/>
                        <a:pt x="367" y="346"/>
                        <a:pt x="369" y="345"/>
                      </a:cubicBezTo>
                      <a:cubicBezTo>
                        <a:pt x="369" y="345"/>
                        <a:pt x="369" y="345"/>
                        <a:pt x="369" y="346"/>
                      </a:cubicBezTo>
                      <a:cubicBezTo>
                        <a:pt x="370" y="347"/>
                        <a:pt x="371" y="350"/>
                        <a:pt x="371" y="354"/>
                      </a:cubicBezTo>
                      <a:cubicBezTo>
                        <a:pt x="373" y="360"/>
                        <a:pt x="374" y="367"/>
                        <a:pt x="376" y="369"/>
                      </a:cubicBezTo>
                      <a:cubicBezTo>
                        <a:pt x="380" y="373"/>
                        <a:pt x="380" y="377"/>
                        <a:pt x="380" y="380"/>
                      </a:cubicBezTo>
                      <a:cubicBezTo>
                        <a:pt x="381" y="382"/>
                        <a:pt x="385" y="385"/>
                        <a:pt x="382" y="386"/>
                      </a:cubicBezTo>
                      <a:close/>
                      <a:moveTo>
                        <a:pt x="380" y="327"/>
                      </a:moveTo>
                      <a:cubicBezTo>
                        <a:pt x="382" y="326"/>
                        <a:pt x="383" y="326"/>
                        <a:pt x="383" y="326"/>
                      </a:cubicBezTo>
                      <a:cubicBezTo>
                        <a:pt x="383" y="326"/>
                        <a:pt x="382" y="326"/>
                        <a:pt x="380" y="327"/>
                      </a:cubicBezTo>
                      <a:close/>
                      <a:moveTo>
                        <a:pt x="384" y="502"/>
                      </a:moveTo>
                      <a:cubicBezTo>
                        <a:pt x="385" y="502"/>
                        <a:pt x="385" y="502"/>
                        <a:pt x="385" y="502"/>
                      </a:cubicBezTo>
                      <a:cubicBezTo>
                        <a:pt x="385" y="502"/>
                        <a:pt x="385" y="502"/>
                        <a:pt x="385" y="502"/>
                      </a:cubicBezTo>
                      <a:cubicBezTo>
                        <a:pt x="385" y="502"/>
                        <a:pt x="385" y="502"/>
                        <a:pt x="384" y="502"/>
                      </a:cubicBezTo>
                      <a:close/>
                      <a:moveTo>
                        <a:pt x="403" y="338"/>
                      </a:moveTo>
                      <a:cubicBezTo>
                        <a:pt x="400" y="339"/>
                        <a:pt x="394" y="336"/>
                        <a:pt x="390" y="338"/>
                      </a:cubicBezTo>
                      <a:cubicBezTo>
                        <a:pt x="387" y="339"/>
                        <a:pt x="388" y="332"/>
                        <a:pt x="390" y="325"/>
                      </a:cubicBezTo>
                      <a:cubicBezTo>
                        <a:pt x="392" y="321"/>
                        <a:pt x="394" y="317"/>
                        <a:pt x="396" y="316"/>
                      </a:cubicBezTo>
                      <a:cubicBezTo>
                        <a:pt x="399" y="316"/>
                        <a:pt x="404" y="316"/>
                        <a:pt x="407" y="317"/>
                      </a:cubicBezTo>
                      <a:cubicBezTo>
                        <a:pt x="410" y="318"/>
                        <a:pt x="412" y="319"/>
                        <a:pt x="412" y="320"/>
                      </a:cubicBezTo>
                      <a:cubicBezTo>
                        <a:pt x="412" y="322"/>
                        <a:pt x="407" y="321"/>
                        <a:pt x="407" y="325"/>
                      </a:cubicBezTo>
                      <a:cubicBezTo>
                        <a:pt x="407" y="325"/>
                        <a:pt x="407" y="325"/>
                        <a:pt x="406" y="326"/>
                      </a:cubicBezTo>
                      <a:cubicBezTo>
                        <a:pt x="406" y="329"/>
                        <a:pt x="405" y="332"/>
                        <a:pt x="403" y="333"/>
                      </a:cubicBezTo>
                      <a:cubicBezTo>
                        <a:pt x="400" y="334"/>
                        <a:pt x="406" y="338"/>
                        <a:pt x="403" y="338"/>
                      </a:cubicBezTo>
                      <a:close/>
                      <a:moveTo>
                        <a:pt x="416" y="433"/>
                      </a:moveTo>
                      <a:cubicBezTo>
                        <a:pt x="414" y="436"/>
                        <a:pt x="408" y="427"/>
                        <a:pt x="408" y="421"/>
                      </a:cubicBezTo>
                      <a:cubicBezTo>
                        <a:pt x="407" y="415"/>
                        <a:pt x="411" y="412"/>
                        <a:pt x="408" y="407"/>
                      </a:cubicBezTo>
                      <a:cubicBezTo>
                        <a:pt x="406" y="402"/>
                        <a:pt x="405" y="397"/>
                        <a:pt x="407" y="396"/>
                      </a:cubicBezTo>
                      <a:cubicBezTo>
                        <a:pt x="407" y="396"/>
                        <a:pt x="407" y="396"/>
                        <a:pt x="408" y="396"/>
                      </a:cubicBezTo>
                      <a:cubicBezTo>
                        <a:pt x="410" y="396"/>
                        <a:pt x="414" y="406"/>
                        <a:pt x="414" y="412"/>
                      </a:cubicBezTo>
                      <a:cubicBezTo>
                        <a:pt x="414" y="413"/>
                        <a:pt x="413" y="414"/>
                        <a:pt x="413" y="415"/>
                      </a:cubicBezTo>
                      <a:cubicBezTo>
                        <a:pt x="412" y="419"/>
                        <a:pt x="416" y="428"/>
                        <a:pt x="417" y="432"/>
                      </a:cubicBezTo>
                      <a:cubicBezTo>
                        <a:pt x="417" y="432"/>
                        <a:pt x="417" y="433"/>
                        <a:pt x="416" y="433"/>
                      </a:cubicBezTo>
                      <a:close/>
                      <a:moveTo>
                        <a:pt x="428" y="193"/>
                      </a:moveTo>
                      <a:cubicBezTo>
                        <a:pt x="428" y="195"/>
                        <a:pt x="428" y="198"/>
                        <a:pt x="429" y="200"/>
                      </a:cubicBezTo>
                      <a:cubicBezTo>
                        <a:pt x="428" y="198"/>
                        <a:pt x="428" y="195"/>
                        <a:pt x="428" y="193"/>
                      </a:cubicBezTo>
                      <a:close/>
                      <a:moveTo>
                        <a:pt x="475" y="228"/>
                      </a:moveTo>
                      <a:cubicBezTo>
                        <a:pt x="476" y="228"/>
                        <a:pt x="477" y="228"/>
                        <a:pt x="477" y="228"/>
                      </a:cubicBezTo>
                      <a:cubicBezTo>
                        <a:pt x="477" y="228"/>
                        <a:pt x="476" y="228"/>
                        <a:pt x="475" y="228"/>
                      </a:cubicBezTo>
                      <a:close/>
                      <a:moveTo>
                        <a:pt x="477" y="228"/>
                      </a:moveTo>
                      <a:cubicBezTo>
                        <a:pt x="478" y="228"/>
                        <a:pt x="478" y="229"/>
                        <a:pt x="479" y="230"/>
                      </a:cubicBezTo>
                      <a:cubicBezTo>
                        <a:pt x="479" y="230"/>
                        <a:pt x="479" y="230"/>
                        <a:pt x="479" y="230"/>
                      </a:cubicBezTo>
                      <a:cubicBezTo>
                        <a:pt x="478" y="229"/>
                        <a:pt x="478" y="228"/>
                        <a:pt x="477" y="22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7" name="Freeform 150">
                  <a:extLst>
                    <a:ext uri="{FF2B5EF4-FFF2-40B4-BE49-F238E27FC236}">
                      <a16:creationId xmlns:a16="http://schemas.microsoft.com/office/drawing/2014/main" id="{2C695605-F0C9-4578-AD13-9F1C049201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921120" y="-7909904"/>
                  <a:ext cx="372970" cy="729723"/>
                </a:xfrm>
                <a:custGeom>
                  <a:avLst/>
                  <a:gdLst>
                    <a:gd name="T0" fmla="*/ 51 w 60"/>
                    <a:gd name="T1" fmla="*/ 3 h 118"/>
                    <a:gd name="T2" fmla="*/ 48 w 60"/>
                    <a:gd name="T3" fmla="*/ 6 h 118"/>
                    <a:gd name="T4" fmla="*/ 47 w 60"/>
                    <a:gd name="T5" fmla="*/ 12 h 118"/>
                    <a:gd name="T6" fmla="*/ 42 w 60"/>
                    <a:gd name="T7" fmla="*/ 15 h 118"/>
                    <a:gd name="T8" fmla="*/ 38 w 60"/>
                    <a:gd name="T9" fmla="*/ 19 h 118"/>
                    <a:gd name="T10" fmla="*/ 38 w 60"/>
                    <a:gd name="T11" fmla="*/ 23 h 118"/>
                    <a:gd name="T12" fmla="*/ 32 w 60"/>
                    <a:gd name="T13" fmla="*/ 28 h 118"/>
                    <a:gd name="T14" fmla="*/ 20 w 60"/>
                    <a:gd name="T15" fmla="*/ 34 h 118"/>
                    <a:gd name="T16" fmla="*/ 10 w 60"/>
                    <a:gd name="T17" fmla="*/ 36 h 118"/>
                    <a:gd name="T18" fmla="*/ 7 w 60"/>
                    <a:gd name="T19" fmla="*/ 46 h 118"/>
                    <a:gd name="T20" fmla="*/ 8 w 60"/>
                    <a:gd name="T21" fmla="*/ 61 h 118"/>
                    <a:gd name="T22" fmla="*/ 6 w 60"/>
                    <a:gd name="T23" fmla="*/ 77 h 118"/>
                    <a:gd name="T24" fmla="*/ 3 w 60"/>
                    <a:gd name="T25" fmla="*/ 96 h 118"/>
                    <a:gd name="T26" fmla="*/ 8 w 60"/>
                    <a:gd name="T27" fmla="*/ 112 h 118"/>
                    <a:gd name="T28" fmla="*/ 22 w 60"/>
                    <a:gd name="T29" fmla="*/ 115 h 118"/>
                    <a:gd name="T30" fmla="*/ 31 w 60"/>
                    <a:gd name="T31" fmla="*/ 112 h 118"/>
                    <a:gd name="T32" fmla="*/ 42 w 60"/>
                    <a:gd name="T33" fmla="*/ 78 h 118"/>
                    <a:gd name="T34" fmla="*/ 51 w 60"/>
                    <a:gd name="T35" fmla="*/ 47 h 118"/>
                    <a:gd name="T36" fmla="*/ 53 w 60"/>
                    <a:gd name="T37" fmla="*/ 38 h 118"/>
                    <a:gd name="T38" fmla="*/ 55 w 60"/>
                    <a:gd name="T39" fmla="*/ 33 h 118"/>
                    <a:gd name="T40" fmla="*/ 59 w 60"/>
                    <a:gd name="T41" fmla="*/ 32 h 118"/>
                    <a:gd name="T42" fmla="*/ 56 w 60"/>
                    <a:gd name="T43" fmla="*/ 17 h 118"/>
                    <a:gd name="T44" fmla="*/ 51 w 60"/>
                    <a:gd name="T45" fmla="*/ 3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0" h="118">
                      <a:moveTo>
                        <a:pt x="51" y="3"/>
                      </a:moveTo>
                      <a:cubicBezTo>
                        <a:pt x="50" y="0"/>
                        <a:pt x="49" y="5"/>
                        <a:pt x="48" y="6"/>
                      </a:cubicBezTo>
                      <a:cubicBezTo>
                        <a:pt x="47" y="7"/>
                        <a:pt x="46" y="10"/>
                        <a:pt x="47" y="12"/>
                      </a:cubicBezTo>
                      <a:cubicBezTo>
                        <a:pt x="47" y="13"/>
                        <a:pt x="44" y="15"/>
                        <a:pt x="42" y="15"/>
                      </a:cubicBezTo>
                      <a:cubicBezTo>
                        <a:pt x="40" y="15"/>
                        <a:pt x="37" y="16"/>
                        <a:pt x="38" y="19"/>
                      </a:cubicBezTo>
                      <a:cubicBezTo>
                        <a:pt x="39" y="21"/>
                        <a:pt x="36" y="21"/>
                        <a:pt x="38" y="23"/>
                      </a:cubicBezTo>
                      <a:cubicBezTo>
                        <a:pt x="39" y="25"/>
                        <a:pt x="35" y="28"/>
                        <a:pt x="32" y="28"/>
                      </a:cubicBezTo>
                      <a:cubicBezTo>
                        <a:pt x="28" y="28"/>
                        <a:pt x="24" y="34"/>
                        <a:pt x="20" y="34"/>
                      </a:cubicBezTo>
                      <a:cubicBezTo>
                        <a:pt x="17" y="33"/>
                        <a:pt x="13" y="36"/>
                        <a:pt x="10" y="36"/>
                      </a:cubicBezTo>
                      <a:cubicBezTo>
                        <a:pt x="7" y="35"/>
                        <a:pt x="9" y="42"/>
                        <a:pt x="7" y="46"/>
                      </a:cubicBezTo>
                      <a:cubicBezTo>
                        <a:pt x="4" y="51"/>
                        <a:pt x="6" y="56"/>
                        <a:pt x="8" y="61"/>
                      </a:cubicBezTo>
                      <a:cubicBezTo>
                        <a:pt x="10" y="66"/>
                        <a:pt x="12" y="70"/>
                        <a:pt x="6" y="77"/>
                      </a:cubicBezTo>
                      <a:cubicBezTo>
                        <a:pt x="0" y="84"/>
                        <a:pt x="1" y="92"/>
                        <a:pt x="3" y="96"/>
                      </a:cubicBezTo>
                      <a:cubicBezTo>
                        <a:pt x="5" y="101"/>
                        <a:pt x="5" y="108"/>
                        <a:pt x="8" y="112"/>
                      </a:cubicBezTo>
                      <a:cubicBezTo>
                        <a:pt x="11" y="115"/>
                        <a:pt x="20" y="118"/>
                        <a:pt x="22" y="115"/>
                      </a:cubicBezTo>
                      <a:cubicBezTo>
                        <a:pt x="25" y="113"/>
                        <a:pt x="28" y="116"/>
                        <a:pt x="31" y="112"/>
                      </a:cubicBezTo>
                      <a:cubicBezTo>
                        <a:pt x="33" y="109"/>
                        <a:pt x="38" y="90"/>
                        <a:pt x="42" y="78"/>
                      </a:cubicBezTo>
                      <a:cubicBezTo>
                        <a:pt x="46" y="66"/>
                        <a:pt x="52" y="50"/>
                        <a:pt x="51" y="47"/>
                      </a:cubicBezTo>
                      <a:cubicBezTo>
                        <a:pt x="51" y="44"/>
                        <a:pt x="54" y="42"/>
                        <a:pt x="53" y="38"/>
                      </a:cubicBezTo>
                      <a:cubicBezTo>
                        <a:pt x="51" y="34"/>
                        <a:pt x="53" y="30"/>
                        <a:pt x="55" y="33"/>
                      </a:cubicBezTo>
                      <a:cubicBezTo>
                        <a:pt x="56" y="36"/>
                        <a:pt x="59" y="36"/>
                        <a:pt x="59" y="32"/>
                      </a:cubicBezTo>
                      <a:cubicBezTo>
                        <a:pt x="60" y="28"/>
                        <a:pt x="57" y="22"/>
                        <a:pt x="56" y="17"/>
                      </a:cubicBezTo>
                      <a:cubicBezTo>
                        <a:pt x="56" y="11"/>
                        <a:pt x="51" y="6"/>
                        <a:pt x="51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8" name="Freeform 151">
                  <a:extLst>
                    <a:ext uri="{FF2B5EF4-FFF2-40B4-BE49-F238E27FC236}">
                      <a16:creationId xmlns:a16="http://schemas.microsoft.com/office/drawing/2014/main" id="{0F661C24-5AEF-4F82-9992-C00A91619F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908209" y="-7459097"/>
                  <a:ext cx="162161" cy="129728"/>
                </a:xfrm>
                <a:custGeom>
                  <a:avLst/>
                  <a:gdLst>
                    <a:gd name="T0" fmla="*/ 0 w 26"/>
                    <a:gd name="T1" fmla="*/ 3 h 21"/>
                    <a:gd name="T2" fmla="*/ 23 w 26"/>
                    <a:gd name="T3" fmla="*/ 19 h 21"/>
                    <a:gd name="T4" fmla="*/ 0 w 26"/>
                    <a:gd name="T5" fmla="*/ 3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6" h="21">
                      <a:moveTo>
                        <a:pt x="0" y="3"/>
                      </a:moveTo>
                      <a:cubicBezTo>
                        <a:pt x="0" y="0"/>
                        <a:pt x="26" y="17"/>
                        <a:pt x="23" y="19"/>
                      </a:cubicBezTo>
                      <a:cubicBezTo>
                        <a:pt x="20" y="21"/>
                        <a:pt x="0" y="6"/>
                        <a:pt x="0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69" name="Freeform 152">
                  <a:extLst>
                    <a:ext uri="{FF2B5EF4-FFF2-40B4-BE49-F238E27FC236}">
                      <a16:creationId xmlns:a16="http://schemas.microsoft.com/office/drawing/2014/main" id="{46E4234E-740B-415D-B063-321103FEBA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65999" y="-10663389"/>
                  <a:ext cx="376212" cy="259457"/>
                </a:xfrm>
                <a:custGeom>
                  <a:avLst/>
                  <a:gdLst>
                    <a:gd name="T0" fmla="*/ 50 w 61"/>
                    <a:gd name="T1" fmla="*/ 34 h 42"/>
                    <a:gd name="T2" fmla="*/ 53 w 61"/>
                    <a:gd name="T3" fmla="*/ 36 h 42"/>
                    <a:gd name="T4" fmla="*/ 59 w 61"/>
                    <a:gd name="T5" fmla="*/ 38 h 42"/>
                    <a:gd name="T6" fmla="*/ 61 w 61"/>
                    <a:gd name="T7" fmla="*/ 37 h 42"/>
                    <a:gd name="T8" fmla="*/ 60 w 61"/>
                    <a:gd name="T9" fmla="*/ 26 h 42"/>
                    <a:gd name="T10" fmla="*/ 52 w 61"/>
                    <a:gd name="T11" fmla="*/ 21 h 42"/>
                    <a:gd name="T12" fmla="*/ 51 w 61"/>
                    <a:gd name="T13" fmla="*/ 14 h 42"/>
                    <a:gd name="T14" fmla="*/ 40 w 61"/>
                    <a:gd name="T15" fmla="*/ 15 h 42"/>
                    <a:gd name="T16" fmla="*/ 33 w 61"/>
                    <a:gd name="T17" fmla="*/ 14 h 42"/>
                    <a:gd name="T18" fmla="*/ 26 w 61"/>
                    <a:gd name="T19" fmla="*/ 13 h 42"/>
                    <a:gd name="T20" fmla="*/ 15 w 61"/>
                    <a:gd name="T21" fmla="*/ 13 h 42"/>
                    <a:gd name="T22" fmla="*/ 20 w 61"/>
                    <a:gd name="T23" fmla="*/ 8 h 42"/>
                    <a:gd name="T24" fmla="*/ 23 w 61"/>
                    <a:gd name="T25" fmla="*/ 8 h 42"/>
                    <a:gd name="T26" fmla="*/ 26 w 61"/>
                    <a:gd name="T27" fmla="*/ 1 h 42"/>
                    <a:gd name="T28" fmla="*/ 20 w 61"/>
                    <a:gd name="T29" fmla="*/ 2 h 42"/>
                    <a:gd name="T30" fmla="*/ 14 w 61"/>
                    <a:gd name="T31" fmla="*/ 4 h 42"/>
                    <a:gd name="T32" fmla="*/ 10 w 61"/>
                    <a:gd name="T33" fmla="*/ 8 h 42"/>
                    <a:gd name="T34" fmla="*/ 8 w 61"/>
                    <a:gd name="T35" fmla="*/ 13 h 42"/>
                    <a:gd name="T36" fmla="*/ 0 w 61"/>
                    <a:gd name="T37" fmla="*/ 15 h 42"/>
                    <a:gd name="T38" fmla="*/ 5 w 61"/>
                    <a:gd name="T39" fmla="*/ 22 h 42"/>
                    <a:gd name="T40" fmla="*/ 6 w 61"/>
                    <a:gd name="T41" fmla="*/ 29 h 42"/>
                    <a:gd name="T42" fmla="*/ 3 w 61"/>
                    <a:gd name="T43" fmla="*/ 37 h 42"/>
                    <a:gd name="T44" fmla="*/ 6 w 61"/>
                    <a:gd name="T45" fmla="*/ 38 h 42"/>
                    <a:gd name="T46" fmla="*/ 15 w 61"/>
                    <a:gd name="T47" fmla="*/ 35 h 42"/>
                    <a:gd name="T48" fmla="*/ 22 w 61"/>
                    <a:gd name="T49" fmla="*/ 32 h 42"/>
                    <a:gd name="T50" fmla="*/ 30 w 61"/>
                    <a:gd name="T51" fmla="*/ 25 h 42"/>
                    <a:gd name="T52" fmla="*/ 33 w 61"/>
                    <a:gd name="T53" fmla="*/ 31 h 42"/>
                    <a:gd name="T54" fmla="*/ 33 w 61"/>
                    <a:gd name="T55" fmla="*/ 41 h 42"/>
                    <a:gd name="T56" fmla="*/ 37 w 61"/>
                    <a:gd name="T57" fmla="*/ 41 h 42"/>
                    <a:gd name="T58" fmla="*/ 41 w 61"/>
                    <a:gd name="T59" fmla="*/ 40 h 42"/>
                    <a:gd name="T60" fmla="*/ 50 w 61"/>
                    <a:gd name="T61" fmla="*/ 34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61" h="42">
                      <a:moveTo>
                        <a:pt x="50" y="34"/>
                      </a:moveTo>
                      <a:cubicBezTo>
                        <a:pt x="52" y="35"/>
                        <a:pt x="51" y="36"/>
                        <a:pt x="53" y="36"/>
                      </a:cubicBezTo>
                      <a:cubicBezTo>
                        <a:pt x="54" y="36"/>
                        <a:pt x="57" y="36"/>
                        <a:pt x="59" y="38"/>
                      </a:cubicBezTo>
                      <a:cubicBezTo>
                        <a:pt x="60" y="37"/>
                        <a:pt x="61" y="37"/>
                        <a:pt x="61" y="37"/>
                      </a:cubicBezTo>
                      <a:cubicBezTo>
                        <a:pt x="61" y="37"/>
                        <a:pt x="60" y="29"/>
                        <a:pt x="60" y="26"/>
                      </a:cubicBezTo>
                      <a:cubicBezTo>
                        <a:pt x="59" y="24"/>
                        <a:pt x="52" y="21"/>
                        <a:pt x="52" y="21"/>
                      </a:cubicBezTo>
                      <a:cubicBezTo>
                        <a:pt x="51" y="14"/>
                        <a:pt x="51" y="14"/>
                        <a:pt x="51" y="14"/>
                      </a:cubicBezTo>
                      <a:cubicBezTo>
                        <a:pt x="51" y="14"/>
                        <a:pt x="42" y="16"/>
                        <a:pt x="40" y="15"/>
                      </a:cubicBezTo>
                      <a:cubicBezTo>
                        <a:pt x="38" y="14"/>
                        <a:pt x="35" y="16"/>
                        <a:pt x="33" y="14"/>
                      </a:cubicBezTo>
                      <a:cubicBezTo>
                        <a:pt x="32" y="12"/>
                        <a:pt x="29" y="15"/>
                        <a:pt x="26" y="13"/>
                      </a:cubicBezTo>
                      <a:cubicBezTo>
                        <a:pt x="23" y="12"/>
                        <a:pt x="15" y="14"/>
                        <a:pt x="15" y="13"/>
                      </a:cubicBezTo>
                      <a:cubicBezTo>
                        <a:pt x="14" y="11"/>
                        <a:pt x="18" y="7"/>
                        <a:pt x="20" y="8"/>
                      </a:cubicBezTo>
                      <a:cubicBezTo>
                        <a:pt x="21" y="8"/>
                        <a:pt x="22" y="8"/>
                        <a:pt x="23" y="8"/>
                      </a:cubicBezTo>
                      <a:cubicBezTo>
                        <a:pt x="24" y="6"/>
                        <a:pt x="26" y="2"/>
                        <a:pt x="26" y="1"/>
                      </a:cubicBezTo>
                      <a:cubicBezTo>
                        <a:pt x="25" y="0"/>
                        <a:pt x="22" y="1"/>
                        <a:pt x="20" y="2"/>
                      </a:cubicBezTo>
                      <a:cubicBezTo>
                        <a:pt x="18" y="4"/>
                        <a:pt x="15" y="2"/>
                        <a:pt x="14" y="4"/>
                      </a:cubicBezTo>
                      <a:cubicBezTo>
                        <a:pt x="13" y="6"/>
                        <a:pt x="12" y="8"/>
                        <a:pt x="10" y="8"/>
                      </a:cubicBezTo>
                      <a:cubicBezTo>
                        <a:pt x="8" y="8"/>
                        <a:pt x="10" y="12"/>
                        <a:pt x="8" y="13"/>
                      </a:cubicBezTo>
                      <a:cubicBezTo>
                        <a:pt x="5" y="14"/>
                        <a:pt x="1" y="13"/>
                        <a:pt x="0" y="15"/>
                      </a:cubicBezTo>
                      <a:cubicBezTo>
                        <a:pt x="0" y="18"/>
                        <a:pt x="5" y="19"/>
                        <a:pt x="5" y="22"/>
                      </a:cubicBezTo>
                      <a:cubicBezTo>
                        <a:pt x="5" y="24"/>
                        <a:pt x="8" y="27"/>
                        <a:pt x="6" y="29"/>
                      </a:cubicBezTo>
                      <a:cubicBezTo>
                        <a:pt x="4" y="30"/>
                        <a:pt x="3" y="33"/>
                        <a:pt x="3" y="37"/>
                      </a:cubicBezTo>
                      <a:cubicBezTo>
                        <a:pt x="4" y="38"/>
                        <a:pt x="6" y="39"/>
                        <a:pt x="6" y="38"/>
                      </a:cubicBezTo>
                      <a:cubicBezTo>
                        <a:pt x="8" y="35"/>
                        <a:pt x="15" y="38"/>
                        <a:pt x="15" y="35"/>
                      </a:cubicBezTo>
                      <a:cubicBezTo>
                        <a:pt x="15" y="33"/>
                        <a:pt x="22" y="34"/>
                        <a:pt x="22" y="32"/>
                      </a:cubicBezTo>
                      <a:cubicBezTo>
                        <a:pt x="22" y="29"/>
                        <a:pt x="27" y="24"/>
                        <a:pt x="30" y="25"/>
                      </a:cubicBezTo>
                      <a:cubicBezTo>
                        <a:pt x="32" y="25"/>
                        <a:pt x="29" y="30"/>
                        <a:pt x="33" y="31"/>
                      </a:cubicBezTo>
                      <a:cubicBezTo>
                        <a:pt x="36" y="33"/>
                        <a:pt x="31" y="39"/>
                        <a:pt x="33" y="41"/>
                      </a:cubicBezTo>
                      <a:cubicBezTo>
                        <a:pt x="34" y="42"/>
                        <a:pt x="35" y="41"/>
                        <a:pt x="37" y="41"/>
                      </a:cubicBezTo>
                      <a:cubicBezTo>
                        <a:pt x="38" y="41"/>
                        <a:pt x="40" y="40"/>
                        <a:pt x="41" y="40"/>
                      </a:cubicBezTo>
                      <a:cubicBezTo>
                        <a:pt x="44" y="37"/>
                        <a:pt x="49" y="33"/>
                        <a:pt x="50" y="3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0" name="Freeform 153">
                  <a:extLst>
                    <a:ext uri="{FF2B5EF4-FFF2-40B4-BE49-F238E27FC236}">
                      <a16:creationId xmlns:a16="http://schemas.microsoft.com/office/drawing/2014/main" id="{9696AEDF-D348-4A58-B1B9-A7D3CF0C00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953492" y="-9790967"/>
                  <a:ext cx="45405" cy="90810"/>
                </a:xfrm>
                <a:custGeom>
                  <a:avLst/>
                  <a:gdLst>
                    <a:gd name="T0" fmla="*/ 6 w 7"/>
                    <a:gd name="T1" fmla="*/ 14 h 15"/>
                    <a:gd name="T2" fmla="*/ 3 w 7"/>
                    <a:gd name="T3" fmla="*/ 11 h 15"/>
                    <a:gd name="T4" fmla="*/ 0 w 7"/>
                    <a:gd name="T5" fmla="*/ 5 h 15"/>
                    <a:gd name="T6" fmla="*/ 3 w 7"/>
                    <a:gd name="T7" fmla="*/ 3 h 15"/>
                    <a:gd name="T8" fmla="*/ 4 w 7"/>
                    <a:gd name="T9" fmla="*/ 9 h 15"/>
                    <a:gd name="T10" fmla="*/ 6 w 7"/>
                    <a:gd name="T11" fmla="*/ 14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15">
                      <a:moveTo>
                        <a:pt x="6" y="14"/>
                      </a:moveTo>
                      <a:cubicBezTo>
                        <a:pt x="6" y="15"/>
                        <a:pt x="3" y="12"/>
                        <a:pt x="3" y="11"/>
                      </a:cubicBezTo>
                      <a:cubicBezTo>
                        <a:pt x="3" y="9"/>
                        <a:pt x="0" y="8"/>
                        <a:pt x="0" y="5"/>
                      </a:cubicBezTo>
                      <a:cubicBezTo>
                        <a:pt x="0" y="2"/>
                        <a:pt x="1" y="0"/>
                        <a:pt x="3" y="3"/>
                      </a:cubicBezTo>
                      <a:cubicBezTo>
                        <a:pt x="5" y="6"/>
                        <a:pt x="4" y="8"/>
                        <a:pt x="4" y="9"/>
                      </a:cubicBezTo>
                      <a:cubicBezTo>
                        <a:pt x="4" y="10"/>
                        <a:pt x="7" y="12"/>
                        <a:pt x="6" y="1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1" name="Freeform 154">
                  <a:extLst>
                    <a:ext uri="{FF2B5EF4-FFF2-40B4-BE49-F238E27FC236}">
                      <a16:creationId xmlns:a16="http://schemas.microsoft.com/office/drawing/2014/main" id="{6C0E9BAF-4231-4590-8CAB-75CA195DAF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129716" y="-9038542"/>
                  <a:ext cx="55136" cy="48649"/>
                </a:xfrm>
                <a:custGeom>
                  <a:avLst/>
                  <a:gdLst>
                    <a:gd name="T0" fmla="*/ 2 w 9"/>
                    <a:gd name="T1" fmla="*/ 7 h 8"/>
                    <a:gd name="T2" fmla="*/ 1 w 9"/>
                    <a:gd name="T3" fmla="*/ 3 h 8"/>
                    <a:gd name="T4" fmla="*/ 7 w 9"/>
                    <a:gd name="T5" fmla="*/ 1 h 8"/>
                    <a:gd name="T6" fmla="*/ 8 w 9"/>
                    <a:gd name="T7" fmla="*/ 6 h 8"/>
                    <a:gd name="T8" fmla="*/ 2 w 9"/>
                    <a:gd name="T9" fmla="*/ 7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2" y="7"/>
                      </a:moveTo>
                      <a:cubicBezTo>
                        <a:pt x="0" y="6"/>
                        <a:pt x="3" y="4"/>
                        <a:pt x="1" y="3"/>
                      </a:cubicBezTo>
                      <a:cubicBezTo>
                        <a:pt x="0" y="2"/>
                        <a:pt x="5" y="0"/>
                        <a:pt x="7" y="1"/>
                      </a:cubicBezTo>
                      <a:cubicBezTo>
                        <a:pt x="9" y="3"/>
                        <a:pt x="9" y="5"/>
                        <a:pt x="8" y="6"/>
                      </a:cubicBezTo>
                      <a:cubicBezTo>
                        <a:pt x="6" y="7"/>
                        <a:pt x="2" y="8"/>
                        <a:pt x="2" y="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2" name="Freeform 155">
                  <a:extLst>
                    <a:ext uri="{FF2B5EF4-FFF2-40B4-BE49-F238E27FC236}">
                      <a16:creationId xmlns:a16="http://schemas.microsoft.com/office/drawing/2014/main" id="{44B7448E-1A64-4CA8-AF77-873EEC31D1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888688" y="-10686093"/>
                  <a:ext cx="165405" cy="139459"/>
                </a:xfrm>
                <a:custGeom>
                  <a:avLst/>
                  <a:gdLst>
                    <a:gd name="T0" fmla="*/ 25 w 27"/>
                    <a:gd name="T1" fmla="*/ 18 h 23"/>
                    <a:gd name="T2" fmla="*/ 20 w 27"/>
                    <a:gd name="T3" fmla="*/ 12 h 23"/>
                    <a:gd name="T4" fmla="*/ 17 w 27"/>
                    <a:gd name="T5" fmla="*/ 5 h 23"/>
                    <a:gd name="T6" fmla="*/ 15 w 27"/>
                    <a:gd name="T7" fmla="*/ 1 h 23"/>
                    <a:gd name="T8" fmla="*/ 8 w 27"/>
                    <a:gd name="T9" fmla="*/ 0 h 23"/>
                    <a:gd name="T10" fmla="*/ 0 w 27"/>
                    <a:gd name="T11" fmla="*/ 2 h 23"/>
                    <a:gd name="T12" fmla="*/ 1 w 27"/>
                    <a:gd name="T13" fmla="*/ 8 h 23"/>
                    <a:gd name="T14" fmla="*/ 8 w 27"/>
                    <a:gd name="T15" fmla="*/ 11 h 23"/>
                    <a:gd name="T16" fmla="*/ 9 w 27"/>
                    <a:gd name="T17" fmla="*/ 14 h 23"/>
                    <a:gd name="T18" fmla="*/ 10 w 27"/>
                    <a:gd name="T19" fmla="*/ 14 h 23"/>
                    <a:gd name="T20" fmla="*/ 12 w 27"/>
                    <a:gd name="T21" fmla="*/ 15 h 23"/>
                    <a:gd name="T22" fmla="*/ 16 w 27"/>
                    <a:gd name="T23" fmla="*/ 17 h 23"/>
                    <a:gd name="T24" fmla="*/ 20 w 27"/>
                    <a:gd name="T25" fmla="*/ 19 h 23"/>
                    <a:gd name="T26" fmla="*/ 21 w 27"/>
                    <a:gd name="T27" fmla="*/ 23 h 23"/>
                    <a:gd name="T28" fmla="*/ 27 w 27"/>
                    <a:gd name="T29" fmla="*/ 22 h 23"/>
                    <a:gd name="T30" fmla="*/ 25 w 27"/>
                    <a:gd name="T31" fmla="*/ 18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7" h="23">
                      <a:moveTo>
                        <a:pt x="25" y="18"/>
                      </a:moveTo>
                      <a:cubicBezTo>
                        <a:pt x="25" y="16"/>
                        <a:pt x="20" y="14"/>
                        <a:pt x="20" y="12"/>
                      </a:cubicBezTo>
                      <a:cubicBezTo>
                        <a:pt x="20" y="10"/>
                        <a:pt x="17" y="7"/>
                        <a:pt x="17" y="5"/>
                      </a:cubicBezTo>
                      <a:cubicBezTo>
                        <a:pt x="17" y="4"/>
                        <a:pt x="16" y="2"/>
                        <a:pt x="15" y="1"/>
                      </a:cubicBezTo>
                      <a:cubicBezTo>
                        <a:pt x="13" y="0"/>
                        <a:pt x="10" y="0"/>
                        <a:pt x="8" y="0"/>
                      </a:cubicBezTo>
                      <a:cubicBezTo>
                        <a:pt x="5" y="0"/>
                        <a:pt x="3" y="1"/>
                        <a:pt x="0" y="2"/>
                      </a:cubicBezTo>
                      <a:cubicBezTo>
                        <a:pt x="1" y="4"/>
                        <a:pt x="0" y="5"/>
                        <a:pt x="1" y="8"/>
                      </a:cubicBezTo>
                      <a:cubicBezTo>
                        <a:pt x="3" y="12"/>
                        <a:pt x="6" y="10"/>
                        <a:pt x="8" y="11"/>
                      </a:cubicBezTo>
                      <a:cubicBezTo>
                        <a:pt x="8" y="11"/>
                        <a:pt x="9" y="12"/>
                        <a:pt x="9" y="14"/>
                      </a:cubicBezTo>
                      <a:cubicBezTo>
                        <a:pt x="9" y="14"/>
                        <a:pt x="9" y="14"/>
                        <a:pt x="10" y="14"/>
                      </a:cubicBezTo>
                      <a:cubicBezTo>
                        <a:pt x="11" y="14"/>
                        <a:pt x="12" y="15"/>
                        <a:pt x="12" y="15"/>
                      </a:cubicBezTo>
                      <a:cubicBezTo>
                        <a:pt x="14" y="16"/>
                        <a:pt x="15" y="17"/>
                        <a:pt x="16" y="17"/>
                      </a:cubicBezTo>
                      <a:cubicBezTo>
                        <a:pt x="17" y="18"/>
                        <a:pt x="18" y="16"/>
                        <a:pt x="20" y="19"/>
                      </a:cubicBezTo>
                      <a:cubicBezTo>
                        <a:pt x="21" y="21"/>
                        <a:pt x="22" y="21"/>
                        <a:pt x="21" y="23"/>
                      </a:cubicBezTo>
                      <a:cubicBezTo>
                        <a:pt x="23" y="23"/>
                        <a:pt x="25" y="23"/>
                        <a:pt x="27" y="22"/>
                      </a:cubicBezTo>
                      <a:cubicBezTo>
                        <a:pt x="26" y="20"/>
                        <a:pt x="25" y="19"/>
                        <a:pt x="25" y="1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3" name="Freeform 156">
                  <a:extLst>
                    <a:ext uri="{FF2B5EF4-FFF2-40B4-BE49-F238E27FC236}">
                      <a16:creationId xmlns:a16="http://schemas.microsoft.com/office/drawing/2014/main" id="{4FC0D5E9-E19E-4AD5-9962-EBD570A270D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8814096" y="-10718525"/>
                  <a:ext cx="246484" cy="197837"/>
                </a:xfrm>
                <a:custGeom>
                  <a:avLst/>
                  <a:gdLst>
                    <a:gd name="T0" fmla="*/ 38 w 40"/>
                    <a:gd name="T1" fmla="*/ 10 h 32"/>
                    <a:gd name="T2" fmla="*/ 30 w 40"/>
                    <a:gd name="T3" fmla="*/ 1 h 32"/>
                    <a:gd name="T4" fmla="*/ 25 w 40"/>
                    <a:gd name="T5" fmla="*/ 5 h 32"/>
                    <a:gd name="T6" fmla="*/ 22 w 40"/>
                    <a:gd name="T7" fmla="*/ 5 h 32"/>
                    <a:gd name="T8" fmla="*/ 16 w 40"/>
                    <a:gd name="T9" fmla="*/ 1 h 32"/>
                    <a:gd name="T10" fmla="*/ 13 w 40"/>
                    <a:gd name="T11" fmla="*/ 0 h 32"/>
                    <a:gd name="T12" fmla="*/ 11 w 40"/>
                    <a:gd name="T13" fmla="*/ 3 h 32"/>
                    <a:gd name="T14" fmla="*/ 14 w 40"/>
                    <a:gd name="T15" fmla="*/ 6 h 32"/>
                    <a:gd name="T16" fmla="*/ 8 w 40"/>
                    <a:gd name="T17" fmla="*/ 6 h 32"/>
                    <a:gd name="T18" fmla="*/ 2 w 40"/>
                    <a:gd name="T19" fmla="*/ 4 h 32"/>
                    <a:gd name="T20" fmla="*/ 5 w 40"/>
                    <a:gd name="T21" fmla="*/ 10 h 32"/>
                    <a:gd name="T22" fmla="*/ 8 w 40"/>
                    <a:gd name="T23" fmla="*/ 17 h 32"/>
                    <a:gd name="T24" fmla="*/ 13 w 40"/>
                    <a:gd name="T25" fmla="*/ 23 h 32"/>
                    <a:gd name="T26" fmla="*/ 15 w 40"/>
                    <a:gd name="T27" fmla="*/ 27 h 32"/>
                    <a:gd name="T28" fmla="*/ 24 w 40"/>
                    <a:gd name="T29" fmla="*/ 21 h 32"/>
                    <a:gd name="T30" fmla="*/ 26 w 40"/>
                    <a:gd name="T31" fmla="*/ 28 h 32"/>
                    <a:gd name="T32" fmla="*/ 31 w 40"/>
                    <a:gd name="T33" fmla="*/ 32 h 32"/>
                    <a:gd name="T34" fmla="*/ 33 w 40"/>
                    <a:gd name="T35" fmla="*/ 28 h 32"/>
                    <a:gd name="T36" fmla="*/ 38 w 40"/>
                    <a:gd name="T37" fmla="*/ 10 h 32"/>
                    <a:gd name="T38" fmla="*/ 4 w 40"/>
                    <a:gd name="T39" fmla="*/ 22 h 32"/>
                    <a:gd name="T40" fmla="*/ 0 w 40"/>
                    <a:gd name="T41" fmla="*/ 20 h 32"/>
                    <a:gd name="T42" fmla="*/ 3 w 40"/>
                    <a:gd name="T43" fmla="*/ 25 h 32"/>
                    <a:gd name="T44" fmla="*/ 8 w 40"/>
                    <a:gd name="T45" fmla="*/ 28 h 32"/>
                    <a:gd name="T46" fmla="*/ 9 w 40"/>
                    <a:gd name="T47" fmla="*/ 28 h 32"/>
                    <a:gd name="T48" fmla="*/ 8 w 40"/>
                    <a:gd name="T49" fmla="*/ 24 h 32"/>
                    <a:gd name="T50" fmla="*/ 4 w 40"/>
                    <a:gd name="T51" fmla="*/ 2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0" h="32">
                      <a:moveTo>
                        <a:pt x="38" y="10"/>
                      </a:moveTo>
                      <a:cubicBezTo>
                        <a:pt x="37" y="9"/>
                        <a:pt x="34" y="5"/>
                        <a:pt x="30" y="1"/>
                      </a:cubicBezTo>
                      <a:cubicBezTo>
                        <a:pt x="29" y="4"/>
                        <a:pt x="26" y="3"/>
                        <a:pt x="25" y="5"/>
                      </a:cubicBezTo>
                      <a:cubicBezTo>
                        <a:pt x="25" y="7"/>
                        <a:pt x="23" y="5"/>
                        <a:pt x="22" y="5"/>
                      </a:cubicBezTo>
                      <a:cubicBezTo>
                        <a:pt x="21" y="5"/>
                        <a:pt x="18" y="1"/>
                        <a:pt x="16" y="1"/>
                      </a:cubicBezTo>
                      <a:cubicBezTo>
                        <a:pt x="15" y="1"/>
                        <a:pt x="14" y="0"/>
                        <a:pt x="13" y="0"/>
                      </a:cubicBezTo>
                      <a:cubicBezTo>
                        <a:pt x="12" y="1"/>
                        <a:pt x="11" y="2"/>
                        <a:pt x="11" y="3"/>
                      </a:cubicBezTo>
                      <a:cubicBezTo>
                        <a:pt x="12" y="4"/>
                        <a:pt x="15" y="5"/>
                        <a:pt x="14" y="6"/>
                      </a:cubicBezTo>
                      <a:cubicBezTo>
                        <a:pt x="13" y="7"/>
                        <a:pt x="9" y="7"/>
                        <a:pt x="8" y="6"/>
                      </a:cubicBezTo>
                      <a:cubicBezTo>
                        <a:pt x="7" y="5"/>
                        <a:pt x="3" y="3"/>
                        <a:pt x="2" y="4"/>
                      </a:cubicBezTo>
                      <a:cubicBezTo>
                        <a:pt x="2" y="5"/>
                        <a:pt x="6" y="9"/>
                        <a:pt x="5" y="10"/>
                      </a:cubicBezTo>
                      <a:cubicBezTo>
                        <a:pt x="5" y="12"/>
                        <a:pt x="8" y="15"/>
                        <a:pt x="8" y="17"/>
                      </a:cubicBezTo>
                      <a:cubicBezTo>
                        <a:pt x="8" y="19"/>
                        <a:pt x="13" y="21"/>
                        <a:pt x="13" y="23"/>
                      </a:cubicBezTo>
                      <a:cubicBezTo>
                        <a:pt x="13" y="24"/>
                        <a:pt x="14" y="25"/>
                        <a:pt x="15" y="27"/>
                      </a:cubicBezTo>
                      <a:cubicBezTo>
                        <a:pt x="18" y="25"/>
                        <a:pt x="22" y="22"/>
                        <a:pt x="24" y="21"/>
                      </a:cubicBezTo>
                      <a:cubicBezTo>
                        <a:pt x="28" y="19"/>
                        <a:pt x="26" y="27"/>
                        <a:pt x="26" y="28"/>
                      </a:cubicBezTo>
                      <a:cubicBezTo>
                        <a:pt x="25" y="29"/>
                        <a:pt x="28" y="31"/>
                        <a:pt x="31" y="32"/>
                      </a:cubicBezTo>
                      <a:cubicBezTo>
                        <a:pt x="31" y="31"/>
                        <a:pt x="32" y="29"/>
                        <a:pt x="33" y="28"/>
                      </a:cubicBezTo>
                      <a:cubicBezTo>
                        <a:pt x="37" y="23"/>
                        <a:pt x="40" y="15"/>
                        <a:pt x="38" y="10"/>
                      </a:cubicBezTo>
                      <a:close/>
                      <a:moveTo>
                        <a:pt x="4" y="22"/>
                      </a:moveTo>
                      <a:cubicBezTo>
                        <a:pt x="3" y="22"/>
                        <a:pt x="2" y="21"/>
                        <a:pt x="0" y="20"/>
                      </a:cubicBezTo>
                      <a:cubicBezTo>
                        <a:pt x="0" y="22"/>
                        <a:pt x="0" y="24"/>
                        <a:pt x="3" y="25"/>
                      </a:cubicBezTo>
                      <a:cubicBezTo>
                        <a:pt x="6" y="26"/>
                        <a:pt x="1" y="27"/>
                        <a:pt x="8" y="28"/>
                      </a:cubicBezTo>
                      <a:cubicBezTo>
                        <a:pt x="8" y="28"/>
                        <a:pt x="9" y="28"/>
                        <a:pt x="9" y="28"/>
                      </a:cubicBezTo>
                      <a:cubicBezTo>
                        <a:pt x="10" y="26"/>
                        <a:pt x="9" y="26"/>
                        <a:pt x="8" y="24"/>
                      </a:cubicBezTo>
                      <a:cubicBezTo>
                        <a:pt x="6" y="21"/>
                        <a:pt x="5" y="23"/>
                        <a:pt x="4" y="2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4" name="Freeform 157">
                  <a:extLst>
                    <a:ext uri="{FF2B5EF4-FFF2-40B4-BE49-F238E27FC236}">
                      <a16:creationId xmlns:a16="http://schemas.microsoft.com/office/drawing/2014/main" id="{5AC19B36-7855-4045-AA69-203F3D3E65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22752" y="-10514202"/>
                  <a:ext cx="710264" cy="512427"/>
                </a:xfrm>
                <a:custGeom>
                  <a:avLst/>
                  <a:gdLst>
                    <a:gd name="T0" fmla="*/ 111 w 115"/>
                    <a:gd name="T1" fmla="*/ 12 h 83"/>
                    <a:gd name="T2" fmla="*/ 108 w 115"/>
                    <a:gd name="T3" fmla="*/ 10 h 83"/>
                    <a:gd name="T4" fmla="*/ 99 w 115"/>
                    <a:gd name="T5" fmla="*/ 16 h 83"/>
                    <a:gd name="T6" fmla="*/ 95 w 115"/>
                    <a:gd name="T7" fmla="*/ 17 h 83"/>
                    <a:gd name="T8" fmla="*/ 91 w 115"/>
                    <a:gd name="T9" fmla="*/ 17 h 83"/>
                    <a:gd name="T10" fmla="*/ 91 w 115"/>
                    <a:gd name="T11" fmla="*/ 7 h 83"/>
                    <a:gd name="T12" fmla="*/ 88 w 115"/>
                    <a:gd name="T13" fmla="*/ 1 h 83"/>
                    <a:gd name="T14" fmla="*/ 80 w 115"/>
                    <a:gd name="T15" fmla="*/ 8 h 83"/>
                    <a:gd name="T16" fmla="*/ 73 w 115"/>
                    <a:gd name="T17" fmla="*/ 11 h 83"/>
                    <a:gd name="T18" fmla="*/ 64 w 115"/>
                    <a:gd name="T19" fmla="*/ 14 h 83"/>
                    <a:gd name="T20" fmla="*/ 57 w 115"/>
                    <a:gd name="T21" fmla="*/ 12 h 83"/>
                    <a:gd name="T22" fmla="*/ 51 w 115"/>
                    <a:gd name="T23" fmla="*/ 9 h 83"/>
                    <a:gd name="T24" fmla="*/ 44 w 115"/>
                    <a:gd name="T25" fmla="*/ 8 h 83"/>
                    <a:gd name="T26" fmla="*/ 38 w 115"/>
                    <a:gd name="T27" fmla="*/ 12 h 83"/>
                    <a:gd name="T28" fmla="*/ 33 w 115"/>
                    <a:gd name="T29" fmla="*/ 20 h 83"/>
                    <a:gd name="T30" fmla="*/ 22 w 115"/>
                    <a:gd name="T31" fmla="*/ 27 h 83"/>
                    <a:gd name="T32" fmla="*/ 15 w 115"/>
                    <a:gd name="T33" fmla="*/ 29 h 83"/>
                    <a:gd name="T34" fmla="*/ 9 w 115"/>
                    <a:gd name="T35" fmla="*/ 28 h 83"/>
                    <a:gd name="T36" fmla="*/ 5 w 115"/>
                    <a:gd name="T37" fmla="*/ 31 h 83"/>
                    <a:gd name="T38" fmla="*/ 2 w 115"/>
                    <a:gd name="T39" fmla="*/ 38 h 83"/>
                    <a:gd name="T40" fmla="*/ 1 w 115"/>
                    <a:gd name="T41" fmla="*/ 45 h 83"/>
                    <a:gd name="T42" fmla="*/ 1 w 115"/>
                    <a:gd name="T43" fmla="*/ 53 h 83"/>
                    <a:gd name="T44" fmla="*/ 3 w 115"/>
                    <a:gd name="T45" fmla="*/ 62 h 83"/>
                    <a:gd name="T46" fmla="*/ 10 w 115"/>
                    <a:gd name="T47" fmla="*/ 67 h 83"/>
                    <a:gd name="T48" fmla="*/ 2 w 115"/>
                    <a:gd name="T49" fmla="*/ 78 h 83"/>
                    <a:gd name="T50" fmla="*/ 4 w 115"/>
                    <a:gd name="T51" fmla="*/ 81 h 83"/>
                    <a:gd name="T52" fmla="*/ 16 w 115"/>
                    <a:gd name="T53" fmla="*/ 82 h 83"/>
                    <a:gd name="T54" fmla="*/ 49 w 115"/>
                    <a:gd name="T55" fmla="*/ 78 h 83"/>
                    <a:gd name="T56" fmla="*/ 48 w 115"/>
                    <a:gd name="T57" fmla="*/ 70 h 83"/>
                    <a:gd name="T58" fmla="*/ 54 w 115"/>
                    <a:gd name="T59" fmla="*/ 66 h 83"/>
                    <a:gd name="T60" fmla="*/ 60 w 115"/>
                    <a:gd name="T61" fmla="*/ 65 h 83"/>
                    <a:gd name="T62" fmla="*/ 68 w 115"/>
                    <a:gd name="T63" fmla="*/ 62 h 83"/>
                    <a:gd name="T64" fmla="*/ 72 w 115"/>
                    <a:gd name="T65" fmla="*/ 58 h 83"/>
                    <a:gd name="T66" fmla="*/ 75 w 115"/>
                    <a:gd name="T67" fmla="*/ 50 h 83"/>
                    <a:gd name="T68" fmla="*/ 80 w 115"/>
                    <a:gd name="T69" fmla="*/ 46 h 83"/>
                    <a:gd name="T70" fmla="*/ 78 w 115"/>
                    <a:gd name="T71" fmla="*/ 41 h 83"/>
                    <a:gd name="T72" fmla="*/ 87 w 115"/>
                    <a:gd name="T73" fmla="*/ 41 h 83"/>
                    <a:gd name="T74" fmla="*/ 87 w 115"/>
                    <a:gd name="T75" fmla="*/ 35 h 83"/>
                    <a:gd name="T76" fmla="*/ 91 w 115"/>
                    <a:gd name="T77" fmla="*/ 29 h 83"/>
                    <a:gd name="T78" fmla="*/ 90 w 115"/>
                    <a:gd name="T79" fmla="*/ 25 h 83"/>
                    <a:gd name="T80" fmla="*/ 91 w 115"/>
                    <a:gd name="T81" fmla="*/ 20 h 83"/>
                    <a:gd name="T82" fmla="*/ 92 w 115"/>
                    <a:gd name="T83" fmla="*/ 20 h 83"/>
                    <a:gd name="T84" fmla="*/ 96 w 115"/>
                    <a:gd name="T85" fmla="*/ 19 h 83"/>
                    <a:gd name="T86" fmla="*/ 107 w 115"/>
                    <a:gd name="T87" fmla="*/ 15 h 83"/>
                    <a:gd name="T88" fmla="*/ 115 w 115"/>
                    <a:gd name="T89" fmla="*/ 13 h 83"/>
                    <a:gd name="T90" fmla="*/ 111 w 115"/>
                    <a:gd name="T91" fmla="*/ 12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15" h="83">
                      <a:moveTo>
                        <a:pt x="111" y="12"/>
                      </a:moveTo>
                      <a:cubicBezTo>
                        <a:pt x="109" y="12"/>
                        <a:pt x="110" y="11"/>
                        <a:pt x="108" y="10"/>
                      </a:cubicBezTo>
                      <a:cubicBezTo>
                        <a:pt x="107" y="9"/>
                        <a:pt x="102" y="13"/>
                        <a:pt x="99" y="16"/>
                      </a:cubicBezTo>
                      <a:cubicBezTo>
                        <a:pt x="98" y="16"/>
                        <a:pt x="96" y="17"/>
                        <a:pt x="95" y="17"/>
                      </a:cubicBezTo>
                      <a:cubicBezTo>
                        <a:pt x="93" y="17"/>
                        <a:pt x="92" y="18"/>
                        <a:pt x="91" y="17"/>
                      </a:cubicBezTo>
                      <a:cubicBezTo>
                        <a:pt x="89" y="15"/>
                        <a:pt x="94" y="9"/>
                        <a:pt x="91" y="7"/>
                      </a:cubicBezTo>
                      <a:cubicBezTo>
                        <a:pt x="87" y="6"/>
                        <a:pt x="90" y="1"/>
                        <a:pt x="88" y="1"/>
                      </a:cubicBezTo>
                      <a:cubicBezTo>
                        <a:pt x="85" y="0"/>
                        <a:pt x="80" y="5"/>
                        <a:pt x="80" y="8"/>
                      </a:cubicBezTo>
                      <a:cubicBezTo>
                        <a:pt x="80" y="10"/>
                        <a:pt x="73" y="9"/>
                        <a:pt x="73" y="11"/>
                      </a:cubicBezTo>
                      <a:cubicBezTo>
                        <a:pt x="73" y="14"/>
                        <a:pt x="66" y="11"/>
                        <a:pt x="64" y="14"/>
                      </a:cubicBezTo>
                      <a:cubicBezTo>
                        <a:pt x="63" y="16"/>
                        <a:pt x="60" y="12"/>
                        <a:pt x="57" y="12"/>
                      </a:cubicBezTo>
                      <a:cubicBezTo>
                        <a:pt x="55" y="12"/>
                        <a:pt x="54" y="9"/>
                        <a:pt x="51" y="9"/>
                      </a:cubicBezTo>
                      <a:cubicBezTo>
                        <a:pt x="48" y="10"/>
                        <a:pt x="46" y="9"/>
                        <a:pt x="44" y="8"/>
                      </a:cubicBezTo>
                      <a:cubicBezTo>
                        <a:pt x="42" y="8"/>
                        <a:pt x="40" y="13"/>
                        <a:pt x="38" y="12"/>
                      </a:cubicBezTo>
                      <a:cubicBezTo>
                        <a:pt x="35" y="11"/>
                        <a:pt x="34" y="17"/>
                        <a:pt x="33" y="20"/>
                      </a:cubicBezTo>
                      <a:cubicBezTo>
                        <a:pt x="32" y="23"/>
                        <a:pt x="21" y="23"/>
                        <a:pt x="22" y="27"/>
                      </a:cubicBezTo>
                      <a:cubicBezTo>
                        <a:pt x="22" y="30"/>
                        <a:pt x="15" y="31"/>
                        <a:pt x="15" y="29"/>
                      </a:cubicBezTo>
                      <a:cubicBezTo>
                        <a:pt x="14" y="27"/>
                        <a:pt x="10" y="28"/>
                        <a:pt x="9" y="28"/>
                      </a:cubicBezTo>
                      <a:cubicBezTo>
                        <a:pt x="8" y="27"/>
                        <a:pt x="5" y="28"/>
                        <a:pt x="5" y="31"/>
                      </a:cubicBezTo>
                      <a:cubicBezTo>
                        <a:pt x="6" y="35"/>
                        <a:pt x="3" y="36"/>
                        <a:pt x="2" y="38"/>
                      </a:cubicBezTo>
                      <a:cubicBezTo>
                        <a:pt x="2" y="39"/>
                        <a:pt x="0" y="43"/>
                        <a:pt x="1" y="45"/>
                      </a:cubicBezTo>
                      <a:cubicBezTo>
                        <a:pt x="3" y="47"/>
                        <a:pt x="0" y="50"/>
                        <a:pt x="1" y="53"/>
                      </a:cubicBezTo>
                      <a:cubicBezTo>
                        <a:pt x="3" y="57"/>
                        <a:pt x="2" y="61"/>
                        <a:pt x="3" y="62"/>
                      </a:cubicBezTo>
                      <a:cubicBezTo>
                        <a:pt x="3" y="64"/>
                        <a:pt x="9" y="63"/>
                        <a:pt x="10" y="67"/>
                      </a:cubicBezTo>
                      <a:cubicBezTo>
                        <a:pt x="12" y="70"/>
                        <a:pt x="3" y="76"/>
                        <a:pt x="2" y="78"/>
                      </a:cubicBezTo>
                      <a:cubicBezTo>
                        <a:pt x="2" y="79"/>
                        <a:pt x="3" y="80"/>
                        <a:pt x="4" y="81"/>
                      </a:cubicBezTo>
                      <a:cubicBezTo>
                        <a:pt x="7" y="81"/>
                        <a:pt x="12" y="81"/>
                        <a:pt x="16" y="82"/>
                      </a:cubicBezTo>
                      <a:cubicBezTo>
                        <a:pt x="21" y="83"/>
                        <a:pt x="48" y="79"/>
                        <a:pt x="49" y="78"/>
                      </a:cubicBezTo>
                      <a:cubicBezTo>
                        <a:pt x="49" y="77"/>
                        <a:pt x="48" y="71"/>
                        <a:pt x="48" y="70"/>
                      </a:cubicBezTo>
                      <a:cubicBezTo>
                        <a:pt x="48" y="69"/>
                        <a:pt x="51" y="66"/>
                        <a:pt x="54" y="66"/>
                      </a:cubicBezTo>
                      <a:cubicBezTo>
                        <a:pt x="57" y="66"/>
                        <a:pt x="60" y="67"/>
                        <a:pt x="60" y="65"/>
                      </a:cubicBezTo>
                      <a:cubicBezTo>
                        <a:pt x="60" y="63"/>
                        <a:pt x="68" y="60"/>
                        <a:pt x="68" y="62"/>
                      </a:cubicBezTo>
                      <a:cubicBezTo>
                        <a:pt x="69" y="64"/>
                        <a:pt x="72" y="63"/>
                        <a:pt x="72" y="58"/>
                      </a:cubicBezTo>
                      <a:cubicBezTo>
                        <a:pt x="72" y="54"/>
                        <a:pt x="72" y="50"/>
                        <a:pt x="75" y="50"/>
                      </a:cubicBezTo>
                      <a:cubicBezTo>
                        <a:pt x="78" y="50"/>
                        <a:pt x="80" y="48"/>
                        <a:pt x="80" y="46"/>
                      </a:cubicBezTo>
                      <a:cubicBezTo>
                        <a:pt x="80" y="45"/>
                        <a:pt x="77" y="42"/>
                        <a:pt x="78" y="41"/>
                      </a:cubicBezTo>
                      <a:cubicBezTo>
                        <a:pt x="78" y="40"/>
                        <a:pt x="86" y="44"/>
                        <a:pt x="87" y="41"/>
                      </a:cubicBezTo>
                      <a:cubicBezTo>
                        <a:pt x="88" y="39"/>
                        <a:pt x="86" y="37"/>
                        <a:pt x="87" y="35"/>
                      </a:cubicBezTo>
                      <a:cubicBezTo>
                        <a:pt x="88" y="33"/>
                        <a:pt x="91" y="31"/>
                        <a:pt x="91" y="29"/>
                      </a:cubicBezTo>
                      <a:cubicBezTo>
                        <a:pt x="91" y="27"/>
                        <a:pt x="91" y="26"/>
                        <a:pt x="90" y="25"/>
                      </a:cubicBezTo>
                      <a:cubicBezTo>
                        <a:pt x="88" y="23"/>
                        <a:pt x="89" y="21"/>
                        <a:pt x="91" y="20"/>
                      </a:cubicBezTo>
                      <a:cubicBezTo>
                        <a:pt x="91" y="20"/>
                        <a:pt x="92" y="20"/>
                        <a:pt x="92" y="20"/>
                      </a:cubicBezTo>
                      <a:cubicBezTo>
                        <a:pt x="94" y="20"/>
                        <a:pt x="95" y="19"/>
                        <a:pt x="96" y="19"/>
                      </a:cubicBezTo>
                      <a:cubicBezTo>
                        <a:pt x="99" y="16"/>
                        <a:pt x="105" y="15"/>
                        <a:pt x="107" y="15"/>
                      </a:cubicBezTo>
                      <a:cubicBezTo>
                        <a:pt x="109" y="16"/>
                        <a:pt x="113" y="15"/>
                        <a:pt x="115" y="13"/>
                      </a:cubicBezTo>
                      <a:cubicBezTo>
                        <a:pt x="114" y="12"/>
                        <a:pt x="112" y="12"/>
                        <a:pt x="111" y="1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5" name="Freeform 158">
                  <a:extLst>
                    <a:ext uri="{FF2B5EF4-FFF2-40B4-BE49-F238E27FC236}">
                      <a16:creationId xmlns:a16="http://schemas.microsoft.com/office/drawing/2014/main" id="{1E420831-3F9B-46A3-9C2D-0DFABF5203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00049" y="-10433122"/>
                  <a:ext cx="823775" cy="739452"/>
                </a:xfrm>
                <a:custGeom>
                  <a:avLst/>
                  <a:gdLst>
                    <a:gd name="T0" fmla="*/ 122 w 133"/>
                    <a:gd name="T1" fmla="*/ 6 h 120"/>
                    <a:gd name="T2" fmla="*/ 113 w 133"/>
                    <a:gd name="T3" fmla="*/ 1 h 120"/>
                    <a:gd name="T4" fmla="*/ 103 w 133"/>
                    <a:gd name="T5" fmla="*/ 2 h 120"/>
                    <a:gd name="T6" fmla="*/ 88 w 133"/>
                    <a:gd name="T7" fmla="*/ 7 h 120"/>
                    <a:gd name="T8" fmla="*/ 86 w 133"/>
                    <a:gd name="T9" fmla="*/ 12 h 120"/>
                    <a:gd name="T10" fmla="*/ 83 w 133"/>
                    <a:gd name="T11" fmla="*/ 22 h 120"/>
                    <a:gd name="T12" fmla="*/ 74 w 133"/>
                    <a:gd name="T13" fmla="*/ 28 h 120"/>
                    <a:gd name="T14" fmla="*/ 71 w 133"/>
                    <a:gd name="T15" fmla="*/ 37 h 120"/>
                    <a:gd name="T16" fmla="*/ 64 w 133"/>
                    <a:gd name="T17" fmla="*/ 49 h 120"/>
                    <a:gd name="T18" fmla="*/ 50 w 133"/>
                    <a:gd name="T19" fmla="*/ 53 h 120"/>
                    <a:gd name="T20" fmla="*/ 45 w 133"/>
                    <a:gd name="T21" fmla="*/ 65 h 120"/>
                    <a:gd name="T22" fmla="*/ 0 w 133"/>
                    <a:gd name="T23" fmla="*/ 68 h 120"/>
                    <a:gd name="T24" fmla="*/ 12 w 133"/>
                    <a:gd name="T25" fmla="*/ 79 h 120"/>
                    <a:gd name="T26" fmla="*/ 18 w 133"/>
                    <a:gd name="T27" fmla="*/ 94 h 120"/>
                    <a:gd name="T28" fmla="*/ 5 w 133"/>
                    <a:gd name="T29" fmla="*/ 104 h 120"/>
                    <a:gd name="T30" fmla="*/ 20 w 133"/>
                    <a:gd name="T31" fmla="*/ 105 h 120"/>
                    <a:gd name="T32" fmla="*/ 40 w 133"/>
                    <a:gd name="T33" fmla="*/ 104 h 120"/>
                    <a:gd name="T34" fmla="*/ 50 w 133"/>
                    <a:gd name="T35" fmla="*/ 111 h 120"/>
                    <a:gd name="T36" fmla="*/ 58 w 133"/>
                    <a:gd name="T37" fmla="*/ 119 h 120"/>
                    <a:gd name="T38" fmla="*/ 60 w 133"/>
                    <a:gd name="T39" fmla="*/ 119 h 120"/>
                    <a:gd name="T40" fmla="*/ 75 w 133"/>
                    <a:gd name="T41" fmla="*/ 114 h 120"/>
                    <a:gd name="T42" fmla="*/ 78 w 133"/>
                    <a:gd name="T43" fmla="*/ 105 h 120"/>
                    <a:gd name="T44" fmla="*/ 70 w 133"/>
                    <a:gd name="T45" fmla="*/ 91 h 120"/>
                    <a:gd name="T46" fmla="*/ 82 w 133"/>
                    <a:gd name="T47" fmla="*/ 84 h 120"/>
                    <a:gd name="T48" fmla="*/ 92 w 133"/>
                    <a:gd name="T49" fmla="*/ 78 h 120"/>
                    <a:gd name="T50" fmla="*/ 101 w 133"/>
                    <a:gd name="T51" fmla="*/ 65 h 120"/>
                    <a:gd name="T52" fmla="*/ 110 w 133"/>
                    <a:gd name="T53" fmla="*/ 57 h 120"/>
                    <a:gd name="T54" fmla="*/ 116 w 133"/>
                    <a:gd name="T55" fmla="*/ 45 h 120"/>
                    <a:gd name="T56" fmla="*/ 107 w 133"/>
                    <a:gd name="T57" fmla="*/ 34 h 120"/>
                    <a:gd name="T58" fmla="*/ 110 w 133"/>
                    <a:gd name="T59" fmla="*/ 22 h 120"/>
                    <a:gd name="T60" fmla="*/ 130 w 133"/>
                    <a:gd name="T61" fmla="*/ 21 h 120"/>
                    <a:gd name="T62" fmla="*/ 127 w 133"/>
                    <a:gd name="T63" fmla="*/ 12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33" h="120">
                      <a:moveTo>
                        <a:pt x="127" y="12"/>
                      </a:moveTo>
                      <a:cubicBezTo>
                        <a:pt x="123" y="11"/>
                        <a:pt x="122" y="7"/>
                        <a:pt x="122" y="6"/>
                      </a:cubicBezTo>
                      <a:cubicBezTo>
                        <a:pt x="122" y="5"/>
                        <a:pt x="118" y="3"/>
                        <a:pt x="115" y="0"/>
                      </a:cubicBezTo>
                      <a:cubicBezTo>
                        <a:pt x="115" y="0"/>
                        <a:pt x="114" y="1"/>
                        <a:pt x="113" y="1"/>
                      </a:cubicBezTo>
                      <a:cubicBezTo>
                        <a:pt x="112" y="0"/>
                        <a:pt x="112" y="0"/>
                        <a:pt x="111" y="0"/>
                      </a:cubicBezTo>
                      <a:cubicBezTo>
                        <a:pt x="109" y="2"/>
                        <a:pt x="105" y="3"/>
                        <a:pt x="103" y="2"/>
                      </a:cubicBezTo>
                      <a:cubicBezTo>
                        <a:pt x="101" y="2"/>
                        <a:pt x="95" y="3"/>
                        <a:pt x="92" y="6"/>
                      </a:cubicBezTo>
                      <a:cubicBezTo>
                        <a:pt x="91" y="6"/>
                        <a:pt x="90" y="7"/>
                        <a:pt x="88" y="7"/>
                      </a:cubicBezTo>
                      <a:cubicBezTo>
                        <a:pt x="88" y="7"/>
                        <a:pt x="87" y="7"/>
                        <a:pt x="87" y="7"/>
                      </a:cubicBezTo>
                      <a:cubicBezTo>
                        <a:pt x="85" y="8"/>
                        <a:pt x="84" y="10"/>
                        <a:pt x="86" y="12"/>
                      </a:cubicBezTo>
                      <a:cubicBezTo>
                        <a:pt x="87" y="13"/>
                        <a:pt x="87" y="14"/>
                        <a:pt x="87" y="16"/>
                      </a:cubicBezTo>
                      <a:cubicBezTo>
                        <a:pt x="87" y="18"/>
                        <a:pt x="84" y="20"/>
                        <a:pt x="83" y="22"/>
                      </a:cubicBezTo>
                      <a:cubicBezTo>
                        <a:pt x="82" y="24"/>
                        <a:pt x="84" y="26"/>
                        <a:pt x="83" y="28"/>
                      </a:cubicBezTo>
                      <a:cubicBezTo>
                        <a:pt x="82" y="31"/>
                        <a:pt x="74" y="27"/>
                        <a:pt x="74" y="28"/>
                      </a:cubicBezTo>
                      <a:cubicBezTo>
                        <a:pt x="73" y="29"/>
                        <a:pt x="76" y="32"/>
                        <a:pt x="76" y="33"/>
                      </a:cubicBezTo>
                      <a:cubicBezTo>
                        <a:pt x="76" y="35"/>
                        <a:pt x="74" y="37"/>
                        <a:pt x="71" y="37"/>
                      </a:cubicBezTo>
                      <a:cubicBezTo>
                        <a:pt x="68" y="37"/>
                        <a:pt x="68" y="41"/>
                        <a:pt x="68" y="45"/>
                      </a:cubicBezTo>
                      <a:cubicBezTo>
                        <a:pt x="68" y="50"/>
                        <a:pt x="65" y="51"/>
                        <a:pt x="64" y="49"/>
                      </a:cubicBezTo>
                      <a:cubicBezTo>
                        <a:pt x="64" y="47"/>
                        <a:pt x="56" y="50"/>
                        <a:pt x="56" y="52"/>
                      </a:cubicBezTo>
                      <a:cubicBezTo>
                        <a:pt x="56" y="54"/>
                        <a:pt x="53" y="53"/>
                        <a:pt x="50" y="53"/>
                      </a:cubicBezTo>
                      <a:cubicBezTo>
                        <a:pt x="47" y="53"/>
                        <a:pt x="44" y="56"/>
                        <a:pt x="44" y="57"/>
                      </a:cubicBezTo>
                      <a:cubicBezTo>
                        <a:pt x="44" y="58"/>
                        <a:pt x="45" y="64"/>
                        <a:pt x="45" y="65"/>
                      </a:cubicBezTo>
                      <a:cubicBezTo>
                        <a:pt x="44" y="66"/>
                        <a:pt x="17" y="70"/>
                        <a:pt x="12" y="69"/>
                      </a:cubicBezTo>
                      <a:cubicBezTo>
                        <a:pt x="8" y="68"/>
                        <a:pt x="3" y="68"/>
                        <a:pt x="0" y="68"/>
                      </a:cubicBezTo>
                      <a:cubicBezTo>
                        <a:pt x="1" y="69"/>
                        <a:pt x="3" y="71"/>
                        <a:pt x="4" y="72"/>
                      </a:cubicBezTo>
                      <a:cubicBezTo>
                        <a:pt x="5" y="75"/>
                        <a:pt x="8" y="77"/>
                        <a:pt x="12" y="79"/>
                      </a:cubicBezTo>
                      <a:cubicBezTo>
                        <a:pt x="16" y="81"/>
                        <a:pt x="14" y="87"/>
                        <a:pt x="16" y="88"/>
                      </a:cubicBezTo>
                      <a:cubicBezTo>
                        <a:pt x="18" y="89"/>
                        <a:pt x="20" y="94"/>
                        <a:pt x="18" y="94"/>
                      </a:cubicBezTo>
                      <a:cubicBezTo>
                        <a:pt x="15" y="94"/>
                        <a:pt x="13" y="95"/>
                        <a:pt x="10" y="96"/>
                      </a:cubicBezTo>
                      <a:cubicBezTo>
                        <a:pt x="8" y="97"/>
                        <a:pt x="5" y="101"/>
                        <a:pt x="5" y="104"/>
                      </a:cubicBezTo>
                      <a:cubicBezTo>
                        <a:pt x="5" y="105"/>
                        <a:pt x="5" y="106"/>
                        <a:pt x="5" y="106"/>
                      </a:cubicBezTo>
                      <a:cubicBezTo>
                        <a:pt x="12" y="107"/>
                        <a:pt x="20" y="106"/>
                        <a:pt x="20" y="105"/>
                      </a:cubicBezTo>
                      <a:cubicBezTo>
                        <a:pt x="22" y="104"/>
                        <a:pt x="25" y="103"/>
                        <a:pt x="27" y="104"/>
                      </a:cubicBezTo>
                      <a:cubicBezTo>
                        <a:pt x="28" y="106"/>
                        <a:pt x="36" y="106"/>
                        <a:pt x="40" y="104"/>
                      </a:cubicBezTo>
                      <a:cubicBezTo>
                        <a:pt x="43" y="102"/>
                        <a:pt x="46" y="104"/>
                        <a:pt x="46" y="106"/>
                      </a:cubicBezTo>
                      <a:cubicBezTo>
                        <a:pt x="46" y="108"/>
                        <a:pt x="48" y="109"/>
                        <a:pt x="50" y="111"/>
                      </a:cubicBezTo>
                      <a:cubicBezTo>
                        <a:pt x="51" y="112"/>
                        <a:pt x="50" y="114"/>
                        <a:pt x="51" y="116"/>
                      </a:cubicBezTo>
                      <a:cubicBezTo>
                        <a:pt x="52" y="118"/>
                        <a:pt x="55" y="118"/>
                        <a:pt x="58" y="119"/>
                      </a:cubicBezTo>
                      <a:cubicBezTo>
                        <a:pt x="59" y="119"/>
                        <a:pt x="59" y="120"/>
                        <a:pt x="60" y="120"/>
                      </a:cubicBezTo>
                      <a:cubicBezTo>
                        <a:pt x="60" y="120"/>
                        <a:pt x="60" y="119"/>
                        <a:pt x="60" y="119"/>
                      </a:cubicBezTo>
                      <a:cubicBezTo>
                        <a:pt x="62" y="117"/>
                        <a:pt x="62" y="113"/>
                        <a:pt x="67" y="114"/>
                      </a:cubicBezTo>
                      <a:cubicBezTo>
                        <a:pt x="72" y="115"/>
                        <a:pt x="72" y="113"/>
                        <a:pt x="75" y="114"/>
                      </a:cubicBezTo>
                      <a:cubicBezTo>
                        <a:pt x="78" y="115"/>
                        <a:pt x="80" y="114"/>
                        <a:pt x="81" y="112"/>
                      </a:cubicBezTo>
                      <a:cubicBezTo>
                        <a:pt x="82" y="110"/>
                        <a:pt x="80" y="107"/>
                        <a:pt x="78" y="105"/>
                      </a:cubicBezTo>
                      <a:cubicBezTo>
                        <a:pt x="77" y="103"/>
                        <a:pt x="74" y="100"/>
                        <a:pt x="75" y="97"/>
                      </a:cubicBezTo>
                      <a:cubicBezTo>
                        <a:pt x="75" y="94"/>
                        <a:pt x="70" y="94"/>
                        <a:pt x="70" y="91"/>
                      </a:cubicBezTo>
                      <a:cubicBezTo>
                        <a:pt x="70" y="89"/>
                        <a:pt x="75" y="84"/>
                        <a:pt x="76" y="83"/>
                      </a:cubicBezTo>
                      <a:cubicBezTo>
                        <a:pt x="77" y="83"/>
                        <a:pt x="81" y="86"/>
                        <a:pt x="82" y="84"/>
                      </a:cubicBezTo>
                      <a:cubicBezTo>
                        <a:pt x="83" y="82"/>
                        <a:pt x="86" y="83"/>
                        <a:pt x="87" y="84"/>
                      </a:cubicBezTo>
                      <a:cubicBezTo>
                        <a:pt x="89" y="84"/>
                        <a:pt x="91" y="81"/>
                        <a:pt x="92" y="78"/>
                      </a:cubicBezTo>
                      <a:cubicBezTo>
                        <a:pt x="92" y="75"/>
                        <a:pt x="97" y="75"/>
                        <a:pt x="98" y="74"/>
                      </a:cubicBezTo>
                      <a:cubicBezTo>
                        <a:pt x="99" y="73"/>
                        <a:pt x="101" y="66"/>
                        <a:pt x="101" y="65"/>
                      </a:cubicBezTo>
                      <a:cubicBezTo>
                        <a:pt x="102" y="64"/>
                        <a:pt x="106" y="65"/>
                        <a:pt x="106" y="61"/>
                      </a:cubicBezTo>
                      <a:cubicBezTo>
                        <a:pt x="106" y="58"/>
                        <a:pt x="108" y="57"/>
                        <a:pt x="110" y="57"/>
                      </a:cubicBezTo>
                      <a:cubicBezTo>
                        <a:pt x="112" y="56"/>
                        <a:pt x="111" y="53"/>
                        <a:pt x="112" y="51"/>
                      </a:cubicBezTo>
                      <a:cubicBezTo>
                        <a:pt x="112" y="48"/>
                        <a:pt x="113" y="45"/>
                        <a:pt x="116" y="45"/>
                      </a:cubicBezTo>
                      <a:cubicBezTo>
                        <a:pt x="118" y="44"/>
                        <a:pt x="115" y="41"/>
                        <a:pt x="112" y="41"/>
                      </a:cubicBezTo>
                      <a:cubicBezTo>
                        <a:pt x="109" y="42"/>
                        <a:pt x="107" y="34"/>
                        <a:pt x="107" y="34"/>
                      </a:cubicBezTo>
                      <a:cubicBezTo>
                        <a:pt x="107" y="34"/>
                        <a:pt x="107" y="27"/>
                        <a:pt x="106" y="26"/>
                      </a:cubicBezTo>
                      <a:cubicBezTo>
                        <a:pt x="104" y="25"/>
                        <a:pt x="106" y="22"/>
                        <a:pt x="110" y="22"/>
                      </a:cubicBezTo>
                      <a:cubicBezTo>
                        <a:pt x="113" y="22"/>
                        <a:pt x="120" y="25"/>
                        <a:pt x="122" y="24"/>
                      </a:cubicBezTo>
                      <a:cubicBezTo>
                        <a:pt x="124" y="22"/>
                        <a:pt x="129" y="21"/>
                        <a:pt x="130" y="21"/>
                      </a:cubicBezTo>
                      <a:cubicBezTo>
                        <a:pt x="131" y="20"/>
                        <a:pt x="132" y="17"/>
                        <a:pt x="133" y="16"/>
                      </a:cubicBezTo>
                      <a:cubicBezTo>
                        <a:pt x="131" y="15"/>
                        <a:pt x="129" y="13"/>
                        <a:pt x="127" y="1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6" name="Freeform 159">
                  <a:extLst>
                    <a:ext uri="{FF2B5EF4-FFF2-40B4-BE49-F238E27FC236}">
                      <a16:creationId xmlns:a16="http://schemas.microsoft.com/office/drawing/2014/main" id="{5C97574C-503D-40C2-B99B-6AB2C7F73F7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6485471" y="-9959614"/>
                  <a:ext cx="839992" cy="1414040"/>
                </a:xfrm>
                <a:custGeom>
                  <a:avLst/>
                  <a:gdLst>
                    <a:gd name="T0" fmla="*/ 33 w 136"/>
                    <a:gd name="T1" fmla="*/ 98 h 229"/>
                    <a:gd name="T2" fmla="*/ 40 w 136"/>
                    <a:gd name="T3" fmla="*/ 110 h 229"/>
                    <a:gd name="T4" fmla="*/ 48 w 136"/>
                    <a:gd name="T5" fmla="*/ 140 h 229"/>
                    <a:gd name="T6" fmla="*/ 48 w 136"/>
                    <a:gd name="T7" fmla="*/ 152 h 229"/>
                    <a:gd name="T8" fmla="*/ 46 w 136"/>
                    <a:gd name="T9" fmla="*/ 171 h 229"/>
                    <a:gd name="T10" fmla="*/ 59 w 136"/>
                    <a:gd name="T11" fmla="*/ 185 h 229"/>
                    <a:gd name="T12" fmla="*/ 70 w 136"/>
                    <a:gd name="T13" fmla="*/ 213 h 229"/>
                    <a:gd name="T14" fmla="*/ 93 w 136"/>
                    <a:gd name="T15" fmla="*/ 228 h 229"/>
                    <a:gd name="T16" fmla="*/ 88 w 136"/>
                    <a:gd name="T17" fmla="*/ 201 h 229"/>
                    <a:gd name="T18" fmla="*/ 78 w 136"/>
                    <a:gd name="T19" fmla="*/ 189 h 229"/>
                    <a:gd name="T20" fmla="*/ 68 w 136"/>
                    <a:gd name="T21" fmla="*/ 182 h 229"/>
                    <a:gd name="T22" fmla="*/ 59 w 136"/>
                    <a:gd name="T23" fmla="*/ 166 h 229"/>
                    <a:gd name="T24" fmla="*/ 55 w 136"/>
                    <a:gd name="T25" fmla="*/ 149 h 229"/>
                    <a:gd name="T26" fmla="*/ 66 w 136"/>
                    <a:gd name="T27" fmla="*/ 131 h 229"/>
                    <a:gd name="T28" fmla="*/ 81 w 136"/>
                    <a:gd name="T29" fmla="*/ 140 h 229"/>
                    <a:gd name="T30" fmla="*/ 83 w 136"/>
                    <a:gd name="T31" fmla="*/ 147 h 229"/>
                    <a:gd name="T32" fmla="*/ 89 w 136"/>
                    <a:gd name="T33" fmla="*/ 153 h 229"/>
                    <a:gd name="T34" fmla="*/ 96 w 136"/>
                    <a:gd name="T35" fmla="*/ 154 h 229"/>
                    <a:gd name="T36" fmla="*/ 97 w 136"/>
                    <a:gd name="T37" fmla="*/ 164 h 229"/>
                    <a:gd name="T38" fmla="*/ 109 w 136"/>
                    <a:gd name="T39" fmla="*/ 162 h 229"/>
                    <a:gd name="T40" fmla="*/ 113 w 136"/>
                    <a:gd name="T41" fmla="*/ 154 h 229"/>
                    <a:gd name="T42" fmla="*/ 129 w 136"/>
                    <a:gd name="T43" fmla="*/ 148 h 229"/>
                    <a:gd name="T44" fmla="*/ 133 w 136"/>
                    <a:gd name="T45" fmla="*/ 119 h 229"/>
                    <a:gd name="T46" fmla="*/ 112 w 136"/>
                    <a:gd name="T47" fmla="*/ 95 h 229"/>
                    <a:gd name="T48" fmla="*/ 107 w 136"/>
                    <a:gd name="T49" fmla="*/ 78 h 229"/>
                    <a:gd name="T50" fmla="*/ 116 w 136"/>
                    <a:gd name="T51" fmla="*/ 67 h 229"/>
                    <a:gd name="T52" fmla="*/ 123 w 136"/>
                    <a:gd name="T53" fmla="*/ 62 h 229"/>
                    <a:gd name="T54" fmla="*/ 113 w 136"/>
                    <a:gd name="T55" fmla="*/ 54 h 229"/>
                    <a:gd name="T56" fmla="*/ 104 w 136"/>
                    <a:gd name="T57" fmla="*/ 46 h 229"/>
                    <a:gd name="T58" fmla="*/ 92 w 136"/>
                    <a:gd name="T59" fmla="*/ 51 h 229"/>
                    <a:gd name="T60" fmla="*/ 79 w 136"/>
                    <a:gd name="T61" fmla="*/ 52 h 229"/>
                    <a:gd name="T62" fmla="*/ 74 w 136"/>
                    <a:gd name="T63" fmla="*/ 54 h 229"/>
                    <a:gd name="T64" fmla="*/ 72 w 136"/>
                    <a:gd name="T65" fmla="*/ 64 h 229"/>
                    <a:gd name="T66" fmla="*/ 65 w 136"/>
                    <a:gd name="T67" fmla="*/ 61 h 229"/>
                    <a:gd name="T68" fmla="*/ 55 w 136"/>
                    <a:gd name="T69" fmla="*/ 56 h 229"/>
                    <a:gd name="T70" fmla="*/ 52 w 136"/>
                    <a:gd name="T71" fmla="*/ 47 h 229"/>
                    <a:gd name="T72" fmla="*/ 42 w 136"/>
                    <a:gd name="T73" fmla="*/ 39 h 229"/>
                    <a:gd name="T74" fmla="*/ 48 w 136"/>
                    <a:gd name="T75" fmla="*/ 24 h 229"/>
                    <a:gd name="T76" fmla="*/ 46 w 136"/>
                    <a:gd name="T77" fmla="*/ 9 h 229"/>
                    <a:gd name="T78" fmla="*/ 39 w 136"/>
                    <a:gd name="T79" fmla="*/ 2 h 229"/>
                    <a:gd name="T80" fmla="*/ 38 w 136"/>
                    <a:gd name="T81" fmla="*/ 3 h 229"/>
                    <a:gd name="T82" fmla="*/ 37 w 136"/>
                    <a:gd name="T83" fmla="*/ 12 h 229"/>
                    <a:gd name="T84" fmla="*/ 27 w 136"/>
                    <a:gd name="T85" fmla="*/ 15 h 229"/>
                    <a:gd name="T86" fmla="*/ 19 w 136"/>
                    <a:gd name="T87" fmla="*/ 31 h 229"/>
                    <a:gd name="T88" fmla="*/ 10 w 136"/>
                    <a:gd name="T89" fmla="*/ 40 h 229"/>
                    <a:gd name="T90" fmla="*/ 6 w 136"/>
                    <a:gd name="T91" fmla="*/ 57 h 229"/>
                    <a:gd name="T92" fmla="*/ 0 w 136"/>
                    <a:gd name="T93" fmla="*/ 65 h 229"/>
                    <a:gd name="T94" fmla="*/ 16 w 136"/>
                    <a:gd name="T95" fmla="*/ 90 h 229"/>
                    <a:gd name="T96" fmla="*/ 18 w 136"/>
                    <a:gd name="T97" fmla="*/ 107 h 229"/>
                    <a:gd name="T98" fmla="*/ 120 w 136"/>
                    <a:gd name="T99" fmla="*/ 120 h 229"/>
                    <a:gd name="T100" fmla="*/ 120 w 136"/>
                    <a:gd name="T101" fmla="*/ 120 h 229"/>
                    <a:gd name="T102" fmla="*/ 105 w 136"/>
                    <a:gd name="T103" fmla="*/ 123 h 229"/>
                    <a:gd name="T104" fmla="*/ 105 w 136"/>
                    <a:gd name="T105" fmla="*/ 123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36" h="229">
                      <a:moveTo>
                        <a:pt x="26" y="106"/>
                      </a:moveTo>
                      <a:cubicBezTo>
                        <a:pt x="28" y="103"/>
                        <a:pt x="32" y="101"/>
                        <a:pt x="33" y="98"/>
                      </a:cubicBezTo>
                      <a:cubicBezTo>
                        <a:pt x="34" y="95"/>
                        <a:pt x="36" y="99"/>
                        <a:pt x="37" y="101"/>
                      </a:cubicBezTo>
                      <a:cubicBezTo>
                        <a:pt x="39" y="103"/>
                        <a:pt x="40" y="106"/>
                        <a:pt x="40" y="110"/>
                      </a:cubicBezTo>
                      <a:cubicBezTo>
                        <a:pt x="41" y="114"/>
                        <a:pt x="41" y="124"/>
                        <a:pt x="45" y="127"/>
                      </a:cubicBezTo>
                      <a:cubicBezTo>
                        <a:pt x="48" y="131"/>
                        <a:pt x="49" y="138"/>
                        <a:pt x="48" y="140"/>
                      </a:cubicBezTo>
                      <a:cubicBezTo>
                        <a:pt x="47" y="143"/>
                        <a:pt x="49" y="147"/>
                        <a:pt x="49" y="150"/>
                      </a:cubicBezTo>
                      <a:cubicBezTo>
                        <a:pt x="49" y="150"/>
                        <a:pt x="48" y="151"/>
                        <a:pt x="48" y="152"/>
                      </a:cubicBezTo>
                      <a:cubicBezTo>
                        <a:pt x="48" y="155"/>
                        <a:pt x="47" y="161"/>
                        <a:pt x="46" y="164"/>
                      </a:cubicBezTo>
                      <a:cubicBezTo>
                        <a:pt x="45" y="167"/>
                        <a:pt x="44" y="171"/>
                        <a:pt x="46" y="171"/>
                      </a:cubicBezTo>
                      <a:cubicBezTo>
                        <a:pt x="49" y="171"/>
                        <a:pt x="53" y="176"/>
                        <a:pt x="57" y="181"/>
                      </a:cubicBezTo>
                      <a:cubicBezTo>
                        <a:pt x="58" y="182"/>
                        <a:pt x="59" y="184"/>
                        <a:pt x="59" y="185"/>
                      </a:cubicBezTo>
                      <a:cubicBezTo>
                        <a:pt x="61" y="189"/>
                        <a:pt x="62" y="194"/>
                        <a:pt x="62" y="197"/>
                      </a:cubicBezTo>
                      <a:cubicBezTo>
                        <a:pt x="62" y="202"/>
                        <a:pt x="69" y="210"/>
                        <a:pt x="70" y="213"/>
                      </a:cubicBezTo>
                      <a:cubicBezTo>
                        <a:pt x="71" y="216"/>
                        <a:pt x="73" y="217"/>
                        <a:pt x="78" y="220"/>
                      </a:cubicBezTo>
                      <a:cubicBezTo>
                        <a:pt x="82" y="224"/>
                        <a:pt x="91" y="229"/>
                        <a:pt x="93" y="228"/>
                      </a:cubicBezTo>
                      <a:cubicBezTo>
                        <a:pt x="95" y="227"/>
                        <a:pt x="90" y="219"/>
                        <a:pt x="88" y="217"/>
                      </a:cubicBezTo>
                      <a:cubicBezTo>
                        <a:pt x="85" y="214"/>
                        <a:pt x="87" y="207"/>
                        <a:pt x="88" y="201"/>
                      </a:cubicBezTo>
                      <a:cubicBezTo>
                        <a:pt x="88" y="196"/>
                        <a:pt x="83" y="196"/>
                        <a:pt x="81" y="193"/>
                      </a:cubicBezTo>
                      <a:cubicBezTo>
                        <a:pt x="80" y="189"/>
                        <a:pt x="78" y="191"/>
                        <a:pt x="78" y="189"/>
                      </a:cubicBezTo>
                      <a:cubicBezTo>
                        <a:pt x="77" y="189"/>
                        <a:pt x="77" y="188"/>
                        <a:pt x="77" y="188"/>
                      </a:cubicBezTo>
                      <a:cubicBezTo>
                        <a:pt x="75" y="185"/>
                        <a:pt x="71" y="183"/>
                        <a:pt x="68" y="182"/>
                      </a:cubicBezTo>
                      <a:cubicBezTo>
                        <a:pt x="64" y="182"/>
                        <a:pt x="62" y="176"/>
                        <a:pt x="62" y="173"/>
                      </a:cubicBezTo>
                      <a:cubicBezTo>
                        <a:pt x="62" y="170"/>
                        <a:pt x="59" y="168"/>
                        <a:pt x="59" y="166"/>
                      </a:cubicBezTo>
                      <a:cubicBezTo>
                        <a:pt x="59" y="163"/>
                        <a:pt x="57" y="163"/>
                        <a:pt x="54" y="162"/>
                      </a:cubicBezTo>
                      <a:cubicBezTo>
                        <a:pt x="51" y="161"/>
                        <a:pt x="55" y="152"/>
                        <a:pt x="55" y="149"/>
                      </a:cubicBezTo>
                      <a:cubicBezTo>
                        <a:pt x="55" y="146"/>
                        <a:pt x="61" y="136"/>
                        <a:pt x="59" y="133"/>
                      </a:cubicBezTo>
                      <a:cubicBezTo>
                        <a:pt x="58" y="130"/>
                        <a:pt x="65" y="127"/>
                        <a:pt x="66" y="131"/>
                      </a:cubicBezTo>
                      <a:cubicBezTo>
                        <a:pt x="67" y="134"/>
                        <a:pt x="67" y="136"/>
                        <a:pt x="72" y="135"/>
                      </a:cubicBezTo>
                      <a:cubicBezTo>
                        <a:pt x="77" y="135"/>
                        <a:pt x="77" y="139"/>
                        <a:pt x="81" y="140"/>
                      </a:cubicBezTo>
                      <a:cubicBezTo>
                        <a:pt x="81" y="140"/>
                        <a:pt x="81" y="140"/>
                        <a:pt x="81" y="140"/>
                      </a:cubicBezTo>
                      <a:cubicBezTo>
                        <a:pt x="84" y="142"/>
                        <a:pt x="83" y="145"/>
                        <a:pt x="83" y="147"/>
                      </a:cubicBezTo>
                      <a:cubicBezTo>
                        <a:pt x="84" y="150"/>
                        <a:pt x="87" y="148"/>
                        <a:pt x="88" y="148"/>
                      </a:cubicBezTo>
                      <a:cubicBezTo>
                        <a:pt x="90" y="148"/>
                        <a:pt x="87" y="151"/>
                        <a:pt x="89" y="153"/>
                      </a:cubicBezTo>
                      <a:cubicBezTo>
                        <a:pt x="90" y="154"/>
                        <a:pt x="94" y="151"/>
                        <a:pt x="95" y="153"/>
                      </a:cubicBezTo>
                      <a:cubicBezTo>
                        <a:pt x="95" y="154"/>
                        <a:pt x="96" y="154"/>
                        <a:pt x="96" y="154"/>
                      </a:cubicBezTo>
                      <a:cubicBezTo>
                        <a:pt x="97" y="156"/>
                        <a:pt x="98" y="156"/>
                        <a:pt x="99" y="157"/>
                      </a:cubicBezTo>
                      <a:cubicBezTo>
                        <a:pt x="101" y="158"/>
                        <a:pt x="97" y="160"/>
                        <a:pt x="97" y="164"/>
                      </a:cubicBezTo>
                      <a:cubicBezTo>
                        <a:pt x="97" y="168"/>
                        <a:pt x="100" y="169"/>
                        <a:pt x="101" y="167"/>
                      </a:cubicBezTo>
                      <a:cubicBezTo>
                        <a:pt x="102" y="166"/>
                        <a:pt x="107" y="162"/>
                        <a:pt x="109" y="162"/>
                      </a:cubicBezTo>
                      <a:cubicBezTo>
                        <a:pt x="110" y="161"/>
                        <a:pt x="109" y="159"/>
                        <a:pt x="110" y="159"/>
                      </a:cubicBezTo>
                      <a:cubicBezTo>
                        <a:pt x="112" y="159"/>
                        <a:pt x="112" y="156"/>
                        <a:pt x="113" y="154"/>
                      </a:cubicBezTo>
                      <a:cubicBezTo>
                        <a:pt x="113" y="153"/>
                        <a:pt x="115" y="153"/>
                        <a:pt x="118" y="154"/>
                      </a:cubicBezTo>
                      <a:cubicBezTo>
                        <a:pt x="120" y="154"/>
                        <a:pt x="124" y="151"/>
                        <a:pt x="129" y="148"/>
                      </a:cubicBezTo>
                      <a:cubicBezTo>
                        <a:pt x="133" y="146"/>
                        <a:pt x="133" y="145"/>
                        <a:pt x="135" y="138"/>
                      </a:cubicBezTo>
                      <a:cubicBezTo>
                        <a:pt x="136" y="130"/>
                        <a:pt x="133" y="121"/>
                        <a:pt x="133" y="119"/>
                      </a:cubicBezTo>
                      <a:cubicBezTo>
                        <a:pt x="133" y="117"/>
                        <a:pt x="127" y="106"/>
                        <a:pt x="125" y="106"/>
                      </a:cubicBezTo>
                      <a:cubicBezTo>
                        <a:pt x="123" y="106"/>
                        <a:pt x="114" y="97"/>
                        <a:pt x="112" y="95"/>
                      </a:cubicBezTo>
                      <a:cubicBezTo>
                        <a:pt x="111" y="94"/>
                        <a:pt x="111" y="91"/>
                        <a:pt x="109" y="89"/>
                      </a:cubicBezTo>
                      <a:cubicBezTo>
                        <a:pt x="106" y="87"/>
                        <a:pt x="106" y="82"/>
                        <a:pt x="107" y="78"/>
                      </a:cubicBezTo>
                      <a:cubicBezTo>
                        <a:pt x="107" y="75"/>
                        <a:pt x="113" y="74"/>
                        <a:pt x="112" y="71"/>
                      </a:cubicBezTo>
                      <a:cubicBezTo>
                        <a:pt x="112" y="69"/>
                        <a:pt x="113" y="67"/>
                        <a:pt x="116" y="67"/>
                      </a:cubicBezTo>
                      <a:cubicBezTo>
                        <a:pt x="118" y="66"/>
                        <a:pt x="121" y="64"/>
                        <a:pt x="122" y="62"/>
                      </a:cubicBezTo>
                      <a:cubicBezTo>
                        <a:pt x="122" y="62"/>
                        <a:pt x="122" y="62"/>
                        <a:pt x="123" y="62"/>
                      </a:cubicBezTo>
                      <a:cubicBezTo>
                        <a:pt x="122" y="61"/>
                        <a:pt x="121" y="61"/>
                        <a:pt x="121" y="60"/>
                      </a:cubicBezTo>
                      <a:cubicBezTo>
                        <a:pt x="119" y="60"/>
                        <a:pt x="113" y="56"/>
                        <a:pt x="113" y="54"/>
                      </a:cubicBezTo>
                      <a:cubicBezTo>
                        <a:pt x="113" y="53"/>
                        <a:pt x="116" y="50"/>
                        <a:pt x="111" y="50"/>
                      </a:cubicBezTo>
                      <a:cubicBezTo>
                        <a:pt x="106" y="49"/>
                        <a:pt x="105" y="47"/>
                        <a:pt x="104" y="46"/>
                      </a:cubicBezTo>
                      <a:cubicBezTo>
                        <a:pt x="103" y="45"/>
                        <a:pt x="99" y="48"/>
                        <a:pt x="98" y="50"/>
                      </a:cubicBezTo>
                      <a:cubicBezTo>
                        <a:pt x="96" y="53"/>
                        <a:pt x="95" y="50"/>
                        <a:pt x="92" y="51"/>
                      </a:cubicBezTo>
                      <a:cubicBezTo>
                        <a:pt x="89" y="53"/>
                        <a:pt x="87" y="49"/>
                        <a:pt x="85" y="51"/>
                      </a:cubicBezTo>
                      <a:cubicBezTo>
                        <a:pt x="84" y="53"/>
                        <a:pt x="81" y="50"/>
                        <a:pt x="79" y="52"/>
                      </a:cubicBezTo>
                      <a:cubicBezTo>
                        <a:pt x="79" y="53"/>
                        <a:pt x="78" y="53"/>
                        <a:pt x="77" y="54"/>
                      </a:cubicBezTo>
                      <a:cubicBezTo>
                        <a:pt x="76" y="54"/>
                        <a:pt x="74" y="54"/>
                        <a:pt x="74" y="54"/>
                      </a:cubicBezTo>
                      <a:cubicBezTo>
                        <a:pt x="73" y="53"/>
                        <a:pt x="72" y="57"/>
                        <a:pt x="73" y="58"/>
                      </a:cubicBezTo>
                      <a:cubicBezTo>
                        <a:pt x="74" y="59"/>
                        <a:pt x="75" y="65"/>
                        <a:pt x="72" y="64"/>
                      </a:cubicBezTo>
                      <a:cubicBezTo>
                        <a:pt x="70" y="64"/>
                        <a:pt x="70" y="60"/>
                        <a:pt x="68" y="60"/>
                      </a:cubicBezTo>
                      <a:cubicBezTo>
                        <a:pt x="68" y="60"/>
                        <a:pt x="67" y="60"/>
                        <a:pt x="65" y="61"/>
                      </a:cubicBezTo>
                      <a:cubicBezTo>
                        <a:pt x="61" y="63"/>
                        <a:pt x="59" y="61"/>
                        <a:pt x="60" y="59"/>
                      </a:cubicBezTo>
                      <a:cubicBezTo>
                        <a:pt x="60" y="56"/>
                        <a:pt x="57" y="56"/>
                        <a:pt x="55" y="56"/>
                      </a:cubicBezTo>
                      <a:cubicBezTo>
                        <a:pt x="53" y="56"/>
                        <a:pt x="55" y="53"/>
                        <a:pt x="55" y="51"/>
                      </a:cubicBezTo>
                      <a:cubicBezTo>
                        <a:pt x="56" y="49"/>
                        <a:pt x="55" y="48"/>
                        <a:pt x="52" y="47"/>
                      </a:cubicBezTo>
                      <a:cubicBezTo>
                        <a:pt x="50" y="47"/>
                        <a:pt x="49" y="42"/>
                        <a:pt x="50" y="41"/>
                      </a:cubicBezTo>
                      <a:cubicBezTo>
                        <a:pt x="51" y="39"/>
                        <a:pt x="45" y="38"/>
                        <a:pt x="42" y="39"/>
                      </a:cubicBezTo>
                      <a:cubicBezTo>
                        <a:pt x="40" y="41"/>
                        <a:pt x="42" y="37"/>
                        <a:pt x="41" y="36"/>
                      </a:cubicBezTo>
                      <a:cubicBezTo>
                        <a:pt x="40" y="34"/>
                        <a:pt x="44" y="28"/>
                        <a:pt x="48" y="24"/>
                      </a:cubicBezTo>
                      <a:cubicBezTo>
                        <a:pt x="51" y="21"/>
                        <a:pt x="50" y="16"/>
                        <a:pt x="50" y="13"/>
                      </a:cubicBezTo>
                      <a:cubicBezTo>
                        <a:pt x="50" y="9"/>
                        <a:pt x="48" y="9"/>
                        <a:pt x="46" y="9"/>
                      </a:cubicBezTo>
                      <a:cubicBezTo>
                        <a:pt x="45" y="9"/>
                        <a:pt x="45" y="6"/>
                        <a:pt x="45" y="4"/>
                      </a:cubicBezTo>
                      <a:cubicBezTo>
                        <a:pt x="45" y="2"/>
                        <a:pt x="41" y="0"/>
                        <a:pt x="39" y="2"/>
                      </a:cubicBezTo>
                      <a:cubicBezTo>
                        <a:pt x="39" y="2"/>
                        <a:pt x="38" y="2"/>
                        <a:pt x="38" y="3"/>
                      </a:cubicBezTo>
                      <a:cubicBezTo>
                        <a:pt x="38" y="3"/>
                        <a:pt x="38" y="3"/>
                        <a:pt x="38" y="3"/>
                      </a:cubicBezTo>
                      <a:cubicBezTo>
                        <a:pt x="38" y="3"/>
                        <a:pt x="37" y="6"/>
                        <a:pt x="36" y="6"/>
                      </a:cubicBezTo>
                      <a:cubicBezTo>
                        <a:pt x="35" y="7"/>
                        <a:pt x="35" y="9"/>
                        <a:pt x="37" y="12"/>
                      </a:cubicBezTo>
                      <a:cubicBezTo>
                        <a:pt x="39" y="15"/>
                        <a:pt x="34" y="13"/>
                        <a:pt x="33" y="12"/>
                      </a:cubicBezTo>
                      <a:cubicBezTo>
                        <a:pt x="33" y="10"/>
                        <a:pt x="29" y="13"/>
                        <a:pt x="27" y="15"/>
                      </a:cubicBezTo>
                      <a:cubicBezTo>
                        <a:pt x="24" y="17"/>
                        <a:pt x="21" y="18"/>
                        <a:pt x="21" y="21"/>
                      </a:cubicBezTo>
                      <a:cubicBezTo>
                        <a:pt x="21" y="25"/>
                        <a:pt x="18" y="28"/>
                        <a:pt x="19" y="31"/>
                      </a:cubicBezTo>
                      <a:cubicBezTo>
                        <a:pt x="20" y="34"/>
                        <a:pt x="16" y="39"/>
                        <a:pt x="16" y="41"/>
                      </a:cubicBezTo>
                      <a:cubicBezTo>
                        <a:pt x="16" y="42"/>
                        <a:pt x="11" y="40"/>
                        <a:pt x="10" y="40"/>
                      </a:cubicBezTo>
                      <a:cubicBezTo>
                        <a:pt x="9" y="40"/>
                        <a:pt x="9" y="46"/>
                        <a:pt x="8" y="48"/>
                      </a:cubicBezTo>
                      <a:cubicBezTo>
                        <a:pt x="7" y="50"/>
                        <a:pt x="8" y="57"/>
                        <a:pt x="6" y="57"/>
                      </a:cubicBezTo>
                      <a:cubicBezTo>
                        <a:pt x="4" y="57"/>
                        <a:pt x="2" y="63"/>
                        <a:pt x="2" y="63"/>
                      </a:cubicBezTo>
                      <a:cubicBezTo>
                        <a:pt x="2" y="63"/>
                        <a:pt x="1" y="64"/>
                        <a:pt x="0" y="65"/>
                      </a:cubicBezTo>
                      <a:cubicBezTo>
                        <a:pt x="1" y="69"/>
                        <a:pt x="4" y="72"/>
                        <a:pt x="7" y="73"/>
                      </a:cubicBezTo>
                      <a:cubicBezTo>
                        <a:pt x="12" y="75"/>
                        <a:pt x="15" y="85"/>
                        <a:pt x="16" y="90"/>
                      </a:cubicBezTo>
                      <a:cubicBezTo>
                        <a:pt x="18" y="95"/>
                        <a:pt x="17" y="100"/>
                        <a:pt x="15" y="103"/>
                      </a:cubicBezTo>
                      <a:cubicBezTo>
                        <a:pt x="13" y="105"/>
                        <a:pt x="16" y="106"/>
                        <a:pt x="18" y="107"/>
                      </a:cubicBezTo>
                      <a:cubicBezTo>
                        <a:pt x="21" y="108"/>
                        <a:pt x="24" y="109"/>
                        <a:pt x="26" y="106"/>
                      </a:cubicBezTo>
                      <a:close/>
                      <a:moveTo>
                        <a:pt x="120" y="120"/>
                      </a:moveTo>
                      <a:cubicBezTo>
                        <a:pt x="120" y="121"/>
                        <a:pt x="120" y="122"/>
                        <a:pt x="120" y="123"/>
                      </a:cubicBezTo>
                      <a:cubicBezTo>
                        <a:pt x="120" y="122"/>
                        <a:pt x="120" y="121"/>
                        <a:pt x="120" y="120"/>
                      </a:cubicBezTo>
                      <a:cubicBezTo>
                        <a:pt x="120" y="120"/>
                        <a:pt x="120" y="120"/>
                        <a:pt x="120" y="120"/>
                      </a:cubicBezTo>
                      <a:close/>
                      <a:moveTo>
                        <a:pt x="105" y="123"/>
                      </a:moveTo>
                      <a:cubicBezTo>
                        <a:pt x="105" y="123"/>
                        <a:pt x="104" y="123"/>
                        <a:pt x="103" y="122"/>
                      </a:cubicBezTo>
                      <a:cubicBezTo>
                        <a:pt x="104" y="123"/>
                        <a:pt x="105" y="123"/>
                        <a:pt x="105" y="12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7" name="Freeform 160">
                  <a:extLst>
                    <a:ext uri="{FF2B5EF4-FFF2-40B4-BE49-F238E27FC236}">
                      <a16:creationId xmlns:a16="http://schemas.microsoft.com/office/drawing/2014/main" id="{CE7FE51B-DD48-49DE-A43A-E546901B6F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256293" y="-9058001"/>
                  <a:ext cx="123242" cy="168647"/>
                </a:xfrm>
                <a:custGeom>
                  <a:avLst/>
                  <a:gdLst>
                    <a:gd name="T0" fmla="*/ 15 w 20"/>
                    <a:gd name="T1" fmla="*/ 11 h 27"/>
                    <a:gd name="T2" fmla="*/ 18 w 20"/>
                    <a:gd name="T3" fmla="*/ 3 h 27"/>
                    <a:gd name="T4" fmla="*/ 11 w 20"/>
                    <a:gd name="T5" fmla="*/ 11 h 27"/>
                    <a:gd name="T6" fmla="*/ 1 w 20"/>
                    <a:gd name="T7" fmla="*/ 25 h 27"/>
                    <a:gd name="T8" fmla="*/ 15 w 20"/>
                    <a:gd name="T9" fmla="*/ 11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27">
                      <a:moveTo>
                        <a:pt x="15" y="11"/>
                      </a:moveTo>
                      <a:cubicBezTo>
                        <a:pt x="20" y="8"/>
                        <a:pt x="19" y="5"/>
                        <a:pt x="18" y="3"/>
                      </a:cubicBezTo>
                      <a:cubicBezTo>
                        <a:pt x="16" y="0"/>
                        <a:pt x="15" y="7"/>
                        <a:pt x="11" y="11"/>
                      </a:cubicBezTo>
                      <a:cubicBezTo>
                        <a:pt x="8" y="16"/>
                        <a:pt x="0" y="23"/>
                        <a:pt x="1" y="25"/>
                      </a:cubicBezTo>
                      <a:cubicBezTo>
                        <a:pt x="2" y="27"/>
                        <a:pt x="11" y="14"/>
                        <a:pt x="15" y="1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8" name="Freeform 161">
                  <a:extLst>
                    <a:ext uri="{FF2B5EF4-FFF2-40B4-BE49-F238E27FC236}">
                      <a16:creationId xmlns:a16="http://schemas.microsoft.com/office/drawing/2014/main" id="{7B93EB1C-DE81-4DA2-A7E4-37D7E2A7B7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100619" y="-9174757"/>
                  <a:ext cx="87568" cy="81081"/>
                </a:xfrm>
                <a:custGeom>
                  <a:avLst/>
                  <a:gdLst>
                    <a:gd name="T0" fmla="*/ 9 w 14"/>
                    <a:gd name="T1" fmla="*/ 11 h 13"/>
                    <a:gd name="T2" fmla="*/ 1 w 14"/>
                    <a:gd name="T3" fmla="*/ 3 h 13"/>
                    <a:gd name="T4" fmla="*/ 9 w 14"/>
                    <a:gd name="T5" fmla="*/ 1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" h="13">
                      <a:moveTo>
                        <a:pt x="9" y="11"/>
                      </a:moveTo>
                      <a:cubicBezTo>
                        <a:pt x="14" y="10"/>
                        <a:pt x="0" y="0"/>
                        <a:pt x="1" y="3"/>
                      </a:cubicBezTo>
                      <a:cubicBezTo>
                        <a:pt x="2" y="6"/>
                        <a:pt x="3" y="13"/>
                        <a:pt x="9" y="1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79" name="Freeform 162">
                  <a:extLst>
                    <a:ext uri="{FF2B5EF4-FFF2-40B4-BE49-F238E27FC236}">
                      <a16:creationId xmlns:a16="http://schemas.microsoft.com/office/drawing/2014/main" id="{059E8C5F-EE29-44F0-A300-75CD658C34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928730" y="-8996379"/>
                  <a:ext cx="51891" cy="48649"/>
                </a:xfrm>
                <a:custGeom>
                  <a:avLst/>
                  <a:gdLst>
                    <a:gd name="T0" fmla="*/ 6 w 8"/>
                    <a:gd name="T1" fmla="*/ 2 h 8"/>
                    <a:gd name="T2" fmla="*/ 1 w 8"/>
                    <a:gd name="T3" fmla="*/ 6 h 8"/>
                    <a:gd name="T4" fmla="*/ 6 w 8"/>
                    <a:gd name="T5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8">
                      <a:moveTo>
                        <a:pt x="6" y="2"/>
                      </a:moveTo>
                      <a:cubicBezTo>
                        <a:pt x="5" y="0"/>
                        <a:pt x="0" y="4"/>
                        <a:pt x="1" y="6"/>
                      </a:cubicBezTo>
                      <a:cubicBezTo>
                        <a:pt x="1" y="8"/>
                        <a:pt x="8" y="5"/>
                        <a:pt x="6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0" name="Freeform 163">
                  <a:extLst>
                    <a:ext uri="{FF2B5EF4-FFF2-40B4-BE49-F238E27FC236}">
                      <a16:creationId xmlns:a16="http://schemas.microsoft.com/office/drawing/2014/main" id="{270AF905-6683-4F3D-867F-EF441773AC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126564" y="-9427727"/>
                  <a:ext cx="304862" cy="450807"/>
                </a:xfrm>
                <a:custGeom>
                  <a:avLst/>
                  <a:gdLst>
                    <a:gd name="T0" fmla="*/ 3 w 49"/>
                    <a:gd name="T1" fmla="*/ 30 h 73"/>
                    <a:gd name="T2" fmla="*/ 5 w 49"/>
                    <a:gd name="T3" fmla="*/ 37 h 73"/>
                    <a:gd name="T4" fmla="*/ 13 w 49"/>
                    <a:gd name="T5" fmla="*/ 39 h 73"/>
                    <a:gd name="T6" fmla="*/ 20 w 49"/>
                    <a:gd name="T7" fmla="*/ 42 h 73"/>
                    <a:gd name="T8" fmla="*/ 30 w 49"/>
                    <a:gd name="T9" fmla="*/ 49 h 73"/>
                    <a:gd name="T10" fmla="*/ 32 w 49"/>
                    <a:gd name="T11" fmla="*/ 56 h 73"/>
                    <a:gd name="T12" fmla="*/ 36 w 49"/>
                    <a:gd name="T13" fmla="*/ 59 h 73"/>
                    <a:gd name="T14" fmla="*/ 40 w 49"/>
                    <a:gd name="T15" fmla="*/ 69 h 73"/>
                    <a:gd name="T16" fmla="*/ 42 w 49"/>
                    <a:gd name="T17" fmla="*/ 67 h 73"/>
                    <a:gd name="T18" fmla="*/ 46 w 49"/>
                    <a:gd name="T19" fmla="*/ 63 h 73"/>
                    <a:gd name="T20" fmla="*/ 44 w 49"/>
                    <a:gd name="T21" fmla="*/ 53 h 73"/>
                    <a:gd name="T22" fmla="*/ 35 w 49"/>
                    <a:gd name="T23" fmla="*/ 46 h 73"/>
                    <a:gd name="T24" fmla="*/ 29 w 49"/>
                    <a:gd name="T25" fmla="*/ 39 h 73"/>
                    <a:gd name="T26" fmla="*/ 18 w 49"/>
                    <a:gd name="T27" fmla="*/ 37 h 73"/>
                    <a:gd name="T28" fmla="*/ 14 w 49"/>
                    <a:gd name="T29" fmla="*/ 30 h 73"/>
                    <a:gd name="T30" fmla="*/ 19 w 49"/>
                    <a:gd name="T31" fmla="*/ 19 h 73"/>
                    <a:gd name="T32" fmla="*/ 19 w 49"/>
                    <a:gd name="T33" fmla="*/ 5 h 73"/>
                    <a:gd name="T34" fmla="*/ 18 w 49"/>
                    <a:gd name="T35" fmla="*/ 3 h 73"/>
                    <a:gd name="T36" fmla="*/ 6 w 49"/>
                    <a:gd name="T37" fmla="*/ 2 h 73"/>
                    <a:gd name="T38" fmla="*/ 4 w 49"/>
                    <a:gd name="T39" fmla="*/ 20 h 73"/>
                    <a:gd name="T40" fmla="*/ 0 w 49"/>
                    <a:gd name="T41" fmla="*/ 20 h 73"/>
                    <a:gd name="T42" fmla="*/ 3 w 49"/>
                    <a:gd name="T43" fmla="*/ 30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9" h="73">
                      <a:moveTo>
                        <a:pt x="3" y="30"/>
                      </a:moveTo>
                      <a:cubicBezTo>
                        <a:pt x="4" y="30"/>
                        <a:pt x="6" y="33"/>
                        <a:pt x="5" y="37"/>
                      </a:cubicBezTo>
                      <a:cubicBezTo>
                        <a:pt x="4" y="40"/>
                        <a:pt x="8" y="41"/>
                        <a:pt x="13" y="39"/>
                      </a:cubicBezTo>
                      <a:cubicBezTo>
                        <a:pt x="17" y="38"/>
                        <a:pt x="16" y="42"/>
                        <a:pt x="20" y="42"/>
                      </a:cubicBezTo>
                      <a:cubicBezTo>
                        <a:pt x="25" y="41"/>
                        <a:pt x="31" y="47"/>
                        <a:pt x="30" y="49"/>
                      </a:cubicBezTo>
                      <a:cubicBezTo>
                        <a:pt x="29" y="51"/>
                        <a:pt x="30" y="58"/>
                        <a:pt x="32" y="56"/>
                      </a:cubicBezTo>
                      <a:cubicBezTo>
                        <a:pt x="34" y="54"/>
                        <a:pt x="38" y="56"/>
                        <a:pt x="36" y="59"/>
                      </a:cubicBezTo>
                      <a:cubicBezTo>
                        <a:pt x="33" y="63"/>
                        <a:pt x="39" y="66"/>
                        <a:pt x="40" y="69"/>
                      </a:cubicBezTo>
                      <a:cubicBezTo>
                        <a:pt x="40" y="73"/>
                        <a:pt x="43" y="70"/>
                        <a:pt x="42" y="67"/>
                      </a:cubicBezTo>
                      <a:cubicBezTo>
                        <a:pt x="42" y="64"/>
                        <a:pt x="43" y="65"/>
                        <a:pt x="46" y="63"/>
                      </a:cubicBezTo>
                      <a:cubicBezTo>
                        <a:pt x="49" y="60"/>
                        <a:pt x="46" y="57"/>
                        <a:pt x="44" y="53"/>
                      </a:cubicBezTo>
                      <a:cubicBezTo>
                        <a:pt x="42" y="49"/>
                        <a:pt x="35" y="50"/>
                        <a:pt x="35" y="46"/>
                      </a:cubicBezTo>
                      <a:cubicBezTo>
                        <a:pt x="35" y="43"/>
                        <a:pt x="29" y="41"/>
                        <a:pt x="29" y="39"/>
                      </a:cubicBezTo>
                      <a:cubicBezTo>
                        <a:pt x="29" y="37"/>
                        <a:pt x="22" y="35"/>
                        <a:pt x="18" y="37"/>
                      </a:cubicBezTo>
                      <a:cubicBezTo>
                        <a:pt x="14" y="40"/>
                        <a:pt x="17" y="33"/>
                        <a:pt x="14" y="30"/>
                      </a:cubicBezTo>
                      <a:cubicBezTo>
                        <a:pt x="11" y="27"/>
                        <a:pt x="16" y="22"/>
                        <a:pt x="19" y="19"/>
                      </a:cubicBezTo>
                      <a:cubicBezTo>
                        <a:pt x="23" y="15"/>
                        <a:pt x="18" y="8"/>
                        <a:pt x="19" y="5"/>
                      </a:cubicBezTo>
                      <a:cubicBezTo>
                        <a:pt x="19" y="3"/>
                        <a:pt x="19" y="2"/>
                        <a:pt x="18" y="3"/>
                      </a:cubicBezTo>
                      <a:cubicBezTo>
                        <a:pt x="16" y="4"/>
                        <a:pt x="9" y="0"/>
                        <a:pt x="6" y="2"/>
                      </a:cubicBezTo>
                      <a:cubicBezTo>
                        <a:pt x="3" y="4"/>
                        <a:pt x="6" y="19"/>
                        <a:pt x="4" y="20"/>
                      </a:cubicBezTo>
                      <a:cubicBezTo>
                        <a:pt x="3" y="22"/>
                        <a:pt x="1" y="18"/>
                        <a:pt x="0" y="20"/>
                      </a:cubicBezTo>
                      <a:cubicBezTo>
                        <a:pt x="0" y="22"/>
                        <a:pt x="1" y="30"/>
                        <a:pt x="3" y="3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1" name="Freeform 164">
                  <a:extLst>
                    <a:ext uri="{FF2B5EF4-FFF2-40B4-BE49-F238E27FC236}">
                      <a16:creationId xmlns:a16="http://schemas.microsoft.com/office/drawing/2014/main" id="{156635D2-1640-4A01-B137-62FE0264F5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032512" y="-8989893"/>
                  <a:ext cx="259457" cy="230269"/>
                </a:xfrm>
                <a:custGeom>
                  <a:avLst/>
                  <a:gdLst>
                    <a:gd name="T0" fmla="*/ 39 w 42"/>
                    <a:gd name="T1" fmla="*/ 24 h 37"/>
                    <a:gd name="T2" fmla="*/ 37 w 42"/>
                    <a:gd name="T3" fmla="*/ 6 h 37"/>
                    <a:gd name="T4" fmla="*/ 31 w 42"/>
                    <a:gd name="T5" fmla="*/ 5 h 37"/>
                    <a:gd name="T6" fmla="*/ 27 w 42"/>
                    <a:gd name="T7" fmla="*/ 10 h 37"/>
                    <a:gd name="T8" fmla="*/ 22 w 42"/>
                    <a:gd name="T9" fmla="*/ 13 h 37"/>
                    <a:gd name="T10" fmla="*/ 15 w 42"/>
                    <a:gd name="T11" fmla="*/ 12 h 37"/>
                    <a:gd name="T12" fmla="*/ 6 w 42"/>
                    <a:gd name="T13" fmla="*/ 17 h 37"/>
                    <a:gd name="T14" fmla="*/ 3 w 42"/>
                    <a:gd name="T15" fmla="*/ 25 h 37"/>
                    <a:gd name="T16" fmla="*/ 10 w 42"/>
                    <a:gd name="T17" fmla="*/ 22 h 37"/>
                    <a:gd name="T18" fmla="*/ 16 w 42"/>
                    <a:gd name="T19" fmla="*/ 19 h 37"/>
                    <a:gd name="T20" fmla="*/ 22 w 42"/>
                    <a:gd name="T21" fmla="*/ 33 h 37"/>
                    <a:gd name="T22" fmla="*/ 31 w 42"/>
                    <a:gd name="T23" fmla="*/ 37 h 37"/>
                    <a:gd name="T24" fmla="*/ 30 w 42"/>
                    <a:gd name="T25" fmla="*/ 27 h 37"/>
                    <a:gd name="T26" fmla="*/ 39 w 42"/>
                    <a:gd name="T27" fmla="*/ 24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2" h="37">
                      <a:moveTo>
                        <a:pt x="39" y="24"/>
                      </a:moveTo>
                      <a:cubicBezTo>
                        <a:pt x="42" y="20"/>
                        <a:pt x="37" y="12"/>
                        <a:pt x="37" y="6"/>
                      </a:cubicBezTo>
                      <a:cubicBezTo>
                        <a:pt x="37" y="0"/>
                        <a:pt x="29" y="2"/>
                        <a:pt x="31" y="5"/>
                      </a:cubicBezTo>
                      <a:cubicBezTo>
                        <a:pt x="33" y="9"/>
                        <a:pt x="27" y="6"/>
                        <a:pt x="27" y="10"/>
                      </a:cubicBezTo>
                      <a:cubicBezTo>
                        <a:pt x="26" y="13"/>
                        <a:pt x="22" y="10"/>
                        <a:pt x="22" y="13"/>
                      </a:cubicBezTo>
                      <a:cubicBezTo>
                        <a:pt x="22" y="16"/>
                        <a:pt x="17" y="13"/>
                        <a:pt x="15" y="12"/>
                      </a:cubicBezTo>
                      <a:cubicBezTo>
                        <a:pt x="13" y="10"/>
                        <a:pt x="9" y="16"/>
                        <a:pt x="6" y="17"/>
                      </a:cubicBezTo>
                      <a:cubicBezTo>
                        <a:pt x="2" y="18"/>
                        <a:pt x="0" y="26"/>
                        <a:pt x="3" y="25"/>
                      </a:cubicBezTo>
                      <a:cubicBezTo>
                        <a:pt x="5" y="25"/>
                        <a:pt x="7" y="21"/>
                        <a:pt x="10" y="22"/>
                      </a:cubicBezTo>
                      <a:cubicBezTo>
                        <a:pt x="13" y="22"/>
                        <a:pt x="12" y="19"/>
                        <a:pt x="16" y="19"/>
                      </a:cubicBezTo>
                      <a:cubicBezTo>
                        <a:pt x="20" y="20"/>
                        <a:pt x="17" y="32"/>
                        <a:pt x="22" y="33"/>
                      </a:cubicBezTo>
                      <a:cubicBezTo>
                        <a:pt x="28" y="34"/>
                        <a:pt x="28" y="37"/>
                        <a:pt x="31" y="37"/>
                      </a:cubicBezTo>
                      <a:cubicBezTo>
                        <a:pt x="33" y="37"/>
                        <a:pt x="30" y="30"/>
                        <a:pt x="30" y="27"/>
                      </a:cubicBezTo>
                      <a:cubicBezTo>
                        <a:pt x="31" y="25"/>
                        <a:pt x="36" y="27"/>
                        <a:pt x="39" y="2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2" name="Freeform 165">
                  <a:extLst>
                    <a:ext uri="{FF2B5EF4-FFF2-40B4-BE49-F238E27FC236}">
                      <a16:creationId xmlns:a16="http://schemas.microsoft.com/office/drawing/2014/main" id="{4C3BA750-B53C-4BAF-BB8E-D70618F87A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038999" y="-9087189"/>
                  <a:ext cx="123242" cy="152432"/>
                </a:xfrm>
                <a:custGeom>
                  <a:avLst/>
                  <a:gdLst>
                    <a:gd name="T0" fmla="*/ 10 w 20"/>
                    <a:gd name="T1" fmla="*/ 25 h 25"/>
                    <a:gd name="T2" fmla="*/ 19 w 20"/>
                    <a:gd name="T3" fmla="*/ 12 h 25"/>
                    <a:gd name="T4" fmla="*/ 16 w 20"/>
                    <a:gd name="T5" fmla="*/ 10 h 25"/>
                    <a:gd name="T6" fmla="*/ 4 w 20"/>
                    <a:gd name="T7" fmla="*/ 1 h 25"/>
                    <a:gd name="T8" fmla="*/ 4 w 20"/>
                    <a:gd name="T9" fmla="*/ 12 h 25"/>
                    <a:gd name="T10" fmla="*/ 9 w 20"/>
                    <a:gd name="T11" fmla="*/ 9 h 25"/>
                    <a:gd name="T12" fmla="*/ 9 w 20"/>
                    <a:gd name="T13" fmla="*/ 16 h 25"/>
                    <a:gd name="T14" fmla="*/ 10 w 20"/>
                    <a:gd name="T15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25">
                      <a:moveTo>
                        <a:pt x="10" y="25"/>
                      </a:moveTo>
                      <a:cubicBezTo>
                        <a:pt x="14" y="25"/>
                        <a:pt x="20" y="14"/>
                        <a:pt x="19" y="12"/>
                      </a:cubicBezTo>
                      <a:cubicBezTo>
                        <a:pt x="18" y="10"/>
                        <a:pt x="15" y="13"/>
                        <a:pt x="16" y="10"/>
                      </a:cubicBezTo>
                      <a:cubicBezTo>
                        <a:pt x="17" y="8"/>
                        <a:pt x="7" y="0"/>
                        <a:pt x="4" y="1"/>
                      </a:cubicBezTo>
                      <a:cubicBezTo>
                        <a:pt x="0" y="2"/>
                        <a:pt x="1" y="12"/>
                        <a:pt x="4" y="12"/>
                      </a:cubicBezTo>
                      <a:cubicBezTo>
                        <a:pt x="5" y="12"/>
                        <a:pt x="8" y="12"/>
                        <a:pt x="9" y="9"/>
                      </a:cubicBezTo>
                      <a:cubicBezTo>
                        <a:pt x="9" y="7"/>
                        <a:pt x="11" y="14"/>
                        <a:pt x="9" y="16"/>
                      </a:cubicBezTo>
                      <a:cubicBezTo>
                        <a:pt x="7" y="18"/>
                        <a:pt x="7" y="24"/>
                        <a:pt x="10" y="2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3" name="Freeform 166">
                  <a:extLst>
                    <a:ext uri="{FF2B5EF4-FFF2-40B4-BE49-F238E27FC236}">
                      <a16:creationId xmlns:a16="http://schemas.microsoft.com/office/drawing/2014/main" id="{B3B07248-2B81-416E-995C-1EC29E1181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742774" y="-8354223"/>
                  <a:ext cx="35676" cy="45405"/>
                </a:xfrm>
                <a:custGeom>
                  <a:avLst/>
                  <a:gdLst>
                    <a:gd name="T0" fmla="*/ 2 w 6"/>
                    <a:gd name="T1" fmla="*/ 4 h 7"/>
                    <a:gd name="T2" fmla="*/ 6 w 6"/>
                    <a:gd name="T3" fmla="*/ 2 h 7"/>
                    <a:gd name="T4" fmla="*/ 2 w 6"/>
                    <a:gd name="T5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7">
                      <a:moveTo>
                        <a:pt x="2" y="4"/>
                      </a:moveTo>
                      <a:cubicBezTo>
                        <a:pt x="4" y="7"/>
                        <a:pt x="6" y="4"/>
                        <a:pt x="6" y="2"/>
                      </a:cubicBezTo>
                      <a:cubicBezTo>
                        <a:pt x="6" y="0"/>
                        <a:pt x="0" y="1"/>
                        <a:pt x="2" y="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4" name="Freeform 167">
                  <a:extLst>
                    <a:ext uri="{FF2B5EF4-FFF2-40B4-BE49-F238E27FC236}">
                      <a16:creationId xmlns:a16="http://schemas.microsoft.com/office/drawing/2014/main" id="{58C65EDE-37B0-4EDA-9E4A-C045CC0E40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187095" y="-8451520"/>
                  <a:ext cx="35676" cy="61622"/>
                </a:xfrm>
                <a:custGeom>
                  <a:avLst/>
                  <a:gdLst>
                    <a:gd name="T0" fmla="*/ 0 w 6"/>
                    <a:gd name="T1" fmla="*/ 4 h 10"/>
                    <a:gd name="T2" fmla="*/ 4 w 6"/>
                    <a:gd name="T3" fmla="*/ 8 h 10"/>
                    <a:gd name="T4" fmla="*/ 0 w 6"/>
                    <a:gd name="T5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10">
                      <a:moveTo>
                        <a:pt x="0" y="4"/>
                      </a:moveTo>
                      <a:cubicBezTo>
                        <a:pt x="0" y="5"/>
                        <a:pt x="2" y="10"/>
                        <a:pt x="4" y="8"/>
                      </a:cubicBezTo>
                      <a:cubicBezTo>
                        <a:pt x="6" y="7"/>
                        <a:pt x="2" y="0"/>
                        <a:pt x="0" y="4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5" name="Freeform 168">
                  <a:extLst>
                    <a:ext uri="{FF2B5EF4-FFF2-40B4-BE49-F238E27FC236}">
                      <a16:creationId xmlns:a16="http://schemas.microsoft.com/office/drawing/2014/main" id="{0B53372C-0262-4884-A9A3-1CB012088B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261688" y="-8568275"/>
                  <a:ext cx="48649" cy="71351"/>
                </a:xfrm>
                <a:custGeom>
                  <a:avLst/>
                  <a:gdLst>
                    <a:gd name="T0" fmla="*/ 1 w 8"/>
                    <a:gd name="T1" fmla="*/ 2 h 12"/>
                    <a:gd name="T2" fmla="*/ 6 w 8"/>
                    <a:gd name="T3" fmla="*/ 9 h 12"/>
                    <a:gd name="T4" fmla="*/ 1 w 8"/>
                    <a:gd name="T5" fmla="*/ 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12">
                      <a:moveTo>
                        <a:pt x="1" y="2"/>
                      </a:moveTo>
                      <a:cubicBezTo>
                        <a:pt x="0" y="5"/>
                        <a:pt x="3" y="12"/>
                        <a:pt x="6" y="9"/>
                      </a:cubicBezTo>
                      <a:cubicBezTo>
                        <a:pt x="8" y="6"/>
                        <a:pt x="1" y="0"/>
                        <a:pt x="1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6" name="Freeform 169">
                  <a:extLst>
                    <a:ext uri="{FF2B5EF4-FFF2-40B4-BE49-F238E27FC236}">
                      <a16:creationId xmlns:a16="http://schemas.microsoft.com/office/drawing/2014/main" id="{E6428E70-B94E-40E9-9495-7E47C98460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204402" y="-8581248"/>
                  <a:ext cx="350267" cy="395672"/>
                </a:xfrm>
                <a:custGeom>
                  <a:avLst/>
                  <a:gdLst>
                    <a:gd name="T0" fmla="*/ 41 w 57"/>
                    <a:gd name="T1" fmla="*/ 13 h 64"/>
                    <a:gd name="T2" fmla="*/ 55 w 57"/>
                    <a:gd name="T3" fmla="*/ 4 h 64"/>
                    <a:gd name="T4" fmla="*/ 46 w 57"/>
                    <a:gd name="T5" fmla="*/ 8 h 64"/>
                    <a:gd name="T6" fmla="*/ 26 w 57"/>
                    <a:gd name="T7" fmla="*/ 5 h 64"/>
                    <a:gd name="T8" fmla="*/ 16 w 57"/>
                    <a:gd name="T9" fmla="*/ 9 h 64"/>
                    <a:gd name="T10" fmla="*/ 11 w 57"/>
                    <a:gd name="T11" fmla="*/ 21 h 64"/>
                    <a:gd name="T12" fmla="*/ 4 w 57"/>
                    <a:gd name="T13" fmla="*/ 37 h 64"/>
                    <a:gd name="T14" fmla="*/ 9 w 57"/>
                    <a:gd name="T15" fmla="*/ 45 h 64"/>
                    <a:gd name="T16" fmla="*/ 12 w 57"/>
                    <a:gd name="T17" fmla="*/ 53 h 64"/>
                    <a:gd name="T18" fmla="*/ 12 w 57"/>
                    <a:gd name="T19" fmla="*/ 63 h 64"/>
                    <a:gd name="T20" fmla="*/ 17 w 57"/>
                    <a:gd name="T21" fmla="*/ 55 h 64"/>
                    <a:gd name="T22" fmla="*/ 16 w 57"/>
                    <a:gd name="T23" fmla="*/ 40 h 64"/>
                    <a:gd name="T24" fmla="*/ 21 w 57"/>
                    <a:gd name="T25" fmla="*/ 44 h 64"/>
                    <a:gd name="T26" fmla="*/ 25 w 57"/>
                    <a:gd name="T27" fmla="*/ 52 h 64"/>
                    <a:gd name="T28" fmla="*/ 32 w 57"/>
                    <a:gd name="T29" fmla="*/ 53 h 64"/>
                    <a:gd name="T30" fmla="*/ 33 w 57"/>
                    <a:gd name="T31" fmla="*/ 46 h 64"/>
                    <a:gd name="T32" fmla="*/ 31 w 57"/>
                    <a:gd name="T33" fmla="*/ 37 h 64"/>
                    <a:gd name="T34" fmla="*/ 28 w 57"/>
                    <a:gd name="T35" fmla="*/ 30 h 64"/>
                    <a:gd name="T36" fmla="*/ 41 w 57"/>
                    <a:gd name="T37" fmla="*/ 22 h 64"/>
                    <a:gd name="T38" fmla="*/ 24 w 57"/>
                    <a:gd name="T39" fmla="*/ 26 h 64"/>
                    <a:gd name="T40" fmla="*/ 14 w 57"/>
                    <a:gd name="T41" fmla="*/ 19 h 64"/>
                    <a:gd name="T42" fmla="*/ 41 w 57"/>
                    <a:gd name="T43" fmla="*/ 1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57" h="64">
                      <a:moveTo>
                        <a:pt x="41" y="13"/>
                      </a:moveTo>
                      <a:cubicBezTo>
                        <a:pt x="46" y="15"/>
                        <a:pt x="53" y="8"/>
                        <a:pt x="55" y="4"/>
                      </a:cubicBezTo>
                      <a:cubicBezTo>
                        <a:pt x="57" y="0"/>
                        <a:pt x="50" y="5"/>
                        <a:pt x="46" y="8"/>
                      </a:cubicBezTo>
                      <a:cubicBezTo>
                        <a:pt x="42" y="10"/>
                        <a:pt x="31" y="7"/>
                        <a:pt x="26" y="5"/>
                      </a:cubicBezTo>
                      <a:cubicBezTo>
                        <a:pt x="21" y="4"/>
                        <a:pt x="21" y="9"/>
                        <a:pt x="16" y="9"/>
                      </a:cubicBezTo>
                      <a:cubicBezTo>
                        <a:pt x="12" y="10"/>
                        <a:pt x="13" y="20"/>
                        <a:pt x="11" y="21"/>
                      </a:cubicBezTo>
                      <a:cubicBezTo>
                        <a:pt x="8" y="23"/>
                        <a:pt x="8" y="30"/>
                        <a:pt x="4" y="37"/>
                      </a:cubicBezTo>
                      <a:cubicBezTo>
                        <a:pt x="0" y="44"/>
                        <a:pt x="6" y="45"/>
                        <a:pt x="9" y="45"/>
                      </a:cubicBezTo>
                      <a:cubicBezTo>
                        <a:pt x="13" y="45"/>
                        <a:pt x="12" y="50"/>
                        <a:pt x="12" y="53"/>
                      </a:cubicBezTo>
                      <a:cubicBezTo>
                        <a:pt x="11" y="57"/>
                        <a:pt x="9" y="64"/>
                        <a:pt x="12" y="63"/>
                      </a:cubicBezTo>
                      <a:cubicBezTo>
                        <a:pt x="16" y="61"/>
                        <a:pt x="19" y="57"/>
                        <a:pt x="17" y="55"/>
                      </a:cubicBezTo>
                      <a:cubicBezTo>
                        <a:pt x="14" y="53"/>
                        <a:pt x="15" y="43"/>
                        <a:pt x="16" y="40"/>
                      </a:cubicBezTo>
                      <a:cubicBezTo>
                        <a:pt x="17" y="38"/>
                        <a:pt x="23" y="39"/>
                        <a:pt x="21" y="44"/>
                      </a:cubicBezTo>
                      <a:cubicBezTo>
                        <a:pt x="19" y="48"/>
                        <a:pt x="25" y="47"/>
                        <a:pt x="25" y="52"/>
                      </a:cubicBezTo>
                      <a:cubicBezTo>
                        <a:pt x="25" y="56"/>
                        <a:pt x="28" y="54"/>
                        <a:pt x="32" y="53"/>
                      </a:cubicBezTo>
                      <a:cubicBezTo>
                        <a:pt x="36" y="51"/>
                        <a:pt x="35" y="49"/>
                        <a:pt x="33" y="46"/>
                      </a:cubicBezTo>
                      <a:cubicBezTo>
                        <a:pt x="30" y="44"/>
                        <a:pt x="35" y="39"/>
                        <a:pt x="31" y="37"/>
                      </a:cubicBezTo>
                      <a:cubicBezTo>
                        <a:pt x="27" y="35"/>
                        <a:pt x="25" y="31"/>
                        <a:pt x="28" y="30"/>
                      </a:cubicBezTo>
                      <a:cubicBezTo>
                        <a:pt x="32" y="30"/>
                        <a:pt x="42" y="24"/>
                        <a:pt x="41" y="22"/>
                      </a:cubicBezTo>
                      <a:cubicBezTo>
                        <a:pt x="39" y="19"/>
                        <a:pt x="25" y="22"/>
                        <a:pt x="24" y="26"/>
                      </a:cubicBezTo>
                      <a:cubicBezTo>
                        <a:pt x="23" y="31"/>
                        <a:pt x="13" y="26"/>
                        <a:pt x="14" y="19"/>
                      </a:cubicBezTo>
                      <a:cubicBezTo>
                        <a:pt x="15" y="11"/>
                        <a:pt x="35" y="10"/>
                        <a:pt x="41" y="1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7" name="Freeform 170">
                  <a:extLst>
                    <a:ext uri="{FF2B5EF4-FFF2-40B4-BE49-F238E27FC236}">
                      <a16:creationId xmlns:a16="http://schemas.microsoft.com/office/drawing/2014/main" id="{735ACFE4-FF33-4B88-87D4-0ABE967E34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766569" y="-8600707"/>
                  <a:ext cx="97296" cy="142701"/>
                </a:xfrm>
                <a:custGeom>
                  <a:avLst/>
                  <a:gdLst>
                    <a:gd name="T0" fmla="*/ 11 w 16"/>
                    <a:gd name="T1" fmla="*/ 16 h 23"/>
                    <a:gd name="T2" fmla="*/ 14 w 16"/>
                    <a:gd name="T3" fmla="*/ 10 h 23"/>
                    <a:gd name="T4" fmla="*/ 9 w 16"/>
                    <a:gd name="T5" fmla="*/ 8 h 23"/>
                    <a:gd name="T6" fmla="*/ 4 w 16"/>
                    <a:gd name="T7" fmla="*/ 5 h 23"/>
                    <a:gd name="T8" fmla="*/ 8 w 16"/>
                    <a:gd name="T9" fmla="*/ 22 h 23"/>
                    <a:gd name="T10" fmla="*/ 11 w 16"/>
                    <a:gd name="T11" fmla="*/ 16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23">
                      <a:moveTo>
                        <a:pt x="11" y="16"/>
                      </a:moveTo>
                      <a:cubicBezTo>
                        <a:pt x="16" y="17"/>
                        <a:pt x="14" y="13"/>
                        <a:pt x="14" y="10"/>
                      </a:cubicBezTo>
                      <a:cubicBezTo>
                        <a:pt x="14" y="7"/>
                        <a:pt x="9" y="10"/>
                        <a:pt x="9" y="8"/>
                      </a:cubicBezTo>
                      <a:cubicBezTo>
                        <a:pt x="9" y="6"/>
                        <a:pt x="8" y="0"/>
                        <a:pt x="4" y="5"/>
                      </a:cubicBezTo>
                      <a:cubicBezTo>
                        <a:pt x="0" y="10"/>
                        <a:pt x="5" y="23"/>
                        <a:pt x="8" y="22"/>
                      </a:cubicBezTo>
                      <a:cubicBezTo>
                        <a:pt x="11" y="22"/>
                        <a:pt x="6" y="16"/>
                        <a:pt x="11" y="16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8" name="Freeform 171">
                  <a:extLst>
                    <a:ext uri="{FF2B5EF4-FFF2-40B4-BE49-F238E27FC236}">
                      <a16:creationId xmlns:a16="http://schemas.microsoft.com/office/drawing/2014/main" id="{2B66EB88-77CE-4E63-B3EE-FDE74DFB3C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957918" y="-8033147"/>
                  <a:ext cx="97296" cy="74595"/>
                </a:xfrm>
                <a:custGeom>
                  <a:avLst/>
                  <a:gdLst>
                    <a:gd name="T0" fmla="*/ 14 w 16"/>
                    <a:gd name="T1" fmla="*/ 0 h 12"/>
                    <a:gd name="T2" fmla="*/ 11 w 16"/>
                    <a:gd name="T3" fmla="*/ 1 h 12"/>
                    <a:gd name="T4" fmla="*/ 10 w 16"/>
                    <a:gd name="T5" fmla="*/ 3 h 12"/>
                    <a:gd name="T6" fmla="*/ 7 w 16"/>
                    <a:gd name="T7" fmla="*/ 2 h 12"/>
                    <a:gd name="T8" fmla="*/ 3 w 16"/>
                    <a:gd name="T9" fmla="*/ 11 h 12"/>
                    <a:gd name="T10" fmla="*/ 13 w 16"/>
                    <a:gd name="T11" fmla="*/ 5 h 12"/>
                    <a:gd name="T12" fmla="*/ 15 w 16"/>
                    <a:gd name="T13" fmla="*/ 4 h 12"/>
                    <a:gd name="T14" fmla="*/ 15 w 16"/>
                    <a:gd name="T15" fmla="*/ 3 h 12"/>
                    <a:gd name="T16" fmla="*/ 16 w 16"/>
                    <a:gd name="T17" fmla="*/ 2 h 12"/>
                    <a:gd name="T18" fmla="*/ 14 w 16"/>
                    <a:gd name="T1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6" h="12">
                      <a:moveTo>
                        <a:pt x="14" y="0"/>
                      </a:moveTo>
                      <a:cubicBezTo>
                        <a:pt x="13" y="0"/>
                        <a:pt x="12" y="1"/>
                        <a:pt x="11" y="1"/>
                      </a:cubicBezTo>
                      <a:cubicBezTo>
                        <a:pt x="11" y="2"/>
                        <a:pt x="10" y="3"/>
                        <a:pt x="10" y="3"/>
                      </a:cubicBezTo>
                      <a:cubicBezTo>
                        <a:pt x="9" y="4"/>
                        <a:pt x="8" y="3"/>
                        <a:pt x="7" y="2"/>
                      </a:cubicBezTo>
                      <a:cubicBezTo>
                        <a:pt x="3" y="4"/>
                        <a:pt x="0" y="9"/>
                        <a:pt x="3" y="11"/>
                      </a:cubicBezTo>
                      <a:cubicBezTo>
                        <a:pt x="6" y="12"/>
                        <a:pt x="11" y="8"/>
                        <a:pt x="13" y="5"/>
                      </a:cubicBezTo>
                      <a:cubicBezTo>
                        <a:pt x="14" y="5"/>
                        <a:pt x="14" y="4"/>
                        <a:pt x="15" y="4"/>
                      </a:cubicBezTo>
                      <a:cubicBezTo>
                        <a:pt x="15" y="3"/>
                        <a:pt x="15" y="3"/>
                        <a:pt x="15" y="3"/>
                      </a:cubicBezTo>
                      <a:cubicBezTo>
                        <a:pt x="16" y="3"/>
                        <a:pt x="16" y="3"/>
                        <a:pt x="16" y="2"/>
                      </a:cubicBezTo>
                      <a:cubicBezTo>
                        <a:pt x="15" y="1"/>
                        <a:pt x="14" y="0"/>
                        <a:pt x="14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89" name="Freeform 172">
                  <a:extLst>
                    <a:ext uri="{FF2B5EF4-FFF2-40B4-BE49-F238E27FC236}">
                      <a16:creationId xmlns:a16="http://schemas.microsoft.com/office/drawing/2014/main" id="{EA37AFCB-5F46-4572-AB31-90D20909DB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821703" y="-8347737"/>
                  <a:ext cx="74595" cy="68108"/>
                </a:xfrm>
                <a:custGeom>
                  <a:avLst/>
                  <a:gdLst>
                    <a:gd name="T0" fmla="*/ 1 w 12"/>
                    <a:gd name="T1" fmla="*/ 5 h 11"/>
                    <a:gd name="T2" fmla="*/ 10 w 12"/>
                    <a:gd name="T3" fmla="*/ 7 h 11"/>
                    <a:gd name="T4" fmla="*/ 1 w 12"/>
                    <a:gd name="T5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2" h="11">
                      <a:moveTo>
                        <a:pt x="1" y="5"/>
                      </a:moveTo>
                      <a:cubicBezTo>
                        <a:pt x="2" y="9"/>
                        <a:pt x="8" y="11"/>
                        <a:pt x="10" y="7"/>
                      </a:cubicBezTo>
                      <a:cubicBezTo>
                        <a:pt x="12" y="4"/>
                        <a:pt x="0" y="0"/>
                        <a:pt x="1" y="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0" name="Freeform 173">
                  <a:extLst>
                    <a:ext uri="{FF2B5EF4-FFF2-40B4-BE49-F238E27FC236}">
                      <a16:creationId xmlns:a16="http://schemas.microsoft.com/office/drawing/2014/main" id="{9DDEADAC-7962-4B54-8155-FE316B8F63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724406" y="-8347737"/>
                  <a:ext cx="155674" cy="61622"/>
                </a:xfrm>
                <a:custGeom>
                  <a:avLst/>
                  <a:gdLst>
                    <a:gd name="T0" fmla="*/ 17 w 25"/>
                    <a:gd name="T1" fmla="*/ 1 h 10"/>
                    <a:gd name="T2" fmla="*/ 1 w 25"/>
                    <a:gd name="T3" fmla="*/ 4 h 10"/>
                    <a:gd name="T4" fmla="*/ 12 w 25"/>
                    <a:gd name="T5" fmla="*/ 6 h 10"/>
                    <a:gd name="T6" fmla="*/ 22 w 25"/>
                    <a:gd name="T7" fmla="*/ 10 h 10"/>
                    <a:gd name="T8" fmla="*/ 17 w 25"/>
                    <a:gd name="T9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" h="10">
                      <a:moveTo>
                        <a:pt x="17" y="1"/>
                      </a:moveTo>
                      <a:cubicBezTo>
                        <a:pt x="11" y="0"/>
                        <a:pt x="0" y="1"/>
                        <a:pt x="1" y="4"/>
                      </a:cubicBezTo>
                      <a:cubicBezTo>
                        <a:pt x="2" y="7"/>
                        <a:pt x="7" y="6"/>
                        <a:pt x="12" y="6"/>
                      </a:cubicBezTo>
                      <a:cubicBezTo>
                        <a:pt x="17" y="6"/>
                        <a:pt x="20" y="10"/>
                        <a:pt x="22" y="10"/>
                      </a:cubicBezTo>
                      <a:cubicBezTo>
                        <a:pt x="25" y="10"/>
                        <a:pt x="23" y="3"/>
                        <a:pt x="17" y="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1" name="Freeform 174">
                  <a:extLst>
                    <a:ext uri="{FF2B5EF4-FFF2-40B4-BE49-F238E27FC236}">
                      <a16:creationId xmlns:a16="http://schemas.microsoft.com/office/drawing/2014/main" id="{2BF43798-8234-442A-8C2B-B9CF945EF4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575219" y="-8477465"/>
                  <a:ext cx="505941" cy="444321"/>
                </a:xfrm>
                <a:custGeom>
                  <a:avLst/>
                  <a:gdLst>
                    <a:gd name="T0" fmla="*/ 55 w 82"/>
                    <a:gd name="T1" fmla="*/ 12 h 72"/>
                    <a:gd name="T2" fmla="*/ 47 w 82"/>
                    <a:gd name="T3" fmla="*/ 18 h 72"/>
                    <a:gd name="T4" fmla="*/ 34 w 82"/>
                    <a:gd name="T5" fmla="*/ 26 h 72"/>
                    <a:gd name="T6" fmla="*/ 26 w 82"/>
                    <a:gd name="T7" fmla="*/ 6 h 72"/>
                    <a:gd name="T8" fmla="*/ 7 w 82"/>
                    <a:gd name="T9" fmla="*/ 4 h 72"/>
                    <a:gd name="T10" fmla="*/ 1 w 82"/>
                    <a:gd name="T11" fmla="*/ 9 h 72"/>
                    <a:gd name="T12" fmla="*/ 5 w 82"/>
                    <a:gd name="T13" fmla="*/ 11 h 72"/>
                    <a:gd name="T14" fmla="*/ 9 w 82"/>
                    <a:gd name="T15" fmla="*/ 17 h 72"/>
                    <a:gd name="T16" fmla="*/ 22 w 82"/>
                    <a:gd name="T17" fmla="*/ 17 h 72"/>
                    <a:gd name="T18" fmla="*/ 22 w 82"/>
                    <a:gd name="T19" fmla="*/ 20 h 72"/>
                    <a:gd name="T20" fmla="*/ 15 w 82"/>
                    <a:gd name="T21" fmla="*/ 21 h 72"/>
                    <a:gd name="T22" fmla="*/ 10 w 82"/>
                    <a:gd name="T23" fmla="*/ 22 h 72"/>
                    <a:gd name="T24" fmla="*/ 15 w 82"/>
                    <a:gd name="T25" fmla="*/ 29 h 72"/>
                    <a:gd name="T26" fmla="*/ 20 w 82"/>
                    <a:gd name="T27" fmla="*/ 29 h 72"/>
                    <a:gd name="T28" fmla="*/ 29 w 82"/>
                    <a:gd name="T29" fmla="*/ 32 h 72"/>
                    <a:gd name="T30" fmla="*/ 36 w 82"/>
                    <a:gd name="T31" fmla="*/ 36 h 72"/>
                    <a:gd name="T32" fmla="*/ 58 w 82"/>
                    <a:gd name="T33" fmla="*/ 43 h 72"/>
                    <a:gd name="T34" fmla="*/ 63 w 82"/>
                    <a:gd name="T35" fmla="*/ 53 h 72"/>
                    <a:gd name="T36" fmla="*/ 63 w 82"/>
                    <a:gd name="T37" fmla="*/ 60 h 72"/>
                    <a:gd name="T38" fmla="*/ 55 w 82"/>
                    <a:gd name="T39" fmla="*/ 66 h 72"/>
                    <a:gd name="T40" fmla="*/ 74 w 82"/>
                    <a:gd name="T41" fmla="*/ 65 h 72"/>
                    <a:gd name="T42" fmla="*/ 82 w 82"/>
                    <a:gd name="T43" fmla="*/ 72 h 72"/>
                    <a:gd name="T44" fmla="*/ 82 w 82"/>
                    <a:gd name="T45" fmla="*/ 21 h 72"/>
                    <a:gd name="T46" fmla="*/ 55 w 82"/>
                    <a:gd name="T47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82" h="72">
                      <a:moveTo>
                        <a:pt x="55" y="12"/>
                      </a:moveTo>
                      <a:cubicBezTo>
                        <a:pt x="51" y="12"/>
                        <a:pt x="51" y="18"/>
                        <a:pt x="47" y="18"/>
                      </a:cubicBezTo>
                      <a:cubicBezTo>
                        <a:pt x="44" y="18"/>
                        <a:pt x="40" y="24"/>
                        <a:pt x="34" y="26"/>
                      </a:cubicBezTo>
                      <a:cubicBezTo>
                        <a:pt x="29" y="28"/>
                        <a:pt x="28" y="10"/>
                        <a:pt x="26" y="6"/>
                      </a:cubicBezTo>
                      <a:cubicBezTo>
                        <a:pt x="23" y="3"/>
                        <a:pt x="9" y="0"/>
                        <a:pt x="7" y="4"/>
                      </a:cubicBezTo>
                      <a:cubicBezTo>
                        <a:pt x="6" y="8"/>
                        <a:pt x="1" y="6"/>
                        <a:pt x="1" y="9"/>
                      </a:cubicBezTo>
                      <a:cubicBezTo>
                        <a:pt x="0" y="12"/>
                        <a:pt x="2" y="11"/>
                        <a:pt x="5" y="11"/>
                      </a:cubicBezTo>
                      <a:cubicBezTo>
                        <a:pt x="8" y="11"/>
                        <a:pt x="8" y="14"/>
                        <a:pt x="9" y="17"/>
                      </a:cubicBezTo>
                      <a:cubicBezTo>
                        <a:pt x="11" y="20"/>
                        <a:pt x="19" y="18"/>
                        <a:pt x="22" y="17"/>
                      </a:cubicBezTo>
                      <a:cubicBezTo>
                        <a:pt x="25" y="17"/>
                        <a:pt x="26" y="21"/>
                        <a:pt x="22" y="20"/>
                      </a:cubicBezTo>
                      <a:cubicBezTo>
                        <a:pt x="17" y="18"/>
                        <a:pt x="17" y="22"/>
                        <a:pt x="15" y="21"/>
                      </a:cubicBezTo>
                      <a:cubicBezTo>
                        <a:pt x="12" y="20"/>
                        <a:pt x="8" y="21"/>
                        <a:pt x="10" y="22"/>
                      </a:cubicBezTo>
                      <a:cubicBezTo>
                        <a:pt x="12" y="24"/>
                        <a:pt x="15" y="26"/>
                        <a:pt x="15" y="29"/>
                      </a:cubicBezTo>
                      <a:cubicBezTo>
                        <a:pt x="15" y="33"/>
                        <a:pt x="20" y="32"/>
                        <a:pt x="20" y="29"/>
                      </a:cubicBezTo>
                      <a:cubicBezTo>
                        <a:pt x="20" y="26"/>
                        <a:pt x="23" y="30"/>
                        <a:pt x="29" y="32"/>
                      </a:cubicBezTo>
                      <a:cubicBezTo>
                        <a:pt x="34" y="33"/>
                        <a:pt x="30" y="35"/>
                        <a:pt x="36" y="36"/>
                      </a:cubicBezTo>
                      <a:cubicBezTo>
                        <a:pt x="41" y="36"/>
                        <a:pt x="54" y="40"/>
                        <a:pt x="58" y="43"/>
                      </a:cubicBezTo>
                      <a:cubicBezTo>
                        <a:pt x="63" y="47"/>
                        <a:pt x="60" y="49"/>
                        <a:pt x="63" y="53"/>
                      </a:cubicBezTo>
                      <a:cubicBezTo>
                        <a:pt x="66" y="56"/>
                        <a:pt x="67" y="60"/>
                        <a:pt x="63" y="60"/>
                      </a:cubicBezTo>
                      <a:cubicBezTo>
                        <a:pt x="58" y="60"/>
                        <a:pt x="54" y="64"/>
                        <a:pt x="55" y="66"/>
                      </a:cubicBezTo>
                      <a:cubicBezTo>
                        <a:pt x="56" y="68"/>
                        <a:pt x="70" y="65"/>
                        <a:pt x="74" y="65"/>
                      </a:cubicBezTo>
                      <a:cubicBezTo>
                        <a:pt x="76" y="65"/>
                        <a:pt x="78" y="69"/>
                        <a:pt x="82" y="72"/>
                      </a:cubicBezTo>
                      <a:cubicBezTo>
                        <a:pt x="82" y="21"/>
                        <a:pt x="82" y="21"/>
                        <a:pt x="82" y="21"/>
                      </a:cubicBezTo>
                      <a:cubicBezTo>
                        <a:pt x="72" y="18"/>
                        <a:pt x="58" y="11"/>
                        <a:pt x="55" y="1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2" name="Freeform 175">
                  <a:extLst>
                    <a:ext uri="{FF2B5EF4-FFF2-40B4-BE49-F238E27FC236}">
                      <a16:creationId xmlns:a16="http://schemas.microsoft.com/office/drawing/2014/main" id="{90BFAD9E-30DD-4894-AD9E-8DE9C20E07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139537" y="-8075307"/>
                  <a:ext cx="243242" cy="42163"/>
                </a:xfrm>
                <a:custGeom>
                  <a:avLst/>
                  <a:gdLst>
                    <a:gd name="T0" fmla="*/ 33 w 39"/>
                    <a:gd name="T1" fmla="*/ 1 h 7"/>
                    <a:gd name="T2" fmla="*/ 16 w 39"/>
                    <a:gd name="T3" fmla="*/ 2 h 7"/>
                    <a:gd name="T4" fmla="*/ 1 w 39"/>
                    <a:gd name="T5" fmla="*/ 5 h 7"/>
                    <a:gd name="T6" fmla="*/ 14 w 39"/>
                    <a:gd name="T7" fmla="*/ 7 h 7"/>
                    <a:gd name="T8" fmla="*/ 30 w 39"/>
                    <a:gd name="T9" fmla="*/ 3 h 7"/>
                    <a:gd name="T10" fmla="*/ 33 w 39"/>
                    <a:gd name="T11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" h="7">
                      <a:moveTo>
                        <a:pt x="33" y="1"/>
                      </a:moveTo>
                      <a:cubicBezTo>
                        <a:pt x="26" y="0"/>
                        <a:pt x="22" y="5"/>
                        <a:pt x="16" y="2"/>
                      </a:cubicBezTo>
                      <a:cubicBezTo>
                        <a:pt x="9" y="0"/>
                        <a:pt x="0" y="2"/>
                        <a:pt x="1" y="5"/>
                      </a:cubicBezTo>
                      <a:cubicBezTo>
                        <a:pt x="2" y="6"/>
                        <a:pt x="7" y="7"/>
                        <a:pt x="14" y="7"/>
                      </a:cubicBezTo>
                      <a:cubicBezTo>
                        <a:pt x="20" y="7"/>
                        <a:pt x="26" y="4"/>
                        <a:pt x="30" y="3"/>
                      </a:cubicBezTo>
                      <a:cubicBezTo>
                        <a:pt x="35" y="3"/>
                        <a:pt x="39" y="2"/>
                        <a:pt x="33" y="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3" name="Freeform 176">
                  <a:extLst>
                    <a:ext uri="{FF2B5EF4-FFF2-40B4-BE49-F238E27FC236}">
                      <a16:creationId xmlns:a16="http://schemas.microsoft.com/office/drawing/2014/main" id="{03304F60-534A-4DAA-A714-49FEBA317C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694127" y="-8821246"/>
                  <a:ext cx="544859" cy="548104"/>
                </a:xfrm>
                <a:custGeom>
                  <a:avLst/>
                  <a:gdLst>
                    <a:gd name="T0" fmla="*/ 67 w 88"/>
                    <a:gd name="T1" fmla="*/ 67 h 89"/>
                    <a:gd name="T2" fmla="*/ 71 w 88"/>
                    <a:gd name="T3" fmla="*/ 54 h 89"/>
                    <a:gd name="T4" fmla="*/ 83 w 88"/>
                    <a:gd name="T5" fmla="*/ 47 h 89"/>
                    <a:gd name="T6" fmla="*/ 78 w 88"/>
                    <a:gd name="T7" fmla="*/ 41 h 89"/>
                    <a:gd name="T8" fmla="*/ 75 w 88"/>
                    <a:gd name="T9" fmla="*/ 34 h 89"/>
                    <a:gd name="T10" fmla="*/ 73 w 88"/>
                    <a:gd name="T11" fmla="*/ 27 h 89"/>
                    <a:gd name="T12" fmla="*/ 73 w 88"/>
                    <a:gd name="T13" fmla="*/ 21 h 89"/>
                    <a:gd name="T14" fmla="*/ 74 w 88"/>
                    <a:gd name="T15" fmla="*/ 21 h 89"/>
                    <a:gd name="T16" fmla="*/ 79 w 88"/>
                    <a:gd name="T17" fmla="*/ 16 h 89"/>
                    <a:gd name="T18" fmla="*/ 87 w 88"/>
                    <a:gd name="T19" fmla="*/ 13 h 89"/>
                    <a:gd name="T20" fmla="*/ 81 w 88"/>
                    <a:gd name="T21" fmla="*/ 8 h 89"/>
                    <a:gd name="T22" fmla="*/ 74 w 88"/>
                    <a:gd name="T23" fmla="*/ 6 h 89"/>
                    <a:gd name="T24" fmla="*/ 67 w 88"/>
                    <a:gd name="T25" fmla="*/ 0 h 89"/>
                    <a:gd name="T26" fmla="*/ 60 w 88"/>
                    <a:gd name="T27" fmla="*/ 8 h 89"/>
                    <a:gd name="T28" fmla="*/ 56 w 88"/>
                    <a:gd name="T29" fmla="*/ 14 h 89"/>
                    <a:gd name="T30" fmla="*/ 54 w 88"/>
                    <a:gd name="T31" fmla="*/ 16 h 89"/>
                    <a:gd name="T32" fmla="*/ 50 w 88"/>
                    <a:gd name="T33" fmla="*/ 18 h 89"/>
                    <a:gd name="T34" fmla="*/ 45 w 88"/>
                    <a:gd name="T35" fmla="*/ 17 h 89"/>
                    <a:gd name="T36" fmla="*/ 45 w 88"/>
                    <a:gd name="T37" fmla="*/ 17 h 89"/>
                    <a:gd name="T38" fmla="*/ 37 w 88"/>
                    <a:gd name="T39" fmla="*/ 28 h 89"/>
                    <a:gd name="T40" fmla="*/ 26 w 88"/>
                    <a:gd name="T41" fmla="*/ 31 h 89"/>
                    <a:gd name="T42" fmla="*/ 21 w 88"/>
                    <a:gd name="T43" fmla="*/ 42 h 89"/>
                    <a:gd name="T44" fmla="*/ 9 w 88"/>
                    <a:gd name="T45" fmla="*/ 39 h 89"/>
                    <a:gd name="T46" fmla="*/ 8 w 88"/>
                    <a:gd name="T47" fmla="*/ 39 h 89"/>
                    <a:gd name="T48" fmla="*/ 3 w 88"/>
                    <a:gd name="T49" fmla="*/ 50 h 89"/>
                    <a:gd name="T50" fmla="*/ 7 w 88"/>
                    <a:gd name="T51" fmla="*/ 61 h 89"/>
                    <a:gd name="T52" fmla="*/ 14 w 88"/>
                    <a:gd name="T53" fmla="*/ 69 h 89"/>
                    <a:gd name="T54" fmla="*/ 21 w 88"/>
                    <a:gd name="T55" fmla="*/ 80 h 89"/>
                    <a:gd name="T56" fmla="*/ 28 w 88"/>
                    <a:gd name="T57" fmla="*/ 83 h 89"/>
                    <a:gd name="T58" fmla="*/ 38 w 88"/>
                    <a:gd name="T59" fmla="*/ 82 h 89"/>
                    <a:gd name="T60" fmla="*/ 49 w 88"/>
                    <a:gd name="T61" fmla="*/ 86 h 89"/>
                    <a:gd name="T62" fmla="*/ 60 w 88"/>
                    <a:gd name="T63" fmla="*/ 84 h 89"/>
                    <a:gd name="T64" fmla="*/ 67 w 88"/>
                    <a:gd name="T65" fmla="*/ 67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88" h="89">
                      <a:moveTo>
                        <a:pt x="67" y="67"/>
                      </a:moveTo>
                      <a:cubicBezTo>
                        <a:pt x="71" y="64"/>
                        <a:pt x="72" y="59"/>
                        <a:pt x="71" y="54"/>
                      </a:cubicBezTo>
                      <a:cubicBezTo>
                        <a:pt x="71" y="49"/>
                        <a:pt x="82" y="49"/>
                        <a:pt x="83" y="47"/>
                      </a:cubicBezTo>
                      <a:cubicBezTo>
                        <a:pt x="85" y="45"/>
                        <a:pt x="81" y="42"/>
                        <a:pt x="78" y="41"/>
                      </a:cubicBezTo>
                      <a:cubicBezTo>
                        <a:pt x="75" y="39"/>
                        <a:pt x="77" y="36"/>
                        <a:pt x="75" y="34"/>
                      </a:cubicBezTo>
                      <a:cubicBezTo>
                        <a:pt x="73" y="33"/>
                        <a:pt x="70" y="28"/>
                        <a:pt x="73" y="27"/>
                      </a:cubicBezTo>
                      <a:cubicBezTo>
                        <a:pt x="76" y="27"/>
                        <a:pt x="71" y="23"/>
                        <a:pt x="73" y="21"/>
                      </a:cubicBezTo>
                      <a:cubicBezTo>
                        <a:pt x="74" y="21"/>
                        <a:pt x="74" y="21"/>
                        <a:pt x="74" y="21"/>
                      </a:cubicBezTo>
                      <a:cubicBezTo>
                        <a:pt x="77" y="19"/>
                        <a:pt x="81" y="18"/>
                        <a:pt x="79" y="16"/>
                      </a:cubicBezTo>
                      <a:cubicBezTo>
                        <a:pt x="77" y="14"/>
                        <a:pt x="86" y="16"/>
                        <a:pt x="87" y="13"/>
                      </a:cubicBezTo>
                      <a:cubicBezTo>
                        <a:pt x="88" y="10"/>
                        <a:pt x="83" y="8"/>
                        <a:pt x="81" y="8"/>
                      </a:cubicBezTo>
                      <a:cubicBezTo>
                        <a:pt x="79" y="9"/>
                        <a:pt x="74" y="8"/>
                        <a:pt x="74" y="6"/>
                      </a:cubicBezTo>
                      <a:cubicBezTo>
                        <a:pt x="74" y="4"/>
                        <a:pt x="70" y="0"/>
                        <a:pt x="67" y="0"/>
                      </a:cubicBezTo>
                      <a:cubicBezTo>
                        <a:pt x="64" y="0"/>
                        <a:pt x="61" y="6"/>
                        <a:pt x="60" y="8"/>
                      </a:cubicBezTo>
                      <a:cubicBezTo>
                        <a:pt x="60" y="10"/>
                        <a:pt x="56" y="10"/>
                        <a:pt x="56" y="14"/>
                      </a:cubicBezTo>
                      <a:cubicBezTo>
                        <a:pt x="56" y="15"/>
                        <a:pt x="55" y="15"/>
                        <a:pt x="54" y="16"/>
                      </a:cubicBezTo>
                      <a:cubicBezTo>
                        <a:pt x="53" y="16"/>
                        <a:pt x="50" y="16"/>
                        <a:pt x="50" y="18"/>
                      </a:cubicBezTo>
                      <a:cubicBezTo>
                        <a:pt x="50" y="20"/>
                        <a:pt x="47" y="17"/>
                        <a:pt x="45" y="17"/>
                      </a:cubicBezTo>
                      <a:cubicBezTo>
                        <a:pt x="45" y="17"/>
                        <a:pt x="45" y="17"/>
                        <a:pt x="45" y="17"/>
                      </a:cubicBezTo>
                      <a:cubicBezTo>
                        <a:pt x="43" y="17"/>
                        <a:pt x="38" y="23"/>
                        <a:pt x="37" y="28"/>
                      </a:cubicBezTo>
                      <a:cubicBezTo>
                        <a:pt x="37" y="32"/>
                        <a:pt x="32" y="31"/>
                        <a:pt x="26" y="31"/>
                      </a:cubicBezTo>
                      <a:cubicBezTo>
                        <a:pt x="19" y="32"/>
                        <a:pt x="22" y="39"/>
                        <a:pt x="21" y="42"/>
                      </a:cubicBezTo>
                      <a:cubicBezTo>
                        <a:pt x="19" y="44"/>
                        <a:pt x="12" y="39"/>
                        <a:pt x="9" y="39"/>
                      </a:cubicBezTo>
                      <a:cubicBezTo>
                        <a:pt x="8" y="39"/>
                        <a:pt x="8" y="38"/>
                        <a:pt x="8" y="39"/>
                      </a:cubicBezTo>
                      <a:cubicBezTo>
                        <a:pt x="5" y="39"/>
                        <a:pt x="0" y="47"/>
                        <a:pt x="3" y="50"/>
                      </a:cubicBezTo>
                      <a:cubicBezTo>
                        <a:pt x="6" y="53"/>
                        <a:pt x="5" y="58"/>
                        <a:pt x="7" y="61"/>
                      </a:cubicBezTo>
                      <a:cubicBezTo>
                        <a:pt x="8" y="63"/>
                        <a:pt x="14" y="64"/>
                        <a:pt x="14" y="69"/>
                      </a:cubicBezTo>
                      <a:cubicBezTo>
                        <a:pt x="14" y="74"/>
                        <a:pt x="18" y="82"/>
                        <a:pt x="21" y="80"/>
                      </a:cubicBezTo>
                      <a:cubicBezTo>
                        <a:pt x="24" y="78"/>
                        <a:pt x="27" y="81"/>
                        <a:pt x="28" y="83"/>
                      </a:cubicBezTo>
                      <a:cubicBezTo>
                        <a:pt x="29" y="85"/>
                        <a:pt x="36" y="81"/>
                        <a:pt x="38" y="82"/>
                      </a:cubicBezTo>
                      <a:cubicBezTo>
                        <a:pt x="41" y="82"/>
                        <a:pt x="48" y="83"/>
                        <a:pt x="49" y="86"/>
                      </a:cubicBezTo>
                      <a:cubicBezTo>
                        <a:pt x="49" y="89"/>
                        <a:pt x="56" y="86"/>
                        <a:pt x="60" y="84"/>
                      </a:cubicBezTo>
                      <a:cubicBezTo>
                        <a:pt x="65" y="83"/>
                        <a:pt x="62" y="69"/>
                        <a:pt x="67" y="6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4" name="Freeform 177">
                  <a:extLst>
                    <a:ext uri="{FF2B5EF4-FFF2-40B4-BE49-F238E27FC236}">
                      <a16:creationId xmlns:a16="http://schemas.microsoft.com/office/drawing/2014/main" id="{680606FD-545A-4235-A340-3B1913C97D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843315" y="-8205036"/>
                  <a:ext cx="525400" cy="171891"/>
                </a:xfrm>
                <a:custGeom>
                  <a:avLst/>
                  <a:gdLst>
                    <a:gd name="T0" fmla="*/ 72 w 85"/>
                    <a:gd name="T1" fmla="*/ 19 h 28"/>
                    <a:gd name="T2" fmla="*/ 58 w 85"/>
                    <a:gd name="T3" fmla="*/ 17 h 28"/>
                    <a:gd name="T4" fmla="*/ 66 w 85"/>
                    <a:gd name="T5" fmla="*/ 12 h 28"/>
                    <a:gd name="T6" fmla="*/ 57 w 85"/>
                    <a:gd name="T7" fmla="*/ 12 h 28"/>
                    <a:gd name="T8" fmla="*/ 40 w 85"/>
                    <a:gd name="T9" fmla="*/ 10 h 28"/>
                    <a:gd name="T10" fmla="*/ 23 w 85"/>
                    <a:gd name="T11" fmla="*/ 6 h 28"/>
                    <a:gd name="T12" fmla="*/ 4 w 85"/>
                    <a:gd name="T13" fmla="*/ 5 h 28"/>
                    <a:gd name="T14" fmla="*/ 1 w 85"/>
                    <a:gd name="T15" fmla="*/ 10 h 28"/>
                    <a:gd name="T16" fmla="*/ 7 w 85"/>
                    <a:gd name="T17" fmla="*/ 11 h 28"/>
                    <a:gd name="T18" fmla="*/ 11 w 85"/>
                    <a:gd name="T19" fmla="*/ 15 h 28"/>
                    <a:gd name="T20" fmla="*/ 25 w 85"/>
                    <a:gd name="T21" fmla="*/ 17 h 28"/>
                    <a:gd name="T22" fmla="*/ 40 w 85"/>
                    <a:gd name="T23" fmla="*/ 20 h 28"/>
                    <a:gd name="T24" fmla="*/ 60 w 85"/>
                    <a:gd name="T25" fmla="*/ 24 h 28"/>
                    <a:gd name="T26" fmla="*/ 71 w 85"/>
                    <a:gd name="T27" fmla="*/ 24 h 28"/>
                    <a:gd name="T28" fmla="*/ 81 w 85"/>
                    <a:gd name="T29" fmla="*/ 24 h 28"/>
                    <a:gd name="T30" fmla="*/ 72 w 85"/>
                    <a:gd name="T31" fmla="*/ 19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5" h="28">
                      <a:moveTo>
                        <a:pt x="72" y="19"/>
                      </a:moveTo>
                      <a:cubicBezTo>
                        <a:pt x="72" y="17"/>
                        <a:pt x="63" y="19"/>
                        <a:pt x="58" y="17"/>
                      </a:cubicBezTo>
                      <a:cubicBezTo>
                        <a:pt x="54" y="15"/>
                        <a:pt x="63" y="14"/>
                        <a:pt x="66" y="12"/>
                      </a:cubicBezTo>
                      <a:cubicBezTo>
                        <a:pt x="70" y="10"/>
                        <a:pt x="65" y="9"/>
                        <a:pt x="57" y="12"/>
                      </a:cubicBezTo>
                      <a:cubicBezTo>
                        <a:pt x="49" y="14"/>
                        <a:pt x="41" y="6"/>
                        <a:pt x="40" y="10"/>
                      </a:cubicBezTo>
                      <a:cubicBezTo>
                        <a:pt x="40" y="13"/>
                        <a:pt x="27" y="8"/>
                        <a:pt x="23" y="6"/>
                      </a:cubicBezTo>
                      <a:cubicBezTo>
                        <a:pt x="20" y="3"/>
                        <a:pt x="7" y="0"/>
                        <a:pt x="4" y="5"/>
                      </a:cubicBezTo>
                      <a:cubicBezTo>
                        <a:pt x="2" y="9"/>
                        <a:pt x="0" y="5"/>
                        <a:pt x="1" y="10"/>
                      </a:cubicBezTo>
                      <a:cubicBezTo>
                        <a:pt x="1" y="12"/>
                        <a:pt x="4" y="11"/>
                        <a:pt x="7" y="11"/>
                      </a:cubicBezTo>
                      <a:cubicBezTo>
                        <a:pt x="9" y="11"/>
                        <a:pt x="8" y="15"/>
                        <a:pt x="11" y="15"/>
                      </a:cubicBezTo>
                      <a:cubicBezTo>
                        <a:pt x="14" y="16"/>
                        <a:pt x="24" y="19"/>
                        <a:pt x="25" y="17"/>
                      </a:cubicBezTo>
                      <a:cubicBezTo>
                        <a:pt x="26" y="14"/>
                        <a:pt x="36" y="17"/>
                        <a:pt x="40" y="20"/>
                      </a:cubicBezTo>
                      <a:cubicBezTo>
                        <a:pt x="45" y="24"/>
                        <a:pt x="56" y="24"/>
                        <a:pt x="60" y="24"/>
                      </a:cubicBezTo>
                      <a:cubicBezTo>
                        <a:pt x="65" y="23"/>
                        <a:pt x="69" y="26"/>
                        <a:pt x="71" y="24"/>
                      </a:cubicBezTo>
                      <a:cubicBezTo>
                        <a:pt x="73" y="22"/>
                        <a:pt x="76" y="28"/>
                        <a:pt x="81" y="24"/>
                      </a:cubicBezTo>
                      <a:cubicBezTo>
                        <a:pt x="85" y="21"/>
                        <a:pt x="73" y="22"/>
                        <a:pt x="72" y="19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5" name="Freeform 178">
                  <a:extLst>
                    <a:ext uri="{FF2B5EF4-FFF2-40B4-BE49-F238E27FC236}">
                      <a16:creationId xmlns:a16="http://schemas.microsoft.com/office/drawing/2014/main" id="{B1F7A549-E3CA-4668-B82B-9010CA9D4A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355742" y="-8779085"/>
                  <a:ext cx="574049" cy="599995"/>
                </a:xfrm>
                <a:custGeom>
                  <a:avLst/>
                  <a:gdLst>
                    <a:gd name="T0" fmla="*/ 86 w 93"/>
                    <a:gd name="T1" fmla="*/ 83 h 97"/>
                    <a:gd name="T2" fmla="*/ 88 w 93"/>
                    <a:gd name="T3" fmla="*/ 75 h 97"/>
                    <a:gd name="T4" fmla="*/ 91 w 93"/>
                    <a:gd name="T5" fmla="*/ 73 h 97"/>
                    <a:gd name="T6" fmla="*/ 91 w 93"/>
                    <a:gd name="T7" fmla="*/ 68 h 97"/>
                    <a:gd name="T8" fmla="*/ 85 w 93"/>
                    <a:gd name="T9" fmla="*/ 61 h 97"/>
                    <a:gd name="T10" fmla="*/ 84 w 93"/>
                    <a:gd name="T11" fmla="*/ 65 h 97"/>
                    <a:gd name="T12" fmla="*/ 87 w 93"/>
                    <a:gd name="T13" fmla="*/ 69 h 97"/>
                    <a:gd name="T14" fmla="*/ 82 w 93"/>
                    <a:gd name="T15" fmla="*/ 67 h 97"/>
                    <a:gd name="T16" fmla="*/ 77 w 93"/>
                    <a:gd name="T17" fmla="*/ 63 h 97"/>
                    <a:gd name="T18" fmla="*/ 70 w 93"/>
                    <a:gd name="T19" fmla="*/ 56 h 97"/>
                    <a:gd name="T20" fmla="*/ 68 w 93"/>
                    <a:gd name="T21" fmla="*/ 50 h 97"/>
                    <a:gd name="T22" fmla="*/ 64 w 93"/>
                    <a:gd name="T23" fmla="*/ 43 h 97"/>
                    <a:gd name="T24" fmla="*/ 60 w 93"/>
                    <a:gd name="T25" fmla="*/ 39 h 97"/>
                    <a:gd name="T26" fmla="*/ 56 w 93"/>
                    <a:gd name="T27" fmla="*/ 35 h 97"/>
                    <a:gd name="T28" fmla="*/ 51 w 93"/>
                    <a:gd name="T29" fmla="*/ 33 h 97"/>
                    <a:gd name="T30" fmla="*/ 44 w 93"/>
                    <a:gd name="T31" fmla="*/ 30 h 97"/>
                    <a:gd name="T32" fmla="*/ 37 w 93"/>
                    <a:gd name="T33" fmla="*/ 23 h 97"/>
                    <a:gd name="T34" fmla="*/ 24 w 93"/>
                    <a:gd name="T35" fmla="*/ 11 h 97"/>
                    <a:gd name="T36" fmla="*/ 12 w 93"/>
                    <a:gd name="T37" fmla="*/ 6 h 97"/>
                    <a:gd name="T38" fmla="*/ 2 w 93"/>
                    <a:gd name="T39" fmla="*/ 3 h 97"/>
                    <a:gd name="T40" fmla="*/ 13 w 93"/>
                    <a:gd name="T41" fmla="*/ 18 h 97"/>
                    <a:gd name="T42" fmla="*/ 24 w 93"/>
                    <a:gd name="T43" fmla="*/ 30 h 97"/>
                    <a:gd name="T44" fmla="*/ 32 w 93"/>
                    <a:gd name="T45" fmla="*/ 46 h 97"/>
                    <a:gd name="T46" fmla="*/ 45 w 93"/>
                    <a:gd name="T47" fmla="*/ 64 h 97"/>
                    <a:gd name="T48" fmla="*/ 57 w 93"/>
                    <a:gd name="T49" fmla="*/ 78 h 97"/>
                    <a:gd name="T50" fmla="*/ 71 w 93"/>
                    <a:gd name="T51" fmla="*/ 91 h 97"/>
                    <a:gd name="T52" fmla="*/ 75 w 93"/>
                    <a:gd name="T53" fmla="*/ 95 h 97"/>
                    <a:gd name="T54" fmla="*/ 84 w 93"/>
                    <a:gd name="T55" fmla="*/ 95 h 97"/>
                    <a:gd name="T56" fmla="*/ 86 w 93"/>
                    <a:gd name="T57" fmla="*/ 83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93" h="97">
                      <a:moveTo>
                        <a:pt x="86" y="83"/>
                      </a:moveTo>
                      <a:cubicBezTo>
                        <a:pt x="86" y="80"/>
                        <a:pt x="88" y="76"/>
                        <a:pt x="88" y="75"/>
                      </a:cubicBezTo>
                      <a:cubicBezTo>
                        <a:pt x="88" y="73"/>
                        <a:pt x="89" y="72"/>
                        <a:pt x="91" y="73"/>
                      </a:cubicBezTo>
                      <a:cubicBezTo>
                        <a:pt x="93" y="73"/>
                        <a:pt x="93" y="68"/>
                        <a:pt x="91" y="68"/>
                      </a:cubicBezTo>
                      <a:cubicBezTo>
                        <a:pt x="90" y="67"/>
                        <a:pt x="89" y="61"/>
                        <a:pt x="85" y="61"/>
                      </a:cubicBezTo>
                      <a:cubicBezTo>
                        <a:pt x="81" y="61"/>
                        <a:pt x="81" y="65"/>
                        <a:pt x="84" y="65"/>
                      </a:cubicBezTo>
                      <a:cubicBezTo>
                        <a:pt x="86" y="65"/>
                        <a:pt x="87" y="67"/>
                        <a:pt x="87" y="69"/>
                      </a:cubicBezTo>
                      <a:cubicBezTo>
                        <a:pt x="86" y="71"/>
                        <a:pt x="85" y="67"/>
                        <a:pt x="82" y="67"/>
                      </a:cubicBezTo>
                      <a:cubicBezTo>
                        <a:pt x="78" y="68"/>
                        <a:pt x="81" y="63"/>
                        <a:pt x="77" y="63"/>
                      </a:cubicBezTo>
                      <a:cubicBezTo>
                        <a:pt x="73" y="63"/>
                        <a:pt x="74" y="56"/>
                        <a:pt x="70" y="56"/>
                      </a:cubicBezTo>
                      <a:cubicBezTo>
                        <a:pt x="66" y="56"/>
                        <a:pt x="65" y="53"/>
                        <a:pt x="68" y="50"/>
                      </a:cubicBezTo>
                      <a:cubicBezTo>
                        <a:pt x="71" y="48"/>
                        <a:pt x="64" y="46"/>
                        <a:pt x="64" y="43"/>
                      </a:cubicBezTo>
                      <a:cubicBezTo>
                        <a:pt x="64" y="40"/>
                        <a:pt x="60" y="42"/>
                        <a:pt x="60" y="39"/>
                      </a:cubicBezTo>
                      <a:cubicBezTo>
                        <a:pt x="60" y="37"/>
                        <a:pt x="58" y="38"/>
                        <a:pt x="56" y="35"/>
                      </a:cubicBezTo>
                      <a:cubicBezTo>
                        <a:pt x="53" y="32"/>
                        <a:pt x="52" y="35"/>
                        <a:pt x="51" y="33"/>
                      </a:cubicBezTo>
                      <a:cubicBezTo>
                        <a:pt x="49" y="31"/>
                        <a:pt x="46" y="30"/>
                        <a:pt x="44" y="30"/>
                      </a:cubicBezTo>
                      <a:cubicBezTo>
                        <a:pt x="43" y="31"/>
                        <a:pt x="39" y="27"/>
                        <a:pt x="37" y="23"/>
                      </a:cubicBezTo>
                      <a:cubicBezTo>
                        <a:pt x="36" y="20"/>
                        <a:pt x="25" y="15"/>
                        <a:pt x="24" y="11"/>
                      </a:cubicBezTo>
                      <a:cubicBezTo>
                        <a:pt x="22" y="7"/>
                        <a:pt x="19" y="6"/>
                        <a:pt x="12" y="6"/>
                      </a:cubicBezTo>
                      <a:cubicBezTo>
                        <a:pt x="6" y="6"/>
                        <a:pt x="3" y="0"/>
                        <a:pt x="2" y="3"/>
                      </a:cubicBezTo>
                      <a:cubicBezTo>
                        <a:pt x="0" y="7"/>
                        <a:pt x="9" y="16"/>
                        <a:pt x="13" y="18"/>
                      </a:cubicBezTo>
                      <a:cubicBezTo>
                        <a:pt x="17" y="21"/>
                        <a:pt x="19" y="29"/>
                        <a:pt x="24" y="30"/>
                      </a:cubicBezTo>
                      <a:cubicBezTo>
                        <a:pt x="28" y="30"/>
                        <a:pt x="29" y="45"/>
                        <a:pt x="32" y="46"/>
                      </a:cubicBezTo>
                      <a:cubicBezTo>
                        <a:pt x="36" y="46"/>
                        <a:pt x="44" y="58"/>
                        <a:pt x="45" y="64"/>
                      </a:cubicBezTo>
                      <a:cubicBezTo>
                        <a:pt x="46" y="71"/>
                        <a:pt x="54" y="74"/>
                        <a:pt x="57" y="78"/>
                      </a:cubicBezTo>
                      <a:cubicBezTo>
                        <a:pt x="59" y="83"/>
                        <a:pt x="70" y="89"/>
                        <a:pt x="71" y="91"/>
                      </a:cubicBezTo>
                      <a:cubicBezTo>
                        <a:pt x="72" y="93"/>
                        <a:pt x="74" y="97"/>
                        <a:pt x="75" y="95"/>
                      </a:cubicBezTo>
                      <a:cubicBezTo>
                        <a:pt x="76" y="93"/>
                        <a:pt x="81" y="95"/>
                        <a:pt x="84" y="95"/>
                      </a:cubicBezTo>
                      <a:cubicBezTo>
                        <a:pt x="86" y="95"/>
                        <a:pt x="87" y="86"/>
                        <a:pt x="86" y="8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6" name="Freeform 179">
                  <a:extLst>
                    <a:ext uri="{FF2B5EF4-FFF2-40B4-BE49-F238E27FC236}">
                      <a16:creationId xmlns:a16="http://schemas.microsoft.com/office/drawing/2014/main" id="{BEA48F9B-E2DC-45E8-9237-A4E31811CD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324401" y="-8088280"/>
                  <a:ext cx="162161" cy="74595"/>
                </a:xfrm>
                <a:custGeom>
                  <a:avLst/>
                  <a:gdLst>
                    <a:gd name="T0" fmla="*/ 12 w 26"/>
                    <a:gd name="T1" fmla="*/ 3 h 12"/>
                    <a:gd name="T2" fmla="*/ 5 w 26"/>
                    <a:gd name="T3" fmla="*/ 3 h 12"/>
                    <a:gd name="T4" fmla="*/ 1 w 26"/>
                    <a:gd name="T5" fmla="*/ 8 h 12"/>
                    <a:gd name="T6" fmla="*/ 13 w 26"/>
                    <a:gd name="T7" fmla="*/ 10 h 12"/>
                    <a:gd name="T8" fmla="*/ 24 w 26"/>
                    <a:gd name="T9" fmla="*/ 6 h 12"/>
                    <a:gd name="T10" fmla="*/ 12 w 26"/>
                    <a:gd name="T11" fmla="*/ 3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" h="12">
                      <a:moveTo>
                        <a:pt x="12" y="3"/>
                      </a:moveTo>
                      <a:cubicBezTo>
                        <a:pt x="11" y="5"/>
                        <a:pt x="7" y="5"/>
                        <a:pt x="5" y="3"/>
                      </a:cubicBezTo>
                      <a:cubicBezTo>
                        <a:pt x="3" y="2"/>
                        <a:pt x="0" y="6"/>
                        <a:pt x="1" y="8"/>
                      </a:cubicBezTo>
                      <a:cubicBezTo>
                        <a:pt x="2" y="9"/>
                        <a:pt x="7" y="12"/>
                        <a:pt x="13" y="10"/>
                      </a:cubicBezTo>
                      <a:cubicBezTo>
                        <a:pt x="19" y="7"/>
                        <a:pt x="23" y="9"/>
                        <a:pt x="24" y="6"/>
                      </a:cubicBezTo>
                      <a:cubicBezTo>
                        <a:pt x="26" y="3"/>
                        <a:pt x="13" y="0"/>
                        <a:pt x="12" y="3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7" name="Freeform 180">
                  <a:extLst>
                    <a:ext uri="{FF2B5EF4-FFF2-40B4-BE49-F238E27FC236}">
                      <a16:creationId xmlns:a16="http://schemas.microsoft.com/office/drawing/2014/main" id="{55D25102-D2CF-4D92-8966-A3EC885C4B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181700" y="-8013687"/>
                  <a:ext cx="100541" cy="61622"/>
                </a:xfrm>
                <a:custGeom>
                  <a:avLst/>
                  <a:gdLst>
                    <a:gd name="T0" fmla="*/ 1 w 16"/>
                    <a:gd name="T1" fmla="*/ 2 h 10"/>
                    <a:gd name="T2" fmla="*/ 8 w 16"/>
                    <a:gd name="T3" fmla="*/ 6 h 10"/>
                    <a:gd name="T4" fmla="*/ 16 w 16"/>
                    <a:gd name="T5" fmla="*/ 6 h 10"/>
                    <a:gd name="T6" fmla="*/ 1 w 16"/>
                    <a:gd name="T7" fmla="*/ 2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10">
                      <a:moveTo>
                        <a:pt x="1" y="2"/>
                      </a:moveTo>
                      <a:cubicBezTo>
                        <a:pt x="3" y="4"/>
                        <a:pt x="7" y="4"/>
                        <a:pt x="8" y="6"/>
                      </a:cubicBezTo>
                      <a:cubicBezTo>
                        <a:pt x="10" y="7"/>
                        <a:pt x="16" y="10"/>
                        <a:pt x="16" y="6"/>
                      </a:cubicBezTo>
                      <a:cubicBezTo>
                        <a:pt x="16" y="2"/>
                        <a:pt x="0" y="0"/>
                        <a:pt x="1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8" name="Freeform 181">
                  <a:extLst>
                    <a:ext uri="{FF2B5EF4-FFF2-40B4-BE49-F238E27FC236}">
                      <a16:creationId xmlns:a16="http://schemas.microsoft.com/office/drawing/2014/main" id="{3550AF73-D97E-4738-9BE6-C6245D3B447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4915757" y="-8075307"/>
                  <a:ext cx="168647" cy="68108"/>
                </a:xfrm>
                <a:custGeom>
                  <a:avLst/>
                  <a:gdLst>
                    <a:gd name="T0" fmla="*/ 3 w 27"/>
                    <a:gd name="T1" fmla="*/ 8 h 11"/>
                    <a:gd name="T2" fmla="*/ 0 w 27"/>
                    <a:gd name="T3" fmla="*/ 9 h 11"/>
                    <a:gd name="T4" fmla="*/ 3 w 27"/>
                    <a:gd name="T5" fmla="*/ 10 h 11"/>
                    <a:gd name="T6" fmla="*/ 4 w 27"/>
                    <a:gd name="T7" fmla="*/ 8 h 11"/>
                    <a:gd name="T8" fmla="*/ 3 w 27"/>
                    <a:gd name="T9" fmla="*/ 8 h 11"/>
                    <a:gd name="T10" fmla="*/ 3 w 27"/>
                    <a:gd name="T11" fmla="*/ 8 h 11"/>
                    <a:gd name="T12" fmla="*/ 14 w 27"/>
                    <a:gd name="T13" fmla="*/ 2 h 11"/>
                    <a:gd name="T14" fmla="*/ 7 w 27"/>
                    <a:gd name="T15" fmla="*/ 6 h 11"/>
                    <a:gd name="T16" fmla="*/ 7 w 27"/>
                    <a:gd name="T17" fmla="*/ 7 h 11"/>
                    <a:gd name="T18" fmla="*/ 9 w 27"/>
                    <a:gd name="T19" fmla="*/ 9 h 11"/>
                    <a:gd name="T20" fmla="*/ 26 w 27"/>
                    <a:gd name="T21" fmla="*/ 2 h 11"/>
                    <a:gd name="T22" fmla="*/ 14 w 27"/>
                    <a:gd name="T23" fmla="*/ 2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7" h="11">
                      <a:moveTo>
                        <a:pt x="3" y="8"/>
                      </a:moveTo>
                      <a:cubicBezTo>
                        <a:pt x="2" y="8"/>
                        <a:pt x="1" y="8"/>
                        <a:pt x="0" y="9"/>
                      </a:cubicBezTo>
                      <a:cubicBezTo>
                        <a:pt x="1" y="10"/>
                        <a:pt x="2" y="11"/>
                        <a:pt x="3" y="10"/>
                      </a:cubicBezTo>
                      <a:cubicBezTo>
                        <a:pt x="3" y="10"/>
                        <a:pt x="4" y="9"/>
                        <a:pt x="4" y="8"/>
                      </a:cubicBezTo>
                      <a:cubicBezTo>
                        <a:pt x="4" y="8"/>
                        <a:pt x="3" y="8"/>
                        <a:pt x="3" y="8"/>
                      </a:cubicBezTo>
                      <a:cubicBezTo>
                        <a:pt x="3" y="8"/>
                        <a:pt x="3" y="8"/>
                        <a:pt x="3" y="8"/>
                      </a:cubicBezTo>
                      <a:close/>
                      <a:moveTo>
                        <a:pt x="14" y="2"/>
                      </a:moveTo>
                      <a:cubicBezTo>
                        <a:pt x="11" y="2"/>
                        <a:pt x="10" y="4"/>
                        <a:pt x="7" y="6"/>
                      </a:cubicBezTo>
                      <a:cubicBezTo>
                        <a:pt x="7" y="6"/>
                        <a:pt x="7" y="7"/>
                        <a:pt x="7" y="7"/>
                      </a:cubicBezTo>
                      <a:cubicBezTo>
                        <a:pt x="7" y="7"/>
                        <a:pt x="8" y="8"/>
                        <a:pt x="9" y="9"/>
                      </a:cubicBezTo>
                      <a:cubicBezTo>
                        <a:pt x="14" y="7"/>
                        <a:pt x="25" y="3"/>
                        <a:pt x="26" y="2"/>
                      </a:cubicBezTo>
                      <a:cubicBezTo>
                        <a:pt x="27" y="0"/>
                        <a:pt x="19" y="2"/>
                        <a:pt x="14" y="2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299" name="Freeform 182">
                  <a:extLst>
                    <a:ext uri="{FF2B5EF4-FFF2-40B4-BE49-F238E27FC236}">
                      <a16:creationId xmlns:a16="http://schemas.microsoft.com/office/drawing/2014/main" id="{5C29873B-EFF3-44E4-BFAA-C1E8B0B5F5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695158" y="-11046088"/>
                  <a:ext cx="577291" cy="622696"/>
                </a:xfrm>
                <a:custGeom>
                  <a:avLst/>
                  <a:gdLst>
                    <a:gd name="T0" fmla="*/ 65 w 93"/>
                    <a:gd name="T1" fmla="*/ 88 h 101"/>
                    <a:gd name="T2" fmla="*/ 55 w 93"/>
                    <a:gd name="T3" fmla="*/ 88 h 101"/>
                    <a:gd name="T4" fmla="*/ 48 w 93"/>
                    <a:gd name="T5" fmla="*/ 91 h 101"/>
                    <a:gd name="T6" fmla="*/ 56 w 93"/>
                    <a:gd name="T7" fmla="*/ 96 h 101"/>
                    <a:gd name="T8" fmla="*/ 66 w 93"/>
                    <a:gd name="T9" fmla="*/ 101 h 101"/>
                    <a:gd name="T10" fmla="*/ 68 w 93"/>
                    <a:gd name="T11" fmla="*/ 96 h 101"/>
                    <a:gd name="T12" fmla="*/ 71 w 93"/>
                    <a:gd name="T13" fmla="*/ 88 h 101"/>
                    <a:gd name="T14" fmla="*/ 65 w 93"/>
                    <a:gd name="T15" fmla="*/ 88 h 101"/>
                    <a:gd name="T16" fmla="*/ 19 w 93"/>
                    <a:gd name="T17" fmla="*/ 61 h 101"/>
                    <a:gd name="T18" fmla="*/ 13 w 93"/>
                    <a:gd name="T19" fmla="*/ 62 h 101"/>
                    <a:gd name="T20" fmla="*/ 16 w 93"/>
                    <a:gd name="T21" fmla="*/ 73 h 101"/>
                    <a:gd name="T22" fmla="*/ 19 w 93"/>
                    <a:gd name="T23" fmla="*/ 80 h 101"/>
                    <a:gd name="T24" fmla="*/ 25 w 93"/>
                    <a:gd name="T25" fmla="*/ 77 h 101"/>
                    <a:gd name="T26" fmla="*/ 26 w 93"/>
                    <a:gd name="T27" fmla="*/ 64 h 101"/>
                    <a:gd name="T28" fmla="*/ 19 w 93"/>
                    <a:gd name="T29" fmla="*/ 61 h 101"/>
                    <a:gd name="T30" fmla="*/ 77 w 93"/>
                    <a:gd name="T31" fmla="*/ 57 h 101"/>
                    <a:gd name="T32" fmla="*/ 71 w 93"/>
                    <a:gd name="T33" fmla="*/ 52 h 101"/>
                    <a:gd name="T34" fmla="*/ 58 w 93"/>
                    <a:gd name="T35" fmla="*/ 39 h 101"/>
                    <a:gd name="T36" fmla="*/ 47 w 93"/>
                    <a:gd name="T37" fmla="*/ 28 h 101"/>
                    <a:gd name="T38" fmla="*/ 47 w 93"/>
                    <a:gd name="T39" fmla="*/ 20 h 101"/>
                    <a:gd name="T40" fmla="*/ 51 w 93"/>
                    <a:gd name="T41" fmla="*/ 15 h 101"/>
                    <a:gd name="T42" fmla="*/ 51 w 93"/>
                    <a:gd name="T43" fmla="*/ 5 h 101"/>
                    <a:gd name="T44" fmla="*/ 47 w 93"/>
                    <a:gd name="T45" fmla="*/ 4 h 101"/>
                    <a:gd name="T46" fmla="*/ 46 w 93"/>
                    <a:gd name="T47" fmla="*/ 0 h 101"/>
                    <a:gd name="T48" fmla="*/ 39 w 93"/>
                    <a:gd name="T49" fmla="*/ 1 h 101"/>
                    <a:gd name="T50" fmla="*/ 34 w 93"/>
                    <a:gd name="T51" fmla="*/ 3 h 101"/>
                    <a:gd name="T52" fmla="*/ 33 w 93"/>
                    <a:gd name="T53" fmla="*/ 2 h 101"/>
                    <a:gd name="T54" fmla="*/ 32 w 93"/>
                    <a:gd name="T55" fmla="*/ 4 h 101"/>
                    <a:gd name="T56" fmla="*/ 30 w 93"/>
                    <a:gd name="T57" fmla="*/ 6 h 101"/>
                    <a:gd name="T58" fmla="*/ 28 w 93"/>
                    <a:gd name="T59" fmla="*/ 7 h 101"/>
                    <a:gd name="T60" fmla="*/ 24 w 93"/>
                    <a:gd name="T61" fmla="*/ 8 h 101"/>
                    <a:gd name="T62" fmla="*/ 21 w 93"/>
                    <a:gd name="T63" fmla="*/ 9 h 101"/>
                    <a:gd name="T64" fmla="*/ 19 w 93"/>
                    <a:gd name="T65" fmla="*/ 12 h 101"/>
                    <a:gd name="T66" fmla="*/ 15 w 93"/>
                    <a:gd name="T67" fmla="*/ 7 h 101"/>
                    <a:gd name="T68" fmla="*/ 11 w 93"/>
                    <a:gd name="T69" fmla="*/ 12 h 101"/>
                    <a:gd name="T70" fmla="*/ 4 w 93"/>
                    <a:gd name="T71" fmla="*/ 13 h 101"/>
                    <a:gd name="T72" fmla="*/ 5 w 93"/>
                    <a:gd name="T73" fmla="*/ 17 h 101"/>
                    <a:gd name="T74" fmla="*/ 3 w 93"/>
                    <a:gd name="T75" fmla="*/ 20 h 101"/>
                    <a:gd name="T76" fmla="*/ 1 w 93"/>
                    <a:gd name="T77" fmla="*/ 22 h 101"/>
                    <a:gd name="T78" fmla="*/ 4 w 93"/>
                    <a:gd name="T79" fmla="*/ 26 h 101"/>
                    <a:gd name="T80" fmla="*/ 6 w 93"/>
                    <a:gd name="T81" fmla="*/ 30 h 101"/>
                    <a:gd name="T82" fmla="*/ 9 w 93"/>
                    <a:gd name="T83" fmla="*/ 31 h 101"/>
                    <a:gd name="T84" fmla="*/ 8 w 93"/>
                    <a:gd name="T85" fmla="*/ 34 h 101"/>
                    <a:gd name="T86" fmla="*/ 12 w 93"/>
                    <a:gd name="T87" fmla="*/ 33 h 101"/>
                    <a:gd name="T88" fmla="*/ 18 w 93"/>
                    <a:gd name="T89" fmla="*/ 28 h 101"/>
                    <a:gd name="T90" fmla="*/ 29 w 93"/>
                    <a:gd name="T91" fmla="*/ 33 h 101"/>
                    <a:gd name="T92" fmla="*/ 32 w 93"/>
                    <a:gd name="T93" fmla="*/ 37 h 101"/>
                    <a:gd name="T94" fmla="*/ 39 w 93"/>
                    <a:gd name="T95" fmla="*/ 47 h 101"/>
                    <a:gd name="T96" fmla="*/ 50 w 93"/>
                    <a:gd name="T97" fmla="*/ 57 h 101"/>
                    <a:gd name="T98" fmla="*/ 58 w 93"/>
                    <a:gd name="T99" fmla="*/ 60 h 101"/>
                    <a:gd name="T100" fmla="*/ 65 w 93"/>
                    <a:gd name="T101" fmla="*/ 65 h 101"/>
                    <a:gd name="T102" fmla="*/ 71 w 93"/>
                    <a:gd name="T103" fmla="*/ 69 h 101"/>
                    <a:gd name="T104" fmla="*/ 73 w 93"/>
                    <a:gd name="T105" fmla="*/ 74 h 101"/>
                    <a:gd name="T106" fmla="*/ 74 w 93"/>
                    <a:gd name="T107" fmla="*/ 83 h 101"/>
                    <a:gd name="T108" fmla="*/ 74 w 93"/>
                    <a:gd name="T109" fmla="*/ 89 h 101"/>
                    <a:gd name="T110" fmla="*/ 78 w 93"/>
                    <a:gd name="T111" fmla="*/ 82 h 101"/>
                    <a:gd name="T112" fmla="*/ 83 w 93"/>
                    <a:gd name="T113" fmla="*/ 78 h 101"/>
                    <a:gd name="T114" fmla="*/ 79 w 93"/>
                    <a:gd name="T115" fmla="*/ 71 h 101"/>
                    <a:gd name="T116" fmla="*/ 87 w 93"/>
                    <a:gd name="T117" fmla="*/ 68 h 101"/>
                    <a:gd name="T118" fmla="*/ 93 w 93"/>
                    <a:gd name="T119" fmla="*/ 68 h 101"/>
                    <a:gd name="T120" fmla="*/ 77 w 93"/>
                    <a:gd name="T121" fmla="*/ 57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93" h="101">
                      <a:moveTo>
                        <a:pt x="65" y="88"/>
                      </a:moveTo>
                      <a:cubicBezTo>
                        <a:pt x="60" y="89"/>
                        <a:pt x="58" y="89"/>
                        <a:pt x="55" y="88"/>
                      </a:cubicBezTo>
                      <a:cubicBezTo>
                        <a:pt x="52" y="86"/>
                        <a:pt x="47" y="89"/>
                        <a:pt x="48" y="91"/>
                      </a:cubicBezTo>
                      <a:cubicBezTo>
                        <a:pt x="49" y="92"/>
                        <a:pt x="50" y="94"/>
                        <a:pt x="56" y="96"/>
                      </a:cubicBezTo>
                      <a:cubicBezTo>
                        <a:pt x="62" y="97"/>
                        <a:pt x="63" y="101"/>
                        <a:pt x="66" y="101"/>
                      </a:cubicBezTo>
                      <a:cubicBezTo>
                        <a:pt x="68" y="101"/>
                        <a:pt x="68" y="99"/>
                        <a:pt x="68" y="96"/>
                      </a:cubicBezTo>
                      <a:cubicBezTo>
                        <a:pt x="67" y="93"/>
                        <a:pt x="71" y="89"/>
                        <a:pt x="71" y="88"/>
                      </a:cubicBezTo>
                      <a:cubicBezTo>
                        <a:pt x="71" y="88"/>
                        <a:pt x="69" y="87"/>
                        <a:pt x="65" y="88"/>
                      </a:cubicBezTo>
                      <a:close/>
                      <a:moveTo>
                        <a:pt x="19" y="61"/>
                      </a:moveTo>
                      <a:cubicBezTo>
                        <a:pt x="16" y="63"/>
                        <a:pt x="14" y="60"/>
                        <a:pt x="13" y="62"/>
                      </a:cubicBezTo>
                      <a:cubicBezTo>
                        <a:pt x="11" y="65"/>
                        <a:pt x="17" y="68"/>
                        <a:pt x="16" y="73"/>
                      </a:cubicBezTo>
                      <a:cubicBezTo>
                        <a:pt x="15" y="77"/>
                        <a:pt x="16" y="83"/>
                        <a:pt x="19" y="80"/>
                      </a:cubicBezTo>
                      <a:cubicBezTo>
                        <a:pt x="22" y="78"/>
                        <a:pt x="23" y="79"/>
                        <a:pt x="25" y="77"/>
                      </a:cubicBezTo>
                      <a:cubicBezTo>
                        <a:pt x="26" y="75"/>
                        <a:pt x="25" y="67"/>
                        <a:pt x="26" y="64"/>
                      </a:cubicBezTo>
                      <a:cubicBezTo>
                        <a:pt x="27" y="60"/>
                        <a:pt x="21" y="59"/>
                        <a:pt x="19" y="61"/>
                      </a:cubicBezTo>
                      <a:close/>
                      <a:moveTo>
                        <a:pt x="77" y="57"/>
                      </a:moveTo>
                      <a:cubicBezTo>
                        <a:pt x="74" y="55"/>
                        <a:pt x="76" y="52"/>
                        <a:pt x="71" y="52"/>
                      </a:cubicBezTo>
                      <a:cubicBezTo>
                        <a:pt x="66" y="53"/>
                        <a:pt x="60" y="46"/>
                        <a:pt x="58" y="39"/>
                      </a:cubicBezTo>
                      <a:cubicBezTo>
                        <a:pt x="57" y="32"/>
                        <a:pt x="49" y="32"/>
                        <a:pt x="47" y="28"/>
                      </a:cubicBezTo>
                      <a:cubicBezTo>
                        <a:pt x="45" y="24"/>
                        <a:pt x="49" y="23"/>
                        <a:pt x="47" y="20"/>
                      </a:cubicBezTo>
                      <a:cubicBezTo>
                        <a:pt x="46" y="18"/>
                        <a:pt x="48" y="16"/>
                        <a:pt x="51" y="15"/>
                      </a:cubicBezTo>
                      <a:cubicBezTo>
                        <a:pt x="51" y="11"/>
                        <a:pt x="51" y="7"/>
                        <a:pt x="51" y="5"/>
                      </a:cubicBezTo>
                      <a:cubicBezTo>
                        <a:pt x="49" y="4"/>
                        <a:pt x="48" y="4"/>
                        <a:pt x="47" y="4"/>
                      </a:cubicBezTo>
                      <a:cubicBezTo>
                        <a:pt x="46" y="3"/>
                        <a:pt x="46" y="0"/>
                        <a:pt x="46" y="0"/>
                      </a:cubicBezTo>
                      <a:cubicBezTo>
                        <a:pt x="45" y="0"/>
                        <a:pt x="40" y="0"/>
                        <a:pt x="39" y="1"/>
                      </a:cubicBezTo>
                      <a:cubicBezTo>
                        <a:pt x="38" y="2"/>
                        <a:pt x="36" y="4"/>
                        <a:pt x="34" y="3"/>
                      </a:cubicBezTo>
                      <a:cubicBezTo>
                        <a:pt x="34" y="3"/>
                        <a:pt x="33" y="2"/>
                        <a:pt x="33" y="2"/>
                      </a:cubicBezTo>
                      <a:cubicBezTo>
                        <a:pt x="32" y="4"/>
                        <a:pt x="32" y="4"/>
                        <a:pt x="32" y="4"/>
                      </a:cubicBezTo>
                      <a:cubicBezTo>
                        <a:pt x="32" y="4"/>
                        <a:pt x="31" y="6"/>
                        <a:pt x="30" y="6"/>
                      </a:cubicBezTo>
                      <a:cubicBezTo>
                        <a:pt x="29" y="6"/>
                        <a:pt x="28" y="5"/>
                        <a:pt x="28" y="7"/>
                      </a:cubicBezTo>
                      <a:cubicBezTo>
                        <a:pt x="28" y="8"/>
                        <a:pt x="25" y="8"/>
                        <a:pt x="24" y="8"/>
                      </a:cubicBezTo>
                      <a:cubicBezTo>
                        <a:pt x="23" y="7"/>
                        <a:pt x="21" y="8"/>
                        <a:pt x="21" y="9"/>
                      </a:cubicBezTo>
                      <a:cubicBezTo>
                        <a:pt x="21" y="11"/>
                        <a:pt x="21" y="14"/>
                        <a:pt x="19" y="12"/>
                      </a:cubicBezTo>
                      <a:cubicBezTo>
                        <a:pt x="17" y="10"/>
                        <a:pt x="15" y="6"/>
                        <a:pt x="15" y="7"/>
                      </a:cubicBezTo>
                      <a:cubicBezTo>
                        <a:pt x="14" y="7"/>
                        <a:pt x="12" y="12"/>
                        <a:pt x="11" y="12"/>
                      </a:cubicBezTo>
                      <a:cubicBezTo>
                        <a:pt x="10" y="12"/>
                        <a:pt x="6" y="13"/>
                        <a:pt x="4" y="13"/>
                      </a:cubicBezTo>
                      <a:cubicBezTo>
                        <a:pt x="3" y="15"/>
                        <a:pt x="4" y="16"/>
                        <a:pt x="5" y="17"/>
                      </a:cubicBezTo>
                      <a:cubicBezTo>
                        <a:pt x="6" y="17"/>
                        <a:pt x="4" y="19"/>
                        <a:pt x="3" y="20"/>
                      </a:cubicBezTo>
                      <a:cubicBezTo>
                        <a:pt x="2" y="20"/>
                        <a:pt x="0" y="20"/>
                        <a:pt x="1" y="22"/>
                      </a:cubicBezTo>
                      <a:cubicBezTo>
                        <a:pt x="3" y="24"/>
                        <a:pt x="5" y="24"/>
                        <a:pt x="4" y="26"/>
                      </a:cubicBezTo>
                      <a:cubicBezTo>
                        <a:pt x="3" y="28"/>
                        <a:pt x="4" y="30"/>
                        <a:pt x="6" y="30"/>
                      </a:cubicBezTo>
                      <a:cubicBezTo>
                        <a:pt x="7" y="30"/>
                        <a:pt x="10" y="30"/>
                        <a:pt x="9" y="31"/>
                      </a:cubicBezTo>
                      <a:cubicBezTo>
                        <a:pt x="9" y="32"/>
                        <a:pt x="9" y="33"/>
                        <a:pt x="8" y="34"/>
                      </a:cubicBezTo>
                      <a:cubicBezTo>
                        <a:pt x="10" y="33"/>
                        <a:pt x="11" y="33"/>
                        <a:pt x="12" y="33"/>
                      </a:cubicBezTo>
                      <a:cubicBezTo>
                        <a:pt x="15" y="31"/>
                        <a:pt x="14" y="29"/>
                        <a:pt x="18" y="28"/>
                      </a:cubicBezTo>
                      <a:cubicBezTo>
                        <a:pt x="22" y="27"/>
                        <a:pt x="28" y="30"/>
                        <a:pt x="29" y="33"/>
                      </a:cubicBezTo>
                      <a:cubicBezTo>
                        <a:pt x="31" y="35"/>
                        <a:pt x="31" y="35"/>
                        <a:pt x="32" y="37"/>
                      </a:cubicBezTo>
                      <a:cubicBezTo>
                        <a:pt x="32" y="39"/>
                        <a:pt x="34" y="43"/>
                        <a:pt x="39" y="47"/>
                      </a:cubicBezTo>
                      <a:cubicBezTo>
                        <a:pt x="45" y="51"/>
                        <a:pt x="47" y="55"/>
                        <a:pt x="50" y="57"/>
                      </a:cubicBezTo>
                      <a:cubicBezTo>
                        <a:pt x="53" y="58"/>
                        <a:pt x="56" y="58"/>
                        <a:pt x="58" y="60"/>
                      </a:cubicBezTo>
                      <a:cubicBezTo>
                        <a:pt x="60" y="62"/>
                        <a:pt x="62" y="63"/>
                        <a:pt x="65" y="65"/>
                      </a:cubicBezTo>
                      <a:cubicBezTo>
                        <a:pt x="68" y="66"/>
                        <a:pt x="68" y="69"/>
                        <a:pt x="71" y="69"/>
                      </a:cubicBezTo>
                      <a:cubicBezTo>
                        <a:pt x="73" y="70"/>
                        <a:pt x="72" y="72"/>
                        <a:pt x="73" y="74"/>
                      </a:cubicBezTo>
                      <a:cubicBezTo>
                        <a:pt x="75" y="76"/>
                        <a:pt x="75" y="80"/>
                        <a:pt x="74" y="83"/>
                      </a:cubicBezTo>
                      <a:cubicBezTo>
                        <a:pt x="72" y="85"/>
                        <a:pt x="73" y="89"/>
                        <a:pt x="74" y="89"/>
                      </a:cubicBezTo>
                      <a:cubicBezTo>
                        <a:pt x="75" y="89"/>
                        <a:pt x="78" y="85"/>
                        <a:pt x="78" y="82"/>
                      </a:cubicBezTo>
                      <a:cubicBezTo>
                        <a:pt x="78" y="80"/>
                        <a:pt x="81" y="80"/>
                        <a:pt x="83" y="78"/>
                      </a:cubicBezTo>
                      <a:cubicBezTo>
                        <a:pt x="85" y="75"/>
                        <a:pt x="80" y="75"/>
                        <a:pt x="79" y="71"/>
                      </a:cubicBezTo>
                      <a:cubicBezTo>
                        <a:pt x="78" y="68"/>
                        <a:pt x="83" y="65"/>
                        <a:pt x="87" y="68"/>
                      </a:cubicBezTo>
                      <a:cubicBezTo>
                        <a:pt x="91" y="71"/>
                        <a:pt x="93" y="72"/>
                        <a:pt x="93" y="68"/>
                      </a:cubicBezTo>
                      <a:cubicBezTo>
                        <a:pt x="93" y="64"/>
                        <a:pt x="80" y="59"/>
                        <a:pt x="77" y="5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300" name="Freeform 183">
                  <a:extLst>
                    <a:ext uri="{FF2B5EF4-FFF2-40B4-BE49-F238E27FC236}">
                      <a16:creationId xmlns:a16="http://schemas.microsoft.com/office/drawing/2014/main" id="{D6A9995B-CEF8-4327-89A0-375088CD4A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117866" y="-10815821"/>
                  <a:ext cx="61622" cy="77837"/>
                </a:xfrm>
                <a:custGeom>
                  <a:avLst/>
                  <a:gdLst>
                    <a:gd name="T0" fmla="*/ 3 w 10"/>
                    <a:gd name="T1" fmla="*/ 0 h 13"/>
                    <a:gd name="T2" fmla="*/ 0 w 10"/>
                    <a:gd name="T3" fmla="*/ 6 h 13"/>
                    <a:gd name="T4" fmla="*/ 0 w 10"/>
                    <a:gd name="T5" fmla="*/ 9 h 13"/>
                    <a:gd name="T6" fmla="*/ 6 w 10"/>
                    <a:gd name="T7" fmla="*/ 13 h 13"/>
                    <a:gd name="T8" fmla="*/ 6 w 10"/>
                    <a:gd name="T9" fmla="*/ 13 h 13"/>
                    <a:gd name="T10" fmla="*/ 10 w 10"/>
                    <a:gd name="T11" fmla="*/ 8 h 13"/>
                    <a:gd name="T12" fmla="*/ 3 w 10"/>
                    <a:gd name="T13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13">
                      <a:moveTo>
                        <a:pt x="3" y="0"/>
                      </a:moveTo>
                      <a:cubicBezTo>
                        <a:pt x="2" y="3"/>
                        <a:pt x="0" y="6"/>
                        <a:pt x="0" y="6"/>
                      </a:cubicBezTo>
                      <a:cubicBezTo>
                        <a:pt x="0" y="7"/>
                        <a:pt x="0" y="8"/>
                        <a:pt x="0" y="9"/>
                      </a:cubicBezTo>
                      <a:cubicBezTo>
                        <a:pt x="2" y="11"/>
                        <a:pt x="4" y="12"/>
                        <a:pt x="6" y="13"/>
                      </a:cubicBezTo>
                      <a:cubicBezTo>
                        <a:pt x="6" y="13"/>
                        <a:pt x="6" y="13"/>
                        <a:pt x="6" y="13"/>
                      </a:cubicBezTo>
                      <a:cubicBezTo>
                        <a:pt x="7" y="11"/>
                        <a:pt x="8" y="8"/>
                        <a:pt x="10" y="8"/>
                      </a:cubicBezTo>
                      <a:cubicBezTo>
                        <a:pt x="8" y="5"/>
                        <a:pt x="5" y="2"/>
                        <a:pt x="3" y="0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  <p:sp>
              <p:nvSpPr>
                <p:cNvPr id="301" name="Freeform 184">
                  <a:extLst>
                    <a:ext uri="{FF2B5EF4-FFF2-40B4-BE49-F238E27FC236}">
                      <a16:creationId xmlns:a16="http://schemas.microsoft.com/office/drawing/2014/main" id="{1AAE0136-E629-4161-AF09-FE8B932E2F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0108135" y="-10990955"/>
                  <a:ext cx="210810" cy="246484"/>
                </a:xfrm>
                <a:custGeom>
                  <a:avLst/>
                  <a:gdLst>
                    <a:gd name="T0" fmla="*/ 30 w 34"/>
                    <a:gd name="T1" fmla="*/ 27 h 40"/>
                    <a:gd name="T2" fmla="*/ 30 w 34"/>
                    <a:gd name="T3" fmla="*/ 21 h 40"/>
                    <a:gd name="T4" fmla="*/ 30 w 34"/>
                    <a:gd name="T5" fmla="*/ 17 h 40"/>
                    <a:gd name="T6" fmla="*/ 21 w 34"/>
                    <a:gd name="T7" fmla="*/ 14 h 40"/>
                    <a:gd name="T8" fmla="*/ 20 w 34"/>
                    <a:gd name="T9" fmla="*/ 9 h 40"/>
                    <a:gd name="T10" fmla="*/ 17 w 34"/>
                    <a:gd name="T11" fmla="*/ 6 h 40"/>
                    <a:gd name="T12" fmla="*/ 14 w 34"/>
                    <a:gd name="T13" fmla="*/ 2 h 40"/>
                    <a:gd name="T14" fmla="*/ 14 w 34"/>
                    <a:gd name="T15" fmla="*/ 1 h 40"/>
                    <a:gd name="T16" fmla="*/ 12 w 34"/>
                    <a:gd name="T17" fmla="*/ 1 h 40"/>
                    <a:gd name="T18" fmla="*/ 9 w 34"/>
                    <a:gd name="T19" fmla="*/ 0 h 40"/>
                    <a:gd name="T20" fmla="*/ 0 w 34"/>
                    <a:gd name="T21" fmla="*/ 2 h 40"/>
                    <a:gd name="T22" fmla="*/ 2 w 34"/>
                    <a:gd name="T23" fmla="*/ 7 h 40"/>
                    <a:gd name="T24" fmla="*/ 5 w 34"/>
                    <a:gd name="T25" fmla="*/ 13 h 40"/>
                    <a:gd name="T26" fmla="*/ 4 w 34"/>
                    <a:gd name="T27" fmla="*/ 25 h 40"/>
                    <a:gd name="T28" fmla="*/ 1 w 34"/>
                    <a:gd name="T29" fmla="*/ 28 h 40"/>
                    <a:gd name="T30" fmla="*/ 8 w 34"/>
                    <a:gd name="T31" fmla="*/ 36 h 40"/>
                    <a:gd name="T32" fmla="*/ 8 w 34"/>
                    <a:gd name="T33" fmla="*/ 36 h 40"/>
                    <a:gd name="T34" fmla="*/ 15 w 34"/>
                    <a:gd name="T35" fmla="*/ 40 h 40"/>
                    <a:gd name="T36" fmla="*/ 29 w 34"/>
                    <a:gd name="T37" fmla="*/ 37 h 40"/>
                    <a:gd name="T38" fmla="*/ 29 w 34"/>
                    <a:gd name="T39" fmla="*/ 35 h 40"/>
                    <a:gd name="T40" fmla="*/ 32 w 34"/>
                    <a:gd name="T41" fmla="*/ 32 h 40"/>
                    <a:gd name="T42" fmla="*/ 30 w 34"/>
                    <a:gd name="T43" fmla="*/ 27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4" h="40">
                      <a:moveTo>
                        <a:pt x="30" y="27"/>
                      </a:moveTo>
                      <a:cubicBezTo>
                        <a:pt x="28" y="25"/>
                        <a:pt x="28" y="22"/>
                        <a:pt x="30" y="21"/>
                      </a:cubicBezTo>
                      <a:cubicBezTo>
                        <a:pt x="31" y="20"/>
                        <a:pt x="30" y="18"/>
                        <a:pt x="30" y="17"/>
                      </a:cubicBezTo>
                      <a:cubicBezTo>
                        <a:pt x="30" y="15"/>
                        <a:pt x="22" y="14"/>
                        <a:pt x="21" y="14"/>
                      </a:cubicBezTo>
                      <a:cubicBezTo>
                        <a:pt x="20" y="14"/>
                        <a:pt x="22" y="9"/>
                        <a:pt x="20" y="9"/>
                      </a:cubicBezTo>
                      <a:cubicBezTo>
                        <a:pt x="18" y="9"/>
                        <a:pt x="17" y="8"/>
                        <a:pt x="17" y="6"/>
                      </a:cubicBezTo>
                      <a:cubicBezTo>
                        <a:pt x="17" y="5"/>
                        <a:pt x="14" y="2"/>
                        <a:pt x="14" y="2"/>
                      </a:cubicBezTo>
                      <a:cubicBezTo>
                        <a:pt x="14" y="1"/>
                        <a:pt x="14" y="1"/>
                        <a:pt x="14" y="1"/>
                      </a:cubicBezTo>
                      <a:cubicBezTo>
                        <a:pt x="13" y="1"/>
                        <a:pt x="12" y="1"/>
                        <a:pt x="12" y="1"/>
                      </a:cubicBezTo>
                      <a:cubicBezTo>
                        <a:pt x="11" y="1"/>
                        <a:pt x="9" y="0"/>
                        <a:pt x="9" y="0"/>
                      </a:cubicBezTo>
                      <a:cubicBezTo>
                        <a:pt x="9" y="0"/>
                        <a:pt x="4" y="1"/>
                        <a:pt x="0" y="2"/>
                      </a:cubicBezTo>
                      <a:cubicBezTo>
                        <a:pt x="1" y="4"/>
                        <a:pt x="1" y="7"/>
                        <a:pt x="2" y="7"/>
                      </a:cubicBezTo>
                      <a:cubicBezTo>
                        <a:pt x="5" y="8"/>
                        <a:pt x="4" y="11"/>
                        <a:pt x="5" y="13"/>
                      </a:cubicBezTo>
                      <a:cubicBezTo>
                        <a:pt x="6" y="15"/>
                        <a:pt x="6" y="25"/>
                        <a:pt x="4" y="25"/>
                      </a:cubicBezTo>
                      <a:cubicBezTo>
                        <a:pt x="4" y="25"/>
                        <a:pt x="3" y="27"/>
                        <a:pt x="1" y="28"/>
                      </a:cubicBezTo>
                      <a:cubicBezTo>
                        <a:pt x="3" y="30"/>
                        <a:pt x="6" y="33"/>
                        <a:pt x="8" y="36"/>
                      </a:cubicBezTo>
                      <a:cubicBezTo>
                        <a:pt x="8" y="36"/>
                        <a:pt x="8" y="36"/>
                        <a:pt x="8" y="36"/>
                      </a:cubicBezTo>
                      <a:cubicBezTo>
                        <a:pt x="10" y="36"/>
                        <a:pt x="15" y="40"/>
                        <a:pt x="15" y="40"/>
                      </a:cubicBezTo>
                      <a:cubicBezTo>
                        <a:pt x="15" y="40"/>
                        <a:pt x="24" y="38"/>
                        <a:pt x="29" y="37"/>
                      </a:cubicBezTo>
                      <a:cubicBezTo>
                        <a:pt x="29" y="36"/>
                        <a:pt x="29" y="35"/>
                        <a:pt x="29" y="35"/>
                      </a:cubicBezTo>
                      <a:cubicBezTo>
                        <a:pt x="29" y="34"/>
                        <a:pt x="30" y="32"/>
                        <a:pt x="32" y="32"/>
                      </a:cubicBezTo>
                      <a:cubicBezTo>
                        <a:pt x="34" y="32"/>
                        <a:pt x="31" y="28"/>
                        <a:pt x="30" y="2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D9D9D9">
                      <a:alpha val="30196"/>
                    </a:srgb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i-IN"/>
                </a:p>
              </p:txBody>
            </p:sp>
          </p:grpSp>
          <p:sp>
            <p:nvSpPr>
              <p:cNvPr id="155" name="Freeform 119">
                <a:extLst>
                  <a:ext uri="{FF2B5EF4-FFF2-40B4-BE49-F238E27FC236}">
                    <a16:creationId xmlns:a16="http://schemas.microsoft.com/office/drawing/2014/main" id="{B0966F30-AE2F-4B8E-820F-D3BCAEB65C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795399" y="2225469"/>
                <a:ext cx="2975448" cy="2023764"/>
              </a:xfrm>
              <a:custGeom>
                <a:avLst/>
                <a:gdLst>
                  <a:gd name="T0" fmla="*/ 249 w 817"/>
                  <a:gd name="T1" fmla="*/ 164 h 556"/>
                  <a:gd name="T2" fmla="*/ 218 w 817"/>
                  <a:gd name="T3" fmla="*/ 25 h 556"/>
                  <a:gd name="T4" fmla="*/ 132 w 817"/>
                  <a:gd name="T5" fmla="*/ 15 h 556"/>
                  <a:gd name="T6" fmla="*/ 96 w 817"/>
                  <a:gd name="T7" fmla="*/ 8 h 556"/>
                  <a:gd name="T8" fmla="*/ 66 w 817"/>
                  <a:gd name="T9" fmla="*/ 15 h 556"/>
                  <a:gd name="T10" fmla="*/ 13 w 817"/>
                  <a:gd name="T11" fmla="*/ 42 h 556"/>
                  <a:gd name="T12" fmla="*/ 50 w 817"/>
                  <a:gd name="T13" fmla="*/ 74 h 556"/>
                  <a:gd name="T14" fmla="*/ 12 w 817"/>
                  <a:gd name="T15" fmla="*/ 76 h 556"/>
                  <a:gd name="T16" fmla="*/ 42 w 817"/>
                  <a:gd name="T17" fmla="*/ 97 h 556"/>
                  <a:gd name="T18" fmla="*/ 30 w 817"/>
                  <a:gd name="T19" fmla="*/ 113 h 556"/>
                  <a:gd name="T20" fmla="*/ 32 w 817"/>
                  <a:gd name="T21" fmla="*/ 156 h 556"/>
                  <a:gd name="T22" fmla="*/ 68 w 817"/>
                  <a:gd name="T23" fmla="*/ 168 h 556"/>
                  <a:gd name="T24" fmla="*/ 72 w 817"/>
                  <a:gd name="T25" fmla="*/ 192 h 556"/>
                  <a:gd name="T26" fmla="*/ 60 w 817"/>
                  <a:gd name="T27" fmla="*/ 205 h 556"/>
                  <a:gd name="T28" fmla="*/ 104 w 817"/>
                  <a:gd name="T29" fmla="*/ 178 h 556"/>
                  <a:gd name="T30" fmla="*/ 123 w 817"/>
                  <a:gd name="T31" fmla="*/ 152 h 556"/>
                  <a:gd name="T32" fmla="*/ 136 w 817"/>
                  <a:gd name="T33" fmla="*/ 143 h 556"/>
                  <a:gd name="T34" fmla="*/ 161 w 817"/>
                  <a:gd name="T35" fmla="*/ 154 h 556"/>
                  <a:gd name="T36" fmla="*/ 177 w 817"/>
                  <a:gd name="T37" fmla="*/ 144 h 556"/>
                  <a:gd name="T38" fmla="*/ 196 w 817"/>
                  <a:gd name="T39" fmla="*/ 152 h 556"/>
                  <a:gd name="T40" fmla="*/ 242 w 817"/>
                  <a:gd name="T41" fmla="*/ 166 h 556"/>
                  <a:gd name="T42" fmla="*/ 267 w 817"/>
                  <a:gd name="T43" fmla="*/ 177 h 556"/>
                  <a:gd name="T44" fmla="*/ 268 w 817"/>
                  <a:gd name="T45" fmla="*/ 187 h 556"/>
                  <a:gd name="T46" fmla="*/ 277 w 817"/>
                  <a:gd name="T47" fmla="*/ 188 h 556"/>
                  <a:gd name="T48" fmla="*/ 285 w 817"/>
                  <a:gd name="T49" fmla="*/ 196 h 556"/>
                  <a:gd name="T50" fmla="*/ 282 w 817"/>
                  <a:gd name="T51" fmla="*/ 214 h 556"/>
                  <a:gd name="T52" fmla="*/ 300 w 817"/>
                  <a:gd name="T53" fmla="*/ 214 h 556"/>
                  <a:gd name="T54" fmla="*/ 10 w 817"/>
                  <a:gd name="T55" fmla="*/ 223 h 556"/>
                  <a:gd name="T56" fmla="*/ 127 w 817"/>
                  <a:gd name="T57" fmla="*/ 171 h 556"/>
                  <a:gd name="T58" fmla="*/ 126 w 817"/>
                  <a:gd name="T59" fmla="*/ 183 h 556"/>
                  <a:gd name="T60" fmla="*/ 17 w 817"/>
                  <a:gd name="T61" fmla="*/ 156 h 556"/>
                  <a:gd name="T62" fmla="*/ 100 w 817"/>
                  <a:gd name="T63" fmla="*/ 544 h 556"/>
                  <a:gd name="T64" fmla="*/ 66 w 817"/>
                  <a:gd name="T65" fmla="*/ 528 h 556"/>
                  <a:gd name="T66" fmla="*/ 790 w 817"/>
                  <a:gd name="T67" fmla="*/ 306 h 556"/>
                  <a:gd name="T68" fmla="*/ 720 w 817"/>
                  <a:gd name="T69" fmla="*/ 334 h 556"/>
                  <a:gd name="T70" fmla="*/ 692 w 817"/>
                  <a:gd name="T71" fmla="*/ 344 h 556"/>
                  <a:gd name="T72" fmla="*/ 662 w 817"/>
                  <a:gd name="T73" fmla="*/ 319 h 556"/>
                  <a:gd name="T74" fmla="*/ 679 w 817"/>
                  <a:gd name="T75" fmla="*/ 305 h 556"/>
                  <a:gd name="T76" fmla="*/ 646 w 817"/>
                  <a:gd name="T77" fmla="*/ 297 h 556"/>
                  <a:gd name="T78" fmla="*/ 623 w 817"/>
                  <a:gd name="T79" fmla="*/ 285 h 556"/>
                  <a:gd name="T80" fmla="*/ 589 w 817"/>
                  <a:gd name="T81" fmla="*/ 276 h 556"/>
                  <a:gd name="T82" fmla="*/ 365 w 817"/>
                  <a:gd name="T83" fmla="*/ 285 h 556"/>
                  <a:gd name="T84" fmla="*/ 359 w 817"/>
                  <a:gd name="T85" fmla="*/ 304 h 556"/>
                  <a:gd name="T86" fmla="*/ 360 w 817"/>
                  <a:gd name="T87" fmla="*/ 377 h 556"/>
                  <a:gd name="T88" fmla="*/ 387 w 817"/>
                  <a:gd name="T89" fmla="*/ 417 h 556"/>
                  <a:gd name="T90" fmla="*/ 440 w 817"/>
                  <a:gd name="T91" fmla="*/ 439 h 556"/>
                  <a:gd name="T92" fmla="*/ 513 w 817"/>
                  <a:gd name="T93" fmla="*/ 457 h 556"/>
                  <a:gd name="T94" fmla="*/ 556 w 817"/>
                  <a:gd name="T95" fmla="*/ 484 h 556"/>
                  <a:gd name="T96" fmla="*/ 578 w 817"/>
                  <a:gd name="T97" fmla="*/ 471 h 556"/>
                  <a:gd name="T98" fmla="*/ 608 w 817"/>
                  <a:gd name="T99" fmla="*/ 459 h 556"/>
                  <a:gd name="T100" fmla="*/ 635 w 817"/>
                  <a:gd name="T101" fmla="*/ 462 h 556"/>
                  <a:gd name="T102" fmla="*/ 668 w 817"/>
                  <a:gd name="T103" fmla="*/ 459 h 556"/>
                  <a:gd name="T104" fmla="*/ 696 w 817"/>
                  <a:gd name="T105" fmla="*/ 492 h 556"/>
                  <a:gd name="T106" fmla="*/ 699 w 817"/>
                  <a:gd name="T107" fmla="*/ 451 h 556"/>
                  <a:gd name="T108" fmla="*/ 737 w 817"/>
                  <a:gd name="T109" fmla="*/ 411 h 556"/>
                  <a:gd name="T110" fmla="*/ 741 w 817"/>
                  <a:gd name="T111" fmla="*/ 391 h 556"/>
                  <a:gd name="T112" fmla="*/ 744 w 817"/>
                  <a:gd name="T113" fmla="*/ 388 h 556"/>
                  <a:gd name="T114" fmla="*/ 764 w 817"/>
                  <a:gd name="T115" fmla="*/ 360 h 556"/>
                  <a:gd name="T116" fmla="*/ 785 w 817"/>
                  <a:gd name="T117" fmla="*/ 343 h 556"/>
                  <a:gd name="T118" fmla="*/ 817 w 817"/>
                  <a:gd name="T119" fmla="*/ 317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17" h="556">
                    <a:moveTo>
                      <a:pt x="307" y="204"/>
                    </a:moveTo>
                    <a:cubicBezTo>
                      <a:pt x="308" y="201"/>
                      <a:pt x="308" y="199"/>
                      <a:pt x="299" y="195"/>
                    </a:cubicBezTo>
                    <a:cubicBezTo>
                      <a:pt x="290" y="192"/>
                      <a:pt x="291" y="189"/>
                      <a:pt x="285" y="178"/>
                    </a:cubicBezTo>
                    <a:cubicBezTo>
                      <a:pt x="279" y="168"/>
                      <a:pt x="268" y="163"/>
                      <a:pt x="268" y="159"/>
                    </a:cubicBezTo>
                    <a:cubicBezTo>
                      <a:pt x="268" y="155"/>
                      <a:pt x="257" y="155"/>
                      <a:pt x="257" y="158"/>
                    </a:cubicBezTo>
                    <a:cubicBezTo>
                      <a:pt x="257" y="161"/>
                      <a:pt x="252" y="162"/>
                      <a:pt x="249" y="164"/>
                    </a:cubicBezTo>
                    <a:cubicBezTo>
                      <a:pt x="247" y="166"/>
                      <a:pt x="245" y="163"/>
                      <a:pt x="243" y="160"/>
                    </a:cubicBezTo>
                    <a:cubicBezTo>
                      <a:pt x="241" y="157"/>
                      <a:pt x="235" y="154"/>
                      <a:pt x="235" y="152"/>
                    </a:cubicBezTo>
                    <a:cubicBezTo>
                      <a:pt x="235" y="150"/>
                      <a:pt x="234" y="146"/>
                      <a:pt x="229" y="148"/>
                    </a:cubicBezTo>
                    <a:cubicBezTo>
                      <a:pt x="225" y="150"/>
                      <a:pt x="223" y="148"/>
                      <a:pt x="222" y="149"/>
                    </a:cubicBezTo>
                    <a:cubicBezTo>
                      <a:pt x="221" y="151"/>
                      <a:pt x="218" y="148"/>
                      <a:pt x="218" y="148"/>
                    </a:cubicBezTo>
                    <a:cubicBezTo>
                      <a:pt x="218" y="25"/>
                      <a:pt x="218" y="25"/>
                      <a:pt x="218" y="25"/>
                    </a:cubicBezTo>
                    <a:cubicBezTo>
                      <a:pt x="216" y="25"/>
                      <a:pt x="215" y="25"/>
                      <a:pt x="214" y="24"/>
                    </a:cubicBezTo>
                    <a:cubicBezTo>
                      <a:pt x="209" y="22"/>
                      <a:pt x="201" y="19"/>
                      <a:pt x="197" y="20"/>
                    </a:cubicBezTo>
                    <a:cubicBezTo>
                      <a:pt x="193" y="21"/>
                      <a:pt x="185" y="22"/>
                      <a:pt x="182" y="20"/>
                    </a:cubicBezTo>
                    <a:cubicBezTo>
                      <a:pt x="179" y="19"/>
                      <a:pt x="175" y="18"/>
                      <a:pt x="169" y="18"/>
                    </a:cubicBezTo>
                    <a:cubicBezTo>
                      <a:pt x="163" y="19"/>
                      <a:pt x="160" y="15"/>
                      <a:pt x="152" y="13"/>
                    </a:cubicBezTo>
                    <a:cubicBezTo>
                      <a:pt x="145" y="12"/>
                      <a:pt x="134" y="14"/>
                      <a:pt x="132" y="15"/>
                    </a:cubicBezTo>
                    <a:cubicBezTo>
                      <a:pt x="129" y="16"/>
                      <a:pt x="130" y="12"/>
                      <a:pt x="127" y="13"/>
                    </a:cubicBezTo>
                    <a:cubicBezTo>
                      <a:pt x="123" y="13"/>
                      <a:pt x="126" y="11"/>
                      <a:pt x="124" y="8"/>
                    </a:cubicBezTo>
                    <a:cubicBezTo>
                      <a:pt x="122" y="6"/>
                      <a:pt x="113" y="8"/>
                      <a:pt x="110" y="9"/>
                    </a:cubicBezTo>
                    <a:cubicBezTo>
                      <a:pt x="107" y="9"/>
                      <a:pt x="106" y="7"/>
                      <a:pt x="106" y="5"/>
                    </a:cubicBezTo>
                    <a:cubicBezTo>
                      <a:pt x="106" y="4"/>
                      <a:pt x="103" y="4"/>
                      <a:pt x="102" y="6"/>
                    </a:cubicBezTo>
                    <a:cubicBezTo>
                      <a:pt x="101" y="9"/>
                      <a:pt x="97" y="9"/>
                      <a:pt x="96" y="8"/>
                    </a:cubicBezTo>
                    <a:cubicBezTo>
                      <a:pt x="94" y="6"/>
                      <a:pt x="99" y="6"/>
                      <a:pt x="99" y="4"/>
                    </a:cubicBezTo>
                    <a:cubicBezTo>
                      <a:pt x="99" y="2"/>
                      <a:pt x="94" y="1"/>
                      <a:pt x="93" y="1"/>
                    </a:cubicBezTo>
                    <a:cubicBezTo>
                      <a:pt x="91" y="0"/>
                      <a:pt x="88" y="3"/>
                      <a:pt x="84" y="6"/>
                    </a:cubicBezTo>
                    <a:cubicBezTo>
                      <a:pt x="81" y="9"/>
                      <a:pt x="75" y="9"/>
                      <a:pt x="72" y="9"/>
                    </a:cubicBezTo>
                    <a:cubicBezTo>
                      <a:pt x="68" y="8"/>
                      <a:pt x="64" y="9"/>
                      <a:pt x="64" y="11"/>
                    </a:cubicBezTo>
                    <a:cubicBezTo>
                      <a:pt x="64" y="13"/>
                      <a:pt x="68" y="13"/>
                      <a:pt x="66" y="15"/>
                    </a:cubicBezTo>
                    <a:cubicBezTo>
                      <a:pt x="63" y="18"/>
                      <a:pt x="63" y="12"/>
                      <a:pt x="60" y="15"/>
                    </a:cubicBezTo>
                    <a:cubicBezTo>
                      <a:pt x="58" y="17"/>
                      <a:pt x="50" y="17"/>
                      <a:pt x="48" y="17"/>
                    </a:cubicBezTo>
                    <a:cubicBezTo>
                      <a:pt x="47" y="16"/>
                      <a:pt x="41" y="23"/>
                      <a:pt x="39" y="25"/>
                    </a:cubicBezTo>
                    <a:cubicBezTo>
                      <a:pt x="37" y="26"/>
                      <a:pt x="40" y="28"/>
                      <a:pt x="35" y="33"/>
                    </a:cubicBezTo>
                    <a:cubicBezTo>
                      <a:pt x="31" y="38"/>
                      <a:pt x="18" y="37"/>
                      <a:pt x="15" y="37"/>
                    </a:cubicBezTo>
                    <a:cubicBezTo>
                      <a:pt x="12" y="37"/>
                      <a:pt x="14" y="40"/>
                      <a:pt x="13" y="42"/>
                    </a:cubicBezTo>
                    <a:cubicBezTo>
                      <a:pt x="12" y="44"/>
                      <a:pt x="15" y="46"/>
                      <a:pt x="22" y="48"/>
                    </a:cubicBezTo>
                    <a:cubicBezTo>
                      <a:pt x="29" y="50"/>
                      <a:pt x="34" y="60"/>
                      <a:pt x="35" y="62"/>
                    </a:cubicBezTo>
                    <a:cubicBezTo>
                      <a:pt x="36" y="64"/>
                      <a:pt x="45" y="62"/>
                      <a:pt x="49" y="62"/>
                    </a:cubicBezTo>
                    <a:cubicBezTo>
                      <a:pt x="52" y="63"/>
                      <a:pt x="48" y="68"/>
                      <a:pt x="51" y="69"/>
                    </a:cubicBezTo>
                    <a:cubicBezTo>
                      <a:pt x="54" y="71"/>
                      <a:pt x="59" y="69"/>
                      <a:pt x="60" y="71"/>
                    </a:cubicBezTo>
                    <a:cubicBezTo>
                      <a:pt x="61" y="74"/>
                      <a:pt x="54" y="71"/>
                      <a:pt x="50" y="74"/>
                    </a:cubicBezTo>
                    <a:cubicBezTo>
                      <a:pt x="47" y="76"/>
                      <a:pt x="45" y="78"/>
                      <a:pt x="43" y="76"/>
                    </a:cubicBezTo>
                    <a:cubicBezTo>
                      <a:pt x="42" y="74"/>
                      <a:pt x="36" y="75"/>
                      <a:pt x="33" y="75"/>
                    </a:cubicBezTo>
                    <a:cubicBezTo>
                      <a:pt x="30" y="76"/>
                      <a:pt x="33" y="72"/>
                      <a:pt x="33" y="70"/>
                    </a:cubicBezTo>
                    <a:cubicBezTo>
                      <a:pt x="33" y="68"/>
                      <a:pt x="29" y="67"/>
                      <a:pt x="23" y="70"/>
                    </a:cubicBezTo>
                    <a:cubicBezTo>
                      <a:pt x="17" y="74"/>
                      <a:pt x="19" y="72"/>
                      <a:pt x="19" y="75"/>
                    </a:cubicBezTo>
                    <a:cubicBezTo>
                      <a:pt x="18" y="78"/>
                      <a:pt x="15" y="73"/>
                      <a:pt x="12" y="76"/>
                    </a:cubicBezTo>
                    <a:cubicBezTo>
                      <a:pt x="8" y="78"/>
                      <a:pt x="2" y="80"/>
                      <a:pt x="1" y="82"/>
                    </a:cubicBezTo>
                    <a:cubicBezTo>
                      <a:pt x="0" y="84"/>
                      <a:pt x="9" y="86"/>
                      <a:pt x="12" y="87"/>
                    </a:cubicBezTo>
                    <a:cubicBezTo>
                      <a:pt x="16" y="87"/>
                      <a:pt x="8" y="90"/>
                      <a:pt x="11" y="90"/>
                    </a:cubicBezTo>
                    <a:cubicBezTo>
                      <a:pt x="14" y="91"/>
                      <a:pt x="13" y="94"/>
                      <a:pt x="17" y="96"/>
                    </a:cubicBezTo>
                    <a:cubicBezTo>
                      <a:pt x="22" y="99"/>
                      <a:pt x="32" y="96"/>
                      <a:pt x="34" y="96"/>
                    </a:cubicBezTo>
                    <a:cubicBezTo>
                      <a:pt x="37" y="96"/>
                      <a:pt x="39" y="100"/>
                      <a:pt x="42" y="97"/>
                    </a:cubicBezTo>
                    <a:cubicBezTo>
                      <a:pt x="44" y="95"/>
                      <a:pt x="52" y="89"/>
                      <a:pt x="56" y="92"/>
                    </a:cubicBezTo>
                    <a:cubicBezTo>
                      <a:pt x="60" y="96"/>
                      <a:pt x="51" y="95"/>
                      <a:pt x="53" y="98"/>
                    </a:cubicBezTo>
                    <a:cubicBezTo>
                      <a:pt x="56" y="100"/>
                      <a:pt x="58" y="106"/>
                      <a:pt x="54" y="108"/>
                    </a:cubicBezTo>
                    <a:cubicBezTo>
                      <a:pt x="50" y="111"/>
                      <a:pt x="47" y="109"/>
                      <a:pt x="45" y="109"/>
                    </a:cubicBezTo>
                    <a:cubicBezTo>
                      <a:pt x="42" y="109"/>
                      <a:pt x="44" y="113"/>
                      <a:pt x="40" y="116"/>
                    </a:cubicBezTo>
                    <a:cubicBezTo>
                      <a:pt x="37" y="118"/>
                      <a:pt x="34" y="113"/>
                      <a:pt x="30" y="113"/>
                    </a:cubicBezTo>
                    <a:cubicBezTo>
                      <a:pt x="26" y="113"/>
                      <a:pt x="27" y="118"/>
                      <a:pt x="27" y="121"/>
                    </a:cubicBezTo>
                    <a:cubicBezTo>
                      <a:pt x="27" y="124"/>
                      <a:pt x="20" y="121"/>
                      <a:pt x="19" y="127"/>
                    </a:cubicBezTo>
                    <a:cubicBezTo>
                      <a:pt x="17" y="133"/>
                      <a:pt x="10" y="128"/>
                      <a:pt x="15" y="134"/>
                    </a:cubicBezTo>
                    <a:cubicBezTo>
                      <a:pt x="19" y="140"/>
                      <a:pt x="19" y="136"/>
                      <a:pt x="22" y="139"/>
                    </a:cubicBezTo>
                    <a:cubicBezTo>
                      <a:pt x="26" y="141"/>
                      <a:pt x="18" y="146"/>
                      <a:pt x="22" y="147"/>
                    </a:cubicBezTo>
                    <a:cubicBezTo>
                      <a:pt x="25" y="147"/>
                      <a:pt x="29" y="154"/>
                      <a:pt x="32" y="156"/>
                    </a:cubicBezTo>
                    <a:cubicBezTo>
                      <a:pt x="34" y="158"/>
                      <a:pt x="38" y="155"/>
                      <a:pt x="41" y="155"/>
                    </a:cubicBezTo>
                    <a:cubicBezTo>
                      <a:pt x="45" y="154"/>
                      <a:pt x="43" y="149"/>
                      <a:pt x="45" y="151"/>
                    </a:cubicBezTo>
                    <a:cubicBezTo>
                      <a:pt x="48" y="153"/>
                      <a:pt x="51" y="159"/>
                      <a:pt x="49" y="160"/>
                    </a:cubicBezTo>
                    <a:cubicBezTo>
                      <a:pt x="47" y="162"/>
                      <a:pt x="48" y="166"/>
                      <a:pt x="48" y="168"/>
                    </a:cubicBezTo>
                    <a:cubicBezTo>
                      <a:pt x="48" y="171"/>
                      <a:pt x="56" y="170"/>
                      <a:pt x="57" y="167"/>
                    </a:cubicBezTo>
                    <a:cubicBezTo>
                      <a:pt x="57" y="165"/>
                      <a:pt x="64" y="164"/>
                      <a:pt x="68" y="168"/>
                    </a:cubicBezTo>
                    <a:cubicBezTo>
                      <a:pt x="71" y="172"/>
                      <a:pt x="73" y="173"/>
                      <a:pt x="73" y="170"/>
                    </a:cubicBezTo>
                    <a:cubicBezTo>
                      <a:pt x="73" y="167"/>
                      <a:pt x="76" y="163"/>
                      <a:pt x="76" y="166"/>
                    </a:cubicBezTo>
                    <a:cubicBezTo>
                      <a:pt x="76" y="168"/>
                      <a:pt x="79" y="169"/>
                      <a:pt x="85" y="167"/>
                    </a:cubicBezTo>
                    <a:cubicBezTo>
                      <a:pt x="90" y="164"/>
                      <a:pt x="88" y="167"/>
                      <a:pt x="85" y="170"/>
                    </a:cubicBezTo>
                    <a:cubicBezTo>
                      <a:pt x="81" y="175"/>
                      <a:pt x="85" y="182"/>
                      <a:pt x="82" y="183"/>
                    </a:cubicBezTo>
                    <a:cubicBezTo>
                      <a:pt x="79" y="184"/>
                      <a:pt x="77" y="191"/>
                      <a:pt x="72" y="192"/>
                    </a:cubicBezTo>
                    <a:cubicBezTo>
                      <a:pt x="68" y="192"/>
                      <a:pt x="60" y="201"/>
                      <a:pt x="59" y="202"/>
                    </a:cubicBezTo>
                    <a:cubicBezTo>
                      <a:pt x="58" y="204"/>
                      <a:pt x="48" y="200"/>
                      <a:pt x="46" y="204"/>
                    </a:cubicBezTo>
                    <a:cubicBezTo>
                      <a:pt x="45" y="208"/>
                      <a:pt x="39" y="211"/>
                      <a:pt x="40" y="212"/>
                    </a:cubicBezTo>
                    <a:cubicBezTo>
                      <a:pt x="42" y="214"/>
                      <a:pt x="50" y="209"/>
                      <a:pt x="50" y="207"/>
                    </a:cubicBezTo>
                    <a:cubicBezTo>
                      <a:pt x="50" y="205"/>
                      <a:pt x="51" y="206"/>
                      <a:pt x="53" y="207"/>
                    </a:cubicBezTo>
                    <a:cubicBezTo>
                      <a:pt x="54" y="209"/>
                      <a:pt x="58" y="206"/>
                      <a:pt x="60" y="205"/>
                    </a:cubicBezTo>
                    <a:cubicBezTo>
                      <a:pt x="61" y="204"/>
                      <a:pt x="64" y="204"/>
                      <a:pt x="65" y="204"/>
                    </a:cubicBezTo>
                    <a:cubicBezTo>
                      <a:pt x="67" y="204"/>
                      <a:pt x="68" y="202"/>
                      <a:pt x="73" y="201"/>
                    </a:cubicBezTo>
                    <a:cubicBezTo>
                      <a:pt x="77" y="201"/>
                      <a:pt x="76" y="199"/>
                      <a:pt x="77" y="197"/>
                    </a:cubicBezTo>
                    <a:cubicBezTo>
                      <a:pt x="78" y="194"/>
                      <a:pt x="90" y="189"/>
                      <a:pt x="92" y="188"/>
                    </a:cubicBezTo>
                    <a:cubicBezTo>
                      <a:pt x="94" y="188"/>
                      <a:pt x="93" y="184"/>
                      <a:pt x="95" y="184"/>
                    </a:cubicBezTo>
                    <a:cubicBezTo>
                      <a:pt x="98" y="184"/>
                      <a:pt x="101" y="181"/>
                      <a:pt x="104" y="178"/>
                    </a:cubicBezTo>
                    <a:cubicBezTo>
                      <a:pt x="107" y="176"/>
                      <a:pt x="108" y="177"/>
                      <a:pt x="110" y="176"/>
                    </a:cubicBezTo>
                    <a:cubicBezTo>
                      <a:pt x="112" y="175"/>
                      <a:pt x="111" y="171"/>
                      <a:pt x="113" y="170"/>
                    </a:cubicBezTo>
                    <a:cubicBezTo>
                      <a:pt x="115" y="170"/>
                      <a:pt x="117" y="168"/>
                      <a:pt x="117" y="166"/>
                    </a:cubicBezTo>
                    <a:cubicBezTo>
                      <a:pt x="117" y="164"/>
                      <a:pt x="111" y="164"/>
                      <a:pt x="111" y="163"/>
                    </a:cubicBezTo>
                    <a:cubicBezTo>
                      <a:pt x="110" y="162"/>
                      <a:pt x="115" y="157"/>
                      <a:pt x="117" y="157"/>
                    </a:cubicBezTo>
                    <a:cubicBezTo>
                      <a:pt x="119" y="157"/>
                      <a:pt x="122" y="155"/>
                      <a:pt x="123" y="152"/>
                    </a:cubicBezTo>
                    <a:cubicBezTo>
                      <a:pt x="123" y="149"/>
                      <a:pt x="126" y="149"/>
                      <a:pt x="128" y="146"/>
                    </a:cubicBezTo>
                    <a:cubicBezTo>
                      <a:pt x="130" y="144"/>
                      <a:pt x="130" y="142"/>
                      <a:pt x="132" y="142"/>
                    </a:cubicBezTo>
                    <a:cubicBezTo>
                      <a:pt x="134" y="141"/>
                      <a:pt x="137" y="138"/>
                      <a:pt x="139" y="137"/>
                    </a:cubicBezTo>
                    <a:cubicBezTo>
                      <a:pt x="142" y="135"/>
                      <a:pt x="139" y="139"/>
                      <a:pt x="144" y="139"/>
                    </a:cubicBezTo>
                    <a:cubicBezTo>
                      <a:pt x="149" y="139"/>
                      <a:pt x="148" y="143"/>
                      <a:pt x="144" y="142"/>
                    </a:cubicBezTo>
                    <a:cubicBezTo>
                      <a:pt x="140" y="140"/>
                      <a:pt x="139" y="140"/>
                      <a:pt x="136" y="143"/>
                    </a:cubicBezTo>
                    <a:cubicBezTo>
                      <a:pt x="132" y="146"/>
                      <a:pt x="135" y="147"/>
                      <a:pt x="132" y="151"/>
                    </a:cubicBezTo>
                    <a:cubicBezTo>
                      <a:pt x="130" y="154"/>
                      <a:pt x="130" y="156"/>
                      <a:pt x="133" y="157"/>
                    </a:cubicBezTo>
                    <a:cubicBezTo>
                      <a:pt x="136" y="157"/>
                      <a:pt x="133" y="159"/>
                      <a:pt x="130" y="160"/>
                    </a:cubicBezTo>
                    <a:cubicBezTo>
                      <a:pt x="127" y="161"/>
                      <a:pt x="129" y="163"/>
                      <a:pt x="133" y="163"/>
                    </a:cubicBezTo>
                    <a:cubicBezTo>
                      <a:pt x="137" y="163"/>
                      <a:pt x="144" y="157"/>
                      <a:pt x="149" y="154"/>
                    </a:cubicBezTo>
                    <a:cubicBezTo>
                      <a:pt x="155" y="151"/>
                      <a:pt x="159" y="154"/>
                      <a:pt x="161" y="154"/>
                    </a:cubicBezTo>
                    <a:cubicBezTo>
                      <a:pt x="162" y="153"/>
                      <a:pt x="159" y="150"/>
                      <a:pt x="161" y="149"/>
                    </a:cubicBezTo>
                    <a:cubicBezTo>
                      <a:pt x="163" y="149"/>
                      <a:pt x="159" y="148"/>
                      <a:pt x="157" y="145"/>
                    </a:cubicBezTo>
                    <a:cubicBezTo>
                      <a:pt x="156" y="141"/>
                      <a:pt x="159" y="143"/>
                      <a:pt x="160" y="141"/>
                    </a:cubicBezTo>
                    <a:cubicBezTo>
                      <a:pt x="161" y="138"/>
                      <a:pt x="163" y="139"/>
                      <a:pt x="165" y="140"/>
                    </a:cubicBezTo>
                    <a:cubicBezTo>
                      <a:pt x="166" y="142"/>
                      <a:pt x="169" y="139"/>
                      <a:pt x="170" y="143"/>
                    </a:cubicBezTo>
                    <a:cubicBezTo>
                      <a:pt x="172" y="146"/>
                      <a:pt x="174" y="142"/>
                      <a:pt x="177" y="144"/>
                    </a:cubicBezTo>
                    <a:cubicBezTo>
                      <a:pt x="180" y="146"/>
                      <a:pt x="176" y="146"/>
                      <a:pt x="173" y="147"/>
                    </a:cubicBezTo>
                    <a:cubicBezTo>
                      <a:pt x="170" y="147"/>
                      <a:pt x="172" y="151"/>
                      <a:pt x="174" y="149"/>
                    </a:cubicBezTo>
                    <a:cubicBezTo>
                      <a:pt x="176" y="148"/>
                      <a:pt x="178" y="146"/>
                      <a:pt x="180" y="148"/>
                    </a:cubicBezTo>
                    <a:cubicBezTo>
                      <a:pt x="183" y="150"/>
                      <a:pt x="183" y="149"/>
                      <a:pt x="185" y="148"/>
                    </a:cubicBezTo>
                    <a:cubicBezTo>
                      <a:pt x="187" y="146"/>
                      <a:pt x="187" y="148"/>
                      <a:pt x="187" y="149"/>
                    </a:cubicBezTo>
                    <a:cubicBezTo>
                      <a:pt x="187" y="151"/>
                      <a:pt x="191" y="151"/>
                      <a:pt x="196" y="152"/>
                    </a:cubicBezTo>
                    <a:cubicBezTo>
                      <a:pt x="201" y="153"/>
                      <a:pt x="211" y="152"/>
                      <a:pt x="214" y="151"/>
                    </a:cubicBezTo>
                    <a:cubicBezTo>
                      <a:pt x="216" y="151"/>
                      <a:pt x="215" y="155"/>
                      <a:pt x="221" y="156"/>
                    </a:cubicBezTo>
                    <a:cubicBezTo>
                      <a:pt x="226" y="157"/>
                      <a:pt x="228" y="151"/>
                      <a:pt x="231" y="153"/>
                    </a:cubicBezTo>
                    <a:cubicBezTo>
                      <a:pt x="233" y="155"/>
                      <a:pt x="231" y="156"/>
                      <a:pt x="229" y="158"/>
                    </a:cubicBezTo>
                    <a:cubicBezTo>
                      <a:pt x="227" y="160"/>
                      <a:pt x="231" y="160"/>
                      <a:pt x="233" y="161"/>
                    </a:cubicBezTo>
                    <a:cubicBezTo>
                      <a:pt x="235" y="162"/>
                      <a:pt x="240" y="163"/>
                      <a:pt x="242" y="166"/>
                    </a:cubicBezTo>
                    <a:cubicBezTo>
                      <a:pt x="245" y="168"/>
                      <a:pt x="246" y="170"/>
                      <a:pt x="252" y="173"/>
                    </a:cubicBezTo>
                    <a:cubicBezTo>
                      <a:pt x="257" y="176"/>
                      <a:pt x="252" y="166"/>
                      <a:pt x="256" y="169"/>
                    </a:cubicBezTo>
                    <a:cubicBezTo>
                      <a:pt x="261" y="173"/>
                      <a:pt x="259" y="169"/>
                      <a:pt x="263" y="173"/>
                    </a:cubicBezTo>
                    <a:cubicBezTo>
                      <a:pt x="266" y="176"/>
                      <a:pt x="265" y="171"/>
                      <a:pt x="264" y="166"/>
                    </a:cubicBezTo>
                    <a:cubicBezTo>
                      <a:pt x="262" y="161"/>
                      <a:pt x="265" y="164"/>
                      <a:pt x="267" y="167"/>
                    </a:cubicBezTo>
                    <a:cubicBezTo>
                      <a:pt x="268" y="169"/>
                      <a:pt x="268" y="174"/>
                      <a:pt x="267" y="177"/>
                    </a:cubicBezTo>
                    <a:cubicBezTo>
                      <a:pt x="266" y="180"/>
                      <a:pt x="261" y="178"/>
                      <a:pt x="261" y="176"/>
                    </a:cubicBezTo>
                    <a:cubicBezTo>
                      <a:pt x="262" y="174"/>
                      <a:pt x="256" y="175"/>
                      <a:pt x="256" y="177"/>
                    </a:cubicBezTo>
                    <a:cubicBezTo>
                      <a:pt x="256" y="180"/>
                      <a:pt x="260" y="185"/>
                      <a:pt x="262" y="185"/>
                    </a:cubicBezTo>
                    <a:cubicBezTo>
                      <a:pt x="265" y="186"/>
                      <a:pt x="263" y="190"/>
                      <a:pt x="265" y="191"/>
                    </a:cubicBezTo>
                    <a:cubicBezTo>
                      <a:pt x="267" y="191"/>
                      <a:pt x="267" y="196"/>
                      <a:pt x="269" y="195"/>
                    </a:cubicBezTo>
                    <a:cubicBezTo>
                      <a:pt x="270" y="195"/>
                      <a:pt x="270" y="189"/>
                      <a:pt x="268" y="187"/>
                    </a:cubicBezTo>
                    <a:cubicBezTo>
                      <a:pt x="266" y="184"/>
                      <a:pt x="267" y="181"/>
                      <a:pt x="269" y="181"/>
                    </a:cubicBezTo>
                    <a:cubicBezTo>
                      <a:pt x="271" y="182"/>
                      <a:pt x="269" y="186"/>
                      <a:pt x="270" y="187"/>
                    </a:cubicBezTo>
                    <a:cubicBezTo>
                      <a:pt x="271" y="188"/>
                      <a:pt x="273" y="186"/>
                      <a:pt x="275" y="184"/>
                    </a:cubicBezTo>
                    <a:cubicBezTo>
                      <a:pt x="278" y="183"/>
                      <a:pt x="274" y="179"/>
                      <a:pt x="275" y="177"/>
                    </a:cubicBezTo>
                    <a:cubicBezTo>
                      <a:pt x="276" y="174"/>
                      <a:pt x="279" y="178"/>
                      <a:pt x="280" y="182"/>
                    </a:cubicBezTo>
                    <a:cubicBezTo>
                      <a:pt x="281" y="186"/>
                      <a:pt x="277" y="186"/>
                      <a:pt x="277" y="188"/>
                    </a:cubicBezTo>
                    <a:cubicBezTo>
                      <a:pt x="277" y="190"/>
                      <a:pt x="274" y="189"/>
                      <a:pt x="273" y="190"/>
                    </a:cubicBezTo>
                    <a:cubicBezTo>
                      <a:pt x="272" y="191"/>
                      <a:pt x="272" y="198"/>
                      <a:pt x="274" y="198"/>
                    </a:cubicBezTo>
                    <a:cubicBezTo>
                      <a:pt x="275" y="198"/>
                      <a:pt x="276" y="192"/>
                      <a:pt x="277" y="195"/>
                    </a:cubicBezTo>
                    <a:cubicBezTo>
                      <a:pt x="278" y="198"/>
                      <a:pt x="281" y="191"/>
                      <a:pt x="282" y="194"/>
                    </a:cubicBezTo>
                    <a:cubicBezTo>
                      <a:pt x="283" y="197"/>
                      <a:pt x="287" y="200"/>
                      <a:pt x="289" y="200"/>
                    </a:cubicBezTo>
                    <a:cubicBezTo>
                      <a:pt x="290" y="199"/>
                      <a:pt x="288" y="196"/>
                      <a:pt x="285" y="196"/>
                    </a:cubicBezTo>
                    <a:cubicBezTo>
                      <a:pt x="283" y="196"/>
                      <a:pt x="283" y="191"/>
                      <a:pt x="286" y="191"/>
                    </a:cubicBezTo>
                    <a:cubicBezTo>
                      <a:pt x="288" y="191"/>
                      <a:pt x="292" y="197"/>
                      <a:pt x="292" y="199"/>
                    </a:cubicBezTo>
                    <a:cubicBezTo>
                      <a:pt x="292" y="201"/>
                      <a:pt x="290" y="201"/>
                      <a:pt x="288" y="203"/>
                    </a:cubicBezTo>
                    <a:cubicBezTo>
                      <a:pt x="286" y="206"/>
                      <a:pt x="283" y="200"/>
                      <a:pt x="281" y="200"/>
                    </a:cubicBezTo>
                    <a:cubicBezTo>
                      <a:pt x="279" y="200"/>
                      <a:pt x="281" y="204"/>
                      <a:pt x="282" y="206"/>
                    </a:cubicBezTo>
                    <a:cubicBezTo>
                      <a:pt x="283" y="209"/>
                      <a:pt x="279" y="212"/>
                      <a:pt x="282" y="214"/>
                    </a:cubicBezTo>
                    <a:cubicBezTo>
                      <a:pt x="285" y="216"/>
                      <a:pt x="284" y="213"/>
                      <a:pt x="285" y="211"/>
                    </a:cubicBezTo>
                    <a:cubicBezTo>
                      <a:pt x="285" y="210"/>
                      <a:pt x="288" y="212"/>
                      <a:pt x="289" y="213"/>
                    </a:cubicBezTo>
                    <a:cubicBezTo>
                      <a:pt x="291" y="214"/>
                      <a:pt x="291" y="210"/>
                      <a:pt x="291" y="209"/>
                    </a:cubicBezTo>
                    <a:cubicBezTo>
                      <a:pt x="291" y="207"/>
                      <a:pt x="294" y="208"/>
                      <a:pt x="295" y="210"/>
                    </a:cubicBezTo>
                    <a:cubicBezTo>
                      <a:pt x="297" y="212"/>
                      <a:pt x="297" y="208"/>
                      <a:pt x="299" y="208"/>
                    </a:cubicBezTo>
                    <a:cubicBezTo>
                      <a:pt x="301" y="208"/>
                      <a:pt x="300" y="212"/>
                      <a:pt x="300" y="214"/>
                    </a:cubicBezTo>
                    <a:cubicBezTo>
                      <a:pt x="300" y="216"/>
                      <a:pt x="303" y="212"/>
                      <a:pt x="303" y="214"/>
                    </a:cubicBezTo>
                    <a:cubicBezTo>
                      <a:pt x="303" y="215"/>
                      <a:pt x="303" y="215"/>
                      <a:pt x="303" y="215"/>
                    </a:cubicBezTo>
                    <a:cubicBezTo>
                      <a:pt x="305" y="214"/>
                      <a:pt x="307" y="212"/>
                      <a:pt x="308" y="211"/>
                    </a:cubicBezTo>
                    <a:cubicBezTo>
                      <a:pt x="312" y="209"/>
                      <a:pt x="306" y="207"/>
                      <a:pt x="307" y="204"/>
                    </a:cubicBezTo>
                    <a:close/>
                    <a:moveTo>
                      <a:pt x="6" y="229"/>
                    </a:moveTo>
                    <a:cubicBezTo>
                      <a:pt x="10" y="227"/>
                      <a:pt x="12" y="225"/>
                      <a:pt x="10" y="223"/>
                    </a:cubicBezTo>
                    <a:cubicBezTo>
                      <a:pt x="8" y="221"/>
                      <a:pt x="3" y="231"/>
                      <a:pt x="6" y="229"/>
                    </a:cubicBezTo>
                    <a:close/>
                    <a:moveTo>
                      <a:pt x="36" y="213"/>
                    </a:moveTo>
                    <a:cubicBezTo>
                      <a:pt x="32" y="212"/>
                      <a:pt x="22" y="218"/>
                      <a:pt x="25" y="219"/>
                    </a:cubicBezTo>
                    <a:cubicBezTo>
                      <a:pt x="28" y="219"/>
                      <a:pt x="29" y="216"/>
                      <a:pt x="32" y="216"/>
                    </a:cubicBezTo>
                    <a:cubicBezTo>
                      <a:pt x="35" y="216"/>
                      <a:pt x="40" y="215"/>
                      <a:pt x="36" y="213"/>
                    </a:cubicBezTo>
                    <a:close/>
                    <a:moveTo>
                      <a:pt x="127" y="171"/>
                    </a:moveTo>
                    <a:cubicBezTo>
                      <a:pt x="127" y="169"/>
                      <a:pt x="124" y="169"/>
                      <a:pt x="120" y="174"/>
                    </a:cubicBezTo>
                    <a:cubicBezTo>
                      <a:pt x="117" y="178"/>
                      <a:pt x="114" y="180"/>
                      <a:pt x="113" y="182"/>
                    </a:cubicBezTo>
                    <a:cubicBezTo>
                      <a:pt x="113" y="184"/>
                      <a:pt x="109" y="181"/>
                      <a:pt x="107" y="184"/>
                    </a:cubicBezTo>
                    <a:cubicBezTo>
                      <a:pt x="106" y="186"/>
                      <a:pt x="108" y="192"/>
                      <a:pt x="111" y="190"/>
                    </a:cubicBezTo>
                    <a:cubicBezTo>
                      <a:pt x="113" y="188"/>
                      <a:pt x="113" y="190"/>
                      <a:pt x="115" y="190"/>
                    </a:cubicBezTo>
                    <a:cubicBezTo>
                      <a:pt x="117" y="190"/>
                      <a:pt x="124" y="185"/>
                      <a:pt x="126" y="183"/>
                    </a:cubicBezTo>
                    <a:cubicBezTo>
                      <a:pt x="127" y="180"/>
                      <a:pt x="123" y="179"/>
                      <a:pt x="122" y="178"/>
                    </a:cubicBezTo>
                    <a:cubicBezTo>
                      <a:pt x="122" y="176"/>
                      <a:pt x="126" y="176"/>
                      <a:pt x="128" y="175"/>
                    </a:cubicBezTo>
                    <a:cubicBezTo>
                      <a:pt x="130" y="174"/>
                      <a:pt x="126" y="173"/>
                      <a:pt x="127" y="171"/>
                    </a:cubicBezTo>
                    <a:close/>
                    <a:moveTo>
                      <a:pt x="13" y="150"/>
                    </a:moveTo>
                    <a:cubicBezTo>
                      <a:pt x="13" y="147"/>
                      <a:pt x="5" y="150"/>
                      <a:pt x="6" y="153"/>
                    </a:cubicBezTo>
                    <a:cubicBezTo>
                      <a:pt x="7" y="155"/>
                      <a:pt x="14" y="157"/>
                      <a:pt x="17" y="156"/>
                    </a:cubicBezTo>
                    <a:cubicBezTo>
                      <a:pt x="20" y="155"/>
                      <a:pt x="21" y="152"/>
                      <a:pt x="19" y="151"/>
                    </a:cubicBezTo>
                    <a:cubicBezTo>
                      <a:pt x="17" y="149"/>
                      <a:pt x="13" y="153"/>
                      <a:pt x="13" y="150"/>
                    </a:cubicBezTo>
                    <a:close/>
                    <a:moveTo>
                      <a:pt x="100" y="544"/>
                    </a:moveTo>
                    <a:cubicBezTo>
                      <a:pt x="95" y="545"/>
                      <a:pt x="98" y="556"/>
                      <a:pt x="100" y="554"/>
                    </a:cubicBezTo>
                    <a:cubicBezTo>
                      <a:pt x="102" y="553"/>
                      <a:pt x="105" y="552"/>
                      <a:pt x="106" y="551"/>
                    </a:cubicBezTo>
                    <a:cubicBezTo>
                      <a:pt x="107" y="548"/>
                      <a:pt x="104" y="543"/>
                      <a:pt x="100" y="544"/>
                    </a:cubicBezTo>
                    <a:close/>
                    <a:moveTo>
                      <a:pt x="94" y="537"/>
                    </a:moveTo>
                    <a:cubicBezTo>
                      <a:pt x="91" y="538"/>
                      <a:pt x="93" y="542"/>
                      <a:pt x="95" y="541"/>
                    </a:cubicBezTo>
                    <a:cubicBezTo>
                      <a:pt x="98" y="539"/>
                      <a:pt x="97" y="537"/>
                      <a:pt x="94" y="537"/>
                    </a:cubicBezTo>
                    <a:close/>
                    <a:moveTo>
                      <a:pt x="66" y="528"/>
                    </a:moveTo>
                    <a:cubicBezTo>
                      <a:pt x="69" y="531"/>
                      <a:pt x="70" y="530"/>
                      <a:pt x="71" y="528"/>
                    </a:cubicBezTo>
                    <a:cubicBezTo>
                      <a:pt x="72" y="526"/>
                      <a:pt x="64" y="525"/>
                      <a:pt x="66" y="528"/>
                    </a:cubicBezTo>
                    <a:close/>
                    <a:moveTo>
                      <a:pt x="79" y="534"/>
                    </a:moveTo>
                    <a:cubicBezTo>
                      <a:pt x="80" y="536"/>
                      <a:pt x="82" y="537"/>
                      <a:pt x="84" y="534"/>
                    </a:cubicBezTo>
                    <a:cubicBezTo>
                      <a:pt x="85" y="532"/>
                      <a:pt x="77" y="530"/>
                      <a:pt x="79" y="534"/>
                    </a:cubicBezTo>
                    <a:close/>
                    <a:moveTo>
                      <a:pt x="811" y="295"/>
                    </a:moveTo>
                    <a:cubicBezTo>
                      <a:pt x="810" y="292"/>
                      <a:pt x="803" y="294"/>
                      <a:pt x="800" y="292"/>
                    </a:cubicBezTo>
                    <a:cubicBezTo>
                      <a:pt x="797" y="289"/>
                      <a:pt x="791" y="301"/>
                      <a:pt x="790" y="306"/>
                    </a:cubicBezTo>
                    <a:cubicBezTo>
                      <a:pt x="789" y="311"/>
                      <a:pt x="780" y="316"/>
                      <a:pt x="780" y="316"/>
                    </a:cubicBezTo>
                    <a:cubicBezTo>
                      <a:pt x="780" y="316"/>
                      <a:pt x="754" y="317"/>
                      <a:pt x="752" y="317"/>
                    </a:cubicBezTo>
                    <a:cubicBezTo>
                      <a:pt x="751" y="317"/>
                      <a:pt x="745" y="322"/>
                      <a:pt x="741" y="325"/>
                    </a:cubicBezTo>
                    <a:cubicBezTo>
                      <a:pt x="741" y="325"/>
                      <a:pt x="742" y="325"/>
                      <a:pt x="742" y="325"/>
                    </a:cubicBezTo>
                    <a:cubicBezTo>
                      <a:pt x="744" y="330"/>
                      <a:pt x="735" y="333"/>
                      <a:pt x="726" y="333"/>
                    </a:cubicBezTo>
                    <a:cubicBezTo>
                      <a:pt x="723" y="333"/>
                      <a:pt x="721" y="333"/>
                      <a:pt x="720" y="334"/>
                    </a:cubicBezTo>
                    <a:cubicBezTo>
                      <a:pt x="720" y="335"/>
                      <a:pt x="720" y="336"/>
                      <a:pt x="720" y="337"/>
                    </a:cubicBezTo>
                    <a:cubicBezTo>
                      <a:pt x="720" y="337"/>
                      <a:pt x="719" y="338"/>
                      <a:pt x="718" y="339"/>
                    </a:cubicBezTo>
                    <a:cubicBezTo>
                      <a:pt x="716" y="342"/>
                      <a:pt x="705" y="347"/>
                      <a:pt x="699" y="350"/>
                    </a:cubicBezTo>
                    <a:cubicBezTo>
                      <a:pt x="692" y="354"/>
                      <a:pt x="683" y="352"/>
                      <a:pt x="683" y="347"/>
                    </a:cubicBezTo>
                    <a:cubicBezTo>
                      <a:pt x="683" y="341"/>
                      <a:pt x="688" y="342"/>
                      <a:pt x="689" y="345"/>
                    </a:cubicBezTo>
                    <a:cubicBezTo>
                      <a:pt x="690" y="346"/>
                      <a:pt x="691" y="345"/>
                      <a:pt x="692" y="344"/>
                    </a:cubicBezTo>
                    <a:cubicBezTo>
                      <a:pt x="691" y="342"/>
                      <a:pt x="691" y="340"/>
                      <a:pt x="691" y="338"/>
                    </a:cubicBezTo>
                    <a:cubicBezTo>
                      <a:pt x="689" y="337"/>
                      <a:pt x="692" y="329"/>
                      <a:pt x="688" y="327"/>
                    </a:cubicBezTo>
                    <a:cubicBezTo>
                      <a:pt x="684" y="326"/>
                      <a:pt x="679" y="333"/>
                      <a:pt x="680" y="329"/>
                    </a:cubicBezTo>
                    <a:cubicBezTo>
                      <a:pt x="680" y="324"/>
                      <a:pt x="687" y="320"/>
                      <a:pt x="683" y="314"/>
                    </a:cubicBezTo>
                    <a:cubicBezTo>
                      <a:pt x="679" y="308"/>
                      <a:pt x="672" y="308"/>
                      <a:pt x="670" y="313"/>
                    </a:cubicBezTo>
                    <a:cubicBezTo>
                      <a:pt x="669" y="317"/>
                      <a:pt x="664" y="315"/>
                      <a:pt x="662" y="319"/>
                    </a:cubicBezTo>
                    <a:cubicBezTo>
                      <a:pt x="660" y="322"/>
                      <a:pt x="659" y="330"/>
                      <a:pt x="660" y="336"/>
                    </a:cubicBezTo>
                    <a:cubicBezTo>
                      <a:pt x="661" y="342"/>
                      <a:pt x="660" y="344"/>
                      <a:pt x="654" y="348"/>
                    </a:cubicBezTo>
                    <a:cubicBezTo>
                      <a:pt x="649" y="351"/>
                      <a:pt x="646" y="343"/>
                      <a:pt x="648" y="332"/>
                    </a:cubicBezTo>
                    <a:cubicBezTo>
                      <a:pt x="650" y="325"/>
                      <a:pt x="654" y="318"/>
                      <a:pt x="650" y="318"/>
                    </a:cubicBezTo>
                    <a:cubicBezTo>
                      <a:pt x="646" y="318"/>
                      <a:pt x="655" y="310"/>
                      <a:pt x="662" y="308"/>
                    </a:cubicBezTo>
                    <a:cubicBezTo>
                      <a:pt x="670" y="306"/>
                      <a:pt x="679" y="307"/>
                      <a:pt x="679" y="305"/>
                    </a:cubicBezTo>
                    <a:cubicBezTo>
                      <a:pt x="679" y="304"/>
                      <a:pt x="679" y="304"/>
                      <a:pt x="680" y="304"/>
                    </a:cubicBezTo>
                    <a:cubicBezTo>
                      <a:pt x="678" y="303"/>
                      <a:pt x="677" y="302"/>
                      <a:pt x="675" y="301"/>
                    </a:cubicBezTo>
                    <a:cubicBezTo>
                      <a:pt x="675" y="301"/>
                      <a:pt x="675" y="302"/>
                      <a:pt x="674" y="302"/>
                    </a:cubicBezTo>
                    <a:cubicBezTo>
                      <a:pt x="671" y="304"/>
                      <a:pt x="672" y="299"/>
                      <a:pt x="667" y="299"/>
                    </a:cubicBezTo>
                    <a:cubicBezTo>
                      <a:pt x="661" y="299"/>
                      <a:pt x="656" y="304"/>
                      <a:pt x="652" y="302"/>
                    </a:cubicBezTo>
                    <a:cubicBezTo>
                      <a:pt x="648" y="299"/>
                      <a:pt x="650" y="297"/>
                      <a:pt x="646" y="297"/>
                    </a:cubicBezTo>
                    <a:cubicBezTo>
                      <a:pt x="642" y="297"/>
                      <a:pt x="649" y="289"/>
                      <a:pt x="643" y="292"/>
                    </a:cubicBezTo>
                    <a:cubicBezTo>
                      <a:pt x="637" y="296"/>
                      <a:pt x="629" y="303"/>
                      <a:pt x="625" y="300"/>
                    </a:cubicBezTo>
                    <a:cubicBezTo>
                      <a:pt x="621" y="296"/>
                      <a:pt x="617" y="301"/>
                      <a:pt x="614" y="298"/>
                    </a:cubicBezTo>
                    <a:cubicBezTo>
                      <a:pt x="612" y="295"/>
                      <a:pt x="624" y="287"/>
                      <a:pt x="630" y="288"/>
                    </a:cubicBezTo>
                    <a:cubicBezTo>
                      <a:pt x="632" y="288"/>
                      <a:pt x="633" y="287"/>
                      <a:pt x="635" y="286"/>
                    </a:cubicBezTo>
                    <a:cubicBezTo>
                      <a:pt x="631" y="285"/>
                      <a:pt x="625" y="282"/>
                      <a:pt x="623" y="285"/>
                    </a:cubicBezTo>
                    <a:cubicBezTo>
                      <a:pt x="621" y="287"/>
                      <a:pt x="618" y="285"/>
                      <a:pt x="616" y="283"/>
                    </a:cubicBezTo>
                    <a:cubicBezTo>
                      <a:pt x="614" y="281"/>
                      <a:pt x="612" y="284"/>
                      <a:pt x="609" y="281"/>
                    </a:cubicBezTo>
                    <a:cubicBezTo>
                      <a:pt x="607" y="277"/>
                      <a:pt x="604" y="280"/>
                      <a:pt x="602" y="280"/>
                    </a:cubicBezTo>
                    <a:cubicBezTo>
                      <a:pt x="600" y="281"/>
                      <a:pt x="598" y="279"/>
                      <a:pt x="595" y="278"/>
                    </a:cubicBezTo>
                    <a:cubicBezTo>
                      <a:pt x="592" y="277"/>
                      <a:pt x="594" y="274"/>
                      <a:pt x="592" y="272"/>
                    </a:cubicBezTo>
                    <a:cubicBezTo>
                      <a:pt x="589" y="270"/>
                      <a:pt x="589" y="276"/>
                      <a:pt x="589" y="276"/>
                    </a:cubicBezTo>
                    <a:cubicBezTo>
                      <a:pt x="367" y="277"/>
                      <a:pt x="367" y="277"/>
                      <a:pt x="367" y="277"/>
                    </a:cubicBezTo>
                    <a:cubicBezTo>
                      <a:pt x="368" y="277"/>
                      <a:pt x="368" y="277"/>
                      <a:pt x="368" y="278"/>
                    </a:cubicBezTo>
                    <a:cubicBezTo>
                      <a:pt x="371" y="281"/>
                      <a:pt x="369" y="283"/>
                      <a:pt x="370" y="286"/>
                    </a:cubicBezTo>
                    <a:cubicBezTo>
                      <a:pt x="371" y="290"/>
                      <a:pt x="370" y="294"/>
                      <a:pt x="367" y="294"/>
                    </a:cubicBezTo>
                    <a:cubicBezTo>
                      <a:pt x="364" y="294"/>
                      <a:pt x="364" y="291"/>
                      <a:pt x="366" y="290"/>
                    </a:cubicBezTo>
                    <a:cubicBezTo>
                      <a:pt x="368" y="289"/>
                      <a:pt x="367" y="285"/>
                      <a:pt x="365" y="285"/>
                    </a:cubicBezTo>
                    <a:cubicBezTo>
                      <a:pt x="364" y="285"/>
                      <a:pt x="363" y="284"/>
                      <a:pt x="363" y="282"/>
                    </a:cubicBezTo>
                    <a:cubicBezTo>
                      <a:pt x="360" y="283"/>
                      <a:pt x="356" y="283"/>
                      <a:pt x="351" y="282"/>
                    </a:cubicBezTo>
                    <a:cubicBezTo>
                      <a:pt x="351" y="282"/>
                      <a:pt x="351" y="283"/>
                      <a:pt x="351" y="283"/>
                    </a:cubicBezTo>
                    <a:cubicBezTo>
                      <a:pt x="351" y="285"/>
                      <a:pt x="352" y="290"/>
                      <a:pt x="355" y="294"/>
                    </a:cubicBezTo>
                    <a:cubicBezTo>
                      <a:pt x="358" y="297"/>
                      <a:pt x="356" y="300"/>
                      <a:pt x="359" y="301"/>
                    </a:cubicBezTo>
                    <a:cubicBezTo>
                      <a:pt x="361" y="303"/>
                      <a:pt x="361" y="304"/>
                      <a:pt x="359" y="304"/>
                    </a:cubicBezTo>
                    <a:cubicBezTo>
                      <a:pt x="356" y="303"/>
                      <a:pt x="358" y="306"/>
                      <a:pt x="357" y="311"/>
                    </a:cubicBezTo>
                    <a:cubicBezTo>
                      <a:pt x="356" y="316"/>
                      <a:pt x="356" y="327"/>
                      <a:pt x="356" y="331"/>
                    </a:cubicBezTo>
                    <a:cubicBezTo>
                      <a:pt x="355" y="334"/>
                      <a:pt x="351" y="340"/>
                      <a:pt x="354" y="343"/>
                    </a:cubicBezTo>
                    <a:cubicBezTo>
                      <a:pt x="356" y="347"/>
                      <a:pt x="358" y="352"/>
                      <a:pt x="356" y="356"/>
                    </a:cubicBezTo>
                    <a:cubicBezTo>
                      <a:pt x="355" y="361"/>
                      <a:pt x="355" y="364"/>
                      <a:pt x="357" y="367"/>
                    </a:cubicBezTo>
                    <a:cubicBezTo>
                      <a:pt x="359" y="370"/>
                      <a:pt x="358" y="376"/>
                      <a:pt x="360" y="377"/>
                    </a:cubicBezTo>
                    <a:cubicBezTo>
                      <a:pt x="362" y="379"/>
                      <a:pt x="364" y="381"/>
                      <a:pt x="366" y="384"/>
                    </a:cubicBezTo>
                    <a:cubicBezTo>
                      <a:pt x="368" y="388"/>
                      <a:pt x="369" y="386"/>
                      <a:pt x="370" y="389"/>
                    </a:cubicBezTo>
                    <a:cubicBezTo>
                      <a:pt x="370" y="392"/>
                      <a:pt x="370" y="393"/>
                      <a:pt x="373" y="394"/>
                    </a:cubicBezTo>
                    <a:cubicBezTo>
                      <a:pt x="376" y="395"/>
                      <a:pt x="374" y="398"/>
                      <a:pt x="374" y="400"/>
                    </a:cubicBezTo>
                    <a:cubicBezTo>
                      <a:pt x="374" y="402"/>
                      <a:pt x="378" y="405"/>
                      <a:pt x="383" y="409"/>
                    </a:cubicBezTo>
                    <a:cubicBezTo>
                      <a:pt x="387" y="413"/>
                      <a:pt x="383" y="417"/>
                      <a:pt x="387" y="417"/>
                    </a:cubicBezTo>
                    <a:cubicBezTo>
                      <a:pt x="390" y="417"/>
                      <a:pt x="393" y="419"/>
                      <a:pt x="397" y="421"/>
                    </a:cubicBezTo>
                    <a:cubicBezTo>
                      <a:pt x="400" y="423"/>
                      <a:pt x="401" y="422"/>
                      <a:pt x="403" y="422"/>
                    </a:cubicBezTo>
                    <a:cubicBezTo>
                      <a:pt x="406" y="423"/>
                      <a:pt x="410" y="428"/>
                      <a:pt x="411" y="431"/>
                    </a:cubicBezTo>
                    <a:cubicBezTo>
                      <a:pt x="411" y="433"/>
                      <a:pt x="412" y="434"/>
                      <a:pt x="413" y="436"/>
                    </a:cubicBezTo>
                    <a:cubicBezTo>
                      <a:pt x="431" y="434"/>
                      <a:pt x="431" y="434"/>
                      <a:pt x="431" y="434"/>
                    </a:cubicBezTo>
                    <a:cubicBezTo>
                      <a:pt x="431" y="434"/>
                      <a:pt x="437" y="438"/>
                      <a:pt x="440" y="439"/>
                    </a:cubicBezTo>
                    <a:cubicBezTo>
                      <a:pt x="443" y="439"/>
                      <a:pt x="461" y="446"/>
                      <a:pt x="461" y="446"/>
                    </a:cubicBezTo>
                    <a:cubicBezTo>
                      <a:pt x="484" y="446"/>
                      <a:pt x="484" y="446"/>
                      <a:pt x="484" y="446"/>
                    </a:cubicBezTo>
                    <a:cubicBezTo>
                      <a:pt x="486" y="442"/>
                      <a:pt x="486" y="442"/>
                      <a:pt x="486" y="442"/>
                    </a:cubicBezTo>
                    <a:cubicBezTo>
                      <a:pt x="499" y="442"/>
                      <a:pt x="499" y="442"/>
                      <a:pt x="499" y="442"/>
                    </a:cubicBezTo>
                    <a:cubicBezTo>
                      <a:pt x="499" y="442"/>
                      <a:pt x="507" y="450"/>
                      <a:pt x="508" y="450"/>
                    </a:cubicBezTo>
                    <a:cubicBezTo>
                      <a:pt x="509" y="451"/>
                      <a:pt x="513" y="454"/>
                      <a:pt x="513" y="457"/>
                    </a:cubicBezTo>
                    <a:cubicBezTo>
                      <a:pt x="513" y="459"/>
                      <a:pt x="514" y="461"/>
                      <a:pt x="516" y="462"/>
                    </a:cubicBezTo>
                    <a:cubicBezTo>
                      <a:pt x="518" y="463"/>
                      <a:pt x="525" y="467"/>
                      <a:pt x="525" y="467"/>
                    </a:cubicBezTo>
                    <a:cubicBezTo>
                      <a:pt x="526" y="466"/>
                      <a:pt x="528" y="459"/>
                      <a:pt x="532" y="459"/>
                    </a:cubicBezTo>
                    <a:cubicBezTo>
                      <a:pt x="535" y="459"/>
                      <a:pt x="545" y="462"/>
                      <a:pt x="546" y="467"/>
                    </a:cubicBezTo>
                    <a:cubicBezTo>
                      <a:pt x="548" y="473"/>
                      <a:pt x="552" y="477"/>
                      <a:pt x="554" y="478"/>
                    </a:cubicBezTo>
                    <a:cubicBezTo>
                      <a:pt x="555" y="479"/>
                      <a:pt x="554" y="483"/>
                      <a:pt x="556" y="484"/>
                    </a:cubicBezTo>
                    <a:cubicBezTo>
                      <a:pt x="557" y="486"/>
                      <a:pt x="557" y="489"/>
                      <a:pt x="558" y="489"/>
                    </a:cubicBezTo>
                    <a:cubicBezTo>
                      <a:pt x="559" y="489"/>
                      <a:pt x="566" y="493"/>
                      <a:pt x="569" y="493"/>
                    </a:cubicBezTo>
                    <a:cubicBezTo>
                      <a:pt x="570" y="493"/>
                      <a:pt x="571" y="494"/>
                      <a:pt x="572" y="494"/>
                    </a:cubicBezTo>
                    <a:cubicBezTo>
                      <a:pt x="573" y="488"/>
                      <a:pt x="566" y="487"/>
                      <a:pt x="570" y="484"/>
                    </a:cubicBezTo>
                    <a:cubicBezTo>
                      <a:pt x="575" y="481"/>
                      <a:pt x="570" y="478"/>
                      <a:pt x="572" y="476"/>
                    </a:cubicBezTo>
                    <a:cubicBezTo>
                      <a:pt x="574" y="475"/>
                      <a:pt x="578" y="474"/>
                      <a:pt x="578" y="471"/>
                    </a:cubicBezTo>
                    <a:cubicBezTo>
                      <a:pt x="578" y="469"/>
                      <a:pt x="580" y="469"/>
                      <a:pt x="583" y="470"/>
                    </a:cubicBezTo>
                    <a:cubicBezTo>
                      <a:pt x="586" y="470"/>
                      <a:pt x="591" y="465"/>
                      <a:pt x="591" y="463"/>
                    </a:cubicBezTo>
                    <a:cubicBezTo>
                      <a:pt x="590" y="461"/>
                      <a:pt x="591" y="461"/>
                      <a:pt x="595" y="461"/>
                    </a:cubicBezTo>
                    <a:cubicBezTo>
                      <a:pt x="598" y="462"/>
                      <a:pt x="597" y="458"/>
                      <a:pt x="600" y="458"/>
                    </a:cubicBezTo>
                    <a:cubicBezTo>
                      <a:pt x="602" y="459"/>
                      <a:pt x="603" y="460"/>
                      <a:pt x="604" y="459"/>
                    </a:cubicBezTo>
                    <a:cubicBezTo>
                      <a:pt x="604" y="457"/>
                      <a:pt x="606" y="457"/>
                      <a:pt x="608" y="459"/>
                    </a:cubicBezTo>
                    <a:cubicBezTo>
                      <a:pt x="609" y="462"/>
                      <a:pt x="614" y="462"/>
                      <a:pt x="614" y="460"/>
                    </a:cubicBezTo>
                    <a:cubicBezTo>
                      <a:pt x="615" y="457"/>
                      <a:pt x="617" y="460"/>
                      <a:pt x="620" y="462"/>
                    </a:cubicBezTo>
                    <a:cubicBezTo>
                      <a:pt x="622" y="465"/>
                      <a:pt x="623" y="464"/>
                      <a:pt x="626" y="464"/>
                    </a:cubicBezTo>
                    <a:cubicBezTo>
                      <a:pt x="630" y="464"/>
                      <a:pt x="630" y="463"/>
                      <a:pt x="630" y="461"/>
                    </a:cubicBezTo>
                    <a:cubicBezTo>
                      <a:pt x="630" y="459"/>
                      <a:pt x="634" y="466"/>
                      <a:pt x="637" y="466"/>
                    </a:cubicBezTo>
                    <a:cubicBezTo>
                      <a:pt x="640" y="467"/>
                      <a:pt x="638" y="464"/>
                      <a:pt x="635" y="462"/>
                    </a:cubicBezTo>
                    <a:cubicBezTo>
                      <a:pt x="633" y="460"/>
                      <a:pt x="636" y="459"/>
                      <a:pt x="634" y="458"/>
                    </a:cubicBezTo>
                    <a:cubicBezTo>
                      <a:pt x="631" y="456"/>
                      <a:pt x="636" y="454"/>
                      <a:pt x="641" y="454"/>
                    </a:cubicBezTo>
                    <a:cubicBezTo>
                      <a:pt x="645" y="454"/>
                      <a:pt x="645" y="455"/>
                      <a:pt x="646" y="453"/>
                    </a:cubicBezTo>
                    <a:cubicBezTo>
                      <a:pt x="648" y="450"/>
                      <a:pt x="649" y="453"/>
                      <a:pt x="649" y="455"/>
                    </a:cubicBezTo>
                    <a:cubicBezTo>
                      <a:pt x="649" y="457"/>
                      <a:pt x="656" y="454"/>
                      <a:pt x="660" y="454"/>
                    </a:cubicBezTo>
                    <a:cubicBezTo>
                      <a:pt x="664" y="454"/>
                      <a:pt x="667" y="457"/>
                      <a:pt x="668" y="459"/>
                    </a:cubicBezTo>
                    <a:cubicBezTo>
                      <a:pt x="668" y="461"/>
                      <a:pt x="671" y="462"/>
                      <a:pt x="673" y="460"/>
                    </a:cubicBezTo>
                    <a:cubicBezTo>
                      <a:pt x="676" y="458"/>
                      <a:pt x="678" y="455"/>
                      <a:pt x="681" y="458"/>
                    </a:cubicBezTo>
                    <a:cubicBezTo>
                      <a:pt x="683" y="460"/>
                      <a:pt x="686" y="463"/>
                      <a:pt x="689" y="466"/>
                    </a:cubicBezTo>
                    <a:cubicBezTo>
                      <a:pt x="692" y="469"/>
                      <a:pt x="687" y="473"/>
                      <a:pt x="689" y="476"/>
                    </a:cubicBezTo>
                    <a:cubicBezTo>
                      <a:pt x="691" y="478"/>
                      <a:pt x="689" y="481"/>
                      <a:pt x="692" y="484"/>
                    </a:cubicBezTo>
                    <a:cubicBezTo>
                      <a:pt x="696" y="486"/>
                      <a:pt x="693" y="491"/>
                      <a:pt x="696" y="492"/>
                    </a:cubicBezTo>
                    <a:cubicBezTo>
                      <a:pt x="698" y="493"/>
                      <a:pt x="701" y="497"/>
                      <a:pt x="701" y="499"/>
                    </a:cubicBezTo>
                    <a:cubicBezTo>
                      <a:pt x="701" y="501"/>
                      <a:pt x="707" y="503"/>
                      <a:pt x="707" y="500"/>
                    </a:cubicBezTo>
                    <a:cubicBezTo>
                      <a:pt x="707" y="497"/>
                      <a:pt x="710" y="493"/>
                      <a:pt x="711" y="490"/>
                    </a:cubicBezTo>
                    <a:cubicBezTo>
                      <a:pt x="711" y="488"/>
                      <a:pt x="709" y="477"/>
                      <a:pt x="706" y="474"/>
                    </a:cubicBezTo>
                    <a:cubicBezTo>
                      <a:pt x="704" y="471"/>
                      <a:pt x="707" y="470"/>
                      <a:pt x="704" y="467"/>
                    </a:cubicBezTo>
                    <a:cubicBezTo>
                      <a:pt x="701" y="463"/>
                      <a:pt x="699" y="456"/>
                      <a:pt x="699" y="451"/>
                    </a:cubicBezTo>
                    <a:cubicBezTo>
                      <a:pt x="700" y="446"/>
                      <a:pt x="706" y="437"/>
                      <a:pt x="709" y="434"/>
                    </a:cubicBezTo>
                    <a:cubicBezTo>
                      <a:pt x="712" y="431"/>
                      <a:pt x="715" y="433"/>
                      <a:pt x="716" y="430"/>
                    </a:cubicBezTo>
                    <a:cubicBezTo>
                      <a:pt x="717" y="427"/>
                      <a:pt x="720" y="424"/>
                      <a:pt x="723" y="424"/>
                    </a:cubicBezTo>
                    <a:cubicBezTo>
                      <a:pt x="725" y="424"/>
                      <a:pt x="727" y="424"/>
                      <a:pt x="727" y="422"/>
                    </a:cubicBezTo>
                    <a:cubicBezTo>
                      <a:pt x="728" y="420"/>
                      <a:pt x="731" y="417"/>
                      <a:pt x="736" y="416"/>
                    </a:cubicBezTo>
                    <a:cubicBezTo>
                      <a:pt x="741" y="415"/>
                      <a:pt x="738" y="413"/>
                      <a:pt x="737" y="411"/>
                    </a:cubicBezTo>
                    <a:cubicBezTo>
                      <a:pt x="735" y="408"/>
                      <a:pt x="738" y="406"/>
                      <a:pt x="739" y="408"/>
                    </a:cubicBezTo>
                    <a:cubicBezTo>
                      <a:pt x="740" y="409"/>
                      <a:pt x="742" y="409"/>
                      <a:pt x="744" y="408"/>
                    </a:cubicBezTo>
                    <a:cubicBezTo>
                      <a:pt x="746" y="407"/>
                      <a:pt x="750" y="403"/>
                      <a:pt x="746" y="403"/>
                    </a:cubicBezTo>
                    <a:cubicBezTo>
                      <a:pt x="742" y="403"/>
                      <a:pt x="741" y="402"/>
                      <a:pt x="744" y="401"/>
                    </a:cubicBezTo>
                    <a:cubicBezTo>
                      <a:pt x="746" y="400"/>
                      <a:pt x="744" y="395"/>
                      <a:pt x="741" y="395"/>
                    </a:cubicBezTo>
                    <a:cubicBezTo>
                      <a:pt x="738" y="395"/>
                      <a:pt x="739" y="393"/>
                      <a:pt x="741" y="391"/>
                    </a:cubicBezTo>
                    <a:cubicBezTo>
                      <a:pt x="743" y="389"/>
                      <a:pt x="738" y="386"/>
                      <a:pt x="735" y="384"/>
                    </a:cubicBezTo>
                    <a:cubicBezTo>
                      <a:pt x="733" y="383"/>
                      <a:pt x="737" y="382"/>
                      <a:pt x="739" y="382"/>
                    </a:cubicBezTo>
                    <a:cubicBezTo>
                      <a:pt x="740" y="381"/>
                      <a:pt x="739" y="373"/>
                      <a:pt x="740" y="371"/>
                    </a:cubicBezTo>
                    <a:cubicBezTo>
                      <a:pt x="741" y="369"/>
                      <a:pt x="744" y="369"/>
                      <a:pt x="743" y="371"/>
                    </a:cubicBezTo>
                    <a:cubicBezTo>
                      <a:pt x="741" y="373"/>
                      <a:pt x="740" y="376"/>
                      <a:pt x="742" y="379"/>
                    </a:cubicBezTo>
                    <a:cubicBezTo>
                      <a:pt x="744" y="382"/>
                      <a:pt x="745" y="384"/>
                      <a:pt x="744" y="388"/>
                    </a:cubicBezTo>
                    <a:cubicBezTo>
                      <a:pt x="743" y="393"/>
                      <a:pt x="745" y="392"/>
                      <a:pt x="748" y="386"/>
                    </a:cubicBezTo>
                    <a:cubicBezTo>
                      <a:pt x="750" y="381"/>
                      <a:pt x="751" y="376"/>
                      <a:pt x="749" y="376"/>
                    </a:cubicBezTo>
                    <a:cubicBezTo>
                      <a:pt x="747" y="375"/>
                      <a:pt x="747" y="370"/>
                      <a:pt x="749" y="372"/>
                    </a:cubicBezTo>
                    <a:cubicBezTo>
                      <a:pt x="751" y="375"/>
                      <a:pt x="752" y="375"/>
                      <a:pt x="755" y="372"/>
                    </a:cubicBezTo>
                    <a:cubicBezTo>
                      <a:pt x="758" y="369"/>
                      <a:pt x="761" y="363"/>
                      <a:pt x="759" y="362"/>
                    </a:cubicBezTo>
                    <a:cubicBezTo>
                      <a:pt x="757" y="361"/>
                      <a:pt x="760" y="359"/>
                      <a:pt x="764" y="360"/>
                    </a:cubicBezTo>
                    <a:cubicBezTo>
                      <a:pt x="767" y="360"/>
                      <a:pt x="775" y="357"/>
                      <a:pt x="775" y="356"/>
                    </a:cubicBezTo>
                    <a:cubicBezTo>
                      <a:pt x="777" y="353"/>
                      <a:pt x="763" y="358"/>
                      <a:pt x="763" y="356"/>
                    </a:cubicBezTo>
                    <a:cubicBezTo>
                      <a:pt x="763" y="354"/>
                      <a:pt x="772" y="352"/>
                      <a:pt x="776" y="352"/>
                    </a:cubicBezTo>
                    <a:cubicBezTo>
                      <a:pt x="780" y="352"/>
                      <a:pt x="778" y="346"/>
                      <a:pt x="780" y="349"/>
                    </a:cubicBezTo>
                    <a:cubicBezTo>
                      <a:pt x="782" y="351"/>
                      <a:pt x="784" y="350"/>
                      <a:pt x="787" y="349"/>
                    </a:cubicBezTo>
                    <a:cubicBezTo>
                      <a:pt x="789" y="348"/>
                      <a:pt x="787" y="344"/>
                      <a:pt x="785" y="343"/>
                    </a:cubicBezTo>
                    <a:cubicBezTo>
                      <a:pt x="782" y="342"/>
                      <a:pt x="787" y="340"/>
                      <a:pt x="786" y="339"/>
                    </a:cubicBezTo>
                    <a:cubicBezTo>
                      <a:pt x="785" y="337"/>
                      <a:pt x="788" y="331"/>
                      <a:pt x="791" y="330"/>
                    </a:cubicBezTo>
                    <a:cubicBezTo>
                      <a:pt x="794" y="329"/>
                      <a:pt x="793" y="327"/>
                      <a:pt x="796" y="327"/>
                    </a:cubicBezTo>
                    <a:cubicBezTo>
                      <a:pt x="798" y="327"/>
                      <a:pt x="799" y="324"/>
                      <a:pt x="801" y="321"/>
                    </a:cubicBezTo>
                    <a:cubicBezTo>
                      <a:pt x="804" y="319"/>
                      <a:pt x="808" y="325"/>
                      <a:pt x="811" y="322"/>
                    </a:cubicBezTo>
                    <a:cubicBezTo>
                      <a:pt x="813" y="320"/>
                      <a:pt x="815" y="319"/>
                      <a:pt x="817" y="317"/>
                    </a:cubicBezTo>
                    <a:cubicBezTo>
                      <a:pt x="808" y="305"/>
                      <a:pt x="811" y="297"/>
                      <a:pt x="811" y="295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56" name="Freeform 127">
                <a:extLst>
                  <a:ext uri="{FF2B5EF4-FFF2-40B4-BE49-F238E27FC236}">
                    <a16:creationId xmlns:a16="http://schemas.microsoft.com/office/drawing/2014/main" id="{589F608E-8F13-41A5-A0DA-41985C14A5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509679" y="2743993"/>
                <a:ext cx="294296" cy="450999"/>
              </a:xfrm>
              <a:custGeom>
                <a:avLst/>
                <a:gdLst>
                  <a:gd name="T0" fmla="*/ 5 w 81"/>
                  <a:gd name="T1" fmla="*/ 68 h 124"/>
                  <a:gd name="T2" fmla="*/ 1 w 81"/>
                  <a:gd name="T3" fmla="*/ 77 h 124"/>
                  <a:gd name="T4" fmla="*/ 11 w 81"/>
                  <a:gd name="T5" fmla="*/ 77 h 124"/>
                  <a:gd name="T6" fmla="*/ 20 w 81"/>
                  <a:gd name="T7" fmla="*/ 75 h 124"/>
                  <a:gd name="T8" fmla="*/ 81 w 81"/>
                  <a:gd name="T9" fmla="*/ 96 h 124"/>
                  <a:gd name="T10" fmla="*/ 68 w 81"/>
                  <a:gd name="T11" fmla="*/ 91 h 124"/>
                  <a:gd name="T12" fmla="*/ 65 w 81"/>
                  <a:gd name="T13" fmla="*/ 82 h 124"/>
                  <a:gd name="T14" fmla="*/ 54 w 81"/>
                  <a:gd name="T15" fmla="*/ 63 h 124"/>
                  <a:gd name="T16" fmla="*/ 41 w 81"/>
                  <a:gd name="T17" fmla="*/ 57 h 124"/>
                  <a:gd name="T18" fmla="*/ 50 w 81"/>
                  <a:gd name="T19" fmla="*/ 38 h 124"/>
                  <a:gd name="T20" fmla="*/ 33 w 81"/>
                  <a:gd name="T21" fmla="*/ 35 h 124"/>
                  <a:gd name="T22" fmla="*/ 40 w 81"/>
                  <a:gd name="T23" fmla="*/ 23 h 124"/>
                  <a:gd name="T24" fmla="*/ 28 w 81"/>
                  <a:gd name="T25" fmla="*/ 27 h 124"/>
                  <a:gd name="T26" fmla="*/ 19 w 81"/>
                  <a:gd name="T27" fmla="*/ 39 h 124"/>
                  <a:gd name="T28" fmla="*/ 12 w 81"/>
                  <a:gd name="T29" fmla="*/ 39 h 124"/>
                  <a:gd name="T30" fmla="*/ 15 w 81"/>
                  <a:gd name="T31" fmla="*/ 50 h 124"/>
                  <a:gd name="T32" fmla="*/ 13 w 81"/>
                  <a:gd name="T33" fmla="*/ 59 h 124"/>
                  <a:gd name="T34" fmla="*/ 22 w 81"/>
                  <a:gd name="T35" fmla="*/ 62 h 124"/>
                  <a:gd name="T36" fmla="*/ 27 w 81"/>
                  <a:gd name="T37" fmla="*/ 62 h 124"/>
                  <a:gd name="T38" fmla="*/ 36 w 81"/>
                  <a:gd name="T39" fmla="*/ 69 h 124"/>
                  <a:gd name="T40" fmla="*/ 39 w 81"/>
                  <a:gd name="T41" fmla="*/ 76 h 124"/>
                  <a:gd name="T42" fmla="*/ 41 w 81"/>
                  <a:gd name="T43" fmla="*/ 86 h 124"/>
                  <a:gd name="T44" fmla="*/ 30 w 81"/>
                  <a:gd name="T45" fmla="*/ 88 h 124"/>
                  <a:gd name="T46" fmla="*/ 32 w 81"/>
                  <a:gd name="T47" fmla="*/ 96 h 124"/>
                  <a:gd name="T48" fmla="*/ 28 w 81"/>
                  <a:gd name="T49" fmla="*/ 105 h 124"/>
                  <a:gd name="T50" fmla="*/ 41 w 81"/>
                  <a:gd name="T51" fmla="*/ 107 h 124"/>
                  <a:gd name="T52" fmla="*/ 33 w 81"/>
                  <a:gd name="T53" fmla="*/ 110 h 124"/>
                  <a:gd name="T54" fmla="*/ 28 w 81"/>
                  <a:gd name="T55" fmla="*/ 119 h 124"/>
                  <a:gd name="T56" fmla="*/ 38 w 81"/>
                  <a:gd name="T57" fmla="*/ 117 h 124"/>
                  <a:gd name="T58" fmla="*/ 50 w 81"/>
                  <a:gd name="T59" fmla="*/ 114 h 124"/>
                  <a:gd name="T60" fmla="*/ 66 w 81"/>
                  <a:gd name="T61" fmla="*/ 114 h 124"/>
                  <a:gd name="T62" fmla="*/ 73 w 81"/>
                  <a:gd name="T63" fmla="*/ 108 h 124"/>
                  <a:gd name="T64" fmla="*/ 81 w 81"/>
                  <a:gd name="T65" fmla="*/ 96 h 124"/>
                  <a:gd name="T66" fmla="*/ 14 w 81"/>
                  <a:gd name="T67" fmla="*/ 29 h 124"/>
                  <a:gd name="T68" fmla="*/ 55 w 81"/>
                  <a:gd name="T69" fmla="*/ 10 h 124"/>
                  <a:gd name="T70" fmla="*/ 55 w 81"/>
                  <a:gd name="T71" fmla="*/ 1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1" h="124">
                    <a:moveTo>
                      <a:pt x="16" y="66"/>
                    </a:moveTo>
                    <a:cubicBezTo>
                      <a:pt x="12" y="63"/>
                      <a:pt x="9" y="68"/>
                      <a:pt x="5" y="68"/>
                    </a:cubicBezTo>
                    <a:cubicBezTo>
                      <a:pt x="5" y="70"/>
                      <a:pt x="4" y="72"/>
                      <a:pt x="3" y="72"/>
                    </a:cubicBezTo>
                    <a:cubicBezTo>
                      <a:pt x="2" y="73"/>
                      <a:pt x="0" y="77"/>
                      <a:pt x="1" y="77"/>
                    </a:cubicBezTo>
                    <a:cubicBezTo>
                      <a:pt x="3" y="77"/>
                      <a:pt x="6" y="80"/>
                      <a:pt x="6" y="78"/>
                    </a:cubicBezTo>
                    <a:cubicBezTo>
                      <a:pt x="7" y="76"/>
                      <a:pt x="8" y="73"/>
                      <a:pt x="11" y="77"/>
                    </a:cubicBezTo>
                    <a:cubicBezTo>
                      <a:pt x="12" y="77"/>
                      <a:pt x="13" y="78"/>
                      <a:pt x="14" y="79"/>
                    </a:cubicBezTo>
                    <a:cubicBezTo>
                      <a:pt x="14" y="77"/>
                      <a:pt x="18" y="77"/>
                      <a:pt x="20" y="75"/>
                    </a:cubicBezTo>
                    <a:cubicBezTo>
                      <a:pt x="22" y="73"/>
                      <a:pt x="19" y="69"/>
                      <a:pt x="16" y="66"/>
                    </a:cubicBezTo>
                    <a:close/>
                    <a:moveTo>
                      <a:pt x="81" y="96"/>
                    </a:moveTo>
                    <a:cubicBezTo>
                      <a:pt x="81" y="92"/>
                      <a:pt x="73" y="89"/>
                      <a:pt x="72" y="91"/>
                    </a:cubicBezTo>
                    <a:cubicBezTo>
                      <a:pt x="71" y="93"/>
                      <a:pt x="69" y="93"/>
                      <a:pt x="68" y="91"/>
                    </a:cubicBezTo>
                    <a:cubicBezTo>
                      <a:pt x="67" y="89"/>
                      <a:pt x="69" y="87"/>
                      <a:pt x="68" y="87"/>
                    </a:cubicBezTo>
                    <a:cubicBezTo>
                      <a:pt x="67" y="86"/>
                      <a:pt x="65" y="83"/>
                      <a:pt x="65" y="82"/>
                    </a:cubicBezTo>
                    <a:cubicBezTo>
                      <a:pt x="66" y="81"/>
                      <a:pt x="63" y="73"/>
                      <a:pt x="59" y="72"/>
                    </a:cubicBezTo>
                    <a:cubicBezTo>
                      <a:pt x="55" y="71"/>
                      <a:pt x="55" y="66"/>
                      <a:pt x="54" y="63"/>
                    </a:cubicBezTo>
                    <a:cubicBezTo>
                      <a:pt x="53" y="60"/>
                      <a:pt x="51" y="61"/>
                      <a:pt x="49" y="59"/>
                    </a:cubicBezTo>
                    <a:cubicBezTo>
                      <a:pt x="47" y="56"/>
                      <a:pt x="43" y="57"/>
                      <a:pt x="41" y="57"/>
                    </a:cubicBezTo>
                    <a:cubicBezTo>
                      <a:pt x="40" y="57"/>
                      <a:pt x="41" y="54"/>
                      <a:pt x="44" y="52"/>
                    </a:cubicBezTo>
                    <a:cubicBezTo>
                      <a:pt x="47" y="50"/>
                      <a:pt x="50" y="40"/>
                      <a:pt x="50" y="38"/>
                    </a:cubicBezTo>
                    <a:cubicBezTo>
                      <a:pt x="50" y="36"/>
                      <a:pt x="38" y="36"/>
                      <a:pt x="36" y="37"/>
                    </a:cubicBezTo>
                    <a:cubicBezTo>
                      <a:pt x="33" y="39"/>
                      <a:pt x="31" y="36"/>
                      <a:pt x="33" y="35"/>
                    </a:cubicBezTo>
                    <a:cubicBezTo>
                      <a:pt x="35" y="34"/>
                      <a:pt x="39" y="30"/>
                      <a:pt x="39" y="28"/>
                    </a:cubicBezTo>
                    <a:cubicBezTo>
                      <a:pt x="39" y="26"/>
                      <a:pt x="42" y="25"/>
                      <a:pt x="40" y="23"/>
                    </a:cubicBezTo>
                    <a:cubicBezTo>
                      <a:pt x="38" y="22"/>
                      <a:pt x="38" y="25"/>
                      <a:pt x="37" y="27"/>
                    </a:cubicBezTo>
                    <a:cubicBezTo>
                      <a:pt x="35" y="28"/>
                      <a:pt x="32" y="27"/>
                      <a:pt x="28" y="27"/>
                    </a:cubicBezTo>
                    <a:cubicBezTo>
                      <a:pt x="24" y="26"/>
                      <a:pt x="23" y="31"/>
                      <a:pt x="23" y="33"/>
                    </a:cubicBezTo>
                    <a:cubicBezTo>
                      <a:pt x="23" y="36"/>
                      <a:pt x="19" y="37"/>
                      <a:pt x="19" y="39"/>
                    </a:cubicBezTo>
                    <a:cubicBezTo>
                      <a:pt x="20" y="41"/>
                      <a:pt x="18" y="42"/>
                      <a:pt x="17" y="41"/>
                    </a:cubicBezTo>
                    <a:cubicBezTo>
                      <a:pt x="16" y="40"/>
                      <a:pt x="15" y="38"/>
                      <a:pt x="12" y="39"/>
                    </a:cubicBezTo>
                    <a:cubicBezTo>
                      <a:pt x="10" y="41"/>
                      <a:pt x="15" y="44"/>
                      <a:pt x="18" y="44"/>
                    </a:cubicBezTo>
                    <a:cubicBezTo>
                      <a:pt x="21" y="45"/>
                      <a:pt x="16" y="47"/>
                      <a:pt x="15" y="50"/>
                    </a:cubicBezTo>
                    <a:cubicBezTo>
                      <a:pt x="15" y="53"/>
                      <a:pt x="19" y="52"/>
                      <a:pt x="20" y="54"/>
                    </a:cubicBezTo>
                    <a:cubicBezTo>
                      <a:pt x="20" y="57"/>
                      <a:pt x="13" y="57"/>
                      <a:pt x="13" y="59"/>
                    </a:cubicBezTo>
                    <a:cubicBezTo>
                      <a:pt x="13" y="62"/>
                      <a:pt x="17" y="58"/>
                      <a:pt x="19" y="57"/>
                    </a:cubicBezTo>
                    <a:cubicBezTo>
                      <a:pt x="20" y="56"/>
                      <a:pt x="18" y="63"/>
                      <a:pt x="22" y="62"/>
                    </a:cubicBezTo>
                    <a:cubicBezTo>
                      <a:pt x="26" y="62"/>
                      <a:pt x="25" y="56"/>
                      <a:pt x="27" y="56"/>
                    </a:cubicBezTo>
                    <a:cubicBezTo>
                      <a:pt x="28" y="56"/>
                      <a:pt x="26" y="59"/>
                      <a:pt x="27" y="62"/>
                    </a:cubicBezTo>
                    <a:cubicBezTo>
                      <a:pt x="28" y="64"/>
                      <a:pt x="24" y="68"/>
                      <a:pt x="24" y="70"/>
                    </a:cubicBezTo>
                    <a:cubicBezTo>
                      <a:pt x="25" y="71"/>
                      <a:pt x="33" y="71"/>
                      <a:pt x="36" y="69"/>
                    </a:cubicBezTo>
                    <a:cubicBezTo>
                      <a:pt x="39" y="66"/>
                      <a:pt x="40" y="69"/>
                      <a:pt x="38" y="71"/>
                    </a:cubicBezTo>
                    <a:cubicBezTo>
                      <a:pt x="36" y="73"/>
                      <a:pt x="37" y="75"/>
                      <a:pt x="39" y="76"/>
                    </a:cubicBezTo>
                    <a:cubicBezTo>
                      <a:pt x="42" y="77"/>
                      <a:pt x="42" y="77"/>
                      <a:pt x="41" y="79"/>
                    </a:cubicBezTo>
                    <a:cubicBezTo>
                      <a:pt x="40" y="81"/>
                      <a:pt x="41" y="84"/>
                      <a:pt x="41" y="86"/>
                    </a:cubicBezTo>
                    <a:cubicBezTo>
                      <a:pt x="40" y="88"/>
                      <a:pt x="33" y="88"/>
                      <a:pt x="33" y="87"/>
                    </a:cubicBezTo>
                    <a:cubicBezTo>
                      <a:pt x="32" y="85"/>
                      <a:pt x="29" y="86"/>
                      <a:pt x="30" y="88"/>
                    </a:cubicBezTo>
                    <a:cubicBezTo>
                      <a:pt x="31" y="89"/>
                      <a:pt x="27" y="91"/>
                      <a:pt x="28" y="93"/>
                    </a:cubicBezTo>
                    <a:cubicBezTo>
                      <a:pt x="28" y="94"/>
                      <a:pt x="32" y="94"/>
                      <a:pt x="32" y="96"/>
                    </a:cubicBezTo>
                    <a:cubicBezTo>
                      <a:pt x="32" y="98"/>
                      <a:pt x="29" y="100"/>
                      <a:pt x="25" y="101"/>
                    </a:cubicBezTo>
                    <a:cubicBezTo>
                      <a:pt x="20" y="103"/>
                      <a:pt x="26" y="106"/>
                      <a:pt x="28" y="105"/>
                    </a:cubicBezTo>
                    <a:cubicBezTo>
                      <a:pt x="30" y="103"/>
                      <a:pt x="29" y="106"/>
                      <a:pt x="33" y="106"/>
                    </a:cubicBezTo>
                    <a:cubicBezTo>
                      <a:pt x="36" y="106"/>
                      <a:pt x="37" y="108"/>
                      <a:pt x="41" y="107"/>
                    </a:cubicBezTo>
                    <a:cubicBezTo>
                      <a:pt x="44" y="106"/>
                      <a:pt x="44" y="107"/>
                      <a:pt x="42" y="109"/>
                    </a:cubicBezTo>
                    <a:cubicBezTo>
                      <a:pt x="39" y="111"/>
                      <a:pt x="35" y="109"/>
                      <a:pt x="33" y="110"/>
                    </a:cubicBezTo>
                    <a:cubicBezTo>
                      <a:pt x="30" y="111"/>
                      <a:pt x="21" y="121"/>
                      <a:pt x="23" y="123"/>
                    </a:cubicBezTo>
                    <a:cubicBezTo>
                      <a:pt x="24" y="124"/>
                      <a:pt x="25" y="121"/>
                      <a:pt x="28" y="119"/>
                    </a:cubicBezTo>
                    <a:cubicBezTo>
                      <a:pt x="32" y="118"/>
                      <a:pt x="32" y="120"/>
                      <a:pt x="34" y="121"/>
                    </a:cubicBezTo>
                    <a:cubicBezTo>
                      <a:pt x="36" y="121"/>
                      <a:pt x="36" y="117"/>
                      <a:pt x="38" y="117"/>
                    </a:cubicBezTo>
                    <a:cubicBezTo>
                      <a:pt x="40" y="117"/>
                      <a:pt x="41" y="116"/>
                      <a:pt x="44" y="116"/>
                    </a:cubicBezTo>
                    <a:cubicBezTo>
                      <a:pt x="47" y="117"/>
                      <a:pt x="49" y="116"/>
                      <a:pt x="50" y="114"/>
                    </a:cubicBezTo>
                    <a:cubicBezTo>
                      <a:pt x="52" y="113"/>
                      <a:pt x="55" y="117"/>
                      <a:pt x="57" y="116"/>
                    </a:cubicBezTo>
                    <a:cubicBezTo>
                      <a:pt x="58" y="115"/>
                      <a:pt x="63" y="114"/>
                      <a:pt x="66" y="114"/>
                    </a:cubicBezTo>
                    <a:cubicBezTo>
                      <a:pt x="68" y="114"/>
                      <a:pt x="75" y="111"/>
                      <a:pt x="77" y="110"/>
                    </a:cubicBezTo>
                    <a:cubicBezTo>
                      <a:pt x="79" y="108"/>
                      <a:pt x="76" y="108"/>
                      <a:pt x="73" y="108"/>
                    </a:cubicBezTo>
                    <a:cubicBezTo>
                      <a:pt x="71" y="108"/>
                      <a:pt x="71" y="106"/>
                      <a:pt x="74" y="103"/>
                    </a:cubicBezTo>
                    <a:cubicBezTo>
                      <a:pt x="76" y="101"/>
                      <a:pt x="80" y="99"/>
                      <a:pt x="81" y="96"/>
                    </a:cubicBezTo>
                    <a:close/>
                    <a:moveTo>
                      <a:pt x="9" y="36"/>
                    </a:moveTo>
                    <a:cubicBezTo>
                      <a:pt x="12" y="36"/>
                      <a:pt x="16" y="30"/>
                      <a:pt x="14" y="29"/>
                    </a:cubicBezTo>
                    <a:cubicBezTo>
                      <a:pt x="13" y="27"/>
                      <a:pt x="7" y="36"/>
                      <a:pt x="9" y="36"/>
                    </a:cubicBezTo>
                    <a:close/>
                    <a:moveTo>
                      <a:pt x="55" y="10"/>
                    </a:moveTo>
                    <a:cubicBezTo>
                      <a:pt x="57" y="8"/>
                      <a:pt x="59" y="0"/>
                      <a:pt x="56" y="1"/>
                    </a:cubicBezTo>
                    <a:cubicBezTo>
                      <a:pt x="53" y="2"/>
                      <a:pt x="54" y="11"/>
                      <a:pt x="55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57" name="Freeform 101">
                <a:extLst>
                  <a:ext uri="{FF2B5EF4-FFF2-40B4-BE49-F238E27FC236}">
                    <a16:creationId xmlns:a16="http://schemas.microsoft.com/office/drawing/2014/main" id="{BC5FFCD4-66E6-4DC5-A770-39D3328B66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608025" y="3158489"/>
                <a:ext cx="429978" cy="361182"/>
              </a:xfrm>
              <a:custGeom>
                <a:avLst/>
                <a:gdLst>
                  <a:gd name="T0" fmla="*/ 103 w 118"/>
                  <a:gd name="T1" fmla="*/ 23 h 99"/>
                  <a:gd name="T2" fmla="*/ 99 w 118"/>
                  <a:gd name="T3" fmla="*/ 21 h 99"/>
                  <a:gd name="T4" fmla="*/ 94 w 118"/>
                  <a:gd name="T5" fmla="*/ 19 h 99"/>
                  <a:gd name="T6" fmla="*/ 86 w 118"/>
                  <a:gd name="T7" fmla="*/ 17 h 99"/>
                  <a:gd name="T8" fmla="*/ 81 w 118"/>
                  <a:gd name="T9" fmla="*/ 15 h 99"/>
                  <a:gd name="T10" fmla="*/ 79 w 118"/>
                  <a:gd name="T11" fmla="*/ 11 h 99"/>
                  <a:gd name="T12" fmla="*/ 76 w 118"/>
                  <a:gd name="T13" fmla="*/ 13 h 99"/>
                  <a:gd name="T14" fmla="*/ 73 w 118"/>
                  <a:gd name="T15" fmla="*/ 10 h 99"/>
                  <a:gd name="T16" fmla="*/ 68 w 118"/>
                  <a:gd name="T17" fmla="*/ 7 h 99"/>
                  <a:gd name="T18" fmla="*/ 64 w 118"/>
                  <a:gd name="T19" fmla="*/ 4 h 99"/>
                  <a:gd name="T20" fmla="*/ 61 w 118"/>
                  <a:gd name="T21" fmla="*/ 1 h 99"/>
                  <a:gd name="T22" fmla="*/ 60 w 118"/>
                  <a:gd name="T23" fmla="*/ 0 h 99"/>
                  <a:gd name="T24" fmla="*/ 58 w 118"/>
                  <a:gd name="T25" fmla="*/ 0 h 99"/>
                  <a:gd name="T26" fmla="*/ 54 w 118"/>
                  <a:gd name="T27" fmla="*/ 7 h 99"/>
                  <a:gd name="T28" fmla="*/ 45 w 118"/>
                  <a:gd name="T29" fmla="*/ 13 h 99"/>
                  <a:gd name="T30" fmla="*/ 40 w 118"/>
                  <a:gd name="T31" fmla="*/ 19 h 99"/>
                  <a:gd name="T32" fmla="*/ 30 w 118"/>
                  <a:gd name="T33" fmla="*/ 15 h 99"/>
                  <a:gd name="T34" fmla="*/ 25 w 118"/>
                  <a:gd name="T35" fmla="*/ 18 h 99"/>
                  <a:gd name="T36" fmla="*/ 26 w 118"/>
                  <a:gd name="T37" fmla="*/ 27 h 99"/>
                  <a:gd name="T38" fmla="*/ 19 w 118"/>
                  <a:gd name="T39" fmla="*/ 27 h 99"/>
                  <a:gd name="T40" fmla="*/ 14 w 118"/>
                  <a:gd name="T41" fmla="*/ 24 h 99"/>
                  <a:gd name="T42" fmla="*/ 7 w 118"/>
                  <a:gd name="T43" fmla="*/ 25 h 99"/>
                  <a:gd name="T44" fmla="*/ 2 w 118"/>
                  <a:gd name="T45" fmla="*/ 29 h 99"/>
                  <a:gd name="T46" fmla="*/ 3 w 118"/>
                  <a:gd name="T47" fmla="*/ 34 h 99"/>
                  <a:gd name="T48" fmla="*/ 13 w 118"/>
                  <a:gd name="T49" fmla="*/ 37 h 99"/>
                  <a:gd name="T50" fmla="*/ 20 w 118"/>
                  <a:gd name="T51" fmla="*/ 39 h 99"/>
                  <a:gd name="T52" fmla="*/ 23 w 118"/>
                  <a:gd name="T53" fmla="*/ 43 h 99"/>
                  <a:gd name="T54" fmla="*/ 29 w 118"/>
                  <a:gd name="T55" fmla="*/ 50 h 99"/>
                  <a:gd name="T56" fmla="*/ 31 w 118"/>
                  <a:gd name="T57" fmla="*/ 56 h 99"/>
                  <a:gd name="T58" fmla="*/ 30 w 118"/>
                  <a:gd name="T59" fmla="*/ 66 h 99"/>
                  <a:gd name="T60" fmla="*/ 26 w 118"/>
                  <a:gd name="T61" fmla="*/ 80 h 99"/>
                  <a:gd name="T62" fmla="*/ 26 w 118"/>
                  <a:gd name="T63" fmla="*/ 80 h 99"/>
                  <a:gd name="T64" fmla="*/ 30 w 118"/>
                  <a:gd name="T65" fmla="*/ 82 h 99"/>
                  <a:gd name="T66" fmla="*/ 38 w 118"/>
                  <a:gd name="T67" fmla="*/ 86 h 99"/>
                  <a:gd name="T68" fmla="*/ 45 w 118"/>
                  <a:gd name="T69" fmla="*/ 86 h 99"/>
                  <a:gd name="T70" fmla="*/ 48 w 118"/>
                  <a:gd name="T71" fmla="*/ 86 h 99"/>
                  <a:gd name="T72" fmla="*/ 58 w 118"/>
                  <a:gd name="T73" fmla="*/ 89 h 99"/>
                  <a:gd name="T74" fmla="*/ 66 w 118"/>
                  <a:gd name="T75" fmla="*/ 89 h 99"/>
                  <a:gd name="T76" fmla="*/ 66 w 118"/>
                  <a:gd name="T77" fmla="*/ 87 h 99"/>
                  <a:gd name="T78" fmla="*/ 72 w 118"/>
                  <a:gd name="T79" fmla="*/ 79 h 99"/>
                  <a:gd name="T80" fmla="*/ 87 w 118"/>
                  <a:gd name="T81" fmla="*/ 82 h 99"/>
                  <a:gd name="T82" fmla="*/ 96 w 118"/>
                  <a:gd name="T83" fmla="*/ 79 h 99"/>
                  <a:gd name="T84" fmla="*/ 101 w 118"/>
                  <a:gd name="T85" fmla="*/ 76 h 99"/>
                  <a:gd name="T86" fmla="*/ 102 w 118"/>
                  <a:gd name="T87" fmla="*/ 73 h 99"/>
                  <a:gd name="T88" fmla="*/ 99 w 118"/>
                  <a:gd name="T89" fmla="*/ 72 h 99"/>
                  <a:gd name="T90" fmla="*/ 97 w 118"/>
                  <a:gd name="T91" fmla="*/ 68 h 99"/>
                  <a:gd name="T92" fmla="*/ 94 w 118"/>
                  <a:gd name="T93" fmla="*/ 64 h 99"/>
                  <a:gd name="T94" fmla="*/ 96 w 118"/>
                  <a:gd name="T95" fmla="*/ 62 h 99"/>
                  <a:gd name="T96" fmla="*/ 98 w 118"/>
                  <a:gd name="T97" fmla="*/ 59 h 99"/>
                  <a:gd name="T98" fmla="*/ 97 w 118"/>
                  <a:gd name="T99" fmla="*/ 55 h 99"/>
                  <a:gd name="T100" fmla="*/ 95 w 118"/>
                  <a:gd name="T101" fmla="*/ 51 h 99"/>
                  <a:gd name="T102" fmla="*/ 92 w 118"/>
                  <a:gd name="T103" fmla="*/ 50 h 99"/>
                  <a:gd name="T104" fmla="*/ 91 w 118"/>
                  <a:gd name="T105" fmla="*/ 48 h 99"/>
                  <a:gd name="T106" fmla="*/ 96 w 118"/>
                  <a:gd name="T107" fmla="*/ 41 h 99"/>
                  <a:gd name="T108" fmla="*/ 100 w 118"/>
                  <a:gd name="T109" fmla="*/ 38 h 99"/>
                  <a:gd name="T110" fmla="*/ 102 w 118"/>
                  <a:gd name="T111" fmla="*/ 32 h 99"/>
                  <a:gd name="T112" fmla="*/ 105 w 118"/>
                  <a:gd name="T113" fmla="*/ 25 h 99"/>
                  <a:gd name="T114" fmla="*/ 103 w 118"/>
                  <a:gd name="T115" fmla="*/ 23 h 99"/>
                  <a:gd name="T116" fmla="*/ 116 w 118"/>
                  <a:gd name="T117" fmla="*/ 83 h 99"/>
                  <a:gd name="T118" fmla="*/ 111 w 118"/>
                  <a:gd name="T119" fmla="*/ 87 h 99"/>
                  <a:gd name="T120" fmla="*/ 114 w 118"/>
                  <a:gd name="T121" fmla="*/ 98 h 99"/>
                  <a:gd name="T122" fmla="*/ 116 w 118"/>
                  <a:gd name="T123" fmla="*/ 83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" h="99">
                    <a:moveTo>
                      <a:pt x="103" y="23"/>
                    </a:moveTo>
                    <a:cubicBezTo>
                      <a:pt x="102" y="23"/>
                      <a:pt x="101" y="21"/>
                      <a:pt x="99" y="21"/>
                    </a:cubicBezTo>
                    <a:cubicBezTo>
                      <a:pt x="97" y="21"/>
                      <a:pt x="95" y="20"/>
                      <a:pt x="94" y="19"/>
                    </a:cubicBezTo>
                    <a:cubicBezTo>
                      <a:pt x="93" y="17"/>
                      <a:pt x="87" y="17"/>
                      <a:pt x="86" y="17"/>
                    </a:cubicBezTo>
                    <a:cubicBezTo>
                      <a:pt x="84" y="18"/>
                      <a:pt x="83" y="14"/>
                      <a:pt x="81" y="15"/>
                    </a:cubicBezTo>
                    <a:cubicBezTo>
                      <a:pt x="80" y="15"/>
                      <a:pt x="79" y="12"/>
                      <a:pt x="79" y="11"/>
                    </a:cubicBezTo>
                    <a:cubicBezTo>
                      <a:pt x="79" y="9"/>
                      <a:pt x="77" y="12"/>
                      <a:pt x="76" y="13"/>
                    </a:cubicBezTo>
                    <a:cubicBezTo>
                      <a:pt x="74" y="13"/>
                      <a:pt x="73" y="11"/>
                      <a:pt x="73" y="10"/>
                    </a:cubicBezTo>
                    <a:cubicBezTo>
                      <a:pt x="73" y="9"/>
                      <a:pt x="70" y="8"/>
                      <a:pt x="68" y="7"/>
                    </a:cubicBezTo>
                    <a:cubicBezTo>
                      <a:pt x="67" y="6"/>
                      <a:pt x="65" y="3"/>
                      <a:pt x="64" y="4"/>
                    </a:cubicBezTo>
                    <a:cubicBezTo>
                      <a:pt x="63" y="6"/>
                      <a:pt x="61" y="3"/>
                      <a:pt x="61" y="1"/>
                    </a:cubicBezTo>
                    <a:cubicBezTo>
                      <a:pt x="61" y="1"/>
                      <a:pt x="61" y="1"/>
                      <a:pt x="60" y="0"/>
                    </a:cubicBezTo>
                    <a:cubicBezTo>
                      <a:pt x="60" y="0"/>
                      <a:pt x="59" y="0"/>
                      <a:pt x="58" y="0"/>
                    </a:cubicBezTo>
                    <a:cubicBezTo>
                      <a:pt x="56" y="0"/>
                      <a:pt x="53" y="3"/>
                      <a:pt x="54" y="7"/>
                    </a:cubicBezTo>
                    <a:cubicBezTo>
                      <a:pt x="54" y="12"/>
                      <a:pt x="50" y="13"/>
                      <a:pt x="45" y="13"/>
                    </a:cubicBezTo>
                    <a:cubicBezTo>
                      <a:pt x="40" y="13"/>
                      <a:pt x="42" y="17"/>
                      <a:pt x="40" y="19"/>
                    </a:cubicBezTo>
                    <a:cubicBezTo>
                      <a:pt x="38" y="20"/>
                      <a:pt x="31" y="18"/>
                      <a:pt x="30" y="15"/>
                    </a:cubicBezTo>
                    <a:cubicBezTo>
                      <a:pt x="29" y="13"/>
                      <a:pt x="23" y="15"/>
                      <a:pt x="25" y="18"/>
                    </a:cubicBezTo>
                    <a:cubicBezTo>
                      <a:pt x="28" y="21"/>
                      <a:pt x="28" y="26"/>
                      <a:pt x="26" y="27"/>
                    </a:cubicBezTo>
                    <a:cubicBezTo>
                      <a:pt x="25" y="28"/>
                      <a:pt x="21" y="25"/>
                      <a:pt x="19" y="27"/>
                    </a:cubicBezTo>
                    <a:cubicBezTo>
                      <a:pt x="17" y="28"/>
                      <a:pt x="17" y="25"/>
                      <a:pt x="14" y="24"/>
                    </a:cubicBezTo>
                    <a:cubicBezTo>
                      <a:pt x="12" y="23"/>
                      <a:pt x="11" y="25"/>
                      <a:pt x="7" y="25"/>
                    </a:cubicBezTo>
                    <a:cubicBezTo>
                      <a:pt x="2" y="25"/>
                      <a:pt x="0" y="27"/>
                      <a:pt x="2" y="29"/>
                    </a:cubicBezTo>
                    <a:cubicBezTo>
                      <a:pt x="3" y="31"/>
                      <a:pt x="1" y="32"/>
                      <a:pt x="3" y="34"/>
                    </a:cubicBezTo>
                    <a:cubicBezTo>
                      <a:pt x="4" y="35"/>
                      <a:pt x="9" y="35"/>
                      <a:pt x="13" y="37"/>
                    </a:cubicBezTo>
                    <a:cubicBezTo>
                      <a:pt x="17" y="39"/>
                      <a:pt x="18" y="38"/>
                      <a:pt x="20" y="39"/>
                    </a:cubicBezTo>
                    <a:cubicBezTo>
                      <a:pt x="22" y="41"/>
                      <a:pt x="23" y="40"/>
                      <a:pt x="23" y="43"/>
                    </a:cubicBezTo>
                    <a:cubicBezTo>
                      <a:pt x="23" y="46"/>
                      <a:pt x="25" y="49"/>
                      <a:pt x="29" y="50"/>
                    </a:cubicBezTo>
                    <a:cubicBezTo>
                      <a:pt x="33" y="51"/>
                      <a:pt x="30" y="53"/>
                      <a:pt x="31" y="56"/>
                    </a:cubicBezTo>
                    <a:cubicBezTo>
                      <a:pt x="33" y="58"/>
                      <a:pt x="30" y="62"/>
                      <a:pt x="30" y="66"/>
                    </a:cubicBezTo>
                    <a:cubicBezTo>
                      <a:pt x="31" y="69"/>
                      <a:pt x="28" y="79"/>
                      <a:pt x="26" y="80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81"/>
                      <a:pt x="30" y="82"/>
                      <a:pt x="30" y="82"/>
                    </a:cubicBezTo>
                    <a:cubicBezTo>
                      <a:pt x="32" y="84"/>
                      <a:pt x="36" y="85"/>
                      <a:pt x="38" y="86"/>
                    </a:cubicBezTo>
                    <a:cubicBezTo>
                      <a:pt x="41" y="88"/>
                      <a:pt x="45" y="87"/>
                      <a:pt x="45" y="86"/>
                    </a:cubicBezTo>
                    <a:cubicBezTo>
                      <a:pt x="45" y="84"/>
                      <a:pt x="47" y="85"/>
                      <a:pt x="48" y="86"/>
                    </a:cubicBezTo>
                    <a:cubicBezTo>
                      <a:pt x="50" y="88"/>
                      <a:pt x="55" y="88"/>
                      <a:pt x="58" y="89"/>
                    </a:cubicBezTo>
                    <a:cubicBezTo>
                      <a:pt x="60" y="89"/>
                      <a:pt x="63" y="89"/>
                      <a:pt x="66" y="89"/>
                    </a:cubicBezTo>
                    <a:cubicBezTo>
                      <a:pt x="66" y="88"/>
                      <a:pt x="66" y="88"/>
                      <a:pt x="66" y="87"/>
                    </a:cubicBezTo>
                    <a:cubicBezTo>
                      <a:pt x="64" y="82"/>
                      <a:pt x="68" y="80"/>
                      <a:pt x="72" y="79"/>
                    </a:cubicBezTo>
                    <a:cubicBezTo>
                      <a:pt x="76" y="78"/>
                      <a:pt x="85" y="81"/>
                      <a:pt x="87" y="82"/>
                    </a:cubicBezTo>
                    <a:cubicBezTo>
                      <a:pt x="89" y="84"/>
                      <a:pt x="92" y="83"/>
                      <a:pt x="96" y="79"/>
                    </a:cubicBezTo>
                    <a:cubicBezTo>
                      <a:pt x="98" y="77"/>
                      <a:pt x="100" y="76"/>
                      <a:pt x="101" y="76"/>
                    </a:cubicBezTo>
                    <a:cubicBezTo>
                      <a:pt x="102" y="75"/>
                      <a:pt x="102" y="74"/>
                      <a:pt x="102" y="73"/>
                    </a:cubicBezTo>
                    <a:cubicBezTo>
                      <a:pt x="103" y="72"/>
                      <a:pt x="100" y="72"/>
                      <a:pt x="99" y="72"/>
                    </a:cubicBezTo>
                    <a:cubicBezTo>
                      <a:pt x="97" y="72"/>
                      <a:pt x="96" y="70"/>
                      <a:pt x="97" y="68"/>
                    </a:cubicBezTo>
                    <a:cubicBezTo>
                      <a:pt x="98" y="66"/>
                      <a:pt x="96" y="66"/>
                      <a:pt x="94" y="64"/>
                    </a:cubicBezTo>
                    <a:cubicBezTo>
                      <a:pt x="93" y="62"/>
                      <a:pt x="95" y="62"/>
                      <a:pt x="96" y="62"/>
                    </a:cubicBezTo>
                    <a:cubicBezTo>
                      <a:pt x="97" y="61"/>
                      <a:pt x="99" y="59"/>
                      <a:pt x="98" y="59"/>
                    </a:cubicBezTo>
                    <a:cubicBezTo>
                      <a:pt x="97" y="58"/>
                      <a:pt x="96" y="57"/>
                      <a:pt x="97" y="55"/>
                    </a:cubicBezTo>
                    <a:cubicBezTo>
                      <a:pt x="98" y="53"/>
                      <a:pt x="95" y="52"/>
                      <a:pt x="95" y="51"/>
                    </a:cubicBezTo>
                    <a:cubicBezTo>
                      <a:pt x="95" y="49"/>
                      <a:pt x="93" y="48"/>
                      <a:pt x="92" y="50"/>
                    </a:cubicBezTo>
                    <a:cubicBezTo>
                      <a:pt x="90" y="52"/>
                      <a:pt x="90" y="51"/>
                      <a:pt x="91" y="48"/>
                    </a:cubicBezTo>
                    <a:cubicBezTo>
                      <a:pt x="92" y="45"/>
                      <a:pt x="96" y="43"/>
                      <a:pt x="96" y="41"/>
                    </a:cubicBezTo>
                    <a:cubicBezTo>
                      <a:pt x="96" y="40"/>
                      <a:pt x="98" y="38"/>
                      <a:pt x="100" y="38"/>
                    </a:cubicBezTo>
                    <a:cubicBezTo>
                      <a:pt x="102" y="38"/>
                      <a:pt x="101" y="34"/>
                      <a:pt x="102" y="32"/>
                    </a:cubicBezTo>
                    <a:cubicBezTo>
                      <a:pt x="102" y="30"/>
                      <a:pt x="103" y="27"/>
                      <a:pt x="105" y="25"/>
                    </a:cubicBezTo>
                    <a:cubicBezTo>
                      <a:pt x="107" y="23"/>
                      <a:pt x="104" y="22"/>
                      <a:pt x="103" y="23"/>
                    </a:cubicBezTo>
                    <a:close/>
                    <a:moveTo>
                      <a:pt x="116" y="83"/>
                    </a:moveTo>
                    <a:cubicBezTo>
                      <a:pt x="115" y="83"/>
                      <a:pt x="114" y="85"/>
                      <a:pt x="111" y="87"/>
                    </a:cubicBezTo>
                    <a:cubicBezTo>
                      <a:pt x="108" y="89"/>
                      <a:pt x="111" y="99"/>
                      <a:pt x="114" y="98"/>
                    </a:cubicBezTo>
                    <a:cubicBezTo>
                      <a:pt x="118" y="98"/>
                      <a:pt x="117" y="83"/>
                      <a:pt x="116" y="8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58" name="Freeform 134">
                <a:extLst>
                  <a:ext uri="{FF2B5EF4-FFF2-40B4-BE49-F238E27FC236}">
                    <a16:creationId xmlns:a16="http://schemas.microsoft.com/office/drawing/2014/main" id="{8BC91260-3FC5-4213-8AA2-D775922731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911532" y="3063723"/>
                <a:ext cx="1760045" cy="1217315"/>
              </a:xfrm>
              <a:custGeom>
                <a:avLst/>
                <a:gdLst>
                  <a:gd name="T0" fmla="*/ 459 w 483"/>
                  <a:gd name="T1" fmla="*/ 63 h 335"/>
                  <a:gd name="T2" fmla="*/ 435 w 483"/>
                  <a:gd name="T3" fmla="*/ 45 h 335"/>
                  <a:gd name="T4" fmla="*/ 416 w 483"/>
                  <a:gd name="T5" fmla="*/ 19 h 335"/>
                  <a:gd name="T6" fmla="*/ 388 w 483"/>
                  <a:gd name="T7" fmla="*/ 1 h 335"/>
                  <a:gd name="T8" fmla="*/ 369 w 483"/>
                  <a:gd name="T9" fmla="*/ 15 h 335"/>
                  <a:gd name="T10" fmla="*/ 353 w 483"/>
                  <a:gd name="T11" fmla="*/ 39 h 335"/>
                  <a:gd name="T12" fmla="*/ 329 w 483"/>
                  <a:gd name="T13" fmla="*/ 52 h 335"/>
                  <a:gd name="T14" fmla="*/ 344 w 483"/>
                  <a:gd name="T15" fmla="*/ 62 h 335"/>
                  <a:gd name="T16" fmla="*/ 343 w 483"/>
                  <a:gd name="T17" fmla="*/ 75 h 335"/>
                  <a:gd name="T18" fmla="*/ 301 w 483"/>
                  <a:gd name="T19" fmla="*/ 91 h 335"/>
                  <a:gd name="T20" fmla="*/ 271 w 483"/>
                  <a:gd name="T21" fmla="*/ 116 h 335"/>
                  <a:gd name="T22" fmla="*/ 224 w 483"/>
                  <a:gd name="T23" fmla="*/ 119 h 335"/>
                  <a:gd name="T24" fmla="*/ 172 w 483"/>
                  <a:gd name="T25" fmla="*/ 112 h 335"/>
                  <a:gd name="T26" fmla="*/ 150 w 483"/>
                  <a:gd name="T27" fmla="*/ 90 h 335"/>
                  <a:gd name="T28" fmla="*/ 129 w 483"/>
                  <a:gd name="T29" fmla="*/ 64 h 335"/>
                  <a:gd name="T30" fmla="*/ 109 w 483"/>
                  <a:gd name="T31" fmla="*/ 47 h 335"/>
                  <a:gd name="T32" fmla="*/ 98 w 483"/>
                  <a:gd name="T33" fmla="*/ 54 h 335"/>
                  <a:gd name="T34" fmla="*/ 79 w 483"/>
                  <a:gd name="T35" fmla="*/ 69 h 335"/>
                  <a:gd name="T36" fmla="*/ 63 w 483"/>
                  <a:gd name="T37" fmla="*/ 87 h 335"/>
                  <a:gd name="T38" fmla="*/ 55 w 483"/>
                  <a:gd name="T39" fmla="*/ 107 h 335"/>
                  <a:gd name="T40" fmla="*/ 37 w 483"/>
                  <a:gd name="T41" fmla="*/ 126 h 335"/>
                  <a:gd name="T42" fmla="*/ 14 w 483"/>
                  <a:gd name="T43" fmla="*/ 133 h 335"/>
                  <a:gd name="T44" fmla="*/ 0 w 483"/>
                  <a:gd name="T45" fmla="*/ 143 h 335"/>
                  <a:gd name="T46" fmla="*/ 10 w 483"/>
                  <a:gd name="T47" fmla="*/ 166 h 335"/>
                  <a:gd name="T48" fmla="*/ 28 w 483"/>
                  <a:gd name="T49" fmla="*/ 182 h 335"/>
                  <a:gd name="T50" fmla="*/ 42 w 483"/>
                  <a:gd name="T51" fmla="*/ 177 h 335"/>
                  <a:gd name="T52" fmla="*/ 40 w 483"/>
                  <a:gd name="T53" fmla="*/ 197 h 335"/>
                  <a:gd name="T54" fmla="*/ 40 w 483"/>
                  <a:gd name="T55" fmla="*/ 217 h 335"/>
                  <a:gd name="T56" fmla="*/ 55 w 483"/>
                  <a:gd name="T57" fmla="*/ 230 h 335"/>
                  <a:gd name="T58" fmla="*/ 98 w 483"/>
                  <a:gd name="T59" fmla="*/ 248 h 335"/>
                  <a:gd name="T60" fmla="*/ 116 w 483"/>
                  <a:gd name="T61" fmla="*/ 252 h 335"/>
                  <a:gd name="T62" fmla="*/ 130 w 483"/>
                  <a:gd name="T63" fmla="*/ 248 h 335"/>
                  <a:gd name="T64" fmla="*/ 149 w 483"/>
                  <a:gd name="T65" fmla="*/ 243 h 335"/>
                  <a:gd name="T66" fmla="*/ 173 w 483"/>
                  <a:gd name="T67" fmla="*/ 243 h 335"/>
                  <a:gd name="T68" fmla="*/ 186 w 483"/>
                  <a:gd name="T69" fmla="*/ 252 h 335"/>
                  <a:gd name="T70" fmla="*/ 182 w 483"/>
                  <a:gd name="T71" fmla="*/ 282 h 335"/>
                  <a:gd name="T72" fmla="*/ 195 w 483"/>
                  <a:gd name="T73" fmla="*/ 299 h 335"/>
                  <a:gd name="T74" fmla="*/ 212 w 483"/>
                  <a:gd name="T75" fmla="*/ 307 h 335"/>
                  <a:gd name="T76" fmla="*/ 225 w 483"/>
                  <a:gd name="T77" fmla="*/ 294 h 335"/>
                  <a:gd name="T78" fmla="*/ 251 w 483"/>
                  <a:gd name="T79" fmla="*/ 293 h 335"/>
                  <a:gd name="T80" fmla="*/ 267 w 483"/>
                  <a:gd name="T81" fmla="*/ 303 h 335"/>
                  <a:gd name="T82" fmla="*/ 280 w 483"/>
                  <a:gd name="T83" fmla="*/ 314 h 335"/>
                  <a:gd name="T84" fmla="*/ 317 w 483"/>
                  <a:gd name="T85" fmla="*/ 295 h 335"/>
                  <a:gd name="T86" fmla="*/ 345 w 483"/>
                  <a:gd name="T87" fmla="*/ 280 h 335"/>
                  <a:gd name="T88" fmla="*/ 359 w 483"/>
                  <a:gd name="T89" fmla="*/ 263 h 335"/>
                  <a:gd name="T90" fmla="*/ 373 w 483"/>
                  <a:gd name="T91" fmla="*/ 246 h 335"/>
                  <a:gd name="T92" fmla="*/ 376 w 483"/>
                  <a:gd name="T93" fmla="*/ 231 h 335"/>
                  <a:gd name="T94" fmla="*/ 372 w 483"/>
                  <a:gd name="T95" fmla="*/ 219 h 335"/>
                  <a:gd name="T96" fmla="*/ 370 w 483"/>
                  <a:gd name="T97" fmla="*/ 207 h 335"/>
                  <a:gd name="T98" fmla="*/ 360 w 483"/>
                  <a:gd name="T99" fmla="*/ 180 h 335"/>
                  <a:gd name="T100" fmla="*/ 382 w 483"/>
                  <a:gd name="T101" fmla="*/ 168 h 335"/>
                  <a:gd name="T102" fmla="*/ 354 w 483"/>
                  <a:gd name="T103" fmla="*/ 160 h 335"/>
                  <a:gd name="T104" fmla="*/ 365 w 483"/>
                  <a:gd name="T105" fmla="*/ 137 h 335"/>
                  <a:gd name="T106" fmla="*/ 378 w 483"/>
                  <a:gd name="T107" fmla="*/ 149 h 335"/>
                  <a:gd name="T108" fmla="*/ 414 w 483"/>
                  <a:gd name="T109" fmla="*/ 128 h 335"/>
                  <a:gd name="T110" fmla="*/ 432 w 483"/>
                  <a:gd name="T111" fmla="*/ 120 h 335"/>
                  <a:gd name="T112" fmla="*/ 452 w 483"/>
                  <a:gd name="T113" fmla="*/ 113 h 335"/>
                  <a:gd name="T114" fmla="*/ 454 w 483"/>
                  <a:gd name="T115" fmla="*/ 91 h 335"/>
                  <a:gd name="T116" fmla="*/ 476 w 483"/>
                  <a:gd name="T117" fmla="*/ 77 h 335"/>
                  <a:gd name="T118" fmla="*/ 368 w 483"/>
                  <a:gd name="T119" fmla="*/ 299 h 335"/>
                  <a:gd name="T120" fmla="*/ 271 w 483"/>
                  <a:gd name="T121" fmla="*/ 328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3" h="335">
                    <a:moveTo>
                      <a:pt x="480" y="60"/>
                    </a:moveTo>
                    <a:cubicBezTo>
                      <a:pt x="480" y="56"/>
                      <a:pt x="475" y="57"/>
                      <a:pt x="474" y="58"/>
                    </a:cubicBezTo>
                    <a:cubicBezTo>
                      <a:pt x="472" y="59"/>
                      <a:pt x="467" y="58"/>
                      <a:pt x="466" y="61"/>
                    </a:cubicBezTo>
                    <a:cubicBezTo>
                      <a:pt x="464" y="64"/>
                      <a:pt x="462" y="62"/>
                      <a:pt x="459" y="63"/>
                    </a:cubicBezTo>
                    <a:cubicBezTo>
                      <a:pt x="455" y="63"/>
                      <a:pt x="451" y="62"/>
                      <a:pt x="451" y="60"/>
                    </a:cubicBezTo>
                    <a:cubicBezTo>
                      <a:pt x="451" y="57"/>
                      <a:pt x="449" y="55"/>
                      <a:pt x="449" y="53"/>
                    </a:cubicBezTo>
                    <a:cubicBezTo>
                      <a:pt x="449" y="50"/>
                      <a:pt x="446" y="51"/>
                      <a:pt x="443" y="49"/>
                    </a:cubicBezTo>
                    <a:cubicBezTo>
                      <a:pt x="441" y="47"/>
                      <a:pt x="436" y="45"/>
                      <a:pt x="435" y="45"/>
                    </a:cubicBezTo>
                    <a:cubicBezTo>
                      <a:pt x="434" y="46"/>
                      <a:pt x="432" y="43"/>
                      <a:pt x="427" y="42"/>
                    </a:cubicBezTo>
                    <a:cubicBezTo>
                      <a:pt x="423" y="42"/>
                      <a:pt x="424" y="40"/>
                      <a:pt x="424" y="38"/>
                    </a:cubicBezTo>
                    <a:cubicBezTo>
                      <a:pt x="425" y="36"/>
                      <a:pt x="421" y="31"/>
                      <a:pt x="420" y="28"/>
                    </a:cubicBezTo>
                    <a:cubicBezTo>
                      <a:pt x="420" y="25"/>
                      <a:pt x="417" y="25"/>
                      <a:pt x="416" y="19"/>
                    </a:cubicBezTo>
                    <a:cubicBezTo>
                      <a:pt x="414" y="13"/>
                      <a:pt x="411" y="14"/>
                      <a:pt x="412" y="11"/>
                    </a:cubicBezTo>
                    <a:cubicBezTo>
                      <a:pt x="412" y="8"/>
                      <a:pt x="408" y="7"/>
                      <a:pt x="407" y="5"/>
                    </a:cubicBezTo>
                    <a:cubicBezTo>
                      <a:pt x="405" y="4"/>
                      <a:pt x="400" y="4"/>
                      <a:pt x="397" y="3"/>
                    </a:cubicBezTo>
                    <a:cubicBezTo>
                      <a:pt x="393" y="1"/>
                      <a:pt x="391" y="2"/>
                      <a:pt x="388" y="1"/>
                    </a:cubicBezTo>
                    <a:cubicBezTo>
                      <a:pt x="384" y="0"/>
                      <a:pt x="377" y="2"/>
                      <a:pt x="376" y="2"/>
                    </a:cubicBezTo>
                    <a:cubicBezTo>
                      <a:pt x="375" y="2"/>
                      <a:pt x="369" y="1"/>
                      <a:pt x="366" y="5"/>
                    </a:cubicBezTo>
                    <a:cubicBezTo>
                      <a:pt x="362" y="10"/>
                      <a:pt x="365" y="10"/>
                      <a:pt x="366" y="10"/>
                    </a:cubicBezTo>
                    <a:cubicBezTo>
                      <a:pt x="368" y="10"/>
                      <a:pt x="369" y="14"/>
                      <a:pt x="369" y="15"/>
                    </a:cubicBezTo>
                    <a:cubicBezTo>
                      <a:pt x="369" y="17"/>
                      <a:pt x="366" y="19"/>
                      <a:pt x="365" y="19"/>
                    </a:cubicBezTo>
                    <a:cubicBezTo>
                      <a:pt x="364" y="20"/>
                      <a:pt x="361" y="25"/>
                      <a:pt x="360" y="27"/>
                    </a:cubicBezTo>
                    <a:cubicBezTo>
                      <a:pt x="360" y="29"/>
                      <a:pt x="356" y="34"/>
                      <a:pt x="356" y="35"/>
                    </a:cubicBezTo>
                    <a:cubicBezTo>
                      <a:pt x="357" y="37"/>
                      <a:pt x="354" y="39"/>
                      <a:pt x="353" y="39"/>
                    </a:cubicBezTo>
                    <a:cubicBezTo>
                      <a:pt x="351" y="39"/>
                      <a:pt x="347" y="42"/>
                      <a:pt x="345" y="43"/>
                    </a:cubicBezTo>
                    <a:cubicBezTo>
                      <a:pt x="344" y="43"/>
                      <a:pt x="338" y="42"/>
                      <a:pt x="337" y="41"/>
                    </a:cubicBezTo>
                    <a:cubicBezTo>
                      <a:pt x="337" y="40"/>
                      <a:pt x="336" y="40"/>
                      <a:pt x="336" y="39"/>
                    </a:cubicBezTo>
                    <a:cubicBezTo>
                      <a:pt x="329" y="52"/>
                      <a:pt x="329" y="52"/>
                      <a:pt x="329" y="52"/>
                    </a:cubicBezTo>
                    <a:cubicBezTo>
                      <a:pt x="329" y="56"/>
                      <a:pt x="329" y="56"/>
                      <a:pt x="329" y="56"/>
                    </a:cubicBezTo>
                    <a:cubicBezTo>
                      <a:pt x="329" y="56"/>
                      <a:pt x="324" y="58"/>
                      <a:pt x="328" y="61"/>
                    </a:cubicBezTo>
                    <a:cubicBezTo>
                      <a:pt x="331" y="64"/>
                      <a:pt x="331" y="61"/>
                      <a:pt x="336" y="61"/>
                    </a:cubicBezTo>
                    <a:cubicBezTo>
                      <a:pt x="341" y="61"/>
                      <a:pt x="343" y="65"/>
                      <a:pt x="344" y="62"/>
                    </a:cubicBezTo>
                    <a:cubicBezTo>
                      <a:pt x="345" y="60"/>
                      <a:pt x="349" y="58"/>
                      <a:pt x="351" y="61"/>
                    </a:cubicBezTo>
                    <a:cubicBezTo>
                      <a:pt x="354" y="64"/>
                      <a:pt x="362" y="69"/>
                      <a:pt x="362" y="72"/>
                    </a:cubicBezTo>
                    <a:cubicBezTo>
                      <a:pt x="361" y="75"/>
                      <a:pt x="357" y="74"/>
                      <a:pt x="353" y="73"/>
                    </a:cubicBezTo>
                    <a:cubicBezTo>
                      <a:pt x="350" y="72"/>
                      <a:pt x="346" y="75"/>
                      <a:pt x="343" y="75"/>
                    </a:cubicBezTo>
                    <a:cubicBezTo>
                      <a:pt x="340" y="75"/>
                      <a:pt x="336" y="76"/>
                      <a:pt x="333" y="79"/>
                    </a:cubicBezTo>
                    <a:cubicBezTo>
                      <a:pt x="330" y="82"/>
                      <a:pt x="331" y="85"/>
                      <a:pt x="326" y="86"/>
                    </a:cubicBezTo>
                    <a:cubicBezTo>
                      <a:pt x="321" y="87"/>
                      <a:pt x="319" y="86"/>
                      <a:pt x="314" y="90"/>
                    </a:cubicBezTo>
                    <a:cubicBezTo>
                      <a:pt x="309" y="93"/>
                      <a:pt x="303" y="92"/>
                      <a:pt x="301" y="91"/>
                    </a:cubicBezTo>
                    <a:cubicBezTo>
                      <a:pt x="299" y="90"/>
                      <a:pt x="295" y="89"/>
                      <a:pt x="293" y="93"/>
                    </a:cubicBezTo>
                    <a:cubicBezTo>
                      <a:pt x="291" y="96"/>
                      <a:pt x="296" y="98"/>
                      <a:pt x="295" y="102"/>
                    </a:cubicBezTo>
                    <a:cubicBezTo>
                      <a:pt x="295" y="106"/>
                      <a:pt x="290" y="105"/>
                      <a:pt x="286" y="110"/>
                    </a:cubicBezTo>
                    <a:cubicBezTo>
                      <a:pt x="281" y="115"/>
                      <a:pt x="275" y="117"/>
                      <a:pt x="271" y="116"/>
                    </a:cubicBezTo>
                    <a:cubicBezTo>
                      <a:pt x="267" y="116"/>
                      <a:pt x="260" y="113"/>
                      <a:pt x="253" y="117"/>
                    </a:cubicBezTo>
                    <a:cubicBezTo>
                      <a:pt x="246" y="120"/>
                      <a:pt x="242" y="124"/>
                      <a:pt x="239" y="124"/>
                    </a:cubicBezTo>
                    <a:cubicBezTo>
                      <a:pt x="236" y="123"/>
                      <a:pt x="236" y="120"/>
                      <a:pt x="233" y="121"/>
                    </a:cubicBezTo>
                    <a:cubicBezTo>
                      <a:pt x="229" y="121"/>
                      <a:pt x="227" y="120"/>
                      <a:pt x="224" y="119"/>
                    </a:cubicBezTo>
                    <a:cubicBezTo>
                      <a:pt x="222" y="117"/>
                      <a:pt x="220" y="120"/>
                      <a:pt x="216" y="117"/>
                    </a:cubicBezTo>
                    <a:cubicBezTo>
                      <a:pt x="212" y="113"/>
                      <a:pt x="204" y="114"/>
                      <a:pt x="201" y="113"/>
                    </a:cubicBezTo>
                    <a:cubicBezTo>
                      <a:pt x="198" y="113"/>
                      <a:pt x="186" y="113"/>
                      <a:pt x="182" y="113"/>
                    </a:cubicBezTo>
                    <a:cubicBezTo>
                      <a:pt x="178" y="112"/>
                      <a:pt x="172" y="114"/>
                      <a:pt x="172" y="112"/>
                    </a:cubicBezTo>
                    <a:cubicBezTo>
                      <a:pt x="171" y="110"/>
                      <a:pt x="168" y="108"/>
                      <a:pt x="167" y="104"/>
                    </a:cubicBezTo>
                    <a:cubicBezTo>
                      <a:pt x="166" y="99"/>
                      <a:pt x="163" y="97"/>
                      <a:pt x="161" y="97"/>
                    </a:cubicBezTo>
                    <a:cubicBezTo>
                      <a:pt x="158" y="96"/>
                      <a:pt x="158" y="94"/>
                      <a:pt x="156" y="93"/>
                    </a:cubicBezTo>
                    <a:cubicBezTo>
                      <a:pt x="154" y="93"/>
                      <a:pt x="153" y="90"/>
                      <a:pt x="150" y="90"/>
                    </a:cubicBezTo>
                    <a:cubicBezTo>
                      <a:pt x="146" y="90"/>
                      <a:pt x="133" y="88"/>
                      <a:pt x="131" y="85"/>
                    </a:cubicBezTo>
                    <a:cubicBezTo>
                      <a:pt x="130" y="82"/>
                      <a:pt x="133" y="82"/>
                      <a:pt x="133" y="79"/>
                    </a:cubicBezTo>
                    <a:cubicBezTo>
                      <a:pt x="133" y="76"/>
                      <a:pt x="135" y="72"/>
                      <a:pt x="134" y="71"/>
                    </a:cubicBezTo>
                    <a:cubicBezTo>
                      <a:pt x="132" y="69"/>
                      <a:pt x="130" y="67"/>
                      <a:pt x="129" y="64"/>
                    </a:cubicBezTo>
                    <a:cubicBezTo>
                      <a:pt x="129" y="62"/>
                      <a:pt x="125" y="59"/>
                      <a:pt x="123" y="59"/>
                    </a:cubicBezTo>
                    <a:cubicBezTo>
                      <a:pt x="120" y="59"/>
                      <a:pt x="118" y="57"/>
                      <a:pt x="115" y="55"/>
                    </a:cubicBezTo>
                    <a:cubicBezTo>
                      <a:pt x="113" y="53"/>
                      <a:pt x="111" y="53"/>
                      <a:pt x="110" y="47"/>
                    </a:cubicBezTo>
                    <a:cubicBezTo>
                      <a:pt x="109" y="47"/>
                      <a:pt x="109" y="47"/>
                      <a:pt x="109" y="47"/>
                    </a:cubicBezTo>
                    <a:cubicBezTo>
                      <a:pt x="108" y="46"/>
                      <a:pt x="107" y="46"/>
                      <a:pt x="106" y="46"/>
                    </a:cubicBezTo>
                    <a:cubicBezTo>
                      <a:pt x="106" y="46"/>
                      <a:pt x="105" y="46"/>
                      <a:pt x="104" y="45"/>
                    </a:cubicBezTo>
                    <a:cubicBezTo>
                      <a:pt x="103" y="47"/>
                      <a:pt x="101" y="48"/>
                      <a:pt x="101" y="50"/>
                    </a:cubicBezTo>
                    <a:cubicBezTo>
                      <a:pt x="101" y="52"/>
                      <a:pt x="100" y="54"/>
                      <a:pt x="98" y="54"/>
                    </a:cubicBezTo>
                    <a:cubicBezTo>
                      <a:pt x="95" y="54"/>
                      <a:pt x="93" y="56"/>
                      <a:pt x="93" y="60"/>
                    </a:cubicBezTo>
                    <a:cubicBezTo>
                      <a:pt x="92" y="65"/>
                      <a:pt x="95" y="65"/>
                      <a:pt x="94" y="67"/>
                    </a:cubicBezTo>
                    <a:cubicBezTo>
                      <a:pt x="93" y="69"/>
                      <a:pt x="88" y="71"/>
                      <a:pt x="86" y="70"/>
                    </a:cubicBezTo>
                    <a:cubicBezTo>
                      <a:pt x="85" y="69"/>
                      <a:pt x="81" y="69"/>
                      <a:pt x="79" y="69"/>
                    </a:cubicBezTo>
                    <a:cubicBezTo>
                      <a:pt x="76" y="69"/>
                      <a:pt x="74" y="65"/>
                      <a:pt x="73" y="69"/>
                    </a:cubicBezTo>
                    <a:cubicBezTo>
                      <a:pt x="73" y="73"/>
                      <a:pt x="67" y="83"/>
                      <a:pt x="68" y="85"/>
                    </a:cubicBezTo>
                    <a:cubicBezTo>
                      <a:pt x="70" y="86"/>
                      <a:pt x="71" y="88"/>
                      <a:pt x="68" y="88"/>
                    </a:cubicBezTo>
                    <a:cubicBezTo>
                      <a:pt x="66" y="88"/>
                      <a:pt x="64" y="88"/>
                      <a:pt x="63" y="87"/>
                    </a:cubicBezTo>
                    <a:cubicBezTo>
                      <a:pt x="61" y="86"/>
                      <a:pt x="58" y="88"/>
                      <a:pt x="55" y="88"/>
                    </a:cubicBezTo>
                    <a:cubicBezTo>
                      <a:pt x="54" y="88"/>
                      <a:pt x="49" y="91"/>
                      <a:pt x="50" y="91"/>
                    </a:cubicBezTo>
                    <a:cubicBezTo>
                      <a:pt x="52" y="92"/>
                      <a:pt x="52" y="97"/>
                      <a:pt x="52" y="98"/>
                    </a:cubicBezTo>
                    <a:cubicBezTo>
                      <a:pt x="52" y="100"/>
                      <a:pt x="56" y="106"/>
                      <a:pt x="55" y="107"/>
                    </a:cubicBezTo>
                    <a:cubicBezTo>
                      <a:pt x="55" y="109"/>
                      <a:pt x="51" y="111"/>
                      <a:pt x="51" y="113"/>
                    </a:cubicBezTo>
                    <a:cubicBezTo>
                      <a:pt x="51" y="116"/>
                      <a:pt x="52" y="118"/>
                      <a:pt x="51" y="118"/>
                    </a:cubicBezTo>
                    <a:cubicBezTo>
                      <a:pt x="49" y="119"/>
                      <a:pt x="45" y="121"/>
                      <a:pt x="43" y="122"/>
                    </a:cubicBezTo>
                    <a:cubicBezTo>
                      <a:pt x="42" y="123"/>
                      <a:pt x="38" y="123"/>
                      <a:pt x="37" y="126"/>
                    </a:cubicBezTo>
                    <a:cubicBezTo>
                      <a:pt x="36" y="128"/>
                      <a:pt x="35" y="130"/>
                      <a:pt x="31" y="129"/>
                    </a:cubicBezTo>
                    <a:cubicBezTo>
                      <a:pt x="28" y="129"/>
                      <a:pt x="26" y="128"/>
                      <a:pt x="24" y="131"/>
                    </a:cubicBezTo>
                    <a:cubicBezTo>
                      <a:pt x="21" y="134"/>
                      <a:pt x="20" y="133"/>
                      <a:pt x="19" y="134"/>
                    </a:cubicBezTo>
                    <a:cubicBezTo>
                      <a:pt x="17" y="136"/>
                      <a:pt x="15" y="133"/>
                      <a:pt x="14" y="133"/>
                    </a:cubicBezTo>
                    <a:cubicBezTo>
                      <a:pt x="12" y="132"/>
                      <a:pt x="10" y="134"/>
                      <a:pt x="9" y="134"/>
                    </a:cubicBezTo>
                    <a:cubicBezTo>
                      <a:pt x="7" y="134"/>
                      <a:pt x="6" y="137"/>
                      <a:pt x="4" y="137"/>
                    </a:cubicBezTo>
                    <a:cubicBezTo>
                      <a:pt x="3" y="138"/>
                      <a:pt x="1" y="137"/>
                      <a:pt x="1" y="139"/>
                    </a:cubicBezTo>
                    <a:cubicBezTo>
                      <a:pt x="1" y="141"/>
                      <a:pt x="1" y="142"/>
                      <a:pt x="0" y="14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" y="150"/>
                      <a:pt x="1" y="150"/>
                      <a:pt x="1" y="150"/>
                    </a:cubicBezTo>
                    <a:cubicBezTo>
                      <a:pt x="1" y="150"/>
                      <a:pt x="8" y="153"/>
                      <a:pt x="9" y="155"/>
                    </a:cubicBezTo>
                    <a:cubicBezTo>
                      <a:pt x="9" y="158"/>
                      <a:pt x="10" y="166"/>
                      <a:pt x="10" y="166"/>
                    </a:cubicBezTo>
                    <a:cubicBezTo>
                      <a:pt x="10" y="166"/>
                      <a:pt x="10" y="166"/>
                      <a:pt x="10" y="166"/>
                    </a:cubicBezTo>
                    <a:cubicBezTo>
                      <a:pt x="13" y="169"/>
                      <a:pt x="17" y="171"/>
                      <a:pt x="17" y="172"/>
                    </a:cubicBezTo>
                    <a:cubicBezTo>
                      <a:pt x="17" y="173"/>
                      <a:pt x="18" y="177"/>
                      <a:pt x="22" y="178"/>
                    </a:cubicBezTo>
                    <a:cubicBezTo>
                      <a:pt x="24" y="179"/>
                      <a:pt x="26" y="181"/>
                      <a:pt x="28" y="182"/>
                    </a:cubicBezTo>
                    <a:cubicBezTo>
                      <a:pt x="28" y="181"/>
                      <a:pt x="28" y="181"/>
                      <a:pt x="28" y="181"/>
                    </a:cubicBezTo>
                    <a:cubicBezTo>
                      <a:pt x="31" y="181"/>
                      <a:pt x="31" y="181"/>
                      <a:pt x="31" y="181"/>
                    </a:cubicBezTo>
                    <a:cubicBezTo>
                      <a:pt x="31" y="181"/>
                      <a:pt x="32" y="181"/>
                      <a:pt x="33" y="182"/>
                    </a:cubicBezTo>
                    <a:cubicBezTo>
                      <a:pt x="34" y="180"/>
                      <a:pt x="39" y="177"/>
                      <a:pt x="42" y="177"/>
                    </a:cubicBezTo>
                    <a:cubicBezTo>
                      <a:pt x="45" y="177"/>
                      <a:pt x="52" y="183"/>
                      <a:pt x="52" y="185"/>
                    </a:cubicBezTo>
                    <a:cubicBezTo>
                      <a:pt x="51" y="187"/>
                      <a:pt x="46" y="194"/>
                      <a:pt x="43" y="194"/>
                    </a:cubicBezTo>
                    <a:cubicBezTo>
                      <a:pt x="43" y="194"/>
                      <a:pt x="41" y="194"/>
                      <a:pt x="40" y="195"/>
                    </a:cubicBezTo>
                    <a:cubicBezTo>
                      <a:pt x="40" y="196"/>
                      <a:pt x="40" y="197"/>
                      <a:pt x="40" y="197"/>
                    </a:cubicBezTo>
                    <a:cubicBezTo>
                      <a:pt x="40" y="199"/>
                      <a:pt x="42" y="202"/>
                      <a:pt x="44" y="204"/>
                    </a:cubicBezTo>
                    <a:cubicBezTo>
                      <a:pt x="46" y="207"/>
                      <a:pt x="41" y="209"/>
                      <a:pt x="39" y="207"/>
                    </a:cubicBezTo>
                    <a:cubicBezTo>
                      <a:pt x="37" y="205"/>
                      <a:pt x="36" y="209"/>
                      <a:pt x="37" y="211"/>
                    </a:cubicBezTo>
                    <a:cubicBezTo>
                      <a:pt x="39" y="212"/>
                      <a:pt x="38" y="217"/>
                      <a:pt x="40" y="217"/>
                    </a:cubicBezTo>
                    <a:cubicBezTo>
                      <a:pt x="42" y="217"/>
                      <a:pt x="44" y="222"/>
                      <a:pt x="47" y="222"/>
                    </a:cubicBezTo>
                    <a:cubicBezTo>
                      <a:pt x="49" y="222"/>
                      <a:pt x="52" y="226"/>
                      <a:pt x="52" y="226"/>
                    </a:cubicBezTo>
                    <a:cubicBezTo>
                      <a:pt x="52" y="226"/>
                      <a:pt x="55" y="228"/>
                      <a:pt x="55" y="229"/>
                    </a:cubicBezTo>
                    <a:cubicBezTo>
                      <a:pt x="55" y="230"/>
                      <a:pt x="55" y="230"/>
                      <a:pt x="55" y="230"/>
                    </a:cubicBezTo>
                    <a:cubicBezTo>
                      <a:pt x="58" y="230"/>
                      <a:pt x="60" y="230"/>
                      <a:pt x="60" y="228"/>
                    </a:cubicBezTo>
                    <a:cubicBezTo>
                      <a:pt x="60" y="227"/>
                      <a:pt x="64" y="227"/>
                      <a:pt x="66" y="230"/>
                    </a:cubicBezTo>
                    <a:cubicBezTo>
                      <a:pt x="69" y="232"/>
                      <a:pt x="79" y="239"/>
                      <a:pt x="83" y="242"/>
                    </a:cubicBezTo>
                    <a:cubicBezTo>
                      <a:pt x="86" y="245"/>
                      <a:pt x="95" y="248"/>
                      <a:pt x="98" y="248"/>
                    </a:cubicBezTo>
                    <a:cubicBezTo>
                      <a:pt x="101" y="248"/>
                      <a:pt x="104" y="250"/>
                      <a:pt x="109" y="250"/>
                    </a:cubicBezTo>
                    <a:cubicBezTo>
                      <a:pt x="109" y="250"/>
                      <a:pt x="110" y="250"/>
                      <a:pt x="111" y="250"/>
                    </a:cubicBezTo>
                    <a:cubicBezTo>
                      <a:pt x="111" y="249"/>
                      <a:pt x="112" y="249"/>
                      <a:pt x="113" y="248"/>
                    </a:cubicBezTo>
                    <a:cubicBezTo>
                      <a:pt x="115" y="246"/>
                      <a:pt x="116" y="249"/>
                      <a:pt x="116" y="252"/>
                    </a:cubicBezTo>
                    <a:cubicBezTo>
                      <a:pt x="115" y="253"/>
                      <a:pt x="116" y="255"/>
                      <a:pt x="116" y="256"/>
                    </a:cubicBezTo>
                    <a:cubicBezTo>
                      <a:pt x="117" y="255"/>
                      <a:pt x="118" y="253"/>
                      <a:pt x="118" y="252"/>
                    </a:cubicBezTo>
                    <a:cubicBezTo>
                      <a:pt x="120" y="248"/>
                      <a:pt x="122" y="248"/>
                      <a:pt x="124" y="247"/>
                    </a:cubicBezTo>
                    <a:cubicBezTo>
                      <a:pt x="125" y="246"/>
                      <a:pt x="127" y="246"/>
                      <a:pt x="130" y="248"/>
                    </a:cubicBezTo>
                    <a:cubicBezTo>
                      <a:pt x="134" y="250"/>
                      <a:pt x="135" y="246"/>
                      <a:pt x="140" y="251"/>
                    </a:cubicBezTo>
                    <a:cubicBezTo>
                      <a:pt x="141" y="250"/>
                      <a:pt x="142" y="250"/>
                      <a:pt x="142" y="250"/>
                    </a:cubicBezTo>
                    <a:cubicBezTo>
                      <a:pt x="143" y="250"/>
                      <a:pt x="145" y="248"/>
                      <a:pt x="146" y="246"/>
                    </a:cubicBezTo>
                    <a:cubicBezTo>
                      <a:pt x="148" y="245"/>
                      <a:pt x="148" y="243"/>
                      <a:pt x="149" y="243"/>
                    </a:cubicBezTo>
                    <a:cubicBezTo>
                      <a:pt x="151" y="243"/>
                      <a:pt x="152" y="241"/>
                      <a:pt x="156" y="239"/>
                    </a:cubicBezTo>
                    <a:cubicBezTo>
                      <a:pt x="161" y="236"/>
                      <a:pt x="164" y="240"/>
                      <a:pt x="166" y="238"/>
                    </a:cubicBezTo>
                    <a:cubicBezTo>
                      <a:pt x="168" y="237"/>
                      <a:pt x="170" y="236"/>
                      <a:pt x="170" y="238"/>
                    </a:cubicBezTo>
                    <a:cubicBezTo>
                      <a:pt x="170" y="239"/>
                      <a:pt x="173" y="241"/>
                      <a:pt x="173" y="243"/>
                    </a:cubicBezTo>
                    <a:cubicBezTo>
                      <a:pt x="174" y="245"/>
                      <a:pt x="177" y="246"/>
                      <a:pt x="178" y="246"/>
                    </a:cubicBezTo>
                    <a:cubicBezTo>
                      <a:pt x="178" y="245"/>
                      <a:pt x="179" y="245"/>
                      <a:pt x="179" y="245"/>
                    </a:cubicBezTo>
                    <a:cubicBezTo>
                      <a:pt x="181" y="243"/>
                      <a:pt x="185" y="245"/>
                      <a:pt x="185" y="247"/>
                    </a:cubicBezTo>
                    <a:cubicBezTo>
                      <a:pt x="185" y="249"/>
                      <a:pt x="185" y="252"/>
                      <a:pt x="186" y="252"/>
                    </a:cubicBezTo>
                    <a:cubicBezTo>
                      <a:pt x="188" y="252"/>
                      <a:pt x="190" y="252"/>
                      <a:pt x="190" y="256"/>
                    </a:cubicBezTo>
                    <a:cubicBezTo>
                      <a:pt x="190" y="259"/>
                      <a:pt x="191" y="264"/>
                      <a:pt x="188" y="267"/>
                    </a:cubicBezTo>
                    <a:cubicBezTo>
                      <a:pt x="184" y="271"/>
                      <a:pt x="180" y="277"/>
                      <a:pt x="181" y="279"/>
                    </a:cubicBezTo>
                    <a:cubicBezTo>
                      <a:pt x="182" y="280"/>
                      <a:pt x="180" y="284"/>
                      <a:pt x="182" y="282"/>
                    </a:cubicBezTo>
                    <a:cubicBezTo>
                      <a:pt x="185" y="281"/>
                      <a:pt x="191" y="282"/>
                      <a:pt x="190" y="284"/>
                    </a:cubicBezTo>
                    <a:cubicBezTo>
                      <a:pt x="189" y="285"/>
                      <a:pt x="190" y="290"/>
                      <a:pt x="192" y="290"/>
                    </a:cubicBezTo>
                    <a:cubicBezTo>
                      <a:pt x="195" y="291"/>
                      <a:pt x="196" y="292"/>
                      <a:pt x="195" y="294"/>
                    </a:cubicBezTo>
                    <a:cubicBezTo>
                      <a:pt x="195" y="296"/>
                      <a:pt x="193" y="299"/>
                      <a:pt x="195" y="299"/>
                    </a:cubicBezTo>
                    <a:cubicBezTo>
                      <a:pt x="197" y="299"/>
                      <a:pt x="200" y="299"/>
                      <a:pt x="200" y="302"/>
                    </a:cubicBezTo>
                    <a:cubicBezTo>
                      <a:pt x="199" y="304"/>
                      <a:pt x="201" y="306"/>
                      <a:pt x="205" y="304"/>
                    </a:cubicBezTo>
                    <a:cubicBezTo>
                      <a:pt x="207" y="303"/>
                      <a:pt x="208" y="303"/>
                      <a:pt x="208" y="303"/>
                    </a:cubicBezTo>
                    <a:cubicBezTo>
                      <a:pt x="210" y="303"/>
                      <a:pt x="210" y="307"/>
                      <a:pt x="212" y="307"/>
                    </a:cubicBezTo>
                    <a:cubicBezTo>
                      <a:pt x="215" y="308"/>
                      <a:pt x="214" y="302"/>
                      <a:pt x="213" y="301"/>
                    </a:cubicBezTo>
                    <a:cubicBezTo>
                      <a:pt x="212" y="300"/>
                      <a:pt x="213" y="296"/>
                      <a:pt x="214" y="297"/>
                    </a:cubicBezTo>
                    <a:cubicBezTo>
                      <a:pt x="215" y="298"/>
                      <a:pt x="218" y="297"/>
                      <a:pt x="219" y="295"/>
                    </a:cubicBezTo>
                    <a:cubicBezTo>
                      <a:pt x="221" y="293"/>
                      <a:pt x="224" y="296"/>
                      <a:pt x="225" y="294"/>
                    </a:cubicBezTo>
                    <a:cubicBezTo>
                      <a:pt x="227" y="292"/>
                      <a:pt x="229" y="296"/>
                      <a:pt x="232" y="294"/>
                    </a:cubicBezTo>
                    <a:cubicBezTo>
                      <a:pt x="235" y="293"/>
                      <a:pt x="236" y="296"/>
                      <a:pt x="238" y="293"/>
                    </a:cubicBezTo>
                    <a:cubicBezTo>
                      <a:pt x="239" y="291"/>
                      <a:pt x="243" y="288"/>
                      <a:pt x="244" y="289"/>
                    </a:cubicBezTo>
                    <a:cubicBezTo>
                      <a:pt x="245" y="290"/>
                      <a:pt x="246" y="292"/>
                      <a:pt x="251" y="293"/>
                    </a:cubicBezTo>
                    <a:cubicBezTo>
                      <a:pt x="256" y="293"/>
                      <a:pt x="253" y="296"/>
                      <a:pt x="253" y="297"/>
                    </a:cubicBezTo>
                    <a:cubicBezTo>
                      <a:pt x="253" y="299"/>
                      <a:pt x="259" y="303"/>
                      <a:pt x="261" y="303"/>
                    </a:cubicBezTo>
                    <a:cubicBezTo>
                      <a:pt x="261" y="304"/>
                      <a:pt x="262" y="304"/>
                      <a:pt x="263" y="305"/>
                    </a:cubicBezTo>
                    <a:cubicBezTo>
                      <a:pt x="264" y="304"/>
                      <a:pt x="267" y="305"/>
                      <a:pt x="267" y="303"/>
                    </a:cubicBezTo>
                    <a:cubicBezTo>
                      <a:pt x="268" y="301"/>
                      <a:pt x="271" y="302"/>
                      <a:pt x="272" y="304"/>
                    </a:cubicBezTo>
                    <a:cubicBezTo>
                      <a:pt x="273" y="305"/>
                      <a:pt x="274" y="306"/>
                      <a:pt x="276" y="304"/>
                    </a:cubicBezTo>
                    <a:cubicBezTo>
                      <a:pt x="279" y="302"/>
                      <a:pt x="280" y="306"/>
                      <a:pt x="279" y="307"/>
                    </a:cubicBezTo>
                    <a:cubicBezTo>
                      <a:pt x="277" y="308"/>
                      <a:pt x="278" y="312"/>
                      <a:pt x="280" y="314"/>
                    </a:cubicBezTo>
                    <a:cubicBezTo>
                      <a:pt x="283" y="316"/>
                      <a:pt x="283" y="313"/>
                      <a:pt x="283" y="311"/>
                    </a:cubicBezTo>
                    <a:cubicBezTo>
                      <a:pt x="282" y="308"/>
                      <a:pt x="286" y="306"/>
                      <a:pt x="294" y="304"/>
                    </a:cubicBezTo>
                    <a:cubicBezTo>
                      <a:pt x="301" y="301"/>
                      <a:pt x="309" y="296"/>
                      <a:pt x="310" y="295"/>
                    </a:cubicBezTo>
                    <a:cubicBezTo>
                      <a:pt x="310" y="293"/>
                      <a:pt x="315" y="297"/>
                      <a:pt x="317" y="295"/>
                    </a:cubicBezTo>
                    <a:cubicBezTo>
                      <a:pt x="320" y="293"/>
                      <a:pt x="329" y="293"/>
                      <a:pt x="331" y="293"/>
                    </a:cubicBezTo>
                    <a:cubicBezTo>
                      <a:pt x="334" y="293"/>
                      <a:pt x="334" y="290"/>
                      <a:pt x="336" y="288"/>
                    </a:cubicBezTo>
                    <a:cubicBezTo>
                      <a:pt x="339" y="286"/>
                      <a:pt x="338" y="285"/>
                      <a:pt x="341" y="285"/>
                    </a:cubicBezTo>
                    <a:cubicBezTo>
                      <a:pt x="344" y="284"/>
                      <a:pt x="345" y="281"/>
                      <a:pt x="345" y="280"/>
                    </a:cubicBezTo>
                    <a:cubicBezTo>
                      <a:pt x="345" y="278"/>
                      <a:pt x="351" y="278"/>
                      <a:pt x="351" y="276"/>
                    </a:cubicBezTo>
                    <a:cubicBezTo>
                      <a:pt x="351" y="275"/>
                      <a:pt x="355" y="274"/>
                      <a:pt x="355" y="272"/>
                    </a:cubicBezTo>
                    <a:cubicBezTo>
                      <a:pt x="355" y="271"/>
                      <a:pt x="357" y="271"/>
                      <a:pt x="358" y="269"/>
                    </a:cubicBezTo>
                    <a:cubicBezTo>
                      <a:pt x="359" y="268"/>
                      <a:pt x="358" y="264"/>
                      <a:pt x="359" y="263"/>
                    </a:cubicBezTo>
                    <a:cubicBezTo>
                      <a:pt x="361" y="263"/>
                      <a:pt x="359" y="260"/>
                      <a:pt x="358" y="259"/>
                    </a:cubicBezTo>
                    <a:cubicBezTo>
                      <a:pt x="358" y="258"/>
                      <a:pt x="362" y="258"/>
                      <a:pt x="364" y="257"/>
                    </a:cubicBezTo>
                    <a:cubicBezTo>
                      <a:pt x="366" y="255"/>
                      <a:pt x="367" y="253"/>
                      <a:pt x="368" y="251"/>
                    </a:cubicBezTo>
                    <a:cubicBezTo>
                      <a:pt x="368" y="249"/>
                      <a:pt x="371" y="247"/>
                      <a:pt x="373" y="246"/>
                    </a:cubicBezTo>
                    <a:cubicBezTo>
                      <a:pt x="374" y="246"/>
                      <a:pt x="375" y="242"/>
                      <a:pt x="375" y="240"/>
                    </a:cubicBezTo>
                    <a:cubicBezTo>
                      <a:pt x="374" y="237"/>
                      <a:pt x="377" y="238"/>
                      <a:pt x="376" y="237"/>
                    </a:cubicBezTo>
                    <a:cubicBezTo>
                      <a:pt x="374" y="236"/>
                      <a:pt x="376" y="233"/>
                      <a:pt x="379" y="232"/>
                    </a:cubicBezTo>
                    <a:cubicBezTo>
                      <a:pt x="382" y="231"/>
                      <a:pt x="378" y="230"/>
                      <a:pt x="376" y="231"/>
                    </a:cubicBezTo>
                    <a:cubicBezTo>
                      <a:pt x="374" y="232"/>
                      <a:pt x="373" y="227"/>
                      <a:pt x="371" y="229"/>
                    </a:cubicBezTo>
                    <a:cubicBezTo>
                      <a:pt x="370" y="231"/>
                      <a:pt x="366" y="228"/>
                      <a:pt x="369" y="227"/>
                    </a:cubicBezTo>
                    <a:cubicBezTo>
                      <a:pt x="371" y="227"/>
                      <a:pt x="375" y="224"/>
                      <a:pt x="377" y="223"/>
                    </a:cubicBezTo>
                    <a:cubicBezTo>
                      <a:pt x="379" y="223"/>
                      <a:pt x="374" y="219"/>
                      <a:pt x="372" y="219"/>
                    </a:cubicBezTo>
                    <a:cubicBezTo>
                      <a:pt x="370" y="219"/>
                      <a:pt x="367" y="214"/>
                      <a:pt x="365" y="214"/>
                    </a:cubicBezTo>
                    <a:cubicBezTo>
                      <a:pt x="363" y="214"/>
                      <a:pt x="367" y="212"/>
                      <a:pt x="369" y="213"/>
                    </a:cubicBezTo>
                    <a:cubicBezTo>
                      <a:pt x="372" y="215"/>
                      <a:pt x="375" y="216"/>
                      <a:pt x="377" y="215"/>
                    </a:cubicBezTo>
                    <a:cubicBezTo>
                      <a:pt x="378" y="214"/>
                      <a:pt x="372" y="209"/>
                      <a:pt x="370" y="207"/>
                    </a:cubicBezTo>
                    <a:cubicBezTo>
                      <a:pt x="368" y="206"/>
                      <a:pt x="370" y="203"/>
                      <a:pt x="368" y="202"/>
                    </a:cubicBezTo>
                    <a:cubicBezTo>
                      <a:pt x="367" y="201"/>
                      <a:pt x="364" y="195"/>
                      <a:pt x="363" y="193"/>
                    </a:cubicBezTo>
                    <a:cubicBezTo>
                      <a:pt x="362" y="190"/>
                      <a:pt x="357" y="189"/>
                      <a:pt x="356" y="188"/>
                    </a:cubicBezTo>
                    <a:cubicBezTo>
                      <a:pt x="355" y="186"/>
                      <a:pt x="356" y="182"/>
                      <a:pt x="360" y="180"/>
                    </a:cubicBezTo>
                    <a:cubicBezTo>
                      <a:pt x="364" y="179"/>
                      <a:pt x="362" y="176"/>
                      <a:pt x="364" y="176"/>
                    </a:cubicBezTo>
                    <a:cubicBezTo>
                      <a:pt x="365" y="176"/>
                      <a:pt x="367" y="176"/>
                      <a:pt x="368" y="173"/>
                    </a:cubicBezTo>
                    <a:cubicBezTo>
                      <a:pt x="369" y="170"/>
                      <a:pt x="372" y="172"/>
                      <a:pt x="373" y="170"/>
                    </a:cubicBezTo>
                    <a:cubicBezTo>
                      <a:pt x="374" y="169"/>
                      <a:pt x="380" y="169"/>
                      <a:pt x="382" y="168"/>
                    </a:cubicBezTo>
                    <a:cubicBezTo>
                      <a:pt x="384" y="166"/>
                      <a:pt x="380" y="162"/>
                      <a:pt x="378" y="162"/>
                    </a:cubicBezTo>
                    <a:cubicBezTo>
                      <a:pt x="375" y="163"/>
                      <a:pt x="372" y="162"/>
                      <a:pt x="370" y="159"/>
                    </a:cubicBezTo>
                    <a:cubicBezTo>
                      <a:pt x="368" y="156"/>
                      <a:pt x="363" y="164"/>
                      <a:pt x="359" y="166"/>
                    </a:cubicBezTo>
                    <a:cubicBezTo>
                      <a:pt x="355" y="168"/>
                      <a:pt x="353" y="163"/>
                      <a:pt x="354" y="160"/>
                    </a:cubicBezTo>
                    <a:cubicBezTo>
                      <a:pt x="355" y="157"/>
                      <a:pt x="351" y="157"/>
                      <a:pt x="346" y="157"/>
                    </a:cubicBezTo>
                    <a:cubicBezTo>
                      <a:pt x="340" y="157"/>
                      <a:pt x="342" y="147"/>
                      <a:pt x="346" y="147"/>
                    </a:cubicBezTo>
                    <a:cubicBezTo>
                      <a:pt x="349" y="147"/>
                      <a:pt x="354" y="150"/>
                      <a:pt x="356" y="144"/>
                    </a:cubicBezTo>
                    <a:cubicBezTo>
                      <a:pt x="358" y="138"/>
                      <a:pt x="360" y="143"/>
                      <a:pt x="365" y="137"/>
                    </a:cubicBezTo>
                    <a:cubicBezTo>
                      <a:pt x="369" y="132"/>
                      <a:pt x="375" y="129"/>
                      <a:pt x="379" y="132"/>
                    </a:cubicBezTo>
                    <a:cubicBezTo>
                      <a:pt x="383" y="135"/>
                      <a:pt x="374" y="140"/>
                      <a:pt x="373" y="143"/>
                    </a:cubicBezTo>
                    <a:cubicBezTo>
                      <a:pt x="372" y="146"/>
                      <a:pt x="374" y="147"/>
                      <a:pt x="372" y="149"/>
                    </a:cubicBezTo>
                    <a:cubicBezTo>
                      <a:pt x="370" y="152"/>
                      <a:pt x="373" y="152"/>
                      <a:pt x="378" y="149"/>
                    </a:cubicBezTo>
                    <a:cubicBezTo>
                      <a:pt x="382" y="146"/>
                      <a:pt x="388" y="143"/>
                      <a:pt x="392" y="141"/>
                    </a:cubicBezTo>
                    <a:cubicBezTo>
                      <a:pt x="394" y="140"/>
                      <a:pt x="395" y="140"/>
                      <a:pt x="396" y="140"/>
                    </a:cubicBezTo>
                    <a:cubicBezTo>
                      <a:pt x="397" y="139"/>
                      <a:pt x="398" y="137"/>
                      <a:pt x="399" y="137"/>
                    </a:cubicBezTo>
                    <a:cubicBezTo>
                      <a:pt x="402" y="135"/>
                      <a:pt x="412" y="131"/>
                      <a:pt x="414" y="128"/>
                    </a:cubicBezTo>
                    <a:cubicBezTo>
                      <a:pt x="415" y="126"/>
                      <a:pt x="417" y="123"/>
                      <a:pt x="419" y="123"/>
                    </a:cubicBezTo>
                    <a:cubicBezTo>
                      <a:pt x="421" y="123"/>
                      <a:pt x="421" y="125"/>
                      <a:pt x="424" y="125"/>
                    </a:cubicBezTo>
                    <a:cubicBezTo>
                      <a:pt x="427" y="125"/>
                      <a:pt x="431" y="126"/>
                      <a:pt x="429" y="123"/>
                    </a:cubicBezTo>
                    <a:cubicBezTo>
                      <a:pt x="428" y="121"/>
                      <a:pt x="429" y="121"/>
                      <a:pt x="432" y="120"/>
                    </a:cubicBezTo>
                    <a:cubicBezTo>
                      <a:pt x="436" y="120"/>
                      <a:pt x="435" y="116"/>
                      <a:pt x="438" y="116"/>
                    </a:cubicBezTo>
                    <a:cubicBezTo>
                      <a:pt x="441" y="116"/>
                      <a:pt x="440" y="110"/>
                      <a:pt x="443" y="110"/>
                    </a:cubicBezTo>
                    <a:cubicBezTo>
                      <a:pt x="445" y="110"/>
                      <a:pt x="446" y="113"/>
                      <a:pt x="449" y="112"/>
                    </a:cubicBezTo>
                    <a:cubicBezTo>
                      <a:pt x="450" y="112"/>
                      <a:pt x="451" y="112"/>
                      <a:pt x="452" y="113"/>
                    </a:cubicBezTo>
                    <a:cubicBezTo>
                      <a:pt x="452" y="112"/>
                      <a:pt x="453" y="112"/>
                      <a:pt x="453" y="111"/>
                    </a:cubicBezTo>
                    <a:cubicBezTo>
                      <a:pt x="453" y="108"/>
                      <a:pt x="454" y="105"/>
                      <a:pt x="453" y="104"/>
                    </a:cubicBezTo>
                    <a:cubicBezTo>
                      <a:pt x="452" y="101"/>
                      <a:pt x="453" y="99"/>
                      <a:pt x="452" y="97"/>
                    </a:cubicBezTo>
                    <a:cubicBezTo>
                      <a:pt x="452" y="95"/>
                      <a:pt x="452" y="91"/>
                      <a:pt x="454" y="91"/>
                    </a:cubicBezTo>
                    <a:cubicBezTo>
                      <a:pt x="456" y="91"/>
                      <a:pt x="458" y="86"/>
                      <a:pt x="460" y="88"/>
                    </a:cubicBezTo>
                    <a:cubicBezTo>
                      <a:pt x="463" y="90"/>
                      <a:pt x="467" y="90"/>
                      <a:pt x="467" y="88"/>
                    </a:cubicBezTo>
                    <a:cubicBezTo>
                      <a:pt x="467" y="86"/>
                      <a:pt x="471" y="86"/>
                      <a:pt x="471" y="83"/>
                    </a:cubicBezTo>
                    <a:cubicBezTo>
                      <a:pt x="472" y="80"/>
                      <a:pt x="475" y="79"/>
                      <a:pt x="476" y="77"/>
                    </a:cubicBezTo>
                    <a:cubicBezTo>
                      <a:pt x="477" y="74"/>
                      <a:pt x="478" y="68"/>
                      <a:pt x="480" y="66"/>
                    </a:cubicBezTo>
                    <a:cubicBezTo>
                      <a:pt x="483" y="65"/>
                      <a:pt x="480" y="64"/>
                      <a:pt x="480" y="60"/>
                    </a:cubicBezTo>
                    <a:close/>
                    <a:moveTo>
                      <a:pt x="364" y="285"/>
                    </a:moveTo>
                    <a:cubicBezTo>
                      <a:pt x="361" y="295"/>
                      <a:pt x="367" y="299"/>
                      <a:pt x="368" y="299"/>
                    </a:cubicBezTo>
                    <a:cubicBezTo>
                      <a:pt x="370" y="297"/>
                      <a:pt x="380" y="277"/>
                      <a:pt x="378" y="274"/>
                    </a:cubicBezTo>
                    <a:cubicBezTo>
                      <a:pt x="376" y="271"/>
                      <a:pt x="366" y="276"/>
                      <a:pt x="364" y="285"/>
                    </a:cubicBezTo>
                    <a:close/>
                    <a:moveTo>
                      <a:pt x="279" y="317"/>
                    </a:moveTo>
                    <a:cubicBezTo>
                      <a:pt x="276" y="317"/>
                      <a:pt x="268" y="322"/>
                      <a:pt x="271" y="328"/>
                    </a:cubicBezTo>
                    <a:cubicBezTo>
                      <a:pt x="274" y="335"/>
                      <a:pt x="284" y="330"/>
                      <a:pt x="284" y="328"/>
                    </a:cubicBezTo>
                    <a:cubicBezTo>
                      <a:pt x="285" y="325"/>
                      <a:pt x="289" y="320"/>
                      <a:pt x="289" y="318"/>
                    </a:cubicBezTo>
                    <a:cubicBezTo>
                      <a:pt x="288" y="316"/>
                      <a:pt x="282" y="317"/>
                      <a:pt x="279" y="31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59" name="Freeform 93">
                <a:extLst>
                  <a:ext uri="{FF2B5EF4-FFF2-40B4-BE49-F238E27FC236}">
                    <a16:creationId xmlns:a16="http://schemas.microsoft.com/office/drawing/2014/main" id="{F38C9100-A790-45F0-A2B5-AB7234CE7D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33430" y="3005651"/>
                <a:ext cx="261809" cy="294296"/>
              </a:xfrm>
              <a:custGeom>
                <a:avLst/>
                <a:gdLst>
                  <a:gd name="T0" fmla="*/ 9 w 72"/>
                  <a:gd name="T1" fmla="*/ 21 h 81"/>
                  <a:gd name="T2" fmla="*/ 5 w 72"/>
                  <a:gd name="T3" fmla="*/ 25 h 81"/>
                  <a:gd name="T4" fmla="*/ 8 w 72"/>
                  <a:gd name="T5" fmla="*/ 29 h 81"/>
                  <a:gd name="T6" fmla="*/ 6 w 72"/>
                  <a:gd name="T7" fmla="*/ 32 h 81"/>
                  <a:gd name="T8" fmla="*/ 2 w 72"/>
                  <a:gd name="T9" fmla="*/ 34 h 81"/>
                  <a:gd name="T10" fmla="*/ 1 w 72"/>
                  <a:gd name="T11" fmla="*/ 38 h 81"/>
                  <a:gd name="T12" fmla="*/ 0 w 72"/>
                  <a:gd name="T13" fmla="*/ 44 h 81"/>
                  <a:gd name="T14" fmla="*/ 2 w 72"/>
                  <a:gd name="T15" fmla="*/ 49 h 81"/>
                  <a:gd name="T16" fmla="*/ 1 w 72"/>
                  <a:gd name="T17" fmla="*/ 52 h 81"/>
                  <a:gd name="T18" fmla="*/ 3 w 72"/>
                  <a:gd name="T19" fmla="*/ 59 h 81"/>
                  <a:gd name="T20" fmla="*/ 5 w 72"/>
                  <a:gd name="T21" fmla="*/ 60 h 81"/>
                  <a:gd name="T22" fmla="*/ 10 w 72"/>
                  <a:gd name="T23" fmla="*/ 62 h 81"/>
                  <a:gd name="T24" fmla="*/ 14 w 72"/>
                  <a:gd name="T25" fmla="*/ 64 h 81"/>
                  <a:gd name="T26" fmla="*/ 16 w 72"/>
                  <a:gd name="T27" fmla="*/ 66 h 81"/>
                  <a:gd name="T28" fmla="*/ 13 w 72"/>
                  <a:gd name="T29" fmla="*/ 73 h 81"/>
                  <a:gd name="T30" fmla="*/ 12 w 72"/>
                  <a:gd name="T31" fmla="*/ 78 h 81"/>
                  <a:gd name="T32" fmla="*/ 19 w 72"/>
                  <a:gd name="T33" fmla="*/ 77 h 81"/>
                  <a:gd name="T34" fmla="*/ 24 w 72"/>
                  <a:gd name="T35" fmla="*/ 77 h 81"/>
                  <a:gd name="T36" fmla="*/ 29 w 72"/>
                  <a:gd name="T37" fmla="*/ 79 h 81"/>
                  <a:gd name="T38" fmla="*/ 30 w 72"/>
                  <a:gd name="T39" fmla="*/ 78 h 81"/>
                  <a:gd name="T40" fmla="*/ 35 w 72"/>
                  <a:gd name="T41" fmla="*/ 80 h 81"/>
                  <a:gd name="T42" fmla="*/ 39 w 72"/>
                  <a:gd name="T43" fmla="*/ 79 h 81"/>
                  <a:gd name="T44" fmla="*/ 44 w 72"/>
                  <a:gd name="T45" fmla="*/ 79 h 81"/>
                  <a:gd name="T46" fmla="*/ 52 w 72"/>
                  <a:gd name="T47" fmla="*/ 77 h 81"/>
                  <a:gd name="T48" fmla="*/ 55 w 72"/>
                  <a:gd name="T49" fmla="*/ 75 h 81"/>
                  <a:gd name="T50" fmla="*/ 59 w 72"/>
                  <a:gd name="T51" fmla="*/ 70 h 81"/>
                  <a:gd name="T52" fmla="*/ 63 w 72"/>
                  <a:gd name="T53" fmla="*/ 66 h 81"/>
                  <a:gd name="T54" fmla="*/ 55 w 72"/>
                  <a:gd name="T55" fmla="*/ 60 h 81"/>
                  <a:gd name="T56" fmla="*/ 52 w 72"/>
                  <a:gd name="T57" fmla="*/ 53 h 81"/>
                  <a:gd name="T58" fmla="*/ 51 w 72"/>
                  <a:gd name="T59" fmla="*/ 49 h 81"/>
                  <a:gd name="T60" fmla="*/ 60 w 72"/>
                  <a:gd name="T61" fmla="*/ 46 h 81"/>
                  <a:gd name="T62" fmla="*/ 66 w 72"/>
                  <a:gd name="T63" fmla="*/ 43 h 81"/>
                  <a:gd name="T64" fmla="*/ 71 w 72"/>
                  <a:gd name="T65" fmla="*/ 42 h 81"/>
                  <a:gd name="T66" fmla="*/ 71 w 72"/>
                  <a:gd name="T67" fmla="*/ 38 h 81"/>
                  <a:gd name="T68" fmla="*/ 69 w 72"/>
                  <a:gd name="T69" fmla="*/ 31 h 81"/>
                  <a:gd name="T70" fmla="*/ 68 w 72"/>
                  <a:gd name="T71" fmla="*/ 27 h 81"/>
                  <a:gd name="T72" fmla="*/ 66 w 72"/>
                  <a:gd name="T73" fmla="*/ 23 h 81"/>
                  <a:gd name="T74" fmla="*/ 66 w 72"/>
                  <a:gd name="T75" fmla="*/ 20 h 81"/>
                  <a:gd name="T76" fmla="*/ 66 w 72"/>
                  <a:gd name="T77" fmla="*/ 12 h 81"/>
                  <a:gd name="T78" fmla="*/ 66 w 72"/>
                  <a:gd name="T79" fmla="*/ 11 h 81"/>
                  <a:gd name="T80" fmla="*/ 65 w 72"/>
                  <a:gd name="T81" fmla="*/ 10 h 81"/>
                  <a:gd name="T82" fmla="*/ 60 w 72"/>
                  <a:gd name="T83" fmla="*/ 7 h 81"/>
                  <a:gd name="T84" fmla="*/ 61 w 72"/>
                  <a:gd name="T85" fmla="*/ 2 h 81"/>
                  <a:gd name="T86" fmla="*/ 54 w 72"/>
                  <a:gd name="T87" fmla="*/ 4 h 81"/>
                  <a:gd name="T88" fmla="*/ 45 w 72"/>
                  <a:gd name="T89" fmla="*/ 10 h 81"/>
                  <a:gd name="T90" fmla="*/ 41 w 72"/>
                  <a:gd name="T91" fmla="*/ 7 h 81"/>
                  <a:gd name="T92" fmla="*/ 38 w 72"/>
                  <a:gd name="T93" fmla="*/ 5 h 81"/>
                  <a:gd name="T94" fmla="*/ 32 w 72"/>
                  <a:gd name="T95" fmla="*/ 2 h 81"/>
                  <a:gd name="T96" fmla="*/ 31 w 72"/>
                  <a:gd name="T97" fmla="*/ 0 h 81"/>
                  <a:gd name="T98" fmla="*/ 28 w 72"/>
                  <a:gd name="T99" fmla="*/ 0 h 81"/>
                  <a:gd name="T100" fmla="*/ 21 w 72"/>
                  <a:gd name="T101" fmla="*/ 0 h 81"/>
                  <a:gd name="T102" fmla="*/ 22 w 72"/>
                  <a:gd name="T103" fmla="*/ 4 h 81"/>
                  <a:gd name="T104" fmla="*/ 25 w 72"/>
                  <a:gd name="T105" fmla="*/ 10 h 81"/>
                  <a:gd name="T106" fmla="*/ 21 w 72"/>
                  <a:gd name="T107" fmla="*/ 14 h 81"/>
                  <a:gd name="T108" fmla="*/ 15 w 72"/>
                  <a:gd name="T109" fmla="*/ 13 h 81"/>
                  <a:gd name="T110" fmla="*/ 9 w 72"/>
                  <a:gd name="T111" fmla="*/ 14 h 81"/>
                  <a:gd name="T112" fmla="*/ 9 w 72"/>
                  <a:gd name="T113" fmla="*/ 15 h 81"/>
                  <a:gd name="T114" fmla="*/ 9 w 72"/>
                  <a:gd name="T115" fmla="*/ 2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2" h="81">
                    <a:moveTo>
                      <a:pt x="9" y="21"/>
                    </a:moveTo>
                    <a:cubicBezTo>
                      <a:pt x="7" y="24"/>
                      <a:pt x="5" y="24"/>
                      <a:pt x="5" y="25"/>
                    </a:cubicBezTo>
                    <a:cubicBezTo>
                      <a:pt x="6" y="25"/>
                      <a:pt x="8" y="28"/>
                      <a:pt x="8" y="29"/>
                    </a:cubicBezTo>
                    <a:cubicBezTo>
                      <a:pt x="7" y="30"/>
                      <a:pt x="6" y="29"/>
                      <a:pt x="6" y="32"/>
                    </a:cubicBezTo>
                    <a:cubicBezTo>
                      <a:pt x="6" y="34"/>
                      <a:pt x="3" y="34"/>
                      <a:pt x="2" y="34"/>
                    </a:cubicBezTo>
                    <a:cubicBezTo>
                      <a:pt x="0" y="34"/>
                      <a:pt x="2" y="36"/>
                      <a:pt x="1" y="38"/>
                    </a:cubicBezTo>
                    <a:cubicBezTo>
                      <a:pt x="0" y="39"/>
                      <a:pt x="0" y="43"/>
                      <a:pt x="0" y="44"/>
                    </a:cubicBezTo>
                    <a:cubicBezTo>
                      <a:pt x="0" y="45"/>
                      <a:pt x="3" y="48"/>
                      <a:pt x="2" y="49"/>
                    </a:cubicBezTo>
                    <a:cubicBezTo>
                      <a:pt x="2" y="50"/>
                      <a:pt x="0" y="51"/>
                      <a:pt x="1" y="52"/>
                    </a:cubicBezTo>
                    <a:cubicBezTo>
                      <a:pt x="1" y="53"/>
                      <a:pt x="3" y="54"/>
                      <a:pt x="3" y="59"/>
                    </a:cubicBezTo>
                    <a:cubicBezTo>
                      <a:pt x="4" y="59"/>
                      <a:pt x="5" y="59"/>
                      <a:pt x="5" y="60"/>
                    </a:cubicBezTo>
                    <a:cubicBezTo>
                      <a:pt x="6" y="61"/>
                      <a:pt x="8" y="62"/>
                      <a:pt x="10" y="62"/>
                    </a:cubicBezTo>
                    <a:cubicBezTo>
                      <a:pt x="12" y="62"/>
                      <a:pt x="13" y="64"/>
                      <a:pt x="14" y="64"/>
                    </a:cubicBezTo>
                    <a:cubicBezTo>
                      <a:pt x="15" y="63"/>
                      <a:pt x="18" y="64"/>
                      <a:pt x="16" y="66"/>
                    </a:cubicBezTo>
                    <a:cubicBezTo>
                      <a:pt x="14" y="68"/>
                      <a:pt x="13" y="71"/>
                      <a:pt x="13" y="73"/>
                    </a:cubicBezTo>
                    <a:cubicBezTo>
                      <a:pt x="12" y="74"/>
                      <a:pt x="12" y="76"/>
                      <a:pt x="12" y="78"/>
                    </a:cubicBezTo>
                    <a:cubicBezTo>
                      <a:pt x="14" y="78"/>
                      <a:pt x="18" y="78"/>
                      <a:pt x="19" y="77"/>
                    </a:cubicBezTo>
                    <a:cubicBezTo>
                      <a:pt x="21" y="77"/>
                      <a:pt x="22" y="77"/>
                      <a:pt x="24" y="77"/>
                    </a:cubicBezTo>
                    <a:cubicBezTo>
                      <a:pt x="26" y="78"/>
                      <a:pt x="28" y="79"/>
                      <a:pt x="29" y="79"/>
                    </a:cubicBezTo>
                    <a:cubicBezTo>
                      <a:pt x="29" y="79"/>
                      <a:pt x="29" y="78"/>
                      <a:pt x="30" y="78"/>
                    </a:cubicBezTo>
                    <a:cubicBezTo>
                      <a:pt x="32" y="78"/>
                      <a:pt x="33" y="81"/>
                      <a:pt x="35" y="80"/>
                    </a:cubicBezTo>
                    <a:cubicBezTo>
                      <a:pt x="36" y="78"/>
                      <a:pt x="38" y="78"/>
                      <a:pt x="39" y="79"/>
                    </a:cubicBezTo>
                    <a:cubicBezTo>
                      <a:pt x="41" y="80"/>
                      <a:pt x="43" y="80"/>
                      <a:pt x="44" y="79"/>
                    </a:cubicBezTo>
                    <a:cubicBezTo>
                      <a:pt x="45" y="77"/>
                      <a:pt x="51" y="76"/>
                      <a:pt x="52" y="77"/>
                    </a:cubicBezTo>
                    <a:cubicBezTo>
                      <a:pt x="53" y="77"/>
                      <a:pt x="57" y="79"/>
                      <a:pt x="55" y="75"/>
                    </a:cubicBezTo>
                    <a:cubicBezTo>
                      <a:pt x="54" y="70"/>
                      <a:pt x="58" y="71"/>
                      <a:pt x="59" y="70"/>
                    </a:cubicBezTo>
                    <a:cubicBezTo>
                      <a:pt x="59" y="68"/>
                      <a:pt x="64" y="67"/>
                      <a:pt x="63" y="66"/>
                    </a:cubicBezTo>
                    <a:cubicBezTo>
                      <a:pt x="62" y="65"/>
                      <a:pt x="56" y="61"/>
                      <a:pt x="55" y="60"/>
                    </a:cubicBezTo>
                    <a:cubicBezTo>
                      <a:pt x="53" y="59"/>
                      <a:pt x="53" y="55"/>
                      <a:pt x="52" y="53"/>
                    </a:cubicBezTo>
                    <a:cubicBezTo>
                      <a:pt x="51" y="51"/>
                      <a:pt x="49" y="49"/>
                      <a:pt x="51" y="49"/>
                    </a:cubicBezTo>
                    <a:cubicBezTo>
                      <a:pt x="54" y="48"/>
                      <a:pt x="58" y="47"/>
                      <a:pt x="60" y="46"/>
                    </a:cubicBezTo>
                    <a:cubicBezTo>
                      <a:pt x="62" y="44"/>
                      <a:pt x="65" y="44"/>
                      <a:pt x="66" y="43"/>
                    </a:cubicBezTo>
                    <a:cubicBezTo>
                      <a:pt x="68" y="41"/>
                      <a:pt x="70" y="43"/>
                      <a:pt x="71" y="42"/>
                    </a:cubicBezTo>
                    <a:cubicBezTo>
                      <a:pt x="71" y="41"/>
                      <a:pt x="72" y="39"/>
                      <a:pt x="71" y="38"/>
                    </a:cubicBezTo>
                    <a:cubicBezTo>
                      <a:pt x="70" y="37"/>
                      <a:pt x="69" y="35"/>
                      <a:pt x="69" y="31"/>
                    </a:cubicBezTo>
                    <a:cubicBezTo>
                      <a:pt x="69" y="28"/>
                      <a:pt x="68" y="29"/>
                      <a:pt x="68" y="27"/>
                    </a:cubicBezTo>
                    <a:cubicBezTo>
                      <a:pt x="68" y="26"/>
                      <a:pt x="67" y="24"/>
                      <a:pt x="66" y="23"/>
                    </a:cubicBezTo>
                    <a:cubicBezTo>
                      <a:pt x="65" y="23"/>
                      <a:pt x="64" y="22"/>
                      <a:pt x="66" y="20"/>
                    </a:cubicBezTo>
                    <a:cubicBezTo>
                      <a:pt x="67" y="18"/>
                      <a:pt x="66" y="13"/>
                      <a:pt x="66" y="12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5" y="11"/>
                      <a:pt x="65" y="10"/>
                      <a:pt x="65" y="10"/>
                    </a:cubicBezTo>
                    <a:cubicBezTo>
                      <a:pt x="65" y="8"/>
                      <a:pt x="63" y="7"/>
                      <a:pt x="60" y="7"/>
                    </a:cubicBezTo>
                    <a:cubicBezTo>
                      <a:pt x="57" y="7"/>
                      <a:pt x="62" y="4"/>
                      <a:pt x="61" y="2"/>
                    </a:cubicBezTo>
                    <a:cubicBezTo>
                      <a:pt x="60" y="1"/>
                      <a:pt x="57" y="5"/>
                      <a:pt x="54" y="4"/>
                    </a:cubicBezTo>
                    <a:cubicBezTo>
                      <a:pt x="51" y="3"/>
                      <a:pt x="47" y="8"/>
                      <a:pt x="45" y="10"/>
                    </a:cubicBezTo>
                    <a:cubicBezTo>
                      <a:pt x="42" y="12"/>
                      <a:pt x="39" y="9"/>
                      <a:pt x="41" y="7"/>
                    </a:cubicBezTo>
                    <a:cubicBezTo>
                      <a:pt x="43" y="4"/>
                      <a:pt x="41" y="4"/>
                      <a:pt x="38" y="5"/>
                    </a:cubicBezTo>
                    <a:cubicBezTo>
                      <a:pt x="35" y="6"/>
                      <a:pt x="32" y="5"/>
                      <a:pt x="32" y="2"/>
                    </a:cubicBezTo>
                    <a:cubicBezTo>
                      <a:pt x="32" y="2"/>
                      <a:pt x="32" y="1"/>
                      <a:pt x="31" y="0"/>
                    </a:cubicBezTo>
                    <a:cubicBezTo>
                      <a:pt x="30" y="1"/>
                      <a:pt x="29" y="1"/>
                      <a:pt x="28" y="0"/>
                    </a:cubicBezTo>
                    <a:cubicBezTo>
                      <a:pt x="27" y="0"/>
                      <a:pt x="24" y="0"/>
                      <a:pt x="21" y="0"/>
                    </a:cubicBezTo>
                    <a:cubicBezTo>
                      <a:pt x="22" y="1"/>
                      <a:pt x="23" y="2"/>
                      <a:pt x="22" y="4"/>
                    </a:cubicBezTo>
                    <a:cubicBezTo>
                      <a:pt x="21" y="6"/>
                      <a:pt x="23" y="7"/>
                      <a:pt x="25" y="10"/>
                    </a:cubicBezTo>
                    <a:cubicBezTo>
                      <a:pt x="26" y="13"/>
                      <a:pt x="21" y="12"/>
                      <a:pt x="21" y="14"/>
                    </a:cubicBezTo>
                    <a:cubicBezTo>
                      <a:pt x="21" y="16"/>
                      <a:pt x="17" y="14"/>
                      <a:pt x="15" y="13"/>
                    </a:cubicBezTo>
                    <a:cubicBezTo>
                      <a:pt x="14" y="12"/>
                      <a:pt x="9" y="13"/>
                      <a:pt x="9" y="14"/>
                    </a:cubicBezTo>
                    <a:cubicBezTo>
                      <a:pt x="9" y="14"/>
                      <a:pt x="9" y="15"/>
                      <a:pt x="9" y="15"/>
                    </a:cubicBezTo>
                    <a:cubicBezTo>
                      <a:pt x="10" y="18"/>
                      <a:pt x="10" y="20"/>
                      <a:pt x="9" y="21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0" name="Freeform 104">
                <a:extLst>
                  <a:ext uri="{FF2B5EF4-FFF2-40B4-BE49-F238E27FC236}">
                    <a16:creationId xmlns:a16="http://schemas.microsoft.com/office/drawing/2014/main" id="{084D9FFD-0D66-4E27-A302-8FDCF061C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96994" y="3813232"/>
                <a:ext cx="892443" cy="552283"/>
              </a:xfrm>
              <a:custGeom>
                <a:avLst/>
                <a:gdLst>
                  <a:gd name="T0" fmla="*/ 214 w 245"/>
                  <a:gd name="T1" fmla="*/ 142 h 152"/>
                  <a:gd name="T2" fmla="*/ 211 w 245"/>
                  <a:gd name="T3" fmla="*/ 128 h 152"/>
                  <a:gd name="T4" fmla="*/ 231 w 245"/>
                  <a:gd name="T5" fmla="*/ 123 h 152"/>
                  <a:gd name="T6" fmla="*/ 238 w 245"/>
                  <a:gd name="T7" fmla="*/ 115 h 152"/>
                  <a:gd name="T8" fmla="*/ 244 w 245"/>
                  <a:gd name="T9" fmla="*/ 99 h 152"/>
                  <a:gd name="T10" fmla="*/ 224 w 245"/>
                  <a:gd name="T11" fmla="*/ 98 h 152"/>
                  <a:gd name="T12" fmla="*/ 212 w 245"/>
                  <a:gd name="T13" fmla="*/ 114 h 152"/>
                  <a:gd name="T14" fmla="*/ 200 w 245"/>
                  <a:gd name="T15" fmla="*/ 121 h 152"/>
                  <a:gd name="T16" fmla="*/ 172 w 245"/>
                  <a:gd name="T17" fmla="*/ 121 h 152"/>
                  <a:gd name="T18" fmla="*/ 159 w 245"/>
                  <a:gd name="T19" fmla="*/ 102 h 152"/>
                  <a:gd name="T20" fmla="*/ 159 w 245"/>
                  <a:gd name="T21" fmla="*/ 64 h 152"/>
                  <a:gd name="T22" fmla="*/ 156 w 245"/>
                  <a:gd name="T23" fmla="*/ 59 h 152"/>
                  <a:gd name="T24" fmla="*/ 143 w 245"/>
                  <a:gd name="T25" fmla="*/ 50 h 152"/>
                  <a:gd name="T26" fmla="*/ 133 w 245"/>
                  <a:gd name="T27" fmla="*/ 33 h 152"/>
                  <a:gd name="T28" fmla="*/ 112 w 245"/>
                  <a:gd name="T29" fmla="*/ 33 h 152"/>
                  <a:gd name="T30" fmla="*/ 100 w 245"/>
                  <a:gd name="T31" fmla="*/ 23 h 152"/>
                  <a:gd name="T32" fmla="*/ 86 w 245"/>
                  <a:gd name="T33" fmla="*/ 8 h 152"/>
                  <a:gd name="T34" fmla="*/ 71 w 245"/>
                  <a:gd name="T35" fmla="*/ 12 h 152"/>
                  <a:gd name="T36" fmla="*/ 27 w 245"/>
                  <a:gd name="T37" fmla="*/ 5 h 152"/>
                  <a:gd name="T38" fmla="*/ 0 w 245"/>
                  <a:gd name="T39" fmla="*/ 2 h 152"/>
                  <a:gd name="T40" fmla="*/ 11 w 245"/>
                  <a:gd name="T41" fmla="*/ 25 h 152"/>
                  <a:gd name="T42" fmla="*/ 25 w 245"/>
                  <a:gd name="T43" fmla="*/ 43 h 152"/>
                  <a:gd name="T44" fmla="*/ 28 w 245"/>
                  <a:gd name="T45" fmla="*/ 51 h 152"/>
                  <a:gd name="T46" fmla="*/ 39 w 245"/>
                  <a:gd name="T47" fmla="*/ 67 h 152"/>
                  <a:gd name="T48" fmla="*/ 57 w 245"/>
                  <a:gd name="T49" fmla="*/ 85 h 152"/>
                  <a:gd name="T50" fmla="*/ 59 w 245"/>
                  <a:gd name="T51" fmla="*/ 76 h 152"/>
                  <a:gd name="T52" fmla="*/ 50 w 245"/>
                  <a:gd name="T53" fmla="*/ 66 h 152"/>
                  <a:gd name="T54" fmla="*/ 36 w 245"/>
                  <a:gd name="T55" fmla="*/ 43 h 152"/>
                  <a:gd name="T56" fmla="*/ 31 w 245"/>
                  <a:gd name="T57" fmla="*/ 30 h 152"/>
                  <a:gd name="T58" fmla="*/ 20 w 245"/>
                  <a:gd name="T59" fmla="*/ 21 h 152"/>
                  <a:gd name="T60" fmla="*/ 20 w 245"/>
                  <a:gd name="T61" fmla="*/ 8 h 152"/>
                  <a:gd name="T62" fmla="*/ 27 w 245"/>
                  <a:gd name="T63" fmla="*/ 11 h 152"/>
                  <a:gd name="T64" fmla="*/ 34 w 245"/>
                  <a:gd name="T65" fmla="*/ 22 h 152"/>
                  <a:gd name="T66" fmla="*/ 39 w 245"/>
                  <a:gd name="T67" fmla="*/ 34 h 152"/>
                  <a:gd name="T68" fmla="*/ 52 w 245"/>
                  <a:gd name="T69" fmla="*/ 43 h 152"/>
                  <a:gd name="T70" fmla="*/ 61 w 245"/>
                  <a:gd name="T71" fmla="*/ 53 h 152"/>
                  <a:gd name="T72" fmla="*/ 68 w 245"/>
                  <a:gd name="T73" fmla="*/ 64 h 152"/>
                  <a:gd name="T74" fmla="*/ 91 w 245"/>
                  <a:gd name="T75" fmla="*/ 89 h 152"/>
                  <a:gd name="T76" fmla="*/ 95 w 245"/>
                  <a:gd name="T77" fmla="*/ 104 h 152"/>
                  <a:gd name="T78" fmla="*/ 99 w 245"/>
                  <a:gd name="T79" fmla="*/ 116 h 152"/>
                  <a:gd name="T80" fmla="*/ 123 w 245"/>
                  <a:gd name="T81" fmla="*/ 128 h 152"/>
                  <a:gd name="T82" fmla="*/ 157 w 245"/>
                  <a:gd name="T83" fmla="*/ 144 h 152"/>
                  <a:gd name="T84" fmla="*/ 188 w 245"/>
                  <a:gd name="T85" fmla="*/ 145 h 152"/>
                  <a:gd name="T86" fmla="*/ 204 w 245"/>
                  <a:gd name="T87" fmla="*/ 143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5" h="152">
                    <a:moveTo>
                      <a:pt x="204" y="143"/>
                    </a:moveTo>
                    <a:cubicBezTo>
                      <a:pt x="204" y="143"/>
                      <a:pt x="213" y="144"/>
                      <a:pt x="214" y="142"/>
                    </a:cubicBezTo>
                    <a:cubicBezTo>
                      <a:pt x="215" y="140"/>
                      <a:pt x="208" y="135"/>
                      <a:pt x="208" y="134"/>
                    </a:cubicBezTo>
                    <a:cubicBezTo>
                      <a:pt x="209" y="134"/>
                      <a:pt x="210" y="128"/>
                      <a:pt x="211" y="128"/>
                    </a:cubicBezTo>
                    <a:cubicBezTo>
                      <a:pt x="212" y="128"/>
                      <a:pt x="225" y="129"/>
                      <a:pt x="226" y="128"/>
                    </a:cubicBezTo>
                    <a:cubicBezTo>
                      <a:pt x="226" y="128"/>
                      <a:pt x="229" y="124"/>
                      <a:pt x="231" y="123"/>
                    </a:cubicBezTo>
                    <a:cubicBezTo>
                      <a:pt x="232" y="123"/>
                      <a:pt x="233" y="124"/>
                      <a:pt x="235" y="126"/>
                    </a:cubicBezTo>
                    <a:cubicBezTo>
                      <a:pt x="237" y="124"/>
                      <a:pt x="238" y="119"/>
                      <a:pt x="238" y="115"/>
                    </a:cubicBezTo>
                    <a:cubicBezTo>
                      <a:pt x="239" y="110"/>
                      <a:pt x="237" y="108"/>
                      <a:pt x="240" y="106"/>
                    </a:cubicBezTo>
                    <a:cubicBezTo>
                      <a:pt x="242" y="103"/>
                      <a:pt x="245" y="103"/>
                      <a:pt x="244" y="99"/>
                    </a:cubicBezTo>
                    <a:cubicBezTo>
                      <a:pt x="243" y="95"/>
                      <a:pt x="240" y="99"/>
                      <a:pt x="237" y="97"/>
                    </a:cubicBezTo>
                    <a:cubicBezTo>
                      <a:pt x="234" y="96"/>
                      <a:pt x="232" y="97"/>
                      <a:pt x="224" y="98"/>
                    </a:cubicBezTo>
                    <a:cubicBezTo>
                      <a:pt x="217" y="99"/>
                      <a:pt x="214" y="102"/>
                      <a:pt x="214" y="107"/>
                    </a:cubicBezTo>
                    <a:cubicBezTo>
                      <a:pt x="214" y="112"/>
                      <a:pt x="212" y="110"/>
                      <a:pt x="212" y="114"/>
                    </a:cubicBezTo>
                    <a:cubicBezTo>
                      <a:pt x="212" y="119"/>
                      <a:pt x="206" y="119"/>
                      <a:pt x="206" y="122"/>
                    </a:cubicBezTo>
                    <a:cubicBezTo>
                      <a:pt x="207" y="124"/>
                      <a:pt x="202" y="122"/>
                      <a:pt x="200" y="121"/>
                    </a:cubicBezTo>
                    <a:cubicBezTo>
                      <a:pt x="199" y="120"/>
                      <a:pt x="184" y="125"/>
                      <a:pt x="181" y="125"/>
                    </a:cubicBezTo>
                    <a:cubicBezTo>
                      <a:pt x="179" y="125"/>
                      <a:pt x="175" y="121"/>
                      <a:pt x="172" y="121"/>
                    </a:cubicBezTo>
                    <a:cubicBezTo>
                      <a:pt x="169" y="121"/>
                      <a:pt x="168" y="116"/>
                      <a:pt x="168" y="112"/>
                    </a:cubicBezTo>
                    <a:cubicBezTo>
                      <a:pt x="167" y="109"/>
                      <a:pt x="162" y="105"/>
                      <a:pt x="159" y="102"/>
                    </a:cubicBezTo>
                    <a:cubicBezTo>
                      <a:pt x="157" y="99"/>
                      <a:pt x="156" y="91"/>
                      <a:pt x="156" y="86"/>
                    </a:cubicBezTo>
                    <a:cubicBezTo>
                      <a:pt x="156" y="81"/>
                      <a:pt x="155" y="73"/>
                      <a:pt x="159" y="64"/>
                    </a:cubicBezTo>
                    <a:cubicBezTo>
                      <a:pt x="159" y="63"/>
                      <a:pt x="159" y="61"/>
                      <a:pt x="159" y="60"/>
                    </a:cubicBezTo>
                    <a:cubicBezTo>
                      <a:pt x="158" y="60"/>
                      <a:pt x="157" y="59"/>
                      <a:pt x="156" y="59"/>
                    </a:cubicBezTo>
                    <a:cubicBezTo>
                      <a:pt x="153" y="59"/>
                      <a:pt x="146" y="55"/>
                      <a:pt x="145" y="55"/>
                    </a:cubicBezTo>
                    <a:cubicBezTo>
                      <a:pt x="144" y="55"/>
                      <a:pt x="144" y="52"/>
                      <a:pt x="143" y="50"/>
                    </a:cubicBezTo>
                    <a:cubicBezTo>
                      <a:pt x="141" y="49"/>
                      <a:pt x="142" y="45"/>
                      <a:pt x="141" y="44"/>
                    </a:cubicBezTo>
                    <a:cubicBezTo>
                      <a:pt x="139" y="43"/>
                      <a:pt x="135" y="39"/>
                      <a:pt x="133" y="33"/>
                    </a:cubicBezTo>
                    <a:cubicBezTo>
                      <a:pt x="132" y="28"/>
                      <a:pt x="122" y="25"/>
                      <a:pt x="119" y="25"/>
                    </a:cubicBezTo>
                    <a:cubicBezTo>
                      <a:pt x="115" y="25"/>
                      <a:pt x="113" y="32"/>
                      <a:pt x="112" y="33"/>
                    </a:cubicBezTo>
                    <a:cubicBezTo>
                      <a:pt x="112" y="33"/>
                      <a:pt x="105" y="29"/>
                      <a:pt x="103" y="28"/>
                    </a:cubicBezTo>
                    <a:cubicBezTo>
                      <a:pt x="101" y="27"/>
                      <a:pt x="100" y="25"/>
                      <a:pt x="100" y="23"/>
                    </a:cubicBezTo>
                    <a:cubicBezTo>
                      <a:pt x="100" y="20"/>
                      <a:pt x="96" y="17"/>
                      <a:pt x="95" y="16"/>
                    </a:cubicBezTo>
                    <a:cubicBezTo>
                      <a:pt x="94" y="16"/>
                      <a:pt x="86" y="8"/>
                      <a:pt x="86" y="8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12"/>
                      <a:pt x="30" y="5"/>
                      <a:pt x="27" y="5"/>
                    </a:cubicBezTo>
                    <a:cubicBezTo>
                      <a:pt x="24" y="4"/>
                      <a:pt x="18" y="0"/>
                      <a:pt x="18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2" y="6"/>
                      <a:pt x="4" y="9"/>
                    </a:cubicBezTo>
                    <a:cubicBezTo>
                      <a:pt x="8" y="14"/>
                      <a:pt x="10" y="22"/>
                      <a:pt x="11" y="25"/>
                    </a:cubicBezTo>
                    <a:cubicBezTo>
                      <a:pt x="11" y="27"/>
                      <a:pt x="16" y="30"/>
                      <a:pt x="21" y="33"/>
                    </a:cubicBezTo>
                    <a:cubicBezTo>
                      <a:pt x="25" y="35"/>
                      <a:pt x="25" y="42"/>
                      <a:pt x="25" y="43"/>
                    </a:cubicBezTo>
                    <a:cubicBezTo>
                      <a:pt x="24" y="45"/>
                      <a:pt x="19" y="42"/>
                      <a:pt x="18" y="44"/>
                    </a:cubicBezTo>
                    <a:cubicBezTo>
                      <a:pt x="18" y="45"/>
                      <a:pt x="25" y="52"/>
                      <a:pt x="28" y="51"/>
                    </a:cubicBezTo>
                    <a:cubicBezTo>
                      <a:pt x="31" y="51"/>
                      <a:pt x="32" y="53"/>
                      <a:pt x="37" y="57"/>
                    </a:cubicBezTo>
                    <a:cubicBezTo>
                      <a:pt x="41" y="61"/>
                      <a:pt x="41" y="65"/>
                      <a:pt x="39" y="67"/>
                    </a:cubicBezTo>
                    <a:cubicBezTo>
                      <a:pt x="37" y="68"/>
                      <a:pt x="43" y="71"/>
                      <a:pt x="49" y="75"/>
                    </a:cubicBezTo>
                    <a:cubicBezTo>
                      <a:pt x="54" y="79"/>
                      <a:pt x="57" y="83"/>
                      <a:pt x="57" y="85"/>
                    </a:cubicBezTo>
                    <a:cubicBezTo>
                      <a:pt x="58" y="87"/>
                      <a:pt x="60" y="85"/>
                      <a:pt x="61" y="83"/>
                    </a:cubicBezTo>
                    <a:cubicBezTo>
                      <a:pt x="62" y="80"/>
                      <a:pt x="59" y="79"/>
                      <a:pt x="59" y="76"/>
                    </a:cubicBezTo>
                    <a:cubicBezTo>
                      <a:pt x="59" y="73"/>
                      <a:pt x="55" y="74"/>
                      <a:pt x="52" y="73"/>
                    </a:cubicBezTo>
                    <a:cubicBezTo>
                      <a:pt x="50" y="73"/>
                      <a:pt x="53" y="68"/>
                      <a:pt x="50" y="66"/>
                    </a:cubicBezTo>
                    <a:cubicBezTo>
                      <a:pt x="48" y="64"/>
                      <a:pt x="46" y="59"/>
                      <a:pt x="45" y="55"/>
                    </a:cubicBezTo>
                    <a:cubicBezTo>
                      <a:pt x="44" y="51"/>
                      <a:pt x="39" y="47"/>
                      <a:pt x="36" y="43"/>
                    </a:cubicBezTo>
                    <a:cubicBezTo>
                      <a:pt x="34" y="38"/>
                      <a:pt x="32" y="35"/>
                      <a:pt x="30" y="34"/>
                    </a:cubicBezTo>
                    <a:cubicBezTo>
                      <a:pt x="28" y="33"/>
                      <a:pt x="32" y="31"/>
                      <a:pt x="31" y="30"/>
                    </a:cubicBezTo>
                    <a:cubicBezTo>
                      <a:pt x="29" y="28"/>
                      <a:pt x="27" y="28"/>
                      <a:pt x="25" y="27"/>
                    </a:cubicBezTo>
                    <a:cubicBezTo>
                      <a:pt x="22" y="26"/>
                      <a:pt x="20" y="24"/>
                      <a:pt x="20" y="21"/>
                    </a:cubicBezTo>
                    <a:cubicBezTo>
                      <a:pt x="20" y="18"/>
                      <a:pt x="18" y="11"/>
                      <a:pt x="17" y="9"/>
                    </a:cubicBezTo>
                    <a:cubicBezTo>
                      <a:pt x="17" y="7"/>
                      <a:pt x="19" y="7"/>
                      <a:pt x="20" y="8"/>
                    </a:cubicBezTo>
                    <a:cubicBezTo>
                      <a:pt x="21" y="9"/>
                      <a:pt x="22" y="10"/>
                      <a:pt x="23" y="9"/>
                    </a:cubicBezTo>
                    <a:cubicBezTo>
                      <a:pt x="24" y="9"/>
                      <a:pt x="27" y="9"/>
                      <a:pt x="27" y="11"/>
                    </a:cubicBezTo>
                    <a:cubicBezTo>
                      <a:pt x="28" y="13"/>
                      <a:pt x="31" y="11"/>
                      <a:pt x="33" y="12"/>
                    </a:cubicBezTo>
                    <a:cubicBezTo>
                      <a:pt x="34" y="13"/>
                      <a:pt x="30" y="14"/>
                      <a:pt x="34" y="22"/>
                    </a:cubicBezTo>
                    <a:cubicBezTo>
                      <a:pt x="39" y="31"/>
                      <a:pt x="36" y="26"/>
                      <a:pt x="36" y="32"/>
                    </a:cubicBezTo>
                    <a:cubicBezTo>
                      <a:pt x="36" y="37"/>
                      <a:pt x="39" y="35"/>
                      <a:pt x="39" y="34"/>
                    </a:cubicBezTo>
                    <a:cubicBezTo>
                      <a:pt x="40" y="33"/>
                      <a:pt x="43" y="35"/>
                      <a:pt x="45" y="38"/>
                    </a:cubicBezTo>
                    <a:cubicBezTo>
                      <a:pt x="47" y="41"/>
                      <a:pt x="52" y="41"/>
                      <a:pt x="52" y="43"/>
                    </a:cubicBezTo>
                    <a:cubicBezTo>
                      <a:pt x="52" y="45"/>
                      <a:pt x="53" y="48"/>
                      <a:pt x="56" y="48"/>
                    </a:cubicBezTo>
                    <a:cubicBezTo>
                      <a:pt x="59" y="49"/>
                      <a:pt x="59" y="52"/>
                      <a:pt x="61" y="53"/>
                    </a:cubicBezTo>
                    <a:cubicBezTo>
                      <a:pt x="63" y="53"/>
                      <a:pt x="64" y="55"/>
                      <a:pt x="63" y="57"/>
                    </a:cubicBezTo>
                    <a:cubicBezTo>
                      <a:pt x="62" y="60"/>
                      <a:pt x="63" y="62"/>
                      <a:pt x="68" y="64"/>
                    </a:cubicBezTo>
                    <a:cubicBezTo>
                      <a:pt x="73" y="66"/>
                      <a:pt x="70" y="66"/>
                      <a:pt x="74" y="70"/>
                    </a:cubicBezTo>
                    <a:cubicBezTo>
                      <a:pt x="78" y="73"/>
                      <a:pt x="89" y="86"/>
                      <a:pt x="91" y="89"/>
                    </a:cubicBezTo>
                    <a:cubicBezTo>
                      <a:pt x="94" y="92"/>
                      <a:pt x="95" y="95"/>
                      <a:pt x="95" y="98"/>
                    </a:cubicBezTo>
                    <a:cubicBezTo>
                      <a:pt x="96" y="100"/>
                      <a:pt x="94" y="101"/>
                      <a:pt x="95" y="104"/>
                    </a:cubicBezTo>
                    <a:cubicBezTo>
                      <a:pt x="96" y="106"/>
                      <a:pt x="92" y="105"/>
                      <a:pt x="93" y="106"/>
                    </a:cubicBezTo>
                    <a:cubicBezTo>
                      <a:pt x="93" y="108"/>
                      <a:pt x="95" y="116"/>
                      <a:pt x="99" y="116"/>
                    </a:cubicBezTo>
                    <a:cubicBezTo>
                      <a:pt x="103" y="117"/>
                      <a:pt x="107" y="122"/>
                      <a:pt x="111" y="124"/>
                    </a:cubicBezTo>
                    <a:cubicBezTo>
                      <a:pt x="114" y="127"/>
                      <a:pt x="119" y="126"/>
                      <a:pt x="123" y="128"/>
                    </a:cubicBezTo>
                    <a:cubicBezTo>
                      <a:pt x="128" y="130"/>
                      <a:pt x="132" y="134"/>
                      <a:pt x="139" y="136"/>
                    </a:cubicBezTo>
                    <a:cubicBezTo>
                      <a:pt x="146" y="138"/>
                      <a:pt x="153" y="141"/>
                      <a:pt x="157" y="144"/>
                    </a:cubicBezTo>
                    <a:cubicBezTo>
                      <a:pt x="162" y="147"/>
                      <a:pt x="167" y="146"/>
                      <a:pt x="174" y="143"/>
                    </a:cubicBezTo>
                    <a:cubicBezTo>
                      <a:pt x="180" y="141"/>
                      <a:pt x="185" y="144"/>
                      <a:pt x="188" y="145"/>
                    </a:cubicBezTo>
                    <a:cubicBezTo>
                      <a:pt x="190" y="146"/>
                      <a:pt x="194" y="149"/>
                      <a:pt x="197" y="152"/>
                    </a:cubicBezTo>
                    <a:cubicBezTo>
                      <a:pt x="200" y="148"/>
                      <a:pt x="203" y="143"/>
                      <a:pt x="204" y="14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1" name="Freeform 182">
                <a:extLst>
                  <a:ext uri="{FF2B5EF4-FFF2-40B4-BE49-F238E27FC236}">
                    <a16:creationId xmlns:a16="http://schemas.microsoft.com/office/drawing/2014/main" id="{FAD95D07-C5C6-48C5-860D-4BE9EE69F9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944979" y="3310003"/>
                <a:ext cx="340160" cy="366915"/>
              </a:xfrm>
              <a:custGeom>
                <a:avLst/>
                <a:gdLst>
                  <a:gd name="T0" fmla="*/ 65 w 93"/>
                  <a:gd name="T1" fmla="*/ 88 h 101"/>
                  <a:gd name="T2" fmla="*/ 55 w 93"/>
                  <a:gd name="T3" fmla="*/ 88 h 101"/>
                  <a:gd name="T4" fmla="*/ 48 w 93"/>
                  <a:gd name="T5" fmla="*/ 91 h 101"/>
                  <a:gd name="T6" fmla="*/ 56 w 93"/>
                  <a:gd name="T7" fmla="*/ 96 h 101"/>
                  <a:gd name="T8" fmla="*/ 66 w 93"/>
                  <a:gd name="T9" fmla="*/ 101 h 101"/>
                  <a:gd name="T10" fmla="*/ 68 w 93"/>
                  <a:gd name="T11" fmla="*/ 96 h 101"/>
                  <a:gd name="T12" fmla="*/ 71 w 93"/>
                  <a:gd name="T13" fmla="*/ 88 h 101"/>
                  <a:gd name="T14" fmla="*/ 65 w 93"/>
                  <a:gd name="T15" fmla="*/ 88 h 101"/>
                  <a:gd name="T16" fmla="*/ 19 w 93"/>
                  <a:gd name="T17" fmla="*/ 61 h 101"/>
                  <a:gd name="T18" fmla="*/ 13 w 93"/>
                  <a:gd name="T19" fmla="*/ 62 h 101"/>
                  <a:gd name="T20" fmla="*/ 16 w 93"/>
                  <a:gd name="T21" fmla="*/ 73 h 101"/>
                  <a:gd name="T22" fmla="*/ 19 w 93"/>
                  <a:gd name="T23" fmla="*/ 80 h 101"/>
                  <a:gd name="T24" fmla="*/ 25 w 93"/>
                  <a:gd name="T25" fmla="*/ 77 h 101"/>
                  <a:gd name="T26" fmla="*/ 26 w 93"/>
                  <a:gd name="T27" fmla="*/ 64 h 101"/>
                  <a:gd name="T28" fmla="*/ 19 w 93"/>
                  <a:gd name="T29" fmla="*/ 61 h 101"/>
                  <a:gd name="T30" fmla="*/ 77 w 93"/>
                  <a:gd name="T31" fmla="*/ 57 h 101"/>
                  <a:gd name="T32" fmla="*/ 71 w 93"/>
                  <a:gd name="T33" fmla="*/ 52 h 101"/>
                  <a:gd name="T34" fmla="*/ 58 w 93"/>
                  <a:gd name="T35" fmla="*/ 39 h 101"/>
                  <a:gd name="T36" fmla="*/ 47 w 93"/>
                  <a:gd name="T37" fmla="*/ 28 h 101"/>
                  <a:gd name="T38" fmla="*/ 47 w 93"/>
                  <a:gd name="T39" fmla="*/ 20 h 101"/>
                  <a:gd name="T40" fmla="*/ 51 w 93"/>
                  <a:gd name="T41" fmla="*/ 15 h 101"/>
                  <a:gd name="T42" fmla="*/ 51 w 93"/>
                  <a:gd name="T43" fmla="*/ 5 h 101"/>
                  <a:gd name="T44" fmla="*/ 47 w 93"/>
                  <a:gd name="T45" fmla="*/ 4 h 101"/>
                  <a:gd name="T46" fmla="*/ 46 w 93"/>
                  <a:gd name="T47" fmla="*/ 0 h 101"/>
                  <a:gd name="T48" fmla="*/ 39 w 93"/>
                  <a:gd name="T49" fmla="*/ 1 h 101"/>
                  <a:gd name="T50" fmla="*/ 34 w 93"/>
                  <a:gd name="T51" fmla="*/ 3 h 101"/>
                  <a:gd name="T52" fmla="*/ 33 w 93"/>
                  <a:gd name="T53" fmla="*/ 2 h 101"/>
                  <a:gd name="T54" fmla="*/ 32 w 93"/>
                  <a:gd name="T55" fmla="*/ 4 h 101"/>
                  <a:gd name="T56" fmla="*/ 30 w 93"/>
                  <a:gd name="T57" fmla="*/ 6 h 101"/>
                  <a:gd name="T58" fmla="*/ 28 w 93"/>
                  <a:gd name="T59" fmla="*/ 7 h 101"/>
                  <a:gd name="T60" fmla="*/ 24 w 93"/>
                  <a:gd name="T61" fmla="*/ 8 h 101"/>
                  <a:gd name="T62" fmla="*/ 21 w 93"/>
                  <a:gd name="T63" fmla="*/ 9 h 101"/>
                  <a:gd name="T64" fmla="*/ 19 w 93"/>
                  <a:gd name="T65" fmla="*/ 12 h 101"/>
                  <a:gd name="T66" fmla="*/ 15 w 93"/>
                  <a:gd name="T67" fmla="*/ 7 h 101"/>
                  <a:gd name="T68" fmla="*/ 11 w 93"/>
                  <a:gd name="T69" fmla="*/ 12 h 101"/>
                  <a:gd name="T70" fmla="*/ 4 w 93"/>
                  <a:gd name="T71" fmla="*/ 13 h 101"/>
                  <a:gd name="T72" fmla="*/ 5 w 93"/>
                  <a:gd name="T73" fmla="*/ 17 h 101"/>
                  <a:gd name="T74" fmla="*/ 3 w 93"/>
                  <a:gd name="T75" fmla="*/ 20 h 101"/>
                  <a:gd name="T76" fmla="*/ 1 w 93"/>
                  <a:gd name="T77" fmla="*/ 22 h 101"/>
                  <a:gd name="T78" fmla="*/ 4 w 93"/>
                  <a:gd name="T79" fmla="*/ 26 h 101"/>
                  <a:gd name="T80" fmla="*/ 6 w 93"/>
                  <a:gd name="T81" fmla="*/ 30 h 101"/>
                  <a:gd name="T82" fmla="*/ 9 w 93"/>
                  <a:gd name="T83" fmla="*/ 31 h 101"/>
                  <a:gd name="T84" fmla="*/ 8 w 93"/>
                  <a:gd name="T85" fmla="*/ 34 h 101"/>
                  <a:gd name="T86" fmla="*/ 12 w 93"/>
                  <a:gd name="T87" fmla="*/ 33 h 101"/>
                  <a:gd name="T88" fmla="*/ 18 w 93"/>
                  <a:gd name="T89" fmla="*/ 28 h 101"/>
                  <a:gd name="T90" fmla="*/ 29 w 93"/>
                  <a:gd name="T91" fmla="*/ 33 h 101"/>
                  <a:gd name="T92" fmla="*/ 32 w 93"/>
                  <a:gd name="T93" fmla="*/ 37 h 101"/>
                  <a:gd name="T94" fmla="*/ 39 w 93"/>
                  <a:gd name="T95" fmla="*/ 47 h 101"/>
                  <a:gd name="T96" fmla="*/ 50 w 93"/>
                  <a:gd name="T97" fmla="*/ 57 h 101"/>
                  <a:gd name="T98" fmla="*/ 58 w 93"/>
                  <a:gd name="T99" fmla="*/ 60 h 101"/>
                  <a:gd name="T100" fmla="*/ 65 w 93"/>
                  <a:gd name="T101" fmla="*/ 65 h 101"/>
                  <a:gd name="T102" fmla="*/ 71 w 93"/>
                  <a:gd name="T103" fmla="*/ 69 h 101"/>
                  <a:gd name="T104" fmla="*/ 73 w 93"/>
                  <a:gd name="T105" fmla="*/ 74 h 101"/>
                  <a:gd name="T106" fmla="*/ 74 w 93"/>
                  <a:gd name="T107" fmla="*/ 83 h 101"/>
                  <a:gd name="T108" fmla="*/ 74 w 93"/>
                  <a:gd name="T109" fmla="*/ 89 h 101"/>
                  <a:gd name="T110" fmla="*/ 78 w 93"/>
                  <a:gd name="T111" fmla="*/ 82 h 101"/>
                  <a:gd name="T112" fmla="*/ 83 w 93"/>
                  <a:gd name="T113" fmla="*/ 78 h 101"/>
                  <a:gd name="T114" fmla="*/ 79 w 93"/>
                  <a:gd name="T115" fmla="*/ 71 h 101"/>
                  <a:gd name="T116" fmla="*/ 87 w 93"/>
                  <a:gd name="T117" fmla="*/ 68 h 101"/>
                  <a:gd name="T118" fmla="*/ 93 w 93"/>
                  <a:gd name="T119" fmla="*/ 68 h 101"/>
                  <a:gd name="T120" fmla="*/ 77 w 93"/>
                  <a:gd name="T121" fmla="*/ 5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101">
                    <a:moveTo>
                      <a:pt x="65" y="88"/>
                    </a:moveTo>
                    <a:cubicBezTo>
                      <a:pt x="60" y="89"/>
                      <a:pt x="58" y="89"/>
                      <a:pt x="55" y="88"/>
                    </a:cubicBezTo>
                    <a:cubicBezTo>
                      <a:pt x="52" y="86"/>
                      <a:pt x="47" y="89"/>
                      <a:pt x="48" y="91"/>
                    </a:cubicBezTo>
                    <a:cubicBezTo>
                      <a:pt x="49" y="92"/>
                      <a:pt x="50" y="94"/>
                      <a:pt x="56" y="96"/>
                    </a:cubicBezTo>
                    <a:cubicBezTo>
                      <a:pt x="62" y="97"/>
                      <a:pt x="63" y="101"/>
                      <a:pt x="66" y="101"/>
                    </a:cubicBezTo>
                    <a:cubicBezTo>
                      <a:pt x="68" y="101"/>
                      <a:pt x="68" y="99"/>
                      <a:pt x="68" y="96"/>
                    </a:cubicBezTo>
                    <a:cubicBezTo>
                      <a:pt x="67" y="93"/>
                      <a:pt x="71" y="89"/>
                      <a:pt x="71" y="88"/>
                    </a:cubicBezTo>
                    <a:cubicBezTo>
                      <a:pt x="71" y="88"/>
                      <a:pt x="69" y="87"/>
                      <a:pt x="65" y="88"/>
                    </a:cubicBezTo>
                    <a:close/>
                    <a:moveTo>
                      <a:pt x="19" y="61"/>
                    </a:moveTo>
                    <a:cubicBezTo>
                      <a:pt x="16" y="63"/>
                      <a:pt x="14" y="60"/>
                      <a:pt x="13" y="62"/>
                    </a:cubicBezTo>
                    <a:cubicBezTo>
                      <a:pt x="11" y="65"/>
                      <a:pt x="17" y="68"/>
                      <a:pt x="16" y="73"/>
                    </a:cubicBezTo>
                    <a:cubicBezTo>
                      <a:pt x="15" y="77"/>
                      <a:pt x="16" y="83"/>
                      <a:pt x="19" y="80"/>
                    </a:cubicBezTo>
                    <a:cubicBezTo>
                      <a:pt x="22" y="78"/>
                      <a:pt x="23" y="79"/>
                      <a:pt x="25" y="77"/>
                    </a:cubicBezTo>
                    <a:cubicBezTo>
                      <a:pt x="26" y="75"/>
                      <a:pt x="25" y="67"/>
                      <a:pt x="26" y="64"/>
                    </a:cubicBezTo>
                    <a:cubicBezTo>
                      <a:pt x="27" y="60"/>
                      <a:pt x="21" y="59"/>
                      <a:pt x="19" y="61"/>
                    </a:cubicBezTo>
                    <a:close/>
                    <a:moveTo>
                      <a:pt x="77" y="57"/>
                    </a:moveTo>
                    <a:cubicBezTo>
                      <a:pt x="74" y="55"/>
                      <a:pt x="76" y="52"/>
                      <a:pt x="71" y="52"/>
                    </a:cubicBezTo>
                    <a:cubicBezTo>
                      <a:pt x="66" y="53"/>
                      <a:pt x="60" y="46"/>
                      <a:pt x="58" y="39"/>
                    </a:cubicBezTo>
                    <a:cubicBezTo>
                      <a:pt x="57" y="32"/>
                      <a:pt x="49" y="32"/>
                      <a:pt x="47" y="28"/>
                    </a:cubicBezTo>
                    <a:cubicBezTo>
                      <a:pt x="45" y="24"/>
                      <a:pt x="49" y="23"/>
                      <a:pt x="47" y="20"/>
                    </a:cubicBezTo>
                    <a:cubicBezTo>
                      <a:pt x="46" y="18"/>
                      <a:pt x="48" y="16"/>
                      <a:pt x="51" y="15"/>
                    </a:cubicBezTo>
                    <a:cubicBezTo>
                      <a:pt x="51" y="11"/>
                      <a:pt x="51" y="7"/>
                      <a:pt x="51" y="5"/>
                    </a:cubicBezTo>
                    <a:cubicBezTo>
                      <a:pt x="49" y="4"/>
                      <a:pt x="48" y="4"/>
                      <a:pt x="47" y="4"/>
                    </a:cubicBezTo>
                    <a:cubicBezTo>
                      <a:pt x="46" y="3"/>
                      <a:pt x="46" y="0"/>
                      <a:pt x="46" y="0"/>
                    </a:cubicBezTo>
                    <a:cubicBezTo>
                      <a:pt x="45" y="0"/>
                      <a:pt x="40" y="0"/>
                      <a:pt x="39" y="1"/>
                    </a:cubicBezTo>
                    <a:cubicBezTo>
                      <a:pt x="38" y="2"/>
                      <a:pt x="36" y="4"/>
                      <a:pt x="34" y="3"/>
                    </a:cubicBezTo>
                    <a:cubicBezTo>
                      <a:pt x="34" y="3"/>
                      <a:pt x="33" y="2"/>
                      <a:pt x="33" y="2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32" y="4"/>
                      <a:pt x="31" y="6"/>
                      <a:pt x="30" y="6"/>
                    </a:cubicBezTo>
                    <a:cubicBezTo>
                      <a:pt x="29" y="6"/>
                      <a:pt x="28" y="5"/>
                      <a:pt x="28" y="7"/>
                    </a:cubicBezTo>
                    <a:cubicBezTo>
                      <a:pt x="28" y="8"/>
                      <a:pt x="25" y="8"/>
                      <a:pt x="24" y="8"/>
                    </a:cubicBezTo>
                    <a:cubicBezTo>
                      <a:pt x="23" y="7"/>
                      <a:pt x="21" y="8"/>
                      <a:pt x="21" y="9"/>
                    </a:cubicBezTo>
                    <a:cubicBezTo>
                      <a:pt x="21" y="11"/>
                      <a:pt x="21" y="14"/>
                      <a:pt x="19" y="12"/>
                    </a:cubicBezTo>
                    <a:cubicBezTo>
                      <a:pt x="17" y="10"/>
                      <a:pt x="15" y="6"/>
                      <a:pt x="15" y="7"/>
                    </a:cubicBezTo>
                    <a:cubicBezTo>
                      <a:pt x="14" y="7"/>
                      <a:pt x="12" y="12"/>
                      <a:pt x="11" y="12"/>
                    </a:cubicBezTo>
                    <a:cubicBezTo>
                      <a:pt x="10" y="12"/>
                      <a:pt x="6" y="13"/>
                      <a:pt x="4" y="13"/>
                    </a:cubicBezTo>
                    <a:cubicBezTo>
                      <a:pt x="3" y="15"/>
                      <a:pt x="4" y="16"/>
                      <a:pt x="5" y="17"/>
                    </a:cubicBezTo>
                    <a:cubicBezTo>
                      <a:pt x="6" y="17"/>
                      <a:pt x="4" y="19"/>
                      <a:pt x="3" y="20"/>
                    </a:cubicBezTo>
                    <a:cubicBezTo>
                      <a:pt x="2" y="20"/>
                      <a:pt x="0" y="20"/>
                      <a:pt x="1" y="22"/>
                    </a:cubicBezTo>
                    <a:cubicBezTo>
                      <a:pt x="3" y="24"/>
                      <a:pt x="5" y="24"/>
                      <a:pt x="4" y="26"/>
                    </a:cubicBezTo>
                    <a:cubicBezTo>
                      <a:pt x="3" y="28"/>
                      <a:pt x="4" y="30"/>
                      <a:pt x="6" y="30"/>
                    </a:cubicBezTo>
                    <a:cubicBezTo>
                      <a:pt x="7" y="30"/>
                      <a:pt x="10" y="30"/>
                      <a:pt x="9" y="31"/>
                    </a:cubicBezTo>
                    <a:cubicBezTo>
                      <a:pt x="9" y="32"/>
                      <a:pt x="9" y="33"/>
                      <a:pt x="8" y="34"/>
                    </a:cubicBezTo>
                    <a:cubicBezTo>
                      <a:pt x="10" y="33"/>
                      <a:pt x="11" y="33"/>
                      <a:pt x="12" y="33"/>
                    </a:cubicBezTo>
                    <a:cubicBezTo>
                      <a:pt x="15" y="31"/>
                      <a:pt x="14" y="29"/>
                      <a:pt x="18" y="28"/>
                    </a:cubicBezTo>
                    <a:cubicBezTo>
                      <a:pt x="22" y="27"/>
                      <a:pt x="28" y="30"/>
                      <a:pt x="29" y="33"/>
                    </a:cubicBezTo>
                    <a:cubicBezTo>
                      <a:pt x="31" y="35"/>
                      <a:pt x="31" y="35"/>
                      <a:pt x="32" y="37"/>
                    </a:cubicBezTo>
                    <a:cubicBezTo>
                      <a:pt x="32" y="39"/>
                      <a:pt x="34" y="43"/>
                      <a:pt x="39" y="47"/>
                    </a:cubicBezTo>
                    <a:cubicBezTo>
                      <a:pt x="45" y="51"/>
                      <a:pt x="47" y="55"/>
                      <a:pt x="50" y="57"/>
                    </a:cubicBezTo>
                    <a:cubicBezTo>
                      <a:pt x="53" y="58"/>
                      <a:pt x="56" y="58"/>
                      <a:pt x="58" y="60"/>
                    </a:cubicBezTo>
                    <a:cubicBezTo>
                      <a:pt x="60" y="62"/>
                      <a:pt x="62" y="63"/>
                      <a:pt x="65" y="65"/>
                    </a:cubicBezTo>
                    <a:cubicBezTo>
                      <a:pt x="68" y="66"/>
                      <a:pt x="68" y="69"/>
                      <a:pt x="71" y="69"/>
                    </a:cubicBezTo>
                    <a:cubicBezTo>
                      <a:pt x="73" y="70"/>
                      <a:pt x="72" y="72"/>
                      <a:pt x="73" y="74"/>
                    </a:cubicBezTo>
                    <a:cubicBezTo>
                      <a:pt x="75" y="76"/>
                      <a:pt x="75" y="80"/>
                      <a:pt x="74" y="83"/>
                    </a:cubicBezTo>
                    <a:cubicBezTo>
                      <a:pt x="72" y="85"/>
                      <a:pt x="73" y="89"/>
                      <a:pt x="74" y="89"/>
                    </a:cubicBezTo>
                    <a:cubicBezTo>
                      <a:pt x="75" y="89"/>
                      <a:pt x="78" y="85"/>
                      <a:pt x="78" y="82"/>
                    </a:cubicBezTo>
                    <a:cubicBezTo>
                      <a:pt x="78" y="80"/>
                      <a:pt x="81" y="80"/>
                      <a:pt x="83" y="78"/>
                    </a:cubicBezTo>
                    <a:cubicBezTo>
                      <a:pt x="85" y="75"/>
                      <a:pt x="80" y="75"/>
                      <a:pt x="79" y="71"/>
                    </a:cubicBezTo>
                    <a:cubicBezTo>
                      <a:pt x="78" y="68"/>
                      <a:pt x="83" y="65"/>
                      <a:pt x="87" y="68"/>
                    </a:cubicBezTo>
                    <a:cubicBezTo>
                      <a:pt x="91" y="71"/>
                      <a:pt x="93" y="72"/>
                      <a:pt x="93" y="68"/>
                    </a:cubicBezTo>
                    <a:cubicBezTo>
                      <a:pt x="93" y="64"/>
                      <a:pt x="80" y="59"/>
                      <a:pt x="77" y="57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2" name="Freeform 72">
                <a:extLst>
                  <a:ext uri="{FF2B5EF4-FFF2-40B4-BE49-F238E27FC236}">
                    <a16:creationId xmlns:a16="http://schemas.microsoft.com/office/drawing/2014/main" id="{25721E4C-9B54-4048-95D3-ECE730281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67332" y="2991273"/>
                <a:ext cx="282829" cy="233145"/>
              </a:xfrm>
              <a:custGeom>
                <a:avLst/>
                <a:gdLst>
                  <a:gd name="T0" fmla="*/ 2 w 78"/>
                  <a:gd name="T1" fmla="*/ 14 h 64"/>
                  <a:gd name="T2" fmla="*/ 2 w 78"/>
                  <a:gd name="T3" fmla="*/ 22 h 64"/>
                  <a:gd name="T4" fmla="*/ 2 w 78"/>
                  <a:gd name="T5" fmla="*/ 25 h 64"/>
                  <a:gd name="T6" fmla="*/ 4 w 78"/>
                  <a:gd name="T7" fmla="*/ 29 h 64"/>
                  <a:gd name="T8" fmla="*/ 5 w 78"/>
                  <a:gd name="T9" fmla="*/ 33 h 64"/>
                  <a:gd name="T10" fmla="*/ 7 w 78"/>
                  <a:gd name="T11" fmla="*/ 40 h 64"/>
                  <a:gd name="T12" fmla="*/ 7 w 78"/>
                  <a:gd name="T13" fmla="*/ 44 h 64"/>
                  <a:gd name="T14" fmla="*/ 12 w 78"/>
                  <a:gd name="T15" fmla="*/ 46 h 64"/>
                  <a:gd name="T16" fmla="*/ 17 w 78"/>
                  <a:gd name="T17" fmla="*/ 50 h 64"/>
                  <a:gd name="T18" fmla="*/ 21 w 78"/>
                  <a:gd name="T19" fmla="*/ 52 h 64"/>
                  <a:gd name="T20" fmla="*/ 26 w 78"/>
                  <a:gd name="T21" fmla="*/ 51 h 64"/>
                  <a:gd name="T22" fmla="*/ 28 w 78"/>
                  <a:gd name="T23" fmla="*/ 54 h 64"/>
                  <a:gd name="T24" fmla="*/ 33 w 78"/>
                  <a:gd name="T25" fmla="*/ 55 h 64"/>
                  <a:gd name="T26" fmla="*/ 37 w 78"/>
                  <a:gd name="T27" fmla="*/ 60 h 64"/>
                  <a:gd name="T28" fmla="*/ 42 w 78"/>
                  <a:gd name="T29" fmla="*/ 59 h 64"/>
                  <a:gd name="T30" fmla="*/ 49 w 78"/>
                  <a:gd name="T31" fmla="*/ 60 h 64"/>
                  <a:gd name="T32" fmla="*/ 55 w 78"/>
                  <a:gd name="T33" fmla="*/ 61 h 64"/>
                  <a:gd name="T34" fmla="*/ 62 w 78"/>
                  <a:gd name="T35" fmla="*/ 62 h 64"/>
                  <a:gd name="T36" fmla="*/ 66 w 78"/>
                  <a:gd name="T37" fmla="*/ 64 h 64"/>
                  <a:gd name="T38" fmla="*/ 66 w 78"/>
                  <a:gd name="T39" fmla="*/ 58 h 64"/>
                  <a:gd name="T40" fmla="*/ 74 w 78"/>
                  <a:gd name="T41" fmla="*/ 51 h 64"/>
                  <a:gd name="T42" fmla="*/ 77 w 78"/>
                  <a:gd name="T43" fmla="*/ 48 h 64"/>
                  <a:gd name="T44" fmla="*/ 74 w 78"/>
                  <a:gd name="T45" fmla="*/ 40 h 64"/>
                  <a:gd name="T46" fmla="*/ 73 w 78"/>
                  <a:gd name="T47" fmla="*/ 33 h 64"/>
                  <a:gd name="T48" fmla="*/ 71 w 78"/>
                  <a:gd name="T49" fmla="*/ 29 h 64"/>
                  <a:gd name="T50" fmla="*/ 75 w 78"/>
                  <a:gd name="T51" fmla="*/ 25 h 64"/>
                  <a:gd name="T52" fmla="*/ 75 w 78"/>
                  <a:gd name="T53" fmla="*/ 18 h 64"/>
                  <a:gd name="T54" fmla="*/ 74 w 78"/>
                  <a:gd name="T55" fmla="*/ 12 h 64"/>
                  <a:gd name="T56" fmla="*/ 68 w 78"/>
                  <a:gd name="T57" fmla="*/ 7 h 64"/>
                  <a:gd name="T58" fmla="*/ 67 w 78"/>
                  <a:gd name="T59" fmla="*/ 7 h 64"/>
                  <a:gd name="T60" fmla="*/ 46 w 78"/>
                  <a:gd name="T61" fmla="*/ 6 h 64"/>
                  <a:gd name="T62" fmla="*/ 42 w 78"/>
                  <a:gd name="T63" fmla="*/ 4 h 64"/>
                  <a:gd name="T64" fmla="*/ 38 w 78"/>
                  <a:gd name="T65" fmla="*/ 7 h 64"/>
                  <a:gd name="T66" fmla="*/ 34 w 78"/>
                  <a:gd name="T67" fmla="*/ 2 h 64"/>
                  <a:gd name="T68" fmla="*/ 17 w 78"/>
                  <a:gd name="T69" fmla="*/ 7 h 64"/>
                  <a:gd name="T70" fmla="*/ 4 w 78"/>
                  <a:gd name="T71" fmla="*/ 11 h 64"/>
                  <a:gd name="T72" fmla="*/ 2 w 78"/>
                  <a:gd name="T73" fmla="*/ 13 h 64"/>
                  <a:gd name="T74" fmla="*/ 2 w 78"/>
                  <a:gd name="T75" fmla="*/ 1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8" h="64">
                    <a:moveTo>
                      <a:pt x="2" y="14"/>
                    </a:moveTo>
                    <a:cubicBezTo>
                      <a:pt x="2" y="15"/>
                      <a:pt x="3" y="20"/>
                      <a:pt x="2" y="22"/>
                    </a:cubicBezTo>
                    <a:cubicBezTo>
                      <a:pt x="0" y="24"/>
                      <a:pt x="1" y="25"/>
                      <a:pt x="2" y="25"/>
                    </a:cubicBezTo>
                    <a:cubicBezTo>
                      <a:pt x="3" y="26"/>
                      <a:pt x="4" y="28"/>
                      <a:pt x="4" y="29"/>
                    </a:cubicBezTo>
                    <a:cubicBezTo>
                      <a:pt x="4" y="31"/>
                      <a:pt x="5" y="30"/>
                      <a:pt x="5" y="33"/>
                    </a:cubicBezTo>
                    <a:cubicBezTo>
                      <a:pt x="5" y="37"/>
                      <a:pt x="6" y="39"/>
                      <a:pt x="7" y="40"/>
                    </a:cubicBezTo>
                    <a:cubicBezTo>
                      <a:pt x="8" y="41"/>
                      <a:pt x="8" y="42"/>
                      <a:pt x="7" y="44"/>
                    </a:cubicBezTo>
                    <a:cubicBezTo>
                      <a:pt x="9" y="45"/>
                      <a:pt x="10" y="46"/>
                      <a:pt x="12" y="46"/>
                    </a:cubicBezTo>
                    <a:cubicBezTo>
                      <a:pt x="16" y="48"/>
                      <a:pt x="17" y="49"/>
                      <a:pt x="17" y="50"/>
                    </a:cubicBezTo>
                    <a:cubicBezTo>
                      <a:pt x="17" y="51"/>
                      <a:pt x="21" y="54"/>
                      <a:pt x="21" y="52"/>
                    </a:cubicBezTo>
                    <a:cubicBezTo>
                      <a:pt x="22" y="50"/>
                      <a:pt x="24" y="51"/>
                      <a:pt x="26" y="51"/>
                    </a:cubicBezTo>
                    <a:cubicBezTo>
                      <a:pt x="28" y="51"/>
                      <a:pt x="28" y="53"/>
                      <a:pt x="28" y="54"/>
                    </a:cubicBezTo>
                    <a:cubicBezTo>
                      <a:pt x="28" y="55"/>
                      <a:pt x="32" y="54"/>
                      <a:pt x="33" y="55"/>
                    </a:cubicBezTo>
                    <a:cubicBezTo>
                      <a:pt x="35" y="56"/>
                      <a:pt x="35" y="59"/>
                      <a:pt x="37" y="60"/>
                    </a:cubicBezTo>
                    <a:cubicBezTo>
                      <a:pt x="39" y="61"/>
                      <a:pt x="41" y="59"/>
                      <a:pt x="42" y="59"/>
                    </a:cubicBezTo>
                    <a:cubicBezTo>
                      <a:pt x="43" y="60"/>
                      <a:pt x="47" y="61"/>
                      <a:pt x="49" y="60"/>
                    </a:cubicBezTo>
                    <a:cubicBezTo>
                      <a:pt x="51" y="59"/>
                      <a:pt x="52" y="61"/>
                      <a:pt x="55" y="61"/>
                    </a:cubicBezTo>
                    <a:cubicBezTo>
                      <a:pt x="58" y="61"/>
                      <a:pt x="61" y="62"/>
                      <a:pt x="62" y="62"/>
                    </a:cubicBezTo>
                    <a:cubicBezTo>
                      <a:pt x="62" y="63"/>
                      <a:pt x="64" y="63"/>
                      <a:pt x="66" y="64"/>
                    </a:cubicBezTo>
                    <a:cubicBezTo>
                      <a:pt x="67" y="62"/>
                      <a:pt x="66" y="59"/>
                      <a:pt x="66" y="58"/>
                    </a:cubicBezTo>
                    <a:cubicBezTo>
                      <a:pt x="66" y="57"/>
                      <a:pt x="73" y="52"/>
                      <a:pt x="74" y="51"/>
                    </a:cubicBezTo>
                    <a:cubicBezTo>
                      <a:pt x="75" y="49"/>
                      <a:pt x="76" y="49"/>
                      <a:pt x="77" y="48"/>
                    </a:cubicBezTo>
                    <a:cubicBezTo>
                      <a:pt x="78" y="46"/>
                      <a:pt x="75" y="41"/>
                      <a:pt x="74" y="40"/>
                    </a:cubicBezTo>
                    <a:cubicBezTo>
                      <a:pt x="73" y="39"/>
                      <a:pt x="73" y="35"/>
                      <a:pt x="73" y="33"/>
                    </a:cubicBezTo>
                    <a:cubicBezTo>
                      <a:pt x="74" y="31"/>
                      <a:pt x="71" y="30"/>
                      <a:pt x="71" y="29"/>
                    </a:cubicBezTo>
                    <a:cubicBezTo>
                      <a:pt x="71" y="27"/>
                      <a:pt x="74" y="25"/>
                      <a:pt x="75" y="25"/>
                    </a:cubicBezTo>
                    <a:cubicBezTo>
                      <a:pt x="77" y="24"/>
                      <a:pt x="76" y="19"/>
                      <a:pt x="75" y="18"/>
                    </a:cubicBezTo>
                    <a:cubicBezTo>
                      <a:pt x="74" y="16"/>
                      <a:pt x="73" y="14"/>
                      <a:pt x="74" y="12"/>
                    </a:cubicBezTo>
                    <a:cubicBezTo>
                      <a:pt x="75" y="9"/>
                      <a:pt x="68" y="7"/>
                      <a:pt x="68" y="7"/>
                    </a:cubicBezTo>
                    <a:cubicBezTo>
                      <a:pt x="67" y="7"/>
                      <a:pt x="67" y="7"/>
                      <a:pt x="67" y="7"/>
                    </a:cubicBezTo>
                    <a:cubicBezTo>
                      <a:pt x="62" y="8"/>
                      <a:pt x="47" y="6"/>
                      <a:pt x="46" y="6"/>
                    </a:cubicBezTo>
                    <a:cubicBezTo>
                      <a:pt x="46" y="6"/>
                      <a:pt x="44" y="5"/>
                      <a:pt x="42" y="4"/>
                    </a:cubicBezTo>
                    <a:cubicBezTo>
                      <a:pt x="42" y="6"/>
                      <a:pt x="40" y="7"/>
                      <a:pt x="38" y="7"/>
                    </a:cubicBezTo>
                    <a:cubicBezTo>
                      <a:pt x="34" y="7"/>
                      <a:pt x="34" y="3"/>
                      <a:pt x="34" y="2"/>
                    </a:cubicBezTo>
                    <a:cubicBezTo>
                      <a:pt x="34" y="0"/>
                      <a:pt x="20" y="3"/>
                      <a:pt x="17" y="7"/>
                    </a:cubicBezTo>
                    <a:cubicBezTo>
                      <a:pt x="13" y="10"/>
                      <a:pt x="4" y="9"/>
                      <a:pt x="4" y="11"/>
                    </a:cubicBezTo>
                    <a:cubicBezTo>
                      <a:pt x="4" y="12"/>
                      <a:pt x="3" y="13"/>
                      <a:pt x="2" y="13"/>
                    </a:cubicBezTo>
                    <a:cubicBezTo>
                      <a:pt x="2" y="13"/>
                      <a:pt x="2" y="13"/>
                      <a:pt x="2" y="1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3" name="Freeform 129">
                <a:extLst>
                  <a:ext uri="{FF2B5EF4-FFF2-40B4-BE49-F238E27FC236}">
                    <a16:creationId xmlns:a16="http://schemas.microsoft.com/office/drawing/2014/main" id="{558F7B36-5486-47C8-8003-90B83FD11E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073138" y="2344354"/>
                <a:ext cx="363093" cy="642101"/>
              </a:xfrm>
              <a:custGeom>
                <a:avLst/>
                <a:gdLst>
                  <a:gd name="T0" fmla="*/ 98 w 100"/>
                  <a:gd name="T1" fmla="*/ 37 h 176"/>
                  <a:gd name="T2" fmla="*/ 96 w 100"/>
                  <a:gd name="T3" fmla="*/ 23 h 176"/>
                  <a:gd name="T4" fmla="*/ 84 w 100"/>
                  <a:gd name="T5" fmla="*/ 9 h 176"/>
                  <a:gd name="T6" fmla="*/ 70 w 100"/>
                  <a:gd name="T7" fmla="*/ 8 h 176"/>
                  <a:gd name="T8" fmla="*/ 56 w 100"/>
                  <a:gd name="T9" fmla="*/ 8 h 176"/>
                  <a:gd name="T10" fmla="*/ 48 w 100"/>
                  <a:gd name="T11" fmla="*/ 16 h 176"/>
                  <a:gd name="T12" fmla="*/ 40 w 100"/>
                  <a:gd name="T13" fmla="*/ 26 h 176"/>
                  <a:gd name="T14" fmla="*/ 34 w 100"/>
                  <a:gd name="T15" fmla="*/ 37 h 176"/>
                  <a:gd name="T16" fmla="*/ 26 w 100"/>
                  <a:gd name="T17" fmla="*/ 43 h 176"/>
                  <a:gd name="T18" fmla="*/ 20 w 100"/>
                  <a:gd name="T19" fmla="*/ 60 h 176"/>
                  <a:gd name="T20" fmla="*/ 22 w 100"/>
                  <a:gd name="T21" fmla="*/ 69 h 176"/>
                  <a:gd name="T22" fmla="*/ 9 w 100"/>
                  <a:gd name="T23" fmla="*/ 75 h 176"/>
                  <a:gd name="T24" fmla="*/ 8 w 100"/>
                  <a:gd name="T25" fmla="*/ 91 h 176"/>
                  <a:gd name="T26" fmla="*/ 13 w 100"/>
                  <a:gd name="T27" fmla="*/ 104 h 176"/>
                  <a:gd name="T28" fmla="*/ 10 w 100"/>
                  <a:gd name="T29" fmla="*/ 112 h 176"/>
                  <a:gd name="T30" fmla="*/ 5 w 100"/>
                  <a:gd name="T31" fmla="*/ 122 h 176"/>
                  <a:gd name="T32" fmla="*/ 2 w 100"/>
                  <a:gd name="T33" fmla="*/ 134 h 176"/>
                  <a:gd name="T34" fmla="*/ 0 w 100"/>
                  <a:gd name="T35" fmla="*/ 134 h 176"/>
                  <a:gd name="T36" fmla="*/ 6 w 100"/>
                  <a:gd name="T37" fmla="*/ 150 h 176"/>
                  <a:gd name="T38" fmla="*/ 12 w 100"/>
                  <a:gd name="T39" fmla="*/ 164 h 176"/>
                  <a:gd name="T40" fmla="*/ 14 w 100"/>
                  <a:gd name="T41" fmla="*/ 174 h 176"/>
                  <a:gd name="T42" fmla="*/ 24 w 100"/>
                  <a:gd name="T43" fmla="*/ 169 h 176"/>
                  <a:gd name="T44" fmla="*/ 33 w 100"/>
                  <a:gd name="T45" fmla="*/ 166 h 176"/>
                  <a:gd name="T46" fmla="*/ 40 w 100"/>
                  <a:gd name="T47" fmla="*/ 164 h 176"/>
                  <a:gd name="T48" fmla="*/ 42 w 100"/>
                  <a:gd name="T49" fmla="*/ 156 h 176"/>
                  <a:gd name="T50" fmla="*/ 43 w 100"/>
                  <a:gd name="T51" fmla="*/ 139 h 176"/>
                  <a:gd name="T52" fmla="*/ 55 w 100"/>
                  <a:gd name="T53" fmla="*/ 128 h 176"/>
                  <a:gd name="T54" fmla="*/ 52 w 100"/>
                  <a:gd name="T55" fmla="*/ 113 h 176"/>
                  <a:gd name="T56" fmla="*/ 45 w 100"/>
                  <a:gd name="T57" fmla="*/ 102 h 176"/>
                  <a:gd name="T58" fmla="*/ 51 w 100"/>
                  <a:gd name="T59" fmla="*/ 88 h 176"/>
                  <a:gd name="T60" fmla="*/ 60 w 100"/>
                  <a:gd name="T61" fmla="*/ 78 h 176"/>
                  <a:gd name="T62" fmla="*/ 80 w 100"/>
                  <a:gd name="T63" fmla="*/ 65 h 176"/>
                  <a:gd name="T64" fmla="*/ 82 w 100"/>
                  <a:gd name="T65" fmla="*/ 50 h 176"/>
                  <a:gd name="T66" fmla="*/ 96 w 100"/>
                  <a:gd name="T67" fmla="*/ 45 h 176"/>
                  <a:gd name="T68" fmla="*/ 99 w 100"/>
                  <a:gd name="T69" fmla="*/ 42 h 176"/>
                  <a:gd name="T70" fmla="*/ 53 w 100"/>
                  <a:gd name="T71" fmla="*/ 15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0" h="176">
                    <a:moveTo>
                      <a:pt x="99" y="42"/>
                    </a:moveTo>
                    <a:cubicBezTo>
                      <a:pt x="98" y="40"/>
                      <a:pt x="96" y="37"/>
                      <a:pt x="98" y="37"/>
                    </a:cubicBezTo>
                    <a:cubicBezTo>
                      <a:pt x="99" y="37"/>
                      <a:pt x="100" y="32"/>
                      <a:pt x="98" y="30"/>
                    </a:cubicBezTo>
                    <a:cubicBezTo>
                      <a:pt x="96" y="29"/>
                      <a:pt x="98" y="24"/>
                      <a:pt x="96" y="23"/>
                    </a:cubicBezTo>
                    <a:cubicBezTo>
                      <a:pt x="94" y="22"/>
                      <a:pt x="95" y="18"/>
                      <a:pt x="96" y="16"/>
                    </a:cubicBezTo>
                    <a:cubicBezTo>
                      <a:pt x="96" y="13"/>
                      <a:pt x="88" y="11"/>
                      <a:pt x="84" y="9"/>
                    </a:cubicBezTo>
                    <a:cubicBezTo>
                      <a:pt x="80" y="7"/>
                      <a:pt x="78" y="4"/>
                      <a:pt x="75" y="2"/>
                    </a:cubicBezTo>
                    <a:cubicBezTo>
                      <a:pt x="71" y="0"/>
                      <a:pt x="70" y="5"/>
                      <a:pt x="70" y="8"/>
                    </a:cubicBezTo>
                    <a:cubicBezTo>
                      <a:pt x="70" y="11"/>
                      <a:pt x="67" y="11"/>
                      <a:pt x="65" y="9"/>
                    </a:cubicBezTo>
                    <a:cubicBezTo>
                      <a:pt x="62" y="8"/>
                      <a:pt x="60" y="9"/>
                      <a:pt x="56" y="8"/>
                    </a:cubicBezTo>
                    <a:cubicBezTo>
                      <a:pt x="53" y="6"/>
                      <a:pt x="54" y="11"/>
                      <a:pt x="54" y="14"/>
                    </a:cubicBezTo>
                    <a:cubicBezTo>
                      <a:pt x="54" y="16"/>
                      <a:pt x="51" y="16"/>
                      <a:pt x="48" y="16"/>
                    </a:cubicBezTo>
                    <a:cubicBezTo>
                      <a:pt x="46" y="16"/>
                      <a:pt x="42" y="18"/>
                      <a:pt x="42" y="21"/>
                    </a:cubicBezTo>
                    <a:cubicBezTo>
                      <a:pt x="42" y="23"/>
                      <a:pt x="39" y="25"/>
                      <a:pt x="40" y="26"/>
                    </a:cubicBezTo>
                    <a:cubicBezTo>
                      <a:pt x="41" y="28"/>
                      <a:pt x="39" y="29"/>
                      <a:pt x="38" y="30"/>
                    </a:cubicBezTo>
                    <a:cubicBezTo>
                      <a:pt x="36" y="32"/>
                      <a:pt x="35" y="35"/>
                      <a:pt x="34" y="37"/>
                    </a:cubicBezTo>
                    <a:cubicBezTo>
                      <a:pt x="33" y="38"/>
                      <a:pt x="34" y="40"/>
                      <a:pt x="32" y="41"/>
                    </a:cubicBezTo>
                    <a:cubicBezTo>
                      <a:pt x="30" y="43"/>
                      <a:pt x="27" y="42"/>
                      <a:pt x="26" y="43"/>
                    </a:cubicBezTo>
                    <a:cubicBezTo>
                      <a:pt x="25" y="44"/>
                      <a:pt x="26" y="47"/>
                      <a:pt x="26" y="50"/>
                    </a:cubicBezTo>
                    <a:cubicBezTo>
                      <a:pt x="25" y="53"/>
                      <a:pt x="23" y="57"/>
                      <a:pt x="20" y="60"/>
                    </a:cubicBezTo>
                    <a:cubicBezTo>
                      <a:pt x="18" y="63"/>
                      <a:pt x="21" y="64"/>
                      <a:pt x="22" y="64"/>
                    </a:cubicBezTo>
                    <a:cubicBezTo>
                      <a:pt x="23" y="65"/>
                      <a:pt x="23" y="67"/>
                      <a:pt x="22" y="69"/>
                    </a:cubicBezTo>
                    <a:cubicBezTo>
                      <a:pt x="21" y="71"/>
                      <a:pt x="18" y="70"/>
                      <a:pt x="17" y="69"/>
                    </a:cubicBezTo>
                    <a:cubicBezTo>
                      <a:pt x="15" y="69"/>
                      <a:pt x="11" y="71"/>
                      <a:pt x="9" y="75"/>
                    </a:cubicBezTo>
                    <a:cubicBezTo>
                      <a:pt x="7" y="79"/>
                      <a:pt x="7" y="81"/>
                      <a:pt x="8" y="83"/>
                    </a:cubicBezTo>
                    <a:cubicBezTo>
                      <a:pt x="9" y="85"/>
                      <a:pt x="6" y="87"/>
                      <a:pt x="8" y="91"/>
                    </a:cubicBezTo>
                    <a:cubicBezTo>
                      <a:pt x="10" y="95"/>
                      <a:pt x="7" y="95"/>
                      <a:pt x="8" y="98"/>
                    </a:cubicBezTo>
                    <a:cubicBezTo>
                      <a:pt x="8" y="102"/>
                      <a:pt x="13" y="101"/>
                      <a:pt x="13" y="104"/>
                    </a:cubicBezTo>
                    <a:cubicBezTo>
                      <a:pt x="13" y="107"/>
                      <a:pt x="12" y="108"/>
                      <a:pt x="10" y="108"/>
                    </a:cubicBezTo>
                    <a:cubicBezTo>
                      <a:pt x="8" y="108"/>
                      <a:pt x="9" y="111"/>
                      <a:pt x="10" y="112"/>
                    </a:cubicBezTo>
                    <a:cubicBezTo>
                      <a:pt x="12" y="113"/>
                      <a:pt x="12" y="118"/>
                      <a:pt x="11" y="120"/>
                    </a:cubicBezTo>
                    <a:cubicBezTo>
                      <a:pt x="10" y="121"/>
                      <a:pt x="5" y="120"/>
                      <a:pt x="5" y="122"/>
                    </a:cubicBezTo>
                    <a:cubicBezTo>
                      <a:pt x="6" y="124"/>
                      <a:pt x="4" y="127"/>
                      <a:pt x="4" y="128"/>
                    </a:cubicBezTo>
                    <a:cubicBezTo>
                      <a:pt x="4" y="130"/>
                      <a:pt x="4" y="135"/>
                      <a:pt x="2" y="134"/>
                    </a:cubicBezTo>
                    <a:cubicBezTo>
                      <a:pt x="2" y="133"/>
                      <a:pt x="1" y="133"/>
                      <a:pt x="0" y="133"/>
                    </a:cubicBezTo>
                    <a:cubicBezTo>
                      <a:pt x="0" y="133"/>
                      <a:pt x="0" y="134"/>
                      <a:pt x="0" y="134"/>
                    </a:cubicBezTo>
                    <a:cubicBezTo>
                      <a:pt x="0" y="137"/>
                      <a:pt x="1" y="140"/>
                      <a:pt x="3" y="142"/>
                    </a:cubicBezTo>
                    <a:cubicBezTo>
                      <a:pt x="6" y="144"/>
                      <a:pt x="4" y="147"/>
                      <a:pt x="6" y="150"/>
                    </a:cubicBezTo>
                    <a:cubicBezTo>
                      <a:pt x="9" y="153"/>
                      <a:pt x="8" y="156"/>
                      <a:pt x="10" y="158"/>
                    </a:cubicBezTo>
                    <a:cubicBezTo>
                      <a:pt x="13" y="160"/>
                      <a:pt x="13" y="161"/>
                      <a:pt x="12" y="164"/>
                    </a:cubicBezTo>
                    <a:cubicBezTo>
                      <a:pt x="11" y="166"/>
                      <a:pt x="14" y="166"/>
                      <a:pt x="14" y="167"/>
                    </a:cubicBezTo>
                    <a:cubicBezTo>
                      <a:pt x="14" y="169"/>
                      <a:pt x="14" y="173"/>
                      <a:pt x="14" y="174"/>
                    </a:cubicBezTo>
                    <a:cubicBezTo>
                      <a:pt x="15" y="176"/>
                      <a:pt x="17" y="174"/>
                      <a:pt x="21" y="174"/>
                    </a:cubicBezTo>
                    <a:cubicBezTo>
                      <a:pt x="24" y="174"/>
                      <a:pt x="24" y="172"/>
                      <a:pt x="24" y="169"/>
                    </a:cubicBezTo>
                    <a:cubicBezTo>
                      <a:pt x="24" y="167"/>
                      <a:pt x="26" y="168"/>
                      <a:pt x="26" y="167"/>
                    </a:cubicBezTo>
                    <a:cubicBezTo>
                      <a:pt x="27" y="165"/>
                      <a:pt x="30" y="165"/>
                      <a:pt x="33" y="166"/>
                    </a:cubicBezTo>
                    <a:cubicBezTo>
                      <a:pt x="36" y="167"/>
                      <a:pt x="37" y="165"/>
                      <a:pt x="37" y="162"/>
                    </a:cubicBezTo>
                    <a:cubicBezTo>
                      <a:pt x="38" y="160"/>
                      <a:pt x="39" y="163"/>
                      <a:pt x="40" y="164"/>
                    </a:cubicBezTo>
                    <a:cubicBezTo>
                      <a:pt x="41" y="164"/>
                      <a:pt x="44" y="159"/>
                      <a:pt x="45" y="156"/>
                    </a:cubicBezTo>
                    <a:cubicBezTo>
                      <a:pt x="46" y="153"/>
                      <a:pt x="45" y="153"/>
                      <a:pt x="42" y="156"/>
                    </a:cubicBezTo>
                    <a:cubicBezTo>
                      <a:pt x="39" y="160"/>
                      <a:pt x="41" y="153"/>
                      <a:pt x="42" y="151"/>
                    </a:cubicBezTo>
                    <a:cubicBezTo>
                      <a:pt x="43" y="148"/>
                      <a:pt x="43" y="141"/>
                      <a:pt x="43" y="139"/>
                    </a:cubicBezTo>
                    <a:cubicBezTo>
                      <a:pt x="44" y="138"/>
                      <a:pt x="44" y="135"/>
                      <a:pt x="48" y="135"/>
                    </a:cubicBezTo>
                    <a:cubicBezTo>
                      <a:pt x="51" y="134"/>
                      <a:pt x="56" y="130"/>
                      <a:pt x="55" y="128"/>
                    </a:cubicBezTo>
                    <a:cubicBezTo>
                      <a:pt x="54" y="126"/>
                      <a:pt x="60" y="123"/>
                      <a:pt x="60" y="121"/>
                    </a:cubicBezTo>
                    <a:cubicBezTo>
                      <a:pt x="60" y="120"/>
                      <a:pt x="54" y="114"/>
                      <a:pt x="52" y="113"/>
                    </a:cubicBezTo>
                    <a:cubicBezTo>
                      <a:pt x="50" y="112"/>
                      <a:pt x="46" y="113"/>
                      <a:pt x="46" y="111"/>
                    </a:cubicBezTo>
                    <a:cubicBezTo>
                      <a:pt x="47" y="110"/>
                      <a:pt x="46" y="105"/>
                      <a:pt x="45" y="102"/>
                    </a:cubicBezTo>
                    <a:cubicBezTo>
                      <a:pt x="45" y="100"/>
                      <a:pt x="48" y="97"/>
                      <a:pt x="48" y="94"/>
                    </a:cubicBezTo>
                    <a:cubicBezTo>
                      <a:pt x="48" y="92"/>
                      <a:pt x="48" y="89"/>
                      <a:pt x="51" y="88"/>
                    </a:cubicBezTo>
                    <a:cubicBezTo>
                      <a:pt x="53" y="87"/>
                      <a:pt x="51" y="85"/>
                      <a:pt x="54" y="85"/>
                    </a:cubicBezTo>
                    <a:cubicBezTo>
                      <a:pt x="57" y="84"/>
                      <a:pt x="57" y="80"/>
                      <a:pt x="60" y="78"/>
                    </a:cubicBezTo>
                    <a:cubicBezTo>
                      <a:pt x="63" y="77"/>
                      <a:pt x="63" y="76"/>
                      <a:pt x="68" y="74"/>
                    </a:cubicBezTo>
                    <a:cubicBezTo>
                      <a:pt x="72" y="72"/>
                      <a:pt x="79" y="67"/>
                      <a:pt x="80" y="65"/>
                    </a:cubicBezTo>
                    <a:cubicBezTo>
                      <a:pt x="81" y="62"/>
                      <a:pt x="76" y="59"/>
                      <a:pt x="79" y="57"/>
                    </a:cubicBezTo>
                    <a:cubicBezTo>
                      <a:pt x="83" y="54"/>
                      <a:pt x="80" y="51"/>
                      <a:pt x="82" y="50"/>
                    </a:cubicBezTo>
                    <a:cubicBezTo>
                      <a:pt x="85" y="49"/>
                      <a:pt x="86" y="48"/>
                      <a:pt x="87" y="46"/>
                    </a:cubicBezTo>
                    <a:cubicBezTo>
                      <a:pt x="89" y="44"/>
                      <a:pt x="92" y="46"/>
                      <a:pt x="96" y="45"/>
                    </a:cubicBezTo>
                    <a:cubicBezTo>
                      <a:pt x="97" y="45"/>
                      <a:pt x="99" y="45"/>
                      <a:pt x="100" y="46"/>
                    </a:cubicBezTo>
                    <a:cubicBezTo>
                      <a:pt x="100" y="44"/>
                      <a:pt x="100" y="42"/>
                      <a:pt x="99" y="42"/>
                    </a:cubicBezTo>
                    <a:close/>
                    <a:moveTo>
                      <a:pt x="59" y="146"/>
                    </a:moveTo>
                    <a:cubicBezTo>
                      <a:pt x="54" y="146"/>
                      <a:pt x="52" y="155"/>
                      <a:pt x="53" y="157"/>
                    </a:cubicBezTo>
                    <a:cubicBezTo>
                      <a:pt x="54" y="158"/>
                      <a:pt x="63" y="146"/>
                      <a:pt x="59" y="14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03942FE5-9A9D-4F1D-937A-4330D86D2258}"/>
                  </a:ext>
                </a:extLst>
              </p:cNvPr>
              <p:cNvSpPr/>
              <p:nvPr/>
            </p:nvSpPr>
            <p:spPr>
              <a:xfrm>
                <a:off x="23536824" y="4181533"/>
                <a:ext cx="231648" cy="599048"/>
              </a:xfrm>
              <a:custGeom>
                <a:avLst/>
                <a:gdLst>
                  <a:gd name="connsiteX0" fmla="*/ 219075 w 226520"/>
                  <a:gd name="connsiteY0" fmla="*/ 578643 h 585787"/>
                  <a:gd name="connsiteX1" fmla="*/ 211932 w 226520"/>
                  <a:gd name="connsiteY1" fmla="*/ 566737 h 585787"/>
                  <a:gd name="connsiteX2" fmla="*/ 207169 w 226520"/>
                  <a:gd name="connsiteY2" fmla="*/ 552450 h 585787"/>
                  <a:gd name="connsiteX3" fmla="*/ 204788 w 226520"/>
                  <a:gd name="connsiteY3" fmla="*/ 545306 h 585787"/>
                  <a:gd name="connsiteX4" fmla="*/ 200025 w 226520"/>
                  <a:gd name="connsiteY4" fmla="*/ 538162 h 585787"/>
                  <a:gd name="connsiteX5" fmla="*/ 195263 w 226520"/>
                  <a:gd name="connsiteY5" fmla="*/ 523875 h 585787"/>
                  <a:gd name="connsiteX6" fmla="*/ 190500 w 226520"/>
                  <a:gd name="connsiteY6" fmla="*/ 471487 h 585787"/>
                  <a:gd name="connsiteX7" fmla="*/ 176213 w 226520"/>
                  <a:gd name="connsiteY7" fmla="*/ 461962 h 585787"/>
                  <a:gd name="connsiteX8" fmla="*/ 169069 w 226520"/>
                  <a:gd name="connsiteY8" fmla="*/ 457200 h 585787"/>
                  <a:gd name="connsiteX9" fmla="*/ 152400 w 226520"/>
                  <a:gd name="connsiteY9" fmla="*/ 450056 h 585787"/>
                  <a:gd name="connsiteX10" fmla="*/ 140494 w 226520"/>
                  <a:gd name="connsiteY10" fmla="*/ 428625 h 585787"/>
                  <a:gd name="connsiteX11" fmla="*/ 135732 w 226520"/>
                  <a:gd name="connsiteY11" fmla="*/ 421481 h 585787"/>
                  <a:gd name="connsiteX12" fmla="*/ 133350 w 226520"/>
                  <a:gd name="connsiteY12" fmla="*/ 414337 h 585787"/>
                  <a:gd name="connsiteX13" fmla="*/ 119063 w 226520"/>
                  <a:gd name="connsiteY13" fmla="*/ 404812 h 585787"/>
                  <a:gd name="connsiteX14" fmla="*/ 114300 w 226520"/>
                  <a:gd name="connsiteY14" fmla="*/ 397668 h 585787"/>
                  <a:gd name="connsiteX15" fmla="*/ 107157 w 226520"/>
                  <a:gd name="connsiteY15" fmla="*/ 395287 h 585787"/>
                  <a:gd name="connsiteX16" fmla="*/ 104775 w 226520"/>
                  <a:gd name="connsiteY16" fmla="*/ 388143 h 585787"/>
                  <a:gd name="connsiteX17" fmla="*/ 100013 w 226520"/>
                  <a:gd name="connsiteY17" fmla="*/ 381000 h 585787"/>
                  <a:gd name="connsiteX18" fmla="*/ 97632 w 226520"/>
                  <a:gd name="connsiteY18" fmla="*/ 373856 h 585787"/>
                  <a:gd name="connsiteX19" fmla="*/ 90488 w 226520"/>
                  <a:gd name="connsiteY19" fmla="*/ 359568 h 585787"/>
                  <a:gd name="connsiteX20" fmla="*/ 85725 w 226520"/>
                  <a:gd name="connsiteY20" fmla="*/ 335756 h 585787"/>
                  <a:gd name="connsiteX21" fmla="*/ 80963 w 226520"/>
                  <a:gd name="connsiteY21" fmla="*/ 328612 h 585787"/>
                  <a:gd name="connsiteX22" fmla="*/ 83344 w 226520"/>
                  <a:gd name="connsiteY22" fmla="*/ 302418 h 585787"/>
                  <a:gd name="connsiteX23" fmla="*/ 92869 w 226520"/>
                  <a:gd name="connsiteY23" fmla="*/ 288131 h 585787"/>
                  <a:gd name="connsiteX24" fmla="*/ 95250 w 226520"/>
                  <a:gd name="connsiteY24" fmla="*/ 280987 h 585787"/>
                  <a:gd name="connsiteX25" fmla="*/ 97632 w 226520"/>
                  <a:gd name="connsiteY25" fmla="*/ 250031 h 585787"/>
                  <a:gd name="connsiteX26" fmla="*/ 104775 w 226520"/>
                  <a:gd name="connsiteY26" fmla="*/ 235743 h 585787"/>
                  <a:gd name="connsiteX27" fmla="*/ 111919 w 226520"/>
                  <a:gd name="connsiteY27" fmla="*/ 228600 h 585787"/>
                  <a:gd name="connsiteX28" fmla="*/ 121444 w 226520"/>
                  <a:gd name="connsiteY28" fmla="*/ 214312 h 585787"/>
                  <a:gd name="connsiteX29" fmla="*/ 126207 w 226520"/>
                  <a:gd name="connsiteY29" fmla="*/ 207168 h 585787"/>
                  <a:gd name="connsiteX30" fmla="*/ 133350 w 226520"/>
                  <a:gd name="connsiteY30" fmla="*/ 202406 h 585787"/>
                  <a:gd name="connsiteX31" fmla="*/ 140494 w 226520"/>
                  <a:gd name="connsiteY31" fmla="*/ 183356 h 585787"/>
                  <a:gd name="connsiteX32" fmla="*/ 145257 w 226520"/>
                  <a:gd name="connsiteY32" fmla="*/ 173831 h 585787"/>
                  <a:gd name="connsiteX33" fmla="*/ 152400 w 226520"/>
                  <a:gd name="connsiteY33" fmla="*/ 150018 h 585787"/>
                  <a:gd name="connsiteX34" fmla="*/ 154782 w 226520"/>
                  <a:gd name="connsiteY34" fmla="*/ 126206 h 585787"/>
                  <a:gd name="connsiteX35" fmla="*/ 154782 w 226520"/>
                  <a:gd name="connsiteY35" fmla="*/ 78581 h 585787"/>
                  <a:gd name="connsiteX36" fmla="*/ 138113 w 226520"/>
                  <a:gd name="connsiteY36" fmla="*/ 66675 h 585787"/>
                  <a:gd name="connsiteX37" fmla="*/ 123825 w 226520"/>
                  <a:gd name="connsiteY37" fmla="*/ 52387 h 585787"/>
                  <a:gd name="connsiteX38" fmla="*/ 109538 w 226520"/>
                  <a:gd name="connsiteY38" fmla="*/ 45243 h 585787"/>
                  <a:gd name="connsiteX39" fmla="*/ 102394 w 226520"/>
                  <a:gd name="connsiteY39" fmla="*/ 40481 h 585787"/>
                  <a:gd name="connsiteX40" fmla="*/ 92869 w 226520"/>
                  <a:gd name="connsiteY40" fmla="*/ 38100 h 585787"/>
                  <a:gd name="connsiteX41" fmla="*/ 85725 w 226520"/>
                  <a:gd name="connsiteY41" fmla="*/ 35718 h 585787"/>
                  <a:gd name="connsiteX42" fmla="*/ 69057 w 226520"/>
                  <a:gd name="connsiteY42" fmla="*/ 26193 h 585787"/>
                  <a:gd name="connsiteX43" fmla="*/ 47625 w 226520"/>
                  <a:gd name="connsiteY43" fmla="*/ 14287 h 585787"/>
                  <a:gd name="connsiteX44" fmla="*/ 40482 w 226520"/>
                  <a:gd name="connsiteY44" fmla="*/ 7143 h 585787"/>
                  <a:gd name="connsiteX45" fmla="*/ 33338 w 226520"/>
                  <a:gd name="connsiteY45" fmla="*/ 4762 h 585787"/>
                  <a:gd name="connsiteX46" fmla="*/ 23813 w 226520"/>
                  <a:gd name="connsiteY46" fmla="*/ 0 h 585787"/>
                  <a:gd name="connsiteX47" fmla="*/ 11907 w 226520"/>
                  <a:gd name="connsiteY47" fmla="*/ 11906 h 585787"/>
                  <a:gd name="connsiteX48" fmla="*/ 4763 w 226520"/>
                  <a:gd name="connsiteY48" fmla="*/ 16668 h 585787"/>
                  <a:gd name="connsiteX49" fmla="*/ 2382 w 226520"/>
                  <a:gd name="connsiteY49" fmla="*/ 28575 h 585787"/>
                  <a:gd name="connsiteX50" fmla="*/ 0 w 226520"/>
                  <a:gd name="connsiteY50" fmla="*/ 38100 h 585787"/>
                  <a:gd name="connsiteX51" fmla="*/ 7144 w 226520"/>
                  <a:gd name="connsiteY51" fmla="*/ 64293 h 585787"/>
                  <a:gd name="connsiteX52" fmla="*/ 16669 w 226520"/>
                  <a:gd name="connsiteY52" fmla="*/ 90487 h 585787"/>
                  <a:gd name="connsiteX53" fmla="*/ 23813 w 226520"/>
                  <a:gd name="connsiteY53" fmla="*/ 116681 h 585787"/>
                  <a:gd name="connsiteX54" fmla="*/ 26194 w 226520"/>
                  <a:gd name="connsiteY54" fmla="*/ 133350 h 585787"/>
                  <a:gd name="connsiteX55" fmla="*/ 30957 w 226520"/>
                  <a:gd name="connsiteY55" fmla="*/ 161925 h 585787"/>
                  <a:gd name="connsiteX56" fmla="*/ 35719 w 226520"/>
                  <a:gd name="connsiteY56" fmla="*/ 171450 h 585787"/>
                  <a:gd name="connsiteX57" fmla="*/ 47625 w 226520"/>
                  <a:gd name="connsiteY57" fmla="*/ 192881 h 585787"/>
                  <a:gd name="connsiteX58" fmla="*/ 52388 w 226520"/>
                  <a:gd name="connsiteY58" fmla="*/ 223837 h 585787"/>
                  <a:gd name="connsiteX59" fmla="*/ 54769 w 226520"/>
                  <a:gd name="connsiteY59" fmla="*/ 235743 h 585787"/>
                  <a:gd name="connsiteX60" fmla="*/ 52388 w 226520"/>
                  <a:gd name="connsiteY60" fmla="*/ 335756 h 585787"/>
                  <a:gd name="connsiteX61" fmla="*/ 47625 w 226520"/>
                  <a:gd name="connsiteY61" fmla="*/ 342900 h 585787"/>
                  <a:gd name="connsiteX62" fmla="*/ 45244 w 226520"/>
                  <a:gd name="connsiteY62" fmla="*/ 350043 h 585787"/>
                  <a:gd name="connsiteX63" fmla="*/ 40482 w 226520"/>
                  <a:gd name="connsiteY63" fmla="*/ 359568 h 585787"/>
                  <a:gd name="connsiteX64" fmla="*/ 30957 w 226520"/>
                  <a:gd name="connsiteY64" fmla="*/ 381000 h 585787"/>
                  <a:gd name="connsiteX65" fmla="*/ 38100 w 226520"/>
                  <a:gd name="connsiteY65" fmla="*/ 385762 h 585787"/>
                  <a:gd name="connsiteX66" fmla="*/ 61913 w 226520"/>
                  <a:gd name="connsiteY66" fmla="*/ 390525 h 585787"/>
                  <a:gd name="connsiteX67" fmla="*/ 88107 w 226520"/>
                  <a:gd name="connsiteY67" fmla="*/ 409575 h 585787"/>
                  <a:gd name="connsiteX68" fmla="*/ 95250 w 226520"/>
                  <a:gd name="connsiteY68" fmla="*/ 416718 h 585787"/>
                  <a:gd name="connsiteX69" fmla="*/ 104775 w 226520"/>
                  <a:gd name="connsiteY69" fmla="*/ 433387 h 585787"/>
                  <a:gd name="connsiteX70" fmla="*/ 107157 w 226520"/>
                  <a:gd name="connsiteY70" fmla="*/ 440531 h 585787"/>
                  <a:gd name="connsiteX71" fmla="*/ 109538 w 226520"/>
                  <a:gd name="connsiteY71" fmla="*/ 492918 h 585787"/>
                  <a:gd name="connsiteX72" fmla="*/ 114300 w 226520"/>
                  <a:gd name="connsiteY72" fmla="*/ 500062 h 585787"/>
                  <a:gd name="connsiteX73" fmla="*/ 133350 w 226520"/>
                  <a:gd name="connsiteY73" fmla="*/ 521493 h 585787"/>
                  <a:gd name="connsiteX74" fmla="*/ 140494 w 226520"/>
                  <a:gd name="connsiteY74" fmla="*/ 526256 h 585787"/>
                  <a:gd name="connsiteX75" fmla="*/ 152400 w 226520"/>
                  <a:gd name="connsiteY75" fmla="*/ 538162 h 585787"/>
                  <a:gd name="connsiteX76" fmla="*/ 166688 w 226520"/>
                  <a:gd name="connsiteY76" fmla="*/ 550068 h 585787"/>
                  <a:gd name="connsiteX77" fmla="*/ 173832 w 226520"/>
                  <a:gd name="connsiteY77" fmla="*/ 554831 h 585787"/>
                  <a:gd name="connsiteX78" fmla="*/ 180975 w 226520"/>
                  <a:gd name="connsiteY78" fmla="*/ 557212 h 585787"/>
                  <a:gd name="connsiteX79" fmla="*/ 185738 w 226520"/>
                  <a:gd name="connsiteY79" fmla="*/ 564356 h 585787"/>
                  <a:gd name="connsiteX80" fmla="*/ 192882 w 226520"/>
                  <a:gd name="connsiteY80" fmla="*/ 569118 h 585787"/>
                  <a:gd name="connsiteX81" fmla="*/ 209550 w 226520"/>
                  <a:gd name="connsiteY81" fmla="*/ 578643 h 585787"/>
                  <a:gd name="connsiteX82" fmla="*/ 226219 w 226520"/>
                  <a:gd name="connsiteY82" fmla="*/ 585787 h 585787"/>
                  <a:gd name="connsiteX83" fmla="*/ 219075 w 226520"/>
                  <a:gd name="connsiteY83" fmla="*/ 578643 h 585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26520" h="585787">
                    <a:moveTo>
                      <a:pt x="219075" y="578643"/>
                    </a:moveTo>
                    <a:cubicBezTo>
                      <a:pt x="216694" y="575468"/>
                      <a:pt x="213847" y="570950"/>
                      <a:pt x="211932" y="566737"/>
                    </a:cubicBezTo>
                    <a:cubicBezTo>
                      <a:pt x="209855" y="562167"/>
                      <a:pt x="208757" y="557212"/>
                      <a:pt x="207169" y="552450"/>
                    </a:cubicBezTo>
                    <a:cubicBezTo>
                      <a:pt x="206375" y="550069"/>
                      <a:pt x="206180" y="547394"/>
                      <a:pt x="204788" y="545306"/>
                    </a:cubicBezTo>
                    <a:lnTo>
                      <a:pt x="200025" y="538162"/>
                    </a:lnTo>
                    <a:cubicBezTo>
                      <a:pt x="198438" y="533400"/>
                      <a:pt x="195718" y="528874"/>
                      <a:pt x="195263" y="523875"/>
                    </a:cubicBezTo>
                    <a:cubicBezTo>
                      <a:pt x="193675" y="506412"/>
                      <a:pt x="193939" y="488681"/>
                      <a:pt x="190500" y="471487"/>
                    </a:cubicBezTo>
                    <a:cubicBezTo>
                      <a:pt x="188995" y="463963"/>
                      <a:pt x="181026" y="464368"/>
                      <a:pt x="176213" y="461962"/>
                    </a:cubicBezTo>
                    <a:cubicBezTo>
                      <a:pt x="173653" y="460682"/>
                      <a:pt x="171554" y="458620"/>
                      <a:pt x="169069" y="457200"/>
                    </a:cubicBezTo>
                    <a:cubicBezTo>
                      <a:pt x="160826" y="452490"/>
                      <a:pt x="160417" y="452728"/>
                      <a:pt x="152400" y="450056"/>
                    </a:cubicBezTo>
                    <a:cubicBezTo>
                      <a:pt x="129986" y="427638"/>
                      <a:pt x="163796" y="463583"/>
                      <a:pt x="140494" y="428625"/>
                    </a:cubicBezTo>
                    <a:cubicBezTo>
                      <a:pt x="138907" y="426244"/>
                      <a:pt x="137012" y="424041"/>
                      <a:pt x="135732" y="421481"/>
                    </a:cubicBezTo>
                    <a:cubicBezTo>
                      <a:pt x="134609" y="419236"/>
                      <a:pt x="135125" y="416112"/>
                      <a:pt x="133350" y="414337"/>
                    </a:cubicBezTo>
                    <a:cubicBezTo>
                      <a:pt x="129303" y="410290"/>
                      <a:pt x="119063" y="404812"/>
                      <a:pt x="119063" y="404812"/>
                    </a:cubicBezTo>
                    <a:cubicBezTo>
                      <a:pt x="117475" y="402431"/>
                      <a:pt x="116535" y="399456"/>
                      <a:pt x="114300" y="397668"/>
                    </a:cubicBezTo>
                    <a:cubicBezTo>
                      <a:pt x="112340" y="396100"/>
                      <a:pt x="108932" y="397062"/>
                      <a:pt x="107157" y="395287"/>
                    </a:cubicBezTo>
                    <a:cubicBezTo>
                      <a:pt x="105382" y="393512"/>
                      <a:pt x="105898" y="390388"/>
                      <a:pt x="104775" y="388143"/>
                    </a:cubicBezTo>
                    <a:cubicBezTo>
                      <a:pt x="103495" y="385584"/>
                      <a:pt x="101600" y="383381"/>
                      <a:pt x="100013" y="381000"/>
                    </a:cubicBezTo>
                    <a:cubicBezTo>
                      <a:pt x="99219" y="378619"/>
                      <a:pt x="98755" y="376101"/>
                      <a:pt x="97632" y="373856"/>
                    </a:cubicBezTo>
                    <a:cubicBezTo>
                      <a:pt x="88400" y="355391"/>
                      <a:pt x="96473" y="377524"/>
                      <a:pt x="90488" y="359568"/>
                    </a:cubicBezTo>
                    <a:cubicBezTo>
                      <a:pt x="89609" y="353417"/>
                      <a:pt x="89052" y="342409"/>
                      <a:pt x="85725" y="335756"/>
                    </a:cubicBezTo>
                    <a:cubicBezTo>
                      <a:pt x="84445" y="333196"/>
                      <a:pt x="82550" y="330993"/>
                      <a:pt x="80963" y="328612"/>
                    </a:cubicBezTo>
                    <a:cubicBezTo>
                      <a:pt x="81757" y="319881"/>
                      <a:pt x="80870" y="310829"/>
                      <a:pt x="83344" y="302418"/>
                    </a:cubicBezTo>
                    <a:cubicBezTo>
                      <a:pt x="84959" y="296927"/>
                      <a:pt x="91059" y="293561"/>
                      <a:pt x="92869" y="288131"/>
                    </a:cubicBezTo>
                    <a:lnTo>
                      <a:pt x="95250" y="280987"/>
                    </a:lnTo>
                    <a:cubicBezTo>
                      <a:pt x="96044" y="270668"/>
                      <a:pt x="96348" y="260300"/>
                      <a:pt x="97632" y="250031"/>
                    </a:cubicBezTo>
                    <a:cubicBezTo>
                      <a:pt x="98264" y="244977"/>
                      <a:pt x="101647" y="239497"/>
                      <a:pt x="104775" y="235743"/>
                    </a:cubicBezTo>
                    <a:cubicBezTo>
                      <a:pt x="106931" y="233156"/>
                      <a:pt x="109852" y="231258"/>
                      <a:pt x="111919" y="228600"/>
                    </a:cubicBezTo>
                    <a:cubicBezTo>
                      <a:pt x="115433" y="224082"/>
                      <a:pt x="118269" y="219075"/>
                      <a:pt x="121444" y="214312"/>
                    </a:cubicBezTo>
                    <a:cubicBezTo>
                      <a:pt x="123032" y="211931"/>
                      <a:pt x="123826" y="208756"/>
                      <a:pt x="126207" y="207168"/>
                    </a:cubicBezTo>
                    <a:lnTo>
                      <a:pt x="133350" y="202406"/>
                    </a:lnTo>
                    <a:cubicBezTo>
                      <a:pt x="146611" y="175887"/>
                      <a:pt x="130767" y="209294"/>
                      <a:pt x="140494" y="183356"/>
                    </a:cubicBezTo>
                    <a:cubicBezTo>
                      <a:pt x="141740" y="180032"/>
                      <a:pt x="143939" y="177127"/>
                      <a:pt x="145257" y="173831"/>
                    </a:cubicBezTo>
                    <a:cubicBezTo>
                      <a:pt x="149121" y="164172"/>
                      <a:pt x="150062" y="159372"/>
                      <a:pt x="152400" y="150018"/>
                    </a:cubicBezTo>
                    <a:cubicBezTo>
                      <a:pt x="153194" y="142081"/>
                      <a:pt x="153901" y="134134"/>
                      <a:pt x="154782" y="126206"/>
                    </a:cubicBezTo>
                    <a:cubicBezTo>
                      <a:pt x="156807" y="107982"/>
                      <a:pt x="159996" y="98135"/>
                      <a:pt x="154782" y="78581"/>
                    </a:cubicBezTo>
                    <a:cubicBezTo>
                      <a:pt x="153297" y="73011"/>
                      <a:pt x="142040" y="68638"/>
                      <a:pt x="138113" y="66675"/>
                    </a:cubicBezTo>
                    <a:cubicBezTo>
                      <a:pt x="133350" y="61912"/>
                      <a:pt x="129429" y="56123"/>
                      <a:pt x="123825" y="52387"/>
                    </a:cubicBezTo>
                    <a:cubicBezTo>
                      <a:pt x="103361" y="38744"/>
                      <a:pt x="129250" y="55099"/>
                      <a:pt x="109538" y="45243"/>
                    </a:cubicBezTo>
                    <a:cubicBezTo>
                      <a:pt x="106978" y="43963"/>
                      <a:pt x="105025" y="41608"/>
                      <a:pt x="102394" y="40481"/>
                    </a:cubicBezTo>
                    <a:cubicBezTo>
                      <a:pt x="99386" y="39192"/>
                      <a:pt x="96016" y="38999"/>
                      <a:pt x="92869" y="38100"/>
                    </a:cubicBezTo>
                    <a:cubicBezTo>
                      <a:pt x="90455" y="37410"/>
                      <a:pt x="88106" y="36512"/>
                      <a:pt x="85725" y="35718"/>
                    </a:cubicBezTo>
                    <a:cubicBezTo>
                      <a:pt x="54478" y="12285"/>
                      <a:pt x="92433" y="39181"/>
                      <a:pt x="69057" y="26193"/>
                    </a:cubicBezTo>
                    <a:cubicBezTo>
                      <a:pt x="44500" y="12549"/>
                      <a:pt x="63787" y="19673"/>
                      <a:pt x="47625" y="14287"/>
                    </a:cubicBezTo>
                    <a:cubicBezTo>
                      <a:pt x="45244" y="11906"/>
                      <a:pt x="43284" y="9011"/>
                      <a:pt x="40482" y="7143"/>
                    </a:cubicBezTo>
                    <a:cubicBezTo>
                      <a:pt x="38393" y="5751"/>
                      <a:pt x="35645" y="5751"/>
                      <a:pt x="33338" y="4762"/>
                    </a:cubicBezTo>
                    <a:cubicBezTo>
                      <a:pt x="30075" y="3364"/>
                      <a:pt x="26988" y="1587"/>
                      <a:pt x="23813" y="0"/>
                    </a:cubicBezTo>
                    <a:cubicBezTo>
                      <a:pt x="4762" y="12699"/>
                      <a:pt x="27782" y="-3969"/>
                      <a:pt x="11907" y="11906"/>
                    </a:cubicBezTo>
                    <a:cubicBezTo>
                      <a:pt x="9883" y="13930"/>
                      <a:pt x="7144" y="15081"/>
                      <a:pt x="4763" y="16668"/>
                    </a:cubicBezTo>
                    <a:cubicBezTo>
                      <a:pt x="3969" y="20637"/>
                      <a:pt x="3260" y="24624"/>
                      <a:pt x="2382" y="28575"/>
                    </a:cubicBezTo>
                    <a:cubicBezTo>
                      <a:pt x="1672" y="31770"/>
                      <a:pt x="0" y="34827"/>
                      <a:pt x="0" y="38100"/>
                    </a:cubicBezTo>
                    <a:cubicBezTo>
                      <a:pt x="0" y="52129"/>
                      <a:pt x="3320" y="51866"/>
                      <a:pt x="7144" y="64293"/>
                    </a:cubicBezTo>
                    <a:cubicBezTo>
                      <a:pt x="14939" y="89627"/>
                      <a:pt x="7254" y="76363"/>
                      <a:pt x="16669" y="90487"/>
                    </a:cubicBezTo>
                    <a:cubicBezTo>
                      <a:pt x="22041" y="111972"/>
                      <a:pt x="19362" y="103327"/>
                      <a:pt x="23813" y="116681"/>
                    </a:cubicBezTo>
                    <a:cubicBezTo>
                      <a:pt x="24607" y="122237"/>
                      <a:pt x="25498" y="127781"/>
                      <a:pt x="26194" y="133350"/>
                    </a:cubicBezTo>
                    <a:cubicBezTo>
                      <a:pt x="27755" y="145840"/>
                      <a:pt x="26685" y="151956"/>
                      <a:pt x="30957" y="161925"/>
                    </a:cubicBezTo>
                    <a:cubicBezTo>
                      <a:pt x="32355" y="165188"/>
                      <a:pt x="33893" y="168406"/>
                      <a:pt x="35719" y="171450"/>
                    </a:cubicBezTo>
                    <a:cubicBezTo>
                      <a:pt x="42222" y="182289"/>
                      <a:pt x="45370" y="182735"/>
                      <a:pt x="47625" y="192881"/>
                    </a:cubicBezTo>
                    <a:cubicBezTo>
                      <a:pt x="49387" y="200809"/>
                      <a:pt x="51118" y="216217"/>
                      <a:pt x="52388" y="223837"/>
                    </a:cubicBezTo>
                    <a:cubicBezTo>
                      <a:pt x="53053" y="227829"/>
                      <a:pt x="53975" y="231774"/>
                      <a:pt x="54769" y="235743"/>
                    </a:cubicBezTo>
                    <a:cubicBezTo>
                      <a:pt x="53975" y="269081"/>
                      <a:pt x="54606" y="302483"/>
                      <a:pt x="52388" y="335756"/>
                    </a:cubicBezTo>
                    <a:cubicBezTo>
                      <a:pt x="52198" y="338612"/>
                      <a:pt x="48905" y="340340"/>
                      <a:pt x="47625" y="342900"/>
                    </a:cubicBezTo>
                    <a:cubicBezTo>
                      <a:pt x="46503" y="345145"/>
                      <a:pt x="46233" y="347736"/>
                      <a:pt x="45244" y="350043"/>
                    </a:cubicBezTo>
                    <a:cubicBezTo>
                      <a:pt x="43846" y="353306"/>
                      <a:pt x="41800" y="356272"/>
                      <a:pt x="40482" y="359568"/>
                    </a:cubicBezTo>
                    <a:cubicBezTo>
                      <a:pt x="31981" y="380821"/>
                      <a:pt x="40118" y="367256"/>
                      <a:pt x="30957" y="381000"/>
                    </a:cubicBezTo>
                    <a:cubicBezTo>
                      <a:pt x="33338" y="382587"/>
                      <a:pt x="35470" y="384635"/>
                      <a:pt x="38100" y="385762"/>
                    </a:cubicBezTo>
                    <a:cubicBezTo>
                      <a:pt x="42618" y="387698"/>
                      <a:pt x="58694" y="389988"/>
                      <a:pt x="61913" y="390525"/>
                    </a:cubicBezTo>
                    <a:cubicBezTo>
                      <a:pt x="69894" y="395845"/>
                      <a:pt x="82766" y="404234"/>
                      <a:pt x="88107" y="409575"/>
                    </a:cubicBezTo>
                    <a:cubicBezTo>
                      <a:pt x="90488" y="411956"/>
                      <a:pt x="93094" y="414131"/>
                      <a:pt x="95250" y="416718"/>
                    </a:cubicBezTo>
                    <a:cubicBezTo>
                      <a:pt x="98769" y="420941"/>
                      <a:pt x="102718" y="428588"/>
                      <a:pt x="104775" y="433387"/>
                    </a:cubicBezTo>
                    <a:cubicBezTo>
                      <a:pt x="105764" y="435694"/>
                      <a:pt x="106363" y="438150"/>
                      <a:pt x="107157" y="440531"/>
                    </a:cubicBezTo>
                    <a:cubicBezTo>
                      <a:pt x="107951" y="457993"/>
                      <a:pt x="107456" y="475562"/>
                      <a:pt x="109538" y="492918"/>
                    </a:cubicBezTo>
                    <a:cubicBezTo>
                      <a:pt x="109879" y="495760"/>
                      <a:pt x="113020" y="497502"/>
                      <a:pt x="114300" y="500062"/>
                    </a:cubicBezTo>
                    <a:cubicBezTo>
                      <a:pt x="123771" y="519004"/>
                      <a:pt x="112049" y="507292"/>
                      <a:pt x="133350" y="521493"/>
                    </a:cubicBezTo>
                    <a:lnTo>
                      <a:pt x="140494" y="526256"/>
                    </a:lnTo>
                    <a:cubicBezTo>
                      <a:pt x="153196" y="545308"/>
                      <a:pt x="136525" y="522287"/>
                      <a:pt x="152400" y="538162"/>
                    </a:cubicBezTo>
                    <a:cubicBezTo>
                      <a:pt x="165374" y="551136"/>
                      <a:pt x="153044" y="545521"/>
                      <a:pt x="166688" y="550068"/>
                    </a:cubicBezTo>
                    <a:cubicBezTo>
                      <a:pt x="169069" y="551656"/>
                      <a:pt x="171272" y="553551"/>
                      <a:pt x="173832" y="554831"/>
                    </a:cubicBezTo>
                    <a:cubicBezTo>
                      <a:pt x="176077" y="555953"/>
                      <a:pt x="179015" y="555644"/>
                      <a:pt x="180975" y="557212"/>
                    </a:cubicBezTo>
                    <a:cubicBezTo>
                      <a:pt x="183210" y="559000"/>
                      <a:pt x="183714" y="562332"/>
                      <a:pt x="185738" y="564356"/>
                    </a:cubicBezTo>
                    <a:cubicBezTo>
                      <a:pt x="187762" y="566380"/>
                      <a:pt x="190553" y="567455"/>
                      <a:pt x="192882" y="569118"/>
                    </a:cubicBezTo>
                    <a:cubicBezTo>
                      <a:pt x="211612" y="582496"/>
                      <a:pt x="194091" y="572017"/>
                      <a:pt x="209550" y="578643"/>
                    </a:cubicBezTo>
                    <a:cubicBezTo>
                      <a:pt x="211722" y="579574"/>
                      <a:pt x="222494" y="585787"/>
                      <a:pt x="226219" y="585787"/>
                    </a:cubicBezTo>
                    <a:cubicBezTo>
                      <a:pt x="227994" y="585787"/>
                      <a:pt x="221456" y="581818"/>
                      <a:pt x="219075" y="578643"/>
                    </a:cubicBezTo>
                    <a:close/>
                  </a:path>
                </a:pathLst>
              </a:custGeom>
              <a:grpFill/>
              <a:ln w="3175">
                <a:solidFill>
                  <a:srgbClr val="D9D9D9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65" name="Freeform 133">
                <a:extLst>
                  <a:ext uri="{FF2B5EF4-FFF2-40B4-BE49-F238E27FC236}">
                    <a16:creationId xmlns:a16="http://schemas.microsoft.com/office/drawing/2014/main" id="{3FE86B4B-FE51-45F6-9DDF-98B9B4BE31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17682" y="3361251"/>
                <a:ext cx="502597" cy="502597"/>
              </a:xfrm>
              <a:custGeom>
                <a:avLst/>
                <a:gdLst>
                  <a:gd name="T0" fmla="*/ 122 w 138"/>
                  <a:gd name="T1" fmla="*/ 17 h 138"/>
                  <a:gd name="T2" fmla="*/ 100 w 138"/>
                  <a:gd name="T3" fmla="*/ 6 h 138"/>
                  <a:gd name="T4" fmla="*/ 97 w 138"/>
                  <a:gd name="T5" fmla="*/ 22 h 138"/>
                  <a:gd name="T6" fmla="*/ 87 w 138"/>
                  <a:gd name="T7" fmla="*/ 29 h 138"/>
                  <a:gd name="T8" fmla="*/ 85 w 138"/>
                  <a:gd name="T9" fmla="*/ 40 h 138"/>
                  <a:gd name="T10" fmla="*/ 94 w 138"/>
                  <a:gd name="T11" fmla="*/ 38 h 138"/>
                  <a:gd name="T12" fmla="*/ 96 w 138"/>
                  <a:gd name="T13" fmla="*/ 31 h 138"/>
                  <a:gd name="T14" fmla="*/ 113 w 138"/>
                  <a:gd name="T15" fmla="*/ 32 h 138"/>
                  <a:gd name="T16" fmla="*/ 129 w 138"/>
                  <a:gd name="T17" fmla="*/ 23 h 138"/>
                  <a:gd name="T18" fmla="*/ 130 w 138"/>
                  <a:gd name="T19" fmla="*/ 15 h 138"/>
                  <a:gd name="T20" fmla="*/ 85 w 138"/>
                  <a:gd name="T21" fmla="*/ 58 h 138"/>
                  <a:gd name="T22" fmla="*/ 76 w 138"/>
                  <a:gd name="T23" fmla="*/ 77 h 138"/>
                  <a:gd name="T24" fmla="*/ 64 w 138"/>
                  <a:gd name="T25" fmla="*/ 80 h 138"/>
                  <a:gd name="T26" fmla="*/ 53 w 138"/>
                  <a:gd name="T27" fmla="*/ 94 h 138"/>
                  <a:gd name="T28" fmla="*/ 38 w 138"/>
                  <a:gd name="T29" fmla="*/ 97 h 138"/>
                  <a:gd name="T30" fmla="*/ 14 w 138"/>
                  <a:gd name="T31" fmla="*/ 107 h 138"/>
                  <a:gd name="T32" fmla="*/ 22 w 138"/>
                  <a:gd name="T33" fmla="*/ 110 h 138"/>
                  <a:gd name="T34" fmla="*/ 46 w 138"/>
                  <a:gd name="T35" fmla="*/ 112 h 138"/>
                  <a:gd name="T36" fmla="*/ 58 w 138"/>
                  <a:gd name="T37" fmla="*/ 106 h 138"/>
                  <a:gd name="T38" fmla="*/ 71 w 138"/>
                  <a:gd name="T39" fmla="*/ 104 h 138"/>
                  <a:gd name="T40" fmla="*/ 82 w 138"/>
                  <a:gd name="T41" fmla="*/ 100 h 138"/>
                  <a:gd name="T42" fmla="*/ 91 w 138"/>
                  <a:gd name="T43" fmla="*/ 87 h 138"/>
                  <a:gd name="T44" fmla="*/ 101 w 138"/>
                  <a:gd name="T45" fmla="*/ 66 h 138"/>
                  <a:gd name="T46" fmla="*/ 87 w 138"/>
                  <a:gd name="T47" fmla="*/ 47 h 138"/>
                  <a:gd name="T48" fmla="*/ 27 w 138"/>
                  <a:gd name="T49" fmla="*/ 111 h 138"/>
                  <a:gd name="T50" fmla="*/ 30 w 138"/>
                  <a:gd name="T51" fmla="*/ 120 h 138"/>
                  <a:gd name="T52" fmla="*/ 42 w 138"/>
                  <a:gd name="T53" fmla="*/ 110 h 138"/>
                  <a:gd name="T54" fmla="*/ 18 w 138"/>
                  <a:gd name="T55" fmla="*/ 119 h 138"/>
                  <a:gd name="T56" fmla="*/ 5 w 138"/>
                  <a:gd name="T57" fmla="*/ 116 h 138"/>
                  <a:gd name="T58" fmla="*/ 6 w 138"/>
                  <a:gd name="T59" fmla="*/ 119 h 138"/>
                  <a:gd name="T60" fmla="*/ 11 w 138"/>
                  <a:gd name="T61" fmla="*/ 137 h 138"/>
                  <a:gd name="T62" fmla="*/ 18 w 138"/>
                  <a:gd name="T63" fmla="*/ 11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8" h="138">
                    <a:moveTo>
                      <a:pt x="130" y="15"/>
                    </a:moveTo>
                    <a:cubicBezTo>
                      <a:pt x="129" y="13"/>
                      <a:pt x="126" y="16"/>
                      <a:pt x="122" y="17"/>
                    </a:cubicBezTo>
                    <a:cubicBezTo>
                      <a:pt x="119" y="17"/>
                      <a:pt x="108" y="8"/>
                      <a:pt x="105" y="4"/>
                    </a:cubicBezTo>
                    <a:cubicBezTo>
                      <a:pt x="102" y="0"/>
                      <a:pt x="97" y="3"/>
                      <a:pt x="100" y="6"/>
                    </a:cubicBezTo>
                    <a:cubicBezTo>
                      <a:pt x="102" y="9"/>
                      <a:pt x="99" y="10"/>
                      <a:pt x="99" y="15"/>
                    </a:cubicBezTo>
                    <a:cubicBezTo>
                      <a:pt x="99" y="19"/>
                      <a:pt x="96" y="19"/>
                      <a:pt x="97" y="22"/>
                    </a:cubicBezTo>
                    <a:cubicBezTo>
                      <a:pt x="97" y="25"/>
                      <a:pt x="93" y="24"/>
                      <a:pt x="90" y="25"/>
                    </a:cubicBezTo>
                    <a:cubicBezTo>
                      <a:pt x="87" y="25"/>
                      <a:pt x="90" y="28"/>
                      <a:pt x="87" y="29"/>
                    </a:cubicBezTo>
                    <a:cubicBezTo>
                      <a:pt x="84" y="31"/>
                      <a:pt x="84" y="33"/>
                      <a:pt x="85" y="34"/>
                    </a:cubicBezTo>
                    <a:cubicBezTo>
                      <a:pt x="87" y="35"/>
                      <a:pt x="86" y="38"/>
                      <a:pt x="85" y="40"/>
                    </a:cubicBezTo>
                    <a:cubicBezTo>
                      <a:pt x="85" y="42"/>
                      <a:pt x="88" y="41"/>
                      <a:pt x="90" y="39"/>
                    </a:cubicBezTo>
                    <a:cubicBezTo>
                      <a:pt x="91" y="36"/>
                      <a:pt x="93" y="40"/>
                      <a:pt x="94" y="38"/>
                    </a:cubicBezTo>
                    <a:cubicBezTo>
                      <a:pt x="94" y="35"/>
                      <a:pt x="89" y="34"/>
                      <a:pt x="89" y="32"/>
                    </a:cubicBezTo>
                    <a:cubicBezTo>
                      <a:pt x="89" y="29"/>
                      <a:pt x="93" y="32"/>
                      <a:pt x="96" y="31"/>
                    </a:cubicBezTo>
                    <a:cubicBezTo>
                      <a:pt x="99" y="30"/>
                      <a:pt x="104" y="31"/>
                      <a:pt x="108" y="34"/>
                    </a:cubicBezTo>
                    <a:cubicBezTo>
                      <a:pt x="111" y="37"/>
                      <a:pt x="112" y="36"/>
                      <a:pt x="113" y="32"/>
                    </a:cubicBezTo>
                    <a:cubicBezTo>
                      <a:pt x="114" y="28"/>
                      <a:pt x="119" y="26"/>
                      <a:pt x="125" y="26"/>
                    </a:cubicBezTo>
                    <a:cubicBezTo>
                      <a:pt x="130" y="26"/>
                      <a:pt x="131" y="24"/>
                      <a:pt x="129" y="23"/>
                    </a:cubicBezTo>
                    <a:cubicBezTo>
                      <a:pt x="127" y="21"/>
                      <a:pt x="138" y="15"/>
                      <a:pt x="138" y="13"/>
                    </a:cubicBezTo>
                    <a:cubicBezTo>
                      <a:pt x="138" y="11"/>
                      <a:pt x="132" y="17"/>
                      <a:pt x="130" y="15"/>
                    </a:cubicBezTo>
                    <a:close/>
                    <a:moveTo>
                      <a:pt x="87" y="47"/>
                    </a:moveTo>
                    <a:cubicBezTo>
                      <a:pt x="84" y="49"/>
                      <a:pt x="83" y="56"/>
                      <a:pt x="85" y="58"/>
                    </a:cubicBezTo>
                    <a:cubicBezTo>
                      <a:pt x="88" y="60"/>
                      <a:pt x="81" y="64"/>
                      <a:pt x="81" y="69"/>
                    </a:cubicBezTo>
                    <a:cubicBezTo>
                      <a:pt x="81" y="73"/>
                      <a:pt x="77" y="73"/>
                      <a:pt x="76" y="77"/>
                    </a:cubicBezTo>
                    <a:cubicBezTo>
                      <a:pt x="76" y="80"/>
                      <a:pt x="73" y="79"/>
                      <a:pt x="69" y="82"/>
                    </a:cubicBezTo>
                    <a:cubicBezTo>
                      <a:pt x="65" y="85"/>
                      <a:pt x="63" y="82"/>
                      <a:pt x="64" y="80"/>
                    </a:cubicBezTo>
                    <a:cubicBezTo>
                      <a:pt x="65" y="78"/>
                      <a:pt x="57" y="81"/>
                      <a:pt x="58" y="86"/>
                    </a:cubicBezTo>
                    <a:cubicBezTo>
                      <a:pt x="58" y="91"/>
                      <a:pt x="51" y="92"/>
                      <a:pt x="53" y="94"/>
                    </a:cubicBezTo>
                    <a:cubicBezTo>
                      <a:pt x="54" y="97"/>
                      <a:pt x="47" y="98"/>
                      <a:pt x="48" y="96"/>
                    </a:cubicBezTo>
                    <a:cubicBezTo>
                      <a:pt x="48" y="94"/>
                      <a:pt x="43" y="95"/>
                      <a:pt x="38" y="97"/>
                    </a:cubicBezTo>
                    <a:cubicBezTo>
                      <a:pt x="32" y="99"/>
                      <a:pt x="29" y="95"/>
                      <a:pt x="26" y="98"/>
                    </a:cubicBezTo>
                    <a:cubicBezTo>
                      <a:pt x="23" y="101"/>
                      <a:pt x="18" y="106"/>
                      <a:pt x="14" y="107"/>
                    </a:cubicBezTo>
                    <a:cubicBezTo>
                      <a:pt x="10" y="108"/>
                      <a:pt x="12" y="113"/>
                      <a:pt x="14" y="112"/>
                    </a:cubicBezTo>
                    <a:cubicBezTo>
                      <a:pt x="17" y="110"/>
                      <a:pt x="21" y="112"/>
                      <a:pt x="22" y="110"/>
                    </a:cubicBezTo>
                    <a:cubicBezTo>
                      <a:pt x="24" y="108"/>
                      <a:pt x="36" y="105"/>
                      <a:pt x="43" y="105"/>
                    </a:cubicBezTo>
                    <a:cubicBezTo>
                      <a:pt x="50" y="104"/>
                      <a:pt x="46" y="108"/>
                      <a:pt x="46" y="112"/>
                    </a:cubicBezTo>
                    <a:cubicBezTo>
                      <a:pt x="46" y="116"/>
                      <a:pt x="52" y="115"/>
                      <a:pt x="56" y="111"/>
                    </a:cubicBezTo>
                    <a:cubicBezTo>
                      <a:pt x="59" y="108"/>
                      <a:pt x="61" y="108"/>
                      <a:pt x="58" y="106"/>
                    </a:cubicBezTo>
                    <a:cubicBezTo>
                      <a:pt x="56" y="104"/>
                      <a:pt x="59" y="102"/>
                      <a:pt x="61" y="105"/>
                    </a:cubicBezTo>
                    <a:cubicBezTo>
                      <a:pt x="63" y="108"/>
                      <a:pt x="69" y="108"/>
                      <a:pt x="71" y="104"/>
                    </a:cubicBezTo>
                    <a:cubicBezTo>
                      <a:pt x="73" y="100"/>
                      <a:pt x="74" y="105"/>
                      <a:pt x="77" y="104"/>
                    </a:cubicBezTo>
                    <a:cubicBezTo>
                      <a:pt x="80" y="104"/>
                      <a:pt x="81" y="97"/>
                      <a:pt x="82" y="100"/>
                    </a:cubicBezTo>
                    <a:cubicBezTo>
                      <a:pt x="82" y="102"/>
                      <a:pt x="86" y="102"/>
                      <a:pt x="89" y="99"/>
                    </a:cubicBezTo>
                    <a:cubicBezTo>
                      <a:pt x="92" y="95"/>
                      <a:pt x="90" y="90"/>
                      <a:pt x="91" y="87"/>
                    </a:cubicBezTo>
                    <a:cubicBezTo>
                      <a:pt x="93" y="84"/>
                      <a:pt x="95" y="78"/>
                      <a:pt x="93" y="75"/>
                    </a:cubicBezTo>
                    <a:cubicBezTo>
                      <a:pt x="91" y="71"/>
                      <a:pt x="98" y="69"/>
                      <a:pt x="101" y="66"/>
                    </a:cubicBezTo>
                    <a:cubicBezTo>
                      <a:pt x="104" y="63"/>
                      <a:pt x="97" y="49"/>
                      <a:pt x="97" y="45"/>
                    </a:cubicBezTo>
                    <a:cubicBezTo>
                      <a:pt x="97" y="40"/>
                      <a:pt x="89" y="46"/>
                      <a:pt x="87" y="47"/>
                    </a:cubicBezTo>
                    <a:close/>
                    <a:moveTo>
                      <a:pt x="34" y="109"/>
                    </a:moveTo>
                    <a:cubicBezTo>
                      <a:pt x="33" y="112"/>
                      <a:pt x="31" y="111"/>
                      <a:pt x="27" y="111"/>
                    </a:cubicBezTo>
                    <a:cubicBezTo>
                      <a:pt x="23" y="112"/>
                      <a:pt x="23" y="121"/>
                      <a:pt x="26" y="122"/>
                    </a:cubicBezTo>
                    <a:cubicBezTo>
                      <a:pt x="28" y="123"/>
                      <a:pt x="29" y="123"/>
                      <a:pt x="30" y="120"/>
                    </a:cubicBezTo>
                    <a:cubicBezTo>
                      <a:pt x="31" y="117"/>
                      <a:pt x="35" y="116"/>
                      <a:pt x="37" y="117"/>
                    </a:cubicBezTo>
                    <a:cubicBezTo>
                      <a:pt x="39" y="119"/>
                      <a:pt x="42" y="114"/>
                      <a:pt x="42" y="110"/>
                    </a:cubicBezTo>
                    <a:cubicBezTo>
                      <a:pt x="42" y="107"/>
                      <a:pt x="35" y="107"/>
                      <a:pt x="34" y="109"/>
                    </a:cubicBezTo>
                    <a:close/>
                    <a:moveTo>
                      <a:pt x="18" y="119"/>
                    </a:moveTo>
                    <a:cubicBezTo>
                      <a:pt x="18" y="116"/>
                      <a:pt x="13" y="117"/>
                      <a:pt x="12" y="114"/>
                    </a:cubicBezTo>
                    <a:cubicBezTo>
                      <a:pt x="12" y="112"/>
                      <a:pt x="9" y="114"/>
                      <a:pt x="5" y="116"/>
                    </a:cubicBezTo>
                    <a:cubicBezTo>
                      <a:pt x="2" y="119"/>
                      <a:pt x="0" y="119"/>
                      <a:pt x="2" y="122"/>
                    </a:cubicBezTo>
                    <a:cubicBezTo>
                      <a:pt x="3" y="124"/>
                      <a:pt x="5" y="122"/>
                      <a:pt x="6" y="119"/>
                    </a:cubicBezTo>
                    <a:cubicBezTo>
                      <a:pt x="7" y="117"/>
                      <a:pt x="10" y="123"/>
                      <a:pt x="8" y="128"/>
                    </a:cubicBezTo>
                    <a:cubicBezTo>
                      <a:pt x="5" y="132"/>
                      <a:pt x="8" y="138"/>
                      <a:pt x="11" y="137"/>
                    </a:cubicBezTo>
                    <a:cubicBezTo>
                      <a:pt x="13" y="137"/>
                      <a:pt x="16" y="128"/>
                      <a:pt x="20" y="124"/>
                    </a:cubicBezTo>
                    <a:cubicBezTo>
                      <a:pt x="23" y="119"/>
                      <a:pt x="18" y="121"/>
                      <a:pt x="18" y="11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6" name="Freeform 81">
                <a:extLst>
                  <a:ext uri="{FF2B5EF4-FFF2-40B4-BE49-F238E27FC236}">
                    <a16:creationId xmlns:a16="http://schemas.microsoft.com/office/drawing/2014/main" id="{197E45A0-723D-480C-B405-9C79990F9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50026" y="3056821"/>
                <a:ext cx="120393" cy="105107"/>
              </a:xfrm>
              <a:custGeom>
                <a:avLst/>
                <a:gdLst>
                  <a:gd name="T0" fmla="*/ 10 w 33"/>
                  <a:gd name="T1" fmla="*/ 22 h 29"/>
                  <a:gd name="T2" fmla="*/ 16 w 33"/>
                  <a:gd name="T3" fmla="*/ 23 h 29"/>
                  <a:gd name="T4" fmla="*/ 21 w 33"/>
                  <a:gd name="T5" fmla="*/ 27 h 29"/>
                  <a:gd name="T6" fmla="*/ 23 w 33"/>
                  <a:gd name="T7" fmla="*/ 29 h 29"/>
                  <a:gd name="T8" fmla="*/ 24 w 33"/>
                  <a:gd name="T9" fmla="*/ 23 h 29"/>
                  <a:gd name="T10" fmla="*/ 25 w 33"/>
                  <a:gd name="T11" fmla="*/ 19 h 29"/>
                  <a:gd name="T12" fmla="*/ 29 w 33"/>
                  <a:gd name="T13" fmla="*/ 17 h 29"/>
                  <a:gd name="T14" fmla="*/ 31 w 33"/>
                  <a:gd name="T15" fmla="*/ 14 h 29"/>
                  <a:gd name="T16" fmla="*/ 28 w 33"/>
                  <a:gd name="T17" fmla="*/ 10 h 29"/>
                  <a:gd name="T18" fmla="*/ 32 w 33"/>
                  <a:gd name="T19" fmla="*/ 6 h 29"/>
                  <a:gd name="T20" fmla="*/ 32 w 33"/>
                  <a:gd name="T21" fmla="*/ 0 h 29"/>
                  <a:gd name="T22" fmla="*/ 30 w 33"/>
                  <a:gd name="T23" fmla="*/ 1 h 29"/>
                  <a:gd name="T24" fmla="*/ 22 w 33"/>
                  <a:gd name="T25" fmla="*/ 2 h 29"/>
                  <a:gd name="T26" fmla="*/ 18 w 33"/>
                  <a:gd name="T27" fmla="*/ 7 h 29"/>
                  <a:gd name="T28" fmla="*/ 15 w 33"/>
                  <a:gd name="T29" fmla="*/ 7 h 29"/>
                  <a:gd name="T30" fmla="*/ 11 w 33"/>
                  <a:gd name="T31" fmla="*/ 9 h 29"/>
                  <a:gd name="T32" fmla="*/ 7 w 33"/>
                  <a:gd name="T33" fmla="*/ 16 h 29"/>
                  <a:gd name="T34" fmla="*/ 1 w 33"/>
                  <a:gd name="T35" fmla="*/ 23 h 29"/>
                  <a:gd name="T36" fmla="*/ 0 w 33"/>
                  <a:gd name="T37" fmla="*/ 24 h 29"/>
                  <a:gd name="T38" fmla="*/ 3 w 33"/>
                  <a:gd name="T39" fmla="*/ 25 h 29"/>
                  <a:gd name="T40" fmla="*/ 10 w 33"/>
                  <a:gd name="T41" fmla="*/ 2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9">
                    <a:moveTo>
                      <a:pt x="10" y="22"/>
                    </a:moveTo>
                    <a:cubicBezTo>
                      <a:pt x="12" y="21"/>
                      <a:pt x="14" y="22"/>
                      <a:pt x="16" y="23"/>
                    </a:cubicBezTo>
                    <a:cubicBezTo>
                      <a:pt x="17" y="25"/>
                      <a:pt x="19" y="25"/>
                      <a:pt x="21" y="27"/>
                    </a:cubicBezTo>
                    <a:cubicBezTo>
                      <a:pt x="22" y="28"/>
                      <a:pt x="23" y="28"/>
                      <a:pt x="23" y="29"/>
                    </a:cubicBezTo>
                    <a:cubicBezTo>
                      <a:pt x="23" y="27"/>
                      <a:pt x="23" y="24"/>
                      <a:pt x="24" y="23"/>
                    </a:cubicBezTo>
                    <a:cubicBezTo>
                      <a:pt x="25" y="21"/>
                      <a:pt x="23" y="19"/>
                      <a:pt x="25" y="19"/>
                    </a:cubicBezTo>
                    <a:cubicBezTo>
                      <a:pt x="26" y="19"/>
                      <a:pt x="29" y="19"/>
                      <a:pt x="29" y="17"/>
                    </a:cubicBezTo>
                    <a:cubicBezTo>
                      <a:pt x="29" y="14"/>
                      <a:pt x="30" y="15"/>
                      <a:pt x="31" y="14"/>
                    </a:cubicBezTo>
                    <a:cubicBezTo>
                      <a:pt x="31" y="13"/>
                      <a:pt x="29" y="10"/>
                      <a:pt x="28" y="10"/>
                    </a:cubicBezTo>
                    <a:cubicBezTo>
                      <a:pt x="28" y="9"/>
                      <a:pt x="30" y="9"/>
                      <a:pt x="32" y="6"/>
                    </a:cubicBezTo>
                    <a:cubicBezTo>
                      <a:pt x="33" y="5"/>
                      <a:pt x="33" y="3"/>
                      <a:pt x="32" y="0"/>
                    </a:cubicBezTo>
                    <a:cubicBezTo>
                      <a:pt x="32" y="1"/>
                      <a:pt x="31" y="2"/>
                      <a:pt x="30" y="1"/>
                    </a:cubicBezTo>
                    <a:cubicBezTo>
                      <a:pt x="28" y="0"/>
                      <a:pt x="25" y="1"/>
                      <a:pt x="22" y="2"/>
                    </a:cubicBezTo>
                    <a:cubicBezTo>
                      <a:pt x="18" y="2"/>
                      <a:pt x="17" y="6"/>
                      <a:pt x="18" y="7"/>
                    </a:cubicBezTo>
                    <a:cubicBezTo>
                      <a:pt x="20" y="9"/>
                      <a:pt x="15" y="9"/>
                      <a:pt x="15" y="7"/>
                    </a:cubicBezTo>
                    <a:cubicBezTo>
                      <a:pt x="14" y="5"/>
                      <a:pt x="11" y="7"/>
                      <a:pt x="11" y="9"/>
                    </a:cubicBezTo>
                    <a:cubicBezTo>
                      <a:pt x="11" y="12"/>
                      <a:pt x="7" y="13"/>
                      <a:pt x="7" y="16"/>
                    </a:cubicBezTo>
                    <a:cubicBezTo>
                      <a:pt x="8" y="19"/>
                      <a:pt x="4" y="22"/>
                      <a:pt x="1" y="23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" y="25"/>
                      <a:pt x="2" y="25"/>
                      <a:pt x="3" y="25"/>
                    </a:cubicBezTo>
                    <a:cubicBezTo>
                      <a:pt x="5" y="25"/>
                      <a:pt x="9" y="24"/>
                      <a:pt x="10" y="2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6D5F5145-BC39-4D0C-9C25-B2950BFF4B88}"/>
                  </a:ext>
                </a:extLst>
              </p:cNvPr>
              <p:cNvSpPr/>
              <p:nvPr/>
            </p:nvSpPr>
            <p:spPr>
              <a:xfrm>
                <a:off x="18606652" y="4461088"/>
                <a:ext cx="1099676" cy="1231215"/>
              </a:xfrm>
              <a:custGeom>
                <a:avLst/>
                <a:gdLst>
                  <a:gd name="connsiteX0" fmla="*/ 31394 w 1075334"/>
                  <a:gd name="connsiteY0" fmla="*/ 121920 h 1203960"/>
                  <a:gd name="connsiteX1" fmla="*/ 39014 w 1075334"/>
                  <a:gd name="connsiteY1" fmla="*/ 190500 h 1203960"/>
                  <a:gd name="connsiteX2" fmla="*/ 46634 w 1075334"/>
                  <a:gd name="connsiteY2" fmla="*/ 236220 h 1203960"/>
                  <a:gd name="connsiteX3" fmla="*/ 115214 w 1075334"/>
                  <a:gd name="connsiteY3" fmla="*/ 297180 h 1203960"/>
                  <a:gd name="connsiteX4" fmla="*/ 160934 w 1075334"/>
                  <a:gd name="connsiteY4" fmla="*/ 312420 h 1203960"/>
                  <a:gd name="connsiteX5" fmla="*/ 153314 w 1075334"/>
                  <a:gd name="connsiteY5" fmla="*/ 403860 h 1203960"/>
                  <a:gd name="connsiteX6" fmla="*/ 138074 w 1075334"/>
                  <a:gd name="connsiteY6" fmla="*/ 449580 h 1203960"/>
                  <a:gd name="connsiteX7" fmla="*/ 130454 w 1075334"/>
                  <a:gd name="connsiteY7" fmla="*/ 525780 h 1203960"/>
                  <a:gd name="connsiteX8" fmla="*/ 138074 w 1075334"/>
                  <a:gd name="connsiteY8" fmla="*/ 548640 h 1203960"/>
                  <a:gd name="connsiteX9" fmla="*/ 160934 w 1075334"/>
                  <a:gd name="connsiteY9" fmla="*/ 563880 h 1203960"/>
                  <a:gd name="connsiteX10" fmla="*/ 176174 w 1075334"/>
                  <a:gd name="connsiteY10" fmla="*/ 586740 h 1203960"/>
                  <a:gd name="connsiteX11" fmla="*/ 183794 w 1075334"/>
                  <a:gd name="connsiteY11" fmla="*/ 617220 h 1203960"/>
                  <a:gd name="connsiteX12" fmla="*/ 191414 w 1075334"/>
                  <a:gd name="connsiteY12" fmla="*/ 701040 h 1203960"/>
                  <a:gd name="connsiteX13" fmla="*/ 229514 w 1075334"/>
                  <a:gd name="connsiteY13" fmla="*/ 731520 h 1203960"/>
                  <a:gd name="connsiteX14" fmla="*/ 282854 w 1075334"/>
                  <a:gd name="connsiteY14" fmla="*/ 762000 h 1203960"/>
                  <a:gd name="connsiteX15" fmla="*/ 328574 w 1075334"/>
                  <a:gd name="connsiteY15" fmla="*/ 784860 h 1203960"/>
                  <a:gd name="connsiteX16" fmla="*/ 343814 w 1075334"/>
                  <a:gd name="connsiteY16" fmla="*/ 807720 h 1203960"/>
                  <a:gd name="connsiteX17" fmla="*/ 389534 w 1075334"/>
                  <a:gd name="connsiteY17" fmla="*/ 845820 h 1203960"/>
                  <a:gd name="connsiteX18" fmla="*/ 442874 w 1075334"/>
                  <a:gd name="connsiteY18" fmla="*/ 906780 h 1203960"/>
                  <a:gd name="connsiteX19" fmla="*/ 450494 w 1075334"/>
                  <a:gd name="connsiteY19" fmla="*/ 960120 h 1203960"/>
                  <a:gd name="connsiteX20" fmla="*/ 480974 w 1075334"/>
                  <a:gd name="connsiteY20" fmla="*/ 1005840 h 1203960"/>
                  <a:gd name="connsiteX21" fmla="*/ 496214 w 1075334"/>
                  <a:gd name="connsiteY21" fmla="*/ 1028700 h 1203960"/>
                  <a:gd name="connsiteX22" fmla="*/ 503834 w 1075334"/>
                  <a:gd name="connsiteY22" fmla="*/ 1051560 h 1203960"/>
                  <a:gd name="connsiteX23" fmla="*/ 549554 w 1075334"/>
                  <a:gd name="connsiteY23" fmla="*/ 1074420 h 1203960"/>
                  <a:gd name="connsiteX24" fmla="*/ 572414 w 1075334"/>
                  <a:gd name="connsiteY24" fmla="*/ 1120140 h 1203960"/>
                  <a:gd name="connsiteX25" fmla="*/ 587654 w 1075334"/>
                  <a:gd name="connsiteY25" fmla="*/ 1143000 h 1203960"/>
                  <a:gd name="connsiteX26" fmla="*/ 595274 w 1075334"/>
                  <a:gd name="connsiteY26" fmla="*/ 1165860 h 1203960"/>
                  <a:gd name="connsiteX27" fmla="*/ 618134 w 1075334"/>
                  <a:gd name="connsiteY27" fmla="*/ 1188720 h 1203960"/>
                  <a:gd name="connsiteX28" fmla="*/ 663854 w 1075334"/>
                  <a:gd name="connsiteY28" fmla="*/ 1203960 h 1203960"/>
                  <a:gd name="connsiteX29" fmla="*/ 679094 w 1075334"/>
                  <a:gd name="connsiteY29" fmla="*/ 1158240 h 1203960"/>
                  <a:gd name="connsiteX30" fmla="*/ 686714 w 1075334"/>
                  <a:gd name="connsiteY30" fmla="*/ 1135380 h 1203960"/>
                  <a:gd name="connsiteX31" fmla="*/ 694334 w 1075334"/>
                  <a:gd name="connsiteY31" fmla="*/ 1097280 h 1203960"/>
                  <a:gd name="connsiteX32" fmla="*/ 740054 w 1075334"/>
                  <a:gd name="connsiteY32" fmla="*/ 1059180 h 1203960"/>
                  <a:gd name="connsiteX33" fmla="*/ 762914 w 1075334"/>
                  <a:gd name="connsiteY33" fmla="*/ 1051560 h 1203960"/>
                  <a:gd name="connsiteX34" fmla="*/ 785774 w 1075334"/>
                  <a:gd name="connsiteY34" fmla="*/ 1036320 h 1203960"/>
                  <a:gd name="connsiteX35" fmla="*/ 846734 w 1075334"/>
                  <a:gd name="connsiteY35" fmla="*/ 1021080 h 1203960"/>
                  <a:gd name="connsiteX36" fmla="*/ 892454 w 1075334"/>
                  <a:gd name="connsiteY36" fmla="*/ 1013460 h 1203960"/>
                  <a:gd name="connsiteX37" fmla="*/ 907694 w 1075334"/>
                  <a:gd name="connsiteY37" fmla="*/ 990600 h 1203960"/>
                  <a:gd name="connsiteX38" fmla="*/ 922934 w 1075334"/>
                  <a:gd name="connsiteY38" fmla="*/ 944880 h 1203960"/>
                  <a:gd name="connsiteX39" fmla="*/ 938174 w 1075334"/>
                  <a:gd name="connsiteY39" fmla="*/ 922020 h 1203960"/>
                  <a:gd name="connsiteX40" fmla="*/ 945794 w 1075334"/>
                  <a:gd name="connsiteY40" fmla="*/ 838200 h 1203960"/>
                  <a:gd name="connsiteX41" fmla="*/ 953414 w 1075334"/>
                  <a:gd name="connsiteY41" fmla="*/ 807720 h 1203960"/>
                  <a:gd name="connsiteX42" fmla="*/ 945794 w 1075334"/>
                  <a:gd name="connsiteY42" fmla="*/ 777240 h 1203960"/>
                  <a:gd name="connsiteX43" fmla="*/ 976274 w 1075334"/>
                  <a:gd name="connsiteY43" fmla="*/ 685800 h 1203960"/>
                  <a:gd name="connsiteX44" fmla="*/ 999134 w 1075334"/>
                  <a:gd name="connsiteY44" fmla="*/ 678180 h 1203960"/>
                  <a:gd name="connsiteX45" fmla="*/ 1029614 w 1075334"/>
                  <a:gd name="connsiteY45" fmla="*/ 685800 h 1203960"/>
                  <a:gd name="connsiteX46" fmla="*/ 1037234 w 1075334"/>
                  <a:gd name="connsiteY46" fmla="*/ 662940 h 1203960"/>
                  <a:gd name="connsiteX47" fmla="*/ 1075334 w 1075334"/>
                  <a:gd name="connsiteY47" fmla="*/ 624840 h 1203960"/>
                  <a:gd name="connsiteX48" fmla="*/ 1060094 w 1075334"/>
                  <a:gd name="connsiteY48" fmla="*/ 541020 h 1203960"/>
                  <a:gd name="connsiteX49" fmla="*/ 1052474 w 1075334"/>
                  <a:gd name="connsiteY49" fmla="*/ 518160 h 1203960"/>
                  <a:gd name="connsiteX50" fmla="*/ 1029614 w 1075334"/>
                  <a:gd name="connsiteY50" fmla="*/ 510540 h 1203960"/>
                  <a:gd name="connsiteX51" fmla="*/ 983894 w 1075334"/>
                  <a:gd name="connsiteY51" fmla="*/ 480060 h 1203960"/>
                  <a:gd name="connsiteX52" fmla="*/ 930554 w 1075334"/>
                  <a:gd name="connsiteY52" fmla="*/ 441960 h 1203960"/>
                  <a:gd name="connsiteX53" fmla="*/ 900074 w 1075334"/>
                  <a:gd name="connsiteY53" fmla="*/ 426720 h 1203960"/>
                  <a:gd name="connsiteX54" fmla="*/ 823874 w 1075334"/>
                  <a:gd name="connsiteY54" fmla="*/ 434340 h 1203960"/>
                  <a:gd name="connsiteX55" fmla="*/ 778154 w 1075334"/>
                  <a:gd name="connsiteY55" fmla="*/ 419100 h 1203960"/>
                  <a:gd name="connsiteX56" fmla="*/ 770534 w 1075334"/>
                  <a:gd name="connsiteY56" fmla="*/ 388620 h 1203960"/>
                  <a:gd name="connsiteX57" fmla="*/ 724814 w 1075334"/>
                  <a:gd name="connsiteY57" fmla="*/ 365760 h 1203960"/>
                  <a:gd name="connsiteX58" fmla="*/ 648614 w 1075334"/>
                  <a:gd name="connsiteY58" fmla="*/ 365760 h 1203960"/>
                  <a:gd name="connsiteX59" fmla="*/ 640994 w 1075334"/>
                  <a:gd name="connsiteY59" fmla="*/ 342900 h 1203960"/>
                  <a:gd name="connsiteX60" fmla="*/ 602894 w 1075334"/>
                  <a:gd name="connsiteY60" fmla="*/ 350520 h 1203960"/>
                  <a:gd name="connsiteX61" fmla="*/ 618134 w 1075334"/>
                  <a:gd name="connsiteY61" fmla="*/ 304800 h 1203960"/>
                  <a:gd name="connsiteX62" fmla="*/ 587654 w 1075334"/>
                  <a:gd name="connsiteY62" fmla="*/ 251460 h 1203960"/>
                  <a:gd name="connsiteX63" fmla="*/ 526694 w 1075334"/>
                  <a:gd name="connsiteY63" fmla="*/ 182880 h 1203960"/>
                  <a:gd name="connsiteX64" fmla="*/ 465734 w 1075334"/>
                  <a:gd name="connsiteY64" fmla="*/ 175260 h 1203960"/>
                  <a:gd name="connsiteX65" fmla="*/ 442874 w 1075334"/>
                  <a:gd name="connsiteY65" fmla="*/ 167640 h 1203960"/>
                  <a:gd name="connsiteX66" fmla="*/ 420014 w 1075334"/>
                  <a:gd name="connsiteY66" fmla="*/ 121920 h 1203960"/>
                  <a:gd name="connsiteX67" fmla="*/ 359054 w 1075334"/>
                  <a:gd name="connsiteY67" fmla="*/ 106680 h 1203960"/>
                  <a:gd name="connsiteX68" fmla="*/ 336194 w 1075334"/>
                  <a:gd name="connsiteY68" fmla="*/ 99060 h 1203960"/>
                  <a:gd name="connsiteX69" fmla="*/ 320954 w 1075334"/>
                  <a:gd name="connsiteY69" fmla="*/ 76200 h 1203960"/>
                  <a:gd name="connsiteX70" fmla="*/ 199034 w 1075334"/>
                  <a:gd name="connsiteY70" fmla="*/ 45720 h 1203960"/>
                  <a:gd name="connsiteX71" fmla="*/ 183794 w 1075334"/>
                  <a:gd name="connsiteY71" fmla="*/ 22860 h 1203960"/>
                  <a:gd name="connsiteX72" fmla="*/ 69494 w 1075334"/>
                  <a:gd name="connsiteY72" fmla="*/ 0 h 1203960"/>
                  <a:gd name="connsiteX73" fmla="*/ 8534 w 1075334"/>
                  <a:gd name="connsiteY73" fmla="*/ 7620 h 1203960"/>
                  <a:gd name="connsiteX74" fmla="*/ 914 w 1075334"/>
                  <a:gd name="connsiteY74" fmla="*/ 30480 h 1203960"/>
                  <a:gd name="connsiteX75" fmla="*/ 23774 w 1075334"/>
                  <a:gd name="connsiteY75" fmla="*/ 53340 h 1203960"/>
                  <a:gd name="connsiteX76" fmla="*/ 39014 w 1075334"/>
                  <a:gd name="connsiteY76" fmla="*/ 76200 h 1203960"/>
                  <a:gd name="connsiteX77" fmla="*/ 31394 w 1075334"/>
                  <a:gd name="connsiteY77" fmla="*/ 121920 h 1203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075334" h="1203960">
                    <a:moveTo>
                      <a:pt x="31394" y="121920"/>
                    </a:moveTo>
                    <a:cubicBezTo>
                      <a:pt x="31394" y="140970"/>
                      <a:pt x="35974" y="167701"/>
                      <a:pt x="39014" y="190500"/>
                    </a:cubicBezTo>
                    <a:cubicBezTo>
                      <a:pt x="41056" y="205815"/>
                      <a:pt x="38849" y="222874"/>
                      <a:pt x="46634" y="236220"/>
                    </a:cubicBezTo>
                    <a:cubicBezTo>
                      <a:pt x="52669" y="246566"/>
                      <a:pt x="94036" y="287767"/>
                      <a:pt x="115214" y="297180"/>
                    </a:cubicBezTo>
                    <a:cubicBezTo>
                      <a:pt x="129894" y="303704"/>
                      <a:pt x="160934" y="312420"/>
                      <a:pt x="160934" y="312420"/>
                    </a:cubicBezTo>
                    <a:cubicBezTo>
                      <a:pt x="158394" y="342900"/>
                      <a:pt x="158342" y="373691"/>
                      <a:pt x="153314" y="403860"/>
                    </a:cubicBezTo>
                    <a:cubicBezTo>
                      <a:pt x="150673" y="419706"/>
                      <a:pt x="141034" y="433791"/>
                      <a:pt x="138074" y="449580"/>
                    </a:cubicBezTo>
                    <a:cubicBezTo>
                      <a:pt x="133370" y="474669"/>
                      <a:pt x="132994" y="500380"/>
                      <a:pt x="130454" y="525780"/>
                    </a:cubicBezTo>
                    <a:cubicBezTo>
                      <a:pt x="132994" y="533400"/>
                      <a:pt x="133056" y="542368"/>
                      <a:pt x="138074" y="548640"/>
                    </a:cubicBezTo>
                    <a:cubicBezTo>
                      <a:pt x="143795" y="555791"/>
                      <a:pt x="154458" y="557404"/>
                      <a:pt x="160934" y="563880"/>
                    </a:cubicBezTo>
                    <a:cubicBezTo>
                      <a:pt x="167410" y="570356"/>
                      <a:pt x="171094" y="579120"/>
                      <a:pt x="176174" y="586740"/>
                    </a:cubicBezTo>
                    <a:cubicBezTo>
                      <a:pt x="178714" y="596900"/>
                      <a:pt x="182410" y="606839"/>
                      <a:pt x="183794" y="617220"/>
                    </a:cubicBezTo>
                    <a:cubicBezTo>
                      <a:pt x="187502" y="645029"/>
                      <a:pt x="185536" y="673608"/>
                      <a:pt x="191414" y="701040"/>
                    </a:cubicBezTo>
                    <a:cubicBezTo>
                      <a:pt x="197202" y="728048"/>
                      <a:pt x="210164" y="723227"/>
                      <a:pt x="229514" y="731520"/>
                    </a:cubicBezTo>
                    <a:cubicBezTo>
                      <a:pt x="323028" y="771597"/>
                      <a:pt x="206327" y="723736"/>
                      <a:pt x="282854" y="762000"/>
                    </a:cubicBezTo>
                    <a:cubicBezTo>
                      <a:pt x="345950" y="793548"/>
                      <a:pt x="263060" y="741184"/>
                      <a:pt x="328574" y="784860"/>
                    </a:cubicBezTo>
                    <a:cubicBezTo>
                      <a:pt x="333654" y="792480"/>
                      <a:pt x="337338" y="801244"/>
                      <a:pt x="343814" y="807720"/>
                    </a:cubicBezTo>
                    <a:cubicBezTo>
                      <a:pt x="387841" y="851747"/>
                      <a:pt x="345842" y="789645"/>
                      <a:pt x="389534" y="845820"/>
                    </a:cubicBezTo>
                    <a:cubicBezTo>
                      <a:pt x="437403" y="907366"/>
                      <a:pt x="398619" y="877277"/>
                      <a:pt x="442874" y="906780"/>
                    </a:cubicBezTo>
                    <a:cubicBezTo>
                      <a:pt x="445414" y="924560"/>
                      <a:pt x="444047" y="943357"/>
                      <a:pt x="450494" y="960120"/>
                    </a:cubicBezTo>
                    <a:cubicBezTo>
                      <a:pt x="457069" y="977215"/>
                      <a:pt x="470814" y="990600"/>
                      <a:pt x="480974" y="1005840"/>
                    </a:cubicBezTo>
                    <a:cubicBezTo>
                      <a:pt x="486054" y="1013460"/>
                      <a:pt x="493318" y="1020012"/>
                      <a:pt x="496214" y="1028700"/>
                    </a:cubicBezTo>
                    <a:cubicBezTo>
                      <a:pt x="498754" y="1036320"/>
                      <a:pt x="498816" y="1045288"/>
                      <a:pt x="503834" y="1051560"/>
                    </a:cubicBezTo>
                    <a:cubicBezTo>
                      <a:pt x="514577" y="1064989"/>
                      <a:pt x="534495" y="1069400"/>
                      <a:pt x="549554" y="1074420"/>
                    </a:cubicBezTo>
                    <a:cubicBezTo>
                      <a:pt x="593230" y="1139934"/>
                      <a:pt x="540866" y="1057044"/>
                      <a:pt x="572414" y="1120140"/>
                    </a:cubicBezTo>
                    <a:cubicBezTo>
                      <a:pt x="576510" y="1128331"/>
                      <a:pt x="583558" y="1134809"/>
                      <a:pt x="587654" y="1143000"/>
                    </a:cubicBezTo>
                    <a:cubicBezTo>
                      <a:pt x="591246" y="1150184"/>
                      <a:pt x="590819" y="1159177"/>
                      <a:pt x="595274" y="1165860"/>
                    </a:cubicBezTo>
                    <a:cubicBezTo>
                      <a:pt x="601252" y="1174826"/>
                      <a:pt x="608714" y="1183487"/>
                      <a:pt x="618134" y="1188720"/>
                    </a:cubicBezTo>
                    <a:cubicBezTo>
                      <a:pt x="632177" y="1196522"/>
                      <a:pt x="663854" y="1203960"/>
                      <a:pt x="663854" y="1203960"/>
                    </a:cubicBezTo>
                    <a:lnTo>
                      <a:pt x="679094" y="1158240"/>
                    </a:lnTo>
                    <a:cubicBezTo>
                      <a:pt x="681634" y="1150620"/>
                      <a:pt x="685139" y="1143256"/>
                      <a:pt x="686714" y="1135380"/>
                    </a:cubicBezTo>
                    <a:cubicBezTo>
                      <a:pt x="689254" y="1122680"/>
                      <a:pt x="688542" y="1108864"/>
                      <a:pt x="694334" y="1097280"/>
                    </a:cubicBezTo>
                    <a:cubicBezTo>
                      <a:pt x="699951" y="1086045"/>
                      <a:pt x="728384" y="1065015"/>
                      <a:pt x="740054" y="1059180"/>
                    </a:cubicBezTo>
                    <a:cubicBezTo>
                      <a:pt x="747238" y="1055588"/>
                      <a:pt x="755730" y="1055152"/>
                      <a:pt x="762914" y="1051560"/>
                    </a:cubicBezTo>
                    <a:cubicBezTo>
                      <a:pt x="771105" y="1047464"/>
                      <a:pt x="778154" y="1041400"/>
                      <a:pt x="785774" y="1036320"/>
                    </a:cubicBezTo>
                    <a:cubicBezTo>
                      <a:pt x="800379" y="992505"/>
                      <a:pt x="782524" y="1021080"/>
                      <a:pt x="846734" y="1021080"/>
                    </a:cubicBezTo>
                    <a:cubicBezTo>
                      <a:pt x="862184" y="1021080"/>
                      <a:pt x="877214" y="1016000"/>
                      <a:pt x="892454" y="1013460"/>
                    </a:cubicBezTo>
                    <a:cubicBezTo>
                      <a:pt x="897534" y="1005840"/>
                      <a:pt x="903975" y="998969"/>
                      <a:pt x="907694" y="990600"/>
                    </a:cubicBezTo>
                    <a:cubicBezTo>
                      <a:pt x="914218" y="975920"/>
                      <a:pt x="914023" y="958246"/>
                      <a:pt x="922934" y="944880"/>
                    </a:cubicBezTo>
                    <a:lnTo>
                      <a:pt x="938174" y="922020"/>
                    </a:lnTo>
                    <a:cubicBezTo>
                      <a:pt x="940714" y="894080"/>
                      <a:pt x="942086" y="866009"/>
                      <a:pt x="945794" y="838200"/>
                    </a:cubicBezTo>
                    <a:cubicBezTo>
                      <a:pt x="947178" y="827819"/>
                      <a:pt x="953414" y="818193"/>
                      <a:pt x="953414" y="807720"/>
                    </a:cubicBezTo>
                    <a:cubicBezTo>
                      <a:pt x="953414" y="797247"/>
                      <a:pt x="948334" y="787400"/>
                      <a:pt x="945794" y="777240"/>
                    </a:cubicBezTo>
                    <a:cubicBezTo>
                      <a:pt x="952169" y="713492"/>
                      <a:pt x="932948" y="707463"/>
                      <a:pt x="976274" y="685800"/>
                    </a:cubicBezTo>
                    <a:cubicBezTo>
                      <a:pt x="983458" y="682208"/>
                      <a:pt x="991514" y="680720"/>
                      <a:pt x="999134" y="678180"/>
                    </a:cubicBezTo>
                    <a:cubicBezTo>
                      <a:pt x="1009294" y="680720"/>
                      <a:pt x="1019890" y="689689"/>
                      <a:pt x="1029614" y="685800"/>
                    </a:cubicBezTo>
                    <a:cubicBezTo>
                      <a:pt x="1037072" y="682817"/>
                      <a:pt x="1033642" y="670124"/>
                      <a:pt x="1037234" y="662940"/>
                    </a:cubicBezTo>
                    <a:cubicBezTo>
                      <a:pt x="1049934" y="637540"/>
                      <a:pt x="1052474" y="640080"/>
                      <a:pt x="1075334" y="624840"/>
                    </a:cubicBezTo>
                    <a:cubicBezTo>
                      <a:pt x="1069167" y="581671"/>
                      <a:pt x="1070359" y="576948"/>
                      <a:pt x="1060094" y="541020"/>
                    </a:cubicBezTo>
                    <a:cubicBezTo>
                      <a:pt x="1057887" y="533297"/>
                      <a:pt x="1058154" y="523840"/>
                      <a:pt x="1052474" y="518160"/>
                    </a:cubicBezTo>
                    <a:cubicBezTo>
                      <a:pt x="1046794" y="512480"/>
                      <a:pt x="1037234" y="513080"/>
                      <a:pt x="1029614" y="510540"/>
                    </a:cubicBezTo>
                    <a:cubicBezTo>
                      <a:pt x="986279" y="467205"/>
                      <a:pt x="1028005" y="502116"/>
                      <a:pt x="983894" y="480060"/>
                    </a:cubicBezTo>
                    <a:cubicBezTo>
                      <a:pt x="967774" y="472000"/>
                      <a:pt x="944360" y="450589"/>
                      <a:pt x="930554" y="441960"/>
                    </a:cubicBezTo>
                    <a:cubicBezTo>
                      <a:pt x="920921" y="435940"/>
                      <a:pt x="910234" y="431800"/>
                      <a:pt x="900074" y="426720"/>
                    </a:cubicBezTo>
                    <a:cubicBezTo>
                      <a:pt x="874674" y="429260"/>
                      <a:pt x="849351" y="435932"/>
                      <a:pt x="823874" y="434340"/>
                    </a:cubicBezTo>
                    <a:cubicBezTo>
                      <a:pt x="807841" y="433338"/>
                      <a:pt x="778154" y="419100"/>
                      <a:pt x="778154" y="419100"/>
                    </a:cubicBezTo>
                    <a:cubicBezTo>
                      <a:pt x="775614" y="408940"/>
                      <a:pt x="776343" y="397334"/>
                      <a:pt x="770534" y="388620"/>
                    </a:cubicBezTo>
                    <a:cubicBezTo>
                      <a:pt x="762093" y="375959"/>
                      <a:pt x="737854" y="370107"/>
                      <a:pt x="724814" y="365760"/>
                    </a:cubicBezTo>
                    <a:cubicBezTo>
                      <a:pt x="715566" y="367081"/>
                      <a:pt x="665239" y="382385"/>
                      <a:pt x="648614" y="365760"/>
                    </a:cubicBezTo>
                    <a:cubicBezTo>
                      <a:pt x="642934" y="360080"/>
                      <a:pt x="643534" y="350520"/>
                      <a:pt x="640994" y="342900"/>
                    </a:cubicBezTo>
                    <a:cubicBezTo>
                      <a:pt x="628294" y="345440"/>
                      <a:pt x="609557" y="361626"/>
                      <a:pt x="602894" y="350520"/>
                    </a:cubicBezTo>
                    <a:cubicBezTo>
                      <a:pt x="594629" y="336745"/>
                      <a:pt x="618134" y="304800"/>
                      <a:pt x="618134" y="304800"/>
                    </a:cubicBezTo>
                    <a:cubicBezTo>
                      <a:pt x="604804" y="251481"/>
                      <a:pt x="621105" y="294469"/>
                      <a:pt x="587654" y="251460"/>
                    </a:cubicBezTo>
                    <a:cubicBezTo>
                      <a:pt x="570164" y="228973"/>
                      <a:pt x="557935" y="193294"/>
                      <a:pt x="526694" y="182880"/>
                    </a:cubicBezTo>
                    <a:cubicBezTo>
                      <a:pt x="507267" y="176404"/>
                      <a:pt x="486054" y="177800"/>
                      <a:pt x="465734" y="175260"/>
                    </a:cubicBezTo>
                    <a:cubicBezTo>
                      <a:pt x="458114" y="172720"/>
                      <a:pt x="448554" y="173320"/>
                      <a:pt x="442874" y="167640"/>
                    </a:cubicBezTo>
                    <a:cubicBezTo>
                      <a:pt x="424842" y="149608"/>
                      <a:pt x="448279" y="136053"/>
                      <a:pt x="420014" y="121920"/>
                    </a:cubicBezTo>
                    <a:cubicBezTo>
                      <a:pt x="401280" y="112553"/>
                      <a:pt x="378925" y="113304"/>
                      <a:pt x="359054" y="106680"/>
                    </a:cubicBezTo>
                    <a:lnTo>
                      <a:pt x="336194" y="99060"/>
                    </a:lnTo>
                    <a:cubicBezTo>
                      <a:pt x="331114" y="91440"/>
                      <a:pt x="325050" y="84391"/>
                      <a:pt x="320954" y="76200"/>
                    </a:cubicBezTo>
                    <a:cubicBezTo>
                      <a:pt x="291072" y="16436"/>
                      <a:pt x="369777" y="57103"/>
                      <a:pt x="199034" y="45720"/>
                    </a:cubicBezTo>
                    <a:cubicBezTo>
                      <a:pt x="193954" y="38100"/>
                      <a:pt x="190270" y="29336"/>
                      <a:pt x="183794" y="22860"/>
                    </a:cubicBezTo>
                    <a:cubicBezTo>
                      <a:pt x="153052" y="-7882"/>
                      <a:pt x="111392" y="3491"/>
                      <a:pt x="69494" y="0"/>
                    </a:cubicBezTo>
                    <a:cubicBezTo>
                      <a:pt x="49174" y="2540"/>
                      <a:pt x="27247" y="-697"/>
                      <a:pt x="8534" y="7620"/>
                    </a:cubicBezTo>
                    <a:cubicBezTo>
                      <a:pt x="1194" y="10882"/>
                      <a:pt x="-1626" y="22860"/>
                      <a:pt x="914" y="30480"/>
                    </a:cubicBezTo>
                    <a:cubicBezTo>
                      <a:pt x="4322" y="40703"/>
                      <a:pt x="16875" y="45061"/>
                      <a:pt x="23774" y="53340"/>
                    </a:cubicBezTo>
                    <a:cubicBezTo>
                      <a:pt x="29637" y="60375"/>
                      <a:pt x="33934" y="68580"/>
                      <a:pt x="39014" y="76200"/>
                    </a:cubicBezTo>
                    <a:cubicBezTo>
                      <a:pt x="30016" y="112190"/>
                      <a:pt x="31394" y="102870"/>
                      <a:pt x="31394" y="121920"/>
                    </a:cubicBezTo>
                    <a:close/>
                  </a:path>
                </a:pathLst>
              </a:custGeom>
              <a:grpFill/>
              <a:ln w="3175">
                <a:solidFill>
                  <a:srgbClr val="D9D9D9">
                    <a:alpha val="3019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68" name="Freeform 120">
                <a:extLst>
                  <a:ext uri="{FF2B5EF4-FFF2-40B4-BE49-F238E27FC236}">
                    <a16:creationId xmlns:a16="http://schemas.microsoft.com/office/drawing/2014/main" id="{1D74282E-D585-4DDC-A5AE-E84B599E8A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468086" y="3436774"/>
                <a:ext cx="374556" cy="269454"/>
              </a:xfrm>
              <a:custGeom>
                <a:avLst/>
                <a:gdLst>
                  <a:gd name="T0" fmla="*/ 102 w 103"/>
                  <a:gd name="T1" fmla="*/ 13 h 74"/>
                  <a:gd name="T2" fmla="*/ 94 w 103"/>
                  <a:gd name="T3" fmla="*/ 13 h 74"/>
                  <a:gd name="T4" fmla="*/ 84 w 103"/>
                  <a:gd name="T5" fmla="*/ 10 h 74"/>
                  <a:gd name="T6" fmla="*/ 81 w 103"/>
                  <a:gd name="T7" fmla="*/ 10 h 74"/>
                  <a:gd name="T8" fmla="*/ 74 w 103"/>
                  <a:gd name="T9" fmla="*/ 10 h 74"/>
                  <a:gd name="T10" fmla="*/ 66 w 103"/>
                  <a:gd name="T11" fmla="*/ 6 h 74"/>
                  <a:gd name="T12" fmla="*/ 62 w 103"/>
                  <a:gd name="T13" fmla="*/ 4 h 74"/>
                  <a:gd name="T14" fmla="*/ 48 w 103"/>
                  <a:gd name="T15" fmla="*/ 3 h 74"/>
                  <a:gd name="T16" fmla="*/ 21 w 103"/>
                  <a:gd name="T17" fmla="*/ 2 h 74"/>
                  <a:gd name="T18" fmla="*/ 12 w 103"/>
                  <a:gd name="T19" fmla="*/ 0 h 74"/>
                  <a:gd name="T20" fmla="*/ 5 w 103"/>
                  <a:gd name="T21" fmla="*/ 4 h 74"/>
                  <a:gd name="T22" fmla="*/ 3 w 103"/>
                  <a:gd name="T23" fmla="*/ 10 h 74"/>
                  <a:gd name="T24" fmla="*/ 5 w 103"/>
                  <a:gd name="T25" fmla="*/ 18 h 74"/>
                  <a:gd name="T26" fmla="*/ 7 w 103"/>
                  <a:gd name="T27" fmla="*/ 17 h 74"/>
                  <a:gd name="T28" fmla="*/ 10 w 103"/>
                  <a:gd name="T29" fmla="*/ 17 h 74"/>
                  <a:gd name="T30" fmla="*/ 15 w 103"/>
                  <a:gd name="T31" fmla="*/ 18 h 74"/>
                  <a:gd name="T32" fmla="*/ 18 w 103"/>
                  <a:gd name="T33" fmla="*/ 18 h 74"/>
                  <a:gd name="T34" fmla="*/ 23 w 103"/>
                  <a:gd name="T35" fmla="*/ 19 h 74"/>
                  <a:gd name="T36" fmla="*/ 25 w 103"/>
                  <a:gd name="T37" fmla="*/ 22 h 74"/>
                  <a:gd name="T38" fmla="*/ 20 w 103"/>
                  <a:gd name="T39" fmla="*/ 27 h 74"/>
                  <a:gd name="T40" fmla="*/ 20 w 103"/>
                  <a:gd name="T41" fmla="*/ 34 h 74"/>
                  <a:gd name="T42" fmla="*/ 19 w 103"/>
                  <a:gd name="T43" fmla="*/ 40 h 74"/>
                  <a:gd name="T44" fmla="*/ 17 w 103"/>
                  <a:gd name="T45" fmla="*/ 43 h 74"/>
                  <a:gd name="T46" fmla="*/ 19 w 103"/>
                  <a:gd name="T47" fmla="*/ 47 h 74"/>
                  <a:gd name="T48" fmla="*/ 17 w 103"/>
                  <a:gd name="T49" fmla="*/ 52 h 74"/>
                  <a:gd name="T50" fmla="*/ 19 w 103"/>
                  <a:gd name="T51" fmla="*/ 56 h 74"/>
                  <a:gd name="T52" fmla="*/ 16 w 103"/>
                  <a:gd name="T53" fmla="*/ 61 h 74"/>
                  <a:gd name="T54" fmla="*/ 17 w 103"/>
                  <a:gd name="T55" fmla="*/ 63 h 74"/>
                  <a:gd name="T56" fmla="*/ 21 w 103"/>
                  <a:gd name="T57" fmla="*/ 64 h 74"/>
                  <a:gd name="T58" fmla="*/ 31 w 103"/>
                  <a:gd name="T59" fmla="*/ 73 h 74"/>
                  <a:gd name="T60" fmla="*/ 33 w 103"/>
                  <a:gd name="T61" fmla="*/ 70 h 74"/>
                  <a:gd name="T62" fmla="*/ 37 w 103"/>
                  <a:gd name="T63" fmla="*/ 70 h 74"/>
                  <a:gd name="T64" fmla="*/ 45 w 103"/>
                  <a:gd name="T65" fmla="*/ 67 h 74"/>
                  <a:gd name="T66" fmla="*/ 55 w 103"/>
                  <a:gd name="T67" fmla="*/ 67 h 74"/>
                  <a:gd name="T68" fmla="*/ 61 w 103"/>
                  <a:gd name="T69" fmla="*/ 64 h 74"/>
                  <a:gd name="T70" fmla="*/ 67 w 103"/>
                  <a:gd name="T71" fmla="*/ 60 h 74"/>
                  <a:gd name="T72" fmla="*/ 70 w 103"/>
                  <a:gd name="T73" fmla="*/ 54 h 74"/>
                  <a:gd name="T74" fmla="*/ 76 w 103"/>
                  <a:gd name="T75" fmla="*/ 48 h 74"/>
                  <a:gd name="T76" fmla="*/ 76 w 103"/>
                  <a:gd name="T77" fmla="*/ 36 h 74"/>
                  <a:gd name="T78" fmla="*/ 83 w 103"/>
                  <a:gd name="T79" fmla="*/ 28 h 74"/>
                  <a:gd name="T80" fmla="*/ 90 w 103"/>
                  <a:gd name="T81" fmla="*/ 24 h 74"/>
                  <a:gd name="T82" fmla="*/ 99 w 103"/>
                  <a:gd name="T83" fmla="*/ 20 h 74"/>
                  <a:gd name="T84" fmla="*/ 102 w 103"/>
                  <a:gd name="T85" fmla="*/ 13 h 74"/>
                  <a:gd name="T86" fmla="*/ 103 w 103"/>
                  <a:gd name="T87" fmla="*/ 39 h 74"/>
                  <a:gd name="T88" fmla="*/ 96 w 103"/>
                  <a:gd name="T89" fmla="*/ 41 h 74"/>
                  <a:gd name="T90" fmla="*/ 103 w 103"/>
                  <a:gd name="T9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3" h="74">
                    <a:moveTo>
                      <a:pt x="102" y="13"/>
                    </a:moveTo>
                    <a:cubicBezTo>
                      <a:pt x="99" y="13"/>
                      <a:pt x="96" y="13"/>
                      <a:pt x="94" y="13"/>
                    </a:cubicBezTo>
                    <a:cubicBezTo>
                      <a:pt x="91" y="12"/>
                      <a:pt x="86" y="12"/>
                      <a:pt x="84" y="10"/>
                    </a:cubicBezTo>
                    <a:cubicBezTo>
                      <a:pt x="83" y="9"/>
                      <a:pt x="81" y="8"/>
                      <a:pt x="81" y="10"/>
                    </a:cubicBezTo>
                    <a:cubicBezTo>
                      <a:pt x="81" y="11"/>
                      <a:pt x="77" y="12"/>
                      <a:pt x="74" y="10"/>
                    </a:cubicBezTo>
                    <a:cubicBezTo>
                      <a:pt x="72" y="9"/>
                      <a:pt x="68" y="8"/>
                      <a:pt x="66" y="6"/>
                    </a:cubicBezTo>
                    <a:cubicBezTo>
                      <a:pt x="66" y="6"/>
                      <a:pt x="64" y="5"/>
                      <a:pt x="62" y="4"/>
                    </a:cubicBezTo>
                    <a:cubicBezTo>
                      <a:pt x="59" y="5"/>
                      <a:pt x="53" y="2"/>
                      <a:pt x="48" y="3"/>
                    </a:cubicBezTo>
                    <a:cubicBezTo>
                      <a:pt x="43" y="3"/>
                      <a:pt x="28" y="2"/>
                      <a:pt x="21" y="2"/>
                    </a:cubicBezTo>
                    <a:cubicBezTo>
                      <a:pt x="15" y="3"/>
                      <a:pt x="15" y="0"/>
                      <a:pt x="12" y="0"/>
                    </a:cubicBezTo>
                    <a:cubicBezTo>
                      <a:pt x="8" y="0"/>
                      <a:pt x="10" y="4"/>
                      <a:pt x="5" y="4"/>
                    </a:cubicBezTo>
                    <a:cubicBezTo>
                      <a:pt x="0" y="4"/>
                      <a:pt x="0" y="7"/>
                      <a:pt x="3" y="10"/>
                    </a:cubicBezTo>
                    <a:cubicBezTo>
                      <a:pt x="5" y="11"/>
                      <a:pt x="5" y="15"/>
                      <a:pt x="5" y="18"/>
                    </a:cubicBezTo>
                    <a:cubicBezTo>
                      <a:pt x="6" y="18"/>
                      <a:pt x="6" y="17"/>
                      <a:pt x="7" y="17"/>
                    </a:cubicBezTo>
                    <a:cubicBezTo>
                      <a:pt x="8" y="15"/>
                      <a:pt x="10" y="15"/>
                      <a:pt x="10" y="17"/>
                    </a:cubicBezTo>
                    <a:cubicBezTo>
                      <a:pt x="10" y="19"/>
                      <a:pt x="13" y="18"/>
                      <a:pt x="15" y="18"/>
                    </a:cubicBezTo>
                    <a:cubicBezTo>
                      <a:pt x="16" y="18"/>
                      <a:pt x="16" y="20"/>
                      <a:pt x="18" y="18"/>
                    </a:cubicBezTo>
                    <a:cubicBezTo>
                      <a:pt x="20" y="17"/>
                      <a:pt x="23" y="17"/>
                      <a:pt x="23" y="19"/>
                    </a:cubicBezTo>
                    <a:cubicBezTo>
                      <a:pt x="23" y="21"/>
                      <a:pt x="27" y="20"/>
                      <a:pt x="25" y="22"/>
                    </a:cubicBezTo>
                    <a:cubicBezTo>
                      <a:pt x="22" y="25"/>
                      <a:pt x="20" y="25"/>
                      <a:pt x="20" y="27"/>
                    </a:cubicBezTo>
                    <a:cubicBezTo>
                      <a:pt x="20" y="29"/>
                      <a:pt x="22" y="32"/>
                      <a:pt x="20" y="34"/>
                    </a:cubicBezTo>
                    <a:cubicBezTo>
                      <a:pt x="18" y="36"/>
                      <a:pt x="21" y="40"/>
                      <a:pt x="19" y="40"/>
                    </a:cubicBezTo>
                    <a:cubicBezTo>
                      <a:pt x="17" y="40"/>
                      <a:pt x="14" y="41"/>
                      <a:pt x="17" y="43"/>
                    </a:cubicBezTo>
                    <a:cubicBezTo>
                      <a:pt x="19" y="45"/>
                      <a:pt x="21" y="47"/>
                      <a:pt x="19" y="47"/>
                    </a:cubicBezTo>
                    <a:cubicBezTo>
                      <a:pt x="17" y="47"/>
                      <a:pt x="16" y="51"/>
                      <a:pt x="17" y="52"/>
                    </a:cubicBezTo>
                    <a:cubicBezTo>
                      <a:pt x="18" y="53"/>
                      <a:pt x="22" y="55"/>
                      <a:pt x="19" y="56"/>
                    </a:cubicBezTo>
                    <a:cubicBezTo>
                      <a:pt x="16" y="56"/>
                      <a:pt x="16" y="59"/>
                      <a:pt x="16" y="61"/>
                    </a:cubicBezTo>
                    <a:cubicBezTo>
                      <a:pt x="16" y="61"/>
                      <a:pt x="16" y="62"/>
                      <a:pt x="17" y="63"/>
                    </a:cubicBezTo>
                    <a:cubicBezTo>
                      <a:pt x="18" y="63"/>
                      <a:pt x="20" y="63"/>
                      <a:pt x="21" y="64"/>
                    </a:cubicBezTo>
                    <a:cubicBezTo>
                      <a:pt x="24" y="65"/>
                      <a:pt x="26" y="74"/>
                      <a:pt x="31" y="73"/>
                    </a:cubicBezTo>
                    <a:cubicBezTo>
                      <a:pt x="33" y="73"/>
                      <a:pt x="32" y="71"/>
                      <a:pt x="33" y="70"/>
                    </a:cubicBezTo>
                    <a:cubicBezTo>
                      <a:pt x="34" y="69"/>
                      <a:pt x="35" y="70"/>
                      <a:pt x="37" y="70"/>
                    </a:cubicBezTo>
                    <a:cubicBezTo>
                      <a:pt x="39" y="70"/>
                      <a:pt x="40" y="67"/>
                      <a:pt x="45" y="67"/>
                    </a:cubicBezTo>
                    <a:cubicBezTo>
                      <a:pt x="49" y="67"/>
                      <a:pt x="52" y="67"/>
                      <a:pt x="55" y="67"/>
                    </a:cubicBezTo>
                    <a:cubicBezTo>
                      <a:pt x="58" y="67"/>
                      <a:pt x="60" y="66"/>
                      <a:pt x="61" y="64"/>
                    </a:cubicBezTo>
                    <a:cubicBezTo>
                      <a:pt x="61" y="62"/>
                      <a:pt x="64" y="60"/>
                      <a:pt x="67" y="60"/>
                    </a:cubicBezTo>
                    <a:cubicBezTo>
                      <a:pt x="70" y="59"/>
                      <a:pt x="70" y="56"/>
                      <a:pt x="70" y="54"/>
                    </a:cubicBezTo>
                    <a:cubicBezTo>
                      <a:pt x="70" y="52"/>
                      <a:pt x="76" y="49"/>
                      <a:pt x="76" y="48"/>
                    </a:cubicBezTo>
                    <a:cubicBezTo>
                      <a:pt x="76" y="46"/>
                      <a:pt x="73" y="41"/>
                      <a:pt x="76" y="36"/>
                    </a:cubicBezTo>
                    <a:cubicBezTo>
                      <a:pt x="79" y="31"/>
                      <a:pt x="83" y="31"/>
                      <a:pt x="83" y="28"/>
                    </a:cubicBezTo>
                    <a:cubicBezTo>
                      <a:pt x="83" y="26"/>
                      <a:pt x="86" y="25"/>
                      <a:pt x="90" y="24"/>
                    </a:cubicBezTo>
                    <a:cubicBezTo>
                      <a:pt x="94" y="24"/>
                      <a:pt x="95" y="21"/>
                      <a:pt x="99" y="20"/>
                    </a:cubicBezTo>
                    <a:cubicBezTo>
                      <a:pt x="102" y="19"/>
                      <a:pt x="103" y="16"/>
                      <a:pt x="102" y="13"/>
                    </a:cubicBezTo>
                    <a:close/>
                    <a:moveTo>
                      <a:pt x="103" y="39"/>
                    </a:moveTo>
                    <a:cubicBezTo>
                      <a:pt x="102" y="35"/>
                      <a:pt x="94" y="40"/>
                      <a:pt x="96" y="41"/>
                    </a:cubicBezTo>
                    <a:cubicBezTo>
                      <a:pt x="99" y="44"/>
                      <a:pt x="103" y="43"/>
                      <a:pt x="103" y="39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69" name="Freeform 118">
                <a:extLst>
                  <a:ext uri="{FF2B5EF4-FFF2-40B4-BE49-F238E27FC236}">
                    <a16:creationId xmlns:a16="http://schemas.microsoft.com/office/drawing/2014/main" id="{54653BA2-D452-4A26-9D6C-5BFA25429B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611879" y="1475840"/>
                <a:ext cx="2612355" cy="2008477"/>
              </a:xfrm>
              <a:custGeom>
                <a:avLst/>
                <a:gdLst>
                  <a:gd name="T0" fmla="*/ 146 w 717"/>
                  <a:gd name="T1" fmla="*/ 487 h 552"/>
                  <a:gd name="T2" fmla="*/ 135 w 717"/>
                  <a:gd name="T3" fmla="*/ 162 h 552"/>
                  <a:gd name="T4" fmla="*/ 276 w 717"/>
                  <a:gd name="T5" fmla="*/ 179 h 552"/>
                  <a:gd name="T6" fmla="*/ 183 w 717"/>
                  <a:gd name="T7" fmla="*/ 191 h 552"/>
                  <a:gd name="T8" fmla="*/ 275 w 717"/>
                  <a:gd name="T9" fmla="*/ 238 h 552"/>
                  <a:gd name="T10" fmla="*/ 169 w 717"/>
                  <a:gd name="T11" fmla="*/ 138 h 552"/>
                  <a:gd name="T12" fmla="*/ 148 w 717"/>
                  <a:gd name="T13" fmla="*/ 132 h 552"/>
                  <a:gd name="T14" fmla="*/ 263 w 717"/>
                  <a:gd name="T15" fmla="*/ 152 h 552"/>
                  <a:gd name="T16" fmla="*/ 212 w 717"/>
                  <a:gd name="T17" fmla="*/ 102 h 552"/>
                  <a:gd name="T18" fmla="*/ 294 w 717"/>
                  <a:gd name="T19" fmla="*/ 85 h 552"/>
                  <a:gd name="T20" fmla="*/ 297 w 717"/>
                  <a:gd name="T21" fmla="*/ 115 h 552"/>
                  <a:gd name="T22" fmla="*/ 299 w 717"/>
                  <a:gd name="T23" fmla="*/ 132 h 552"/>
                  <a:gd name="T24" fmla="*/ 387 w 717"/>
                  <a:gd name="T25" fmla="*/ 105 h 552"/>
                  <a:gd name="T26" fmla="*/ 351 w 717"/>
                  <a:gd name="T27" fmla="*/ 165 h 552"/>
                  <a:gd name="T28" fmla="*/ 490 w 717"/>
                  <a:gd name="T29" fmla="*/ 156 h 552"/>
                  <a:gd name="T30" fmla="*/ 414 w 717"/>
                  <a:gd name="T31" fmla="*/ 108 h 552"/>
                  <a:gd name="T32" fmla="*/ 426 w 717"/>
                  <a:gd name="T33" fmla="*/ 59 h 552"/>
                  <a:gd name="T34" fmla="*/ 418 w 717"/>
                  <a:gd name="T35" fmla="*/ 47 h 552"/>
                  <a:gd name="T36" fmla="*/ 452 w 717"/>
                  <a:gd name="T37" fmla="*/ 86 h 552"/>
                  <a:gd name="T38" fmla="*/ 498 w 717"/>
                  <a:gd name="T39" fmla="*/ 128 h 552"/>
                  <a:gd name="T40" fmla="*/ 567 w 717"/>
                  <a:gd name="T41" fmla="*/ 62 h 552"/>
                  <a:gd name="T42" fmla="*/ 542 w 717"/>
                  <a:gd name="T43" fmla="*/ 6 h 552"/>
                  <a:gd name="T44" fmla="*/ 406 w 717"/>
                  <a:gd name="T45" fmla="*/ 32 h 552"/>
                  <a:gd name="T46" fmla="*/ 445 w 717"/>
                  <a:gd name="T47" fmla="*/ 314 h 552"/>
                  <a:gd name="T48" fmla="*/ 590 w 717"/>
                  <a:gd name="T49" fmla="*/ 242 h 552"/>
                  <a:gd name="T50" fmla="*/ 532 w 717"/>
                  <a:gd name="T51" fmla="*/ 194 h 552"/>
                  <a:gd name="T52" fmla="*/ 445 w 717"/>
                  <a:gd name="T53" fmla="*/ 178 h 552"/>
                  <a:gd name="T54" fmla="*/ 502 w 717"/>
                  <a:gd name="T55" fmla="*/ 220 h 552"/>
                  <a:gd name="T56" fmla="*/ 525 w 717"/>
                  <a:gd name="T57" fmla="*/ 292 h 552"/>
                  <a:gd name="T58" fmla="*/ 606 w 717"/>
                  <a:gd name="T59" fmla="*/ 298 h 552"/>
                  <a:gd name="T60" fmla="*/ 487 w 717"/>
                  <a:gd name="T61" fmla="*/ 171 h 552"/>
                  <a:gd name="T62" fmla="*/ 687 w 717"/>
                  <a:gd name="T63" fmla="*/ 457 h 552"/>
                  <a:gd name="T64" fmla="*/ 78 w 717"/>
                  <a:gd name="T65" fmla="*/ 448 h 552"/>
                  <a:gd name="T66" fmla="*/ 585 w 717"/>
                  <a:gd name="T67" fmla="*/ 489 h 552"/>
                  <a:gd name="T68" fmla="*/ 687 w 717"/>
                  <a:gd name="T69" fmla="*/ 434 h 552"/>
                  <a:gd name="T70" fmla="*/ 638 w 717"/>
                  <a:gd name="T71" fmla="*/ 399 h 552"/>
                  <a:gd name="T72" fmla="*/ 602 w 717"/>
                  <a:gd name="T73" fmla="*/ 376 h 552"/>
                  <a:gd name="T74" fmla="*/ 544 w 717"/>
                  <a:gd name="T75" fmla="*/ 330 h 552"/>
                  <a:gd name="T76" fmla="*/ 519 w 717"/>
                  <a:gd name="T77" fmla="*/ 387 h 552"/>
                  <a:gd name="T78" fmla="*/ 475 w 717"/>
                  <a:gd name="T79" fmla="*/ 440 h 552"/>
                  <a:gd name="T80" fmla="*/ 384 w 717"/>
                  <a:gd name="T81" fmla="*/ 375 h 552"/>
                  <a:gd name="T82" fmla="*/ 413 w 717"/>
                  <a:gd name="T83" fmla="*/ 307 h 552"/>
                  <a:gd name="T84" fmla="*/ 463 w 717"/>
                  <a:gd name="T85" fmla="*/ 276 h 552"/>
                  <a:gd name="T86" fmla="*/ 454 w 717"/>
                  <a:gd name="T87" fmla="*/ 242 h 552"/>
                  <a:gd name="T88" fmla="*/ 413 w 717"/>
                  <a:gd name="T89" fmla="*/ 245 h 552"/>
                  <a:gd name="T90" fmla="*/ 383 w 717"/>
                  <a:gd name="T91" fmla="*/ 193 h 552"/>
                  <a:gd name="T92" fmla="*/ 369 w 717"/>
                  <a:gd name="T93" fmla="*/ 208 h 552"/>
                  <a:gd name="T94" fmla="*/ 362 w 717"/>
                  <a:gd name="T95" fmla="*/ 259 h 552"/>
                  <a:gd name="T96" fmla="*/ 351 w 717"/>
                  <a:gd name="T97" fmla="*/ 248 h 552"/>
                  <a:gd name="T98" fmla="*/ 285 w 717"/>
                  <a:gd name="T99" fmla="*/ 248 h 552"/>
                  <a:gd name="T100" fmla="*/ 191 w 717"/>
                  <a:gd name="T101" fmla="*/ 242 h 552"/>
                  <a:gd name="T102" fmla="*/ 69 w 717"/>
                  <a:gd name="T103" fmla="*/ 243 h 552"/>
                  <a:gd name="T104" fmla="*/ 33 w 717"/>
                  <a:gd name="T105" fmla="*/ 243 h 552"/>
                  <a:gd name="T106" fmla="*/ 90 w 717"/>
                  <a:gd name="T107" fmla="*/ 419 h 552"/>
                  <a:gd name="T108" fmla="*/ 129 w 717"/>
                  <a:gd name="T109" fmla="*/ 469 h 552"/>
                  <a:gd name="T110" fmla="*/ 444 w 717"/>
                  <a:gd name="T111" fmla="*/ 491 h 552"/>
                  <a:gd name="T112" fmla="*/ 500 w 717"/>
                  <a:gd name="T113" fmla="*/ 546 h 552"/>
                  <a:gd name="T114" fmla="*/ 617 w 717"/>
                  <a:gd name="T115" fmla="*/ 515 h 552"/>
                  <a:gd name="T116" fmla="*/ 173 w 717"/>
                  <a:gd name="T117" fmla="*/ 290 h 552"/>
                  <a:gd name="T118" fmla="*/ 172 w 717"/>
                  <a:gd name="T119" fmla="*/ 279 h 552"/>
                  <a:gd name="T120" fmla="*/ 359 w 717"/>
                  <a:gd name="T121" fmla="*/ 468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17" h="552">
                    <a:moveTo>
                      <a:pt x="141" y="484"/>
                    </a:moveTo>
                    <a:cubicBezTo>
                      <a:pt x="139" y="481"/>
                      <a:pt x="133" y="482"/>
                      <a:pt x="132" y="479"/>
                    </a:cubicBezTo>
                    <a:cubicBezTo>
                      <a:pt x="131" y="477"/>
                      <a:pt x="126" y="469"/>
                      <a:pt x="123" y="469"/>
                    </a:cubicBezTo>
                    <a:cubicBezTo>
                      <a:pt x="120" y="469"/>
                      <a:pt x="116" y="469"/>
                      <a:pt x="112" y="467"/>
                    </a:cubicBezTo>
                    <a:cubicBezTo>
                      <a:pt x="109" y="464"/>
                      <a:pt x="106" y="464"/>
                      <a:pt x="104" y="465"/>
                    </a:cubicBezTo>
                    <a:cubicBezTo>
                      <a:pt x="101" y="467"/>
                      <a:pt x="106" y="467"/>
                      <a:pt x="106" y="469"/>
                    </a:cubicBezTo>
                    <a:cubicBezTo>
                      <a:pt x="106" y="471"/>
                      <a:pt x="108" y="472"/>
                      <a:pt x="110" y="472"/>
                    </a:cubicBezTo>
                    <a:cubicBezTo>
                      <a:pt x="112" y="471"/>
                      <a:pt x="113" y="476"/>
                      <a:pt x="115" y="476"/>
                    </a:cubicBezTo>
                    <a:cubicBezTo>
                      <a:pt x="118" y="476"/>
                      <a:pt x="118" y="479"/>
                      <a:pt x="121" y="479"/>
                    </a:cubicBezTo>
                    <a:cubicBezTo>
                      <a:pt x="123" y="479"/>
                      <a:pt x="124" y="482"/>
                      <a:pt x="125" y="484"/>
                    </a:cubicBezTo>
                    <a:cubicBezTo>
                      <a:pt x="126" y="486"/>
                      <a:pt x="129" y="484"/>
                      <a:pt x="129" y="486"/>
                    </a:cubicBezTo>
                    <a:cubicBezTo>
                      <a:pt x="129" y="487"/>
                      <a:pt x="132" y="488"/>
                      <a:pt x="133" y="490"/>
                    </a:cubicBezTo>
                    <a:cubicBezTo>
                      <a:pt x="138" y="491"/>
                      <a:pt x="142" y="491"/>
                      <a:pt x="145" y="490"/>
                    </a:cubicBezTo>
                    <a:cubicBezTo>
                      <a:pt x="146" y="489"/>
                      <a:pt x="146" y="488"/>
                      <a:pt x="146" y="487"/>
                    </a:cubicBezTo>
                    <a:cubicBezTo>
                      <a:pt x="148" y="485"/>
                      <a:pt x="144" y="486"/>
                      <a:pt x="141" y="484"/>
                    </a:cubicBezTo>
                    <a:close/>
                    <a:moveTo>
                      <a:pt x="135" y="200"/>
                    </a:moveTo>
                    <a:cubicBezTo>
                      <a:pt x="142" y="202"/>
                      <a:pt x="142" y="213"/>
                      <a:pt x="147" y="213"/>
                    </a:cubicBezTo>
                    <a:cubicBezTo>
                      <a:pt x="150" y="213"/>
                      <a:pt x="147" y="210"/>
                      <a:pt x="152" y="210"/>
                    </a:cubicBezTo>
                    <a:cubicBezTo>
                      <a:pt x="157" y="210"/>
                      <a:pt x="156" y="207"/>
                      <a:pt x="160" y="208"/>
                    </a:cubicBezTo>
                    <a:cubicBezTo>
                      <a:pt x="164" y="208"/>
                      <a:pt x="168" y="206"/>
                      <a:pt x="168" y="201"/>
                    </a:cubicBezTo>
                    <a:cubicBezTo>
                      <a:pt x="168" y="196"/>
                      <a:pt x="171" y="195"/>
                      <a:pt x="175" y="194"/>
                    </a:cubicBezTo>
                    <a:cubicBezTo>
                      <a:pt x="179" y="193"/>
                      <a:pt x="176" y="187"/>
                      <a:pt x="182" y="186"/>
                    </a:cubicBezTo>
                    <a:cubicBezTo>
                      <a:pt x="188" y="184"/>
                      <a:pt x="204" y="177"/>
                      <a:pt x="207" y="175"/>
                    </a:cubicBezTo>
                    <a:cubicBezTo>
                      <a:pt x="210" y="173"/>
                      <a:pt x="204" y="170"/>
                      <a:pt x="197" y="166"/>
                    </a:cubicBezTo>
                    <a:cubicBezTo>
                      <a:pt x="191" y="162"/>
                      <a:pt x="186" y="161"/>
                      <a:pt x="181" y="164"/>
                    </a:cubicBezTo>
                    <a:cubicBezTo>
                      <a:pt x="176" y="168"/>
                      <a:pt x="180" y="161"/>
                      <a:pt x="176" y="163"/>
                    </a:cubicBezTo>
                    <a:cubicBezTo>
                      <a:pt x="172" y="164"/>
                      <a:pt x="161" y="160"/>
                      <a:pt x="160" y="158"/>
                    </a:cubicBezTo>
                    <a:cubicBezTo>
                      <a:pt x="158" y="156"/>
                      <a:pt x="139" y="162"/>
                      <a:pt x="135" y="162"/>
                    </a:cubicBezTo>
                    <a:cubicBezTo>
                      <a:pt x="130" y="162"/>
                      <a:pt x="135" y="167"/>
                      <a:pt x="138" y="169"/>
                    </a:cubicBezTo>
                    <a:cubicBezTo>
                      <a:pt x="141" y="172"/>
                      <a:pt x="130" y="180"/>
                      <a:pt x="132" y="181"/>
                    </a:cubicBezTo>
                    <a:cubicBezTo>
                      <a:pt x="135" y="183"/>
                      <a:pt x="130" y="188"/>
                      <a:pt x="125" y="194"/>
                    </a:cubicBezTo>
                    <a:cubicBezTo>
                      <a:pt x="120" y="199"/>
                      <a:pt x="129" y="199"/>
                      <a:pt x="135" y="200"/>
                    </a:cubicBezTo>
                    <a:close/>
                    <a:moveTo>
                      <a:pt x="314" y="230"/>
                    </a:moveTo>
                    <a:cubicBezTo>
                      <a:pt x="316" y="227"/>
                      <a:pt x="325" y="235"/>
                      <a:pt x="325" y="229"/>
                    </a:cubicBezTo>
                    <a:cubicBezTo>
                      <a:pt x="325" y="224"/>
                      <a:pt x="315" y="221"/>
                      <a:pt x="311" y="219"/>
                    </a:cubicBezTo>
                    <a:cubicBezTo>
                      <a:pt x="306" y="216"/>
                      <a:pt x="305" y="217"/>
                      <a:pt x="298" y="212"/>
                    </a:cubicBezTo>
                    <a:cubicBezTo>
                      <a:pt x="291" y="207"/>
                      <a:pt x="300" y="205"/>
                      <a:pt x="295" y="201"/>
                    </a:cubicBezTo>
                    <a:cubicBezTo>
                      <a:pt x="290" y="197"/>
                      <a:pt x="288" y="186"/>
                      <a:pt x="291" y="183"/>
                    </a:cubicBezTo>
                    <a:cubicBezTo>
                      <a:pt x="295" y="179"/>
                      <a:pt x="299" y="174"/>
                      <a:pt x="293" y="171"/>
                    </a:cubicBezTo>
                    <a:cubicBezTo>
                      <a:pt x="286" y="169"/>
                      <a:pt x="276" y="173"/>
                      <a:pt x="277" y="175"/>
                    </a:cubicBezTo>
                    <a:cubicBezTo>
                      <a:pt x="278" y="176"/>
                      <a:pt x="287" y="181"/>
                      <a:pt x="287" y="183"/>
                    </a:cubicBezTo>
                    <a:cubicBezTo>
                      <a:pt x="287" y="185"/>
                      <a:pt x="279" y="177"/>
                      <a:pt x="276" y="179"/>
                    </a:cubicBezTo>
                    <a:cubicBezTo>
                      <a:pt x="273" y="181"/>
                      <a:pt x="270" y="175"/>
                      <a:pt x="267" y="179"/>
                    </a:cubicBezTo>
                    <a:cubicBezTo>
                      <a:pt x="265" y="183"/>
                      <a:pt x="270" y="195"/>
                      <a:pt x="273" y="199"/>
                    </a:cubicBezTo>
                    <a:cubicBezTo>
                      <a:pt x="275" y="202"/>
                      <a:pt x="270" y="202"/>
                      <a:pt x="268" y="203"/>
                    </a:cubicBezTo>
                    <a:cubicBezTo>
                      <a:pt x="265" y="204"/>
                      <a:pt x="264" y="193"/>
                      <a:pt x="262" y="189"/>
                    </a:cubicBezTo>
                    <a:cubicBezTo>
                      <a:pt x="259" y="185"/>
                      <a:pt x="247" y="180"/>
                      <a:pt x="247" y="183"/>
                    </a:cubicBezTo>
                    <a:cubicBezTo>
                      <a:pt x="246" y="186"/>
                      <a:pt x="254" y="186"/>
                      <a:pt x="253" y="190"/>
                    </a:cubicBezTo>
                    <a:cubicBezTo>
                      <a:pt x="252" y="194"/>
                      <a:pt x="247" y="188"/>
                      <a:pt x="243" y="191"/>
                    </a:cubicBezTo>
                    <a:cubicBezTo>
                      <a:pt x="239" y="194"/>
                      <a:pt x="240" y="192"/>
                      <a:pt x="241" y="189"/>
                    </a:cubicBezTo>
                    <a:cubicBezTo>
                      <a:pt x="242" y="185"/>
                      <a:pt x="235" y="182"/>
                      <a:pt x="228" y="183"/>
                    </a:cubicBezTo>
                    <a:cubicBezTo>
                      <a:pt x="221" y="183"/>
                      <a:pt x="225" y="188"/>
                      <a:pt x="223" y="190"/>
                    </a:cubicBezTo>
                    <a:cubicBezTo>
                      <a:pt x="221" y="192"/>
                      <a:pt x="210" y="189"/>
                      <a:pt x="217" y="188"/>
                    </a:cubicBezTo>
                    <a:cubicBezTo>
                      <a:pt x="223" y="186"/>
                      <a:pt x="221" y="182"/>
                      <a:pt x="218" y="178"/>
                    </a:cubicBezTo>
                    <a:cubicBezTo>
                      <a:pt x="216" y="174"/>
                      <a:pt x="209" y="179"/>
                      <a:pt x="198" y="183"/>
                    </a:cubicBezTo>
                    <a:cubicBezTo>
                      <a:pt x="187" y="187"/>
                      <a:pt x="182" y="191"/>
                      <a:pt x="183" y="191"/>
                    </a:cubicBezTo>
                    <a:cubicBezTo>
                      <a:pt x="184" y="192"/>
                      <a:pt x="185" y="194"/>
                      <a:pt x="181" y="197"/>
                    </a:cubicBezTo>
                    <a:cubicBezTo>
                      <a:pt x="176" y="201"/>
                      <a:pt x="181" y="204"/>
                      <a:pt x="184" y="204"/>
                    </a:cubicBezTo>
                    <a:cubicBezTo>
                      <a:pt x="188" y="204"/>
                      <a:pt x="185" y="207"/>
                      <a:pt x="188" y="208"/>
                    </a:cubicBezTo>
                    <a:cubicBezTo>
                      <a:pt x="190" y="209"/>
                      <a:pt x="203" y="203"/>
                      <a:pt x="207" y="205"/>
                    </a:cubicBezTo>
                    <a:cubicBezTo>
                      <a:pt x="210" y="208"/>
                      <a:pt x="186" y="209"/>
                      <a:pt x="186" y="214"/>
                    </a:cubicBezTo>
                    <a:cubicBezTo>
                      <a:pt x="186" y="218"/>
                      <a:pt x="199" y="220"/>
                      <a:pt x="209" y="219"/>
                    </a:cubicBezTo>
                    <a:cubicBezTo>
                      <a:pt x="219" y="217"/>
                      <a:pt x="237" y="220"/>
                      <a:pt x="237" y="222"/>
                    </a:cubicBezTo>
                    <a:cubicBezTo>
                      <a:pt x="237" y="225"/>
                      <a:pt x="225" y="224"/>
                      <a:pt x="216" y="224"/>
                    </a:cubicBezTo>
                    <a:cubicBezTo>
                      <a:pt x="207" y="224"/>
                      <a:pt x="192" y="226"/>
                      <a:pt x="192" y="229"/>
                    </a:cubicBezTo>
                    <a:cubicBezTo>
                      <a:pt x="193" y="232"/>
                      <a:pt x="194" y="232"/>
                      <a:pt x="203" y="237"/>
                    </a:cubicBezTo>
                    <a:cubicBezTo>
                      <a:pt x="213" y="241"/>
                      <a:pt x="222" y="235"/>
                      <a:pt x="222" y="241"/>
                    </a:cubicBezTo>
                    <a:cubicBezTo>
                      <a:pt x="222" y="247"/>
                      <a:pt x="227" y="248"/>
                      <a:pt x="239" y="249"/>
                    </a:cubicBezTo>
                    <a:cubicBezTo>
                      <a:pt x="252" y="249"/>
                      <a:pt x="258" y="243"/>
                      <a:pt x="264" y="243"/>
                    </a:cubicBezTo>
                    <a:cubicBezTo>
                      <a:pt x="270" y="244"/>
                      <a:pt x="273" y="242"/>
                      <a:pt x="275" y="238"/>
                    </a:cubicBezTo>
                    <a:cubicBezTo>
                      <a:pt x="278" y="234"/>
                      <a:pt x="281" y="236"/>
                      <a:pt x="281" y="239"/>
                    </a:cubicBezTo>
                    <a:cubicBezTo>
                      <a:pt x="282" y="241"/>
                      <a:pt x="290" y="240"/>
                      <a:pt x="292" y="242"/>
                    </a:cubicBezTo>
                    <a:cubicBezTo>
                      <a:pt x="296" y="247"/>
                      <a:pt x="311" y="245"/>
                      <a:pt x="317" y="242"/>
                    </a:cubicBezTo>
                    <a:cubicBezTo>
                      <a:pt x="323" y="240"/>
                      <a:pt x="315" y="232"/>
                      <a:pt x="312" y="235"/>
                    </a:cubicBezTo>
                    <a:cubicBezTo>
                      <a:pt x="309" y="239"/>
                      <a:pt x="306" y="237"/>
                      <a:pt x="306" y="235"/>
                    </a:cubicBezTo>
                    <a:cubicBezTo>
                      <a:pt x="305" y="233"/>
                      <a:pt x="311" y="232"/>
                      <a:pt x="314" y="230"/>
                    </a:cubicBezTo>
                    <a:close/>
                    <a:moveTo>
                      <a:pt x="178" y="142"/>
                    </a:moveTo>
                    <a:cubicBezTo>
                      <a:pt x="184" y="143"/>
                      <a:pt x="191" y="137"/>
                      <a:pt x="191" y="134"/>
                    </a:cubicBezTo>
                    <a:cubicBezTo>
                      <a:pt x="190" y="130"/>
                      <a:pt x="175" y="142"/>
                      <a:pt x="178" y="142"/>
                    </a:cubicBezTo>
                    <a:close/>
                    <a:moveTo>
                      <a:pt x="148" y="132"/>
                    </a:moveTo>
                    <a:cubicBezTo>
                      <a:pt x="151" y="133"/>
                      <a:pt x="148" y="138"/>
                      <a:pt x="151" y="137"/>
                    </a:cubicBezTo>
                    <a:cubicBezTo>
                      <a:pt x="154" y="135"/>
                      <a:pt x="155" y="135"/>
                      <a:pt x="157" y="135"/>
                    </a:cubicBezTo>
                    <a:cubicBezTo>
                      <a:pt x="161" y="137"/>
                      <a:pt x="162" y="133"/>
                      <a:pt x="163" y="132"/>
                    </a:cubicBezTo>
                    <a:cubicBezTo>
                      <a:pt x="165" y="130"/>
                      <a:pt x="165" y="138"/>
                      <a:pt x="169" y="138"/>
                    </a:cubicBezTo>
                    <a:cubicBezTo>
                      <a:pt x="173" y="138"/>
                      <a:pt x="172" y="129"/>
                      <a:pt x="176" y="132"/>
                    </a:cubicBezTo>
                    <a:cubicBezTo>
                      <a:pt x="179" y="134"/>
                      <a:pt x="181" y="131"/>
                      <a:pt x="181" y="128"/>
                    </a:cubicBezTo>
                    <a:cubicBezTo>
                      <a:pt x="182" y="126"/>
                      <a:pt x="182" y="122"/>
                      <a:pt x="186" y="121"/>
                    </a:cubicBezTo>
                    <a:cubicBezTo>
                      <a:pt x="190" y="120"/>
                      <a:pt x="187" y="125"/>
                      <a:pt x="188" y="128"/>
                    </a:cubicBezTo>
                    <a:cubicBezTo>
                      <a:pt x="191" y="133"/>
                      <a:pt x="196" y="128"/>
                      <a:pt x="196" y="126"/>
                    </a:cubicBezTo>
                    <a:cubicBezTo>
                      <a:pt x="196" y="124"/>
                      <a:pt x="203" y="125"/>
                      <a:pt x="202" y="123"/>
                    </a:cubicBezTo>
                    <a:cubicBezTo>
                      <a:pt x="202" y="120"/>
                      <a:pt x="204" y="120"/>
                      <a:pt x="202" y="117"/>
                    </a:cubicBezTo>
                    <a:cubicBezTo>
                      <a:pt x="201" y="114"/>
                      <a:pt x="205" y="115"/>
                      <a:pt x="207" y="113"/>
                    </a:cubicBezTo>
                    <a:cubicBezTo>
                      <a:pt x="209" y="110"/>
                      <a:pt x="204" y="112"/>
                      <a:pt x="201" y="109"/>
                    </a:cubicBezTo>
                    <a:cubicBezTo>
                      <a:pt x="197" y="106"/>
                      <a:pt x="196" y="110"/>
                      <a:pt x="196" y="112"/>
                    </a:cubicBezTo>
                    <a:cubicBezTo>
                      <a:pt x="196" y="114"/>
                      <a:pt x="189" y="113"/>
                      <a:pt x="185" y="111"/>
                    </a:cubicBezTo>
                    <a:cubicBezTo>
                      <a:pt x="181" y="110"/>
                      <a:pt x="176" y="116"/>
                      <a:pt x="171" y="119"/>
                    </a:cubicBezTo>
                    <a:cubicBezTo>
                      <a:pt x="165" y="122"/>
                      <a:pt x="165" y="127"/>
                      <a:pt x="159" y="126"/>
                    </a:cubicBezTo>
                    <a:cubicBezTo>
                      <a:pt x="154" y="126"/>
                      <a:pt x="146" y="131"/>
                      <a:pt x="148" y="132"/>
                    </a:cubicBezTo>
                    <a:close/>
                    <a:moveTo>
                      <a:pt x="204" y="130"/>
                    </a:moveTo>
                    <a:cubicBezTo>
                      <a:pt x="199" y="130"/>
                      <a:pt x="199" y="135"/>
                      <a:pt x="205" y="135"/>
                    </a:cubicBezTo>
                    <a:cubicBezTo>
                      <a:pt x="211" y="135"/>
                      <a:pt x="213" y="137"/>
                      <a:pt x="204" y="137"/>
                    </a:cubicBezTo>
                    <a:cubicBezTo>
                      <a:pt x="196" y="137"/>
                      <a:pt x="193" y="144"/>
                      <a:pt x="198" y="142"/>
                    </a:cubicBezTo>
                    <a:cubicBezTo>
                      <a:pt x="204" y="141"/>
                      <a:pt x="211" y="141"/>
                      <a:pt x="207" y="142"/>
                    </a:cubicBezTo>
                    <a:cubicBezTo>
                      <a:pt x="202" y="144"/>
                      <a:pt x="191" y="145"/>
                      <a:pt x="192" y="147"/>
                    </a:cubicBezTo>
                    <a:cubicBezTo>
                      <a:pt x="193" y="148"/>
                      <a:pt x="198" y="148"/>
                      <a:pt x="203" y="150"/>
                    </a:cubicBezTo>
                    <a:cubicBezTo>
                      <a:pt x="207" y="152"/>
                      <a:pt x="210" y="153"/>
                      <a:pt x="214" y="149"/>
                    </a:cubicBezTo>
                    <a:cubicBezTo>
                      <a:pt x="217" y="145"/>
                      <a:pt x="222" y="141"/>
                      <a:pt x="220" y="146"/>
                    </a:cubicBezTo>
                    <a:cubicBezTo>
                      <a:pt x="218" y="152"/>
                      <a:pt x="226" y="148"/>
                      <a:pt x="235" y="147"/>
                    </a:cubicBezTo>
                    <a:cubicBezTo>
                      <a:pt x="245" y="147"/>
                      <a:pt x="234" y="153"/>
                      <a:pt x="224" y="154"/>
                    </a:cubicBezTo>
                    <a:cubicBezTo>
                      <a:pt x="214" y="154"/>
                      <a:pt x="216" y="159"/>
                      <a:pt x="223" y="161"/>
                    </a:cubicBezTo>
                    <a:cubicBezTo>
                      <a:pt x="231" y="163"/>
                      <a:pt x="248" y="156"/>
                      <a:pt x="252" y="152"/>
                    </a:cubicBezTo>
                    <a:cubicBezTo>
                      <a:pt x="256" y="148"/>
                      <a:pt x="259" y="154"/>
                      <a:pt x="263" y="152"/>
                    </a:cubicBezTo>
                    <a:cubicBezTo>
                      <a:pt x="267" y="149"/>
                      <a:pt x="275" y="152"/>
                      <a:pt x="281" y="150"/>
                    </a:cubicBezTo>
                    <a:cubicBezTo>
                      <a:pt x="288" y="149"/>
                      <a:pt x="289" y="136"/>
                      <a:pt x="284" y="134"/>
                    </a:cubicBezTo>
                    <a:cubicBezTo>
                      <a:pt x="279" y="132"/>
                      <a:pt x="279" y="137"/>
                      <a:pt x="275" y="137"/>
                    </a:cubicBezTo>
                    <a:cubicBezTo>
                      <a:pt x="272" y="138"/>
                      <a:pt x="269" y="133"/>
                      <a:pt x="266" y="130"/>
                    </a:cubicBezTo>
                    <a:cubicBezTo>
                      <a:pt x="263" y="127"/>
                      <a:pt x="265" y="120"/>
                      <a:pt x="260" y="121"/>
                    </a:cubicBezTo>
                    <a:cubicBezTo>
                      <a:pt x="256" y="122"/>
                      <a:pt x="246" y="129"/>
                      <a:pt x="252" y="130"/>
                    </a:cubicBezTo>
                    <a:cubicBezTo>
                      <a:pt x="258" y="131"/>
                      <a:pt x="256" y="134"/>
                      <a:pt x="253" y="135"/>
                    </a:cubicBezTo>
                    <a:cubicBezTo>
                      <a:pt x="249" y="137"/>
                      <a:pt x="260" y="139"/>
                      <a:pt x="259" y="142"/>
                    </a:cubicBezTo>
                    <a:cubicBezTo>
                      <a:pt x="257" y="144"/>
                      <a:pt x="241" y="142"/>
                      <a:pt x="240" y="138"/>
                    </a:cubicBezTo>
                    <a:cubicBezTo>
                      <a:pt x="239" y="135"/>
                      <a:pt x="227" y="128"/>
                      <a:pt x="221" y="130"/>
                    </a:cubicBezTo>
                    <a:cubicBezTo>
                      <a:pt x="216" y="131"/>
                      <a:pt x="218" y="125"/>
                      <a:pt x="213" y="125"/>
                    </a:cubicBezTo>
                    <a:cubicBezTo>
                      <a:pt x="207" y="125"/>
                      <a:pt x="209" y="130"/>
                      <a:pt x="204" y="130"/>
                    </a:cubicBezTo>
                    <a:close/>
                    <a:moveTo>
                      <a:pt x="223" y="104"/>
                    </a:moveTo>
                    <a:cubicBezTo>
                      <a:pt x="224" y="100"/>
                      <a:pt x="211" y="101"/>
                      <a:pt x="212" y="102"/>
                    </a:cubicBezTo>
                    <a:cubicBezTo>
                      <a:pt x="214" y="105"/>
                      <a:pt x="221" y="109"/>
                      <a:pt x="223" y="104"/>
                    </a:cubicBezTo>
                    <a:close/>
                    <a:moveTo>
                      <a:pt x="252" y="103"/>
                    </a:moveTo>
                    <a:cubicBezTo>
                      <a:pt x="257" y="102"/>
                      <a:pt x="255" y="98"/>
                      <a:pt x="247" y="99"/>
                    </a:cubicBezTo>
                    <a:cubicBezTo>
                      <a:pt x="240" y="100"/>
                      <a:pt x="227" y="100"/>
                      <a:pt x="227" y="106"/>
                    </a:cubicBezTo>
                    <a:cubicBezTo>
                      <a:pt x="227" y="110"/>
                      <a:pt x="229" y="112"/>
                      <a:pt x="238" y="113"/>
                    </a:cubicBezTo>
                    <a:cubicBezTo>
                      <a:pt x="246" y="114"/>
                      <a:pt x="253" y="106"/>
                      <a:pt x="249" y="106"/>
                    </a:cubicBezTo>
                    <a:cubicBezTo>
                      <a:pt x="245" y="106"/>
                      <a:pt x="248" y="103"/>
                      <a:pt x="252" y="103"/>
                    </a:cubicBezTo>
                    <a:close/>
                    <a:moveTo>
                      <a:pt x="235" y="96"/>
                    </a:moveTo>
                    <a:cubicBezTo>
                      <a:pt x="238" y="97"/>
                      <a:pt x="242" y="93"/>
                      <a:pt x="244" y="95"/>
                    </a:cubicBezTo>
                    <a:cubicBezTo>
                      <a:pt x="247" y="97"/>
                      <a:pt x="258" y="99"/>
                      <a:pt x="258" y="93"/>
                    </a:cubicBezTo>
                    <a:cubicBezTo>
                      <a:pt x="258" y="87"/>
                      <a:pt x="244" y="87"/>
                      <a:pt x="240" y="89"/>
                    </a:cubicBezTo>
                    <a:cubicBezTo>
                      <a:pt x="237" y="91"/>
                      <a:pt x="221" y="92"/>
                      <a:pt x="225" y="95"/>
                    </a:cubicBezTo>
                    <a:cubicBezTo>
                      <a:pt x="228" y="97"/>
                      <a:pt x="231" y="94"/>
                      <a:pt x="235" y="96"/>
                    </a:cubicBezTo>
                    <a:close/>
                    <a:moveTo>
                      <a:pt x="294" y="85"/>
                    </a:moveTo>
                    <a:cubicBezTo>
                      <a:pt x="299" y="82"/>
                      <a:pt x="306" y="87"/>
                      <a:pt x="305" y="90"/>
                    </a:cubicBezTo>
                    <a:cubicBezTo>
                      <a:pt x="304" y="93"/>
                      <a:pt x="291" y="89"/>
                      <a:pt x="292" y="92"/>
                    </a:cubicBezTo>
                    <a:cubicBezTo>
                      <a:pt x="293" y="93"/>
                      <a:pt x="294" y="97"/>
                      <a:pt x="303" y="95"/>
                    </a:cubicBezTo>
                    <a:cubicBezTo>
                      <a:pt x="311" y="92"/>
                      <a:pt x="318" y="94"/>
                      <a:pt x="324" y="99"/>
                    </a:cubicBezTo>
                    <a:cubicBezTo>
                      <a:pt x="330" y="103"/>
                      <a:pt x="335" y="105"/>
                      <a:pt x="339" y="100"/>
                    </a:cubicBezTo>
                    <a:cubicBezTo>
                      <a:pt x="343" y="96"/>
                      <a:pt x="334" y="95"/>
                      <a:pt x="336" y="92"/>
                    </a:cubicBezTo>
                    <a:cubicBezTo>
                      <a:pt x="337" y="88"/>
                      <a:pt x="330" y="86"/>
                      <a:pt x="326" y="86"/>
                    </a:cubicBezTo>
                    <a:cubicBezTo>
                      <a:pt x="322" y="86"/>
                      <a:pt x="321" y="79"/>
                      <a:pt x="318" y="80"/>
                    </a:cubicBezTo>
                    <a:cubicBezTo>
                      <a:pt x="314" y="82"/>
                      <a:pt x="312" y="84"/>
                      <a:pt x="312" y="79"/>
                    </a:cubicBezTo>
                    <a:cubicBezTo>
                      <a:pt x="312" y="75"/>
                      <a:pt x="294" y="74"/>
                      <a:pt x="289" y="76"/>
                    </a:cubicBezTo>
                    <a:cubicBezTo>
                      <a:pt x="284" y="78"/>
                      <a:pt x="290" y="88"/>
                      <a:pt x="294" y="85"/>
                    </a:cubicBezTo>
                    <a:close/>
                    <a:moveTo>
                      <a:pt x="297" y="115"/>
                    </a:moveTo>
                    <a:cubicBezTo>
                      <a:pt x="300" y="111"/>
                      <a:pt x="285" y="100"/>
                      <a:pt x="285" y="105"/>
                    </a:cubicBezTo>
                    <a:cubicBezTo>
                      <a:pt x="284" y="110"/>
                      <a:pt x="294" y="119"/>
                      <a:pt x="297" y="115"/>
                    </a:cubicBezTo>
                    <a:close/>
                    <a:moveTo>
                      <a:pt x="343" y="68"/>
                    </a:moveTo>
                    <a:cubicBezTo>
                      <a:pt x="346" y="64"/>
                      <a:pt x="328" y="60"/>
                      <a:pt x="333" y="64"/>
                    </a:cubicBezTo>
                    <a:cubicBezTo>
                      <a:pt x="335" y="66"/>
                      <a:pt x="341" y="72"/>
                      <a:pt x="343" y="68"/>
                    </a:cubicBezTo>
                    <a:close/>
                    <a:moveTo>
                      <a:pt x="303" y="149"/>
                    </a:moveTo>
                    <a:cubicBezTo>
                      <a:pt x="305" y="146"/>
                      <a:pt x="298" y="140"/>
                      <a:pt x="295" y="145"/>
                    </a:cubicBezTo>
                    <a:cubicBezTo>
                      <a:pt x="293" y="150"/>
                      <a:pt x="300" y="152"/>
                      <a:pt x="303" y="149"/>
                    </a:cubicBezTo>
                    <a:close/>
                    <a:moveTo>
                      <a:pt x="343" y="124"/>
                    </a:moveTo>
                    <a:cubicBezTo>
                      <a:pt x="343" y="128"/>
                      <a:pt x="335" y="123"/>
                      <a:pt x="328" y="121"/>
                    </a:cubicBezTo>
                    <a:cubicBezTo>
                      <a:pt x="322" y="118"/>
                      <a:pt x="326" y="126"/>
                      <a:pt x="331" y="130"/>
                    </a:cubicBezTo>
                    <a:cubicBezTo>
                      <a:pt x="336" y="134"/>
                      <a:pt x="328" y="132"/>
                      <a:pt x="321" y="128"/>
                    </a:cubicBezTo>
                    <a:cubicBezTo>
                      <a:pt x="315" y="123"/>
                      <a:pt x="315" y="131"/>
                      <a:pt x="319" y="133"/>
                    </a:cubicBezTo>
                    <a:cubicBezTo>
                      <a:pt x="322" y="136"/>
                      <a:pt x="318" y="139"/>
                      <a:pt x="314" y="134"/>
                    </a:cubicBezTo>
                    <a:cubicBezTo>
                      <a:pt x="309" y="128"/>
                      <a:pt x="307" y="122"/>
                      <a:pt x="300" y="122"/>
                    </a:cubicBezTo>
                    <a:cubicBezTo>
                      <a:pt x="294" y="121"/>
                      <a:pt x="297" y="128"/>
                      <a:pt x="299" y="132"/>
                    </a:cubicBezTo>
                    <a:cubicBezTo>
                      <a:pt x="303" y="136"/>
                      <a:pt x="306" y="137"/>
                      <a:pt x="312" y="140"/>
                    </a:cubicBezTo>
                    <a:cubicBezTo>
                      <a:pt x="318" y="144"/>
                      <a:pt x="327" y="139"/>
                      <a:pt x="331" y="140"/>
                    </a:cubicBezTo>
                    <a:cubicBezTo>
                      <a:pt x="336" y="141"/>
                      <a:pt x="327" y="147"/>
                      <a:pt x="330" y="150"/>
                    </a:cubicBezTo>
                    <a:cubicBezTo>
                      <a:pt x="333" y="154"/>
                      <a:pt x="340" y="151"/>
                      <a:pt x="346" y="151"/>
                    </a:cubicBezTo>
                    <a:cubicBezTo>
                      <a:pt x="352" y="150"/>
                      <a:pt x="350" y="147"/>
                      <a:pt x="353" y="144"/>
                    </a:cubicBezTo>
                    <a:cubicBezTo>
                      <a:pt x="357" y="142"/>
                      <a:pt x="350" y="142"/>
                      <a:pt x="352" y="136"/>
                    </a:cubicBezTo>
                    <a:cubicBezTo>
                      <a:pt x="355" y="130"/>
                      <a:pt x="344" y="120"/>
                      <a:pt x="343" y="124"/>
                    </a:cubicBezTo>
                    <a:close/>
                    <a:moveTo>
                      <a:pt x="358" y="103"/>
                    </a:moveTo>
                    <a:cubicBezTo>
                      <a:pt x="364" y="103"/>
                      <a:pt x="368" y="102"/>
                      <a:pt x="372" y="100"/>
                    </a:cubicBezTo>
                    <a:cubicBezTo>
                      <a:pt x="377" y="99"/>
                      <a:pt x="370" y="99"/>
                      <a:pt x="373" y="94"/>
                    </a:cubicBezTo>
                    <a:cubicBezTo>
                      <a:pt x="376" y="90"/>
                      <a:pt x="365" y="90"/>
                      <a:pt x="365" y="91"/>
                    </a:cubicBezTo>
                    <a:cubicBezTo>
                      <a:pt x="364" y="93"/>
                      <a:pt x="350" y="83"/>
                      <a:pt x="348" y="86"/>
                    </a:cubicBezTo>
                    <a:cubicBezTo>
                      <a:pt x="346" y="89"/>
                      <a:pt x="353" y="103"/>
                      <a:pt x="358" y="103"/>
                    </a:cubicBezTo>
                    <a:close/>
                    <a:moveTo>
                      <a:pt x="387" y="105"/>
                    </a:moveTo>
                    <a:cubicBezTo>
                      <a:pt x="386" y="103"/>
                      <a:pt x="359" y="106"/>
                      <a:pt x="364" y="109"/>
                    </a:cubicBezTo>
                    <a:cubicBezTo>
                      <a:pt x="371" y="114"/>
                      <a:pt x="388" y="107"/>
                      <a:pt x="387" y="105"/>
                    </a:cubicBezTo>
                    <a:close/>
                    <a:moveTo>
                      <a:pt x="383" y="157"/>
                    </a:moveTo>
                    <a:cubicBezTo>
                      <a:pt x="390" y="156"/>
                      <a:pt x="386" y="149"/>
                      <a:pt x="379" y="143"/>
                    </a:cubicBezTo>
                    <a:cubicBezTo>
                      <a:pt x="372" y="138"/>
                      <a:pt x="356" y="149"/>
                      <a:pt x="359" y="151"/>
                    </a:cubicBezTo>
                    <a:cubicBezTo>
                      <a:pt x="362" y="154"/>
                      <a:pt x="377" y="157"/>
                      <a:pt x="383" y="157"/>
                    </a:cubicBezTo>
                    <a:close/>
                    <a:moveTo>
                      <a:pt x="337" y="207"/>
                    </a:moveTo>
                    <a:cubicBezTo>
                      <a:pt x="345" y="212"/>
                      <a:pt x="343" y="203"/>
                      <a:pt x="352" y="203"/>
                    </a:cubicBezTo>
                    <a:cubicBezTo>
                      <a:pt x="361" y="203"/>
                      <a:pt x="361" y="189"/>
                      <a:pt x="362" y="183"/>
                    </a:cubicBezTo>
                    <a:cubicBezTo>
                      <a:pt x="364" y="178"/>
                      <a:pt x="355" y="178"/>
                      <a:pt x="357" y="182"/>
                    </a:cubicBezTo>
                    <a:cubicBezTo>
                      <a:pt x="360" y="186"/>
                      <a:pt x="357" y="190"/>
                      <a:pt x="356" y="185"/>
                    </a:cubicBezTo>
                    <a:cubicBezTo>
                      <a:pt x="356" y="181"/>
                      <a:pt x="349" y="185"/>
                      <a:pt x="346" y="181"/>
                    </a:cubicBezTo>
                    <a:cubicBezTo>
                      <a:pt x="344" y="178"/>
                      <a:pt x="354" y="178"/>
                      <a:pt x="357" y="173"/>
                    </a:cubicBezTo>
                    <a:cubicBezTo>
                      <a:pt x="359" y="168"/>
                      <a:pt x="349" y="169"/>
                      <a:pt x="351" y="165"/>
                    </a:cubicBezTo>
                    <a:cubicBezTo>
                      <a:pt x="354" y="162"/>
                      <a:pt x="335" y="166"/>
                      <a:pt x="341" y="168"/>
                    </a:cubicBezTo>
                    <a:cubicBezTo>
                      <a:pt x="346" y="170"/>
                      <a:pt x="341" y="173"/>
                      <a:pt x="336" y="169"/>
                    </a:cubicBezTo>
                    <a:cubicBezTo>
                      <a:pt x="331" y="166"/>
                      <a:pt x="317" y="172"/>
                      <a:pt x="322" y="176"/>
                    </a:cubicBezTo>
                    <a:cubicBezTo>
                      <a:pt x="326" y="179"/>
                      <a:pt x="338" y="174"/>
                      <a:pt x="331" y="183"/>
                    </a:cubicBezTo>
                    <a:cubicBezTo>
                      <a:pt x="324" y="192"/>
                      <a:pt x="321" y="180"/>
                      <a:pt x="315" y="181"/>
                    </a:cubicBezTo>
                    <a:cubicBezTo>
                      <a:pt x="309" y="183"/>
                      <a:pt x="311" y="190"/>
                      <a:pt x="321" y="193"/>
                    </a:cubicBezTo>
                    <a:cubicBezTo>
                      <a:pt x="331" y="196"/>
                      <a:pt x="330" y="201"/>
                      <a:pt x="337" y="207"/>
                    </a:cubicBezTo>
                    <a:close/>
                    <a:moveTo>
                      <a:pt x="396" y="150"/>
                    </a:moveTo>
                    <a:cubicBezTo>
                      <a:pt x="398" y="157"/>
                      <a:pt x="401" y="152"/>
                      <a:pt x="405" y="155"/>
                    </a:cubicBezTo>
                    <a:cubicBezTo>
                      <a:pt x="409" y="158"/>
                      <a:pt x="415" y="159"/>
                      <a:pt x="418" y="156"/>
                    </a:cubicBezTo>
                    <a:cubicBezTo>
                      <a:pt x="421" y="154"/>
                      <a:pt x="423" y="152"/>
                      <a:pt x="424" y="154"/>
                    </a:cubicBezTo>
                    <a:cubicBezTo>
                      <a:pt x="426" y="158"/>
                      <a:pt x="433" y="159"/>
                      <a:pt x="451" y="159"/>
                    </a:cubicBezTo>
                    <a:cubicBezTo>
                      <a:pt x="468" y="159"/>
                      <a:pt x="463" y="152"/>
                      <a:pt x="468" y="155"/>
                    </a:cubicBezTo>
                    <a:cubicBezTo>
                      <a:pt x="473" y="158"/>
                      <a:pt x="485" y="158"/>
                      <a:pt x="490" y="156"/>
                    </a:cubicBezTo>
                    <a:cubicBezTo>
                      <a:pt x="495" y="155"/>
                      <a:pt x="497" y="148"/>
                      <a:pt x="497" y="144"/>
                    </a:cubicBezTo>
                    <a:cubicBezTo>
                      <a:pt x="497" y="140"/>
                      <a:pt x="458" y="137"/>
                      <a:pt x="452" y="140"/>
                    </a:cubicBezTo>
                    <a:cubicBezTo>
                      <a:pt x="445" y="144"/>
                      <a:pt x="434" y="139"/>
                      <a:pt x="429" y="142"/>
                    </a:cubicBezTo>
                    <a:cubicBezTo>
                      <a:pt x="423" y="144"/>
                      <a:pt x="425" y="138"/>
                      <a:pt x="416" y="138"/>
                    </a:cubicBezTo>
                    <a:cubicBezTo>
                      <a:pt x="406" y="137"/>
                      <a:pt x="416" y="132"/>
                      <a:pt x="418" y="130"/>
                    </a:cubicBezTo>
                    <a:cubicBezTo>
                      <a:pt x="420" y="128"/>
                      <a:pt x="403" y="122"/>
                      <a:pt x="397" y="124"/>
                    </a:cubicBezTo>
                    <a:cubicBezTo>
                      <a:pt x="390" y="125"/>
                      <a:pt x="386" y="122"/>
                      <a:pt x="380" y="119"/>
                    </a:cubicBezTo>
                    <a:cubicBezTo>
                      <a:pt x="373" y="116"/>
                      <a:pt x="356" y="117"/>
                      <a:pt x="359" y="122"/>
                    </a:cubicBezTo>
                    <a:cubicBezTo>
                      <a:pt x="362" y="125"/>
                      <a:pt x="382" y="133"/>
                      <a:pt x="385" y="129"/>
                    </a:cubicBezTo>
                    <a:cubicBezTo>
                      <a:pt x="387" y="125"/>
                      <a:pt x="392" y="133"/>
                      <a:pt x="395" y="137"/>
                    </a:cubicBezTo>
                    <a:cubicBezTo>
                      <a:pt x="398" y="141"/>
                      <a:pt x="393" y="143"/>
                      <a:pt x="396" y="150"/>
                    </a:cubicBezTo>
                    <a:close/>
                    <a:moveTo>
                      <a:pt x="414" y="108"/>
                    </a:moveTo>
                    <a:cubicBezTo>
                      <a:pt x="407" y="104"/>
                      <a:pt x="399" y="111"/>
                      <a:pt x="406" y="114"/>
                    </a:cubicBezTo>
                    <a:cubicBezTo>
                      <a:pt x="412" y="116"/>
                      <a:pt x="420" y="111"/>
                      <a:pt x="414" y="108"/>
                    </a:cubicBezTo>
                    <a:close/>
                    <a:moveTo>
                      <a:pt x="362" y="68"/>
                    </a:moveTo>
                    <a:cubicBezTo>
                      <a:pt x="368" y="70"/>
                      <a:pt x="365" y="74"/>
                      <a:pt x="370" y="76"/>
                    </a:cubicBezTo>
                    <a:cubicBezTo>
                      <a:pt x="376" y="79"/>
                      <a:pt x="392" y="73"/>
                      <a:pt x="394" y="77"/>
                    </a:cubicBezTo>
                    <a:cubicBezTo>
                      <a:pt x="395" y="81"/>
                      <a:pt x="377" y="81"/>
                      <a:pt x="380" y="84"/>
                    </a:cubicBezTo>
                    <a:cubicBezTo>
                      <a:pt x="382" y="86"/>
                      <a:pt x="392" y="90"/>
                      <a:pt x="391" y="92"/>
                    </a:cubicBezTo>
                    <a:cubicBezTo>
                      <a:pt x="390" y="94"/>
                      <a:pt x="408" y="100"/>
                      <a:pt x="410" y="98"/>
                    </a:cubicBezTo>
                    <a:cubicBezTo>
                      <a:pt x="412" y="95"/>
                      <a:pt x="417" y="96"/>
                      <a:pt x="421" y="97"/>
                    </a:cubicBezTo>
                    <a:cubicBezTo>
                      <a:pt x="426" y="99"/>
                      <a:pt x="426" y="86"/>
                      <a:pt x="430" y="88"/>
                    </a:cubicBezTo>
                    <a:cubicBezTo>
                      <a:pt x="433" y="91"/>
                      <a:pt x="432" y="84"/>
                      <a:pt x="438" y="82"/>
                    </a:cubicBezTo>
                    <a:cubicBezTo>
                      <a:pt x="443" y="79"/>
                      <a:pt x="451" y="79"/>
                      <a:pt x="451" y="77"/>
                    </a:cubicBezTo>
                    <a:cubicBezTo>
                      <a:pt x="452" y="75"/>
                      <a:pt x="450" y="73"/>
                      <a:pt x="443" y="73"/>
                    </a:cubicBezTo>
                    <a:cubicBezTo>
                      <a:pt x="437" y="74"/>
                      <a:pt x="433" y="72"/>
                      <a:pt x="436" y="68"/>
                    </a:cubicBezTo>
                    <a:cubicBezTo>
                      <a:pt x="438" y="64"/>
                      <a:pt x="428" y="63"/>
                      <a:pt x="432" y="61"/>
                    </a:cubicBezTo>
                    <a:cubicBezTo>
                      <a:pt x="436" y="58"/>
                      <a:pt x="425" y="55"/>
                      <a:pt x="426" y="59"/>
                    </a:cubicBezTo>
                    <a:cubicBezTo>
                      <a:pt x="427" y="63"/>
                      <a:pt x="420" y="59"/>
                      <a:pt x="419" y="56"/>
                    </a:cubicBezTo>
                    <a:cubicBezTo>
                      <a:pt x="418" y="52"/>
                      <a:pt x="403" y="50"/>
                      <a:pt x="394" y="42"/>
                    </a:cubicBezTo>
                    <a:cubicBezTo>
                      <a:pt x="384" y="33"/>
                      <a:pt x="374" y="39"/>
                      <a:pt x="380" y="40"/>
                    </a:cubicBezTo>
                    <a:cubicBezTo>
                      <a:pt x="385" y="41"/>
                      <a:pt x="385" y="44"/>
                      <a:pt x="380" y="43"/>
                    </a:cubicBezTo>
                    <a:cubicBezTo>
                      <a:pt x="376" y="43"/>
                      <a:pt x="367" y="44"/>
                      <a:pt x="375" y="47"/>
                    </a:cubicBezTo>
                    <a:cubicBezTo>
                      <a:pt x="382" y="49"/>
                      <a:pt x="374" y="51"/>
                      <a:pt x="368" y="51"/>
                    </a:cubicBezTo>
                    <a:cubicBezTo>
                      <a:pt x="362" y="51"/>
                      <a:pt x="362" y="58"/>
                      <a:pt x="370" y="59"/>
                    </a:cubicBezTo>
                    <a:cubicBezTo>
                      <a:pt x="377" y="61"/>
                      <a:pt x="372" y="65"/>
                      <a:pt x="365" y="63"/>
                    </a:cubicBezTo>
                    <a:cubicBezTo>
                      <a:pt x="359" y="62"/>
                      <a:pt x="357" y="65"/>
                      <a:pt x="362" y="68"/>
                    </a:cubicBezTo>
                    <a:close/>
                    <a:moveTo>
                      <a:pt x="406" y="32"/>
                    </a:moveTo>
                    <a:cubicBezTo>
                      <a:pt x="411" y="29"/>
                      <a:pt x="415" y="31"/>
                      <a:pt x="410" y="33"/>
                    </a:cubicBezTo>
                    <a:cubicBezTo>
                      <a:pt x="406" y="36"/>
                      <a:pt x="407" y="37"/>
                      <a:pt x="413" y="37"/>
                    </a:cubicBezTo>
                    <a:cubicBezTo>
                      <a:pt x="420" y="36"/>
                      <a:pt x="411" y="38"/>
                      <a:pt x="411" y="42"/>
                    </a:cubicBezTo>
                    <a:cubicBezTo>
                      <a:pt x="411" y="46"/>
                      <a:pt x="418" y="43"/>
                      <a:pt x="418" y="47"/>
                    </a:cubicBezTo>
                    <a:cubicBezTo>
                      <a:pt x="419" y="51"/>
                      <a:pt x="434" y="52"/>
                      <a:pt x="439" y="48"/>
                    </a:cubicBezTo>
                    <a:cubicBezTo>
                      <a:pt x="443" y="43"/>
                      <a:pt x="442" y="49"/>
                      <a:pt x="441" y="52"/>
                    </a:cubicBezTo>
                    <a:cubicBezTo>
                      <a:pt x="441" y="54"/>
                      <a:pt x="463" y="57"/>
                      <a:pt x="464" y="53"/>
                    </a:cubicBezTo>
                    <a:cubicBezTo>
                      <a:pt x="465" y="50"/>
                      <a:pt x="468" y="51"/>
                      <a:pt x="473" y="52"/>
                    </a:cubicBezTo>
                    <a:cubicBezTo>
                      <a:pt x="477" y="53"/>
                      <a:pt x="498" y="48"/>
                      <a:pt x="498" y="44"/>
                    </a:cubicBezTo>
                    <a:cubicBezTo>
                      <a:pt x="499" y="40"/>
                      <a:pt x="505" y="46"/>
                      <a:pt x="498" y="51"/>
                    </a:cubicBezTo>
                    <a:cubicBezTo>
                      <a:pt x="492" y="56"/>
                      <a:pt x="478" y="55"/>
                      <a:pt x="472" y="57"/>
                    </a:cubicBezTo>
                    <a:cubicBezTo>
                      <a:pt x="466" y="58"/>
                      <a:pt x="476" y="63"/>
                      <a:pt x="482" y="67"/>
                    </a:cubicBezTo>
                    <a:cubicBezTo>
                      <a:pt x="488" y="72"/>
                      <a:pt x="474" y="69"/>
                      <a:pt x="468" y="63"/>
                    </a:cubicBezTo>
                    <a:cubicBezTo>
                      <a:pt x="463" y="57"/>
                      <a:pt x="450" y="57"/>
                      <a:pt x="443" y="58"/>
                    </a:cubicBezTo>
                    <a:cubicBezTo>
                      <a:pt x="436" y="58"/>
                      <a:pt x="438" y="71"/>
                      <a:pt x="443" y="71"/>
                    </a:cubicBezTo>
                    <a:cubicBezTo>
                      <a:pt x="448" y="71"/>
                      <a:pt x="453" y="72"/>
                      <a:pt x="458" y="80"/>
                    </a:cubicBezTo>
                    <a:cubicBezTo>
                      <a:pt x="463" y="88"/>
                      <a:pt x="474" y="86"/>
                      <a:pt x="474" y="90"/>
                    </a:cubicBezTo>
                    <a:cubicBezTo>
                      <a:pt x="474" y="93"/>
                      <a:pt x="460" y="87"/>
                      <a:pt x="452" y="86"/>
                    </a:cubicBezTo>
                    <a:cubicBezTo>
                      <a:pt x="445" y="84"/>
                      <a:pt x="432" y="89"/>
                      <a:pt x="432" y="95"/>
                    </a:cubicBezTo>
                    <a:cubicBezTo>
                      <a:pt x="431" y="100"/>
                      <a:pt x="443" y="100"/>
                      <a:pt x="451" y="95"/>
                    </a:cubicBezTo>
                    <a:cubicBezTo>
                      <a:pt x="459" y="91"/>
                      <a:pt x="453" y="97"/>
                      <a:pt x="449" y="100"/>
                    </a:cubicBezTo>
                    <a:cubicBezTo>
                      <a:pt x="445" y="104"/>
                      <a:pt x="458" y="107"/>
                      <a:pt x="458" y="111"/>
                    </a:cubicBezTo>
                    <a:cubicBezTo>
                      <a:pt x="458" y="115"/>
                      <a:pt x="449" y="114"/>
                      <a:pt x="448" y="110"/>
                    </a:cubicBezTo>
                    <a:cubicBezTo>
                      <a:pt x="447" y="106"/>
                      <a:pt x="443" y="102"/>
                      <a:pt x="434" y="103"/>
                    </a:cubicBezTo>
                    <a:cubicBezTo>
                      <a:pt x="425" y="103"/>
                      <a:pt x="427" y="110"/>
                      <a:pt x="433" y="110"/>
                    </a:cubicBezTo>
                    <a:cubicBezTo>
                      <a:pt x="438" y="111"/>
                      <a:pt x="439" y="115"/>
                      <a:pt x="432" y="115"/>
                    </a:cubicBezTo>
                    <a:cubicBezTo>
                      <a:pt x="426" y="115"/>
                      <a:pt x="411" y="120"/>
                      <a:pt x="416" y="124"/>
                    </a:cubicBezTo>
                    <a:cubicBezTo>
                      <a:pt x="421" y="128"/>
                      <a:pt x="439" y="124"/>
                      <a:pt x="442" y="127"/>
                    </a:cubicBezTo>
                    <a:cubicBezTo>
                      <a:pt x="446" y="129"/>
                      <a:pt x="454" y="130"/>
                      <a:pt x="457" y="127"/>
                    </a:cubicBezTo>
                    <a:cubicBezTo>
                      <a:pt x="459" y="124"/>
                      <a:pt x="466" y="125"/>
                      <a:pt x="473" y="125"/>
                    </a:cubicBezTo>
                    <a:cubicBezTo>
                      <a:pt x="480" y="125"/>
                      <a:pt x="482" y="127"/>
                      <a:pt x="485" y="129"/>
                    </a:cubicBezTo>
                    <a:cubicBezTo>
                      <a:pt x="488" y="132"/>
                      <a:pt x="494" y="131"/>
                      <a:pt x="498" y="128"/>
                    </a:cubicBezTo>
                    <a:cubicBezTo>
                      <a:pt x="502" y="125"/>
                      <a:pt x="502" y="125"/>
                      <a:pt x="507" y="125"/>
                    </a:cubicBezTo>
                    <a:cubicBezTo>
                      <a:pt x="512" y="125"/>
                      <a:pt x="513" y="122"/>
                      <a:pt x="510" y="118"/>
                    </a:cubicBezTo>
                    <a:cubicBezTo>
                      <a:pt x="508" y="114"/>
                      <a:pt x="502" y="121"/>
                      <a:pt x="501" y="118"/>
                    </a:cubicBezTo>
                    <a:cubicBezTo>
                      <a:pt x="500" y="115"/>
                      <a:pt x="494" y="114"/>
                      <a:pt x="484" y="115"/>
                    </a:cubicBezTo>
                    <a:cubicBezTo>
                      <a:pt x="474" y="117"/>
                      <a:pt x="478" y="109"/>
                      <a:pt x="484" y="110"/>
                    </a:cubicBezTo>
                    <a:cubicBezTo>
                      <a:pt x="491" y="112"/>
                      <a:pt x="499" y="112"/>
                      <a:pt x="506" y="110"/>
                    </a:cubicBezTo>
                    <a:cubicBezTo>
                      <a:pt x="512" y="108"/>
                      <a:pt x="507" y="105"/>
                      <a:pt x="507" y="102"/>
                    </a:cubicBezTo>
                    <a:cubicBezTo>
                      <a:pt x="507" y="99"/>
                      <a:pt x="515" y="101"/>
                      <a:pt x="522" y="101"/>
                    </a:cubicBezTo>
                    <a:cubicBezTo>
                      <a:pt x="528" y="101"/>
                      <a:pt x="538" y="91"/>
                      <a:pt x="538" y="84"/>
                    </a:cubicBezTo>
                    <a:cubicBezTo>
                      <a:pt x="538" y="78"/>
                      <a:pt x="524" y="80"/>
                      <a:pt x="517" y="80"/>
                    </a:cubicBezTo>
                    <a:cubicBezTo>
                      <a:pt x="509" y="80"/>
                      <a:pt x="521" y="74"/>
                      <a:pt x="535" y="75"/>
                    </a:cubicBezTo>
                    <a:cubicBezTo>
                      <a:pt x="548" y="76"/>
                      <a:pt x="542" y="70"/>
                      <a:pt x="545" y="68"/>
                    </a:cubicBezTo>
                    <a:cubicBezTo>
                      <a:pt x="547" y="66"/>
                      <a:pt x="554" y="70"/>
                      <a:pt x="560" y="69"/>
                    </a:cubicBezTo>
                    <a:cubicBezTo>
                      <a:pt x="567" y="67"/>
                      <a:pt x="563" y="62"/>
                      <a:pt x="567" y="62"/>
                    </a:cubicBezTo>
                    <a:cubicBezTo>
                      <a:pt x="570" y="62"/>
                      <a:pt x="578" y="57"/>
                      <a:pt x="593" y="48"/>
                    </a:cubicBezTo>
                    <a:cubicBezTo>
                      <a:pt x="607" y="40"/>
                      <a:pt x="619" y="42"/>
                      <a:pt x="619" y="37"/>
                    </a:cubicBezTo>
                    <a:cubicBezTo>
                      <a:pt x="620" y="32"/>
                      <a:pt x="599" y="37"/>
                      <a:pt x="595" y="36"/>
                    </a:cubicBezTo>
                    <a:cubicBezTo>
                      <a:pt x="592" y="34"/>
                      <a:pt x="610" y="30"/>
                      <a:pt x="614" y="31"/>
                    </a:cubicBezTo>
                    <a:cubicBezTo>
                      <a:pt x="619" y="32"/>
                      <a:pt x="624" y="31"/>
                      <a:pt x="639" y="24"/>
                    </a:cubicBezTo>
                    <a:cubicBezTo>
                      <a:pt x="654" y="17"/>
                      <a:pt x="647" y="15"/>
                      <a:pt x="641" y="16"/>
                    </a:cubicBezTo>
                    <a:cubicBezTo>
                      <a:pt x="635" y="17"/>
                      <a:pt x="628" y="15"/>
                      <a:pt x="629" y="11"/>
                    </a:cubicBezTo>
                    <a:cubicBezTo>
                      <a:pt x="629" y="7"/>
                      <a:pt x="620" y="11"/>
                      <a:pt x="619" y="9"/>
                    </a:cubicBezTo>
                    <a:cubicBezTo>
                      <a:pt x="619" y="7"/>
                      <a:pt x="610" y="8"/>
                      <a:pt x="601" y="11"/>
                    </a:cubicBezTo>
                    <a:cubicBezTo>
                      <a:pt x="592" y="15"/>
                      <a:pt x="600" y="8"/>
                      <a:pt x="604" y="6"/>
                    </a:cubicBezTo>
                    <a:cubicBezTo>
                      <a:pt x="608" y="5"/>
                      <a:pt x="581" y="6"/>
                      <a:pt x="576" y="3"/>
                    </a:cubicBezTo>
                    <a:cubicBezTo>
                      <a:pt x="571" y="0"/>
                      <a:pt x="566" y="8"/>
                      <a:pt x="562" y="4"/>
                    </a:cubicBezTo>
                    <a:cubicBezTo>
                      <a:pt x="558" y="0"/>
                      <a:pt x="547" y="3"/>
                      <a:pt x="548" y="7"/>
                    </a:cubicBezTo>
                    <a:cubicBezTo>
                      <a:pt x="549" y="10"/>
                      <a:pt x="546" y="10"/>
                      <a:pt x="542" y="6"/>
                    </a:cubicBezTo>
                    <a:cubicBezTo>
                      <a:pt x="538" y="3"/>
                      <a:pt x="529" y="7"/>
                      <a:pt x="522" y="6"/>
                    </a:cubicBezTo>
                    <a:cubicBezTo>
                      <a:pt x="514" y="5"/>
                      <a:pt x="518" y="12"/>
                      <a:pt x="509" y="8"/>
                    </a:cubicBezTo>
                    <a:cubicBezTo>
                      <a:pt x="501" y="5"/>
                      <a:pt x="492" y="6"/>
                      <a:pt x="495" y="7"/>
                    </a:cubicBezTo>
                    <a:cubicBezTo>
                      <a:pt x="497" y="8"/>
                      <a:pt x="494" y="11"/>
                      <a:pt x="491" y="10"/>
                    </a:cubicBezTo>
                    <a:cubicBezTo>
                      <a:pt x="487" y="8"/>
                      <a:pt x="484" y="10"/>
                      <a:pt x="486" y="13"/>
                    </a:cubicBezTo>
                    <a:cubicBezTo>
                      <a:pt x="487" y="17"/>
                      <a:pt x="472" y="12"/>
                      <a:pt x="472" y="16"/>
                    </a:cubicBezTo>
                    <a:cubicBezTo>
                      <a:pt x="472" y="20"/>
                      <a:pt x="467" y="22"/>
                      <a:pt x="463" y="19"/>
                    </a:cubicBezTo>
                    <a:cubicBezTo>
                      <a:pt x="458" y="15"/>
                      <a:pt x="445" y="14"/>
                      <a:pt x="449" y="17"/>
                    </a:cubicBezTo>
                    <a:cubicBezTo>
                      <a:pt x="453" y="21"/>
                      <a:pt x="437" y="19"/>
                      <a:pt x="441" y="22"/>
                    </a:cubicBezTo>
                    <a:cubicBezTo>
                      <a:pt x="445" y="25"/>
                      <a:pt x="436" y="28"/>
                      <a:pt x="436" y="26"/>
                    </a:cubicBezTo>
                    <a:cubicBezTo>
                      <a:pt x="436" y="24"/>
                      <a:pt x="427" y="21"/>
                      <a:pt x="423" y="24"/>
                    </a:cubicBezTo>
                    <a:cubicBezTo>
                      <a:pt x="420" y="27"/>
                      <a:pt x="418" y="31"/>
                      <a:pt x="417" y="29"/>
                    </a:cubicBezTo>
                    <a:cubicBezTo>
                      <a:pt x="415" y="27"/>
                      <a:pt x="407" y="28"/>
                      <a:pt x="400" y="31"/>
                    </a:cubicBezTo>
                    <a:cubicBezTo>
                      <a:pt x="392" y="33"/>
                      <a:pt x="401" y="36"/>
                      <a:pt x="406" y="32"/>
                    </a:cubicBezTo>
                    <a:close/>
                    <a:moveTo>
                      <a:pt x="496" y="340"/>
                    </a:moveTo>
                    <a:cubicBezTo>
                      <a:pt x="498" y="340"/>
                      <a:pt x="503" y="331"/>
                      <a:pt x="497" y="331"/>
                    </a:cubicBezTo>
                    <a:cubicBezTo>
                      <a:pt x="490" y="332"/>
                      <a:pt x="492" y="341"/>
                      <a:pt x="496" y="340"/>
                    </a:cubicBezTo>
                    <a:close/>
                    <a:moveTo>
                      <a:pt x="464" y="332"/>
                    </a:moveTo>
                    <a:cubicBezTo>
                      <a:pt x="470" y="336"/>
                      <a:pt x="478" y="326"/>
                      <a:pt x="478" y="323"/>
                    </a:cubicBezTo>
                    <a:cubicBezTo>
                      <a:pt x="477" y="321"/>
                      <a:pt x="457" y="328"/>
                      <a:pt x="464" y="332"/>
                    </a:cubicBezTo>
                    <a:close/>
                    <a:moveTo>
                      <a:pt x="490" y="313"/>
                    </a:moveTo>
                    <a:cubicBezTo>
                      <a:pt x="491" y="309"/>
                      <a:pt x="478" y="308"/>
                      <a:pt x="479" y="304"/>
                    </a:cubicBezTo>
                    <a:cubicBezTo>
                      <a:pt x="479" y="300"/>
                      <a:pt x="467" y="297"/>
                      <a:pt x="463" y="295"/>
                    </a:cubicBezTo>
                    <a:cubicBezTo>
                      <a:pt x="459" y="292"/>
                      <a:pt x="453" y="291"/>
                      <a:pt x="453" y="287"/>
                    </a:cubicBezTo>
                    <a:cubicBezTo>
                      <a:pt x="453" y="283"/>
                      <a:pt x="445" y="286"/>
                      <a:pt x="444" y="292"/>
                    </a:cubicBezTo>
                    <a:cubicBezTo>
                      <a:pt x="444" y="299"/>
                      <a:pt x="440" y="297"/>
                      <a:pt x="442" y="303"/>
                    </a:cubicBezTo>
                    <a:cubicBezTo>
                      <a:pt x="444" y="310"/>
                      <a:pt x="434" y="311"/>
                      <a:pt x="435" y="314"/>
                    </a:cubicBezTo>
                    <a:cubicBezTo>
                      <a:pt x="436" y="317"/>
                      <a:pt x="441" y="314"/>
                      <a:pt x="445" y="314"/>
                    </a:cubicBezTo>
                    <a:cubicBezTo>
                      <a:pt x="450" y="314"/>
                      <a:pt x="444" y="320"/>
                      <a:pt x="450" y="320"/>
                    </a:cubicBezTo>
                    <a:cubicBezTo>
                      <a:pt x="454" y="321"/>
                      <a:pt x="461" y="316"/>
                      <a:pt x="463" y="313"/>
                    </a:cubicBezTo>
                    <a:cubicBezTo>
                      <a:pt x="465" y="310"/>
                      <a:pt x="468" y="309"/>
                      <a:pt x="473" y="312"/>
                    </a:cubicBezTo>
                    <a:cubicBezTo>
                      <a:pt x="478" y="316"/>
                      <a:pt x="489" y="316"/>
                      <a:pt x="490" y="313"/>
                    </a:cubicBezTo>
                    <a:close/>
                    <a:moveTo>
                      <a:pt x="606" y="281"/>
                    </a:moveTo>
                    <a:cubicBezTo>
                      <a:pt x="611" y="282"/>
                      <a:pt x="611" y="287"/>
                      <a:pt x="618" y="293"/>
                    </a:cubicBezTo>
                    <a:cubicBezTo>
                      <a:pt x="625" y="298"/>
                      <a:pt x="626" y="295"/>
                      <a:pt x="627" y="291"/>
                    </a:cubicBezTo>
                    <a:cubicBezTo>
                      <a:pt x="628" y="287"/>
                      <a:pt x="635" y="290"/>
                      <a:pt x="635" y="286"/>
                    </a:cubicBezTo>
                    <a:cubicBezTo>
                      <a:pt x="635" y="282"/>
                      <a:pt x="641" y="277"/>
                      <a:pt x="645" y="276"/>
                    </a:cubicBezTo>
                    <a:cubicBezTo>
                      <a:pt x="650" y="274"/>
                      <a:pt x="642" y="270"/>
                      <a:pt x="636" y="270"/>
                    </a:cubicBezTo>
                    <a:cubicBezTo>
                      <a:pt x="630" y="270"/>
                      <a:pt x="629" y="266"/>
                      <a:pt x="629" y="264"/>
                    </a:cubicBezTo>
                    <a:cubicBezTo>
                      <a:pt x="629" y="261"/>
                      <a:pt x="619" y="255"/>
                      <a:pt x="615" y="256"/>
                    </a:cubicBezTo>
                    <a:cubicBezTo>
                      <a:pt x="611" y="257"/>
                      <a:pt x="605" y="252"/>
                      <a:pt x="601" y="251"/>
                    </a:cubicBezTo>
                    <a:cubicBezTo>
                      <a:pt x="596" y="251"/>
                      <a:pt x="589" y="247"/>
                      <a:pt x="590" y="242"/>
                    </a:cubicBezTo>
                    <a:cubicBezTo>
                      <a:pt x="591" y="237"/>
                      <a:pt x="599" y="244"/>
                      <a:pt x="601" y="240"/>
                    </a:cubicBezTo>
                    <a:cubicBezTo>
                      <a:pt x="603" y="236"/>
                      <a:pt x="592" y="238"/>
                      <a:pt x="592" y="235"/>
                    </a:cubicBezTo>
                    <a:cubicBezTo>
                      <a:pt x="591" y="232"/>
                      <a:pt x="594" y="234"/>
                      <a:pt x="596" y="232"/>
                    </a:cubicBezTo>
                    <a:cubicBezTo>
                      <a:pt x="599" y="230"/>
                      <a:pt x="595" y="226"/>
                      <a:pt x="592" y="225"/>
                    </a:cubicBezTo>
                    <a:cubicBezTo>
                      <a:pt x="590" y="224"/>
                      <a:pt x="589" y="228"/>
                      <a:pt x="586" y="228"/>
                    </a:cubicBezTo>
                    <a:cubicBezTo>
                      <a:pt x="584" y="228"/>
                      <a:pt x="586" y="224"/>
                      <a:pt x="588" y="221"/>
                    </a:cubicBezTo>
                    <a:cubicBezTo>
                      <a:pt x="590" y="219"/>
                      <a:pt x="580" y="216"/>
                      <a:pt x="575" y="217"/>
                    </a:cubicBezTo>
                    <a:cubicBezTo>
                      <a:pt x="571" y="219"/>
                      <a:pt x="570" y="216"/>
                      <a:pt x="570" y="214"/>
                    </a:cubicBezTo>
                    <a:cubicBezTo>
                      <a:pt x="570" y="211"/>
                      <a:pt x="562" y="214"/>
                      <a:pt x="559" y="216"/>
                    </a:cubicBezTo>
                    <a:cubicBezTo>
                      <a:pt x="557" y="218"/>
                      <a:pt x="553" y="214"/>
                      <a:pt x="557" y="213"/>
                    </a:cubicBezTo>
                    <a:cubicBezTo>
                      <a:pt x="560" y="213"/>
                      <a:pt x="564" y="210"/>
                      <a:pt x="563" y="207"/>
                    </a:cubicBezTo>
                    <a:cubicBezTo>
                      <a:pt x="562" y="204"/>
                      <a:pt x="553" y="203"/>
                      <a:pt x="551" y="207"/>
                    </a:cubicBezTo>
                    <a:cubicBezTo>
                      <a:pt x="549" y="211"/>
                      <a:pt x="542" y="203"/>
                      <a:pt x="542" y="200"/>
                    </a:cubicBezTo>
                    <a:cubicBezTo>
                      <a:pt x="542" y="196"/>
                      <a:pt x="530" y="199"/>
                      <a:pt x="532" y="194"/>
                    </a:cubicBezTo>
                    <a:cubicBezTo>
                      <a:pt x="533" y="189"/>
                      <a:pt x="519" y="187"/>
                      <a:pt x="515" y="187"/>
                    </a:cubicBezTo>
                    <a:cubicBezTo>
                      <a:pt x="511" y="187"/>
                      <a:pt x="505" y="190"/>
                      <a:pt x="506" y="194"/>
                    </a:cubicBezTo>
                    <a:cubicBezTo>
                      <a:pt x="507" y="198"/>
                      <a:pt x="502" y="196"/>
                      <a:pt x="501" y="192"/>
                    </a:cubicBezTo>
                    <a:cubicBezTo>
                      <a:pt x="500" y="188"/>
                      <a:pt x="491" y="196"/>
                      <a:pt x="488" y="196"/>
                    </a:cubicBezTo>
                    <a:cubicBezTo>
                      <a:pt x="485" y="196"/>
                      <a:pt x="489" y="186"/>
                      <a:pt x="488" y="183"/>
                    </a:cubicBezTo>
                    <a:cubicBezTo>
                      <a:pt x="487" y="180"/>
                      <a:pt x="484" y="179"/>
                      <a:pt x="482" y="173"/>
                    </a:cubicBezTo>
                    <a:cubicBezTo>
                      <a:pt x="480" y="168"/>
                      <a:pt x="469" y="170"/>
                      <a:pt x="467" y="173"/>
                    </a:cubicBezTo>
                    <a:cubicBezTo>
                      <a:pt x="464" y="176"/>
                      <a:pt x="454" y="175"/>
                      <a:pt x="450" y="180"/>
                    </a:cubicBezTo>
                    <a:cubicBezTo>
                      <a:pt x="445" y="185"/>
                      <a:pt x="450" y="190"/>
                      <a:pt x="452" y="192"/>
                    </a:cubicBezTo>
                    <a:cubicBezTo>
                      <a:pt x="454" y="194"/>
                      <a:pt x="445" y="196"/>
                      <a:pt x="448" y="199"/>
                    </a:cubicBezTo>
                    <a:cubicBezTo>
                      <a:pt x="451" y="202"/>
                      <a:pt x="456" y="201"/>
                      <a:pt x="456" y="205"/>
                    </a:cubicBezTo>
                    <a:cubicBezTo>
                      <a:pt x="457" y="210"/>
                      <a:pt x="445" y="204"/>
                      <a:pt x="443" y="200"/>
                    </a:cubicBezTo>
                    <a:cubicBezTo>
                      <a:pt x="441" y="196"/>
                      <a:pt x="443" y="193"/>
                      <a:pt x="441" y="190"/>
                    </a:cubicBezTo>
                    <a:cubicBezTo>
                      <a:pt x="438" y="187"/>
                      <a:pt x="441" y="183"/>
                      <a:pt x="445" y="178"/>
                    </a:cubicBezTo>
                    <a:cubicBezTo>
                      <a:pt x="450" y="173"/>
                      <a:pt x="453" y="174"/>
                      <a:pt x="453" y="171"/>
                    </a:cubicBezTo>
                    <a:cubicBezTo>
                      <a:pt x="453" y="168"/>
                      <a:pt x="433" y="168"/>
                      <a:pt x="422" y="179"/>
                    </a:cubicBezTo>
                    <a:cubicBezTo>
                      <a:pt x="410" y="190"/>
                      <a:pt x="413" y="204"/>
                      <a:pt x="414" y="207"/>
                    </a:cubicBezTo>
                    <a:cubicBezTo>
                      <a:pt x="415" y="210"/>
                      <a:pt x="425" y="208"/>
                      <a:pt x="431" y="210"/>
                    </a:cubicBezTo>
                    <a:cubicBezTo>
                      <a:pt x="437" y="212"/>
                      <a:pt x="434" y="214"/>
                      <a:pt x="430" y="214"/>
                    </a:cubicBezTo>
                    <a:cubicBezTo>
                      <a:pt x="425" y="213"/>
                      <a:pt x="417" y="211"/>
                      <a:pt x="417" y="215"/>
                    </a:cubicBezTo>
                    <a:cubicBezTo>
                      <a:pt x="418" y="218"/>
                      <a:pt x="427" y="224"/>
                      <a:pt x="433" y="222"/>
                    </a:cubicBezTo>
                    <a:cubicBezTo>
                      <a:pt x="439" y="221"/>
                      <a:pt x="439" y="221"/>
                      <a:pt x="441" y="224"/>
                    </a:cubicBezTo>
                    <a:cubicBezTo>
                      <a:pt x="444" y="227"/>
                      <a:pt x="451" y="226"/>
                      <a:pt x="457" y="227"/>
                    </a:cubicBezTo>
                    <a:cubicBezTo>
                      <a:pt x="464" y="227"/>
                      <a:pt x="472" y="230"/>
                      <a:pt x="475" y="230"/>
                    </a:cubicBezTo>
                    <a:cubicBezTo>
                      <a:pt x="478" y="230"/>
                      <a:pt x="482" y="228"/>
                      <a:pt x="483" y="226"/>
                    </a:cubicBezTo>
                    <a:cubicBezTo>
                      <a:pt x="484" y="225"/>
                      <a:pt x="498" y="229"/>
                      <a:pt x="502" y="229"/>
                    </a:cubicBezTo>
                    <a:cubicBezTo>
                      <a:pt x="506" y="229"/>
                      <a:pt x="503" y="225"/>
                      <a:pt x="501" y="224"/>
                    </a:cubicBezTo>
                    <a:cubicBezTo>
                      <a:pt x="498" y="223"/>
                      <a:pt x="499" y="218"/>
                      <a:pt x="502" y="220"/>
                    </a:cubicBezTo>
                    <a:cubicBezTo>
                      <a:pt x="506" y="222"/>
                      <a:pt x="511" y="223"/>
                      <a:pt x="512" y="226"/>
                    </a:cubicBezTo>
                    <a:cubicBezTo>
                      <a:pt x="513" y="229"/>
                      <a:pt x="516" y="227"/>
                      <a:pt x="516" y="230"/>
                    </a:cubicBezTo>
                    <a:cubicBezTo>
                      <a:pt x="517" y="232"/>
                      <a:pt x="528" y="235"/>
                      <a:pt x="528" y="238"/>
                    </a:cubicBezTo>
                    <a:cubicBezTo>
                      <a:pt x="529" y="241"/>
                      <a:pt x="517" y="242"/>
                      <a:pt x="520" y="245"/>
                    </a:cubicBezTo>
                    <a:cubicBezTo>
                      <a:pt x="524" y="247"/>
                      <a:pt x="529" y="242"/>
                      <a:pt x="533" y="241"/>
                    </a:cubicBezTo>
                    <a:cubicBezTo>
                      <a:pt x="537" y="241"/>
                      <a:pt x="537" y="251"/>
                      <a:pt x="540" y="249"/>
                    </a:cubicBezTo>
                    <a:cubicBezTo>
                      <a:pt x="545" y="247"/>
                      <a:pt x="548" y="251"/>
                      <a:pt x="553" y="257"/>
                    </a:cubicBezTo>
                    <a:cubicBezTo>
                      <a:pt x="557" y="263"/>
                      <a:pt x="552" y="269"/>
                      <a:pt x="553" y="271"/>
                    </a:cubicBezTo>
                    <a:cubicBezTo>
                      <a:pt x="553" y="273"/>
                      <a:pt x="561" y="272"/>
                      <a:pt x="566" y="270"/>
                    </a:cubicBezTo>
                    <a:cubicBezTo>
                      <a:pt x="570" y="267"/>
                      <a:pt x="575" y="273"/>
                      <a:pt x="578" y="276"/>
                    </a:cubicBezTo>
                    <a:cubicBezTo>
                      <a:pt x="582" y="279"/>
                      <a:pt x="565" y="285"/>
                      <a:pt x="566" y="282"/>
                    </a:cubicBezTo>
                    <a:cubicBezTo>
                      <a:pt x="568" y="279"/>
                      <a:pt x="557" y="270"/>
                      <a:pt x="546" y="274"/>
                    </a:cubicBezTo>
                    <a:cubicBezTo>
                      <a:pt x="536" y="278"/>
                      <a:pt x="543" y="284"/>
                      <a:pt x="544" y="288"/>
                    </a:cubicBezTo>
                    <a:cubicBezTo>
                      <a:pt x="545" y="291"/>
                      <a:pt x="535" y="295"/>
                      <a:pt x="525" y="292"/>
                    </a:cubicBezTo>
                    <a:cubicBezTo>
                      <a:pt x="515" y="288"/>
                      <a:pt x="518" y="294"/>
                      <a:pt x="514" y="294"/>
                    </a:cubicBezTo>
                    <a:cubicBezTo>
                      <a:pt x="510" y="294"/>
                      <a:pt x="506" y="300"/>
                      <a:pt x="510" y="304"/>
                    </a:cubicBezTo>
                    <a:cubicBezTo>
                      <a:pt x="513" y="308"/>
                      <a:pt x="521" y="304"/>
                      <a:pt x="528" y="305"/>
                    </a:cubicBezTo>
                    <a:cubicBezTo>
                      <a:pt x="534" y="305"/>
                      <a:pt x="535" y="307"/>
                      <a:pt x="535" y="303"/>
                    </a:cubicBezTo>
                    <a:cubicBezTo>
                      <a:pt x="536" y="300"/>
                      <a:pt x="543" y="301"/>
                      <a:pt x="548" y="302"/>
                    </a:cubicBezTo>
                    <a:cubicBezTo>
                      <a:pt x="552" y="303"/>
                      <a:pt x="551" y="310"/>
                      <a:pt x="557" y="311"/>
                    </a:cubicBezTo>
                    <a:cubicBezTo>
                      <a:pt x="563" y="311"/>
                      <a:pt x="558" y="317"/>
                      <a:pt x="562" y="321"/>
                    </a:cubicBezTo>
                    <a:cubicBezTo>
                      <a:pt x="565" y="325"/>
                      <a:pt x="576" y="323"/>
                      <a:pt x="581" y="327"/>
                    </a:cubicBezTo>
                    <a:cubicBezTo>
                      <a:pt x="585" y="331"/>
                      <a:pt x="603" y="340"/>
                      <a:pt x="606" y="337"/>
                    </a:cubicBezTo>
                    <a:cubicBezTo>
                      <a:pt x="609" y="333"/>
                      <a:pt x="590" y="317"/>
                      <a:pt x="585" y="315"/>
                    </a:cubicBezTo>
                    <a:cubicBezTo>
                      <a:pt x="579" y="314"/>
                      <a:pt x="590" y="312"/>
                      <a:pt x="597" y="317"/>
                    </a:cubicBezTo>
                    <a:cubicBezTo>
                      <a:pt x="604" y="323"/>
                      <a:pt x="614" y="325"/>
                      <a:pt x="619" y="319"/>
                    </a:cubicBezTo>
                    <a:cubicBezTo>
                      <a:pt x="624" y="312"/>
                      <a:pt x="614" y="314"/>
                      <a:pt x="614" y="310"/>
                    </a:cubicBezTo>
                    <a:cubicBezTo>
                      <a:pt x="614" y="305"/>
                      <a:pt x="611" y="298"/>
                      <a:pt x="606" y="298"/>
                    </a:cubicBezTo>
                    <a:cubicBezTo>
                      <a:pt x="601" y="298"/>
                      <a:pt x="588" y="288"/>
                      <a:pt x="593" y="286"/>
                    </a:cubicBezTo>
                    <a:cubicBezTo>
                      <a:pt x="598" y="284"/>
                      <a:pt x="591" y="281"/>
                      <a:pt x="595" y="277"/>
                    </a:cubicBezTo>
                    <a:cubicBezTo>
                      <a:pt x="599" y="273"/>
                      <a:pt x="602" y="281"/>
                      <a:pt x="606" y="281"/>
                    </a:cubicBezTo>
                    <a:close/>
                    <a:moveTo>
                      <a:pt x="531" y="264"/>
                    </a:moveTo>
                    <a:cubicBezTo>
                      <a:pt x="535" y="264"/>
                      <a:pt x="535" y="257"/>
                      <a:pt x="532" y="254"/>
                    </a:cubicBezTo>
                    <a:cubicBezTo>
                      <a:pt x="530" y="251"/>
                      <a:pt x="526" y="251"/>
                      <a:pt x="522" y="251"/>
                    </a:cubicBezTo>
                    <a:cubicBezTo>
                      <a:pt x="518" y="251"/>
                      <a:pt x="511" y="257"/>
                      <a:pt x="515" y="264"/>
                    </a:cubicBezTo>
                    <a:cubicBezTo>
                      <a:pt x="518" y="270"/>
                      <a:pt x="527" y="265"/>
                      <a:pt x="531" y="264"/>
                    </a:cubicBezTo>
                    <a:close/>
                    <a:moveTo>
                      <a:pt x="487" y="171"/>
                    </a:moveTo>
                    <a:cubicBezTo>
                      <a:pt x="484" y="176"/>
                      <a:pt x="491" y="176"/>
                      <a:pt x="492" y="181"/>
                    </a:cubicBezTo>
                    <a:cubicBezTo>
                      <a:pt x="492" y="187"/>
                      <a:pt x="499" y="189"/>
                      <a:pt x="504" y="185"/>
                    </a:cubicBezTo>
                    <a:cubicBezTo>
                      <a:pt x="509" y="182"/>
                      <a:pt x="523" y="186"/>
                      <a:pt x="523" y="182"/>
                    </a:cubicBezTo>
                    <a:cubicBezTo>
                      <a:pt x="523" y="178"/>
                      <a:pt x="508" y="171"/>
                      <a:pt x="503" y="172"/>
                    </a:cubicBezTo>
                    <a:cubicBezTo>
                      <a:pt x="497" y="173"/>
                      <a:pt x="489" y="167"/>
                      <a:pt x="487" y="171"/>
                    </a:cubicBezTo>
                    <a:close/>
                    <a:moveTo>
                      <a:pt x="620" y="475"/>
                    </a:moveTo>
                    <a:cubicBezTo>
                      <a:pt x="621" y="478"/>
                      <a:pt x="642" y="486"/>
                      <a:pt x="642" y="483"/>
                    </a:cubicBezTo>
                    <a:cubicBezTo>
                      <a:pt x="643" y="479"/>
                      <a:pt x="620" y="473"/>
                      <a:pt x="620" y="475"/>
                    </a:cubicBezTo>
                    <a:close/>
                    <a:moveTo>
                      <a:pt x="711" y="496"/>
                    </a:moveTo>
                    <a:cubicBezTo>
                      <a:pt x="709" y="499"/>
                      <a:pt x="707" y="494"/>
                      <a:pt x="710" y="492"/>
                    </a:cubicBezTo>
                    <a:cubicBezTo>
                      <a:pt x="713" y="490"/>
                      <a:pt x="710" y="489"/>
                      <a:pt x="707" y="490"/>
                    </a:cubicBezTo>
                    <a:cubicBezTo>
                      <a:pt x="704" y="492"/>
                      <a:pt x="705" y="484"/>
                      <a:pt x="708" y="482"/>
                    </a:cubicBezTo>
                    <a:cubicBezTo>
                      <a:pt x="710" y="481"/>
                      <a:pt x="701" y="478"/>
                      <a:pt x="701" y="481"/>
                    </a:cubicBezTo>
                    <a:cubicBezTo>
                      <a:pt x="701" y="483"/>
                      <a:pt x="695" y="482"/>
                      <a:pt x="694" y="479"/>
                    </a:cubicBezTo>
                    <a:cubicBezTo>
                      <a:pt x="693" y="477"/>
                      <a:pt x="689" y="476"/>
                      <a:pt x="690" y="474"/>
                    </a:cubicBezTo>
                    <a:cubicBezTo>
                      <a:pt x="692" y="473"/>
                      <a:pt x="685" y="472"/>
                      <a:pt x="684" y="475"/>
                    </a:cubicBezTo>
                    <a:cubicBezTo>
                      <a:pt x="683" y="478"/>
                      <a:pt x="681" y="473"/>
                      <a:pt x="685" y="469"/>
                    </a:cubicBezTo>
                    <a:cubicBezTo>
                      <a:pt x="688" y="465"/>
                      <a:pt x="687" y="462"/>
                      <a:pt x="691" y="460"/>
                    </a:cubicBezTo>
                    <a:cubicBezTo>
                      <a:pt x="694" y="458"/>
                      <a:pt x="690" y="456"/>
                      <a:pt x="687" y="457"/>
                    </a:cubicBezTo>
                    <a:cubicBezTo>
                      <a:pt x="683" y="459"/>
                      <a:pt x="674" y="472"/>
                      <a:pt x="674" y="475"/>
                    </a:cubicBezTo>
                    <a:cubicBezTo>
                      <a:pt x="674" y="479"/>
                      <a:pt x="674" y="483"/>
                      <a:pt x="670" y="483"/>
                    </a:cubicBezTo>
                    <a:cubicBezTo>
                      <a:pt x="667" y="483"/>
                      <a:pt x="663" y="486"/>
                      <a:pt x="666" y="488"/>
                    </a:cubicBezTo>
                    <a:cubicBezTo>
                      <a:pt x="668" y="490"/>
                      <a:pt x="659" y="495"/>
                      <a:pt x="663" y="498"/>
                    </a:cubicBezTo>
                    <a:cubicBezTo>
                      <a:pt x="666" y="499"/>
                      <a:pt x="671" y="497"/>
                      <a:pt x="676" y="497"/>
                    </a:cubicBezTo>
                    <a:cubicBezTo>
                      <a:pt x="680" y="498"/>
                      <a:pt x="683" y="498"/>
                      <a:pt x="687" y="495"/>
                    </a:cubicBezTo>
                    <a:cubicBezTo>
                      <a:pt x="691" y="493"/>
                      <a:pt x="691" y="498"/>
                      <a:pt x="694" y="497"/>
                    </a:cubicBezTo>
                    <a:cubicBezTo>
                      <a:pt x="698" y="497"/>
                      <a:pt x="692" y="500"/>
                      <a:pt x="693" y="503"/>
                    </a:cubicBezTo>
                    <a:cubicBezTo>
                      <a:pt x="693" y="506"/>
                      <a:pt x="697" y="502"/>
                      <a:pt x="699" y="500"/>
                    </a:cubicBezTo>
                    <a:cubicBezTo>
                      <a:pt x="702" y="499"/>
                      <a:pt x="706" y="500"/>
                      <a:pt x="704" y="502"/>
                    </a:cubicBezTo>
                    <a:cubicBezTo>
                      <a:pt x="703" y="505"/>
                      <a:pt x="712" y="507"/>
                      <a:pt x="714" y="503"/>
                    </a:cubicBezTo>
                    <a:cubicBezTo>
                      <a:pt x="717" y="500"/>
                      <a:pt x="712" y="494"/>
                      <a:pt x="711" y="496"/>
                    </a:cubicBezTo>
                    <a:close/>
                    <a:moveTo>
                      <a:pt x="66" y="431"/>
                    </a:moveTo>
                    <a:cubicBezTo>
                      <a:pt x="60" y="434"/>
                      <a:pt x="75" y="450"/>
                      <a:pt x="78" y="448"/>
                    </a:cubicBezTo>
                    <a:cubicBezTo>
                      <a:pt x="81" y="447"/>
                      <a:pt x="75" y="440"/>
                      <a:pt x="75" y="436"/>
                    </a:cubicBezTo>
                    <a:cubicBezTo>
                      <a:pt x="75" y="432"/>
                      <a:pt x="73" y="427"/>
                      <a:pt x="66" y="431"/>
                    </a:cubicBezTo>
                    <a:close/>
                    <a:moveTo>
                      <a:pt x="654" y="512"/>
                    </a:moveTo>
                    <a:cubicBezTo>
                      <a:pt x="651" y="512"/>
                      <a:pt x="653" y="509"/>
                      <a:pt x="654" y="507"/>
                    </a:cubicBezTo>
                    <a:cubicBezTo>
                      <a:pt x="654" y="505"/>
                      <a:pt x="648" y="507"/>
                      <a:pt x="648" y="510"/>
                    </a:cubicBezTo>
                    <a:cubicBezTo>
                      <a:pt x="648" y="512"/>
                      <a:pt x="644" y="513"/>
                      <a:pt x="644" y="514"/>
                    </a:cubicBezTo>
                    <a:cubicBezTo>
                      <a:pt x="644" y="519"/>
                      <a:pt x="644" y="516"/>
                      <a:pt x="641" y="518"/>
                    </a:cubicBezTo>
                    <a:cubicBezTo>
                      <a:pt x="638" y="519"/>
                      <a:pt x="627" y="518"/>
                      <a:pt x="626" y="515"/>
                    </a:cubicBezTo>
                    <a:cubicBezTo>
                      <a:pt x="626" y="513"/>
                      <a:pt x="618" y="512"/>
                      <a:pt x="618" y="508"/>
                    </a:cubicBezTo>
                    <a:cubicBezTo>
                      <a:pt x="617" y="505"/>
                      <a:pt x="613" y="504"/>
                      <a:pt x="617" y="500"/>
                    </a:cubicBezTo>
                    <a:cubicBezTo>
                      <a:pt x="620" y="496"/>
                      <a:pt x="616" y="494"/>
                      <a:pt x="613" y="497"/>
                    </a:cubicBezTo>
                    <a:cubicBezTo>
                      <a:pt x="610" y="500"/>
                      <a:pt x="608" y="496"/>
                      <a:pt x="612" y="494"/>
                    </a:cubicBezTo>
                    <a:cubicBezTo>
                      <a:pt x="616" y="493"/>
                      <a:pt x="624" y="491"/>
                      <a:pt x="620" y="484"/>
                    </a:cubicBezTo>
                    <a:cubicBezTo>
                      <a:pt x="616" y="477"/>
                      <a:pt x="592" y="486"/>
                      <a:pt x="585" y="489"/>
                    </a:cubicBezTo>
                    <a:cubicBezTo>
                      <a:pt x="579" y="493"/>
                      <a:pt x="571" y="504"/>
                      <a:pt x="568" y="504"/>
                    </a:cubicBezTo>
                    <a:cubicBezTo>
                      <a:pt x="565" y="504"/>
                      <a:pt x="574" y="498"/>
                      <a:pt x="575" y="496"/>
                    </a:cubicBezTo>
                    <a:cubicBezTo>
                      <a:pt x="577" y="494"/>
                      <a:pt x="575" y="491"/>
                      <a:pt x="577" y="492"/>
                    </a:cubicBezTo>
                    <a:cubicBezTo>
                      <a:pt x="579" y="493"/>
                      <a:pt x="584" y="485"/>
                      <a:pt x="588" y="482"/>
                    </a:cubicBezTo>
                    <a:cubicBezTo>
                      <a:pt x="592" y="479"/>
                      <a:pt x="596" y="482"/>
                      <a:pt x="596" y="479"/>
                    </a:cubicBezTo>
                    <a:cubicBezTo>
                      <a:pt x="597" y="477"/>
                      <a:pt x="599" y="475"/>
                      <a:pt x="602" y="472"/>
                    </a:cubicBezTo>
                    <a:cubicBezTo>
                      <a:pt x="606" y="469"/>
                      <a:pt x="649" y="470"/>
                      <a:pt x="653" y="470"/>
                    </a:cubicBezTo>
                    <a:cubicBezTo>
                      <a:pt x="657" y="470"/>
                      <a:pt x="665" y="464"/>
                      <a:pt x="667" y="461"/>
                    </a:cubicBezTo>
                    <a:cubicBezTo>
                      <a:pt x="669" y="457"/>
                      <a:pt x="672" y="457"/>
                      <a:pt x="678" y="458"/>
                    </a:cubicBezTo>
                    <a:cubicBezTo>
                      <a:pt x="684" y="458"/>
                      <a:pt x="687" y="453"/>
                      <a:pt x="689" y="451"/>
                    </a:cubicBezTo>
                    <a:cubicBezTo>
                      <a:pt x="692" y="449"/>
                      <a:pt x="691" y="448"/>
                      <a:pt x="689" y="447"/>
                    </a:cubicBezTo>
                    <a:cubicBezTo>
                      <a:pt x="686" y="447"/>
                      <a:pt x="684" y="445"/>
                      <a:pt x="686" y="445"/>
                    </a:cubicBezTo>
                    <a:cubicBezTo>
                      <a:pt x="689" y="445"/>
                      <a:pt x="690" y="443"/>
                      <a:pt x="691" y="440"/>
                    </a:cubicBezTo>
                    <a:cubicBezTo>
                      <a:pt x="692" y="437"/>
                      <a:pt x="690" y="438"/>
                      <a:pt x="687" y="434"/>
                    </a:cubicBezTo>
                    <a:cubicBezTo>
                      <a:pt x="683" y="430"/>
                      <a:pt x="682" y="435"/>
                      <a:pt x="678" y="435"/>
                    </a:cubicBezTo>
                    <a:cubicBezTo>
                      <a:pt x="675" y="435"/>
                      <a:pt x="681" y="430"/>
                      <a:pt x="678" y="429"/>
                    </a:cubicBezTo>
                    <a:cubicBezTo>
                      <a:pt x="675" y="427"/>
                      <a:pt x="670" y="428"/>
                      <a:pt x="665" y="432"/>
                    </a:cubicBezTo>
                    <a:cubicBezTo>
                      <a:pt x="661" y="435"/>
                      <a:pt x="661" y="432"/>
                      <a:pt x="658" y="435"/>
                    </a:cubicBezTo>
                    <a:cubicBezTo>
                      <a:pt x="654" y="439"/>
                      <a:pt x="654" y="433"/>
                      <a:pt x="656" y="432"/>
                    </a:cubicBezTo>
                    <a:cubicBezTo>
                      <a:pt x="657" y="430"/>
                      <a:pt x="659" y="432"/>
                      <a:pt x="660" y="430"/>
                    </a:cubicBezTo>
                    <a:cubicBezTo>
                      <a:pt x="662" y="428"/>
                      <a:pt x="664" y="430"/>
                      <a:pt x="668" y="427"/>
                    </a:cubicBezTo>
                    <a:cubicBezTo>
                      <a:pt x="672" y="425"/>
                      <a:pt x="675" y="426"/>
                      <a:pt x="677" y="424"/>
                    </a:cubicBezTo>
                    <a:cubicBezTo>
                      <a:pt x="678" y="422"/>
                      <a:pt x="675" y="419"/>
                      <a:pt x="671" y="420"/>
                    </a:cubicBezTo>
                    <a:cubicBezTo>
                      <a:pt x="667" y="421"/>
                      <a:pt x="664" y="415"/>
                      <a:pt x="662" y="417"/>
                    </a:cubicBezTo>
                    <a:cubicBezTo>
                      <a:pt x="659" y="418"/>
                      <a:pt x="660" y="414"/>
                      <a:pt x="657" y="416"/>
                    </a:cubicBezTo>
                    <a:cubicBezTo>
                      <a:pt x="654" y="417"/>
                      <a:pt x="652" y="415"/>
                      <a:pt x="651" y="412"/>
                    </a:cubicBezTo>
                    <a:cubicBezTo>
                      <a:pt x="650" y="408"/>
                      <a:pt x="642" y="403"/>
                      <a:pt x="637" y="401"/>
                    </a:cubicBezTo>
                    <a:cubicBezTo>
                      <a:pt x="633" y="400"/>
                      <a:pt x="636" y="397"/>
                      <a:pt x="638" y="399"/>
                    </a:cubicBezTo>
                    <a:cubicBezTo>
                      <a:pt x="641" y="401"/>
                      <a:pt x="644" y="397"/>
                      <a:pt x="645" y="396"/>
                    </a:cubicBezTo>
                    <a:cubicBezTo>
                      <a:pt x="646" y="394"/>
                      <a:pt x="643" y="392"/>
                      <a:pt x="642" y="392"/>
                    </a:cubicBezTo>
                    <a:cubicBezTo>
                      <a:pt x="640" y="392"/>
                      <a:pt x="640" y="390"/>
                      <a:pt x="641" y="388"/>
                    </a:cubicBezTo>
                    <a:cubicBezTo>
                      <a:pt x="641" y="386"/>
                      <a:pt x="636" y="384"/>
                      <a:pt x="635" y="382"/>
                    </a:cubicBezTo>
                    <a:cubicBezTo>
                      <a:pt x="635" y="380"/>
                      <a:pt x="632" y="379"/>
                      <a:pt x="632" y="377"/>
                    </a:cubicBezTo>
                    <a:cubicBezTo>
                      <a:pt x="632" y="376"/>
                      <a:pt x="629" y="373"/>
                      <a:pt x="629" y="371"/>
                    </a:cubicBezTo>
                    <a:cubicBezTo>
                      <a:pt x="629" y="369"/>
                      <a:pt x="624" y="365"/>
                      <a:pt x="624" y="362"/>
                    </a:cubicBezTo>
                    <a:cubicBezTo>
                      <a:pt x="624" y="360"/>
                      <a:pt x="621" y="358"/>
                      <a:pt x="620" y="355"/>
                    </a:cubicBezTo>
                    <a:cubicBezTo>
                      <a:pt x="619" y="352"/>
                      <a:pt x="617" y="353"/>
                      <a:pt x="616" y="358"/>
                    </a:cubicBezTo>
                    <a:cubicBezTo>
                      <a:pt x="615" y="362"/>
                      <a:pt x="611" y="362"/>
                      <a:pt x="612" y="363"/>
                    </a:cubicBezTo>
                    <a:cubicBezTo>
                      <a:pt x="615" y="366"/>
                      <a:pt x="613" y="366"/>
                      <a:pt x="611" y="368"/>
                    </a:cubicBezTo>
                    <a:cubicBezTo>
                      <a:pt x="610" y="370"/>
                      <a:pt x="612" y="372"/>
                      <a:pt x="610" y="372"/>
                    </a:cubicBezTo>
                    <a:cubicBezTo>
                      <a:pt x="607" y="372"/>
                      <a:pt x="608" y="378"/>
                      <a:pt x="607" y="376"/>
                    </a:cubicBezTo>
                    <a:cubicBezTo>
                      <a:pt x="605" y="373"/>
                      <a:pt x="602" y="374"/>
                      <a:pt x="602" y="376"/>
                    </a:cubicBezTo>
                    <a:cubicBezTo>
                      <a:pt x="602" y="379"/>
                      <a:pt x="596" y="381"/>
                      <a:pt x="594" y="381"/>
                    </a:cubicBezTo>
                    <a:cubicBezTo>
                      <a:pt x="592" y="381"/>
                      <a:pt x="592" y="376"/>
                      <a:pt x="590" y="377"/>
                    </a:cubicBezTo>
                    <a:cubicBezTo>
                      <a:pt x="588" y="379"/>
                      <a:pt x="588" y="373"/>
                      <a:pt x="585" y="373"/>
                    </a:cubicBezTo>
                    <a:cubicBezTo>
                      <a:pt x="582" y="374"/>
                      <a:pt x="580" y="373"/>
                      <a:pt x="581" y="371"/>
                    </a:cubicBezTo>
                    <a:cubicBezTo>
                      <a:pt x="582" y="368"/>
                      <a:pt x="576" y="367"/>
                      <a:pt x="578" y="365"/>
                    </a:cubicBezTo>
                    <a:cubicBezTo>
                      <a:pt x="580" y="363"/>
                      <a:pt x="577" y="361"/>
                      <a:pt x="577" y="356"/>
                    </a:cubicBezTo>
                    <a:cubicBezTo>
                      <a:pt x="576" y="351"/>
                      <a:pt x="579" y="351"/>
                      <a:pt x="579" y="349"/>
                    </a:cubicBezTo>
                    <a:cubicBezTo>
                      <a:pt x="579" y="347"/>
                      <a:pt x="577" y="347"/>
                      <a:pt x="575" y="349"/>
                    </a:cubicBezTo>
                    <a:cubicBezTo>
                      <a:pt x="573" y="350"/>
                      <a:pt x="573" y="347"/>
                      <a:pt x="571" y="347"/>
                    </a:cubicBezTo>
                    <a:cubicBezTo>
                      <a:pt x="568" y="347"/>
                      <a:pt x="561" y="347"/>
                      <a:pt x="561" y="344"/>
                    </a:cubicBezTo>
                    <a:cubicBezTo>
                      <a:pt x="561" y="340"/>
                      <a:pt x="558" y="342"/>
                      <a:pt x="557" y="339"/>
                    </a:cubicBezTo>
                    <a:cubicBezTo>
                      <a:pt x="556" y="336"/>
                      <a:pt x="553" y="338"/>
                      <a:pt x="553" y="336"/>
                    </a:cubicBezTo>
                    <a:cubicBezTo>
                      <a:pt x="553" y="334"/>
                      <a:pt x="552" y="333"/>
                      <a:pt x="550" y="333"/>
                    </a:cubicBezTo>
                    <a:cubicBezTo>
                      <a:pt x="548" y="333"/>
                      <a:pt x="547" y="330"/>
                      <a:pt x="544" y="330"/>
                    </a:cubicBezTo>
                    <a:cubicBezTo>
                      <a:pt x="541" y="330"/>
                      <a:pt x="538" y="332"/>
                      <a:pt x="536" y="333"/>
                    </a:cubicBezTo>
                    <a:cubicBezTo>
                      <a:pt x="535" y="333"/>
                      <a:pt x="530" y="330"/>
                      <a:pt x="529" y="331"/>
                    </a:cubicBezTo>
                    <a:cubicBezTo>
                      <a:pt x="527" y="333"/>
                      <a:pt x="527" y="331"/>
                      <a:pt x="522" y="329"/>
                    </a:cubicBezTo>
                    <a:cubicBezTo>
                      <a:pt x="518" y="328"/>
                      <a:pt x="512" y="328"/>
                      <a:pt x="512" y="329"/>
                    </a:cubicBezTo>
                    <a:cubicBezTo>
                      <a:pt x="511" y="331"/>
                      <a:pt x="508" y="331"/>
                      <a:pt x="508" y="335"/>
                    </a:cubicBezTo>
                    <a:cubicBezTo>
                      <a:pt x="509" y="339"/>
                      <a:pt x="513" y="338"/>
                      <a:pt x="514" y="341"/>
                    </a:cubicBezTo>
                    <a:cubicBezTo>
                      <a:pt x="514" y="343"/>
                      <a:pt x="512" y="342"/>
                      <a:pt x="512" y="345"/>
                    </a:cubicBezTo>
                    <a:cubicBezTo>
                      <a:pt x="511" y="347"/>
                      <a:pt x="509" y="347"/>
                      <a:pt x="509" y="348"/>
                    </a:cubicBezTo>
                    <a:cubicBezTo>
                      <a:pt x="509" y="350"/>
                      <a:pt x="511" y="350"/>
                      <a:pt x="512" y="353"/>
                    </a:cubicBezTo>
                    <a:cubicBezTo>
                      <a:pt x="512" y="356"/>
                      <a:pt x="514" y="356"/>
                      <a:pt x="515" y="360"/>
                    </a:cubicBezTo>
                    <a:cubicBezTo>
                      <a:pt x="515" y="364"/>
                      <a:pt x="513" y="364"/>
                      <a:pt x="512" y="364"/>
                    </a:cubicBezTo>
                    <a:cubicBezTo>
                      <a:pt x="510" y="365"/>
                      <a:pt x="512" y="367"/>
                      <a:pt x="509" y="370"/>
                    </a:cubicBezTo>
                    <a:cubicBezTo>
                      <a:pt x="507" y="372"/>
                      <a:pt x="505" y="376"/>
                      <a:pt x="507" y="377"/>
                    </a:cubicBezTo>
                    <a:cubicBezTo>
                      <a:pt x="509" y="379"/>
                      <a:pt x="516" y="382"/>
                      <a:pt x="519" y="387"/>
                    </a:cubicBezTo>
                    <a:cubicBezTo>
                      <a:pt x="522" y="392"/>
                      <a:pt x="521" y="399"/>
                      <a:pt x="520" y="405"/>
                    </a:cubicBezTo>
                    <a:cubicBezTo>
                      <a:pt x="520" y="410"/>
                      <a:pt x="514" y="411"/>
                      <a:pt x="509" y="416"/>
                    </a:cubicBezTo>
                    <a:cubicBezTo>
                      <a:pt x="505" y="420"/>
                      <a:pt x="500" y="420"/>
                      <a:pt x="498" y="420"/>
                    </a:cubicBezTo>
                    <a:cubicBezTo>
                      <a:pt x="496" y="420"/>
                      <a:pt x="497" y="424"/>
                      <a:pt x="500" y="428"/>
                    </a:cubicBezTo>
                    <a:cubicBezTo>
                      <a:pt x="503" y="431"/>
                      <a:pt x="501" y="432"/>
                      <a:pt x="502" y="436"/>
                    </a:cubicBezTo>
                    <a:cubicBezTo>
                      <a:pt x="504" y="439"/>
                      <a:pt x="502" y="442"/>
                      <a:pt x="504" y="445"/>
                    </a:cubicBezTo>
                    <a:cubicBezTo>
                      <a:pt x="507" y="449"/>
                      <a:pt x="505" y="450"/>
                      <a:pt x="503" y="452"/>
                    </a:cubicBezTo>
                    <a:cubicBezTo>
                      <a:pt x="500" y="455"/>
                      <a:pt x="504" y="453"/>
                      <a:pt x="504" y="456"/>
                    </a:cubicBezTo>
                    <a:cubicBezTo>
                      <a:pt x="504" y="459"/>
                      <a:pt x="503" y="458"/>
                      <a:pt x="500" y="456"/>
                    </a:cubicBezTo>
                    <a:cubicBezTo>
                      <a:pt x="498" y="454"/>
                      <a:pt x="496" y="459"/>
                      <a:pt x="496" y="461"/>
                    </a:cubicBezTo>
                    <a:cubicBezTo>
                      <a:pt x="496" y="463"/>
                      <a:pt x="490" y="458"/>
                      <a:pt x="489" y="458"/>
                    </a:cubicBezTo>
                    <a:cubicBezTo>
                      <a:pt x="488" y="459"/>
                      <a:pt x="489" y="455"/>
                      <a:pt x="486" y="453"/>
                    </a:cubicBezTo>
                    <a:cubicBezTo>
                      <a:pt x="483" y="450"/>
                      <a:pt x="481" y="450"/>
                      <a:pt x="481" y="447"/>
                    </a:cubicBezTo>
                    <a:cubicBezTo>
                      <a:pt x="481" y="445"/>
                      <a:pt x="475" y="443"/>
                      <a:pt x="475" y="440"/>
                    </a:cubicBezTo>
                    <a:cubicBezTo>
                      <a:pt x="475" y="437"/>
                      <a:pt x="476" y="430"/>
                      <a:pt x="474" y="428"/>
                    </a:cubicBezTo>
                    <a:cubicBezTo>
                      <a:pt x="473" y="426"/>
                      <a:pt x="474" y="423"/>
                      <a:pt x="475" y="422"/>
                    </a:cubicBezTo>
                    <a:cubicBezTo>
                      <a:pt x="476" y="420"/>
                      <a:pt x="474" y="417"/>
                      <a:pt x="471" y="417"/>
                    </a:cubicBezTo>
                    <a:cubicBezTo>
                      <a:pt x="468" y="417"/>
                      <a:pt x="463" y="415"/>
                      <a:pt x="459" y="416"/>
                    </a:cubicBezTo>
                    <a:cubicBezTo>
                      <a:pt x="454" y="416"/>
                      <a:pt x="452" y="415"/>
                      <a:pt x="450" y="414"/>
                    </a:cubicBezTo>
                    <a:cubicBezTo>
                      <a:pt x="449" y="413"/>
                      <a:pt x="445" y="410"/>
                      <a:pt x="439" y="409"/>
                    </a:cubicBezTo>
                    <a:cubicBezTo>
                      <a:pt x="434" y="407"/>
                      <a:pt x="431" y="405"/>
                      <a:pt x="431" y="403"/>
                    </a:cubicBezTo>
                    <a:cubicBezTo>
                      <a:pt x="430" y="401"/>
                      <a:pt x="425" y="400"/>
                      <a:pt x="423" y="399"/>
                    </a:cubicBezTo>
                    <a:cubicBezTo>
                      <a:pt x="422" y="397"/>
                      <a:pt x="417" y="396"/>
                      <a:pt x="415" y="396"/>
                    </a:cubicBezTo>
                    <a:cubicBezTo>
                      <a:pt x="413" y="397"/>
                      <a:pt x="407" y="392"/>
                      <a:pt x="404" y="392"/>
                    </a:cubicBezTo>
                    <a:cubicBezTo>
                      <a:pt x="401" y="392"/>
                      <a:pt x="393" y="395"/>
                      <a:pt x="392" y="396"/>
                    </a:cubicBezTo>
                    <a:cubicBezTo>
                      <a:pt x="391" y="396"/>
                      <a:pt x="392" y="393"/>
                      <a:pt x="393" y="392"/>
                    </a:cubicBezTo>
                    <a:cubicBezTo>
                      <a:pt x="394" y="390"/>
                      <a:pt x="390" y="385"/>
                      <a:pt x="390" y="382"/>
                    </a:cubicBezTo>
                    <a:cubicBezTo>
                      <a:pt x="389" y="378"/>
                      <a:pt x="387" y="374"/>
                      <a:pt x="384" y="375"/>
                    </a:cubicBezTo>
                    <a:cubicBezTo>
                      <a:pt x="380" y="375"/>
                      <a:pt x="376" y="373"/>
                      <a:pt x="375" y="372"/>
                    </a:cubicBezTo>
                    <a:cubicBezTo>
                      <a:pt x="374" y="372"/>
                      <a:pt x="374" y="362"/>
                      <a:pt x="374" y="357"/>
                    </a:cubicBezTo>
                    <a:cubicBezTo>
                      <a:pt x="375" y="353"/>
                      <a:pt x="380" y="347"/>
                      <a:pt x="380" y="344"/>
                    </a:cubicBezTo>
                    <a:cubicBezTo>
                      <a:pt x="380" y="341"/>
                      <a:pt x="383" y="340"/>
                      <a:pt x="386" y="339"/>
                    </a:cubicBezTo>
                    <a:cubicBezTo>
                      <a:pt x="388" y="339"/>
                      <a:pt x="386" y="333"/>
                      <a:pt x="389" y="333"/>
                    </a:cubicBezTo>
                    <a:cubicBezTo>
                      <a:pt x="392" y="333"/>
                      <a:pt x="392" y="332"/>
                      <a:pt x="392" y="329"/>
                    </a:cubicBezTo>
                    <a:cubicBezTo>
                      <a:pt x="393" y="327"/>
                      <a:pt x="396" y="329"/>
                      <a:pt x="394" y="327"/>
                    </a:cubicBezTo>
                    <a:cubicBezTo>
                      <a:pt x="392" y="325"/>
                      <a:pt x="394" y="325"/>
                      <a:pt x="398" y="325"/>
                    </a:cubicBezTo>
                    <a:cubicBezTo>
                      <a:pt x="402" y="325"/>
                      <a:pt x="408" y="323"/>
                      <a:pt x="407" y="319"/>
                    </a:cubicBezTo>
                    <a:cubicBezTo>
                      <a:pt x="406" y="315"/>
                      <a:pt x="396" y="318"/>
                      <a:pt x="396" y="315"/>
                    </a:cubicBezTo>
                    <a:cubicBezTo>
                      <a:pt x="396" y="311"/>
                      <a:pt x="382" y="311"/>
                      <a:pt x="383" y="309"/>
                    </a:cubicBezTo>
                    <a:cubicBezTo>
                      <a:pt x="384" y="307"/>
                      <a:pt x="397" y="311"/>
                      <a:pt x="401" y="312"/>
                    </a:cubicBezTo>
                    <a:cubicBezTo>
                      <a:pt x="406" y="314"/>
                      <a:pt x="407" y="314"/>
                      <a:pt x="411" y="314"/>
                    </a:cubicBezTo>
                    <a:cubicBezTo>
                      <a:pt x="415" y="314"/>
                      <a:pt x="412" y="309"/>
                      <a:pt x="413" y="307"/>
                    </a:cubicBezTo>
                    <a:cubicBezTo>
                      <a:pt x="413" y="305"/>
                      <a:pt x="421" y="310"/>
                      <a:pt x="425" y="309"/>
                    </a:cubicBezTo>
                    <a:cubicBezTo>
                      <a:pt x="429" y="308"/>
                      <a:pt x="433" y="299"/>
                      <a:pt x="436" y="297"/>
                    </a:cubicBezTo>
                    <a:cubicBezTo>
                      <a:pt x="440" y="295"/>
                      <a:pt x="436" y="293"/>
                      <a:pt x="430" y="293"/>
                    </a:cubicBezTo>
                    <a:cubicBezTo>
                      <a:pt x="423" y="294"/>
                      <a:pt x="420" y="291"/>
                      <a:pt x="416" y="288"/>
                    </a:cubicBezTo>
                    <a:cubicBezTo>
                      <a:pt x="412" y="286"/>
                      <a:pt x="413" y="284"/>
                      <a:pt x="417" y="284"/>
                    </a:cubicBezTo>
                    <a:cubicBezTo>
                      <a:pt x="420" y="284"/>
                      <a:pt x="429" y="292"/>
                      <a:pt x="433" y="292"/>
                    </a:cubicBezTo>
                    <a:cubicBezTo>
                      <a:pt x="436" y="292"/>
                      <a:pt x="442" y="285"/>
                      <a:pt x="445" y="283"/>
                    </a:cubicBezTo>
                    <a:cubicBezTo>
                      <a:pt x="448" y="281"/>
                      <a:pt x="442" y="280"/>
                      <a:pt x="440" y="278"/>
                    </a:cubicBezTo>
                    <a:cubicBezTo>
                      <a:pt x="438" y="277"/>
                      <a:pt x="443" y="276"/>
                      <a:pt x="446" y="276"/>
                    </a:cubicBezTo>
                    <a:cubicBezTo>
                      <a:pt x="449" y="276"/>
                      <a:pt x="450" y="278"/>
                      <a:pt x="451" y="280"/>
                    </a:cubicBezTo>
                    <a:cubicBezTo>
                      <a:pt x="453" y="281"/>
                      <a:pt x="458" y="279"/>
                      <a:pt x="460" y="279"/>
                    </a:cubicBezTo>
                    <a:cubicBezTo>
                      <a:pt x="463" y="279"/>
                      <a:pt x="460" y="275"/>
                      <a:pt x="456" y="273"/>
                    </a:cubicBezTo>
                    <a:cubicBezTo>
                      <a:pt x="451" y="271"/>
                      <a:pt x="456" y="268"/>
                      <a:pt x="457" y="271"/>
                    </a:cubicBezTo>
                    <a:cubicBezTo>
                      <a:pt x="458" y="273"/>
                      <a:pt x="461" y="273"/>
                      <a:pt x="463" y="276"/>
                    </a:cubicBezTo>
                    <a:cubicBezTo>
                      <a:pt x="465" y="280"/>
                      <a:pt x="466" y="277"/>
                      <a:pt x="469" y="276"/>
                    </a:cubicBezTo>
                    <a:cubicBezTo>
                      <a:pt x="473" y="275"/>
                      <a:pt x="475" y="272"/>
                      <a:pt x="477" y="270"/>
                    </a:cubicBezTo>
                    <a:cubicBezTo>
                      <a:pt x="479" y="268"/>
                      <a:pt x="479" y="271"/>
                      <a:pt x="481" y="267"/>
                    </a:cubicBezTo>
                    <a:cubicBezTo>
                      <a:pt x="484" y="264"/>
                      <a:pt x="480" y="261"/>
                      <a:pt x="478" y="259"/>
                    </a:cubicBezTo>
                    <a:cubicBezTo>
                      <a:pt x="475" y="256"/>
                      <a:pt x="478" y="254"/>
                      <a:pt x="475" y="253"/>
                    </a:cubicBezTo>
                    <a:cubicBezTo>
                      <a:pt x="472" y="251"/>
                      <a:pt x="471" y="249"/>
                      <a:pt x="475" y="249"/>
                    </a:cubicBezTo>
                    <a:cubicBezTo>
                      <a:pt x="479" y="250"/>
                      <a:pt x="481" y="249"/>
                      <a:pt x="483" y="247"/>
                    </a:cubicBezTo>
                    <a:cubicBezTo>
                      <a:pt x="485" y="244"/>
                      <a:pt x="478" y="244"/>
                      <a:pt x="481" y="242"/>
                    </a:cubicBezTo>
                    <a:cubicBezTo>
                      <a:pt x="484" y="240"/>
                      <a:pt x="481" y="238"/>
                      <a:pt x="478" y="238"/>
                    </a:cubicBezTo>
                    <a:cubicBezTo>
                      <a:pt x="475" y="238"/>
                      <a:pt x="472" y="237"/>
                      <a:pt x="472" y="234"/>
                    </a:cubicBezTo>
                    <a:cubicBezTo>
                      <a:pt x="472" y="231"/>
                      <a:pt x="466" y="233"/>
                      <a:pt x="463" y="231"/>
                    </a:cubicBezTo>
                    <a:cubicBezTo>
                      <a:pt x="460" y="230"/>
                      <a:pt x="452" y="230"/>
                      <a:pt x="450" y="230"/>
                    </a:cubicBezTo>
                    <a:cubicBezTo>
                      <a:pt x="449" y="231"/>
                      <a:pt x="448" y="238"/>
                      <a:pt x="451" y="238"/>
                    </a:cubicBezTo>
                    <a:cubicBezTo>
                      <a:pt x="454" y="238"/>
                      <a:pt x="456" y="241"/>
                      <a:pt x="454" y="242"/>
                    </a:cubicBezTo>
                    <a:cubicBezTo>
                      <a:pt x="451" y="243"/>
                      <a:pt x="454" y="246"/>
                      <a:pt x="452" y="245"/>
                    </a:cubicBezTo>
                    <a:cubicBezTo>
                      <a:pt x="450" y="245"/>
                      <a:pt x="448" y="244"/>
                      <a:pt x="447" y="249"/>
                    </a:cubicBezTo>
                    <a:cubicBezTo>
                      <a:pt x="446" y="254"/>
                      <a:pt x="446" y="255"/>
                      <a:pt x="443" y="257"/>
                    </a:cubicBezTo>
                    <a:cubicBezTo>
                      <a:pt x="440" y="259"/>
                      <a:pt x="442" y="252"/>
                      <a:pt x="440" y="252"/>
                    </a:cubicBezTo>
                    <a:cubicBezTo>
                      <a:pt x="437" y="252"/>
                      <a:pt x="436" y="258"/>
                      <a:pt x="438" y="258"/>
                    </a:cubicBezTo>
                    <a:cubicBezTo>
                      <a:pt x="441" y="259"/>
                      <a:pt x="441" y="261"/>
                      <a:pt x="441" y="263"/>
                    </a:cubicBezTo>
                    <a:cubicBezTo>
                      <a:pt x="442" y="266"/>
                      <a:pt x="438" y="264"/>
                      <a:pt x="436" y="267"/>
                    </a:cubicBezTo>
                    <a:cubicBezTo>
                      <a:pt x="434" y="270"/>
                      <a:pt x="434" y="266"/>
                      <a:pt x="431" y="264"/>
                    </a:cubicBezTo>
                    <a:cubicBezTo>
                      <a:pt x="429" y="262"/>
                      <a:pt x="426" y="258"/>
                      <a:pt x="426" y="255"/>
                    </a:cubicBezTo>
                    <a:cubicBezTo>
                      <a:pt x="426" y="253"/>
                      <a:pt x="427" y="252"/>
                      <a:pt x="429" y="252"/>
                    </a:cubicBezTo>
                    <a:cubicBezTo>
                      <a:pt x="431" y="251"/>
                      <a:pt x="429" y="250"/>
                      <a:pt x="429" y="246"/>
                    </a:cubicBezTo>
                    <a:cubicBezTo>
                      <a:pt x="429" y="243"/>
                      <a:pt x="427" y="244"/>
                      <a:pt x="424" y="241"/>
                    </a:cubicBezTo>
                    <a:cubicBezTo>
                      <a:pt x="421" y="237"/>
                      <a:pt x="418" y="237"/>
                      <a:pt x="416" y="239"/>
                    </a:cubicBezTo>
                    <a:cubicBezTo>
                      <a:pt x="415" y="241"/>
                      <a:pt x="416" y="244"/>
                      <a:pt x="413" y="245"/>
                    </a:cubicBezTo>
                    <a:cubicBezTo>
                      <a:pt x="411" y="246"/>
                      <a:pt x="412" y="251"/>
                      <a:pt x="410" y="251"/>
                    </a:cubicBezTo>
                    <a:cubicBezTo>
                      <a:pt x="408" y="252"/>
                      <a:pt x="409" y="242"/>
                      <a:pt x="407" y="242"/>
                    </a:cubicBezTo>
                    <a:cubicBezTo>
                      <a:pt x="405" y="241"/>
                      <a:pt x="405" y="239"/>
                      <a:pt x="408" y="238"/>
                    </a:cubicBezTo>
                    <a:cubicBezTo>
                      <a:pt x="411" y="238"/>
                      <a:pt x="412" y="235"/>
                      <a:pt x="410" y="235"/>
                    </a:cubicBezTo>
                    <a:cubicBezTo>
                      <a:pt x="408" y="235"/>
                      <a:pt x="404" y="232"/>
                      <a:pt x="402" y="232"/>
                    </a:cubicBezTo>
                    <a:cubicBezTo>
                      <a:pt x="400" y="231"/>
                      <a:pt x="398" y="235"/>
                      <a:pt x="396" y="233"/>
                    </a:cubicBezTo>
                    <a:cubicBezTo>
                      <a:pt x="394" y="232"/>
                      <a:pt x="396" y="228"/>
                      <a:pt x="396" y="226"/>
                    </a:cubicBezTo>
                    <a:cubicBezTo>
                      <a:pt x="397" y="224"/>
                      <a:pt x="399" y="227"/>
                      <a:pt x="401" y="225"/>
                    </a:cubicBezTo>
                    <a:cubicBezTo>
                      <a:pt x="403" y="222"/>
                      <a:pt x="396" y="222"/>
                      <a:pt x="396" y="220"/>
                    </a:cubicBezTo>
                    <a:cubicBezTo>
                      <a:pt x="396" y="217"/>
                      <a:pt x="391" y="216"/>
                      <a:pt x="389" y="215"/>
                    </a:cubicBezTo>
                    <a:cubicBezTo>
                      <a:pt x="387" y="214"/>
                      <a:pt x="390" y="210"/>
                      <a:pt x="389" y="208"/>
                    </a:cubicBezTo>
                    <a:cubicBezTo>
                      <a:pt x="388" y="206"/>
                      <a:pt x="382" y="201"/>
                      <a:pt x="379" y="201"/>
                    </a:cubicBezTo>
                    <a:cubicBezTo>
                      <a:pt x="376" y="202"/>
                      <a:pt x="375" y="197"/>
                      <a:pt x="377" y="198"/>
                    </a:cubicBezTo>
                    <a:cubicBezTo>
                      <a:pt x="379" y="198"/>
                      <a:pt x="380" y="197"/>
                      <a:pt x="383" y="193"/>
                    </a:cubicBezTo>
                    <a:cubicBezTo>
                      <a:pt x="386" y="190"/>
                      <a:pt x="386" y="189"/>
                      <a:pt x="384" y="188"/>
                    </a:cubicBezTo>
                    <a:cubicBezTo>
                      <a:pt x="382" y="187"/>
                      <a:pt x="381" y="185"/>
                      <a:pt x="385" y="185"/>
                    </a:cubicBezTo>
                    <a:cubicBezTo>
                      <a:pt x="388" y="186"/>
                      <a:pt x="395" y="188"/>
                      <a:pt x="397" y="186"/>
                    </a:cubicBezTo>
                    <a:cubicBezTo>
                      <a:pt x="399" y="185"/>
                      <a:pt x="406" y="174"/>
                      <a:pt x="409" y="171"/>
                    </a:cubicBezTo>
                    <a:cubicBezTo>
                      <a:pt x="411" y="167"/>
                      <a:pt x="407" y="166"/>
                      <a:pt x="400" y="167"/>
                    </a:cubicBezTo>
                    <a:cubicBezTo>
                      <a:pt x="394" y="168"/>
                      <a:pt x="392" y="165"/>
                      <a:pt x="387" y="164"/>
                    </a:cubicBezTo>
                    <a:cubicBezTo>
                      <a:pt x="382" y="164"/>
                      <a:pt x="372" y="165"/>
                      <a:pt x="370" y="167"/>
                    </a:cubicBezTo>
                    <a:cubicBezTo>
                      <a:pt x="369" y="168"/>
                      <a:pt x="373" y="170"/>
                      <a:pt x="372" y="172"/>
                    </a:cubicBezTo>
                    <a:cubicBezTo>
                      <a:pt x="372" y="173"/>
                      <a:pt x="369" y="170"/>
                      <a:pt x="367" y="171"/>
                    </a:cubicBezTo>
                    <a:cubicBezTo>
                      <a:pt x="366" y="172"/>
                      <a:pt x="368" y="174"/>
                      <a:pt x="367" y="180"/>
                    </a:cubicBezTo>
                    <a:cubicBezTo>
                      <a:pt x="367" y="187"/>
                      <a:pt x="369" y="187"/>
                      <a:pt x="370" y="189"/>
                    </a:cubicBezTo>
                    <a:cubicBezTo>
                      <a:pt x="372" y="192"/>
                      <a:pt x="372" y="195"/>
                      <a:pt x="372" y="199"/>
                    </a:cubicBezTo>
                    <a:cubicBezTo>
                      <a:pt x="372" y="203"/>
                      <a:pt x="368" y="202"/>
                      <a:pt x="367" y="203"/>
                    </a:cubicBezTo>
                    <a:cubicBezTo>
                      <a:pt x="366" y="204"/>
                      <a:pt x="370" y="206"/>
                      <a:pt x="369" y="208"/>
                    </a:cubicBezTo>
                    <a:cubicBezTo>
                      <a:pt x="369" y="211"/>
                      <a:pt x="365" y="207"/>
                      <a:pt x="363" y="207"/>
                    </a:cubicBezTo>
                    <a:cubicBezTo>
                      <a:pt x="361" y="208"/>
                      <a:pt x="359" y="214"/>
                      <a:pt x="361" y="216"/>
                    </a:cubicBezTo>
                    <a:cubicBezTo>
                      <a:pt x="363" y="218"/>
                      <a:pt x="364" y="218"/>
                      <a:pt x="362" y="220"/>
                    </a:cubicBezTo>
                    <a:cubicBezTo>
                      <a:pt x="361" y="222"/>
                      <a:pt x="359" y="226"/>
                      <a:pt x="363" y="229"/>
                    </a:cubicBezTo>
                    <a:cubicBezTo>
                      <a:pt x="367" y="232"/>
                      <a:pt x="375" y="232"/>
                      <a:pt x="379" y="235"/>
                    </a:cubicBezTo>
                    <a:cubicBezTo>
                      <a:pt x="383" y="237"/>
                      <a:pt x="377" y="236"/>
                      <a:pt x="379" y="239"/>
                    </a:cubicBezTo>
                    <a:cubicBezTo>
                      <a:pt x="381" y="242"/>
                      <a:pt x="376" y="243"/>
                      <a:pt x="377" y="245"/>
                    </a:cubicBezTo>
                    <a:cubicBezTo>
                      <a:pt x="377" y="248"/>
                      <a:pt x="378" y="246"/>
                      <a:pt x="380" y="242"/>
                    </a:cubicBezTo>
                    <a:cubicBezTo>
                      <a:pt x="383" y="239"/>
                      <a:pt x="384" y="244"/>
                      <a:pt x="384" y="247"/>
                    </a:cubicBezTo>
                    <a:cubicBezTo>
                      <a:pt x="384" y="250"/>
                      <a:pt x="381" y="248"/>
                      <a:pt x="379" y="252"/>
                    </a:cubicBezTo>
                    <a:cubicBezTo>
                      <a:pt x="376" y="255"/>
                      <a:pt x="374" y="256"/>
                      <a:pt x="371" y="255"/>
                    </a:cubicBezTo>
                    <a:cubicBezTo>
                      <a:pt x="367" y="254"/>
                      <a:pt x="369" y="260"/>
                      <a:pt x="371" y="263"/>
                    </a:cubicBezTo>
                    <a:cubicBezTo>
                      <a:pt x="372" y="266"/>
                      <a:pt x="370" y="267"/>
                      <a:pt x="366" y="266"/>
                    </a:cubicBezTo>
                    <a:cubicBezTo>
                      <a:pt x="362" y="265"/>
                      <a:pt x="360" y="262"/>
                      <a:pt x="362" y="259"/>
                    </a:cubicBezTo>
                    <a:cubicBezTo>
                      <a:pt x="364" y="256"/>
                      <a:pt x="366" y="253"/>
                      <a:pt x="363" y="253"/>
                    </a:cubicBezTo>
                    <a:cubicBezTo>
                      <a:pt x="361" y="253"/>
                      <a:pt x="356" y="253"/>
                      <a:pt x="354" y="250"/>
                    </a:cubicBezTo>
                    <a:cubicBezTo>
                      <a:pt x="352" y="248"/>
                      <a:pt x="355" y="249"/>
                      <a:pt x="360" y="249"/>
                    </a:cubicBezTo>
                    <a:cubicBezTo>
                      <a:pt x="365" y="250"/>
                      <a:pt x="361" y="246"/>
                      <a:pt x="364" y="246"/>
                    </a:cubicBezTo>
                    <a:cubicBezTo>
                      <a:pt x="368" y="246"/>
                      <a:pt x="370" y="248"/>
                      <a:pt x="373" y="245"/>
                    </a:cubicBezTo>
                    <a:cubicBezTo>
                      <a:pt x="376" y="243"/>
                      <a:pt x="371" y="238"/>
                      <a:pt x="369" y="239"/>
                    </a:cubicBezTo>
                    <a:cubicBezTo>
                      <a:pt x="366" y="239"/>
                      <a:pt x="362" y="241"/>
                      <a:pt x="362" y="238"/>
                    </a:cubicBezTo>
                    <a:cubicBezTo>
                      <a:pt x="362" y="236"/>
                      <a:pt x="367" y="237"/>
                      <a:pt x="369" y="237"/>
                    </a:cubicBezTo>
                    <a:cubicBezTo>
                      <a:pt x="371" y="236"/>
                      <a:pt x="368" y="233"/>
                      <a:pt x="364" y="234"/>
                    </a:cubicBezTo>
                    <a:cubicBezTo>
                      <a:pt x="361" y="235"/>
                      <a:pt x="358" y="235"/>
                      <a:pt x="355" y="232"/>
                    </a:cubicBezTo>
                    <a:cubicBezTo>
                      <a:pt x="352" y="229"/>
                      <a:pt x="347" y="227"/>
                      <a:pt x="346" y="234"/>
                    </a:cubicBezTo>
                    <a:cubicBezTo>
                      <a:pt x="345" y="241"/>
                      <a:pt x="340" y="237"/>
                      <a:pt x="338" y="240"/>
                    </a:cubicBezTo>
                    <a:cubicBezTo>
                      <a:pt x="336" y="242"/>
                      <a:pt x="340" y="244"/>
                      <a:pt x="345" y="244"/>
                    </a:cubicBezTo>
                    <a:cubicBezTo>
                      <a:pt x="350" y="244"/>
                      <a:pt x="353" y="248"/>
                      <a:pt x="351" y="248"/>
                    </a:cubicBezTo>
                    <a:cubicBezTo>
                      <a:pt x="349" y="248"/>
                      <a:pt x="350" y="252"/>
                      <a:pt x="347" y="250"/>
                    </a:cubicBezTo>
                    <a:cubicBezTo>
                      <a:pt x="345" y="249"/>
                      <a:pt x="342" y="250"/>
                      <a:pt x="344" y="253"/>
                    </a:cubicBezTo>
                    <a:cubicBezTo>
                      <a:pt x="346" y="255"/>
                      <a:pt x="343" y="256"/>
                      <a:pt x="344" y="258"/>
                    </a:cubicBezTo>
                    <a:cubicBezTo>
                      <a:pt x="344" y="260"/>
                      <a:pt x="340" y="258"/>
                      <a:pt x="336" y="258"/>
                    </a:cubicBezTo>
                    <a:cubicBezTo>
                      <a:pt x="332" y="257"/>
                      <a:pt x="325" y="259"/>
                      <a:pt x="320" y="260"/>
                    </a:cubicBezTo>
                    <a:cubicBezTo>
                      <a:pt x="315" y="261"/>
                      <a:pt x="310" y="259"/>
                      <a:pt x="308" y="257"/>
                    </a:cubicBezTo>
                    <a:cubicBezTo>
                      <a:pt x="306" y="254"/>
                      <a:pt x="303" y="255"/>
                      <a:pt x="299" y="255"/>
                    </a:cubicBezTo>
                    <a:cubicBezTo>
                      <a:pt x="296" y="255"/>
                      <a:pt x="297" y="251"/>
                      <a:pt x="292" y="251"/>
                    </a:cubicBezTo>
                    <a:cubicBezTo>
                      <a:pt x="287" y="251"/>
                      <a:pt x="288" y="247"/>
                      <a:pt x="288" y="245"/>
                    </a:cubicBezTo>
                    <a:cubicBezTo>
                      <a:pt x="287" y="242"/>
                      <a:pt x="278" y="243"/>
                      <a:pt x="275" y="245"/>
                    </a:cubicBezTo>
                    <a:cubicBezTo>
                      <a:pt x="271" y="247"/>
                      <a:pt x="265" y="246"/>
                      <a:pt x="263" y="250"/>
                    </a:cubicBezTo>
                    <a:cubicBezTo>
                      <a:pt x="261" y="254"/>
                      <a:pt x="265" y="254"/>
                      <a:pt x="267" y="254"/>
                    </a:cubicBezTo>
                    <a:cubicBezTo>
                      <a:pt x="269" y="254"/>
                      <a:pt x="269" y="250"/>
                      <a:pt x="274" y="251"/>
                    </a:cubicBezTo>
                    <a:cubicBezTo>
                      <a:pt x="279" y="252"/>
                      <a:pt x="283" y="246"/>
                      <a:pt x="285" y="248"/>
                    </a:cubicBezTo>
                    <a:cubicBezTo>
                      <a:pt x="287" y="250"/>
                      <a:pt x="276" y="254"/>
                      <a:pt x="272" y="255"/>
                    </a:cubicBezTo>
                    <a:cubicBezTo>
                      <a:pt x="267" y="256"/>
                      <a:pt x="268" y="260"/>
                      <a:pt x="272" y="266"/>
                    </a:cubicBezTo>
                    <a:cubicBezTo>
                      <a:pt x="277" y="273"/>
                      <a:pt x="270" y="269"/>
                      <a:pt x="270" y="272"/>
                    </a:cubicBezTo>
                    <a:cubicBezTo>
                      <a:pt x="270" y="275"/>
                      <a:pt x="262" y="271"/>
                      <a:pt x="265" y="270"/>
                    </a:cubicBezTo>
                    <a:cubicBezTo>
                      <a:pt x="269" y="269"/>
                      <a:pt x="267" y="266"/>
                      <a:pt x="265" y="264"/>
                    </a:cubicBezTo>
                    <a:cubicBezTo>
                      <a:pt x="262" y="261"/>
                      <a:pt x="260" y="264"/>
                      <a:pt x="260" y="261"/>
                    </a:cubicBezTo>
                    <a:cubicBezTo>
                      <a:pt x="261" y="259"/>
                      <a:pt x="258" y="261"/>
                      <a:pt x="255" y="259"/>
                    </a:cubicBezTo>
                    <a:cubicBezTo>
                      <a:pt x="253" y="257"/>
                      <a:pt x="251" y="256"/>
                      <a:pt x="248" y="258"/>
                    </a:cubicBezTo>
                    <a:cubicBezTo>
                      <a:pt x="245" y="259"/>
                      <a:pt x="241" y="259"/>
                      <a:pt x="233" y="260"/>
                    </a:cubicBezTo>
                    <a:cubicBezTo>
                      <a:pt x="226" y="261"/>
                      <a:pt x="212" y="261"/>
                      <a:pt x="209" y="259"/>
                    </a:cubicBezTo>
                    <a:cubicBezTo>
                      <a:pt x="207" y="256"/>
                      <a:pt x="216" y="252"/>
                      <a:pt x="219" y="252"/>
                    </a:cubicBezTo>
                    <a:cubicBezTo>
                      <a:pt x="221" y="253"/>
                      <a:pt x="220" y="249"/>
                      <a:pt x="216" y="246"/>
                    </a:cubicBezTo>
                    <a:cubicBezTo>
                      <a:pt x="211" y="243"/>
                      <a:pt x="202" y="241"/>
                      <a:pt x="202" y="243"/>
                    </a:cubicBezTo>
                    <a:cubicBezTo>
                      <a:pt x="203" y="245"/>
                      <a:pt x="197" y="243"/>
                      <a:pt x="191" y="242"/>
                    </a:cubicBezTo>
                    <a:cubicBezTo>
                      <a:pt x="184" y="241"/>
                      <a:pt x="183" y="238"/>
                      <a:pt x="179" y="238"/>
                    </a:cubicBezTo>
                    <a:cubicBezTo>
                      <a:pt x="175" y="238"/>
                      <a:pt x="168" y="237"/>
                      <a:pt x="163" y="233"/>
                    </a:cubicBezTo>
                    <a:cubicBezTo>
                      <a:pt x="158" y="229"/>
                      <a:pt x="146" y="230"/>
                      <a:pt x="145" y="234"/>
                    </a:cubicBezTo>
                    <a:cubicBezTo>
                      <a:pt x="144" y="237"/>
                      <a:pt x="140" y="237"/>
                      <a:pt x="136" y="237"/>
                    </a:cubicBezTo>
                    <a:cubicBezTo>
                      <a:pt x="132" y="237"/>
                      <a:pt x="138" y="233"/>
                      <a:pt x="136" y="232"/>
                    </a:cubicBezTo>
                    <a:cubicBezTo>
                      <a:pt x="134" y="231"/>
                      <a:pt x="136" y="226"/>
                      <a:pt x="133" y="226"/>
                    </a:cubicBezTo>
                    <a:cubicBezTo>
                      <a:pt x="131" y="225"/>
                      <a:pt x="128" y="237"/>
                      <a:pt x="123" y="237"/>
                    </a:cubicBezTo>
                    <a:cubicBezTo>
                      <a:pt x="117" y="237"/>
                      <a:pt x="115" y="224"/>
                      <a:pt x="110" y="221"/>
                    </a:cubicBezTo>
                    <a:cubicBezTo>
                      <a:pt x="106" y="218"/>
                      <a:pt x="102" y="217"/>
                      <a:pt x="106" y="222"/>
                    </a:cubicBezTo>
                    <a:cubicBezTo>
                      <a:pt x="109" y="227"/>
                      <a:pt x="102" y="224"/>
                      <a:pt x="103" y="227"/>
                    </a:cubicBezTo>
                    <a:cubicBezTo>
                      <a:pt x="103" y="230"/>
                      <a:pt x="97" y="234"/>
                      <a:pt x="97" y="232"/>
                    </a:cubicBezTo>
                    <a:cubicBezTo>
                      <a:pt x="97" y="230"/>
                      <a:pt x="93" y="228"/>
                      <a:pt x="89" y="233"/>
                    </a:cubicBezTo>
                    <a:cubicBezTo>
                      <a:pt x="85" y="238"/>
                      <a:pt x="82" y="238"/>
                      <a:pt x="81" y="236"/>
                    </a:cubicBezTo>
                    <a:cubicBezTo>
                      <a:pt x="81" y="234"/>
                      <a:pt x="68" y="241"/>
                      <a:pt x="69" y="243"/>
                    </a:cubicBezTo>
                    <a:cubicBezTo>
                      <a:pt x="69" y="245"/>
                      <a:pt x="67" y="246"/>
                      <a:pt x="64" y="246"/>
                    </a:cubicBezTo>
                    <a:cubicBezTo>
                      <a:pt x="60" y="246"/>
                      <a:pt x="63" y="243"/>
                      <a:pt x="66" y="242"/>
                    </a:cubicBezTo>
                    <a:cubicBezTo>
                      <a:pt x="69" y="240"/>
                      <a:pt x="77" y="234"/>
                      <a:pt x="81" y="233"/>
                    </a:cubicBezTo>
                    <a:cubicBezTo>
                      <a:pt x="85" y="232"/>
                      <a:pt x="94" y="229"/>
                      <a:pt x="94" y="227"/>
                    </a:cubicBezTo>
                    <a:cubicBezTo>
                      <a:pt x="94" y="225"/>
                      <a:pt x="90" y="226"/>
                      <a:pt x="87" y="226"/>
                    </a:cubicBezTo>
                    <a:cubicBezTo>
                      <a:pt x="84" y="225"/>
                      <a:pt x="79" y="229"/>
                      <a:pt x="74" y="231"/>
                    </a:cubicBezTo>
                    <a:cubicBezTo>
                      <a:pt x="69" y="233"/>
                      <a:pt x="64" y="232"/>
                      <a:pt x="65" y="235"/>
                    </a:cubicBezTo>
                    <a:cubicBezTo>
                      <a:pt x="67" y="238"/>
                      <a:pt x="61" y="235"/>
                      <a:pt x="59" y="237"/>
                    </a:cubicBezTo>
                    <a:cubicBezTo>
                      <a:pt x="58" y="239"/>
                      <a:pt x="56" y="236"/>
                      <a:pt x="58" y="235"/>
                    </a:cubicBezTo>
                    <a:cubicBezTo>
                      <a:pt x="59" y="234"/>
                      <a:pt x="53" y="232"/>
                      <a:pt x="53" y="234"/>
                    </a:cubicBezTo>
                    <a:cubicBezTo>
                      <a:pt x="53" y="235"/>
                      <a:pt x="52" y="236"/>
                      <a:pt x="48" y="236"/>
                    </a:cubicBezTo>
                    <a:cubicBezTo>
                      <a:pt x="44" y="236"/>
                      <a:pt x="39" y="239"/>
                      <a:pt x="42" y="242"/>
                    </a:cubicBezTo>
                    <a:cubicBezTo>
                      <a:pt x="45" y="244"/>
                      <a:pt x="47" y="245"/>
                      <a:pt x="46" y="246"/>
                    </a:cubicBezTo>
                    <a:cubicBezTo>
                      <a:pt x="44" y="248"/>
                      <a:pt x="40" y="242"/>
                      <a:pt x="33" y="243"/>
                    </a:cubicBezTo>
                    <a:cubicBezTo>
                      <a:pt x="27" y="244"/>
                      <a:pt x="15" y="236"/>
                      <a:pt x="15" y="234"/>
                    </a:cubicBezTo>
                    <a:cubicBezTo>
                      <a:pt x="15" y="233"/>
                      <a:pt x="6" y="234"/>
                      <a:pt x="0" y="233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0" y="356"/>
                      <a:pt x="3" y="359"/>
                      <a:pt x="4" y="357"/>
                    </a:cubicBezTo>
                    <a:cubicBezTo>
                      <a:pt x="5" y="356"/>
                      <a:pt x="7" y="358"/>
                      <a:pt x="11" y="356"/>
                    </a:cubicBezTo>
                    <a:cubicBezTo>
                      <a:pt x="16" y="354"/>
                      <a:pt x="17" y="358"/>
                      <a:pt x="17" y="360"/>
                    </a:cubicBezTo>
                    <a:cubicBezTo>
                      <a:pt x="17" y="362"/>
                      <a:pt x="23" y="365"/>
                      <a:pt x="25" y="368"/>
                    </a:cubicBezTo>
                    <a:cubicBezTo>
                      <a:pt x="27" y="371"/>
                      <a:pt x="29" y="374"/>
                      <a:pt x="31" y="372"/>
                    </a:cubicBezTo>
                    <a:cubicBezTo>
                      <a:pt x="34" y="370"/>
                      <a:pt x="39" y="369"/>
                      <a:pt x="39" y="366"/>
                    </a:cubicBezTo>
                    <a:cubicBezTo>
                      <a:pt x="39" y="363"/>
                      <a:pt x="50" y="363"/>
                      <a:pt x="50" y="367"/>
                    </a:cubicBezTo>
                    <a:cubicBezTo>
                      <a:pt x="50" y="371"/>
                      <a:pt x="61" y="376"/>
                      <a:pt x="67" y="386"/>
                    </a:cubicBezTo>
                    <a:cubicBezTo>
                      <a:pt x="73" y="397"/>
                      <a:pt x="72" y="400"/>
                      <a:pt x="81" y="403"/>
                    </a:cubicBezTo>
                    <a:cubicBezTo>
                      <a:pt x="90" y="407"/>
                      <a:pt x="90" y="409"/>
                      <a:pt x="89" y="412"/>
                    </a:cubicBezTo>
                    <a:cubicBezTo>
                      <a:pt x="88" y="415"/>
                      <a:pt x="94" y="417"/>
                      <a:pt x="90" y="419"/>
                    </a:cubicBezTo>
                    <a:cubicBezTo>
                      <a:pt x="89" y="420"/>
                      <a:pt x="87" y="422"/>
                      <a:pt x="85" y="423"/>
                    </a:cubicBezTo>
                    <a:cubicBezTo>
                      <a:pt x="85" y="425"/>
                      <a:pt x="87" y="426"/>
                      <a:pt x="88" y="427"/>
                    </a:cubicBezTo>
                    <a:cubicBezTo>
                      <a:pt x="90" y="429"/>
                      <a:pt x="84" y="429"/>
                      <a:pt x="86" y="431"/>
                    </a:cubicBezTo>
                    <a:cubicBezTo>
                      <a:pt x="88" y="432"/>
                      <a:pt x="86" y="435"/>
                      <a:pt x="88" y="437"/>
                    </a:cubicBezTo>
                    <a:cubicBezTo>
                      <a:pt x="89" y="439"/>
                      <a:pt x="93" y="438"/>
                      <a:pt x="95" y="436"/>
                    </a:cubicBezTo>
                    <a:cubicBezTo>
                      <a:pt x="97" y="435"/>
                      <a:pt x="98" y="438"/>
                      <a:pt x="96" y="441"/>
                    </a:cubicBezTo>
                    <a:cubicBezTo>
                      <a:pt x="95" y="444"/>
                      <a:pt x="98" y="446"/>
                      <a:pt x="100" y="444"/>
                    </a:cubicBezTo>
                    <a:cubicBezTo>
                      <a:pt x="101" y="442"/>
                      <a:pt x="105" y="447"/>
                      <a:pt x="106" y="448"/>
                    </a:cubicBezTo>
                    <a:cubicBezTo>
                      <a:pt x="108" y="449"/>
                      <a:pt x="110" y="451"/>
                      <a:pt x="107" y="451"/>
                    </a:cubicBezTo>
                    <a:cubicBezTo>
                      <a:pt x="104" y="451"/>
                      <a:pt x="105" y="456"/>
                      <a:pt x="107" y="456"/>
                    </a:cubicBezTo>
                    <a:cubicBezTo>
                      <a:pt x="109" y="456"/>
                      <a:pt x="108" y="459"/>
                      <a:pt x="108" y="460"/>
                    </a:cubicBezTo>
                    <a:cubicBezTo>
                      <a:pt x="108" y="462"/>
                      <a:pt x="115" y="464"/>
                      <a:pt x="117" y="464"/>
                    </a:cubicBezTo>
                    <a:cubicBezTo>
                      <a:pt x="119" y="463"/>
                      <a:pt x="121" y="465"/>
                      <a:pt x="122" y="467"/>
                    </a:cubicBezTo>
                    <a:cubicBezTo>
                      <a:pt x="123" y="469"/>
                      <a:pt x="128" y="470"/>
                      <a:pt x="129" y="469"/>
                    </a:cubicBezTo>
                    <a:cubicBezTo>
                      <a:pt x="131" y="468"/>
                      <a:pt x="132" y="471"/>
                      <a:pt x="132" y="474"/>
                    </a:cubicBezTo>
                    <a:cubicBezTo>
                      <a:pt x="133" y="476"/>
                      <a:pt x="136" y="475"/>
                      <a:pt x="138" y="475"/>
                    </a:cubicBezTo>
                    <a:cubicBezTo>
                      <a:pt x="141" y="475"/>
                      <a:pt x="142" y="478"/>
                      <a:pt x="143" y="477"/>
                    </a:cubicBezTo>
                    <a:cubicBezTo>
                      <a:pt x="146" y="476"/>
                      <a:pt x="147" y="481"/>
                      <a:pt x="149" y="485"/>
                    </a:cubicBezTo>
                    <a:cubicBezTo>
                      <a:pt x="371" y="484"/>
                      <a:pt x="371" y="484"/>
                      <a:pt x="371" y="484"/>
                    </a:cubicBezTo>
                    <a:cubicBezTo>
                      <a:pt x="371" y="484"/>
                      <a:pt x="371" y="478"/>
                      <a:pt x="374" y="480"/>
                    </a:cubicBezTo>
                    <a:cubicBezTo>
                      <a:pt x="376" y="482"/>
                      <a:pt x="374" y="485"/>
                      <a:pt x="377" y="486"/>
                    </a:cubicBezTo>
                    <a:cubicBezTo>
                      <a:pt x="380" y="487"/>
                      <a:pt x="382" y="489"/>
                      <a:pt x="384" y="488"/>
                    </a:cubicBezTo>
                    <a:cubicBezTo>
                      <a:pt x="386" y="488"/>
                      <a:pt x="389" y="485"/>
                      <a:pt x="391" y="489"/>
                    </a:cubicBezTo>
                    <a:cubicBezTo>
                      <a:pt x="394" y="492"/>
                      <a:pt x="396" y="489"/>
                      <a:pt x="398" y="491"/>
                    </a:cubicBezTo>
                    <a:cubicBezTo>
                      <a:pt x="400" y="493"/>
                      <a:pt x="403" y="495"/>
                      <a:pt x="405" y="493"/>
                    </a:cubicBezTo>
                    <a:cubicBezTo>
                      <a:pt x="407" y="490"/>
                      <a:pt x="413" y="493"/>
                      <a:pt x="417" y="494"/>
                    </a:cubicBezTo>
                    <a:cubicBezTo>
                      <a:pt x="420" y="491"/>
                      <a:pt x="424" y="484"/>
                      <a:pt x="427" y="484"/>
                    </a:cubicBezTo>
                    <a:cubicBezTo>
                      <a:pt x="432" y="484"/>
                      <a:pt x="443" y="485"/>
                      <a:pt x="444" y="491"/>
                    </a:cubicBezTo>
                    <a:cubicBezTo>
                      <a:pt x="445" y="498"/>
                      <a:pt x="452" y="492"/>
                      <a:pt x="453" y="498"/>
                    </a:cubicBezTo>
                    <a:cubicBezTo>
                      <a:pt x="453" y="502"/>
                      <a:pt x="458" y="506"/>
                      <a:pt x="457" y="509"/>
                    </a:cubicBezTo>
                    <a:cubicBezTo>
                      <a:pt x="459" y="510"/>
                      <a:pt x="460" y="511"/>
                      <a:pt x="462" y="512"/>
                    </a:cubicBezTo>
                    <a:cubicBezTo>
                      <a:pt x="464" y="511"/>
                      <a:pt x="470" y="512"/>
                      <a:pt x="474" y="514"/>
                    </a:cubicBezTo>
                    <a:cubicBezTo>
                      <a:pt x="479" y="515"/>
                      <a:pt x="487" y="511"/>
                      <a:pt x="489" y="517"/>
                    </a:cubicBezTo>
                    <a:cubicBezTo>
                      <a:pt x="492" y="524"/>
                      <a:pt x="497" y="528"/>
                      <a:pt x="492" y="529"/>
                    </a:cubicBezTo>
                    <a:cubicBezTo>
                      <a:pt x="487" y="529"/>
                      <a:pt x="481" y="522"/>
                      <a:pt x="482" y="526"/>
                    </a:cubicBezTo>
                    <a:cubicBezTo>
                      <a:pt x="482" y="530"/>
                      <a:pt x="479" y="528"/>
                      <a:pt x="479" y="533"/>
                    </a:cubicBezTo>
                    <a:cubicBezTo>
                      <a:pt x="479" y="539"/>
                      <a:pt x="476" y="546"/>
                      <a:pt x="473" y="546"/>
                    </a:cubicBezTo>
                    <a:cubicBezTo>
                      <a:pt x="473" y="546"/>
                      <a:pt x="473" y="546"/>
                      <a:pt x="473" y="546"/>
                    </a:cubicBezTo>
                    <a:cubicBezTo>
                      <a:pt x="473" y="548"/>
                      <a:pt x="473" y="550"/>
                      <a:pt x="474" y="552"/>
                    </a:cubicBezTo>
                    <a:cubicBezTo>
                      <a:pt x="477" y="550"/>
                      <a:pt x="481" y="547"/>
                      <a:pt x="484" y="547"/>
                    </a:cubicBezTo>
                    <a:cubicBezTo>
                      <a:pt x="490" y="547"/>
                      <a:pt x="491" y="550"/>
                      <a:pt x="495" y="548"/>
                    </a:cubicBezTo>
                    <a:cubicBezTo>
                      <a:pt x="498" y="545"/>
                      <a:pt x="499" y="544"/>
                      <a:pt x="500" y="546"/>
                    </a:cubicBezTo>
                    <a:cubicBezTo>
                      <a:pt x="500" y="546"/>
                      <a:pt x="500" y="547"/>
                      <a:pt x="500" y="547"/>
                    </a:cubicBezTo>
                    <a:cubicBezTo>
                      <a:pt x="501" y="546"/>
                      <a:pt x="502" y="545"/>
                      <a:pt x="502" y="545"/>
                    </a:cubicBezTo>
                    <a:cubicBezTo>
                      <a:pt x="502" y="544"/>
                      <a:pt x="502" y="543"/>
                      <a:pt x="502" y="542"/>
                    </a:cubicBezTo>
                    <a:cubicBezTo>
                      <a:pt x="498" y="542"/>
                      <a:pt x="497" y="542"/>
                      <a:pt x="496" y="540"/>
                    </a:cubicBezTo>
                    <a:cubicBezTo>
                      <a:pt x="494" y="536"/>
                      <a:pt x="507" y="533"/>
                      <a:pt x="512" y="534"/>
                    </a:cubicBezTo>
                    <a:cubicBezTo>
                      <a:pt x="518" y="534"/>
                      <a:pt x="521" y="530"/>
                      <a:pt x="523" y="533"/>
                    </a:cubicBezTo>
                    <a:cubicBezTo>
                      <a:pt x="527" y="530"/>
                      <a:pt x="533" y="525"/>
                      <a:pt x="534" y="525"/>
                    </a:cubicBezTo>
                    <a:cubicBezTo>
                      <a:pt x="536" y="525"/>
                      <a:pt x="562" y="524"/>
                      <a:pt x="562" y="524"/>
                    </a:cubicBezTo>
                    <a:cubicBezTo>
                      <a:pt x="562" y="524"/>
                      <a:pt x="571" y="519"/>
                      <a:pt x="572" y="514"/>
                    </a:cubicBezTo>
                    <a:cubicBezTo>
                      <a:pt x="573" y="509"/>
                      <a:pt x="579" y="497"/>
                      <a:pt x="582" y="500"/>
                    </a:cubicBezTo>
                    <a:cubicBezTo>
                      <a:pt x="585" y="502"/>
                      <a:pt x="592" y="500"/>
                      <a:pt x="593" y="503"/>
                    </a:cubicBezTo>
                    <a:cubicBezTo>
                      <a:pt x="593" y="505"/>
                      <a:pt x="590" y="513"/>
                      <a:pt x="599" y="525"/>
                    </a:cubicBezTo>
                    <a:cubicBezTo>
                      <a:pt x="603" y="523"/>
                      <a:pt x="606" y="521"/>
                      <a:pt x="608" y="522"/>
                    </a:cubicBezTo>
                    <a:cubicBezTo>
                      <a:pt x="611" y="522"/>
                      <a:pt x="616" y="517"/>
                      <a:pt x="617" y="515"/>
                    </a:cubicBezTo>
                    <a:cubicBezTo>
                      <a:pt x="619" y="512"/>
                      <a:pt x="621" y="517"/>
                      <a:pt x="618" y="518"/>
                    </a:cubicBezTo>
                    <a:cubicBezTo>
                      <a:pt x="615" y="519"/>
                      <a:pt x="620" y="521"/>
                      <a:pt x="625" y="521"/>
                    </a:cubicBezTo>
                    <a:cubicBezTo>
                      <a:pt x="630" y="521"/>
                      <a:pt x="623" y="523"/>
                      <a:pt x="619" y="523"/>
                    </a:cubicBezTo>
                    <a:cubicBezTo>
                      <a:pt x="615" y="522"/>
                      <a:pt x="614" y="523"/>
                      <a:pt x="609" y="528"/>
                    </a:cubicBezTo>
                    <a:cubicBezTo>
                      <a:pt x="604" y="533"/>
                      <a:pt x="605" y="534"/>
                      <a:pt x="608" y="537"/>
                    </a:cubicBezTo>
                    <a:cubicBezTo>
                      <a:pt x="611" y="539"/>
                      <a:pt x="614" y="538"/>
                      <a:pt x="618" y="535"/>
                    </a:cubicBezTo>
                    <a:cubicBezTo>
                      <a:pt x="622" y="532"/>
                      <a:pt x="622" y="528"/>
                      <a:pt x="626" y="528"/>
                    </a:cubicBezTo>
                    <a:cubicBezTo>
                      <a:pt x="630" y="529"/>
                      <a:pt x="640" y="525"/>
                      <a:pt x="645" y="523"/>
                    </a:cubicBezTo>
                    <a:cubicBezTo>
                      <a:pt x="649" y="522"/>
                      <a:pt x="646" y="521"/>
                      <a:pt x="646" y="519"/>
                    </a:cubicBezTo>
                    <a:cubicBezTo>
                      <a:pt x="646" y="517"/>
                      <a:pt x="654" y="517"/>
                      <a:pt x="657" y="515"/>
                    </a:cubicBezTo>
                    <a:cubicBezTo>
                      <a:pt x="660" y="513"/>
                      <a:pt x="656" y="512"/>
                      <a:pt x="654" y="512"/>
                    </a:cubicBezTo>
                    <a:close/>
                    <a:moveTo>
                      <a:pt x="190" y="281"/>
                    </a:moveTo>
                    <a:cubicBezTo>
                      <a:pt x="185" y="287"/>
                      <a:pt x="183" y="288"/>
                      <a:pt x="179" y="287"/>
                    </a:cubicBezTo>
                    <a:cubicBezTo>
                      <a:pt x="174" y="286"/>
                      <a:pt x="171" y="288"/>
                      <a:pt x="173" y="290"/>
                    </a:cubicBezTo>
                    <a:cubicBezTo>
                      <a:pt x="176" y="292"/>
                      <a:pt x="176" y="293"/>
                      <a:pt x="171" y="294"/>
                    </a:cubicBezTo>
                    <a:cubicBezTo>
                      <a:pt x="166" y="295"/>
                      <a:pt x="163" y="299"/>
                      <a:pt x="161" y="299"/>
                    </a:cubicBezTo>
                    <a:cubicBezTo>
                      <a:pt x="159" y="298"/>
                      <a:pt x="169" y="291"/>
                      <a:pt x="166" y="289"/>
                    </a:cubicBezTo>
                    <a:cubicBezTo>
                      <a:pt x="164" y="287"/>
                      <a:pt x="157" y="292"/>
                      <a:pt x="157" y="295"/>
                    </a:cubicBezTo>
                    <a:cubicBezTo>
                      <a:pt x="157" y="297"/>
                      <a:pt x="152" y="297"/>
                      <a:pt x="150" y="297"/>
                    </a:cubicBezTo>
                    <a:cubicBezTo>
                      <a:pt x="147" y="297"/>
                      <a:pt x="143" y="294"/>
                      <a:pt x="146" y="294"/>
                    </a:cubicBezTo>
                    <a:cubicBezTo>
                      <a:pt x="149" y="294"/>
                      <a:pt x="147" y="291"/>
                      <a:pt x="151" y="289"/>
                    </a:cubicBezTo>
                    <a:cubicBezTo>
                      <a:pt x="154" y="288"/>
                      <a:pt x="150" y="286"/>
                      <a:pt x="151" y="284"/>
                    </a:cubicBezTo>
                    <a:cubicBezTo>
                      <a:pt x="152" y="283"/>
                      <a:pt x="160" y="286"/>
                      <a:pt x="160" y="283"/>
                    </a:cubicBezTo>
                    <a:cubicBezTo>
                      <a:pt x="160" y="280"/>
                      <a:pt x="152" y="278"/>
                      <a:pt x="150" y="280"/>
                    </a:cubicBezTo>
                    <a:cubicBezTo>
                      <a:pt x="147" y="281"/>
                      <a:pt x="141" y="285"/>
                      <a:pt x="134" y="282"/>
                    </a:cubicBezTo>
                    <a:cubicBezTo>
                      <a:pt x="132" y="281"/>
                      <a:pt x="152" y="279"/>
                      <a:pt x="156" y="276"/>
                    </a:cubicBezTo>
                    <a:cubicBezTo>
                      <a:pt x="159" y="273"/>
                      <a:pt x="174" y="269"/>
                      <a:pt x="175" y="272"/>
                    </a:cubicBezTo>
                    <a:cubicBezTo>
                      <a:pt x="177" y="275"/>
                      <a:pt x="167" y="277"/>
                      <a:pt x="172" y="279"/>
                    </a:cubicBezTo>
                    <a:cubicBezTo>
                      <a:pt x="176" y="282"/>
                      <a:pt x="184" y="280"/>
                      <a:pt x="185" y="277"/>
                    </a:cubicBezTo>
                    <a:cubicBezTo>
                      <a:pt x="187" y="275"/>
                      <a:pt x="194" y="275"/>
                      <a:pt x="190" y="281"/>
                    </a:cubicBezTo>
                    <a:close/>
                    <a:moveTo>
                      <a:pt x="235" y="338"/>
                    </a:moveTo>
                    <a:cubicBezTo>
                      <a:pt x="229" y="343"/>
                      <a:pt x="230" y="342"/>
                      <a:pt x="225" y="343"/>
                    </a:cubicBezTo>
                    <a:cubicBezTo>
                      <a:pt x="220" y="343"/>
                      <a:pt x="224" y="348"/>
                      <a:pt x="218" y="349"/>
                    </a:cubicBezTo>
                    <a:cubicBezTo>
                      <a:pt x="212" y="349"/>
                      <a:pt x="198" y="350"/>
                      <a:pt x="196" y="346"/>
                    </a:cubicBezTo>
                    <a:cubicBezTo>
                      <a:pt x="196" y="345"/>
                      <a:pt x="204" y="346"/>
                      <a:pt x="204" y="344"/>
                    </a:cubicBezTo>
                    <a:cubicBezTo>
                      <a:pt x="205" y="341"/>
                      <a:pt x="207" y="338"/>
                      <a:pt x="211" y="338"/>
                    </a:cubicBezTo>
                    <a:cubicBezTo>
                      <a:pt x="214" y="338"/>
                      <a:pt x="214" y="333"/>
                      <a:pt x="208" y="330"/>
                    </a:cubicBezTo>
                    <a:cubicBezTo>
                      <a:pt x="202" y="327"/>
                      <a:pt x="217" y="325"/>
                      <a:pt x="220" y="330"/>
                    </a:cubicBezTo>
                    <a:cubicBezTo>
                      <a:pt x="223" y="334"/>
                      <a:pt x="229" y="338"/>
                      <a:pt x="232" y="334"/>
                    </a:cubicBezTo>
                    <a:cubicBezTo>
                      <a:pt x="235" y="331"/>
                      <a:pt x="254" y="322"/>
                      <a:pt x="254" y="326"/>
                    </a:cubicBezTo>
                    <a:cubicBezTo>
                      <a:pt x="254" y="331"/>
                      <a:pt x="240" y="333"/>
                      <a:pt x="235" y="338"/>
                    </a:cubicBezTo>
                    <a:close/>
                    <a:moveTo>
                      <a:pt x="359" y="468"/>
                    </a:moveTo>
                    <a:cubicBezTo>
                      <a:pt x="355" y="468"/>
                      <a:pt x="359" y="458"/>
                      <a:pt x="352" y="454"/>
                    </a:cubicBezTo>
                    <a:cubicBezTo>
                      <a:pt x="344" y="449"/>
                      <a:pt x="340" y="440"/>
                      <a:pt x="340" y="436"/>
                    </a:cubicBezTo>
                    <a:cubicBezTo>
                      <a:pt x="340" y="431"/>
                      <a:pt x="347" y="429"/>
                      <a:pt x="350" y="433"/>
                    </a:cubicBezTo>
                    <a:cubicBezTo>
                      <a:pt x="353" y="436"/>
                      <a:pt x="357" y="451"/>
                      <a:pt x="360" y="455"/>
                    </a:cubicBezTo>
                    <a:cubicBezTo>
                      <a:pt x="362" y="460"/>
                      <a:pt x="362" y="468"/>
                      <a:pt x="359" y="468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70" name="Freeform 148">
                <a:extLst>
                  <a:ext uri="{FF2B5EF4-FFF2-40B4-BE49-F238E27FC236}">
                    <a16:creationId xmlns:a16="http://schemas.microsoft.com/office/drawing/2014/main" id="{7BA30EF0-9D85-48DC-B154-604E618559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313926" y="1620505"/>
                <a:ext cx="5003031" cy="1916746"/>
              </a:xfrm>
              <a:custGeom>
                <a:avLst/>
                <a:gdLst>
                  <a:gd name="T0" fmla="*/ 361 w 1374"/>
                  <a:gd name="T1" fmla="*/ 10 h 527"/>
                  <a:gd name="T2" fmla="*/ 611 w 1374"/>
                  <a:gd name="T3" fmla="*/ 5 h 527"/>
                  <a:gd name="T4" fmla="*/ 481 w 1374"/>
                  <a:gd name="T5" fmla="*/ 150 h 527"/>
                  <a:gd name="T6" fmla="*/ 663 w 1374"/>
                  <a:gd name="T7" fmla="*/ 49 h 527"/>
                  <a:gd name="T8" fmla="*/ 1003 w 1374"/>
                  <a:gd name="T9" fmla="*/ 110 h 527"/>
                  <a:gd name="T10" fmla="*/ 1054 w 1374"/>
                  <a:gd name="T11" fmla="*/ 117 h 527"/>
                  <a:gd name="T12" fmla="*/ 982 w 1374"/>
                  <a:gd name="T13" fmla="*/ 426 h 527"/>
                  <a:gd name="T14" fmla="*/ 244 w 1374"/>
                  <a:gd name="T15" fmla="*/ 22 h 527"/>
                  <a:gd name="T16" fmla="*/ 1332 w 1374"/>
                  <a:gd name="T17" fmla="*/ 242 h 527"/>
                  <a:gd name="T18" fmla="*/ 1194 w 1374"/>
                  <a:gd name="T19" fmla="*/ 202 h 527"/>
                  <a:gd name="T20" fmla="*/ 1063 w 1374"/>
                  <a:gd name="T21" fmla="*/ 177 h 527"/>
                  <a:gd name="T22" fmla="*/ 974 w 1374"/>
                  <a:gd name="T23" fmla="*/ 150 h 527"/>
                  <a:gd name="T24" fmla="*/ 903 w 1374"/>
                  <a:gd name="T25" fmla="*/ 167 h 527"/>
                  <a:gd name="T26" fmla="*/ 845 w 1374"/>
                  <a:gd name="T27" fmla="*/ 138 h 527"/>
                  <a:gd name="T28" fmla="*/ 748 w 1374"/>
                  <a:gd name="T29" fmla="*/ 136 h 527"/>
                  <a:gd name="T30" fmla="*/ 738 w 1374"/>
                  <a:gd name="T31" fmla="*/ 118 h 527"/>
                  <a:gd name="T32" fmla="*/ 699 w 1374"/>
                  <a:gd name="T33" fmla="*/ 83 h 527"/>
                  <a:gd name="T34" fmla="*/ 631 w 1374"/>
                  <a:gd name="T35" fmla="*/ 96 h 527"/>
                  <a:gd name="T36" fmla="*/ 547 w 1374"/>
                  <a:gd name="T37" fmla="*/ 114 h 527"/>
                  <a:gd name="T38" fmla="*/ 519 w 1374"/>
                  <a:gd name="T39" fmla="*/ 137 h 527"/>
                  <a:gd name="T40" fmla="*/ 479 w 1374"/>
                  <a:gd name="T41" fmla="*/ 177 h 527"/>
                  <a:gd name="T42" fmla="*/ 456 w 1374"/>
                  <a:gd name="T43" fmla="*/ 204 h 527"/>
                  <a:gd name="T44" fmla="*/ 422 w 1374"/>
                  <a:gd name="T45" fmla="*/ 243 h 527"/>
                  <a:gd name="T46" fmla="*/ 438 w 1374"/>
                  <a:gd name="T47" fmla="*/ 213 h 527"/>
                  <a:gd name="T48" fmla="*/ 387 w 1374"/>
                  <a:gd name="T49" fmla="*/ 187 h 527"/>
                  <a:gd name="T50" fmla="*/ 326 w 1374"/>
                  <a:gd name="T51" fmla="*/ 196 h 527"/>
                  <a:gd name="T52" fmla="*/ 269 w 1374"/>
                  <a:gd name="T53" fmla="*/ 210 h 527"/>
                  <a:gd name="T54" fmla="*/ 196 w 1374"/>
                  <a:gd name="T55" fmla="*/ 214 h 527"/>
                  <a:gd name="T56" fmla="*/ 150 w 1374"/>
                  <a:gd name="T57" fmla="*/ 262 h 527"/>
                  <a:gd name="T58" fmla="*/ 103 w 1374"/>
                  <a:gd name="T59" fmla="*/ 233 h 527"/>
                  <a:gd name="T60" fmla="*/ 107 w 1374"/>
                  <a:gd name="T61" fmla="*/ 200 h 527"/>
                  <a:gd name="T62" fmla="*/ 79 w 1374"/>
                  <a:gd name="T63" fmla="*/ 230 h 527"/>
                  <a:gd name="T64" fmla="*/ 70 w 1374"/>
                  <a:gd name="T65" fmla="*/ 315 h 527"/>
                  <a:gd name="T66" fmla="*/ 74 w 1374"/>
                  <a:gd name="T67" fmla="*/ 370 h 527"/>
                  <a:gd name="T68" fmla="*/ 115 w 1374"/>
                  <a:gd name="T69" fmla="*/ 412 h 527"/>
                  <a:gd name="T70" fmla="*/ 161 w 1374"/>
                  <a:gd name="T71" fmla="*/ 450 h 527"/>
                  <a:gd name="T72" fmla="*/ 165 w 1374"/>
                  <a:gd name="T73" fmla="*/ 503 h 527"/>
                  <a:gd name="T74" fmla="*/ 238 w 1374"/>
                  <a:gd name="T75" fmla="*/ 476 h 527"/>
                  <a:gd name="T76" fmla="*/ 237 w 1374"/>
                  <a:gd name="T77" fmla="*/ 430 h 527"/>
                  <a:gd name="T78" fmla="*/ 325 w 1374"/>
                  <a:gd name="T79" fmla="*/ 432 h 527"/>
                  <a:gd name="T80" fmla="*/ 374 w 1374"/>
                  <a:gd name="T81" fmla="*/ 388 h 527"/>
                  <a:gd name="T82" fmla="*/ 451 w 1374"/>
                  <a:gd name="T83" fmla="*/ 395 h 527"/>
                  <a:gd name="T84" fmla="*/ 541 w 1374"/>
                  <a:gd name="T85" fmla="*/ 442 h 527"/>
                  <a:gd name="T86" fmla="*/ 625 w 1374"/>
                  <a:gd name="T87" fmla="*/ 432 h 527"/>
                  <a:gd name="T88" fmla="*/ 697 w 1374"/>
                  <a:gd name="T89" fmla="*/ 437 h 527"/>
                  <a:gd name="T90" fmla="*/ 804 w 1374"/>
                  <a:gd name="T91" fmla="*/ 419 h 527"/>
                  <a:gd name="T92" fmla="*/ 888 w 1374"/>
                  <a:gd name="T93" fmla="*/ 453 h 527"/>
                  <a:gd name="T94" fmla="*/ 899 w 1374"/>
                  <a:gd name="T95" fmla="*/ 508 h 527"/>
                  <a:gd name="T96" fmla="*/ 961 w 1374"/>
                  <a:gd name="T97" fmla="*/ 393 h 527"/>
                  <a:gd name="T98" fmla="*/ 970 w 1374"/>
                  <a:gd name="T99" fmla="*/ 348 h 527"/>
                  <a:gd name="T100" fmla="*/ 1078 w 1374"/>
                  <a:gd name="T101" fmla="*/ 337 h 527"/>
                  <a:gd name="T102" fmla="*/ 1152 w 1374"/>
                  <a:gd name="T103" fmla="*/ 299 h 527"/>
                  <a:gd name="T104" fmla="*/ 1098 w 1374"/>
                  <a:gd name="T105" fmla="*/ 424 h 527"/>
                  <a:gd name="T106" fmla="*/ 1151 w 1374"/>
                  <a:gd name="T107" fmla="*/ 352 h 527"/>
                  <a:gd name="T108" fmla="*/ 1235 w 1374"/>
                  <a:gd name="T109" fmla="*/ 309 h 527"/>
                  <a:gd name="T110" fmla="*/ 1292 w 1374"/>
                  <a:gd name="T111" fmla="*/ 262 h 527"/>
                  <a:gd name="T112" fmla="*/ 1347 w 1374"/>
                  <a:gd name="T113" fmla="*/ 267 h 527"/>
                  <a:gd name="T114" fmla="*/ 707 w 1374"/>
                  <a:gd name="T115" fmla="*/ 392 h 527"/>
                  <a:gd name="T116" fmla="*/ 277 w 1374"/>
                  <a:gd name="T117" fmla="*/ 23 h 527"/>
                  <a:gd name="T118" fmla="*/ 282 w 1374"/>
                  <a:gd name="T119" fmla="*/ 14 h 527"/>
                  <a:gd name="T120" fmla="*/ 300 w 1374"/>
                  <a:gd name="T121" fmla="*/ 145 h 527"/>
                  <a:gd name="T122" fmla="*/ 301 w 1374"/>
                  <a:gd name="T123" fmla="*/ 111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374" h="527">
                    <a:moveTo>
                      <a:pt x="21" y="381"/>
                    </a:moveTo>
                    <a:cubicBezTo>
                      <a:pt x="20" y="381"/>
                      <a:pt x="17" y="380"/>
                      <a:pt x="16" y="379"/>
                    </a:cubicBezTo>
                    <a:cubicBezTo>
                      <a:pt x="16" y="378"/>
                      <a:pt x="13" y="378"/>
                      <a:pt x="11" y="378"/>
                    </a:cubicBezTo>
                    <a:cubicBezTo>
                      <a:pt x="12" y="379"/>
                      <a:pt x="12" y="379"/>
                      <a:pt x="13" y="380"/>
                    </a:cubicBezTo>
                    <a:cubicBezTo>
                      <a:pt x="14" y="382"/>
                      <a:pt x="8" y="382"/>
                      <a:pt x="10" y="384"/>
                    </a:cubicBezTo>
                    <a:cubicBezTo>
                      <a:pt x="12" y="386"/>
                      <a:pt x="6" y="386"/>
                      <a:pt x="6" y="384"/>
                    </a:cubicBezTo>
                    <a:cubicBezTo>
                      <a:pt x="6" y="382"/>
                      <a:pt x="1" y="383"/>
                      <a:pt x="1" y="384"/>
                    </a:cubicBezTo>
                    <a:cubicBezTo>
                      <a:pt x="1" y="385"/>
                      <a:pt x="1" y="386"/>
                      <a:pt x="0" y="386"/>
                    </a:cubicBezTo>
                    <a:cubicBezTo>
                      <a:pt x="2" y="387"/>
                      <a:pt x="4" y="388"/>
                      <a:pt x="4" y="388"/>
                    </a:cubicBezTo>
                    <a:cubicBezTo>
                      <a:pt x="5" y="388"/>
                      <a:pt x="20" y="390"/>
                      <a:pt x="25" y="389"/>
                    </a:cubicBezTo>
                    <a:cubicBezTo>
                      <a:pt x="25" y="388"/>
                      <a:pt x="26" y="385"/>
                      <a:pt x="26" y="383"/>
                    </a:cubicBezTo>
                    <a:cubicBezTo>
                      <a:pt x="26" y="382"/>
                      <a:pt x="22" y="380"/>
                      <a:pt x="21" y="381"/>
                    </a:cubicBezTo>
                    <a:close/>
                    <a:moveTo>
                      <a:pt x="365" y="14"/>
                    </a:moveTo>
                    <a:cubicBezTo>
                      <a:pt x="374" y="13"/>
                      <a:pt x="374" y="8"/>
                      <a:pt x="369" y="8"/>
                    </a:cubicBezTo>
                    <a:cubicBezTo>
                      <a:pt x="364" y="7"/>
                      <a:pt x="364" y="10"/>
                      <a:pt x="361" y="10"/>
                    </a:cubicBezTo>
                    <a:cubicBezTo>
                      <a:pt x="359" y="10"/>
                      <a:pt x="350" y="12"/>
                      <a:pt x="352" y="14"/>
                    </a:cubicBezTo>
                    <a:cubicBezTo>
                      <a:pt x="354" y="16"/>
                      <a:pt x="361" y="15"/>
                      <a:pt x="365" y="14"/>
                    </a:cubicBezTo>
                    <a:close/>
                    <a:moveTo>
                      <a:pt x="411" y="147"/>
                    </a:moveTo>
                    <a:cubicBezTo>
                      <a:pt x="414" y="147"/>
                      <a:pt x="423" y="145"/>
                      <a:pt x="423" y="144"/>
                    </a:cubicBezTo>
                    <a:cubicBezTo>
                      <a:pt x="424" y="142"/>
                      <a:pt x="420" y="140"/>
                      <a:pt x="415" y="140"/>
                    </a:cubicBezTo>
                    <a:cubicBezTo>
                      <a:pt x="409" y="140"/>
                      <a:pt x="408" y="146"/>
                      <a:pt x="411" y="147"/>
                    </a:cubicBezTo>
                    <a:close/>
                    <a:moveTo>
                      <a:pt x="587" y="25"/>
                    </a:moveTo>
                    <a:cubicBezTo>
                      <a:pt x="591" y="27"/>
                      <a:pt x="590" y="28"/>
                      <a:pt x="585" y="28"/>
                    </a:cubicBezTo>
                    <a:cubicBezTo>
                      <a:pt x="580" y="28"/>
                      <a:pt x="576" y="30"/>
                      <a:pt x="579" y="31"/>
                    </a:cubicBezTo>
                    <a:cubicBezTo>
                      <a:pt x="582" y="32"/>
                      <a:pt x="581" y="35"/>
                      <a:pt x="586" y="36"/>
                    </a:cubicBezTo>
                    <a:cubicBezTo>
                      <a:pt x="591" y="37"/>
                      <a:pt x="596" y="33"/>
                      <a:pt x="596" y="30"/>
                    </a:cubicBezTo>
                    <a:cubicBezTo>
                      <a:pt x="595" y="27"/>
                      <a:pt x="613" y="25"/>
                      <a:pt x="618" y="23"/>
                    </a:cubicBezTo>
                    <a:cubicBezTo>
                      <a:pt x="623" y="22"/>
                      <a:pt x="615" y="17"/>
                      <a:pt x="620" y="17"/>
                    </a:cubicBezTo>
                    <a:cubicBezTo>
                      <a:pt x="625" y="16"/>
                      <a:pt x="623" y="14"/>
                      <a:pt x="617" y="13"/>
                    </a:cubicBezTo>
                    <a:cubicBezTo>
                      <a:pt x="610" y="12"/>
                      <a:pt x="613" y="7"/>
                      <a:pt x="611" y="5"/>
                    </a:cubicBezTo>
                    <a:cubicBezTo>
                      <a:pt x="609" y="3"/>
                      <a:pt x="608" y="7"/>
                      <a:pt x="599" y="9"/>
                    </a:cubicBezTo>
                    <a:cubicBezTo>
                      <a:pt x="591" y="10"/>
                      <a:pt x="587" y="13"/>
                      <a:pt x="590" y="14"/>
                    </a:cubicBezTo>
                    <a:cubicBezTo>
                      <a:pt x="593" y="16"/>
                      <a:pt x="590" y="20"/>
                      <a:pt x="587" y="20"/>
                    </a:cubicBezTo>
                    <a:cubicBezTo>
                      <a:pt x="583" y="19"/>
                      <a:pt x="582" y="23"/>
                      <a:pt x="587" y="25"/>
                    </a:cubicBezTo>
                    <a:close/>
                    <a:moveTo>
                      <a:pt x="599" y="32"/>
                    </a:moveTo>
                    <a:cubicBezTo>
                      <a:pt x="599" y="34"/>
                      <a:pt x="592" y="37"/>
                      <a:pt x="594" y="39"/>
                    </a:cubicBezTo>
                    <a:cubicBezTo>
                      <a:pt x="596" y="41"/>
                      <a:pt x="598" y="40"/>
                      <a:pt x="600" y="41"/>
                    </a:cubicBezTo>
                    <a:cubicBezTo>
                      <a:pt x="602" y="41"/>
                      <a:pt x="603" y="47"/>
                      <a:pt x="608" y="46"/>
                    </a:cubicBezTo>
                    <a:cubicBezTo>
                      <a:pt x="612" y="45"/>
                      <a:pt x="624" y="51"/>
                      <a:pt x="631" y="51"/>
                    </a:cubicBezTo>
                    <a:cubicBezTo>
                      <a:pt x="637" y="51"/>
                      <a:pt x="638" y="45"/>
                      <a:pt x="636" y="45"/>
                    </a:cubicBezTo>
                    <a:cubicBezTo>
                      <a:pt x="634" y="45"/>
                      <a:pt x="636" y="41"/>
                      <a:pt x="640" y="36"/>
                    </a:cubicBezTo>
                    <a:cubicBezTo>
                      <a:pt x="643" y="30"/>
                      <a:pt x="628" y="26"/>
                      <a:pt x="628" y="31"/>
                    </a:cubicBezTo>
                    <a:cubicBezTo>
                      <a:pt x="628" y="35"/>
                      <a:pt x="623" y="30"/>
                      <a:pt x="622" y="27"/>
                    </a:cubicBezTo>
                    <a:cubicBezTo>
                      <a:pt x="620" y="24"/>
                      <a:pt x="599" y="29"/>
                      <a:pt x="599" y="32"/>
                    </a:cubicBezTo>
                    <a:close/>
                    <a:moveTo>
                      <a:pt x="481" y="150"/>
                    </a:moveTo>
                    <a:cubicBezTo>
                      <a:pt x="484" y="152"/>
                      <a:pt x="487" y="151"/>
                      <a:pt x="487" y="148"/>
                    </a:cubicBezTo>
                    <a:cubicBezTo>
                      <a:pt x="486" y="144"/>
                      <a:pt x="478" y="149"/>
                      <a:pt x="481" y="150"/>
                    </a:cubicBezTo>
                    <a:close/>
                    <a:moveTo>
                      <a:pt x="581" y="8"/>
                    </a:moveTo>
                    <a:cubicBezTo>
                      <a:pt x="582" y="5"/>
                      <a:pt x="566" y="6"/>
                      <a:pt x="570" y="10"/>
                    </a:cubicBezTo>
                    <a:cubicBezTo>
                      <a:pt x="571" y="11"/>
                      <a:pt x="580" y="12"/>
                      <a:pt x="581" y="8"/>
                    </a:cubicBezTo>
                    <a:close/>
                    <a:moveTo>
                      <a:pt x="1280" y="181"/>
                    </a:moveTo>
                    <a:cubicBezTo>
                      <a:pt x="1285" y="183"/>
                      <a:pt x="1288" y="178"/>
                      <a:pt x="1292" y="180"/>
                    </a:cubicBezTo>
                    <a:cubicBezTo>
                      <a:pt x="1296" y="183"/>
                      <a:pt x="1305" y="179"/>
                      <a:pt x="1309" y="179"/>
                    </a:cubicBezTo>
                    <a:cubicBezTo>
                      <a:pt x="1313" y="178"/>
                      <a:pt x="1311" y="173"/>
                      <a:pt x="1300" y="172"/>
                    </a:cubicBezTo>
                    <a:cubicBezTo>
                      <a:pt x="1289" y="170"/>
                      <a:pt x="1275" y="178"/>
                      <a:pt x="1280" y="181"/>
                    </a:cubicBezTo>
                    <a:close/>
                    <a:moveTo>
                      <a:pt x="636" y="65"/>
                    </a:moveTo>
                    <a:cubicBezTo>
                      <a:pt x="640" y="67"/>
                      <a:pt x="650" y="63"/>
                      <a:pt x="657" y="63"/>
                    </a:cubicBezTo>
                    <a:cubicBezTo>
                      <a:pt x="665" y="63"/>
                      <a:pt x="685" y="58"/>
                      <a:pt x="685" y="54"/>
                    </a:cubicBezTo>
                    <a:cubicBezTo>
                      <a:pt x="686" y="50"/>
                      <a:pt x="678" y="50"/>
                      <a:pt x="675" y="47"/>
                    </a:cubicBezTo>
                    <a:cubicBezTo>
                      <a:pt x="672" y="44"/>
                      <a:pt x="665" y="47"/>
                      <a:pt x="663" y="49"/>
                    </a:cubicBezTo>
                    <a:cubicBezTo>
                      <a:pt x="661" y="52"/>
                      <a:pt x="660" y="50"/>
                      <a:pt x="664" y="45"/>
                    </a:cubicBezTo>
                    <a:cubicBezTo>
                      <a:pt x="669" y="41"/>
                      <a:pt x="660" y="37"/>
                      <a:pt x="659" y="40"/>
                    </a:cubicBezTo>
                    <a:cubicBezTo>
                      <a:pt x="659" y="43"/>
                      <a:pt x="651" y="40"/>
                      <a:pt x="651" y="43"/>
                    </a:cubicBezTo>
                    <a:cubicBezTo>
                      <a:pt x="651" y="46"/>
                      <a:pt x="648" y="47"/>
                      <a:pt x="648" y="49"/>
                    </a:cubicBezTo>
                    <a:cubicBezTo>
                      <a:pt x="648" y="52"/>
                      <a:pt x="642" y="48"/>
                      <a:pt x="642" y="54"/>
                    </a:cubicBezTo>
                    <a:cubicBezTo>
                      <a:pt x="642" y="60"/>
                      <a:pt x="633" y="63"/>
                      <a:pt x="636" y="65"/>
                    </a:cubicBezTo>
                    <a:close/>
                    <a:moveTo>
                      <a:pt x="943" y="114"/>
                    </a:moveTo>
                    <a:cubicBezTo>
                      <a:pt x="946" y="116"/>
                      <a:pt x="948" y="118"/>
                      <a:pt x="949" y="120"/>
                    </a:cubicBezTo>
                    <a:cubicBezTo>
                      <a:pt x="951" y="121"/>
                      <a:pt x="958" y="119"/>
                      <a:pt x="961" y="118"/>
                    </a:cubicBezTo>
                    <a:cubicBezTo>
                      <a:pt x="964" y="117"/>
                      <a:pt x="964" y="122"/>
                      <a:pt x="969" y="119"/>
                    </a:cubicBezTo>
                    <a:cubicBezTo>
                      <a:pt x="973" y="116"/>
                      <a:pt x="978" y="118"/>
                      <a:pt x="983" y="118"/>
                    </a:cubicBezTo>
                    <a:cubicBezTo>
                      <a:pt x="988" y="118"/>
                      <a:pt x="982" y="111"/>
                      <a:pt x="983" y="108"/>
                    </a:cubicBezTo>
                    <a:cubicBezTo>
                      <a:pt x="983" y="106"/>
                      <a:pt x="989" y="107"/>
                      <a:pt x="987" y="110"/>
                    </a:cubicBezTo>
                    <a:cubicBezTo>
                      <a:pt x="985" y="112"/>
                      <a:pt x="990" y="118"/>
                      <a:pt x="997" y="117"/>
                    </a:cubicBezTo>
                    <a:cubicBezTo>
                      <a:pt x="1005" y="117"/>
                      <a:pt x="999" y="112"/>
                      <a:pt x="1003" y="110"/>
                    </a:cubicBezTo>
                    <a:cubicBezTo>
                      <a:pt x="1007" y="109"/>
                      <a:pt x="1006" y="107"/>
                      <a:pt x="1001" y="103"/>
                    </a:cubicBezTo>
                    <a:cubicBezTo>
                      <a:pt x="995" y="100"/>
                      <a:pt x="988" y="102"/>
                      <a:pt x="983" y="100"/>
                    </a:cubicBezTo>
                    <a:cubicBezTo>
                      <a:pt x="978" y="98"/>
                      <a:pt x="972" y="98"/>
                      <a:pt x="972" y="103"/>
                    </a:cubicBezTo>
                    <a:cubicBezTo>
                      <a:pt x="972" y="108"/>
                      <a:pt x="962" y="97"/>
                      <a:pt x="957" y="96"/>
                    </a:cubicBezTo>
                    <a:cubicBezTo>
                      <a:pt x="951" y="94"/>
                      <a:pt x="935" y="110"/>
                      <a:pt x="943" y="114"/>
                    </a:cubicBezTo>
                    <a:close/>
                    <a:moveTo>
                      <a:pt x="993" y="145"/>
                    </a:moveTo>
                    <a:cubicBezTo>
                      <a:pt x="997" y="144"/>
                      <a:pt x="990" y="136"/>
                      <a:pt x="982" y="135"/>
                    </a:cubicBezTo>
                    <a:cubicBezTo>
                      <a:pt x="975" y="134"/>
                      <a:pt x="968" y="140"/>
                      <a:pt x="969" y="141"/>
                    </a:cubicBezTo>
                    <a:cubicBezTo>
                      <a:pt x="971" y="144"/>
                      <a:pt x="988" y="146"/>
                      <a:pt x="993" y="145"/>
                    </a:cubicBezTo>
                    <a:close/>
                    <a:moveTo>
                      <a:pt x="974" y="129"/>
                    </a:moveTo>
                    <a:cubicBezTo>
                      <a:pt x="974" y="125"/>
                      <a:pt x="961" y="130"/>
                      <a:pt x="966" y="132"/>
                    </a:cubicBezTo>
                    <a:cubicBezTo>
                      <a:pt x="969" y="133"/>
                      <a:pt x="974" y="133"/>
                      <a:pt x="974" y="129"/>
                    </a:cubicBezTo>
                    <a:close/>
                    <a:moveTo>
                      <a:pt x="1015" y="114"/>
                    </a:moveTo>
                    <a:cubicBezTo>
                      <a:pt x="1021" y="115"/>
                      <a:pt x="1024" y="120"/>
                      <a:pt x="1035" y="121"/>
                    </a:cubicBezTo>
                    <a:cubicBezTo>
                      <a:pt x="1046" y="121"/>
                      <a:pt x="1054" y="119"/>
                      <a:pt x="1054" y="117"/>
                    </a:cubicBezTo>
                    <a:cubicBezTo>
                      <a:pt x="1054" y="115"/>
                      <a:pt x="1044" y="111"/>
                      <a:pt x="1041" y="113"/>
                    </a:cubicBezTo>
                    <a:cubicBezTo>
                      <a:pt x="1038" y="115"/>
                      <a:pt x="1035" y="110"/>
                      <a:pt x="1032" y="111"/>
                    </a:cubicBezTo>
                    <a:cubicBezTo>
                      <a:pt x="1028" y="112"/>
                      <a:pt x="1022" y="112"/>
                      <a:pt x="1021" y="109"/>
                    </a:cubicBezTo>
                    <a:cubicBezTo>
                      <a:pt x="1019" y="105"/>
                      <a:pt x="1012" y="114"/>
                      <a:pt x="1015" y="114"/>
                    </a:cubicBezTo>
                    <a:close/>
                    <a:moveTo>
                      <a:pt x="221" y="18"/>
                    </a:moveTo>
                    <a:cubicBezTo>
                      <a:pt x="226" y="13"/>
                      <a:pt x="233" y="17"/>
                      <a:pt x="234" y="15"/>
                    </a:cubicBezTo>
                    <a:cubicBezTo>
                      <a:pt x="235" y="13"/>
                      <a:pt x="224" y="12"/>
                      <a:pt x="220" y="14"/>
                    </a:cubicBezTo>
                    <a:cubicBezTo>
                      <a:pt x="216" y="16"/>
                      <a:pt x="206" y="14"/>
                      <a:pt x="208" y="17"/>
                    </a:cubicBezTo>
                    <a:cubicBezTo>
                      <a:pt x="208" y="19"/>
                      <a:pt x="215" y="23"/>
                      <a:pt x="221" y="18"/>
                    </a:cubicBezTo>
                    <a:close/>
                    <a:moveTo>
                      <a:pt x="991" y="419"/>
                    </a:moveTo>
                    <a:cubicBezTo>
                      <a:pt x="988" y="413"/>
                      <a:pt x="995" y="406"/>
                      <a:pt x="990" y="402"/>
                    </a:cubicBezTo>
                    <a:cubicBezTo>
                      <a:pt x="985" y="399"/>
                      <a:pt x="987" y="391"/>
                      <a:pt x="985" y="393"/>
                    </a:cubicBezTo>
                    <a:cubicBezTo>
                      <a:pt x="982" y="394"/>
                      <a:pt x="985" y="401"/>
                      <a:pt x="981" y="401"/>
                    </a:cubicBezTo>
                    <a:cubicBezTo>
                      <a:pt x="977" y="402"/>
                      <a:pt x="981" y="405"/>
                      <a:pt x="979" y="410"/>
                    </a:cubicBezTo>
                    <a:cubicBezTo>
                      <a:pt x="978" y="415"/>
                      <a:pt x="980" y="422"/>
                      <a:pt x="982" y="426"/>
                    </a:cubicBezTo>
                    <a:cubicBezTo>
                      <a:pt x="984" y="430"/>
                      <a:pt x="979" y="453"/>
                      <a:pt x="981" y="457"/>
                    </a:cubicBezTo>
                    <a:cubicBezTo>
                      <a:pt x="983" y="461"/>
                      <a:pt x="978" y="477"/>
                      <a:pt x="980" y="479"/>
                    </a:cubicBezTo>
                    <a:cubicBezTo>
                      <a:pt x="983" y="483"/>
                      <a:pt x="981" y="475"/>
                      <a:pt x="985" y="474"/>
                    </a:cubicBezTo>
                    <a:cubicBezTo>
                      <a:pt x="989" y="473"/>
                      <a:pt x="989" y="479"/>
                      <a:pt x="992" y="480"/>
                    </a:cubicBezTo>
                    <a:cubicBezTo>
                      <a:pt x="994" y="481"/>
                      <a:pt x="993" y="472"/>
                      <a:pt x="990" y="473"/>
                    </a:cubicBezTo>
                    <a:cubicBezTo>
                      <a:pt x="988" y="473"/>
                      <a:pt x="986" y="467"/>
                      <a:pt x="985" y="463"/>
                    </a:cubicBezTo>
                    <a:cubicBezTo>
                      <a:pt x="984" y="460"/>
                      <a:pt x="987" y="455"/>
                      <a:pt x="987" y="450"/>
                    </a:cubicBezTo>
                    <a:cubicBezTo>
                      <a:pt x="987" y="446"/>
                      <a:pt x="993" y="446"/>
                      <a:pt x="997" y="449"/>
                    </a:cubicBezTo>
                    <a:cubicBezTo>
                      <a:pt x="1000" y="453"/>
                      <a:pt x="1001" y="451"/>
                      <a:pt x="999" y="448"/>
                    </a:cubicBezTo>
                    <a:cubicBezTo>
                      <a:pt x="998" y="445"/>
                      <a:pt x="993" y="426"/>
                      <a:pt x="991" y="419"/>
                    </a:cubicBezTo>
                    <a:close/>
                    <a:moveTo>
                      <a:pt x="243" y="15"/>
                    </a:moveTo>
                    <a:cubicBezTo>
                      <a:pt x="246" y="18"/>
                      <a:pt x="234" y="17"/>
                      <a:pt x="232" y="19"/>
                    </a:cubicBezTo>
                    <a:cubicBezTo>
                      <a:pt x="230" y="22"/>
                      <a:pt x="223" y="21"/>
                      <a:pt x="224" y="24"/>
                    </a:cubicBezTo>
                    <a:cubicBezTo>
                      <a:pt x="226" y="27"/>
                      <a:pt x="238" y="27"/>
                      <a:pt x="238" y="24"/>
                    </a:cubicBezTo>
                    <a:cubicBezTo>
                      <a:pt x="238" y="22"/>
                      <a:pt x="244" y="24"/>
                      <a:pt x="244" y="22"/>
                    </a:cubicBezTo>
                    <a:cubicBezTo>
                      <a:pt x="244" y="20"/>
                      <a:pt x="247" y="18"/>
                      <a:pt x="254" y="17"/>
                    </a:cubicBezTo>
                    <a:cubicBezTo>
                      <a:pt x="260" y="17"/>
                      <a:pt x="260" y="14"/>
                      <a:pt x="254" y="11"/>
                    </a:cubicBezTo>
                    <a:cubicBezTo>
                      <a:pt x="248" y="8"/>
                      <a:pt x="240" y="13"/>
                      <a:pt x="243" y="15"/>
                    </a:cubicBezTo>
                    <a:close/>
                    <a:moveTo>
                      <a:pt x="233" y="208"/>
                    </a:moveTo>
                    <a:cubicBezTo>
                      <a:pt x="239" y="213"/>
                      <a:pt x="245" y="205"/>
                      <a:pt x="248" y="204"/>
                    </a:cubicBezTo>
                    <a:cubicBezTo>
                      <a:pt x="251" y="204"/>
                      <a:pt x="246" y="201"/>
                      <a:pt x="241" y="199"/>
                    </a:cubicBezTo>
                    <a:cubicBezTo>
                      <a:pt x="235" y="198"/>
                      <a:pt x="228" y="203"/>
                      <a:pt x="233" y="208"/>
                    </a:cubicBezTo>
                    <a:close/>
                    <a:moveTo>
                      <a:pt x="1372" y="248"/>
                    </a:moveTo>
                    <a:cubicBezTo>
                      <a:pt x="1370" y="247"/>
                      <a:pt x="1362" y="242"/>
                      <a:pt x="1360" y="240"/>
                    </a:cubicBezTo>
                    <a:cubicBezTo>
                      <a:pt x="1358" y="237"/>
                      <a:pt x="1349" y="236"/>
                      <a:pt x="1349" y="237"/>
                    </a:cubicBezTo>
                    <a:cubicBezTo>
                      <a:pt x="1349" y="238"/>
                      <a:pt x="1346" y="237"/>
                      <a:pt x="1345" y="235"/>
                    </a:cubicBezTo>
                    <a:cubicBezTo>
                      <a:pt x="1345" y="234"/>
                      <a:pt x="1335" y="233"/>
                      <a:pt x="1335" y="235"/>
                    </a:cubicBezTo>
                    <a:cubicBezTo>
                      <a:pt x="1335" y="237"/>
                      <a:pt x="1337" y="237"/>
                      <a:pt x="1338" y="239"/>
                    </a:cubicBezTo>
                    <a:cubicBezTo>
                      <a:pt x="1340" y="241"/>
                      <a:pt x="1337" y="242"/>
                      <a:pt x="1337" y="244"/>
                    </a:cubicBezTo>
                    <a:cubicBezTo>
                      <a:pt x="1338" y="246"/>
                      <a:pt x="1334" y="243"/>
                      <a:pt x="1332" y="242"/>
                    </a:cubicBezTo>
                    <a:cubicBezTo>
                      <a:pt x="1331" y="240"/>
                      <a:pt x="1331" y="236"/>
                      <a:pt x="1332" y="233"/>
                    </a:cubicBezTo>
                    <a:cubicBezTo>
                      <a:pt x="1332" y="231"/>
                      <a:pt x="1329" y="231"/>
                      <a:pt x="1329" y="229"/>
                    </a:cubicBezTo>
                    <a:cubicBezTo>
                      <a:pt x="1328" y="227"/>
                      <a:pt x="1318" y="222"/>
                      <a:pt x="1313" y="220"/>
                    </a:cubicBezTo>
                    <a:cubicBezTo>
                      <a:pt x="1309" y="218"/>
                      <a:pt x="1303" y="216"/>
                      <a:pt x="1301" y="214"/>
                    </a:cubicBezTo>
                    <a:cubicBezTo>
                      <a:pt x="1300" y="212"/>
                      <a:pt x="1292" y="211"/>
                      <a:pt x="1289" y="208"/>
                    </a:cubicBezTo>
                    <a:cubicBezTo>
                      <a:pt x="1285" y="205"/>
                      <a:pt x="1272" y="199"/>
                      <a:pt x="1266" y="199"/>
                    </a:cubicBezTo>
                    <a:cubicBezTo>
                      <a:pt x="1260" y="198"/>
                      <a:pt x="1262" y="195"/>
                      <a:pt x="1259" y="196"/>
                    </a:cubicBezTo>
                    <a:cubicBezTo>
                      <a:pt x="1256" y="196"/>
                      <a:pt x="1244" y="196"/>
                      <a:pt x="1240" y="195"/>
                    </a:cubicBezTo>
                    <a:cubicBezTo>
                      <a:pt x="1236" y="194"/>
                      <a:pt x="1235" y="197"/>
                      <a:pt x="1232" y="196"/>
                    </a:cubicBezTo>
                    <a:cubicBezTo>
                      <a:pt x="1230" y="195"/>
                      <a:pt x="1216" y="190"/>
                      <a:pt x="1214" y="192"/>
                    </a:cubicBezTo>
                    <a:cubicBezTo>
                      <a:pt x="1212" y="194"/>
                      <a:pt x="1213" y="197"/>
                      <a:pt x="1211" y="197"/>
                    </a:cubicBezTo>
                    <a:cubicBezTo>
                      <a:pt x="1210" y="198"/>
                      <a:pt x="1211" y="200"/>
                      <a:pt x="1215" y="203"/>
                    </a:cubicBezTo>
                    <a:cubicBezTo>
                      <a:pt x="1219" y="207"/>
                      <a:pt x="1217" y="210"/>
                      <a:pt x="1213" y="211"/>
                    </a:cubicBezTo>
                    <a:cubicBezTo>
                      <a:pt x="1210" y="213"/>
                      <a:pt x="1204" y="210"/>
                      <a:pt x="1202" y="207"/>
                    </a:cubicBezTo>
                    <a:cubicBezTo>
                      <a:pt x="1200" y="204"/>
                      <a:pt x="1195" y="206"/>
                      <a:pt x="1194" y="202"/>
                    </a:cubicBezTo>
                    <a:cubicBezTo>
                      <a:pt x="1193" y="198"/>
                      <a:pt x="1196" y="198"/>
                      <a:pt x="1198" y="200"/>
                    </a:cubicBezTo>
                    <a:cubicBezTo>
                      <a:pt x="1200" y="202"/>
                      <a:pt x="1204" y="200"/>
                      <a:pt x="1204" y="198"/>
                    </a:cubicBezTo>
                    <a:cubicBezTo>
                      <a:pt x="1204" y="195"/>
                      <a:pt x="1198" y="193"/>
                      <a:pt x="1194" y="194"/>
                    </a:cubicBezTo>
                    <a:cubicBezTo>
                      <a:pt x="1190" y="194"/>
                      <a:pt x="1188" y="199"/>
                      <a:pt x="1184" y="201"/>
                    </a:cubicBezTo>
                    <a:cubicBezTo>
                      <a:pt x="1181" y="203"/>
                      <a:pt x="1166" y="200"/>
                      <a:pt x="1164" y="199"/>
                    </a:cubicBezTo>
                    <a:cubicBezTo>
                      <a:pt x="1163" y="197"/>
                      <a:pt x="1142" y="199"/>
                      <a:pt x="1140" y="200"/>
                    </a:cubicBezTo>
                    <a:cubicBezTo>
                      <a:pt x="1138" y="202"/>
                      <a:pt x="1139" y="207"/>
                      <a:pt x="1138" y="208"/>
                    </a:cubicBezTo>
                    <a:cubicBezTo>
                      <a:pt x="1137" y="208"/>
                      <a:pt x="1136" y="201"/>
                      <a:pt x="1136" y="200"/>
                    </a:cubicBezTo>
                    <a:cubicBezTo>
                      <a:pt x="1136" y="199"/>
                      <a:pt x="1134" y="198"/>
                      <a:pt x="1130" y="198"/>
                    </a:cubicBezTo>
                    <a:cubicBezTo>
                      <a:pt x="1126" y="198"/>
                      <a:pt x="1124" y="198"/>
                      <a:pt x="1126" y="196"/>
                    </a:cubicBezTo>
                    <a:cubicBezTo>
                      <a:pt x="1127" y="194"/>
                      <a:pt x="1124" y="193"/>
                      <a:pt x="1127" y="191"/>
                    </a:cubicBezTo>
                    <a:cubicBezTo>
                      <a:pt x="1130" y="189"/>
                      <a:pt x="1122" y="183"/>
                      <a:pt x="1114" y="179"/>
                    </a:cubicBezTo>
                    <a:cubicBezTo>
                      <a:pt x="1106" y="176"/>
                      <a:pt x="1088" y="178"/>
                      <a:pt x="1084" y="180"/>
                    </a:cubicBezTo>
                    <a:cubicBezTo>
                      <a:pt x="1079" y="181"/>
                      <a:pt x="1069" y="181"/>
                      <a:pt x="1065" y="181"/>
                    </a:cubicBezTo>
                    <a:cubicBezTo>
                      <a:pt x="1060" y="181"/>
                      <a:pt x="1064" y="179"/>
                      <a:pt x="1063" y="177"/>
                    </a:cubicBezTo>
                    <a:cubicBezTo>
                      <a:pt x="1061" y="175"/>
                      <a:pt x="1054" y="172"/>
                      <a:pt x="1053" y="174"/>
                    </a:cubicBezTo>
                    <a:cubicBezTo>
                      <a:pt x="1052" y="176"/>
                      <a:pt x="1050" y="174"/>
                      <a:pt x="1050" y="172"/>
                    </a:cubicBezTo>
                    <a:cubicBezTo>
                      <a:pt x="1050" y="171"/>
                      <a:pt x="1042" y="169"/>
                      <a:pt x="1039" y="169"/>
                    </a:cubicBezTo>
                    <a:cubicBezTo>
                      <a:pt x="1037" y="170"/>
                      <a:pt x="1035" y="167"/>
                      <a:pt x="1039" y="167"/>
                    </a:cubicBezTo>
                    <a:cubicBezTo>
                      <a:pt x="1042" y="167"/>
                      <a:pt x="1048" y="167"/>
                      <a:pt x="1045" y="163"/>
                    </a:cubicBezTo>
                    <a:cubicBezTo>
                      <a:pt x="1043" y="160"/>
                      <a:pt x="1021" y="158"/>
                      <a:pt x="1019" y="159"/>
                    </a:cubicBezTo>
                    <a:cubicBezTo>
                      <a:pt x="1017" y="160"/>
                      <a:pt x="1019" y="163"/>
                      <a:pt x="1015" y="167"/>
                    </a:cubicBezTo>
                    <a:cubicBezTo>
                      <a:pt x="1010" y="171"/>
                      <a:pt x="1005" y="168"/>
                      <a:pt x="1006" y="166"/>
                    </a:cubicBezTo>
                    <a:cubicBezTo>
                      <a:pt x="1007" y="164"/>
                      <a:pt x="1012" y="164"/>
                      <a:pt x="1012" y="162"/>
                    </a:cubicBezTo>
                    <a:cubicBezTo>
                      <a:pt x="1012" y="160"/>
                      <a:pt x="1004" y="161"/>
                      <a:pt x="1003" y="160"/>
                    </a:cubicBezTo>
                    <a:cubicBezTo>
                      <a:pt x="1002" y="158"/>
                      <a:pt x="1005" y="157"/>
                      <a:pt x="1008" y="157"/>
                    </a:cubicBezTo>
                    <a:cubicBezTo>
                      <a:pt x="1011" y="158"/>
                      <a:pt x="1016" y="159"/>
                      <a:pt x="1016" y="157"/>
                    </a:cubicBezTo>
                    <a:cubicBezTo>
                      <a:pt x="1016" y="156"/>
                      <a:pt x="1013" y="156"/>
                      <a:pt x="1008" y="155"/>
                    </a:cubicBezTo>
                    <a:cubicBezTo>
                      <a:pt x="1003" y="154"/>
                      <a:pt x="992" y="152"/>
                      <a:pt x="986" y="152"/>
                    </a:cubicBezTo>
                    <a:cubicBezTo>
                      <a:pt x="980" y="153"/>
                      <a:pt x="977" y="150"/>
                      <a:pt x="974" y="150"/>
                    </a:cubicBezTo>
                    <a:cubicBezTo>
                      <a:pt x="970" y="149"/>
                      <a:pt x="970" y="151"/>
                      <a:pt x="972" y="153"/>
                    </a:cubicBezTo>
                    <a:cubicBezTo>
                      <a:pt x="973" y="155"/>
                      <a:pt x="969" y="156"/>
                      <a:pt x="965" y="156"/>
                    </a:cubicBezTo>
                    <a:cubicBezTo>
                      <a:pt x="961" y="155"/>
                      <a:pt x="955" y="158"/>
                      <a:pt x="957" y="161"/>
                    </a:cubicBezTo>
                    <a:cubicBezTo>
                      <a:pt x="960" y="164"/>
                      <a:pt x="962" y="160"/>
                      <a:pt x="964" y="161"/>
                    </a:cubicBezTo>
                    <a:cubicBezTo>
                      <a:pt x="966" y="162"/>
                      <a:pt x="959" y="164"/>
                      <a:pt x="962" y="165"/>
                    </a:cubicBezTo>
                    <a:cubicBezTo>
                      <a:pt x="964" y="167"/>
                      <a:pt x="964" y="169"/>
                      <a:pt x="964" y="171"/>
                    </a:cubicBezTo>
                    <a:cubicBezTo>
                      <a:pt x="964" y="172"/>
                      <a:pt x="959" y="173"/>
                      <a:pt x="958" y="171"/>
                    </a:cubicBezTo>
                    <a:cubicBezTo>
                      <a:pt x="956" y="169"/>
                      <a:pt x="953" y="170"/>
                      <a:pt x="950" y="170"/>
                    </a:cubicBezTo>
                    <a:cubicBezTo>
                      <a:pt x="947" y="170"/>
                      <a:pt x="944" y="172"/>
                      <a:pt x="948" y="172"/>
                    </a:cubicBezTo>
                    <a:cubicBezTo>
                      <a:pt x="951" y="172"/>
                      <a:pt x="952" y="175"/>
                      <a:pt x="948" y="175"/>
                    </a:cubicBezTo>
                    <a:cubicBezTo>
                      <a:pt x="943" y="176"/>
                      <a:pt x="944" y="171"/>
                      <a:pt x="941" y="171"/>
                    </a:cubicBezTo>
                    <a:cubicBezTo>
                      <a:pt x="938" y="172"/>
                      <a:pt x="932" y="169"/>
                      <a:pt x="929" y="169"/>
                    </a:cubicBezTo>
                    <a:cubicBezTo>
                      <a:pt x="926" y="169"/>
                      <a:pt x="924" y="172"/>
                      <a:pt x="920" y="172"/>
                    </a:cubicBezTo>
                    <a:cubicBezTo>
                      <a:pt x="915" y="173"/>
                      <a:pt x="909" y="170"/>
                      <a:pt x="907" y="168"/>
                    </a:cubicBezTo>
                    <a:cubicBezTo>
                      <a:pt x="906" y="165"/>
                      <a:pt x="905" y="165"/>
                      <a:pt x="903" y="167"/>
                    </a:cubicBezTo>
                    <a:cubicBezTo>
                      <a:pt x="901" y="170"/>
                      <a:pt x="901" y="175"/>
                      <a:pt x="899" y="176"/>
                    </a:cubicBezTo>
                    <a:cubicBezTo>
                      <a:pt x="896" y="176"/>
                      <a:pt x="896" y="181"/>
                      <a:pt x="893" y="182"/>
                    </a:cubicBezTo>
                    <a:cubicBezTo>
                      <a:pt x="891" y="183"/>
                      <a:pt x="891" y="180"/>
                      <a:pt x="888" y="180"/>
                    </a:cubicBezTo>
                    <a:cubicBezTo>
                      <a:pt x="886" y="181"/>
                      <a:pt x="877" y="172"/>
                      <a:pt x="876" y="169"/>
                    </a:cubicBezTo>
                    <a:cubicBezTo>
                      <a:pt x="876" y="167"/>
                      <a:pt x="871" y="162"/>
                      <a:pt x="869" y="161"/>
                    </a:cubicBezTo>
                    <a:cubicBezTo>
                      <a:pt x="868" y="160"/>
                      <a:pt x="871" y="160"/>
                      <a:pt x="872" y="161"/>
                    </a:cubicBezTo>
                    <a:cubicBezTo>
                      <a:pt x="874" y="163"/>
                      <a:pt x="876" y="163"/>
                      <a:pt x="878" y="162"/>
                    </a:cubicBezTo>
                    <a:cubicBezTo>
                      <a:pt x="880" y="161"/>
                      <a:pt x="880" y="157"/>
                      <a:pt x="877" y="157"/>
                    </a:cubicBezTo>
                    <a:cubicBezTo>
                      <a:pt x="873" y="156"/>
                      <a:pt x="875" y="154"/>
                      <a:pt x="876" y="153"/>
                    </a:cubicBezTo>
                    <a:cubicBezTo>
                      <a:pt x="878" y="153"/>
                      <a:pt x="873" y="148"/>
                      <a:pt x="875" y="148"/>
                    </a:cubicBezTo>
                    <a:cubicBezTo>
                      <a:pt x="876" y="147"/>
                      <a:pt x="876" y="145"/>
                      <a:pt x="873" y="145"/>
                    </a:cubicBezTo>
                    <a:cubicBezTo>
                      <a:pt x="870" y="145"/>
                      <a:pt x="868" y="142"/>
                      <a:pt x="868" y="141"/>
                    </a:cubicBezTo>
                    <a:cubicBezTo>
                      <a:pt x="867" y="140"/>
                      <a:pt x="856" y="139"/>
                      <a:pt x="857" y="141"/>
                    </a:cubicBezTo>
                    <a:cubicBezTo>
                      <a:pt x="857" y="143"/>
                      <a:pt x="853" y="142"/>
                      <a:pt x="854" y="141"/>
                    </a:cubicBezTo>
                    <a:cubicBezTo>
                      <a:pt x="854" y="139"/>
                      <a:pt x="850" y="140"/>
                      <a:pt x="845" y="138"/>
                    </a:cubicBezTo>
                    <a:cubicBezTo>
                      <a:pt x="839" y="137"/>
                      <a:pt x="839" y="133"/>
                      <a:pt x="838" y="133"/>
                    </a:cubicBezTo>
                    <a:cubicBezTo>
                      <a:pt x="836" y="133"/>
                      <a:pt x="836" y="138"/>
                      <a:pt x="834" y="137"/>
                    </a:cubicBezTo>
                    <a:cubicBezTo>
                      <a:pt x="831" y="136"/>
                      <a:pt x="828" y="138"/>
                      <a:pt x="830" y="141"/>
                    </a:cubicBezTo>
                    <a:cubicBezTo>
                      <a:pt x="831" y="144"/>
                      <a:pt x="830" y="145"/>
                      <a:pt x="830" y="147"/>
                    </a:cubicBezTo>
                    <a:cubicBezTo>
                      <a:pt x="829" y="150"/>
                      <a:pt x="828" y="149"/>
                      <a:pt x="825" y="148"/>
                    </a:cubicBezTo>
                    <a:cubicBezTo>
                      <a:pt x="822" y="147"/>
                      <a:pt x="822" y="150"/>
                      <a:pt x="815" y="149"/>
                    </a:cubicBezTo>
                    <a:cubicBezTo>
                      <a:pt x="808" y="147"/>
                      <a:pt x="805" y="149"/>
                      <a:pt x="804" y="147"/>
                    </a:cubicBezTo>
                    <a:cubicBezTo>
                      <a:pt x="803" y="144"/>
                      <a:pt x="801" y="144"/>
                      <a:pt x="801" y="146"/>
                    </a:cubicBezTo>
                    <a:cubicBezTo>
                      <a:pt x="801" y="148"/>
                      <a:pt x="790" y="147"/>
                      <a:pt x="790" y="144"/>
                    </a:cubicBezTo>
                    <a:cubicBezTo>
                      <a:pt x="789" y="142"/>
                      <a:pt x="791" y="141"/>
                      <a:pt x="793" y="141"/>
                    </a:cubicBezTo>
                    <a:cubicBezTo>
                      <a:pt x="794" y="140"/>
                      <a:pt x="791" y="139"/>
                      <a:pt x="786" y="139"/>
                    </a:cubicBezTo>
                    <a:cubicBezTo>
                      <a:pt x="780" y="140"/>
                      <a:pt x="776" y="136"/>
                      <a:pt x="771" y="137"/>
                    </a:cubicBezTo>
                    <a:cubicBezTo>
                      <a:pt x="765" y="138"/>
                      <a:pt x="752" y="139"/>
                      <a:pt x="751" y="140"/>
                    </a:cubicBezTo>
                    <a:cubicBezTo>
                      <a:pt x="749" y="140"/>
                      <a:pt x="752" y="144"/>
                      <a:pt x="749" y="144"/>
                    </a:cubicBezTo>
                    <a:cubicBezTo>
                      <a:pt x="747" y="144"/>
                      <a:pt x="749" y="139"/>
                      <a:pt x="748" y="136"/>
                    </a:cubicBezTo>
                    <a:cubicBezTo>
                      <a:pt x="748" y="133"/>
                      <a:pt x="744" y="133"/>
                      <a:pt x="744" y="135"/>
                    </a:cubicBezTo>
                    <a:cubicBezTo>
                      <a:pt x="745" y="137"/>
                      <a:pt x="738" y="138"/>
                      <a:pt x="736" y="136"/>
                    </a:cubicBezTo>
                    <a:cubicBezTo>
                      <a:pt x="734" y="135"/>
                      <a:pt x="731" y="133"/>
                      <a:pt x="727" y="131"/>
                    </a:cubicBezTo>
                    <a:cubicBezTo>
                      <a:pt x="722" y="130"/>
                      <a:pt x="716" y="135"/>
                      <a:pt x="717" y="137"/>
                    </a:cubicBezTo>
                    <a:cubicBezTo>
                      <a:pt x="719" y="138"/>
                      <a:pt x="722" y="137"/>
                      <a:pt x="722" y="138"/>
                    </a:cubicBezTo>
                    <a:cubicBezTo>
                      <a:pt x="723" y="140"/>
                      <a:pt x="713" y="139"/>
                      <a:pt x="713" y="141"/>
                    </a:cubicBezTo>
                    <a:cubicBezTo>
                      <a:pt x="713" y="142"/>
                      <a:pt x="703" y="145"/>
                      <a:pt x="700" y="145"/>
                    </a:cubicBezTo>
                    <a:cubicBezTo>
                      <a:pt x="692" y="146"/>
                      <a:pt x="691" y="146"/>
                      <a:pt x="687" y="149"/>
                    </a:cubicBezTo>
                    <a:cubicBezTo>
                      <a:pt x="683" y="152"/>
                      <a:pt x="686" y="146"/>
                      <a:pt x="689" y="144"/>
                    </a:cubicBezTo>
                    <a:cubicBezTo>
                      <a:pt x="692" y="141"/>
                      <a:pt x="695" y="142"/>
                      <a:pt x="697" y="140"/>
                    </a:cubicBezTo>
                    <a:cubicBezTo>
                      <a:pt x="698" y="137"/>
                      <a:pt x="701" y="138"/>
                      <a:pt x="705" y="137"/>
                    </a:cubicBezTo>
                    <a:cubicBezTo>
                      <a:pt x="710" y="136"/>
                      <a:pt x="710" y="134"/>
                      <a:pt x="712" y="133"/>
                    </a:cubicBezTo>
                    <a:cubicBezTo>
                      <a:pt x="714" y="132"/>
                      <a:pt x="719" y="130"/>
                      <a:pt x="720" y="128"/>
                    </a:cubicBezTo>
                    <a:cubicBezTo>
                      <a:pt x="721" y="125"/>
                      <a:pt x="732" y="122"/>
                      <a:pt x="734" y="122"/>
                    </a:cubicBezTo>
                    <a:cubicBezTo>
                      <a:pt x="736" y="122"/>
                      <a:pt x="737" y="118"/>
                      <a:pt x="738" y="118"/>
                    </a:cubicBezTo>
                    <a:cubicBezTo>
                      <a:pt x="739" y="118"/>
                      <a:pt x="745" y="115"/>
                      <a:pt x="747" y="114"/>
                    </a:cubicBezTo>
                    <a:cubicBezTo>
                      <a:pt x="750" y="113"/>
                      <a:pt x="751" y="111"/>
                      <a:pt x="751" y="109"/>
                    </a:cubicBezTo>
                    <a:cubicBezTo>
                      <a:pt x="751" y="107"/>
                      <a:pt x="748" y="108"/>
                      <a:pt x="748" y="106"/>
                    </a:cubicBezTo>
                    <a:cubicBezTo>
                      <a:pt x="747" y="105"/>
                      <a:pt x="749" y="106"/>
                      <a:pt x="752" y="105"/>
                    </a:cubicBezTo>
                    <a:cubicBezTo>
                      <a:pt x="754" y="104"/>
                      <a:pt x="752" y="101"/>
                      <a:pt x="750" y="101"/>
                    </a:cubicBezTo>
                    <a:cubicBezTo>
                      <a:pt x="748" y="102"/>
                      <a:pt x="751" y="99"/>
                      <a:pt x="749" y="97"/>
                    </a:cubicBezTo>
                    <a:cubicBezTo>
                      <a:pt x="747" y="95"/>
                      <a:pt x="744" y="99"/>
                      <a:pt x="744" y="96"/>
                    </a:cubicBezTo>
                    <a:cubicBezTo>
                      <a:pt x="744" y="94"/>
                      <a:pt x="743" y="91"/>
                      <a:pt x="742" y="90"/>
                    </a:cubicBezTo>
                    <a:cubicBezTo>
                      <a:pt x="741" y="88"/>
                      <a:pt x="738" y="92"/>
                      <a:pt x="735" y="90"/>
                    </a:cubicBezTo>
                    <a:cubicBezTo>
                      <a:pt x="732" y="88"/>
                      <a:pt x="723" y="86"/>
                      <a:pt x="723" y="87"/>
                    </a:cubicBezTo>
                    <a:cubicBezTo>
                      <a:pt x="723" y="88"/>
                      <a:pt x="719" y="86"/>
                      <a:pt x="718" y="87"/>
                    </a:cubicBezTo>
                    <a:cubicBezTo>
                      <a:pt x="717" y="88"/>
                      <a:pt x="711" y="88"/>
                      <a:pt x="708" y="87"/>
                    </a:cubicBezTo>
                    <a:cubicBezTo>
                      <a:pt x="706" y="86"/>
                      <a:pt x="703" y="88"/>
                      <a:pt x="703" y="90"/>
                    </a:cubicBezTo>
                    <a:cubicBezTo>
                      <a:pt x="703" y="92"/>
                      <a:pt x="695" y="91"/>
                      <a:pt x="693" y="91"/>
                    </a:cubicBezTo>
                    <a:cubicBezTo>
                      <a:pt x="692" y="91"/>
                      <a:pt x="699" y="84"/>
                      <a:pt x="699" y="83"/>
                    </a:cubicBezTo>
                    <a:cubicBezTo>
                      <a:pt x="699" y="82"/>
                      <a:pt x="686" y="84"/>
                      <a:pt x="686" y="82"/>
                    </a:cubicBezTo>
                    <a:cubicBezTo>
                      <a:pt x="685" y="81"/>
                      <a:pt x="679" y="81"/>
                      <a:pt x="676" y="81"/>
                    </a:cubicBezTo>
                    <a:cubicBezTo>
                      <a:pt x="674" y="81"/>
                      <a:pt x="676" y="80"/>
                      <a:pt x="679" y="80"/>
                    </a:cubicBezTo>
                    <a:cubicBezTo>
                      <a:pt x="681" y="80"/>
                      <a:pt x="683" y="78"/>
                      <a:pt x="686" y="77"/>
                    </a:cubicBezTo>
                    <a:cubicBezTo>
                      <a:pt x="689" y="77"/>
                      <a:pt x="688" y="76"/>
                      <a:pt x="687" y="74"/>
                    </a:cubicBezTo>
                    <a:cubicBezTo>
                      <a:pt x="686" y="72"/>
                      <a:pt x="683" y="73"/>
                      <a:pt x="680" y="72"/>
                    </a:cubicBezTo>
                    <a:cubicBezTo>
                      <a:pt x="678" y="72"/>
                      <a:pt x="674" y="70"/>
                      <a:pt x="672" y="70"/>
                    </a:cubicBezTo>
                    <a:cubicBezTo>
                      <a:pt x="669" y="70"/>
                      <a:pt x="667" y="72"/>
                      <a:pt x="661" y="73"/>
                    </a:cubicBezTo>
                    <a:cubicBezTo>
                      <a:pt x="656" y="74"/>
                      <a:pt x="655" y="78"/>
                      <a:pt x="652" y="79"/>
                    </a:cubicBezTo>
                    <a:cubicBezTo>
                      <a:pt x="649" y="81"/>
                      <a:pt x="644" y="86"/>
                      <a:pt x="647" y="86"/>
                    </a:cubicBezTo>
                    <a:cubicBezTo>
                      <a:pt x="649" y="87"/>
                      <a:pt x="648" y="88"/>
                      <a:pt x="648" y="90"/>
                    </a:cubicBezTo>
                    <a:cubicBezTo>
                      <a:pt x="649" y="91"/>
                      <a:pt x="647" y="92"/>
                      <a:pt x="644" y="91"/>
                    </a:cubicBezTo>
                    <a:cubicBezTo>
                      <a:pt x="641" y="91"/>
                      <a:pt x="632" y="91"/>
                      <a:pt x="632" y="93"/>
                    </a:cubicBezTo>
                    <a:cubicBezTo>
                      <a:pt x="632" y="95"/>
                      <a:pt x="637" y="96"/>
                      <a:pt x="637" y="97"/>
                    </a:cubicBezTo>
                    <a:cubicBezTo>
                      <a:pt x="637" y="98"/>
                      <a:pt x="633" y="97"/>
                      <a:pt x="631" y="96"/>
                    </a:cubicBezTo>
                    <a:cubicBezTo>
                      <a:pt x="629" y="95"/>
                      <a:pt x="625" y="95"/>
                      <a:pt x="624" y="97"/>
                    </a:cubicBezTo>
                    <a:cubicBezTo>
                      <a:pt x="623" y="99"/>
                      <a:pt x="620" y="99"/>
                      <a:pt x="619" y="98"/>
                    </a:cubicBezTo>
                    <a:cubicBezTo>
                      <a:pt x="618" y="98"/>
                      <a:pt x="615" y="99"/>
                      <a:pt x="613" y="99"/>
                    </a:cubicBezTo>
                    <a:cubicBezTo>
                      <a:pt x="612" y="98"/>
                      <a:pt x="617" y="95"/>
                      <a:pt x="616" y="94"/>
                    </a:cubicBezTo>
                    <a:cubicBezTo>
                      <a:pt x="614" y="93"/>
                      <a:pt x="609" y="94"/>
                      <a:pt x="608" y="96"/>
                    </a:cubicBezTo>
                    <a:cubicBezTo>
                      <a:pt x="607" y="98"/>
                      <a:pt x="604" y="95"/>
                      <a:pt x="603" y="95"/>
                    </a:cubicBezTo>
                    <a:cubicBezTo>
                      <a:pt x="601" y="96"/>
                      <a:pt x="600" y="97"/>
                      <a:pt x="597" y="98"/>
                    </a:cubicBezTo>
                    <a:cubicBezTo>
                      <a:pt x="595" y="99"/>
                      <a:pt x="591" y="97"/>
                      <a:pt x="590" y="99"/>
                    </a:cubicBezTo>
                    <a:cubicBezTo>
                      <a:pt x="589" y="101"/>
                      <a:pt x="594" y="101"/>
                      <a:pt x="595" y="102"/>
                    </a:cubicBezTo>
                    <a:cubicBezTo>
                      <a:pt x="595" y="103"/>
                      <a:pt x="582" y="103"/>
                      <a:pt x="581" y="104"/>
                    </a:cubicBezTo>
                    <a:cubicBezTo>
                      <a:pt x="581" y="105"/>
                      <a:pt x="576" y="105"/>
                      <a:pt x="571" y="105"/>
                    </a:cubicBezTo>
                    <a:cubicBezTo>
                      <a:pt x="566" y="106"/>
                      <a:pt x="568" y="108"/>
                      <a:pt x="564" y="109"/>
                    </a:cubicBezTo>
                    <a:cubicBezTo>
                      <a:pt x="559" y="110"/>
                      <a:pt x="557" y="110"/>
                      <a:pt x="556" y="112"/>
                    </a:cubicBezTo>
                    <a:cubicBezTo>
                      <a:pt x="555" y="114"/>
                      <a:pt x="551" y="115"/>
                      <a:pt x="550" y="113"/>
                    </a:cubicBezTo>
                    <a:cubicBezTo>
                      <a:pt x="548" y="111"/>
                      <a:pt x="544" y="114"/>
                      <a:pt x="547" y="114"/>
                    </a:cubicBezTo>
                    <a:cubicBezTo>
                      <a:pt x="549" y="114"/>
                      <a:pt x="547" y="116"/>
                      <a:pt x="545" y="116"/>
                    </a:cubicBezTo>
                    <a:cubicBezTo>
                      <a:pt x="544" y="115"/>
                      <a:pt x="540" y="118"/>
                      <a:pt x="542" y="118"/>
                    </a:cubicBezTo>
                    <a:cubicBezTo>
                      <a:pt x="545" y="118"/>
                      <a:pt x="546" y="119"/>
                      <a:pt x="545" y="121"/>
                    </a:cubicBezTo>
                    <a:cubicBezTo>
                      <a:pt x="544" y="122"/>
                      <a:pt x="539" y="119"/>
                      <a:pt x="538" y="120"/>
                    </a:cubicBezTo>
                    <a:cubicBezTo>
                      <a:pt x="537" y="122"/>
                      <a:pt x="540" y="123"/>
                      <a:pt x="542" y="123"/>
                    </a:cubicBezTo>
                    <a:cubicBezTo>
                      <a:pt x="544" y="123"/>
                      <a:pt x="545" y="124"/>
                      <a:pt x="546" y="126"/>
                    </a:cubicBezTo>
                    <a:cubicBezTo>
                      <a:pt x="546" y="127"/>
                      <a:pt x="541" y="125"/>
                      <a:pt x="540" y="126"/>
                    </a:cubicBezTo>
                    <a:cubicBezTo>
                      <a:pt x="539" y="127"/>
                      <a:pt x="540" y="128"/>
                      <a:pt x="543" y="128"/>
                    </a:cubicBezTo>
                    <a:cubicBezTo>
                      <a:pt x="545" y="128"/>
                      <a:pt x="543" y="129"/>
                      <a:pt x="545" y="131"/>
                    </a:cubicBezTo>
                    <a:cubicBezTo>
                      <a:pt x="545" y="131"/>
                      <a:pt x="546" y="131"/>
                      <a:pt x="546" y="131"/>
                    </a:cubicBezTo>
                    <a:cubicBezTo>
                      <a:pt x="547" y="133"/>
                      <a:pt x="545" y="133"/>
                      <a:pt x="545" y="135"/>
                    </a:cubicBezTo>
                    <a:cubicBezTo>
                      <a:pt x="545" y="136"/>
                      <a:pt x="543" y="137"/>
                      <a:pt x="543" y="135"/>
                    </a:cubicBezTo>
                    <a:cubicBezTo>
                      <a:pt x="543" y="134"/>
                      <a:pt x="536" y="134"/>
                      <a:pt x="535" y="135"/>
                    </a:cubicBezTo>
                    <a:cubicBezTo>
                      <a:pt x="534" y="137"/>
                      <a:pt x="533" y="138"/>
                      <a:pt x="531" y="136"/>
                    </a:cubicBezTo>
                    <a:cubicBezTo>
                      <a:pt x="530" y="135"/>
                      <a:pt x="525" y="137"/>
                      <a:pt x="519" y="137"/>
                    </a:cubicBezTo>
                    <a:cubicBezTo>
                      <a:pt x="513" y="137"/>
                      <a:pt x="501" y="138"/>
                      <a:pt x="498" y="139"/>
                    </a:cubicBezTo>
                    <a:cubicBezTo>
                      <a:pt x="496" y="140"/>
                      <a:pt x="493" y="144"/>
                      <a:pt x="496" y="147"/>
                    </a:cubicBezTo>
                    <a:cubicBezTo>
                      <a:pt x="498" y="150"/>
                      <a:pt x="496" y="151"/>
                      <a:pt x="496" y="152"/>
                    </a:cubicBezTo>
                    <a:cubicBezTo>
                      <a:pt x="496" y="154"/>
                      <a:pt x="503" y="158"/>
                      <a:pt x="507" y="158"/>
                    </a:cubicBezTo>
                    <a:cubicBezTo>
                      <a:pt x="511" y="159"/>
                      <a:pt x="514" y="163"/>
                      <a:pt x="511" y="166"/>
                    </a:cubicBezTo>
                    <a:cubicBezTo>
                      <a:pt x="509" y="169"/>
                      <a:pt x="502" y="165"/>
                      <a:pt x="498" y="162"/>
                    </a:cubicBezTo>
                    <a:cubicBezTo>
                      <a:pt x="493" y="158"/>
                      <a:pt x="483" y="157"/>
                      <a:pt x="479" y="157"/>
                    </a:cubicBezTo>
                    <a:cubicBezTo>
                      <a:pt x="476" y="157"/>
                      <a:pt x="478" y="154"/>
                      <a:pt x="474" y="154"/>
                    </a:cubicBezTo>
                    <a:cubicBezTo>
                      <a:pt x="469" y="154"/>
                      <a:pt x="465" y="158"/>
                      <a:pt x="468" y="158"/>
                    </a:cubicBezTo>
                    <a:cubicBezTo>
                      <a:pt x="471" y="158"/>
                      <a:pt x="473" y="158"/>
                      <a:pt x="472" y="159"/>
                    </a:cubicBezTo>
                    <a:cubicBezTo>
                      <a:pt x="470" y="161"/>
                      <a:pt x="473" y="160"/>
                      <a:pt x="476" y="162"/>
                    </a:cubicBezTo>
                    <a:cubicBezTo>
                      <a:pt x="480" y="163"/>
                      <a:pt x="473" y="166"/>
                      <a:pt x="469" y="163"/>
                    </a:cubicBezTo>
                    <a:cubicBezTo>
                      <a:pt x="466" y="161"/>
                      <a:pt x="462" y="163"/>
                      <a:pt x="461" y="165"/>
                    </a:cubicBezTo>
                    <a:cubicBezTo>
                      <a:pt x="460" y="167"/>
                      <a:pt x="465" y="172"/>
                      <a:pt x="471" y="173"/>
                    </a:cubicBezTo>
                    <a:cubicBezTo>
                      <a:pt x="478" y="174"/>
                      <a:pt x="476" y="176"/>
                      <a:pt x="479" y="177"/>
                    </a:cubicBezTo>
                    <a:cubicBezTo>
                      <a:pt x="482" y="178"/>
                      <a:pt x="480" y="179"/>
                      <a:pt x="478" y="180"/>
                    </a:cubicBezTo>
                    <a:cubicBezTo>
                      <a:pt x="476" y="180"/>
                      <a:pt x="471" y="177"/>
                      <a:pt x="468" y="175"/>
                    </a:cubicBezTo>
                    <a:cubicBezTo>
                      <a:pt x="465" y="173"/>
                      <a:pt x="456" y="176"/>
                      <a:pt x="455" y="174"/>
                    </a:cubicBezTo>
                    <a:cubicBezTo>
                      <a:pt x="453" y="172"/>
                      <a:pt x="456" y="170"/>
                      <a:pt x="454" y="168"/>
                    </a:cubicBezTo>
                    <a:cubicBezTo>
                      <a:pt x="452" y="167"/>
                      <a:pt x="454" y="164"/>
                      <a:pt x="456" y="160"/>
                    </a:cubicBezTo>
                    <a:cubicBezTo>
                      <a:pt x="458" y="157"/>
                      <a:pt x="456" y="151"/>
                      <a:pt x="453" y="150"/>
                    </a:cubicBezTo>
                    <a:cubicBezTo>
                      <a:pt x="450" y="150"/>
                      <a:pt x="450" y="153"/>
                      <a:pt x="450" y="154"/>
                    </a:cubicBezTo>
                    <a:cubicBezTo>
                      <a:pt x="451" y="155"/>
                      <a:pt x="451" y="159"/>
                      <a:pt x="448" y="162"/>
                    </a:cubicBezTo>
                    <a:cubicBezTo>
                      <a:pt x="446" y="165"/>
                      <a:pt x="439" y="165"/>
                      <a:pt x="439" y="167"/>
                    </a:cubicBezTo>
                    <a:cubicBezTo>
                      <a:pt x="439" y="169"/>
                      <a:pt x="434" y="171"/>
                      <a:pt x="436" y="172"/>
                    </a:cubicBezTo>
                    <a:cubicBezTo>
                      <a:pt x="437" y="174"/>
                      <a:pt x="444" y="181"/>
                      <a:pt x="445" y="183"/>
                    </a:cubicBezTo>
                    <a:cubicBezTo>
                      <a:pt x="446" y="185"/>
                      <a:pt x="439" y="193"/>
                      <a:pt x="440" y="197"/>
                    </a:cubicBezTo>
                    <a:cubicBezTo>
                      <a:pt x="441" y="201"/>
                      <a:pt x="439" y="203"/>
                      <a:pt x="440" y="205"/>
                    </a:cubicBezTo>
                    <a:cubicBezTo>
                      <a:pt x="442" y="207"/>
                      <a:pt x="445" y="205"/>
                      <a:pt x="447" y="206"/>
                    </a:cubicBezTo>
                    <a:cubicBezTo>
                      <a:pt x="448" y="207"/>
                      <a:pt x="452" y="205"/>
                      <a:pt x="456" y="204"/>
                    </a:cubicBezTo>
                    <a:cubicBezTo>
                      <a:pt x="460" y="203"/>
                      <a:pt x="468" y="208"/>
                      <a:pt x="471" y="209"/>
                    </a:cubicBezTo>
                    <a:cubicBezTo>
                      <a:pt x="474" y="211"/>
                      <a:pt x="473" y="213"/>
                      <a:pt x="474" y="215"/>
                    </a:cubicBezTo>
                    <a:cubicBezTo>
                      <a:pt x="476" y="218"/>
                      <a:pt x="471" y="218"/>
                      <a:pt x="471" y="221"/>
                    </a:cubicBezTo>
                    <a:cubicBezTo>
                      <a:pt x="471" y="225"/>
                      <a:pt x="480" y="226"/>
                      <a:pt x="480" y="227"/>
                    </a:cubicBezTo>
                    <a:cubicBezTo>
                      <a:pt x="480" y="228"/>
                      <a:pt x="474" y="228"/>
                      <a:pt x="471" y="227"/>
                    </a:cubicBezTo>
                    <a:cubicBezTo>
                      <a:pt x="468" y="226"/>
                      <a:pt x="468" y="222"/>
                      <a:pt x="467" y="222"/>
                    </a:cubicBezTo>
                    <a:cubicBezTo>
                      <a:pt x="466" y="221"/>
                      <a:pt x="469" y="218"/>
                      <a:pt x="469" y="216"/>
                    </a:cubicBezTo>
                    <a:cubicBezTo>
                      <a:pt x="469" y="213"/>
                      <a:pt x="466" y="212"/>
                      <a:pt x="465" y="211"/>
                    </a:cubicBezTo>
                    <a:cubicBezTo>
                      <a:pt x="464" y="209"/>
                      <a:pt x="462" y="207"/>
                      <a:pt x="460" y="207"/>
                    </a:cubicBezTo>
                    <a:cubicBezTo>
                      <a:pt x="458" y="208"/>
                      <a:pt x="450" y="208"/>
                      <a:pt x="448" y="211"/>
                    </a:cubicBezTo>
                    <a:cubicBezTo>
                      <a:pt x="445" y="213"/>
                      <a:pt x="448" y="219"/>
                      <a:pt x="449" y="222"/>
                    </a:cubicBezTo>
                    <a:cubicBezTo>
                      <a:pt x="451" y="225"/>
                      <a:pt x="442" y="229"/>
                      <a:pt x="443" y="231"/>
                    </a:cubicBezTo>
                    <a:cubicBezTo>
                      <a:pt x="443" y="234"/>
                      <a:pt x="440" y="235"/>
                      <a:pt x="437" y="237"/>
                    </a:cubicBezTo>
                    <a:cubicBezTo>
                      <a:pt x="433" y="239"/>
                      <a:pt x="429" y="240"/>
                      <a:pt x="429" y="243"/>
                    </a:cubicBezTo>
                    <a:cubicBezTo>
                      <a:pt x="429" y="246"/>
                      <a:pt x="425" y="245"/>
                      <a:pt x="422" y="243"/>
                    </a:cubicBezTo>
                    <a:cubicBezTo>
                      <a:pt x="420" y="242"/>
                      <a:pt x="416" y="244"/>
                      <a:pt x="413" y="244"/>
                    </a:cubicBezTo>
                    <a:cubicBezTo>
                      <a:pt x="409" y="244"/>
                      <a:pt x="409" y="241"/>
                      <a:pt x="406" y="242"/>
                    </a:cubicBezTo>
                    <a:cubicBezTo>
                      <a:pt x="403" y="243"/>
                      <a:pt x="402" y="240"/>
                      <a:pt x="402" y="238"/>
                    </a:cubicBezTo>
                    <a:cubicBezTo>
                      <a:pt x="403" y="236"/>
                      <a:pt x="406" y="238"/>
                      <a:pt x="407" y="239"/>
                    </a:cubicBezTo>
                    <a:cubicBezTo>
                      <a:pt x="407" y="241"/>
                      <a:pt x="409" y="240"/>
                      <a:pt x="411" y="239"/>
                    </a:cubicBezTo>
                    <a:cubicBezTo>
                      <a:pt x="414" y="238"/>
                      <a:pt x="413" y="241"/>
                      <a:pt x="416" y="241"/>
                    </a:cubicBezTo>
                    <a:cubicBezTo>
                      <a:pt x="419" y="241"/>
                      <a:pt x="418" y="239"/>
                      <a:pt x="420" y="239"/>
                    </a:cubicBezTo>
                    <a:cubicBezTo>
                      <a:pt x="423" y="240"/>
                      <a:pt x="423" y="239"/>
                      <a:pt x="422" y="237"/>
                    </a:cubicBezTo>
                    <a:cubicBezTo>
                      <a:pt x="421" y="236"/>
                      <a:pt x="424" y="235"/>
                      <a:pt x="426" y="234"/>
                    </a:cubicBezTo>
                    <a:cubicBezTo>
                      <a:pt x="427" y="234"/>
                      <a:pt x="427" y="231"/>
                      <a:pt x="428" y="230"/>
                    </a:cubicBezTo>
                    <a:cubicBezTo>
                      <a:pt x="430" y="229"/>
                      <a:pt x="429" y="228"/>
                      <a:pt x="430" y="228"/>
                    </a:cubicBezTo>
                    <a:cubicBezTo>
                      <a:pt x="432" y="227"/>
                      <a:pt x="433" y="225"/>
                      <a:pt x="434" y="225"/>
                    </a:cubicBezTo>
                    <a:cubicBezTo>
                      <a:pt x="436" y="225"/>
                      <a:pt x="437" y="222"/>
                      <a:pt x="436" y="221"/>
                    </a:cubicBezTo>
                    <a:cubicBezTo>
                      <a:pt x="435" y="220"/>
                      <a:pt x="436" y="216"/>
                      <a:pt x="438" y="216"/>
                    </a:cubicBezTo>
                    <a:cubicBezTo>
                      <a:pt x="439" y="215"/>
                      <a:pt x="439" y="214"/>
                      <a:pt x="438" y="213"/>
                    </a:cubicBezTo>
                    <a:cubicBezTo>
                      <a:pt x="437" y="212"/>
                      <a:pt x="431" y="208"/>
                      <a:pt x="432" y="206"/>
                    </a:cubicBezTo>
                    <a:cubicBezTo>
                      <a:pt x="432" y="204"/>
                      <a:pt x="431" y="199"/>
                      <a:pt x="431" y="198"/>
                    </a:cubicBezTo>
                    <a:cubicBezTo>
                      <a:pt x="432" y="196"/>
                      <a:pt x="432" y="192"/>
                      <a:pt x="431" y="190"/>
                    </a:cubicBezTo>
                    <a:cubicBezTo>
                      <a:pt x="431" y="188"/>
                      <a:pt x="433" y="186"/>
                      <a:pt x="433" y="182"/>
                    </a:cubicBezTo>
                    <a:cubicBezTo>
                      <a:pt x="434" y="178"/>
                      <a:pt x="429" y="174"/>
                      <a:pt x="427" y="172"/>
                    </a:cubicBezTo>
                    <a:cubicBezTo>
                      <a:pt x="424" y="171"/>
                      <a:pt x="426" y="169"/>
                      <a:pt x="429" y="166"/>
                    </a:cubicBezTo>
                    <a:cubicBezTo>
                      <a:pt x="433" y="164"/>
                      <a:pt x="433" y="155"/>
                      <a:pt x="433" y="153"/>
                    </a:cubicBezTo>
                    <a:cubicBezTo>
                      <a:pt x="433" y="151"/>
                      <a:pt x="426" y="149"/>
                      <a:pt x="423" y="149"/>
                    </a:cubicBezTo>
                    <a:cubicBezTo>
                      <a:pt x="420" y="150"/>
                      <a:pt x="410" y="149"/>
                      <a:pt x="408" y="149"/>
                    </a:cubicBezTo>
                    <a:cubicBezTo>
                      <a:pt x="405" y="148"/>
                      <a:pt x="404" y="151"/>
                      <a:pt x="403" y="153"/>
                    </a:cubicBezTo>
                    <a:cubicBezTo>
                      <a:pt x="402" y="156"/>
                      <a:pt x="399" y="159"/>
                      <a:pt x="398" y="165"/>
                    </a:cubicBezTo>
                    <a:cubicBezTo>
                      <a:pt x="396" y="170"/>
                      <a:pt x="390" y="172"/>
                      <a:pt x="387" y="173"/>
                    </a:cubicBezTo>
                    <a:cubicBezTo>
                      <a:pt x="384" y="174"/>
                      <a:pt x="382" y="178"/>
                      <a:pt x="384" y="180"/>
                    </a:cubicBezTo>
                    <a:cubicBezTo>
                      <a:pt x="385" y="182"/>
                      <a:pt x="387" y="180"/>
                      <a:pt x="388" y="181"/>
                    </a:cubicBezTo>
                    <a:cubicBezTo>
                      <a:pt x="389" y="182"/>
                      <a:pt x="388" y="187"/>
                      <a:pt x="387" y="187"/>
                    </a:cubicBezTo>
                    <a:cubicBezTo>
                      <a:pt x="386" y="188"/>
                      <a:pt x="389" y="190"/>
                      <a:pt x="387" y="191"/>
                    </a:cubicBezTo>
                    <a:cubicBezTo>
                      <a:pt x="385" y="192"/>
                      <a:pt x="383" y="195"/>
                      <a:pt x="384" y="197"/>
                    </a:cubicBezTo>
                    <a:cubicBezTo>
                      <a:pt x="385" y="198"/>
                      <a:pt x="391" y="199"/>
                      <a:pt x="393" y="200"/>
                    </a:cubicBezTo>
                    <a:cubicBezTo>
                      <a:pt x="396" y="202"/>
                      <a:pt x="395" y="204"/>
                      <a:pt x="397" y="207"/>
                    </a:cubicBezTo>
                    <a:cubicBezTo>
                      <a:pt x="399" y="209"/>
                      <a:pt x="401" y="208"/>
                      <a:pt x="402" y="209"/>
                    </a:cubicBezTo>
                    <a:cubicBezTo>
                      <a:pt x="403" y="211"/>
                      <a:pt x="398" y="217"/>
                      <a:pt x="397" y="217"/>
                    </a:cubicBezTo>
                    <a:cubicBezTo>
                      <a:pt x="395" y="217"/>
                      <a:pt x="389" y="211"/>
                      <a:pt x="387" y="209"/>
                    </a:cubicBezTo>
                    <a:cubicBezTo>
                      <a:pt x="385" y="208"/>
                      <a:pt x="378" y="206"/>
                      <a:pt x="374" y="204"/>
                    </a:cubicBezTo>
                    <a:cubicBezTo>
                      <a:pt x="370" y="202"/>
                      <a:pt x="367" y="202"/>
                      <a:pt x="363" y="199"/>
                    </a:cubicBezTo>
                    <a:cubicBezTo>
                      <a:pt x="359" y="197"/>
                      <a:pt x="356" y="195"/>
                      <a:pt x="349" y="196"/>
                    </a:cubicBezTo>
                    <a:cubicBezTo>
                      <a:pt x="341" y="196"/>
                      <a:pt x="336" y="194"/>
                      <a:pt x="334" y="194"/>
                    </a:cubicBezTo>
                    <a:cubicBezTo>
                      <a:pt x="331" y="195"/>
                      <a:pt x="332" y="192"/>
                      <a:pt x="328" y="190"/>
                    </a:cubicBezTo>
                    <a:cubicBezTo>
                      <a:pt x="324" y="188"/>
                      <a:pt x="321" y="185"/>
                      <a:pt x="318" y="187"/>
                    </a:cubicBezTo>
                    <a:cubicBezTo>
                      <a:pt x="316" y="188"/>
                      <a:pt x="317" y="193"/>
                      <a:pt x="321" y="193"/>
                    </a:cubicBezTo>
                    <a:cubicBezTo>
                      <a:pt x="324" y="194"/>
                      <a:pt x="322" y="196"/>
                      <a:pt x="326" y="196"/>
                    </a:cubicBezTo>
                    <a:cubicBezTo>
                      <a:pt x="330" y="195"/>
                      <a:pt x="332" y="197"/>
                      <a:pt x="332" y="199"/>
                    </a:cubicBezTo>
                    <a:cubicBezTo>
                      <a:pt x="331" y="202"/>
                      <a:pt x="333" y="204"/>
                      <a:pt x="335" y="206"/>
                    </a:cubicBezTo>
                    <a:cubicBezTo>
                      <a:pt x="337" y="208"/>
                      <a:pt x="336" y="210"/>
                      <a:pt x="333" y="210"/>
                    </a:cubicBezTo>
                    <a:cubicBezTo>
                      <a:pt x="330" y="210"/>
                      <a:pt x="326" y="211"/>
                      <a:pt x="327" y="213"/>
                    </a:cubicBezTo>
                    <a:cubicBezTo>
                      <a:pt x="329" y="215"/>
                      <a:pt x="326" y="216"/>
                      <a:pt x="323" y="215"/>
                    </a:cubicBezTo>
                    <a:cubicBezTo>
                      <a:pt x="320" y="214"/>
                      <a:pt x="322" y="211"/>
                      <a:pt x="323" y="210"/>
                    </a:cubicBezTo>
                    <a:cubicBezTo>
                      <a:pt x="324" y="209"/>
                      <a:pt x="320" y="207"/>
                      <a:pt x="318" y="206"/>
                    </a:cubicBezTo>
                    <a:cubicBezTo>
                      <a:pt x="316" y="206"/>
                      <a:pt x="308" y="212"/>
                      <a:pt x="306" y="213"/>
                    </a:cubicBezTo>
                    <a:cubicBezTo>
                      <a:pt x="304" y="213"/>
                      <a:pt x="298" y="211"/>
                      <a:pt x="292" y="213"/>
                    </a:cubicBezTo>
                    <a:cubicBezTo>
                      <a:pt x="287" y="214"/>
                      <a:pt x="287" y="218"/>
                      <a:pt x="285" y="218"/>
                    </a:cubicBezTo>
                    <a:cubicBezTo>
                      <a:pt x="283" y="218"/>
                      <a:pt x="276" y="219"/>
                      <a:pt x="274" y="217"/>
                    </a:cubicBezTo>
                    <a:cubicBezTo>
                      <a:pt x="272" y="216"/>
                      <a:pt x="274" y="215"/>
                      <a:pt x="276" y="215"/>
                    </a:cubicBezTo>
                    <a:cubicBezTo>
                      <a:pt x="279" y="215"/>
                      <a:pt x="279" y="214"/>
                      <a:pt x="278" y="213"/>
                    </a:cubicBezTo>
                    <a:cubicBezTo>
                      <a:pt x="277" y="211"/>
                      <a:pt x="280" y="208"/>
                      <a:pt x="280" y="207"/>
                    </a:cubicBezTo>
                    <a:cubicBezTo>
                      <a:pt x="280" y="206"/>
                      <a:pt x="270" y="209"/>
                      <a:pt x="269" y="210"/>
                    </a:cubicBezTo>
                    <a:cubicBezTo>
                      <a:pt x="267" y="212"/>
                      <a:pt x="269" y="214"/>
                      <a:pt x="267" y="215"/>
                    </a:cubicBezTo>
                    <a:cubicBezTo>
                      <a:pt x="266" y="216"/>
                      <a:pt x="266" y="213"/>
                      <a:pt x="264" y="213"/>
                    </a:cubicBezTo>
                    <a:cubicBezTo>
                      <a:pt x="262" y="212"/>
                      <a:pt x="248" y="215"/>
                      <a:pt x="245" y="218"/>
                    </a:cubicBezTo>
                    <a:cubicBezTo>
                      <a:pt x="243" y="221"/>
                      <a:pt x="238" y="221"/>
                      <a:pt x="238" y="223"/>
                    </a:cubicBezTo>
                    <a:cubicBezTo>
                      <a:pt x="238" y="225"/>
                      <a:pt x="231" y="225"/>
                      <a:pt x="229" y="226"/>
                    </a:cubicBezTo>
                    <a:cubicBezTo>
                      <a:pt x="226" y="227"/>
                      <a:pt x="228" y="232"/>
                      <a:pt x="227" y="234"/>
                    </a:cubicBezTo>
                    <a:cubicBezTo>
                      <a:pt x="226" y="237"/>
                      <a:pt x="216" y="236"/>
                      <a:pt x="213" y="236"/>
                    </a:cubicBezTo>
                    <a:cubicBezTo>
                      <a:pt x="210" y="236"/>
                      <a:pt x="209" y="230"/>
                      <a:pt x="207" y="230"/>
                    </a:cubicBezTo>
                    <a:cubicBezTo>
                      <a:pt x="204" y="230"/>
                      <a:pt x="206" y="226"/>
                      <a:pt x="207" y="225"/>
                    </a:cubicBezTo>
                    <a:cubicBezTo>
                      <a:pt x="207" y="223"/>
                      <a:pt x="209" y="225"/>
                      <a:pt x="212" y="223"/>
                    </a:cubicBezTo>
                    <a:cubicBezTo>
                      <a:pt x="215" y="221"/>
                      <a:pt x="218" y="224"/>
                      <a:pt x="219" y="222"/>
                    </a:cubicBezTo>
                    <a:cubicBezTo>
                      <a:pt x="221" y="221"/>
                      <a:pt x="215" y="218"/>
                      <a:pt x="214" y="215"/>
                    </a:cubicBezTo>
                    <a:cubicBezTo>
                      <a:pt x="214" y="212"/>
                      <a:pt x="208" y="211"/>
                      <a:pt x="204" y="212"/>
                    </a:cubicBezTo>
                    <a:cubicBezTo>
                      <a:pt x="201" y="213"/>
                      <a:pt x="197" y="212"/>
                      <a:pt x="194" y="211"/>
                    </a:cubicBezTo>
                    <a:cubicBezTo>
                      <a:pt x="192" y="209"/>
                      <a:pt x="192" y="213"/>
                      <a:pt x="196" y="214"/>
                    </a:cubicBezTo>
                    <a:cubicBezTo>
                      <a:pt x="199" y="215"/>
                      <a:pt x="197" y="218"/>
                      <a:pt x="198" y="219"/>
                    </a:cubicBezTo>
                    <a:cubicBezTo>
                      <a:pt x="199" y="221"/>
                      <a:pt x="197" y="225"/>
                      <a:pt x="195" y="228"/>
                    </a:cubicBezTo>
                    <a:cubicBezTo>
                      <a:pt x="193" y="231"/>
                      <a:pt x="194" y="231"/>
                      <a:pt x="198" y="231"/>
                    </a:cubicBezTo>
                    <a:cubicBezTo>
                      <a:pt x="201" y="231"/>
                      <a:pt x="201" y="235"/>
                      <a:pt x="201" y="238"/>
                    </a:cubicBezTo>
                    <a:cubicBezTo>
                      <a:pt x="201" y="241"/>
                      <a:pt x="198" y="242"/>
                      <a:pt x="198" y="244"/>
                    </a:cubicBezTo>
                    <a:cubicBezTo>
                      <a:pt x="198" y="247"/>
                      <a:pt x="195" y="243"/>
                      <a:pt x="195" y="244"/>
                    </a:cubicBezTo>
                    <a:cubicBezTo>
                      <a:pt x="194" y="245"/>
                      <a:pt x="193" y="244"/>
                      <a:pt x="192" y="242"/>
                    </a:cubicBezTo>
                    <a:cubicBezTo>
                      <a:pt x="192" y="240"/>
                      <a:pt x="187" y="241"/>
                      <a:pt x="184" y="240"/>
                    </a:cubicBezTo>
                    <a:cubicBezTo>
                      <a:pt x="181" y="240"/>
                      <a:pt x="180" y="241"/>
                      <a:pt x="179" y="243"/>
                    </a:cubicBezTo>
                    <a:cubicBezTo>
                      <a:pt x="178" y="245"/>
                      <a:pt x="174" y="246"/>
                      <a:pt x="172" y="246"/>
                    </a:cubicBezTo>
                    <a:cubicBezTo>
                      <a:pt x="170" y="246"/>
                      <a:pt x="166" y="250"/>
                      <a:pt x="164" y="252"/>
                    </a:cubicBezTo>
                    <a:cubicBezTo>
                      <a:pt x="162" y="253"/>
                      <a:pt x="162" y="256"/>
                      <a:pt x="165" y="259"/>
                    </a:cubicBezTo>
                    <a:cubicBezTo>
                      <a:pt x="168" y="261"/>
                      <a:pt x="168" y="263"/>
                      <a:pt x="168" y="265"/>
                    </a:cubicBezTo>
                    <a:cubicBezTo>
                      <a:pt x="168" y="266"/>
                      <a:pt x="160" y="266"/>
                      <a:pt x="158" y="264"/>
                    </a:cubicBezTo>
                    <a:cubicBezTo>
                      <a:pt x="157" y="263"/>
                      <a:pt x="152" y="262"/>
                      <a:pt x="150" y="262"/>
                    </a:cubicBezTo>
                    <a:cubicBezTo>
                      <a:pt x="148" y="263"/>
                      <a:pt x="143" y="257"/>
                      <a:pt x="141" y="257"/>
                    </a:cubicBezTo>
                    <a:cubicBezTo>
                      <a:pt x="138" y="257"/>
                      <a:pt x="137" y="260"/>
                      <a:pt x="136" y="261"/>
                    </a:cubicBezTo>
                    <a:cubicBezTo>
                      <a:pt x="135" y="263"/>
                      <a:pt x="137" y="263"/>
                      <a:pt x="138" y="266"/>
                    </a:cubicBezTo>
                    <a:cubicBezTo>
                      <a:pt x="140" y="269"/>
                      <a:pt x="144" y="269"/>
                      <a:pt x="146" y="269"/>
                    </a:cubicBezTo>
                    <a:cubicBezTo>
                      <a:pt x="148" y="269"/>
                      <a:pt x="148" y="272"/>
                      <a:pt x="147" y="274"/>
                    </a:cubicBezTo>
                    <a:cubicBezTo>
                      <a:pt x="146" y="275"/>
                      <a:pt x="142" y="276"/>
                      <a:pt x="141" y="275"/>
                    </a:cubicBezTo>
                    <a:cubicBezTo>
                      <a:pt x="140" y="273"/>
                      <a:pt x="135" y="275"/>
                      <a:pt x="135" y="273"/>
                    </a:cubicBezTo>
                    <a:cubicBezTo>
                      <a:pt x="134" y="271"/>
                      <a:pt x="131" y="268"/>
                      <a:pt x="127" y="269"/>
                    </a:cubicBezTo>
                    <a:cubicBezTo>
                      <a:pt x="123" y="269"/>
                      <a:pt x="123" y="267"/>
                      <a:pt x="123" y="264"/>
                    </a:cubicBezTo>
                    <a:cubicBezTo>
                      <a:pt x="123" y="261"/>
                      <a:pt x="121" y="259"/>
                      <a:pt x="121" y="258"/>
                    </a:cubicBezTo>
                    <a:cubicBezTo>
                      <a:pt x="121" y="257"/>
                      <a:pt x="119" y="254"/>
                      <a:pt x="121" y="253"/>
                    </a:cubicBezTo>
                    <a:cubicBezTo>
                      <a:pt x="123" y="252"/>
                      <a:pt x="122" y="250"/>
                      <a:pt x="122" y="248"/>
                    </a:cubicBezTo>
                    <a:cubicBezTo>
                      <a:pt x="122" y="246"/>
                      <a:pt x="119" y="243"/>
                      <a:pt x="116" y="243"/>
                    </a:cubicBezTo>
                    <a:cubicBezTo>
                      <a:pt x="113" y="243"/>
                      <a:pt x="113" y="240"/>
                      <a:pt x="111" y="240"/>
                    </a:cubicBezTo>
                    <a:cubicBezTo>
                      <a:pt x="108" y="239"/>
                      <a:pt x="103" y="235"/>
                      <a:pt x="103" y="233"/>
                    </a:cubicBezTo>
                    <a:cubicBezTo>
                      <a:pt x="103" y="231"/>
                      <a:pt x="99" y="231"/>
                      <a:pt x="100" y="230"/>
                    </a:cubicBezTo>
                    <a:cubicBezTo>
                      <a:pt x="101" y="230"/>
                      <a:pt x="104" y="231"/>
                      <a:pt x="107" y="233"/>
                    </a:cubicBezTo>
                    <a:cubicBezTo>
                      <a:pt x="109" y="235"/>
                      <a:pt x="112" y="237"/>
                      <a:pt x="118" y="238"/>
                    </a:cubicBezTo>
                    <a:cubicBezTo>
                      <a:pt x="123" y="238"/>
                      <a:pt x="126" y="241"/>
                      <a:pt x="132" y="242"/>
                    </a:cubicBezTo>
                    <a:cubicBezTo>
                      <a:pt x="138" y="243"/>
                      <a:pt x="142" y="244"/>
                      <a:pt x="151" y="245"/>
                    </a:cubicBezTo>
                    <a:cubicBezTo>
                      <a:pt x="160" y="246"/>
                      <a:pt x="171" y="237"/>
                      <a:pt x="174" y="235"/>
                    </a:cubicBezTo>
                    <a:cubicBezTo>
                      <a:pt x="176" y="232"/>
                      <a:pt x="173" y="227"/>
                      <a:pt x="173" y="225"/>
                    </a:cubicBezTo>
                    <a:cubicBezTo>
                      <a:pt x="173" y="223"/>
                      <a:pt x="169" y="223"/>
                      <a:pt x="169" y="222"/>
                    </a:cubicBezTo>
                    <a:cubicBezTo>
                      <a:pt x="168" y="220"/>
                      <a:pt x="165" y="218"/>
                      <a:pt x="162" y="218"/>
                    </a:cubicBezTo>
                    <a:cubicBezTo>
                      <a:pt x="158" y="218"/>
                      <a:pt x="158" y="214"/>
                      <a:pt x="155" y="214"/>
                    </a:cubicBezTo>
                    <a:cubicBezTo>
                      <a:pt x="152" y="214"/>
                      <a:pt x="151" y="213"/>
                      <a:pt x="143" y="208"/>
                    </a:cubicBezTo>
                    <a:cubicBezTo>
                      <a:pt x="136" y="203"/>
                      <a:pt x="126" y="200"/>
                      <a:pt x="125" y="201"/>
                    </a:cubicBezTo>
                    <a:cubicBezTo>
                      <a:pt x="123" y="202"/>
                      <a:pt x="122" y="202"/>
                      <a:pt x="121" y="200"/>
                    </a:cubicBezTo>
                    <a:cubicBezTo>
                      <a:pt x="119" y="198"/>
                      <a:pt x="117" y="199"/>
                      <a:pt x="115" y="200"/>
                    </a:cubicBezTo>
                    <a:cubicBezTo>
                      <a:pt x="113" y="202"/>
                      <a:pt x="111" y="199"/>
                      <a:pt x="107" y="200"/>
                    </a:cubicBezTo>
                    <a:cubicBezTo>
                      <a:pt x="104" y="201"/>
                      <a:pt x="102" y="198"/>
                      <a:pt x="103" y="197"/>
                    </a:cubicBezTo>
                    <a:cubicBezTo>
                      <a:pt x="104" y="196"/>
                      <a:pt x="109" y="197"/>
                      <a:pt x="109" y="195"/>
                    </a:cubicBezTo>
                    <a:cubicBezTo>
                      <a:pt x="109" y="193"/>
                      <a:pt x="107" y="195"/>
                      <a:pt x="103" y="193"/>
                    </a:cubicBezTo>
                    <a:cubicBezTo>
                      <a:pt x="100" y="191"/>
                      <a:pt x="98" y="192"/>
                      <a:pt x="98" y="194"/>
                    </a:cubicBezTo>
                    <a:cubicBezTo>
                      <a:pt x="97" y="196"/>
                      <a:pt x="94" y="195"/>
                      <a:pt x="93" y="194"/>
                    </a:cubicBezTo>
                    <a:cubicBezTo>
                      <a:pt x="93" y="194"/>
                      <a:pt x="92" y="194"/>
                      <a:pt x="92" y="193"/>
                    </a:cubicBezTo>
                    <a:cubicBezTo>
                      <a:pt x="92" y="196"/>
                      <a:pt x="90" y="197"/>
                      <a:pt x="88" y="196"/>
                    </a:cubicBezTo>
                    <a:cubicBezTo>
                      <a:pt x="86" y="196"/>
                      <a:pt x="84" y="199"/>
                      <a:pt x="82" y="199"/>
                    </a:cubicBezTo>
                    <a:cubicBezTo>
                      <a:pt x="79" y="199"/>
                      <a:pt x="77" y="202"/>
                      <a:pt x="76" y="204"/>
                    </a:cubicBezTo>
                    <a:cubicBezTo>
                      <a:pt x="76" y="206"/>
                      <a:pt x="73" y="205"/>
                      <a:pt x="73" y="207"/>
                    </a:cubicBezTo>
                    <a:cubicBezTo>
                      <a:pt x="73" y="208"/>
                      <a:pt x="73" y="209"/>
                      <a:pt x="72" y="211"/>
                    </a:cubicBezTo>
                    <a:cubicBezTo>
                      <a:pt x="71" y="212"/>
                      <a:pt x="72" y="213"/>
                      <a:pt x="73" y="215"/>
                    </a:cubicBezTo>
                    <a:cubicBezTo>
                      <a:pt x="74" y="218"/>
                      <a:pt x="77" y="218"/>
                      <a:pt x="78" y="218"/>
                    </a:cubicBezTo>
                    <a:cubicBezTo>
                      <a:pt x="79" y="219"/>
                      <a:pt x="84" y="223"/>
                      <a:pt x="84" y="224"/>
                    </a:cubicBezTo>
                    <a:cubicBezTo>
                      <a:pt x="84" y="226"/>
                      <a:pt x="80" y="229"/>
                      <a:pt x="79" y="230"/>
                    </a:cubicBezTo>
                    <a:cubicBezTo>
                      <a:pt x="77" y="231"/>
                      <a:pt x="75" y="233"/>
                      <a:pt x="76" y="235"/>
                    </a:cubicBezTo>
                    <a:cubicBezTo>
                      <a:pt x="77" y="236"/>
                      <a:pt x="81" y="242"/>
                      <a:pt x="84" y="247"/>
                    </a:cubicBezTo>
                    <a:cubicBezTo>
                      <a:pt x="87" y="252"/>
                      <a:pt x="83" y="250"/>
                      <a:pt x="81" y="252"/>
                    </a:cubicBezTo>
                    <a:cubicBezTo>
                      <a:pt x="80" y="254"/>
                      <a:pt x="82" y="257"/>
                      <a:pt x="82" y="258"/>
                    </a:cubicBezTo>
                    <a:cubicBezTo>
                      <a:pt x="83" y="259"/>
                      <a:pt x="80" y="259"/>
                      <a:pt x="81" y="260"/>
                    </a:cubicBezTo>
                    <a:cubicBezTo>
                      <a:pt x="81" y="262"/>
                      <a:pt x="84" y="262"/>
                      <a:pt x="85" y="263"/>
                    </a:cubicBezTo>
                    <a:cubicBezTo>
                      <a:pt x="85" y="264"/>
                      <a:pt x="82" y="265"/>
                      <a:pt x="83" y="267"/>
                    </a:cubicBezTo>
                    <a:cubicBezTo>
                      <a:pt x="85" y="269"/>
                      <a:pt x="87" y="269"/>
                      <a:pt x="88" y="271"/>
                    </a:cubicBezTo>
                    <a:cubicBezTo>
                      <a:pt x="88" y="274"/>
                      <a:pt x="82" y="274"/>
                      <a:pt x="83" y="276"/>
                    </a:cubicBezTo>
                    <a:cubicBezTo>
                      <a:pt x="83" y="278"/>
                      <a:pt x="90" y="280"/>
                      <a:pt x="93" y="284"/>
                    </a:cubicBezTo>
                    <a:cubicBezTo>
                      <a:pt x="96" y="287"/>
                      <a:pt x="96" y="288"/>
                      <a:pt x="95" y="290"/>
                    </a:cubicBezTo>
                    <a:cubicBezTo>
                      <a:pt x="94" y="294"/>
                      <a:pt x="85" y="297"/>
                      <a:pt x="83" y="301"/>
                    </a:cubicBezTo>
                    <a:cubicBezTo>
                      <a:pt x="81" y="306"/>
                      <a:pt x="74" y="308"/>
                      <a:pt x="71" y="311"/>
                    </a:cubicBezTo>
                    <a:cubicBezTo>
                      <a:pt x="69" y="313"/>
                      <a:pt x="68" y="315"/>
                      <a:pt x="67" y="316"/>
                    </a:cubicBezTo>
                    <a:cubicBezTo>
                      <a:pt x="68" y="316"/>
                      <a:pt x="70" y="316"/>
                      <a:pt x="70" y="315"/>
                    </a:cubicBezTo>
                    <a:cubicBezTo>
                      <a:pt x="72" y="314"/>
                      <a:pt x="74" y="319"/>
                      <a:pt x="75" y="320"/>
                    </a:cubicBezTo>
                    <a:cubicBezTo>
                      <a:pt x="77" y="322"/>
                      <a:pt x="81" y="320"/>
                      <a:pt x="82" y="322"/>
                    </a:cubicBezTo>
                    <a:cubicBezTo>
                      <a:pt x="84" y="323"/>
                      <a:pt x="81" y="323"/>
                      <a:pt x="79" y="323"/>
                    </a:cubicBezTo>
                    <a:cubicBezTo>
                      <a:pt x="76" y="323"/>
                      <a:pt x="75" y="324"/>
                      <a:pt x="71" y="326"/>
                    </a:cubicBezTo>
                    <a:cubicBezTo>
                      <a:pt x="68" y="327"/>
                      <a:pt x="68" y="328"/>
                      <a:pt x="67" y="329"/>
                    </a:cubicBezTo>
                    <a:cubicBezTo>
                      <a:pt x="69" y="331"/>
                      <a:pt x="66" y="332"/>
                      <a:pt x="65" y="334"/>
                    </a:cubicBezTo>
                    <a:cubicBezTo>
                      <a:pt x="64" y="336"/>
                      <a:pt x="63" y="337"/>
                      <a:pt x="63" y="338"/>
                    </a:cubicBezTo>
                    <a:cubicBezTo>
                      <a:pt x="62" y="340"/>
                      <a:pt x="63" y="341"/>
                      <a:pt x="63" y="343"/>
                    </a:cubicBezTo>
                    <a:cubicBezTo>
                      <a:pt x="63" y="345"/>
                      <a:pt x="64" y="345"/>
                      <a:pt x="65" y="347"/>
                    </a:cubicBezTo>
                    <a:cubicBezTo>
                      <a:pt x="66" y="349"/>
                      <a:pt x="64" y="349"/>
                      <a:pt x="63" y="350"/>
                    </a:cubicBezTo>
                    <a:cubicBezTo>
                      <a:pt x="62" y="351"/>
                      <a:pt x="62" y="353"/>
                      <a:pt x="64" y="354"/>
                    </a:cubicBezTo>
                    <a:cubicBezTo>
                      <a:pt x="65" y="355"/>
                      <a:pt x="65" y="357"/>
                      <a:pt x="65" y="358"/>
                    </a:cubicBezTo>
                    <a:cubicBezTo>
                      <a:pt x="64" y="360"/>
                      <a:pt x="66" y="362"/>
                      <a:pt x="67" y="363"/>
                    </a:cubicBezTo>
                    <a:cubicBezTo>
                      <a:pt x="69" y="364"/>
                      <a:pt x="68" y="368"/>
                      <a:pt x="69" y="369"/>
                    </a:cubicBezTo>
                    <a:cubicBezTo>
                      <a:pt x="71" y="369"/>
                      <a:pt x="72" y="370"/>
                      <a:pt x="74" y="370"/>
                    </a:cubicBezTo>
                    <a:cubicBezTo>
                      <a:pt x="76" y="369"/>
                      <a:pt x="77" y="370"/>
                      <a:pt x="78" y="372"/>
                    </a:cubicBezTo>
                    <a:cubicBezTo>
                      <a:pt x="79" y="373"/>
                      <a:pt x="80" y="373"/>
                      <a:pt x="82" y="372"/>
                    </a:cubicBezTo>
                    <a:cubicBezTo>
                      <a:pt x="84" y="371"/>
                      <a:pt x="89" y="373"/>
                      <a:pt x="90" y="374"/>
                    </a:cubicBezTo>
                    <a:cubicBezTo>
                      <a:pt x="91" y="374"/>
                      <a:pt x="90" y="377"/>
                      <a:pt x="90" y="379"/>
                    </a:cubicBezTo>
                    <a:cubicBezTo>
                      <a:pt x="90" y="381"/>
                      <a:pt x="89" y="384"/>
                      <a:pt x="91" y="385"/>
                    </a:cubicBezTo>
                    <a:cubicBezTo>
                      <a:pt x="93" y="386"/>
                      <a:pt x="93" y="389"/>
                      <a:pt x="95" y="390"/>
                    </a:cubicBezTo>
                    <a:cubicBezTo>
                      <a:pt x="97" y="391"/>
                      <a:pt x="98" y="394"/>
                      <a:pt x="100" y="395"/>
                    </a:cubicBezTo>
                    <a:cubicBezTo>
                      <a:pt x="101" y="395"/>
                      <a:pt x="104" y="397"/>
                      <a:pt x="104" y="399"/>
                    </a:cubicBezTo>
                    <a:cubicBezTo>
                      <a:pt x="104" y="400"/>
                      <a:pt x="102" y="402"/>
                      <a:pt x="100" y="402"/>
                    </a:cubicBezTo>
                    <a:cubicBezTo>
                      <a:pt x="98" y="403"/>
                      <a:pt x="95" y="400"/>
                      <a:pt x="94" y="402"/>
                    </a:cubicBezTo>
                    <a:cubicBezTo>
                      <a:pt x="93" y="403"/>
                      <a:pt x="95" y="405"/>
                      <a:pt x="95" y="409"/>
                    </a:cubicBezTo>
                    <a:cubicBezTo>
                      <a:pt x="96" y="413"/>
                      <a:pt x="97" y="413"/>
                      <a:pt x="99" y="413"/>
                    </a:cubicBezTo>
                    <a:cubicBezTo>
                      <a:pt x="101" y="413"/>
                      <a:pt x="101" y="412"/>
                      <a:pt x="103" y="411"/>
                    </a:cubicBezTo>
                    <a:cubicBezTo>
                      <a:pt x="104" y="411"/>
                      <a:pt x="107" y="412"/>
                      <a:pt x="108" y="411"/>
                    </a:cubicBezTo>
                    <a:cubicBezTo>
                      <a:pt x="109" y="411"/>
                      <a:pt x="114" y="410"/>
                      <a:pt x="115" y="412"/>
                    </a:cubicBezTo>
                    <a:cubicBezTo>
                      <a:pt x="115" y="413"/>
                      <a:pt x="116" y="417"/>
                      <a:pt x="116" y="418"/>
                    </a:cubicBezTo>
                    <a:cubicBezTo>
                      <a:pt x="115" y="419"/>
                      <a:pt x="117" y="421"/>
                      <a:pt x="117" y="422"/>
                    </a:cubicBezTo>
                    <a:cubicBezTo>
                      <a:pt x="118" y="424"/>
                      <a:pt x="122" y="423"/>
                      <a:pt x="123" y="424"/>
                    </a:cubicBezTo>
                    <a:cubicBezTo>
                      <a:pt x="125" y="424"/>
                      <a:pt x="127" y="428"/>
                      <a:pt x="127" y="430"/>
                    </a:cubicBezTo>
                    <a:cubicBezTo>
                      <a:pt x="126" y="432"/>
                      <a:pt x="129" y="432"/>
                      <a:pt x="130" y="432"/>
                    </a:cubicBezTo>
                    <a:cubicBezTo>
                      <a:pt x="131" y="431"/>
                      <a:pt x="132" y="433"/>
                      <a:pt x="134" y="433"/>
                    </a:cubicBezTo>
                    <a:cubicBezTo>
                      <a:pt x="135" y="434"/>
                      <a:pt x="137" y="434"/>
                      <a:pt x="138" y="433"/>
                    </a:cubicBezTo>
                    <a:cubicBezTo>
                      <a:pt x="139" y="432"/>
                      <a:pt x="142" y="432"/>
                      <a:pt x="142" y="433"/>
                    </a:cubicBezTo>
                    <a:cubicBezTo>
                      <a:pt x="143" y="434"/>
                      <a:pt x="146" y="436"/>
                      <a:pt x="146" y="437"/>
                    </a:cubicBezTo>
                    <a:cubicBezTo>
                      <a:pt x="146" y="438"/>
                      <a:pt x="150" y="437"/>
                      <a:pt x="153" y="438"/>
                    </a:cubicBezTo>
                    <a:cubicBezTo>
                      <a:pt x="155" y="439"/>
                      <a:pt x="157" y="439"/>
                      <a:pt x="159" y="440"/>
                    </a:cubicBezTo>
                    <a:cubicBezTo>
                      <a:pt x="162" y="441"/>
                      <a:pt x="164" y="441"/>
                      <a:pt x="164" y="443"/>
                    </a:cubicBezTo>
                    <a:cubicBezTo>
                      <a:pt x="164" y="444"/>
                      <a:pt x="162" y="445"/>
                      <a:pt x="162" y="446"/>
                    </a:cubicBezTo>
                    <a:cubicBezTo>
                      <a:pt x="162" y="447"/>
                      <a:pt x="164" y="447"/>
                      <a:pt x="164" y="448"/>
                    </a:cubicBezTo>
                    <a:cubicBezTo>
                      <a:pt x="164" y="450"/>
                      <a:pt x="161" y="450"/>
                      <a:pt x="161" y="450"/>
                    </a:cubicBezTo>
                    <a:cubicBezTo>
                      <a:pt x="160" y="451"/>
                      <a:pt x="162" y="453"/>
                      <a:pt x="163" y="453"/>
                    </a:cubicBezTo>
                    <a:cubicBezTo>
                      <a:pt x="163" y="454"/>
                      <a:pt x="161" y="457"/>
                      <a:pt x="161" y="458"/>
                    </a:cubicBezTo>
                    <a:cubicBezTo>
                      <a:pt x="161" y="459"/>
                      <a:pt x="156" y="458"/>
                      <a:pt x="155" y="458"/>
                    </a:cubicBezTo>
                    <a:cubicBezTo>
                      <a:pt x="153" y="458"/>
                      <a:pt x="150" y="462"/>
                      <a:pt x="148" y="462"/>
                    </a:cubicBezTo>
                    <a:cubicBezTo>
                      <a:pt x="147" y="463"/>
                      <a:pt x="148" y="465"/>
                      <a:pt x="148" y="466"/>
                    </a:cubicBezTo>
                    <a:cubicBezTo>
                      <a:pt x="152" y="465"/>
                      <a:pt x="156" y="465"/>
                      <a:pt x="156" y="466"/>
                    </a:cubicBezTo>
                    <a:cubicBezTo>
                      <a:pt x="157" y="467"/>
                      <a:pt x="148" y="471"/>
                      <a:pt x="146" y="472"/>
                    </a:cubicBezTo>
                    <a:cubicBezTo>
                      <a:pt x="145" y="472"/>
                      <a:pt x="150" y="475"/>
                      <a:pt x="149" y="476"/>
                    </a:cubicBezTo>
                    <a:cubicBezTo>
                      <a:pt x="149" y="478"/>
                      <a:pt x="144" y="478"/>
                      <a:pt x="145" y="481"/>
                    </a:cubicBezTo>
                    <a:cubicBezTo>
                      <a:pt x="145" y="484"/>
                      <a:pt x="143" y="484"/>
                      <a:pt x="140" y="484"/>
                    </a:cubicBezTo>
                    <a:cubicBezTo>
                      <a:pt x="138" y="484"/>
                      <a:pt x="137" y="486"/>
                      <a:pt x="138" y="486"/>
                    </a:cubicBezTo>
                    <a:cubicBezTo>
                      <a:pt x="139" y="487"/>
                      <a:pt x="139" y="490"/>
                      <a:pt x="144" y="491"/>
                    </a:cubicBezTo>
                    <a:cubicBezTo>
                      <a:pt x="150" y="493"/>
                      <a:pt x="155" y="498"/>
                      <a:pt x="159" y="502"/>
                    </a:cubicBezTo>
                    <a:cubicBezTo>
                      <a:pt x="160" y="503"/>
                      <a:pt x="161" y="503"/>
                      <a:pt x="161" y="504"/>
                    </a:cubicBezTo>
                    <a:cubicBezTo>
                      <a:pt x="163" y="503"/>
                      <a:pt x="164" y="503"/>
                      <a:pt x="165" y="503"/>
                    </a:cubicBezTo>
                    <a:cubicBezTo>
                      <a:pt x="167" y="502"/>
                      <a:pt x="172" y="504"/>
                      <a:pt x="174" y="505"/>
                    </a:cubicBezTo>
                    <a:cubicBezTo>
                      <a:pt x="177" y="507"/>
                      <a:pt x="186" y="505"/>
                      <a:pt x="187" y="506"/>
                    </a:cubicBezTo>
                    <a:cubicBezTo>
                      <a:pt x="188" y="508"/>
                      <a:pt x="190" y="510"/>
                      <a:pt x="192" y="510"/>
                    </a:cubicBezTo>
                    <a:cubicBezTo>
                      <a:pt x="193" y="510"/>
                      <a:pt x="195" y="513"/>
                      <a:pt x="197" y="512"/>
                    </a:cubicBezTo>
                    <a:cubicBezTo>
                      <a:pt x="198" y="511"/>
                      <a:pt x="203" y="511"/>
                      <a:pt x="205" y="511"/>
                    </a:cubicBezTo>
                    <a:cubicBezTo>
                      <a:pt x="206" y="511"/>
                      <a:pt x="206" y="512"/>
                      <a:pt x="208" y="512"/>
                    </a:cubicBezTo>
                    <a:cubicBezTo>
                      <a:pt x="209" y="512"/>
                      <a:pt x="209" y="517"/>
                      <a:pt x="210" y="517"/>
                    </a:cubicBezTo>
                    <a:cubicBezTo>
                      <a:pt x="211" y="517"/>
                      <a:pt x="215" y="520"/>
                      <a:pt x="218" y="521"/>
                    </a:cubicBezTo>
                    <a:cubicBezTo>
                      <a:pt x="220" y="521"/>
                      <a:pt x="223" y="525"/>
                      <a:pt x="224" y="525"/>
                    </a:cubicBezTo>
                    <a:cubicBezTo>
                      <a:pt x="225" y="525"/>
                      <a:pt x="227" y="527"/>
                      <a:pt x="227" y="525"/>
                    </a:cubicBezTo>
                    <a:cubicBezTo>
                      <a:pt x="228" y="523"/>
                      <a:pt x="231" y="524"/>
                      <a:pt x="232" y="521"/>
                    </a:cubicBezTo>
                    <a:cubicBezTo>
                      <a:pt x="228" y="516"/>
                      <a:pt x="223" y="510"/>
                      <a:pt x="223" y="507"/>
                    </a:cubicBezTo>
                    <a:cubicBezTo>
                      <a:pt x="223" y="503"/>
                      <a:pt x="225" y="500"/>
                      <a:pt x="220" y="496"/>
                    </a:cubicBezTo>
                    <a:cubicBezTo>
                      <a:pt x="215" y="492"/>
                      <a:pt x="221" y="489"/>
                      <a:pt x="224" y="485"/>
                    </a:cubicBezTo>
                    <a:cubicBezTo>
                      <a:pt x="227" y="481"/>
                      <a:pt x="234" y="479"/>
                      <a:pt x="238" y="476"/>
                    </a:cubicBezTo>
                    <a:cubicBezTo>
                      <a:pt x="238" y="475"/>
                      <a:pt x="237" y="475"/>
                      <a:pt x="236" y="474"/>
                    </a:cubicBezTo>
                    <a:cubicBezTo>
                      <a:pt x="233" y="473"/>
                      <a:pt x="232" y="471"/>
                      <a:pt x="234" y="471"/>
                    </a:cubicBezTo>
                    <a:cubicBezTo>
                      <a:pt x="237" y="470"/>
                      <a:pt x="235" y="469"/>
                      <a:pt x="233" y="466"/>
                    </a:cubicBezTo>
                    <a:cubicBezTo>
                      <a:pt x="230" y="463"/>
                      <a:pt x="229" y="460"/>
                      <a:pt x="228" y="460"/>
                    </a:cubicBezTo>
                    <a:cubicBezTo>
                      <a:pt x="227" y="460"/>
                      <a:pt x="224" y="460"/>
                      <a:pt x="222" y="460"/>
                    </a:cubicBezTo>
                    <a:cubicBezTo>
                      <a:pt x="220" y="461"/>
                      <a:pt x="221" y="459"/>
                      <a:pt x="221" y="456"/>
                    </a:cubicBezTo>
                    <a:cubicBezTo>
                      <a:pt x="221" y="454"/>
                      <a:pt x="217" y="454"/>
                      <a:pt x="216" y="453"/>
                    </a:cubicBezTo>
                    <a:cubicBezTo>
                      <a:pt x="216" y="452"/>
                      <a:pt x="217" y="448"/>
                      <a:pt x="218" y="448"/>
                    </a:cubicBezTo>
                    <a:cubicBezTo>
                      <a:pt x="219" y="448"/>
                      <a:pt x="221" y="447"/>
                      <a:pt x="221" y="445"/>
                    </a:cubicBezTo>
                    <a:cubicBezTo>
                      <a:pt x="221" y="444"/>
                      <a:pt x="217" y="444"/>
                      <a:pt x="218" y="442"/>
                    </a:cubicBezTo>
                    <a:cubicBezTo>
                      <a:pt x="220" y="439"/>
                      <a:pt x="223" y="439"/>
                      <a:pt x="223" y="437"/>
                    </a:cubicBezTo>
                    <a:cubicBezTo>
                      <a:pt x="223" y="434"/>
                      <a:pt x="225" y="432"/>
                      <a:pt x="227" y="434"/>
                    </a:cubicBezTo>
                    <a:cubicBezTo>
                      <a:pt x="230" y="435"/>
                      <a:pt x="231" y="440"/>
                      <a:pt x="234" y="439"/>
                    </a:cubicBezTo>
                    <a:cubicBezTo>
                      <a:pt x="237" y="438"/>
                      <a:pt x="235" y="435"/>
                      <a:pt x="234" y="434"/>
                    </a:cubicBezTo>
                    <a:cubicBezTo>
                      <a:pt x="234" y="433"/>
                      <a:pt x="233" y="430"/>
                      <a:pt x="237" y="430"/>
                    </a:cubicBezTo>
                    <a:cubicBezTo>
                      <a:pt x="240" y="429"/>
                      <a:pt x="238" y="426"/>
                      <a:pt x="241" y="426"/>
                    </a:cubicBezTo>
                    <a:cubicBezTo>
                      <a:pt x="243" y="426"/>
                      <a:pt x="248" y="423"/>
                      <a:pt x="249" y="422"/>
                    </a:cubicBezTo>
                    <a:cubicBezTo>
                      <a:pt x="251" y="421"/>
                      <a:pt x="254" y="419"/>
                      <a:pt x="255" y="420"/>
                    </a:cubicBezTo>
                    <a:cubicBezTo>
                      <a:pt x="257" y="421"/>
                      <a:pt x="259" y="423"/>
                      <a:pt x="260" y="420"/>
                    </a:cubicBezTo>
                    <a:cubicBezTo>
                      <a:pt x="261" y="418"/>
                      <a:pt x="265" y="419"/>
                      <a:pt x="265" y="420"/>
                    </a:cubicBezTo>
                    <a:cubicBezTo>
                      <a:pt x="266" y="422"/>
                      <a:pt x="273" y="422"/>
                      <a:pt x="275" y="423"/>
                    </a:cubicBezTo>
                    <a:cubicBezTo>
                      <a:pt x="277" y="424"/>
                      <a:pt x="281" y="427"/>
                      <a:pt x="281" y="429"/>
                    </a:cubicBezTo>
                    <a:cubicBezTo>
                      <a:pt x="281" y="430"/>
                      <a:pt x="284" y="432"/>
                      <a:pt x="284" y="430"/>
                    </a:cubicBezTo>
                    <a:cubicBezTo>
                      <a:pt x="284" y="427"/>
                      <a:pt x="285" y="428"/>
                      <a:pt x="288" y="430"/>
                    </a:cubicBezTo>
                    <a:cubicBezTo>
                      <a:pt x="291" y="432"/>
                      <a:pt x="295" y="431"/>
                      <a:pt x="296" y="429"/>
                    </a:cubicBezTo>
                    <a:cubicBezTo>
                      <a:pt x="296" y="427"/>
                      <a:pt x="302" y="425"/>
                      <a:pt x="304" y="427"/>
                    </a:cubicBezTo>
                    <a:cubicBezTo>
                      <a:pt x="305" y="428"/>
                      <a:pt x="306" y="429"/>
                      <a:pt x="308" y="427"/>
                    </a:cubicBezTo>
                    <a:cubicBezTo>
                      <a:pt x="310" y="425"/>
                      <a:pt x="315" y="425"/>
                      <a:pt x="316" y="427"/>
                    </a:cubicBezTo>
                    <a:cubicBezTo>
                      <a:pt x="317" y="429"/>
                      <a:pt x="319" y="430"/>
                      <a:pt x="321" y="430"/>
                    </a:cubicBezTo>
                    <a:cubicBezTo>
                      <a:pt x="324" y="430"/>
                      <a:pt x="324" y="433"/>
                      <a:pt x="325" y="432"/>
                    </a:cubicBezTo>
                    <a:cubicBezTo>
                      <a:pt x="327" y="432"/>
                      <a:pt x="326" y="428"/>
                      <a:pt x="328" y="428"/>
                    </a:cubicBezTo>
                    <a:cubicBezTo>
                      <a:pt x="330" y="429"/>
                      <a:pt x="331" y="431"/>
                      <a:pt x="334" y="431"/>
                    </a:cubicBezTo>
                    <a:cubicBezTo>
                      <a:pt x="337" y="431"/>
                      <a:pt x="339" y="430"/>
                      <a:pt x="339" y="428"/>
                    </a:cubicBezTo>
                    <a:cubicBezTo>
                      <a:pt x="339" y="426"/>
                      <a:pt x="339" y="422"/>
                      <a:pt x="337" y="422"/>
                    </a:cubicBezTo>
                    <a:cubicBezTo>
                      <a:pt x="335" y="422"/>
                      <a:pt x="334" y="420"/>
                      <a:pt x="331" y="420"/>
                    </a:cubicBezTo>
                    <a:cubicBezTo>
                      <a:pt x="329" y="420"/>
                      <a:pt x="327" y="417"/>
                      <a:pt x="329" y="416"/>
                    </a:cubicBezTo>
                    <a:cubicBezTo>
                      <a:pt x="331" y="415"/>
                      <a:pt x="335" y="414"/>
                      <a:pt x="334" y="412"/>
                    </a:cubicBezTo>
                    <a:cubicBezTo>
                      <a:pt x="334" y="410"/>
                      <a:pt x="333" y="407"/>
                      <a:pt x="336" y="406"/>
                    </a:cubicBezTo>
                    <a:cubicBezTo>
                      <a:pt x="339" y="406"/>
                      <a:pt x="345" y="406"/>
                      <a:pt x="344" y="405"/>
                    </a:cubicBezTo>
                    <a:cubicBezTo>
                      <a:pt x="344" y="404"/>
                      <a:pt x="338" y="403"/>
                      <a:pt x="337" y="401"/>
                    </a:cubicBezTo>
                    <a:cubicBezTo>
                      <a:pt x="336" y="399"/>
                      <a:pt x="336" y="395"/>
                      <a:pt x="337" y="394"/>
                    </a:cubicBezTo>
                    <a:cubicBezTo>
                      <a:pt x="338" y="394"/>
                      <a:pt x="341" y="395"/>
                      <a:pt x="344" y="394"/>
                    </a:cubicBezTo>
                    <a:cubicBezTo>
                      <a:pt x="346" y="393"/>
                      <a:pt x="350" y="395"/>
                      <a:pt x="353" y="393"/>
                    </a:cubicBezTo>
                    <a:cubicBezTo>
                      <a:pt x="356" y="391"/>
                      <a:pt x="362" y="391"/>
                      <a:pt x="365" y="391"/>
                    </a:cubicBezTo>
                    <a:cubicBezTo>
                      <a:pt x="369" y="391"/>
                      <a:pt x="371" y="388"/>
                      <a:pt x="374" y="388"/>
                    </a:cubicBezTo>
                    <a:cubicBezTo>
                      <a:pt x="376" y="388"/>
                      <a:pt x="383" y="387"/>
                      <a:pt x="385" y="386"/>
                    </a:cubicBezTo>
                    <a:cubicBezTo>
                      <a:pt x="387" y="385"/>
                      <a:pt x="396" y="384"/>
                      <a:pt x="397" y="382"/>
                    </a:cubicBezTo>
                    <a:cubicBezTo>
                      <a:pt x="397" y="380"/>
                      <a:pt x="405" y="379"/>
                      <a:pt x="407" y="380"/>
                    </a:cubicBezTo>
                    <a:cubicBezTo>
                      <a:pt x="409" y="381"/>
                      <a:pt x="411" y="381"/>
                      <a:pt x="413" y="381"/>
                    </a:cubicBezTo>
                    <a:cubicBezTo>
                      <a:pt x="415" y="380"/>
                      <a:pt x="418" y="382"/>
                      <a:pt x="418" y="384"/>
                    </a:cubicBezTo>
                    <a:cubicBezTo>
                      <a:pt x="418" y="386"/>
                      <a:pt x="420" y="388"/>
                      <a:pt x="420" y="389"/>
                    </a:cubicBezTo>
                    <a:cubicBezTo>
                      <a:pt x="419" y="391"/>
                      <a:pt x="418" y="392"/>
                      <a:pt x="419" y="393"/>
                    </a:cubicBezTo>
                    <a:cubicBezTo>
                      <a:pt x="420" y="394"/>
                      <a:pt x="425" y="393"/>
                      <a:pt x="426" y="392"/>
                    </a:cubicBezTo>
                    <a:cubicBezTo>
                      <a:pt x="427" y="390"/>
                      <a:pt x="429" y="392"/>
                      <a:pt x="429" y="394"/>
                    </a:cubicBezTo>
                    <a:cubicBezTo>
                      <a:pt x="429" y="395"/>
                      <a:pt x="431" y="396"/>
                      <a:pt x="431" y="394"/>
                    </a:cubicBezTo>
                    <a:cubicBezTo>
                      <a:pt x="431" y="392"/>
                      <a:pt x="434" y="394"/>
                      <a:pt x="435" y="395"/>
                    </a:cubicBezTo>
                    <a:cubicBezTo>
                      <a:pt x="436" y="396"/>
                      <a:pt x="439" y="393"/>
                      <a:pt x="439" y="395"/>
                    </a:cubicBezTo>
                    <a:cubicBezTo>
                      <a:pt x="439" y="397"/>
                      <a:pt x="434" y="398"/>
                      <a:pt x="436" y="400"/>
                    </a:cubicBezTo>
                    <a:cubicBezTo>
                      <a:pt x="439" y="402"/>
                      <a:pt x="440" y="398"/>
                      <a:pt x="443" y="399"/>
                    </a:cubicBezTo>
                    <a:cubicBezTo>
                      <a:pt x="445" y="400"/>
                      <a:pt x="449" y="396"/>
                      <a:pt x="451" y="395"/>
                    </a:cubicBezTo>
                    <a:cubicBezTo>
                      <a:pt x="454" y="395"/>
                      <a:pt x="456" y="392"/>
                      <a:pt x="459" y="391"/>
                    </a:cubicBezTo>
                    <a:cubicBezTo>
                      <a:pt x="461" y="390"/>
                      <a:pt x="465" y="390"/>
                      <a:pt x="464" y="392"/>
                    </a:cubicBezTo>
                    <a:cubicBezTo>
                      <a:pt x="463" y="393"/>
                      <a:pt x="461" y="396"/>
                      <a:pt x="466" y="398"/>
                    </a:cubicBezTo>
                    <a:cubicBezTo>
                      <a:pt x="472" y="400"/>
                      <a:pt x="478" y="410"/>
                      <a:pt x="481" y="415"/>
                    </a:cubicBezTo>
                    <a:cubicBezTo>
                      <a:pt x="484" y="420"/>
                      <a:pt x="488" y="430"/>
                      <a:pt x="489" y="430"/>
                    </a:cubicBezTo>
                    <a:cubicBezTo>
                      <a:pt x="491" y="430"/>
                      <a:pt x="492" y="425"/>
                      <a:pt x="494" y="425"/>
                    </a:cubicBezTo>
                    <a:cubicBezTo>
                      <a:pt x="496" y="424"/>
                      <a:pt x="498" y="429"/>
                      <a:pt x="500" y="429"/>
                    </a:cubicBezTo>
                    <a:cubicBezTo>
                      <a:pt x="503" y="430"/>
                      <a:pt x="506" y="431"/>
                      <a:pt x="508" y="430"/>
                    </a:cubicBezTo>
                    <a:cubicBezTo>
                      <a:pt x="510" y="430"/>
                      <a:pt x="515" y="427"/>
                      <a:pt x="516" y="428"/>
                    </a:cubicBezTo>
                    <a:cubicBezTo>
                      <a:pt x="518" y="429"/>
                      <a:pt x="520" y="429"/>
                      <a:pt x="521" y="432"/>
                    </a:cubicBezTo>
                    <a:cubicBezTo>
                      <a:pt x="523" y="436"/>
                      <a:pt x="525" y="436"/>
                      <a:pt x="526" y="436"/>
                    </a:cubicBezTo>
                    <a:cubicBezTo>
                      <a:pt x="528" y="436"/>
                      <a:pt x="528" y="438"/>
                      <a:pt x="528" y="439"/>
                    </a:cubicBezTo>
                    <a:cubicBezTo>
                      <a:pt x="528" y="441"/>
                      <a:pt x="531" y="443"/>
                      <a:pt x="532" y="443"/>
                    </a:cubicBezTo>
                    <a:cubicBezTo>
                      <a:pt x="534" y="443"/>
                      <a:pt x="537" y="442"/>
                      <a:pt x="539" y="442"/>
                    </a:cubicBezTo>
                    <a:cubicBezTo>
                      <a:pt x="540" y="441"/>
                      <a:pt x="541" y="440"/>
                      <a:pt x="541" y="442"/>
                    </a:cubicBezTo>
                    <a:cubicBezTo>
                      <a:pt x="542" y="443"/>
                      <a:pt x="544" y="446"/>
                      <a:pt x="545" y="446"/>
                    </a:cubicBezTo>
                    <a:cubicBezTo>
                      <a:pt x="547" y="446"/>
                      <a:pt x="549" y="447"/>
                      <a:pt x="550" y="446"/>
                    </a:cubicBezTo>
                    <a:cubicBezTo>
                      <a:pt x="550" y="445"/>
                      <a:pt x="554" y="444"/>
                      <a:pt x="555" y="444"/>
                    </a:cubicBezTo>
                    <a:cubicBezTo>
                      <a:pt x="557" y="444"/>
                      <a:pt x="562" y="443"/>
                      <a:pt x="563" y="441"/>
                    </a:cubicBezTo>
                    <a:cubicBezTo>
                      <a:pt x="564" y="438"/>
                      <a:pt x="568" y="438"/>
                      <a:pt x="569" y="437"/>
                    </a:cubicBezTo>
                    <a:cubicBezTo>
                      <a:pt x="570" y="436"/>
                      <a:pt x="573" y="435"/>
                      <a:pt x="574" y="433"/>
                    </a:cubicBezTo>
                    <a:cubicBezTo>
                      <a:pt x="575" y="432"/>
                      <a:pt x="579" y="432"/>
                      <a:pt x="579" y="431"/>
                    </a:cubicBezTo>
                    <a:cubicBezTo>
                      <a:pt x="580" y="430"/>
                      <a:pt x="583" y="430"/>
                      <a:pt x="585" y="430"/>
                    </a:cubicBezTo>
                    <a:cubicBezTo>
                      <a:pt x="587" y="431"/>
                      <a:pt x="595" y="432"/>
                      <a:pt x="596" y="432"/>
                    </a:cubicBezTo>
                    <a:cubicBezTo>
                      <a:pt x="598" y="432"/>
                      <a:pt x="598" y="436"/>
                      <a:pt x="599" y="437"/>
                    </a:cubicBezTo>
                    <a:cubicBezTo>
                      <a:pt x="600" y="437"/>
                      <a:pt x="604" y="440"/>
                      <a:pt x="606" y="439"/>
                    </a:cubicBezTo>
                    <a:cubicBezTo>
                      <a:pt x="607" y="438"/>
                      <a:pt x="610" y="437"/>
                      <a:pt x="612" y="439"/>
                    </a:cubicBezTo>
                    <a:cubicBezTo>
                      <a:pt x="614" y="440"/>
                      <a:pt x="617" y="442"/>
                      <a:pt x="618" y="440"/>
                    </a:cubicBezTo>
                    <a:cubicBezTo>
                      <a:pt x="619" y="439"/>
                      <a:pt x="624" y="438"/>
                      <a:pt x="624" y="437"/>
                    </a:cubicBezTo>
                    <a:cubicBezTo>
                      <a:pt x="625" y="436"/>
                      <a:pt x="626" y="433"/>
                      <a:pt x="625" y="432"/>
                    </a:cubicBezTo>
                    <a:cubicBezTo>
                      <a:pt x="623" y="431"/>
                      <a:pt x="622" y="427"/>
                      <a:pt x="622" y="426"/>
                    </a:cubicBezTo>
                    <a:cubicBezTo>
                      <a:pt x="621" y="424"/>
                      <a:pt x="625" y="423"/>
                      <a:pt x="625" y="422"/>
                    </a:cubicBezTo>
                    <a:cubicBezTo>
                      <a:pt x="626" y="420"/>
                      <a:pt x="628" y="420"/>
                      <a:pt x="629" y="419"/>
                    </a:cubicBezTo>
                    <a:cubicBezTo>
                      <a:pt x="630" y="418"/>
                      <a:pt x="631" y="416"/>
                      <a:pt x="632" y="416"/>
                    </a:cubicBezTo>
                    <a:cubicBezTo>
                      <a:pt x="634" y="417"/>
                      <a:pt x="637" y="418"/>
                      <a:pt x="638" y="418"/>
                    </a:cubicBezTo>
                    <a:cubicBezTo>
                      <a:pt x="639" y="419"/>
                      <a:pt x="642" y="420"/>
                      <a:pt x="643" y="420"/>
                    </a:cubicBezTo>
                    <a:cubicBezTo>
                      <a:pt x="645" y="420"/>
                      <a:pt x="647" y="421"/>
                      <a:pt x="649" y="422"/>
                    </a:cubicBezTo>
                    <a:cubicBezTo>
                      <a:pt x="651" y="423"/>
                      <a:pt x="656" y="423"/>
                      <a:pt x="657" y="424"/>
                    </a:cubicBezTo>
                    <a:cubicBezTo>
                      <a:pt x="658" y="426"/>
                      <a:pt x="657" y="430"/>
                      <a:pt x="658" y="431"/>
                    </a:cubicBezTo>
                    <a:cubicBezTo>
                      <a:pt x="659" y="433"/>
                      <a:pt x="662" y="436"/>
                      <a:pt x="663" y="435"/>
                    </a:cubicBezTo>
                    <a:cubicBezTo>
                      <a:pt x="664" y="434"/>
                      <a:pt x="668" y="437"/>
                      <a:pt x="670" y="437"/>
                    </a:cubicBezTo>
                    <a:cubicBezTo>
                      <a:pt x="672" y="437"/>
                      <a:pt x="674" y="434"/>
                      <a:pt x="676" y="434"/>
                    </a:cubicBezTo>
                    <a:cubicBezTo>
                      <a:pt x="677" y="434"/>
                      <a:pt x="682" y="433"/>
                      <a:pt x="683" y="433"/>
                    </a:cubicBezTo>
                    <a:cubicBezTo>
                      <a:pt x="685" y="434"/>
                      <a:pt x="690" y="436"/>
                      <a:pt x="691" y="435"/>
                    </a:cubicBezTo>
                    <a:cubicBezTo>
                      <a:pt x="691" y="435"/>
                      <a:pt x="696" y="435"/>
                      <a:pt x="697" y="437"/>
                    </a:cubicBezTo>
                    <a:cubicBezTo>
                      <a:pt x="697" y="438"/>
                      <a:pt x="703" y="438"/>
                      <a:pt x="703" y="440"/>
                    </a:cubicBezTo>
                    <a:cubicBezTo>
                      <a:pt x="703" y="442"/>
                      <a:pt x="707" y="442"/>
                      <a:pt x="708" y="444"/>
                    </a:cubicBezTo>
                    <a:cubicBezTo>
                      <a:pt x="709" y="446"/>
                      <a:pt x="716" y="445"/>
                      <a:pt x="718" y="446"/>
                    </a:cubicBezTo>
                    <a:cubicBezTo>
                      <a:pt x="719" y="447"/>
                      <a:pt x="728" y="447"/>
                      <a:pt x="729" y="446"/>
                    </a:cubicBezTo>
                    <a:cubicBezTo>
                      <a:pt x="729" y="445"/>
                      <a:pt x="737" y="445"/>
                      <a:pt x="739" y="444"/>
                    </a:cubicBezTo>
                    <a:cubicBezTo>
                      <a:pt x="741" y="442"/>
                      <a:pt x="745" y="443"/>
                      <a:pt x="745" y="441"/>
                    </a:cubicBezTo>
                    <a:cubicBezTo>
                      <a:pt x="746" y="440"/>
                      <a:pt x="750" y="438"/>
                      <a:pt x="752" y="437"/>
                    </a:cubicBezTo>
                    <a:cubicBezTo>
                      <a:pt x="754" y="436"/>
                      <a:pt x="761" y="436"/>
                      <a:pt x="762" y="437"/>
                    </a:cubicBezTo>
                    <a:cubicBezTo>
                      <a:pt x="762" y="439"/>
                      <a:pt x="767" y="440"/>
                      <a:pt x="769" y="439"/>
                    </a:cubicBezTo>
                    <a:cubicBezTo>
                      <a:pt x="771" y="438"/>
                      <a:pt x="776" y="439"/>
                      <a:pt x="776" y="441"/>
                    </a:cubicBezTo>
                    <a:cubicBezTo>
                      <a:pt x="777" y="442"/>
                      <a:pt x="783" y="443"/>
                      <a:pt x="784" y="443"/>
                    </a:cubicBezTo>
                    <a:cubicBezTo>
                      <a:pt x="786" y="442"/>
                      <a:pt x="790" y="439"/>
                      <a:pt x="792" y="439"/>
                    </a:cubicBezTo>
                    <a:cubicBezTo>
                      <a:pt x="793" y="439"/>
                      <a:pt x="796" y="437"/>
                      <a:pt x="795" y="435"/>
                    </a:cubicBezTo>
                    <a:cubicBezTo>
                      <a:pt x="795" y="434"/>
                      <a:pt x="799" y="429"/>
                      <a:pt x="799" y="427"/>
                    </a:cubicBezTo>
                    <a:cubicBezTo>
                      <a:pt x="800" y="425"/>
                      <a:pt x="803" y="420"/>
                      <a:pt x="804" y="419"/>
                    </a:cubicBezTo>
                    <a:cubicBezTo>
                      <a:pt x="805" y="419"/>
                      <a:pt x="808" y="417"/>
                      <a:pt x="808" y="415"/>
                    </a:cubicBezTo>
                    <a:cubicBezTo>
                      <a:pt x="808" y="414"/>
                      <a:pt x="807" y="410"/>
                      <a:pt x="805" y="410"/>
                    </a:cubicBezTo>
                    <a:cubicBezTo>
                      <a:pt x="804" y="410"/>
                      <a:pt x="801" y="410"/>
                      <a:pt x="805" y="405"/>
                    </a:cubicBezTo>
                    <a:cubicBezTo>
                      <a:pt x="808" y="401"/>
                      <a:pt x="814" y="402"/>
                      <a:pt x="815" y="402"/>
                    </a:cubicBezTo>
                    <a:cubicBezTo>
                      <a:pt x="816" y="402"/>
                      <a:pt x="823" y="400"/>
                      <a:pt x="827" y="401"/>
                    </a:cubicBezTo>
                    <a:cubicBezTo>
                      <a:pt x="830" y="402"/>
                      <a:pt x="832" y="401"/>
                      <a:pt x="836" y="403"/>
                    </a:cubicBezTo>
                    <a:cubicBezTo>
                      <a:pt x="839" y="404"/>
                      <a:pt x="844" y="404"/>
                      <a:pt x="846" y="405"/>
                    </a:cubicBezTo>
                    <a:cubicBezTo>
                      <a:pt x="847" y="407"/>
                      <a:pt x="851" y="408"/>
                      <a:pt x="851" y="411"/>
                    </a:cubicBezTo>
                    <a:cubicBezTo>
                      <a:pt x="850" y="414"/>
                      <a:pt x="853" y="413"/>
                      <a:pt x="855" y="419"/>
                    </a:cubicBezTo>
                    <a:cubicBezTo>
                      <a:pt x="856" y="425"/>
                      <a:pt x="859" y="425"/>
                      <a:pt x="859" y="428"/>
                    </a:cubicBezTo>
                    <a:cubicBezTo>
                      <a:pt x="860" y="431"/>
                      <a:pt x="864" y="436"/>
                      <a:pt x="863" y="438"/>
                    </a:cubicBezTo>
                    <a:cubicBezTo>
                      <a:pt x="863" y="440"/>
                      <a:pt x="862" y="442"/>
                      <a:pt x="866" y="442"/>
                    </a:cubicBezTo>
                    <a:cubicBezTo>
                      <a:pt x="871" y="443"/>
                      <a:pt x="873" y="446"/>
                      <a:pt x="874" y="445"/>
                    </a:cubicBezTo>
                    <a:cubicBezTo>
                      <a:pt x="875" y="445"/>
                      <a:pt x="880" y="447"/>
                      <a:pt x="882" y="449"/>
                    </a:cubicBezTo>
                    <a:cubicBezTo>
                      <a:pt x="885" y="451"/>
                      <a:pt x="888" y="450"/>
                      <a:pt x="888" y="453"/>
                    </a:cubicBezTo>
                    <a:cubicBezTo>
                      <a:pt x="888" y="455"/>
                      <a:pt x="890" y="457"/>
                      <a:pt x="890" y="460"/>
                    </a:cubicBezTo>
                    <a:cubicBezTo>
                      <a:pt x="890" y="462"/>
                      <a:pt x="894" y="463"/>
                      <a:pt x="898" y="463"/>
                    </a:cubicBezTo>
                    <a:cubicBezTo>
                      <a:pt x="901" y="462"/>
                      <a:pt x="903" y="464"/>
                      <a:pt x="905" y="461"/>
                    </a:cubicBezTo>
                    <a:cubicBezTo>
                      <a:pt x="906" y="458"/>
                      <a:pt x="911" y="459"/>
                      <a:pt x="913" y="458"/>
                    </a:cubicBezTo>
                    <a:cubicBezTo>
                      <a:pt x="914" y="457"/>
                      <a:pt x="919" y="456"/>
                      <a:pt x="919" y="460"/>
                    </a:cubicBezTo>
                    <a:cubicBezTo>
                      <a:pt x="919" y="464"/>
                      <a:pt x="922" y="465"/>
                      <a:pt x="919" y="466"/>
                    </a:cubicBezTo>
                    <a:cubicBezTo>
                      <a:pt x="917" y="468"/>
                      <a:pt x="916" y="474"/>
                      <a:pt x="915" y="477"/>
                    </a:cubicBezTo>
                    <a:cubicBezTo>
                      <a:pt x="914" y="479"/>
                      <a:pt x="911" y="480"/>
                      <a:pt x="910" y="483"/>
                    </a:cubicBezTo>
                    <a:cubicBezTo>
                      <a:pt x="910" y="486"/>
                      <a:pt x="906" y="486"/>
                      <a:pt x="906" y="488"/>
                    </a:cubicBezTo>
                    <a:cubicBezTo>
                      <a:pt x="906" y="490"/>
                      <a:pt x="902" y="490"/>
                      <a:pt x="899" y="488"/>
                    </a:cubicBezTo>
                    <a:cubicBezTo>
                      <a:pt x="897" y="486"/>
                      <a:pt x="895" y="491"/>
                      <a:pt x="893" y="491"/>
                    </a:cubicBezTo>
                    <a:cubicBezTo>
                      <a:pt x="891" y="491"/>
                      <a:pt x="891" y="495"/>
                      <a:pt x="891" y="497"/>
                    </a:cubicBezTo>
                    <a:cubicBezTo>
                      <a:pt x="892" y="499"/>
                      <a:pt x="891" y="501"/>
                      <a:pt x="892" y="504"/>
                    </a:cubicBezTo>
                    <a:cubicBezTo>
                      <a:pt x="893" y="505"/>
                      <a:pt x="892" y="508"/>
                      <a:pt x="892" y="511"/>
                    </a:cubicBezTo>
                    <a:cubicBezTo>
                      <a:pt x="895" y="509"/>
                      <a:pt x="898" y="508"/>
                      <a:pt x="899" y="508"/>
                    </a:cubicBezTo>
                    <a:cubicBezTo>
                      <a:pt x="902" y="508"/>
                      <a:pt x="905" y="513"/>
                      <a:pt x="908" y="513"/>
                    </a:cubicBezTo>
                    <a:cubicBezTo>
                      <a:pt x="912" y="513"/>
                      <a:pt x="927" y="503"/>
                      <a:pt x="927" y="501"/>
                    </a:cubicBezTo>
                    <a:cubicBezTo>
                      <a:pt x="927" y="500"/>
                      <a:pt x="936" y="491"/>
                      <a:pt x="940" y="487"/>
                    </a:cubicBezTo>
                    <a:cubicBezTo>
                      <a:pt x="944" y="482"/>
                      <a:pt x="950" y="476"/>
                      <a:pt x="952" y="471"/>
                    </a:cubicBezTo>
                    <a:cubicBezTo>
                      <a:pt x="953" y="468"/>
                      <a:pt x="959" y="462"/>
                      <a:pt x="960" y="459"/>
                    </a:cubicBezTo>
                    <a:cubicBezTo>
                      <a:pt x="962" y="457"/>
                      <a:pt x="963" y="457"/>
                      <a:pt x="965" y="451"/>
                    </a:cubicBezTo>
                    <a:cubicBezTo>
                      <a:pt x="968" y="446"/>
                      <a:pt x="968" y="431"/>
                      <a:pt x="969" y="430"/>
                    </a:cubicBezTo>
                    <a:cubicBezTo>
                      <a:pt x="970" y="429"/>
                      <a:pt x="969" y="427"/>
                      <a:pt x="970" y="425"/>
                    </a:cubicBezTo>
                    <a:cubicBezTo>
                      <a:pt x="972" y="424"/>
                      <a:pt x="971" y="421"/>
                      <a:pt x="973" y="419"/>
                    </a:cubicBezTo>
                    <a:cubicBezTo>
                      <a:pt x="976" y="417"/>
                      <a:pt x="975" y="416"/>
                      <a:pt x="975" y="414"/>
                    </a:cubicBezTo>
                    <a:cubicBezTo>
                      <a:pt x="974" y="413"/>
                      <a:pt x="975" y="409"/>
                      <a:pt x="974" y="408"/>
                    </a:cubicBezTo>
                    <a:cubicBezTo>
                      <a:pt x="974" y="407"/>
                      <a:pt x="974" y="406"/>
                      <a:pt x="975" y="406"/>
                    </a:cubicBezTo>
                    <a:cubicBezTo>
                      <a:pt x="977" y="405"/>
                      <a:pt x="974" y="403"/>
                      <a:pt x="972" y="402"/>
                    </a:cubicBezTo>
                    <a:cubicBezTo>
                      <a:pt x="970" y="401"/>
                      <a:pt x="968" y="400"/>
                      <a:pt x="967" y="398"/>
                    </a:cubicBezTo>
                    <a:cubicBezTo>
                      <a:pt x="967" y="395"/>
                      <a:pt x="964" y="393"/>
                      <a:pt x="961" y="393"/>
                    </a:cubicBezTo>
                    <a:cubicBezTo>
                      <a:pt x="958" y="393"/>
                      <a:pt x="954" y="391"/>
                      <a:pt x="954" y="393"/>
                    </a:cubicBezTo>
                    <a:cubicBezTo>
                      <a:pt x="955" y="395"/>
                      <a:pt x="954" y="396"/>
                      <a:pt x="953" y="396"/>
                    </a:cubicBezTo>
                    <a:cubicBezTo>
                      <a:pt x="951" y="396"/>
                      <a:pt x="951" y="397"/>
                      <a:pt x="949" y="399"/>
                    </a:cubicBezTo>
                    <a:cubicBezTo>
                      <a:pt x="948" y="401"/>
                      <a:pt x="942" y="402"/>
                      <a:pt x="945" y="399"/>
                    </a:cubicBezTo>
                    <a:cubicBezTo>
                      <a:pt x="947" y="397"/>
                      <a:pt x="944" y="397"/>
                      <a:pt x="944" y="395"/>
                    </a:cubicBezTo>
                    <a:cubicBezTo>
                      <a:pt x="945" y="392"/>
                      <a:pt x="947" y="390"/>
                      <a:pt x="944" y="391"/>
                    </a:cubicBezTo>
                    <a:cubicBezTo>
                      <a:pt x="941" y="393"/>
                      <a:pt x="941" y="397"/>
                      <a:pt x="939" y="397"/>
                    </a:cubicBezTo>
                    <a:cubicBezTo>
                      <a:pt x="937" y="398"/>
                      <a:pt x="937" y="391"/>
                      <a:pt x="938" y="389"/>
                    </a:cubicBezTo>
                    <a:cubicBezTo>
                      <a:pt x="939" y="387"/>
                      <a:pt x="934" y="389"/>
                      <a:pt x="929" y="389"/>
                    </a:cubicBezTo>
                    <a:cubicBezTo>
                      <a:pt x="924" y="388"/>
                      <a:pt x="925" y="385"/>
                      <a:pt x="929" y="383"/>
                    </a:cubicBezTo>
                    <a:cubicBezTo>
                      <a:pt x="933" y="381"/>
                      <a:pt x="933" y="379"/>
                      <a:pt x="935" y="378"/>
                    </a:cubicBezTo>
                    <a:cubicBezTo>
                      <a:pt x="937" y="377"/>
                      <a:pt x="942" y="373"/>
                      <a:pt x="945" y="372"/>
                    </a:cubicBezTo>
                    <a:cubicBezTo>
                      <a:pt x="948" y="370"/>
                      <a:pt x="949" y="368"/>
                      <a:pt x="949" y="366"/>
                    </a:cubicBezTo>
                    <a:cubicBezTo>
                      <a:pt x="950" y="364"/>
                      <a:pt x="956" y="361"/>
                      <a:pt x="961" y="357"/>
                    </a:cubicBezTo>
                    <a:cubicBezTo>
                      <a:pt x="966" y="353"/>
                      <a:pt x="968" y="351"/>
                      <a:pt x="970" y="348"/>
                    </a:cubicBezTo>
                    <a:cubicBezTo>
                      <a:pt x="971" y="346"/>
                      <a:pt x="978" y="342"/>
                      <a:pt x="979" y="341"/>
                    </a:cubicBezTo>
                    <a:cubicBezTo>
                      <a:pt x="979" y="339"/>
                      <a:pt x="988" y="334"/>
                      <a:pt x="994" y="333"/>
                    </a:cubicBezTo>
                    <a:cubicBezTo>
                      <a:pt x="1000" y="332"/>
                      <a:pt x="1009" y="333"/>
                      <a:pt x="1011" y="335"/>
                    </a:cubicBezTo>
                    <a:cubicBezTo>
                      <a:pt x="1013" y="337"/>
                      <a:pt x="1014" y="336"/>
                      <a:pt x="1015" y="335"/>
                    </a:cubicBezTo>
                    <a:cubicBezTo>
                      <a:pt x="1016" y="334"/>
                      <a:pt x="1019" y="334"/>
                      <a:pt x="1023" y="335"/>
                    </a:cubicBezTo>
                    <a:cubicBezTo>
                      <a:pt x="1027" y="335"/>
                      <a:pt x="1028" y="333"/>
                      <a:pt x="1031" y="334"/>
                    </a:cubicBezTo>
                    <a:cubicBezTo>
                      <a:pt x="1033" y="334"/>
                      <a:pt x="1036" y="335"/>
                      <a:pt x="1037" y="332"/>
                    </a:cubicBezTo>
                    <a:cubicBezTo>
                      <a:pt x="1039" y="328"/>
                      <a:pt x="1047" y="329"/>
                      <a:pt x="1049" y="330"/>
                    </a:cubicBezTo>
                    <a:cubicBezTo>
                      <a:pt x="1050" y="332"/>
                      <a:pt x="1052" y="333"/>
                      <a:pt x="1055" y="332"/>
                    </a:cubicBezTo>
                    <a:cubicBezTo>
                      <a:pt x="1057" y="330"/>
                      <a:pt x="1057" y="334"/>
                      <a:pt x="1060" y="334"/>
                    </a:cubicBezTo>
                    <a:cubicBezTo>
                      <a:pt x="1063" y="335"/>
                      <a:pt x="1061" y="337"/>
                      <a:pt x="1059" y="337"/>
                    </a:cubicBezTo>
                    <a:cubicBezTo>
                      <a:pt x="1056" y="337"/>
                      <a:pt x="1053" y="338"/>
                      <a:pt x="1056" y="340"/>
                    </a:cubicBezTo>
                    <a:cubicBezTo>
                      <a:pt x="1059" y="341"/>
                      <a:pt x="1062" y="338"/>
                      <a:pt x="1064" y="338"/>
                    </a:cubicBezTo>
                    <a:cubicBezTo>
                      <a:pt x="1066" y="339"/>
                      <a:pt x="1070" y="339"/>
                      <a:pt x="1073" y="337"/>
                    </a:cubicBezTo>
                    <a:cubicBezTo>
                      <a:pt x="1076" y="335"/>
                      <a:pt x="1076" y="339"/>
                      <a:pt x="1078" y="337"/>
                    </a:cubicBezTo>
                    <a:cubicBezTo>
                      <a:pt x="1080" y="335"/>
                      <a:pt x="1085" y="335"/>
                      <a:pt x="1087" y="335"/>
                    </a:cubicBezTo>
                    <a:cubicBezTo>
                      <a:pt x="1089" y="335"/>
                      <a:pt x="1087" y="332"/>
                      <a:pt x="1083" y="332"/>
                    </a:cubicBezTo>
                    <a:cubicBezTo>
                      <a:pt x="1080" y="332"/>
                      <a:pt x="1080" y="330"/>
                      <a:pt x="1083" y="326"/>
                    </a:cubicBezTo>
                    <a:cubicBezTo>
                      <a:pt x="1086" y="321"/>
                      <a:pt x="1091" y="318"/>
                      <a:pt x="1095" y="315"/>
                    </a:cubicBezTo>
                    <a:cubicBezTo>
                      <a:pt x="1098" y="312"/>
                      <a:pt x="1101" y="314"/>
                      <a:pt x="1101" y="312"/>
                    </a:cubicBezTo>
                    <a:cubicBezTo>
                      <a:pt x="1101" y="310"/>
                      <a:pt x="1102" y="304"/>
                      <a:pt x="1105" y="304"/>
                    </a:cubicBezTo>
                    <a:cubicBezTo>
                      <a:pt x="1107" y="304"/>
                      <a:pt x="1114" y="305"/>
                      <a:pt x="1118" y="303"/>
                    </a:cubicBezTo>
                    <a:cubicBezTo>
                      <a:pt x="1122" y="301"/>
                      <a:pt x="1122" y="305"/>
                      <a:pt x="1123" y="305"/>
                    </a:cubicBezTo>
                    <a:cubicBezTo>
                      <a:pt x="1125" y="306"/>
                      <a:pt x="1127" y="302"/>
                      <a:pt x="1129" y="303"/>
                    </a:cubicBezTo>
                    <a:cubicBezTo>
                      <a:pt x="1131" y="304"/>
                      <a:pt x="1126" y="307"/>
                      <a:pt x="1125" y="311"/>
                    </a:cubicBezTo>
                    <a:cubicBezTo>
                      <a:pt x="1124" y="314"/>
                      <a:pt x="1128" y="313"/>
                      <a:pt x="1130" y="314"/>
                    </a:cubicBezTo>
                    <a:cubicBezTo>
                      <a:pt x="1132" y="315"/>
                      <a:pt x="1127" y="316"/>
                      <a:pt x="1128" y="317"/>
                    </a:cubicBezTo>
                    <a:cubicBezTo>
                      <a:pt x="1128" y="318"/>
                      <a:pt x="1132" y="318"/>
                      <a:pt x="1137" y="313"/>
                    </a:cubicBezTo>
                    <a:cubicBezTo>
                      <a:pt x="1143" y="308"/>
                      <a:pt x="1147" y="306"/>
                      <a:pt x="1151" y="306"/>
                    </a:cubicBezTo>
                    <a:cubicBezTo>
                      <a:pt x="1154" y="307"/>
                      <a:pt x="1152" y="303"/>
                      <a:pt x="1152" y="299"/>
                    </a:cubicBezTo>
                    <a:cubicBezTo>
                      <a:pt x="1153" y="294"/>
                      <a:pt x="1163" y="292"/>
                      <a:pt x="1166" y="294"/>
                    </a:cubicBezTo>
                    <a:cubicBezTo>
                      <a:pt x="1170" y="295"/>
                      <a:pt x="1169" y="296"/>
                      <a:pt x="1166" y="296"/>
                    </a:cubicBezTo>
                    <a:cubicBezTo>
                      <a:pt x="1163" y="295"/>
                      <a:pt x="1160" y="298"/>
                      <a:pt x="1160" y="302"/>
                    </a:cubicBezTo>
                    <a:cubicBezTo>
                      <a:pt x="1160" y="306"/>
                      <a:pt x="1157" y="307"/>
                      <a:pt x="1159" y="309"/>
                    </a:cubicBezTo>
                    <a:cubicBezTo>
                      <a:pt x="1160" y="310"/>
                      <a:pt x="1156" y="311"/>
                      <a:pt x="1156" y="312"/>
                    </a:cubicBezTo>
                    <a:cubicBezTo>
                      <a:pt x="1156" y="314"/>
                      <a:pt x="1156" y="315"/>
                      <a:pt x="1154" y="316"/>
                    </a:cubicBezTo>
                    <a:cubicBezTo>
                      <a:pt x="1152" y="317"/>
                      <a:pt x="1144" y="317"/>
                      <a:pt x="1143" y="320"/>
                    </a:cubicBezTo>
                    <a:cubicBezTo>
                      <a:pt x="1143" y="324"/>
                      <a:pt x="1139" y="324"/>
                      <a:pt x="1137" y="328"/>
                    </a:cubicBezTo>
                    <a:cubicBezTo>
                      <a:pt x="1135" y="332"/>
                      <a:pt x="1127" y="334"/>
                      <a:pt x="1122" y="341"/>
                    </a:cubicBezTo>
                    <a:cubicBezTo>
                      <a:pt x="1117" y="349"/>
                      <a:pt x="1109" y="349"/>
                      <a:pt x="1109" y="350"/>
                    </a:cubicBezTo>
                    <a:cubicBezTo>
                      <a:pt x="1109" y="352"/>
                      <a:pt x="1103" y="352"/>
                      <a:pt x="1101" y="352"/>
                    </a:cubicBezTo>
                    <a:cubicBezTo>
                      <a:pt x="1099" y="352"/>
                      <a:pt x="1103" y="357"/>
                      <a:pt x="1099" y="362"/>
                    </a:cubicBezTo>
                    <a:cubicBezTo>
                      <a:pt x="1094" y="367"/>
                      <a:pt x="1091" y="373"/>
                      <a:pt x="1091" y="380"/>
                    </a:cubicBezTo>
                    <a:cubicBezTo>
                      <a:pt x="1091" y="387"/>
                      <a:pt x="1094" y="406"/>
                      <a:pt x="1096" y="410"/>
                    </a:cubicBezTo>
                    <a:cubicBezTo>
                      <a:pt x="1098" y="413"/>
                      <a:pt x="1096" y="422"/>
                      <a:pt x="1098" y="424"/>
                    </a:cubicBezTo>
                    <a:cubicBezTo>
                      <a:pt x="1100" y="425"/>
                      <a:pt x="1099" y="428"/>
                      <a:pt x="1100" y="429"/>
                    </a:cubicBezTo>
                    <a:cubicBezTo>
                      <a:pt x="1101" y="430"/>
                      <a:pt x="1106" y="425"/>
                      <a:pt x="1109" y="422"/>
                    </a:cubicBezTo>
                    <a:cubicBezTo>
                      <a:pt x="1112" y="420"/>
                      <a:pt x="1111" y="419"/>
                      <a:pt x="1113" y="418"/>
                    </a:cubicBezTo>
                    <a:cubicBezTo>
                      <a:pt x="1115" y="416"/>
                      <a:pt x="1114" y="411"/>
                      <a:pt x="1114" y="409"/>
                    </a:cubicBezTo>
                    <a:cubicBezTo>
                      <a:pt x="1115" y="408"/>
                      <a:pt x="1119" y="407"/>
                      <a:pt x="1120" y="406"/>
                    </a:cubicBezTo>
                    <a:cubicBezTo>
                      <a:pt x="1121" y="404"/>
                      <a:pt x="1124" y="405"/>
                      <a:pt x="1126" y="404"/>
                    </a:cubicBezTo>
                    <a:cubicBezTo>
                      <a:pt x="1128" y="404"/>
                      <a:pt x="1126" y="400"/>
                      <a:pt x="1125" y="398"/>
                    </a:cubicBezTo>
                    <a:cubicBezTo>
                      <a:pt x="1125" y="395"/>
                      <a:pt x="1130" y="392"/>
                      <a:pt x="1133" y="390"/>
                    </a:cubicBezTo>
                    <a:cubicBezTo>
                      <a:pt x="1136" y="388"/>
                      <a:pt x="1139" y="392"/>
                      <a:pt x="1143" y="389"/>
                    </a:cubicBezTo>
                    <a:cubicBezTo>
                      <a:pt x="1146" y="386"/>
                      <a:pt x="1142" y="382"/>
                      <a:pt x="1141" y="381"/>
                    </a:cubicBezTo>
                    <a:cubicBezTo>
                      <a:pt x="1140" y="379"/>
                      <a:pt x="1144" y="372"/>
                      <a:pt x="1147" y="371"/>
                    </a:cubicBezTo>
                    <a:cubicBezTo>
                      <a:pt x="1149" y="370"/>
                      <a:pt x="1151" y="373"/>
                      <a:pt x="1153" y="371"/>
                    </a:cubicBezTo>
                    <a:cubicBezTo>
                      <a:pt x="1155" y="368"/>
                      <a:pt x="1151" y="365"/>
                      <a:pt x="1149" y="365"/>
                    </a:cubicBezTo>
                    <a:cubicBezTo>
                      <a:pt x="1148" y="365"/>
                      <a:pt x="1147" y="359"/>
                      <a:pt x="1151" y="356"/>
                    </a:cubicBezTo>
                    <a:cubicBezTo>
                      <a:pt x="1155" y="353"/>
                      <a:pt x="1153" y="353"/>
                      <a:pt x="1151" y="352"/>
                    </a:cubicBezTo>
                    <a:cubicBezTo>
                      <a:pt x="1148" y="351"/>
                      <a:pt x="1148" y="352"/>
                      <a:pt x="1146" y="352"/>
                    </a:cubicBezTo>
                    <a:cubicBezTo>
                      <a:pt x="1144" y="352"/>
                      <a:pt x="1141" y="348"/>
                      <a:pt x="1145" y="344"/>
                    </a:cubicBezTo>
                    <a:cubicBezTo>
                      <a:pt x="1148" y="340"/>
                      <a:pt x="1151" y="340"/>
                      <a:pt x="1151" y="337"/>
                    </a:cubicBezTo>
                    <a:cubicBezTo>
                      <a:pt x="1152" y="333"/>
                      <a:pt x="1156" y="328"/>
                      <a:pt x="1157" y="327"/>
                    </a:cubicBezTo>
                    <a:cubicBezTo>
                      <a:pt x="1158" y="325"/>
                      <a:pt x="1163" y="327"/>
                      <a:pt x="1164" y="326"/>
                    </a:cubicBezTo>
                    <a:cubicBezTo>
                      <a:pt x="1166" y="326"/>
                      <a:pt x="1166" y="330"/>
                      <a:pt x="1168" y="328"/>
                    </a:cubicBezTo>
                    <a:cubicBezTo>
                      <a:pt x="1170" y="326"/>
                      <a:pt x="1173" y="320"/>
                      <a:pt x="1176" y="320"/>
                    </a:cubicBezTo>
                    <a:cubicBezTo>
                      <a:pt x="1178" y="320"/>
                      <a:pt x="1177" y="324"/>
                      <a:pt x="1177" y="327"/>
                    </a:cubicBezTo>
                    <a:cubicBezTo>
                      <a:pt x="1178" y="330"/>
                      <a:pt x="1180" y="326"/>
                      <a:pt x="1185" y="323"/>
                    </a:cubicBezTo>
                    <a:cubicBezTo>
                      <a:pt x="1190" y="319"/>
                      <a:pt x="1201" y="320"/>
                      <a:pt x="1205" y="321"/>
                    </a:cubicBezTo>
                    <a:cubicBezTo>
                      <a:pt x="1208" y="323"/>
                      <a:pt x="1209" y="327"/>
                      <a:pt x="1211" y="326"/>
                    </a:cubicBezTo>
                    <a:cubicBezTo>
                      <a:pt x="1214" y="326"/>
                      <a:pt x="1211" y="322"/>
                      <a:pt x="1214" y="322"/>
                    </a:cubicBezTo>
                    <a:cubicBezTo>
                      <a:pt x="1217" y="321"/>
                      <a:pt x="1222" y="318"/>
                      <a:pt x="1226" y="315"/>
                    </a:cubicBezTo>
                    <a:cubicBezTo>
                      <a:pt x="1230" y="312"/>
                      <a:pt x="1229" y="314"/>
                      <a:pt x="1231" y="312"/>
                    </a:cubicBezTo>
                    <a:cubicBezTo>
                      <a:pt x="1233" y="309"/>
                      <a:pt x="1235" y="310"/>
                      <a:pt x="1235" y="309"/>
                    </a:cubicBezTo>
                    <a:cubicBezTo>
                      <a:pt x="1236" y="307"/>
                      <a:pt x="1241" y="304"/>
                      <a:pt x="1249" y="303"/>
                    </a:cubicBezTo>
                    <a:cubicBezTo>
                      <a:pt x="1256" y="301"/>
                      <a:pt x="1266" y="296"/>
                      <a:pt x="1265" y="294"/>
                    </a:cubicBezTo>
                    <a:cubicBezTo>
                      <a:pt x="1265" y="293"/>
                      <a:pt x="1268" y="292"/>
                      <a:pt x="1269" y="294"/>
                    </a:cubicBezTo>
                    <a:cubicBezTo>
                      <a:pt x="1269" y="295"/>
                      <a:pt x="1272" y="295"/>
                      <a:pt x="1276" y="296"/>
                    </a:cubicBezTo>
                    <a:cubicBezTo>
                      <a:pt x="1280" y="296"/>
                      <a:pt x="1282" y="298"/>
                      <a:pt x="1285" y="295"/>
                    </a:cubicBezTo>
                    <a:cubicBezTo>
                      <a:pt x="1288" y="292"/>
                      <a:pt x="1284" y="291"/>
                      <a:pt x="1284" y="288"/>
                    </a:cubicBezTo>
                    <a:cubicBezTo>
                      <a:pt x="1285" y="286"/>
                      <a:pt x="1279" y="283"/>
                      <a:pt x="1280" y="281"/>
                    </a:cubicBezTo>
                    <a:cubicBezTo>
                      <a:pt x="1280" y="278"/>
                      <a:pt x="1276" y="272"/>
                      <a:pt x="1274" y="273"/>
                    </a:cubicBezTo>
                    <a:cubicBezTo>
                      <a:pt x="1273" y="274"/>
                      <a:pt x="1270" y="272"/>
                      <a:pt x="1270" y="270"/>
                    </a:cubicBezTo>
                    <a:cubicBezTo>
                      <a:pt x="1270" y="268"/>
                      <a:pt x="1269" y="266"/>
                      <a:pt x="1267" y="267"/>
                    </a:cubicBezTo>
                    <a:cubicBezTo>
                      <a:pt x="1265" y="269"/>
                      <a:pt x="1261" y="268"/>
                      <a:pt x="1260" y="266"/>
                    </a:cubicBezTo>
                    <a:cubicBezTo>
                      <a:pt x="1260" y="264"/>
                      <a:pt x="1265" y="262"/>
                      <a:pt x="1268" y="264"/>
                    </a:cubicBezTo>
                    <a:cubicBezTo>
                      <a:pt x="1272" y="265"/>
                      <a:pt x="1271" y="267"/>
                      <a:pt x="1273" y="268"/>
                    </a:cubicBezTo>
                    <a:cubicBezTo>
                      <a:pt x="1274" y="269"/>
                      <a:pt x="1279" y="268"/>
                      <a:pt x="1282" y="267"/>
                    </a:cubicBezTo>
                    <a:cubicBezTo>
                      <a:pt x="1284" y="266"/>
                      <a:pt x="1291" y="264"/>
                      <a:pt x="1292" y="262"/>
                    </a:cubicBezTo>
                    <a:cubicBezTo>
                      <a:pt x="1294" y="259"/>
                      <a:pt x="1292" y="259"/>
                      <a:pt x="1295" y="257"/>
                    </a:cubicBezTo>
                    <a:cubicBezTo>
                      <a:pt x="1297" y="256"/>
                      <a:pt x="1295" y="254"/>
                      <a:pt x="1293" y="253"/>
                    </a:cubicBezTo>
                    <a:cubicBezTo>
                      <a:pt x="1291" y="252"/>
                      <a:pt x="1292" y="249"/>
                      <a:pt x="1294" y="249"/>
                    </a:cubicBezTo>
                    <a:cubicBezTo>
                      <a:pt x="1296" y="249"/>
                      <a:pt x="1295" y="246"/>
                      <a:pt x="1297" y="246"/>
                    </a:cubicBezTo>
                    <a:cubicBezTo>
                      <a:pt x="1298" y="246"/>
                      <a:pt x="1298" y="247"/>
                      <a:pt x="1301" y="246"/>
                    </a:cubicBezTo>
                    <a:cubicBezTo>
                      <a:pt x="1304" y="245"/>
                      <a:pt x="1301" y="248"/>
                      <a:pt x="1300" y="250"/>
                    </a:cubicBezTo>
                    <a:cubicBezTo>
                      <a:pt x="1299" y="252"/>
                      <a:pt x="1302" y="254"/>
                      <a:pt x="1303" y="256"/>
                    </a:cubicBezTo>
                    <a:cubicBezTo>
                      <a:pt x="1303" y="257"/>
                      <a:pt x="1308" y="257"/>
                      <a:pt x="1311" y="256"/>
                    </a:cubicBezTo>
                    <a:cubicBezTo>
                      <a:pt x="1314" y="254"/>
                      <a:pt x="1323" y="258"/>
                      <a:pt x="1324" y="260"/>
                    </a:cubicBezTo>
                    <a:cubicBezTo>
                      <a:pt x="1324" y="262"/>
                      <a:pt x="1326" y="265"/>
                      <a:pt x="1329" y="267"/>
                    </a:cubicBezTo>
                    <a:cubicBezTo>
                      <a:pt x="1333" y="269"/>
                      <a:pt x="1337" y="268"/>
                      <a:pt x="1337" y="270"/>
                    </a:cubicBezTo>
                    <a:cubicBezTo>
                      <a:pt x="1338" y="272"/>
                      <a:pt x="1340" y="272"/>
                      <a:pt x="1342" y="272"/>
                    </a:cubicBezTo>
                    <a:cubicBezTo>
                      <a:pt x="1344" y="272"/>
                      <a:pt x="1345" y="274"/>
                      <a:pt x="1347" y="272"/>
                    </a:cubicBezTo>
                    <a:cubicBezTo>
                      <a:pt x="1348" y="271"/>
                      <a:pt x="1349" y="273"/>
                      <a:pt x="1351" y="272"/>
                    </a:cubicBezTo>
                    <a:cubicBezTo>
                      <a:pt x="1353" y="270"/>
                      <a:pt x="1347" y="269"/>
                      <a:pt x="1347" y="267"/>
                    </a:cubicBezTo>
                    <a:cubicBezTo>
                      <a:pt x="1348" y="266"/>
                      <a:pt x="1350" y="268"/>
                      <a:pt x="1351" y="268"/>
                    </a:cubicBezTo>
                    <a:cubicBezTo>
                      <a:pt x="1353" y="268"/>
                      <a:pt x="1351" y="264"/>
                      <a:pt x="1352" y="264"/>
                    </a:cubicBezTo>
                    <a:cubicBezTo>
                      <a:pt x="1353" y="264"/>
                      <a:pt x="1352" y="257"/>
                      <a:pt x="1351" y="256"/>
                    </a:cubicBezTo>
                    <a:cubicBezTo>
                      <a:pt x="1350" y="256"/>
                      <a:pt x="1351" y="253"/>
                      <a:pt x="1353" y="255"/>
                    </a:cubicBezTo>
                    <a:cubicBezTo>
                      <a:pt x="1356" y="257"/>
                      <a:pt x="1360" y="257"/>
                      <a:pt x="1363" y="257"/>
                    </a:cubicBezTo>
                    <a:cubicBezTo>
                      <a:pt x="1365" y="257"/>
                      <a:pt x="1363" y="255"/>
                      <a:pt x="1361" y="255"/>
                    </a:cubicBezTo>
                    <a:cubicBezTo>
                      <a:pt x="1359" y="255"/>
                      <a:pt x="1361" y="253"/>
                      <a:pt x="1362" y="254"/>
                    </a:cubicBezTo>
                    <a:cubicBezTo>
                      <a:pt x="1364" y="255"/>
                      <a:pt x="1367" y="256"/>
                      <a:pt x="1367" y="255"/>
                    </a:cubicBezTo>
                    <a:cubicBezTo>
                      <a:pt x="1367" y="253"/>
                      <a:pt x="1368" y="250"/>
                      <a:pt x="1371" y="250"/>
                    </a:cubicBezTo>
                    <a:cubicBezTo>
                      <a:pt x="1373" y="250"/>
                      <a:pt x="1374" y="249"/>
                      <a:pt x="1372" y="248"/>
                    </a:cubicBezTo>
                    <a:close/>
                    <a:moveTo>
                      <a:pt x="709" y="404"/>
                    </a:moveTo>
                    <a:cubicBezTo>
                      <a:pt x="702" y="410"/>
                      <a:pt x="688" y="412"/>
                      <a:pt x="688" y="417"/>
                    </a:cubicBezTo>
                    <a:cubicBezTo>
                      <a:pt x="688" y="422"/>
                      <a:pt x="672" y="424"/>
                      <a:pt x="671" y="422"/>
                    </a:cubicBezTo>
                    <a:cubicBezTo>
                      <a:pt x="669" y="420"/>
                      <a:pt x="683" y="419"/>
                      <a:pt x="686" y="412"/>
                    </a:cubicBezTo>
                    <a:cubicBezTo>
                      <a:pt x="689" y="405"/>
                      <a:pt x="701" y="401"/>
                      <a:pt x="707" y="392"/>
                    </a:cubicBezTo>
                    <a:cubicBezTo>
                      <a:pt x="712" y="385"/>
                      <a:pt x="715" y="375"/>
                      <a:pt x="718" y="376"/>
                    </a:cubicBezTo>
                    <a:cubicBezTo>
                      <a:pt x="720" y="376"/>
                      <a:pt x="716" y="398"/>
                      <a:pt x="709" y="404"/>
                    </a:cubicBezTo>
                    <a:close/>
                    <a:moveTo>
                      <a:pt x="739" y="125"/>
                    </a:moveTo>
                    <a:cubicBezTo>
                      <a:pt x="738" y="127"/>
                      <a:pt x="733" y="127"/>
                      <a:pt x="734" y="129"/>
                    </a:cubicBezTo>
                    <a:cubicBezTo>
                      <a:pt x="737" y="132"/>
                      <a:pt x="749" y="130"/>
                      <a:pt x="749" y="126"/>
                    </a:cubicBezTo>
                    <a:cubicBezTo>
                      <a:pt x="749" y="122"/>
                      <a:pt x="740" y="123"/>
                      <a:pt x="739" y="125"/>
                    </a:cubicBezTo>
                    <a:close/>
                    <a:moveTo>
                      <a:pt x="306" y="7"/>
                    </a:moveTo>
                    <a:cubicBezTo>
                      <a:pt x="312" y="7"/>
                      <a:pt x="310" y="4"/>
                      <a:pt x="314" y="4"/>
                    </a:cubicBezTo>
                    <a:cubicBezTo>
                      <a:pt x="318" y="5"/>
                      <a:pt x="323" y="4"/>
                      <a:pt x="321" y="2"/>
                    </a:cubicBezTo>
                    <a:cubicBezTo>
                      <a:pt x="319" y="0"/>
                      <a:pt x="305" y="1"/>
                      <a:pt x="306" y="3"/>
                    </a:cubicBezTo>
                    <a:cubicBezTo>
                      <a:pt x="308" y="4"/>
                      <a:pt x="295" y="4"/>
                      <a:pt x="296" y="4"/>
                    </a:cubicBezTo>
                    <a:cubicBezTo>
                      <a:pt x="296" y="6"/>
                      <a:pt x="300" y="7"/>
                      <a:pt x="306" y="7"/>
                    </a:cubicBezTo>
                    <a:close/>
                    <a:moveTo>
                      <a:pt x="277" y="23"/>
                    </a:moveTo>
                    <a:cubicBezTo>
                      <a:pt x="277" y="19"/>
                      <a:pt x="264" y="24"/>
                      <a:pt x="267" y="24"/>
                    </a:cubicBezTo>
                    <a:cubicBezTo>
                      <a:pt x="269" y="25"/>
                      <a:pt x="277" y="27"/>
                      <a:pt x="277" y="23"/>
                    </a:cubicBezTo>
                    <a:close/>
                    <a:moveTo>
                      <a:pt x="307" y="20"/>
                    </a:moveTo>
                    <a:cubicBezTo>
                      <a:pt x="308" y="22"/>
                      <a:pt x="306" y="22"/>
                      <a:pt x="301" y="22"/>
                    </a:cubicBezTo>
                    <a:cubicBezTo>
                      <a:pt x="296" y="22"/>
                      <a:pt x="294" y="25"/>
                      <a:pt x="296" y="27"/>
                    </a:cubicBezTo>
                    <a:cubicBezTo>
                      <a:pt x="299" y="29"/>
                      <a:pt x="312" y="28"/>
                      <a:pt x="314" y="26"/>
                    </a:cubicBezTo>
                    <a:cubicBezTo>
                      <a:pt x="316" y="23"/>
                      <a:pt x="322" y="25"/>
                      <a:pt x="323" y="22"/>
                    </a:cubicBezTo>
                    <a:cubicBezTo>
                      <a:pt x="324" y="19"/>
                      <a:pt x="306" y="18"/>
                      <a:pt x="307" y="20"/>
                    </a:cubicBezTo>
                    <a:close/>
                    <a:moveTo>
                      <a:pt x="348" y="16"/>
                    </a:moveTo>
                    <a:cubicBezTo>
                      <a:pt x="350" y="13"/>
                      <a:pt x="345" y="13"/>
                      <a:pt x="344" y="11"/>
                    </a:cubicBezTo>
                    <a:cubicBezTo>
                      <a:pt x="344" y="9"/>
                      <a:pt x="330" y="9"/>
                      <a:pt x="331" y="11"/>
                    </a:cubicBezTo>
                    <a:cubicBezTo>
                      <a:pt x="332" y="13"/>
                      <a:pt x="322" y="16"/>
                      <a:pt x="325" y="18"/>
                    </a:cubicBezTo>
                    <a:cubicBezTo>
                      <a:pt x="331" y="23"/>
                      <a:pt x="346" y="18"/>
                      <a:pt x="348" y="16"/>
                    </a:cubicBezTo>
                    <a:close/>
                    <a:moveTo>
                      <a:pt x="310" y="12"/>
                    </a:moveTo>
                    <a:cubicBezTo>
                      <a:pt x="311" y="7"/>
                      <a:pt x="302" y="11"/>
                      <a:pt x="296" y="8"/>
                    </a:cubicBezTo>
                    <a:cubicBezTo>
                      <a:pt x="290" y="6"/>
                      <a:pt x="286" y="6"/>
                      <a:pt x="291" y="9"/>
                    </a:cubicBezTo>
                    <a:cubicBezTo>
                      <a:pt x="292" y="11"/>
                      <a:pt x="280" y="12"/>
                      <a:pt x="282" y="14"/>
                    </a:cubicBezTo>
                    <a:cubicBezTo>
                      <a:pt x="286" y="19"/>
                      <a:pt x="309" y="17"/>
                      <a:pt x="310" y="12"/>
                    </a:cubicBezTo>
                    <a:close/>
                    <a:moveTo>
                      <a:pt x="275" y="144"/>
                    </a:moveTo>
                    <a:cubicBezTo>
                      <a:pt x="275" y="146"/>
                      <a:pt x="273" y="148"/>
                      <a:pt x="269" y="148"/>
                    </a:cubicBezTo>
                    <a:cubicBezTo>
                      <a:pt x="264" y="148"/>
                      <a:pt x="271" y="151"/>
                      <a:pt x="272" y="153"/>
                    </a:cubicBezTo>
                    <a:cubicBezTo>
                      <a:pt x="272" y="156"/>
                      <a:pt x="267" y="154"/>
                      <a:pt x="267" y="158"/>
                    </a:cubicBezTo>
                    <a:cubicBezTo>
                      <a:pt x="267" y="162"/>
                      <a:pt x="258" y="158"/>
                      <a:pt x="257" y="163"/>
                    </a:cubicBezTo>
                    <a:cubicBezTo>
                      <a:pt x="256" y="169"/>
                      <a:pt x="261" y="168"/>
                      <a:pt x="265" y="168"/>
                    </a:cubicBezTo>
                    <a:cubicBezTo>
                      <a:pt x="269" y="168"/>
                      <a:pt x="263" y="172"/>
                      <a:pt x="266" y="174"/>
                    </a:cubicBezTo>
                    <a:cubicBezTo>
                      <a:pt x="269" y="176"/>
                      <a:pt x="271" y="175"/>
                      <a:pt x="269" y="171"/>
                    </a:cubicBezTo>
                    <a:cubicBezTo>
                      <a:pt x="267" y="167"/>
                      <a:pt x="279" y="173"/>
                      <a:pt x="276" y="176"/>
                    </a:cubicBezTo>
                    <a:cubicBezTo>
                      <a:pt x="272" y="179"/>
                      <a:pt x="281" y="181"/>
                      <a:pt x="286" y="182"/>
                    </a:cubicBezTo>
                    <a:cubicBezTo>
                      <a:pt x="291" y="182"/>
                      <a:pt x="307" y="185"/>
                      <a:pt x="307" y="182"/>
                    </a:cubicBezTo>
                    <a:cubicBezTo>
                      <a:pt x="307" y="179"/>
                      <a:pt x="301" y="177"/>
                      <a:pt x="296" y="172"/>
                    </a:cubicBezTo>
                    <a:cubicBezTo>
                      <a:pt x="291" y="167"/>
                      <a:pt x="287" y="158"/>
                      <a:pt x="293" y="155"/>
                    </a:cubicBezTo>
                    <a:cubicBezTo>
                      <a:pt x="299" y="151"/>
                      <a:pt x="294" y="149"/>
                      <a:pt x="300" y="145"/>
                    </a:cubicBezTo>
                    <a:cubicBezTo>
                      <a:pt x="305" y="141"/>
                      <a:pt x="302" y="137"/>
                      <a:pt x="307" y="137"/>
                    </a:cubicBezTo>
                    <a:cubicBezTo>
                      <a:pt x="311" y="136"/>
                      <a:pt x="306" y="132"/>
                      <a:pt x="311" y="131"/>
                    </a:cubicBezTo>
                    <a:cubicBezTo>
                      <a:pt x="316" y="131"/>
                      <a:pt x="317" y="125"/>
                      <a:pt x="316" y="124"/>
                    </a:cubicBezTo>
                    <a:cubicBezTo>
                      <a:pt x="315" y="122"/>
                      <a:pt x="321" y="124"/>
                      <a:pt x="324" y="121"/>
                    </a:cubicBezTo>
                    <a:cubicBezTo>
                      <a:pt x="326" y="118"/>
                      <a:pt x="332" y="120"/>
                      <a:pt x="334" y="116"/>
                    </a:cubicBezTo>
                    <a:cubicBezTo>
                      <a:pt x="336" y="112"/>
                      <a:pt x="364" y="103"/>
                      <a:pt x="379" y="99"/>
                    </a:cubicBezTo>
                    <a:cubicBezTo>
                      <a:pt x="394" y="96"/>
                      <a:pt x="405" y="89"/>
                      <a:pt x="400" y="85"/>
                    </a:cubicBezTo>
                    <a:cubicBezTo>
                      <a:pt x="394" y="81"/>
                      <a:pt x="379" y="86"/>
                      <a:pt x="375" y="90"/>
                    </a:cubicBezTo>
                    <a:cubicBezTo>
                      <a:pt x="371" y="93"/>
                      <a:pt x="366" y="91"/>
                      <a:pt x="362" y="93"/>
                    </a:cubicBezTo>
                    <a:cubicBezTo>
                      <a:pt x="358" y="95"/>
                      <a:pt x="350" y="97"/>
                      <a:pt x="346" y="94"/>
                    </a:cubicBezTo>
                    <a:cubicBezTo>
                      <a:pt x="342" y="91"/>
                      <a:pt x="337" y="97"/>
                      <a:pt x="334" y="97"/>
                    </a:cubicBezTo>
                    <a:cubicBezTo>
                      <a:pt x="331" y="97"/>
                      <a:pt x="327" y="100"/>
                      <a:pt x="324" y="100"/>
                    </a:cubicBezTo>
                    <a:cubicBezTo>
                      <a:pt x="321" y="100"/>
                      <a:pt x="314" y="102"/>
                      <a:pt x="314" y="104"/>
                    </a:cubicBezTo>
                    <a:cubicBezTo>
                      <a:pt x="313" y="106"/>
                      <a:pt x="307" y="106"/>
                      <a:pt x="307" y="108"/>
                    </a:cubicBezTo>
                    <a:cubicBezTo>
                      <a:pt x="307" y="111"/>
                      <a:pt x="303" y="113"/>
                      <a:pt x="301" y="111"/>
                    </a:cubicBezTo>
                    <a:cubicBezTo>
                      <a:pt x="298" y="108"/>
                      <a:pt x="295" y="113"/>
                      <a:pt x="299" y="116"/>
                    </a:cubicBezTo>
                    <a:cubicBezTo>
                      <a:pt x="302" y="119"/>
                      <a:pt x="292" y="119"/>
                      <a:pt x="294" y="121"/>
                    </a:cubicBezTo>
                    <a:cubicBezTo>
                      <a:pt x="296" y="123"/>
                      <a:pt x="291" y="124"/>
                      <a:pt x="292" y="126"/>
                    </a:cubicBezTo>
                    <a:cubicBezTo>
                      <a:pt x="293" y="129"/>
                      <a:pt x="288" y="129"/>
                      <a:pt x="285" y="130"/>
                    </a:cubicBezTo>
                    <a:cubicBezTo>
                      <a:pt x="281" y="131"/>
                      <a:pt x="279" y="135"/>
                      <a:pt x="284" y="136"/>
                    </a:cubicBezTo>
                    <a:cubicBezTo>
                      <a:pt x="288" y="136"/>
                      <a:pt x="281" y="137"/>
                      <a:pt x="282" y="140"/>
                    </a:cubicBezTo>
                    <a:cubicBezTo>
                      <a:pt x="282" y="144"/>
                      <a:pt x="274" y="141"/>
                      <a:pt x="275" y="144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71" name="Freeform 58">
                <a:extLst>
                  <a:ext uri="{FF2B5EF4-FFF2-40B4-BE49-F238E27FC236}">
                    <a16:creationId xmlns:a16="http://schemas.microsoft.com/office/drawing/2014/main" id="{1F47F065-9946-4193-8D21-EB46DF397C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07857" y="3623506"/>
                <a:ext cx="114660" cy="137594"/>
              </a:xfrm>
              <a:custGeom>
                <a:avLst/>
                <a:gdLst>
                  <a:gd name="T0" fmla="*/ 8 w 31"/>
                  <a:gd name="T1" fmla="*/ 3 h 38"/>
                  <a:gd name="T2" fmla="*/ 3 w 31"/>
                  <a:gd name="T3" fmla="*/ 6 h 38"/>
                  <a:gd name="T4" fmla="*/ 6 w 31"/>
                  <a:gd name="T5" fmla="*/ 11 h 38"/>
                  <a:gd name="T6" fmla="*/ 5 w 31"/>
                  <a:gd name="T7" fmla="*/ 14 h 38"/>
                  <a:gd name="T8" fmla="*/ 5 w 31"/>
                  <a:gd name="T9" fmla="*/ 21 h 38"/>
                  <a:gd name="T10" fmla="*/ 2 w 31"/>
                  <a:gd name="T11" fmla="*/ 31 h 38"/>
                  <a:gd name="T12" fmla="*/ 4 w 31"/>
                  <a:gd name="T13" fmla="*/ 37 h 38"/>
                  <a:gd name="T14" fmla="*/ 19 w 31"/>
                  <a:gd name="T15" fmla="*/ 32 h 38"/>
                  <a:gd name="T16" fmla="*/ 27 w 31"/>
                  <a:gd name="T17" fmla="*/ 28 h 38"/>
                  <a:gd name="T18" fmla="*/ 30 w 31"/>
                  <a:gd name="T19" fmla="*/ 25 h 38"/>
                  <a:gd name="T20" fmla="*/ 28 w 31"/>
                  <a:gd name="T21" fmla="*/ 13 h 38"/>
                  <a:gd name="T22" fmla="*/ 20 w 31"/>
                  <a:gd name="T23" fmla="*/ 0 h 38"/>
                  <a:gd name="T24" fmla="*/ 15 w 31"/>
                  <a:gd name="T25" fmla="*/ 1 h 38"/>
                  <a:gd name="T26" fmla="*/ 8 w 31"/>
                  <a:gd name="T27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38">
                    <a:moveTo>
                      <a:pt x="8" y="3"/>
                    </a:moveTo>
                    <a:cubicBezTo>
                      <a:pt x="7" y="3"/>
                      <a:pt x="5" y="5"/>
                      <a:pt x="3" y="6"/>
                    </a:cubicBezTo>
                    <a:cubicBezTo>
                      <a:pt x="4" y="8"/>
                      <a:pt x="4" y="10"/>
                      <a:pt x="6" y="11"/>
                    </a:cubicBezTo>
                    <a:cubicBezTo>
                      <a:pt x="8" y="11"/>
                      <a:pt x="8" y="15"/>
                      <a:pt x="5" y="14"/>
                    </a:cubicBezTo>
                    <a:cubicBezTo>
                      <a:pt x="3" y="13"/>
                      <a:pt x="3" y="18"/>
                      <a:pt x="5" y="21"/>
                    </a:cubicBezTo>
                    <a:cubicBezTo>
                      <a:pt x="7" y="25"/>
                      <a:pt x="0" y="29"/>
                      <a:pt x="2" y="31"/>
                    </a:cubicBezTo>
                    <a:cubicBezTo>
                      <a:pt x="4" y="33"/>
                      <a:pt x="3" y="35"/>
                      <a:pt x="4" y="37"/>
                    </a:cubicBezTo>
                    <a:cubicBezTo>
                      <a:pt x="4" y="38"/>
                      <a:pt x="14" y="36"/>
                      <a:pt x="19" y="32"/>
                    </a:cubicBezTo>
                    <a:cubicBezTo>
                      <a:pt x="23" y="27"/>
                      <a:pt x="24" y="28"/>
                      <a:pt x="27" y="28"/>
                    </a:cubicBezTo>
                    <a:cubicBezTo>
                      <a:pt x="29" y="29"/>
                      <a:pt x="31" y="27"/>
                      <a:pt x="30" y="25"/>
                    </a:cubicBezTo>
                    <a:cubicBezTo>
                      <a:pt x="29" y="23"/>
                      <a:pt x="28" y="19"/>
                      <a:pt x="28" y="13"/>
                    </a:cubicBezTo>
                    <a:cubicBezTo>
                      <a:pt x="28" y="10"/>
                      <a:pt x="24" y="4"/>
                      <a:pt x="20" y="0"/>
                    </a:cubicBezTo>
                    <a:cubicBezTo>
                      <a:pt x="18" y="1"/>
                      <a:pt x="17" y="1"/>
                      <a:pt x="15" y="1"/>
                    </a:cubicBezTo>
                    <a:cubicBezTo>
                      <a:pt x="12" y="1"/>
                      <a:pt x="9" y="1"/>
                      <a:pt x="8" y="3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72" name="Freeform 77">
                <a:extLst>
                  <a:ext uri="{FF2B5EF4-FFF2-40B4-BE49-F238E27FC236}">
                    <a16:creationId xmlns:a16="http://schemas.microsoft.com/office/drawing/2014/main" id="{3B0235FB-0602-4898-99BD-DF208A778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18374" y="3246272"/>
                <a:ext cx="189191" cy="108929"/>
              </a:xfrm>
              <a:custGeom>
                <a:avLst/>
                <a:gdLst>
                  <a:gd name="T0" fmla="*/ 50 w 52"/>
                  <a:gd name="T1" fmla="*/ 6 h 30"/>
                  <a:gd name="T2" fmla="*/ 48 w 52"/>
                  <a:gd name="T3" fmla="*/ 4 h 30"/>
                  <a:gd name="T4" fmla="*/ 43 w 52"/>
                  <a:gd name="T5" fmla="*/ 3 h 30"/>
                  <a:gd name="T6" fmla="*/ 36 w 52"/>
                  <a:gd name="T7" fmla="*/ 0 h 30"/>
                  <a:gd name="T8" fmla="*/ 29 w 52"/>
                  <a:gd name="T9" fmla="*/ 5 h 30"/>
                  <a:gd name="T10" fmla="*/ 20 w 52"/>
                  <a:gd name="T11" fmla="*/ 8 h 30"/>
                  <a:gd name="T12" fmla="*/ 9 w 52"/>
                  <a:gd name="T13" fmla="*/ 8 h 30"/>
                  <a:gd name="T14" fmla="*/ 8 w 52"/>
                  <a:gd name="T15" fmla="*/ 6 h 30"/>
                  <a:gd name="T16" fmla="*/ 7 w 52"/>
                  <a:gd name="T17" fmla="*/ 9 h 30"/>
                  <a:gd name="T18" fmla="*/ 3 w 52"/>
                  <a:gd name="T19" fmla="*/ 11 h 30"/>
                  <a:gd name="T20" fmla="*/ 2 w 52"/>
                  <a:gd name="T21" fmla="*/ 14 h 30"/>
                  <a:gd name="T22" fmla="*/ 1 w 52"/>
                  <a:gd name="T23" fmla="*/ 17 h 30"/>
                  <a:gd name="T24" fmla="*/ 0 w 52"/>
                  <a:gd name="T25" fmla="*/ 19 h 30"/>
                  <a:gd name="T26" fmla="*/ 2 w 52"/>
                  <a:gd name="T27" fmla="*/ 22 h 30"/>
                  <a:gd name="T28" fmla="*/ 2 w 52"/>
                  <a:gd name="T29" fmla="*/ 22 h 30"/>
                  <a:gd name="T30" fmla="*/ 8 w 52"/>
                  <a:gd name="T31" fmla="*/ 27 h 30"/>
                  <a:gd name="T32" fmla="*/ 17 w 52"/>
                  <a:gd name="T33" fmla="*/ 29 h 30"/>
                  <a:gd name="T34" fmla="*/ 28 w 52"/>
                  <a:gd name="T35" fmla="*/ 26 h 30"/>
                  <a:gd name="T36" fmla="*/ 31 w 52"/>
                  <a:gd name="T37" fmla="*/ 27 h 30"/>
                  <a:gd name="T38" fmla="*/ 33 w 52"/>
                  <a:gd name="T39" fmla="*/ 27 h 30"/>
                  <a:gd name="T40" fmla="*/ 38 w 52"/>
                  <a:gd name="T41" fmla="*/ 24 h 30"/>
                  <a:gd name="T42" fmla="*/ 46 w 52"/>
                  <a:gd name="T43" fmla="*/ 12 h 30"/>
                  <a:gd name="T44" fmla="*/ 51 w 52"/>
                  <a:gd name="T45" fmla="*/ 8 h 30"/>
                  <a:gd name="T46" fmla="*/ 50 w 52"/>
                  <a:gd name="T4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2" h="30">
                    <a:moveTo>
                      <a:pt x="50" y="6"/>
                    </a:moveTo>
                    <a:cubicBezTo>
                      <a:pt x="50" y="5"/>
                      <a:pt x="49" y="5"/>
                      <a:pt x="48" y="4"/>
                    </a:cubicBezTo>
                    <a:cubicBezTo>
                      <a:pt x="46" y="4"/>
                      <a:pt x="44" y="3"/>
                      <a:pt x="43" y="3"/>
                    </a:cubicBezTo>
                    <a:cubicBezTo>
                      <a:pt x="42" y="1"/>
                      <a:pt x="37" y="1"/>
                      <a:pt x="36" y="0"/>
                    </a:cubicBezTo>
                    <a:cubicBezTo>
                      <a:pt x="35" y="0"/>
                      <a:pt x="30" y="5"/>
                      <a:pt x="29" y="5"/>
                    </a:cubicBezTo>
                    <a:cubicBezTo>
                      <a:pt x="27" y="5"/>
                      <a:pt x="20" y="6"/>
                      <a:pt x="20" y="8"/>
                    </a:cubicBezTo>
                    <a:cubicBezTo>
                      <a:pt x="20" y="10"/>
                      <a:pt x="12" y="10"/>
                      <a:pt x="9" y="8"/>
                    </a:cubicBezTo>
                    <a:cubicBezTo>
                      <a:pt x="9" y="7"/>
                      <a:pt x="8" y="7"/>
                      <a:pt x="8" y="6"/>
                    </a:cubicBezTo>
                    <a:cubicBezTo>
                      <a:pt x="7" y="7"/>
                      <a:pt x="7" y="8"/>
                      <a:pt x="7" y="9"/>
                    </a:cubicBezTo>
                    <a:cubicBezTo>
                      <a:pt x="7" y="11"/>
                      <a:pt x="5" y="11"/>
                      <a:pt x="3" y="11"/>
                    </a:cubicBezTo>
                    <a:cubicBezTo>
                      <a:pt x="2" y="10"/>
                      <a:pt x="3" y="13"/>
                      <a:pt x="2" y="14"/>
                    </a:cubicBezTo>
                    <a:cubicBezTo>
                      <a:pt x="2" y="15"/>
                      <a:pt x="2" y="17"/>
                      <a:pt x="1" y="17"/>
                    </a:cubicBezTo>
                    <a:cubicBezTo>
                      <a:pt x="0" y="17"/>
                      <a:pt x="0" y="18"/>
                      <a:pt x="0" y="19"/>
                    </a:cubicBezTo>
                    <a:cubicBezTo>
                      <a:pt x="0" y="19"/>
                      <a:pt x="2" y="22"/>
                      <a:pt x="2" y="22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3" y="23"/>
                      <a:pt x="7" y="26"/>
                      <a:pt x="8" y="27"/>
                    </a:cubicBezTo>
                    <a:cubicBezTo>
                      <a:pt x="10" y="29"/>
                      <a:pt x="14" y="30"/>
                      <a:pt x="17" y="29"/>
                    </a:cubicBezTo>
                    <a:cubicBezTo>
                      <a:pt x="19" y="29"/>
                      <a:pt x="28" y="26"/>
                      <a:pt x="28" y="26"/>
                    </a:cubicBezTo>
                    <a:cubicBezTo>
                      <a:pt x="28" y="26"/>
                      <a:pt x="30" y="27"/>
                      <a:pt x="31" y="27"/>
                    </a:cubicBezTo>
                    <a:cubicBezTo>
                      <a:pt x="31" y="27"/>
                      <a:pt x="32" y="27"/>
                      <a:pt x="33" y="27"/>
                    </a:cubicBezTo>
                    <a:cubicBezTo>
                      <a:pt x="34" y="27"/>
                      <a:pt x="36" y="26"/>
                      <a:pt x="38" y="24"/>
                    </a:cubicBezTo>
                    <a:cubicBezTo>
                      <a:pt x="41" y="21"/>
                      <a:pt x="44" y="12"/>
                      <a:pt x="46" y="12"/>
                    </a:cubicBezTo>
                    <a:cubicBezTo>
                      <a:pt x="47" y="11"/>
                      <a:pt x="49" y="9"/>
                      <a:pt x="51" y="8"/>
                    </a:cubicBezTo>
                    <a:cubicBezTo>
                      <a:pt x="52" y="7"/>
                      <a:pt x="52" y="6"/>
                      <a:pt x="50" y="6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173" name="Freeform 76">
                <a:extLst>
                  <a:ext uri="{FF2B5EF4-FFF2-40B4-BE49-F238E27FC236}">
                    <a16:creationId xmlns:a16="http://schemas.microsoft.com/office/drawing/2014/main" id="{A97A560E-BA69-40E5-85A6-F04CF2D7B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26321" y="3232647"/>
                <a:ext cx="217856" cy="95551"/>
              </a:xfrm>
              <a:custGeom>
                <a:avLst/>
                <a:gdLst>
                  <a:gd name="T0" fmla="*/ 51 w 60"/>
                  <a:gd name="T1" fmla="*/ 2 h 26"/>
                  <a:gd name="T2" fmla="*/ 43 w 60"/>
                  <a:gd name="T3" fmla="*/ 0 h 26"/>
                  <a:gd name="T4" fmla="*/ 42 w 60"/>
                  <a:gd name="T5" fmla="*/ 3 h 26"/>
                  <a:gd name="T6" fmla="*/ 35 w 60"/>
                  <a:gd name="T7" fmla="*/ 4 h 26"/>
                  <a:gd name="T8" fmla="*/ 31 w 60"/>
                  <a:gd name="T9" fmla="*/ 7 h 26"/>
                  <a:gd name="T10" fmla="*/ 27 w 60"/>
                  <a:gd name="T11" fmla="*/ 12 h 26"/>
                  <a:gd name="T12" fmla="*/ 24 w 60"/>
                  <a:gd name="T13" fmla="*/ 14 h 26"/>
                  <a:gd name="T14" fmla="*/ 16 w 60"/>
                  <a:gd name="T15" fmla="*/ 16 h 26"/>
                  <a:gd name="T16" fmla="*/ 11 w 60"/>
                  <a:gd name="T17" fmla="*/ 16 h 26"/>
                  <a:gd name="T18" fmla="*/ 7 w 60"/>
                  <a:gd name="T19" fmla="*/ 17 h 26"/>
                  <a:gd name="T20" fmla="*/ 2 w 60"/>
                  <a:gd name="T21" fmla="*/ 15 h 26"/>
                  <a:gd name="T22" fmla="*/ 1 w 60"/>
                  <a:gd name="T23" fmla="*/ 20 h 26"/>
                  <a:gd name="T24" fmla="*/ 5 w 60"/>
                  <a:gd name="T25" fmla="*/ 22 h 26"/>
                  <a:gd name="T26" fmla="*/ 10 w 60"/>
                  <a:gd name="T27" fmla="*/ 23 h 26"/>
                  <a:gd name="T28" fmla="*/ 15 w 60"/>
                  <a:gd name="T29" fmla="*/ 21 h 26"/>
                  <a:gd name="T30" fmla="*/ 22 w 60"/>
                  <a:gd name="T31" fmla="*/ 20 h 26"/>
                  <a:gd name="T32" fmla="*/ 23 w 60"/>
                  <a:gd name="T33" fmla="*/ 24 h 26"/>
                  <a:gd name="T34" fmla="*/ 30 w 60"/>
                  <a:gd name="T35" fmla="*/ 25 h 26"/>
                  <a:gd name="T36" fmla="*/ 39 w 60"/>
                  <a:gd name="T37" fmla="*/ 26 h 26"/>
                  <a:gd name="T38" fmla="*/ 46 w 60"/>
                  <a:gd name="T39" fmla="*/ 24 h 26"/>
                  <a:gd name="T40" fmla="*/ 52 w 60"/>
                  <a:gd name="T41" fmla="*/ 22 h 26"/>
                  <a:gd name="T42" fmla="*/ 52 w 60"/>
                  <a:gd name="T43" fmla="*/ 22 h 26"/>
                  <a:gd name="T44" fmla="*/ 53 w 60"/>
                  <a:gd name="T45" fmla="*/ 20 h 26"/>
                  <a:gd name="T46" fmla="*/ 54 w 60"/>
                  <a:gd name="T47" fmla="*/ 17 h 26"/>
                  <a:gd name="T48" fmla="*/ 55 w 60"/>
                  <a:gd name="T49" fmla="*/ 14 h 26"/>
                  <a:gd name="T50" fmla="*/ 59 w 60"/>
                  <a:gd name="T51" fmla="*/ 12 h 26"/>
                  <a:gd name="T52" fmla="*/ 60 w 60"/>
                  <a:gd name="T53" fmla="*/ 9 h 26"/>
                  <a:gd name="T54" fmla="*/ 57 w 60"/>
                  <a:gd name="T55" fmla="*/ 3 h 26"/>
                  <a:gd name="T56" fmla="*/ 51 w 60"/>
                  <a:gd name="T57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26">
                    <a:moveTo>
                      <a:pt x="51" y="2"/>
                    </a:moveTo>
                    <a:cubicBezTo>
                      <a:pt x="49" y="0"/>
                      <a:pt x="43" y="0"/>
                      <a:pt x="43" y="0"/>
                    </a:cubicBezTo>
                    <a:cubicBezTo>
                      <a:pt x="43" y="0"/>
                      <a:pt x="43" y="2"/>
                      <a:pt x="42" y="3"/>
                    </a:cubicBezTo>
                    <a:cubicBezTo>
                      <a:pt x="41" y="4"/>
                      <a:pt x="37" y="4"/>
                      <a:pt x="35" y="4"/>
                    </a:cubicBezTo>
                    <a:cubicBezTo>
                      <a:pt x="34" y="5"/>
                      <a:pt x="31" y="5"/>
                      <a:pt x="31" y="7"/>
                    </a:cubicBezTo>
                    <a:cubicBezTo>
                      <a:pt x="30" y="8"/>
                      <a:pt x="26" y="7"/>
                      <a:pt x="27" y="12"/>
                    </a:cubicBezTo>
                    <a:cubicBezTo>
                      <a:pt x="29" y="16"/>
                      <a:pt x="25" y="14"/>
                      <a:pt x="24" y="14"/>
                    </a:cubicBezTo>
                    <a:cubicBezTo>
                      <a:pt x="23" y="13"/>
                      <a:pt x="17" y="14"/>
                      <a:pt x="16" y="16"/>
                    </a:cubicBezTo>
                    <a:cubicBezTo>
                      <a:pt x="15" y="17"/>
                      <a:pt x="13" y="17"/>
                      <a:pt x="11" y="16"/>
                    </a:cubicBezTo>
                    <a:cubicBezTo>
                      <a:pt x="10" y="15"/>
                      <a:pt x="8" y="15"/>
                      <a:pt x="7" y="17"/>
                    </a:cubicBezTo>
                    <a:cubicBezTo>
                      <a:pt x="5" y="18"/>
                      <a:pt x="4" y="15"/>
                      <a:pt x="2" y="15"/>
                    </a:cubicBezTo>
                    <a:cubicBezTo>
                      <a:pt x="0" y="16"/>
                      <a:pt x="1" y="19"/>
                      <a:pt x="1" y="20"/>
                    </a:cubicBezTo>
                    <a:cubicBezTo>
                      <a:pt x="1" y="20"/>
                      <a:pt x="4" y="23"/>
                      <a:pt x="5" y="22"/>
                    </a:cubicBezTo>
                    <a:cubicBezTo>
                      <a:pt x="7" y="21"/>
                      <a:pt x="9" y="22"/>
                      <a:pt x="10" y="23"/>
                    </a:cubicBezTo>
                    <a:cubicBezTo>
                      <a:pt x="12" y="24"/>
                      <a:pt x="14" y="22"/>
                      <a:pt x="15" y="21"/>
                    </a:cubicBezTo>
                    <a:cubicBezTo>
                      <a:pt x="16" y="20"/>
                      <a:pt x="21" y="20"/>
                      <a:pt x="22" y="20"/>
                    </a:cubicBezTo>
                    <a:cubicBezTo>
                      <a:pt x="22" y="20"/>
                      <a:pt x="22" y="23"/>
                      <a:pt x="23" y="24"/>
                    </a:cubicBezTo>
                    <a:cubicBezTo>
                      <a:pt x="24" y="24"/>
                      <a:pt x="27" y="25"/>
                      <a:pt x="30" y="25"/>
                    </a:cubicBezTo>
                    <a:cubicBezTo>
                      <a:pt x="33" y="25"/>
                      <a:pt x="38" y="26"/>
                      <a:pt x="39" y="26"/>
                    </a:cubicBezTo>
                    <a:cubicBezTo>
                      <a:pt x="41" y="26"/>
                      <a:pt x="43" y="24"/>
                      <a:pt x="46" y="24"/>
                    </a:cubicBezTo>
                    <a:cubicBezTo>
                      <a:pt x="50" y="24"/>
                      <a:pt x="51" y="22"/>
                      <a:pt x="52" y="22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2" y="21"/>
                      <a:pt x="52" y="20"/>
                      <a:pt x="53" y="20"/>
                    </a:cubicBezTo>
                    <a:cubicBezTo>
                      <a:pt x="54" y="20"/>
                      <a:pt x="54" y="18"/>
                      <a:pt x="54" y="17"/>
                    </a:cubicBezTo>
                    <a:cubicBezTo>
                      <a:pt x="55" y="16"/>
                      <a:pt x="54" y="13"/>
                      <a:pt x="55" y="14"/>
                    </a:cubicBezTo>
                    <a:cubicBezTo>
                      <a:pt x="57" y="14"/>
                      <a:pt x="59" y="14"/>
                      <a:pt x="59" y="12"/>
                    </a:cubicBezTo>
                    <a:cubicBezTo>
                      <a:pt x="59" y="11"/>
                      <a:pt x="59" y="10"/>
                      <a:pt x="60" y="9"/>
                    </a:cubicBezTo>
                    <a:cubicBezTo>
                      <a:pt x="58" y="7"/>
                      <a:pt x="57" y="3"/>
                      <a:pt x="57" y="3"/>
                    </a:cubicBezTo>
                    <a:cubicBezTo>
                      <a:pt x="57" y="3"/>
                      <a:pt x="53" y="4"/>
                      <a:pt x="51" y="2"/>
                    </a:cubicBezTo>
                    <a:close/>
                  </a:path>
                </a:pathLst>
              </a:custGeom>
              <a:grpFill/>
              <a:ln w="3175" cap="flat">
                <a:solidFill>
                  <a:srgbClr val="D9D9D9">
                    <a:alpha val="30196"/>
                  </a:srgbClr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</p:grpSp>
        <p:grpSp>
          <p:nvGrpSpPr>
            <p:cNvPr id="302" name="Group 301">
              <a:extLst>
                <a:ext uri="{FF2B5EF4-FFF2-40B4-BE49-F238E27FC236}">
                  <a16:creationId xmlns:a16="http://schemas.microsoft.com/office/drawing/2014/main" id="{B96AF193-EE5D-4F10-A4E3-0EA761AC292C}"/>
                </a:ext>
              </a:extLst>
            </p:cNvPr>
            <p:cNvGrpSpPr/>
            <p:nvPr userDrawn="1"/>
          </p:nvGrpSpPr>
          <p:grpSpPr>
            <a:xfrm>
              <a:off x="7747533" y="3758457"/>
              <a:ext cx="756750" cy="848164"/>
              <a:chOff x="1292669" y="1443511"/>
              <a:chExt cx="5818188" cy="6324600"/>
            </a:xfrm>
            <a:solidFill>
              <a:srgbClr val="D9D9D9"/>
            </a:solidFill>
          </p:grpSpPr>
          <p:sp>
            <p:nvSpPr>
              <p:cNvPr id="303" name="Freeform 5">
                <a:extLst>
                  <a:ext uri="{FF2B5EF4-FFF2-40B4-BE49-F238E27FC236}">
                    <a16:creationId xmlns:a16="http://schemas.microsoft.com/office/drawing/2014/main" id="{8D9EAC25-3192-46A2-8DC2-1DAB0645B2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3744" y="3748561"/>
                <a:ext cx="808038" cy="1249363"/>
              </a:xfrm>
              <a:custGeom>
                <a:avLst/>
                <a:gdLst>
                  <a:gd name="T0" fmla="*/ 290 w 509"/>
                  <a:gd name="T1" fmla="*/ 768 h 787"/>
                  <a:gd name="T2" fmla="*/ 288 w 509"/>
                  <a:gd name="T3" fmla="*/ 730 h 787"/>
                  <a:gd name="T4" fmla="*/ 499 w 509"/>
                  <a:gd name="T5" fmla="*/ 78 h 787"/>
                  <a:gd name="T6" fmla="*/ 414 w 509"/>
                  <a:gd name="T7" fmla="*/ 61 h 787"/>
                  <a:gd name="T8" fmla="*/ 364 w 509"/>
                  <a:gd name="T9" fmla="*/ 15 h 787"/>
                  <a:gd name="T10" fmla="*/ 280 w 509"/>
                  <a:gd name="T11" fmla="*/ 5 h 787"/>
                  <a:gd name="T12" fmla="*/ 292 w 509"/>
                  <a:gd name="T13" fmla="*/ 83 h 787"/>
                  <a:gd name="T14" fmla="*/ 305 w 509"/>
                  <a:gd name="T15" fmla="*/ 120 h 787"/>
                  <a:gd name="T16" fmla="*/ 272 w 509"/>
                  <a:gd name="T17" fmla="*/ 154 h 787"/>
                  <a:gd name="T18" fmla="*/ 248 w 509"/>
                  <a:gd name="T19" fmla="*/ 192 h 787"/>
                  <a:gd name="T20" fmla="*/ 278 w 509"/>
                  <a:gd name="T21" fmla="*/ 239 h 787"/>
                  <a:gd name="T22" fmla="*/ 244 w 509"/>
                  <a:gd name="T23" fmla="*/ 255 h 787"/>
                  <a:gd name="T24" fmla="*/ 251 w 509"/>
                  <a:gd name="T25" fmla="*/ 276 h 787"/>
                  <a:gd name="T26" fmla="*/ 255 w 509"/>
                  <a:gd name="T27" fmla="*/ 340 h 787"/>
                  <a:gd name="T28" fmla="*/ 257 w 509"/>
                  <a:gd name="T29" fmla="*/ 363 h 787"/>
                  <a:gd name="T30" fmla="*/ 246 w 509"/>
                  <a:gd name="T31" fmla="*/ 378 h 787"/>
                  <a:gd name="T32" fmla="*/ 229 w 509"/>
                  <a:gd name="T33" fmla="*/ 420 h 787"/>
                  <a:gd name="T34" fmla="*/ 202 w 509"/>
                  <a:gd name="T35" fmla="*/ 449 h 787"/>
                  <a:gd name="T36" fmla="*/ 181 w 509"/>
                  <a:gd name="T37" fmla="*/ 464 h 787"/>
                  <a:gd name="T38" fmla="*/ 152 w 509"/>
                  <a:gd name="T39" fmla="*/ 473 h 787"/>
                  <a:gd name="T40" fmla="*/ 103 w 509"/>
                  <a:gd name="T41" fmla="*/ 492 h 787"/>
                  <a:gd name="T42" fmla="*/ 40 w 509"/>
                  <a:gd name="T43" fmla="*/ 521 h 787"/>
                  <a:gd name="T44" fmla="*/ 0 w 509"/>
                  <a:gd name="T45" fmla="*/ 521 h 787"/>
                  <a:gd name="T46" fmla="*/ 9 w 509"/>
                  <a:gd name="T47" fmla="*/ 565 h 787"/>
                  <a:gd name="T48" fmla="*/ 82 w 509"/>
                  <a:gd name="T49" fmla="*/ 591 h 787"/>
                  <a:gd name="T50" fmla="*/ 101 w 509"/>
                  <a:gd name="T51" fmla="*/ 643 h 787"/>
                  <a:gd name="T52" fmla="*/ 122 w 509"/>
                  <a:gd name="T53" fmla="*/ 673 h 787"/>
                  <a:gd name="T54" fmla="*/ 120 w 509"/>
                  <a:gd name="T55" fmla="*/ 702 h 787"/>
                  <a:gd name="T56" fmla="*/ 160 w 509"/>
                  <a:gd name="T57" fmla="*/ 730 h 787"/>
                  <a:gd name="T58" fmla="*/ 232 w 509"/>
                  <a:gd name="T59" fmla="*/ 770 h 787"/>
                  <a:gd name="T60" fmla="*/ 292 w 509"/>
                  <a:gd name="T61" fmla="*/ 702 h 787"/>
                  <a:gd name="T62" fmla="*/ 282 w 509"/>
                  <a:gd name="T63" fmla="*/ 690 h 787"/>
                  <a:gd name="T64" fmla="*/ 301 w 509"/>
                  <a:gd name="T65" fmla="*/ 776 h 787"/>
                  <a:gd name="T66" fmla="*/ 314 w 509"/>
                  <a:gd name="T67" fmla="*/ 774 h 787"/>
                  <a:gd name="T68" fmla="*/ 330 w 509"/>
                  <a:gd name="T69" fmla="*/ 761 h 787"/>
                  <a:gd name="T70" fmla="*/ 337 w 509"/>
                  <a:gd name="T71" fmla="*/ 772 h 787"/>
                  <a:gd name="T72" fmla="*/ 353 w 509"/>
                  <a:gd name="T73" fmla="*/ 757 h 787"/>
                  <a:gd name="T74" fmla="*/ 358 w 509"/>
                  <a:gd name="T75" fmla="*/ 696 h 787"/>
                  <a:gd name="T76" fmla="*/ 360 w 509"/>
                  <a:gd name="T77" fmla="*/ 711 h 787"/>
                  <a:gd name="T78" fmla="*/ 372 w 509"/>
                  <a:gd name="T79" fmla="*/ 782 h 787"/>
                  <a:gd name="T80" fmla="*/ 381 w 509"/>
                  <a:gd name="T81" fmla="*/ 755 h 787"/>
                  <a:gd name="T82" fmla="*/ 396 w 509"/>
                  <a:gd name="T83" fmla="*/ 738 h 787"/>
                  <a:gd name="T84" fmla="*/ 404 w 509"/>
                  <a:gd name="T85" fmla="*/ 706 h 787"/>
                  <a:gd name="T86" fmla="*/ 393 w 509"/>
                  <a:gd name="T87" fmla="*/ 641 h 787"/>
                  <a:gd name="T88" fmla="*/ 393 w 509"/>
                  <a:gd name="T89" fmla="*/ 563 h 787"/>
                  <a:gd name="T90" fmla="*/ 360 w 509"/>
                  <a:gd name="T91" fmla="*/ 519 h 787"/>
                  <a:gd name="T92" fmla="*/ 347 w 509"/>
                  <a:gd name="T93" fmla="*/ 470 h 787"/>
                  <a:gd name="T94" fmla="*/ 364 w 509"/>
                  <a:gd name="T95" fmla="*/ 426 h 787"/>
                  <a:gd name="T96" fmla="*/ 280 w 509"/>
                  <a:gd name="T97" fmla="*/ 367 h 787"/>
                  <a:gd name="T98" fmla="*/ 301 w 509"/>
                  <a:gd name="T99" fmla="*/ 325 h 787"/>
                  <a:gd name="T100" fmla="*/ 356 w 509"/>
                  <a:gd name="T101" fmla="*/ 287 h 787"/>
                  <a:gd name="T102" fmla="*/ 379 w 509"/>
                  <a:gd name="T103" fmla="*/ 268 h 787"/>
                  <a:gd name="T104" fmla="*/ 341 w 509"/>
                  <a:gd name="T105" fmla="*/ 245 h 787"/>
                  <a:gd name="T106" fmla="*/ 284 w 509"/>
                  <a:gd name="T107" fmla="*/ 186 h 787"/>
                  <a:gd name="T108" fmla="*/ 324 w 509"/>
                  <a:gd name="T109" fmla="*/ 127 h 787"/>
                  <a:gd name="T110" fmla="*/ 318 w 509"/>
                  <a:gd name="T111" fmla="*/ 93 h 787"/>
                  <a:gd name="T112" fmla="*/ 354 w 509"/>
                  <a:gd name="T113" fmla="*/ 120 h 787"/>
                  <a:gd name="T114" fmla="*/ 402 w 509"/>
                  <a:gd name="T115" fmla="*/ 139 h 787"/>
                  <a:gd name="T116" fmla="*/ 404 w 509"/>
                  <a:gd name="T117" fmla="*/ 125 h 787"/>
                  <a:gd name="T118" fmla="*/ 444 w 509"/>
                  <a:gd name="T119" fmla="*/ 175 h 787"/>
                  <a:gd name="T120" fmla="*/ 471 w 509"/>
                  <a:gd name="T121" fmla="*/ 163 h 787"/>
                  <a:gd name="T122" fmla="*/ 490 w 509"/>
                  <a:gd name="T123" fmla="*/ 142 h 787"/>
                  <a:gd name="T124" fmla="*/ 507 w 509"/>
                  <a:gd name="T125" fmla="*/ 104 h 7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9" h="787">
                    <a:moveTo>
                      <a:pt x="385" y="780"/>
                    </a:moveTo>
                    <a:lnTo>
                      <a:pt x="383" y="778"/>
                    </a:lnTo>
                    <a:lnTo>
                      <a:pt x="381" y="778"/>
                    </a:lnTo>
                    <a:lnTo>
                      <a:pt x="377" y="776"/>
                    </a:lnTo>
                    <a:lnTo>
                      <a:pt x="377" y="780"/>
                    </a:lnTo>
                    <a:lnTo>
                      <a:pt x="377" y="785"/>
                    </a:lnTo>
                    <a:lnTo>
                      <a:pt x="381" y="787"/>
                    </a:lnTo>
                    <a:lnTo>
                      <a:pt x="383" y="787"/>
                    </a:lnTo>
                    <a:lnTo>
                      <a:pt x="385" y="787"/>
                    </a:lnTo>
                    <a:lnTo>
                      <a:pt x="387" y="785"/>
                    </a:lnTo>
                    <a:lnTo>
                      <a:pt x="387" y="784"/>
                    </a:lnTo>
                    <a:lnTo>
                      <a:pt x="387" y="782"/>
                    </a:lnTo>
                    <a:lnTo>
                      <a:pt x="385" y="780"/>
                    </a:lnTo>
                    <a:close/>
                    <a:moveTo>
                      <a:pt x="288" y="742"/>
                    </a:moveTo>
                    <a:lnTo>
                      <a:pt x="284" y="749"/>
                    </a:lnTo>
                    <a:lnTo>
                      <a:pt x="278" y="763"/>
                    </a:lnTo>
                    <a:lnTo>
                      <a:pt x="278" y="766"/>
                    </a:lnTo>
                    <a:lnTo>
                      <a:pt x="278" y="768"/>
                    </a:lnTo>
                    <a:lnTo>
                      <a:pt x="278" y="768"/>
                    </a:lnTo>
                    <a:lnTo>
                      <a:pt x="278" y="772"/>
                    </a:lnTo>
                    <a:lnTo>
                      <a:pt x="280" y="772"/>
                    </a:lnTo>
                    <a:lnTo>
                      <a:pt x="284" y="772"/>
                    </a:lnTo>
                    <a:lnTo>
                      <a:pt x="288" y="774"/>
                    </a:lnTo>
                    <a:lnTo>
                      <a:pt x="288" y="774"/>
                    </a:lnTo>
                    <a:lnTo>
                      <a:pt x="290" y="772"/>
                    </a:lnTo>
                    <a:lnTo>
                      <a:pt x="290" y="770"/>
                    </a:lnTo>
                    <a:lnTo>
                      <a:pt x="290" y="768"/>
                    </a:lnTo>
                    <a:lnTo>
                      <a:pt x="290" y="766"/>
                    </a:lnTo>
                    <a:lnTo>
                      <a:pt x="293" y="763"/>
                    </a:lnTo>
                    <a:lnTo>
                      <a:pt x="293" y="755"/>
                    </a:lnTo>
                    <a:lnTo>
                      <a:pt x="292" y="740"/>
                    </a:lnTo>
                    <a:lnTo>
                      <a:pt x="288" y="742"/>
                    </a:lnTo>
                    <a:close/>
                    <a:moveTo>
                      <a:pt x="354" y="732"/>
                    </a:moveTo>
                    <a:lnTo>
                      <a:pt x="353" y="734"/>
                    </a:lnTo>
                    <a:lnTo>
                      <a:pt x="349" y="736"/>
                    </a:lnTo>
                    <a:lnTo>
                      <a:pt x="347" y="740"/>
                    </a:lnTo>
                    <a:lnTo>
                      <a:pt x="345" y="744"/>
                    </a:lnTo>
                    <a:lnTo>
                      <a:pt x="345" y="746"/>
                    </a:lnTo>
                    <a:lnTo>
                      <a:pt x="345" y="747"/>
                    </a:lnTo>
                    <a:lnTo>
                      <a:pt x="347" y="747"/>
                    </a:lnTo>
                    <a:lnTo>
                      <a:pt x="347" y="749"/>
                    </a:lnTo>
                    <a:lnTo>
                      <a:pt x="347" y="749"/>
                    </a:lnTo>
                    <a:lnTo>
                      <a:pt x="353" y="751"/>
                    </a:lnTo>
                    <a:lnTo>
                      <a:pt x="353" y="751"/>
                    </a:lnTo>
                    <a:lnTo>
                      <a:pt x="354" y="744"/>
                    </a:lnTo>
                    <a:lnTo>
                      <a:pt x="354" y="742"/>
                    </a:lnTo>
                    <a:lnTo>
                      <a:pt x="356" y="738"/>
                    </a:lnTo>
                    <a:lnTo>
                      <a:pt x="356" y="736"/>
                    </a:lnTo>
                    <a:lnTo>
                      <a:pt x="356" y="734"/>
                    </a:lnTo>
                    <a:lnTo>
                      <a:pt x="354" y="732"/>
                    </a:lnTo>
                    <a:close/>
                    <a:moveTo>
                      <a:pt x="286" y="742"/>
                    </a:moveTo>
                    <a:lnTo>
                      <a:pt x="288" y="738"/>
                    </a:lnTo>
                    <a:lnTo>
                      <a:pt x="290" y="734"/>
                    </a:lnTo>
                    <a:lnTo>
                      <a:pt x="288" y="730"/>
                    </a:lnTo>
                    <a:lnTo>
                      <a:pt x="286" y="730"/>
                    </a:lnTo>
                    <a:lnTo>
                      <a:pt x="284" y="732"/>
                    </a:lnTo>
                    <a:lnTo>
                      <a:pt x="282" y="734"/>
                    </a:lnTo>
                    <a:lnTo>
                      <a:pt x="282" y="736"/>
                    </a:lnTo>
                    <a:lnTo>
                      <a:pt x="282" y="738"/>
                    </a:lnTo>
                    <a:lnTo>
                      <a:pt x="282" y="740"/>
                    </a:lnTo>
                    <a:lnTo>
                      <a:pt x="282" y="742"/>
                    </a:lnTo>
                    <a:lnTo>
                      <a:pt x="282" y="744"/>
                    </a:lnTo>
                    <a:lnTo>
                      <a:pt x="286" y="742"/>
                    </a:lnTo>
                    <a:close/>
                    <a:moveTo>
                      <a:pt x="507" y="85"/>
                    </a:moveTo>
                    <a:lnTo>
                      <a:pt x="507" y="83"/>
                    </a:lnTo>
                    <a:lnTo>
                      <a:pt x="505" y="76"/>
                    </a:lnTo>
                    <a:lnTo>
                      <a:pt x="505" y="74"/>
                    </a:lnTo>
                    <a:lnTo>
                      <a:pt x="505" y="74"/>
                    </a:lnTo>
                    <a:lnTo>
                      <a:pt x="503" y="74"/>
                    </a:lnTo>
                    <a:lnTo>
                      <a:pt x="503" y="72"/>
                    </a:lnTo>
                    <a:lnTo>
                      <a:pt x="503" y="72"/>
                    </a:lnTo>
                    <a:lnTo>
                      <a:pt x="501" y="74"/>
                    </a:lnTo>
                    <a:lnTo>
                      <a:pt x="501" y="74"/>
                    </a:lnTo>
                    <a:lnTo>
                      <a:pt x="501" y="74"/>
                    </a:lnTo>
                    <a:lnTo>
                      <a:pt x="501" y="76"/>
                    </a:lnTo>
                    <a:lnTo>
                      <a:pt x="501" y="76"/>
                    </a:lnTo>
                    <a:lnTo>
                      <a:pt x="501" y="76"/>
                    </a:lnTo>
                    <a:lnTo>
                      <a:pt x="501" y="78"/>
                    </a:lnTo>
                    <a:lnTo>
                      <a:pt x="499" y="78"/>
                    </a:lnTo>
                    <a:lnTo>
                      <a:pt x="499" y="78"/>
                    </a:lnTo>
                    <a:lnTo>
                      <a:pt x="499" y="78"/>
                    </a:lnTo>
                    <a:lnTo>
                      <a:pt x="497" y="78"/>
                    </a:lnTo>
                    <a:lnTo>
                      <a:pt x="494" y="78"/>
                    </a:lnTo>
                    <a:lnTo>
                      <a:pt x="492" y="78"/>
                    </a:lnTo>
                    <a:lnTo>
                      <a:pt x="490" y="76"/>
                    </a:lnTo>
                    <a:lnTo>
                      <a:pt x="484" y="74"/>
                    </a:lnTo>
                    <a:lnTo>
                      <a:pt x="480" y="74"/>
                    </a:lnTo>
                    <a:lnTo>
                      <a:pt x="476" y="76"/>
                    </a:lnTo>
                    <a:lnTo>
                      <a:pt x="475" y="76"/>
                    </a:lnTo>
                    <a:lnTo>
                      <a:pt x="473" y="74"/>
                    </a:lnTo>
                    <a:lnTo>
                      <a:pt x="475" y="70"/>
                    </a:lnTo>
                    <a:lnTo>
                      <a:pt x="475" y="68"/>
                    </a:lnTo>
                    <a:lnTo>
                      <a:pt x="471" y="66"/>
                    </a:lnTo>
                    <a:lnTo>
                      <a:pt x="467" y="64"/>
                    </a:lnTo>
                    <a:lnTo>
                      <a:pt x="461" y="62"/>
                    </a:lnTo>
                    <a:lnTo>
                      <a:pt x="454" y="64"/>
                    </a:lnTo>
                    <a:lnTo>
                      <a:pt x="448" y="61"/>
                    </a:lnTo>
                    <a:lnTo>
                      <a:pt x="444" y="59"/>
                    </a:lnTo>
                    <a:lnTo>
                      <a:pt x="440" y="55"/>
                    </a:lnTo>
                    <a:lnTo>
                      <a:pt x="435" y="57"/>
                    </a:lnTo>
                    <a:lnTo>
                      <a:pt x="433" y="57"/>
                    </a:lnTo>
                    <a:lnTo>
                      <a:pt x="433" y="57"/>
                    </a:lnTo>
                    <a:lnTo>
                      <a:pt x="431" y="59"/>
                    </a:lnTo>
                    <a:lnTo>
                      <a:pt x="429" y="59"/>
                    </a:lnTo>
                    <a:lnTo>
                      <a:pt x="429" y="61"/>
                    </a:lnTo>
                    <a:lnTo>
                      <a:pt x="425" y="61"/>
                    </a:lnTo>
                    <a:lnTo>
                      <a:pt x="421" y="62"/>
                    </a:lnTo>
                    <a:lnTo>
                      <a:pt x="414" y="61"/>
                    </a:lnTo>
                    <a:lnTo>
                      <a:pt x="410" y="61"/>
                    </a:lnTo>
                    <a:lnTo>
                      <a:pt x="408" y="59"/>
                    </a:lnTo>
                    <a:lnTo>
                      <a:pt x="408" y="55"/>
                    </a:lnTo>
                    <a:lnTo>
                      <a:pt x="406" y="51"/>
                    </a:lnTo>
                    <a:lnTo>
                      <a:pt x="404" y="49"/>
                    </a:lnTo>
                    <a:lnTo>
                      <a:pt x="400" y="47"/>
                    </a:lnTo>
                    <a:lnTo>
                      <a:pt x="396" y="45"/>
                    </a:lnTo>
                    <a:lnTo>
                      <a:pt x="395" y="45"/>
                    </a:lnTo>
                    <a:lnTo>
                      <a:pt x="393" y="47"/>
                    </a:lnTo>
                    <a:lnTo>
                      <a:pt x="393" y="47"/>
                    </a:lnTo>
                    <a:lnTo>
                      <a:pt x="391" y="47"/>
                    </a:lnTo>
                    <a:lnTo>
                      <a:pt x="389" y="47"/>
                    </a:lnTo>
                    <a:lnTo>
                      <a:pt x="389" y="45"/>
                    </a:lnTo>
                    <a:lnTo>
                      <a:pt x="389" y="43"/>
                    </a:lnTo>
                    <a:lnTo>
                      <a:pt x="389" y="42"/>
                    </a:lnTo>
                    <a:lnTo>
                      <a:pt x="389" y="40"/>
                    </a:lnTo>
                    <a:lnTo>
                      <a:pt x="387" y="38"/>
                    </a:lnTo>
                    <a:lnTo>
                      <a:pt x="383" y="38"/>
                    </a:lnTo>
                    <a:lnTo>
                      <a:pt x="381" y="40"/>
                    </a:lnTo>
                    <a:lnTo>
                      <a:pt x="379" y="43"/>
                    </a:lnTo>
                    <a:lnTo>
                      <a:pt x="379" y="36"/>
                    </a:lnTo>
                    <a:lnTo>
                      <a:pt x="379" y="28"/>
                    </a:lnTo>
                    <a:lnTo>
                      <a:pt x="377" y="24"/>
                    </a:lnTo>
                    <a:lnTo>
                      <a:pt x="375" y="21"/>
                    </a:lnTo>
                    <a:lnTo>
                      <a:pt x="374" y="19"/>
                    </a:lnTo>
                    <a:lnTo>
                      <a:pt x="366" y="15"/>
                    </a:lnTo>
                    <a:lnTo>
                      <a:pt x="364" y="15"/>
                    </a:lnTo>
                    <a:lnTo>
                      <a:pt x="364" y="15"/>
                    </a:lnTo>
                    <a:lnTo>
                      <a:pt x="362" y="15"/>
                    </a:lnTo>
                    <a:lnTo>
                      <a:pt x="358" y="13"/>
                    </a:lnTo>
                    <a:lnTo>
                      <a:pt x="356" y="11"/>
                    </a:lnTo>
                    <a:lnTo>
                      <a:pt x="356" y="11"/>
                    </a:lnTo>
                    <a:lnTo>
                      <a:pt x="349" y="11"/>
                    </a:lnTo>
                    <a:lnTo>
                      <a:pt x="341" y="9"/>
                    </a:lnTo>
                    <a:lnTo>
                      <a:pt x="337" y="11"/>
                    </a:lnTo>
                    <a:lnTo>
                      <a:pt x="328" y="19"/>
                    </a:lnTo>
                    <a:lnTo>
                      <a:pt x="326" y="21"/>
                    </a:lnTo>
                    <a:lnTo>
                      <a:pt x="322" y="23"/>
                    </a:lnTo>
                    <a:lnTo>
                      <a:pt x="318" y="23"/>
                    </a:lnTo>
                    <a:lnTo>
                      <a:pt x="316" y="23"/>
                    </a:lnTo>
                    <a:lnTo>
                      <a:pt x="316" y="23"/>
                    </a:lnTo>
                    <a:lnTo>
                      <a:pt x="314" y="23"/>
                    </a:lnTo>
                    <a:lnTo>
                      <a:pt x="314" y="21"/>
                    </a:lnTo>
                    <a:lnTo>
                      <a:pt x="301" y="15"/>
                    </a:lnTo>
                    <a:lnTo>
                      <a:pt x="297" y="15"/>
                    </a:lnTo>
                    <a:lnTo>
                      <a:pt x="292" y="15"/>
                    </a:lnTo>
                    <a:lnTo>
                      <a:pt x="288" y="15"/>
                    </a:lnTo>
                    <a:lnTo>
                      <a:pt x="284" y="15"/>
                    </a:lnTo>
                    <a:lnTo>
                      <a:pt x="284" y="13"/>
                    </a:lnTo>
                    <a:lnTo>
                      <a:pt x="282" y="13"/>
                    </a:lnTo>
                    <a:lnTo>
                      <a:pt x="282" y="11"/>
                    </a:lnTo>
                    <a:lnTo>
                      <a:pt x="282" y="9"/>
                    </a:lnTo>
                    <a:lnTo>
                      <a:pt x="282" y="7"/>
                    </a:lnTo>
                    <a:lnTo>
                      <a:pt x="280" y="5"/>
                    </a:lnTo>
                    <a:lnTo>
                      <a:pt x="276" y="4"/>
                    </a:lnTo>
                    <a:lnTo>
                      <a:pt x="274" y="2"/>
                    </a:lnTo>
                    <a:lnTo>
                      <a:pt x="272" y="0"/>
                    </a:lnTo>
                    <a:lnTo>
                      <a:pt x="271" y="4"/>
                    </a:lnTo>
                    <a:lnTo>
                      <a:pt x="271" y="15"/>
                    </a:lnTo>
                    <a:lnTo>
                      <a:pt x="269" y="19"/>
                    </a:lnTo>
                    <a:lnTo>
                      <a:pt x="269" y="19"/>
                    </a:lnTo>
                    <a:lnTo>
                      <a:pt x="269" y="21"/>
                    </a:lnTo>
                    <a:lnTo>
                      <a:pt x="269" y="23"/>
                    </a:lnTo>
                    <a:lnTo>
                      <a:pt x="271" y="24"/>
                    </a:lnTo>
                    <a:lnTo>
                      <a:pt x="274" y="28"/>
                    </a:lnTo>
                    <a:lnTo>
                      <a:pt x="276" y="30"/>
                    </a:lnTo>
                    <a:lnTo>
                      <a:pt x="278" y="30"/>
                    </a:lnTo>
                    <a:lnTo>
                      <a:pt x="280" y="32"/>
                    </a:lnTo>
                    <a:lnTo>
                      <a:pt x="282" y="36"/>
                    </a:lnTo>
                    <a:lnTo>
                      <a:pt x="284" y="42"/>
                    </a:lnTo>
                    <a:lnTo>
                      <a:pt x="286" y="45"/>
                    </a:lnTo>
                    <a:lnTo>
                      <a:pt x="288" y="47"/>
                    </a:lnTo>
                    <a:lnTo>
                      <a:pt x="290" y="53"/>
                    </a:lnTo>
                    <a:lnTo>
                      <a:pt x="292" y="55"/>
                    </a:lnTo>
                    <a:lnTo>
                      <a:pt x="292" y="57"/>
                    </a:lnTo>
                    <a:lnTo>
                      <a:pt x="292" y="62"/>
                    </a:lnTo>
                    <a:lnTo>
                      <a:pt x="293" y="68"/>
                    </a:lnTo>
                    <a:lnTo>
                      <a:pt x="293" y="70"/>
                    </a:lnTo>
                    <a:lnTo>
                      <a:pt x="293" y="74"/>
                    </a:lnTo>
                    <a:lnTo>
                      <a:pt x="293" y="76"/>
                    </a:lnTo>
                    <a:lnTo>
                      <a:pt x="292" y="83"/>
                    </a:lnTo>
                    <a:lnTo>
                      <a:pt x="286" y="93"/>
                    </a:lnTo>
                    <a:lnTo>
                      <a:pt x="284" y="101"/>
                    </a:lnTo>
                    <a:lnTo>
                      <a:pt x="286" y="101"/>
                    </a:lnTo>
                    <a:lnTo>
                      <a:pt x="288" y="101"/>
                    </a:lnTo>
                    <a:lnTo>
                      <a:pt x="288" y="101"/>
                    </a:lnTo>
                    <a:lnTo>
                      <a:pt x="292" y="101"/>
                    </a:lnTo>
                    <a:lnTo>
                      <a:pt x="297" y="99"/>
                    </a:lnTo>
                    <a:lnTo>
                      <a:pt x="297" y="99"/>
                    </a:lnTo>
                    <a:lnTo>
                      <a:pt x="297" y="101"/>
                    </a:lnTo>
                    <a:lnTo>
                      <a:pt x="297" y="104"/>
                    </a:lnTo>
                    <a:lnTo>
                      <a:pt x="297" y="104"/>
                    </a:lnTo>
                    <a:lnTo>
                      <a:pt x="297" y="104"/>
                    </a:lnTo>
                    <a:lnTo>
                      <a:pt x="297" y="104"/>
                    </a:lnTo>
                    <a:lnTo>
                      <a:pt x="297" y="106"/>
                    </a:lnTo>
                    <a:lnTo>
                      <a:pt x="299" y="106"/>
                    </a:lnTo>
                    <a:lnTo>
                      <a:pt x="299" y="108"/>
                    </a:lnTo>
                    <a:lnTo>
                      <a:pt x="301" y="108"/>
                    </a:lnTo>
                    <a:lnTo>
                      <a:pt x="301" y="108"/>
                    </a:lnTo>
                    <a:lnTo>
                      <a:pt x="307" y="114"/>
                    </a:lnTo>
                    <a:lnTo>
                      <a:pt x="307" y="114"/>
                    </a:lnTo>
                    <a:lnTo>
                      <a:pt x="307" y="116"/>
                    </a:lnTo>
                    <a:lnTo>
                      <a:pt x="307" y="116"/>
                    </a:lnTo>
                    <a:lnTo>
                      <a:pt x="307" y="116"/>
                    </a:lnTo>
                    <a:lnTo>
                      <a:pt x="305" y="118"/>
                    </a:lnTo>
                    <a:lnTo>
                      <a:pt x="305" y="118"/>
                    </a:lnTo>
                    <a:lnTo>
                      <a:pt x="305" y="120"/>
                    </a:lnTo>
                    <a:lnTo>
                      <a:pt x="305" y="120"/>
                    </a:lnTo>
                    <a:lnTo>
                      <a:pt x="305" y="120"/>
                    </a:lnTo>
                    <a:lnTo>
                      <a:pt x="307" y="121"/>
                    </a:lnTo>
                    <a:lnTo>
                      <a:pt x="309" y="123"/>
                    </a:lnTo>
                    <a:lnTo>
                      <a:pt x="311" y="123"/>
                    </a:lnTo>
                    <a:lnTo>
                      <a:pt x="311" y="125"/>
                    </a:lnTo>
                    <a:lnTo>
                      <a:pt x="311" y="125"/>
                    </a:lnTo>
                    <a:lnTo>
                      <a:pt x="311" y="127"/>
                    </a:lnTo>
                    <a:lnTo>
                      <a:pt x="311" y="127"/>
                    </a:lnTo>
                    <a:lnTo>
                      <a:pt x="309" y="127"/>
                    </a:lnTo>
                    <a:lnTo>
                      <a:pt x="309" y="129"/>
                    </a:lnTo>
                    <a:lnTo>
                      <a:pt x="307" y="129"/>
                    </a:lnTo>
                    <a:lnTo>
                      <a:pt x="305" y="129"/>
                    </a:lnTo>
                    <a:lnTo>
                      <a:pt x="303" y="129"/>
                    </a:lnTo>
                    <a:lnTo>
                      <a:pt x="299" y="133"/>
                    </a:lnTo>
                    <a:lnTo>
                      <a:pt x="299" y="135"/>
                    </a:lnTo>
                    <a:lnTo>
                      <a:pt x="295" y="135"/>
                    </a:lnTo>
                    <a:lnTo>
                      <a:pt x="293" y="137"/>
                    </a:lnTo>
                    <a:lnTo>
                      <a:pt x="292" y="139"/>
                    </a:lnTo>
                    <a:lnTo>
                      <a:pt x="288" y="144"/>
                    </a:lnTo>
                    <a:lnTo>
                      <a:pt x="284" y="146"/>
                    </a:lnTo>
                    <a:lnTo>
                      <a:pt x="282" y="148"/>
                    </a:lnTo>
                    <a:lnTo>
                      <a:pt x="280" y="150"/>
                    </a:lnTo>
                    <a:lnTo>
                      <a:pt x="278" y="150"/>
                    </a:lnTo>
                    <a:lnTo>
                      <a:pt x="276" y="152"/>
                    </a:lnTo>
                    <a:lnTo>
                      <a:pt x="274" y="154"/>
                    </a:lnTo>
                    <a:lnTo>
                      <a:pt x="272" y="154"/>
                    </a:lnTo>
                    <a:lnTo>
                      <a:pt x="272" y="154"/>
                    </a:lnTo>
                    <a:lnTo>
                      <a:pt x="271" y="154"/>
                    </a:lnTo>
                    <a:lnTo>
                      <a:pt x="271" y="154"/>
                    </a:lnTo>
                    <a:lnTo>
                      <a:pt x="271" y="154"/>
                    </a:lnTo>
                    <a:lnTo>
                      <a:pt x="269" y="156"/>
                    </a:lnTo>
                    <a:lnTo>
                      <a:pt x="265" y="161"/>
                    </a:lnTo>
                    <a:lnTo>
                      <a:pt x="255" y="169"/>
                    </a:lnTo>
                    <a:lnTo>
                      <a:pt x="251" y="171"/>
                    </a:lnTo>
                    <a:lnTo>
                      <a:pt x="251" y="173"/>
                    </a:lnTo>
                    <a:lnTo>
                      <a:pt x="251" y="175"/>
                    </a:lnTo>
                    <a:lnTo>
                      <a:pt x="251" y="175"/>
                    </a:lnTo>
                    <a:lnTo>
                      <a:pt x="251" y="175"/>
                    </a:lnTo>
                    <a:lnTo>
                      <a:pt x="251" y="177"/>
                    </a:lnTo>
                    <a:lnTo>
                      <a:pt x="251" y="179"/>
                    </a:lnTo>
                    <a:lnTo>
                      <a:pt x="250" y="180"/>
                    </a:lnTo>
                    <a:lnTo>
                      <a:pt x="250" y="184"/>
                    </a:lnTo>
                    <a:lnTo>
                      <a:pt x="250" y="184"/>
                    </a:lnTo>
                    <a:lnTo>
                      <a:pt x="248" y="184"/>
                    </a:lnTo>
                    <a:lnTo>
                      <a:pt x="248" y="186"/>
                    </a:lnTo>
                    <a:lnTo>
                      <a:pt x="246" y="186"/>
                    </a:lnTo>
                    <a:lnTo>
                      <a:pt x="246" y="186"/>
                    </a:lnTo>
                    <a:lnTo>
                      <a:pt x="246" y="188"/>
                    </a:lnTo>
                    <a:lnTo>
                      <a:pt x="246" y="188"/>
                    </a:lnTo>
                    <a:lnTo>
                      <a:pt x="246" y="188"/>
                    </a:lnTo>
                    <a:lnTo>
                      <a:pt x="246" y="190"/>
                    </a:lnTo>
                    <a:lnTo>
                      <a:pt x="246" y="190"/>
                    </a:lnTo>
                    <a:lnTo>
                      <a:pt x="248" y="190"/>
                    </a:lnTo>
                    <a:lnTo>
                      <a:pt x="248" y="192"/>
                    </a:lnTo>
                    <a:lnTo>
                      <a:pt x="248" y="192"/>
                    </a:lnTo>
                    <a:lnTo>
                      <a:pt x="248" y="192"/>
                    </a:lnTo>
                    <a:lnTo>
                      <a:pt x="250" y="194"/>
                    </a:lnTo>
                    <a:lnTo>
                      <a:pt x="253" y="196"/>
                    </a:lnTo>
                    <a:lnTo>
                      <a:pt x="255" y="198"/>
                    </a:lnTo>
                    <a:lnTo>
                      <a:pt x="257" y="199"/>
                    </a:lnTo>
                    <a:lnTo>
                      <a:pt x="257" y="199"/>
                    </a:lnTo>
                    <a:lnTo>
                      <a:pt x="257" y="201"/>
                    </a:lnTo>
                    <a:lnTo>
                      <a:pt x="259" y="201"/>
                    </a:lnTo>
                    <a:lnTo>
                      <a:pt x="259" y="205"/>
                    </a:lnTo>
                    <a:lnTo>
                      <a:pt x="261" y="207"/>
                    </a:lnTo>
                    <a:lnTo>
                      <a:pt x="261" y="207"/>
                    </a:lnTo>
                    <a:lnTo>
                      <a:pt x="263" y="209"/>
                    </a:lnTo>
                    <a:lnTo>
                      <a:pt x="265" y="211"/>
                    </a:lnTo>
                    <a:lnTo>
                      <a:pt x="272" y="215"/>
                    </a:lnTo>
                    <a:lnTo>
                      <a:pt x="276" y="218"/>
                    </a:lnTo>
                    <a:lnTo>
                      <a:pt x="278" y="220"/>
                    </a:lnTo>
                    <a:lnTo>
                      <a:pt x="278" y="220"/>
                    </a:lnTo>
                    <a:lnTo>
                      <a:pt x="278" y="224"/>
                    </a:lnTo>
                    <a:lnTo>
                      <a:pt x="280" y="226"/>
                    </a:lnTo>
                    <a:lnTo>
                      <a:pt x="280" y="228"/>
                    </a:lnTo>
                    <a:lnTo>
                      <a:pt x="280" y="228"/>
                    </a:lnTo>
                    <a:lnTo>
                      <a:pt x="278" y="232"/>
                    </a:lnTo>
                    <a:lnTo>
                      <a:pt x="278" y="236"/>
                    </a:lnTo>
                    <a:lnTo>
                      <a:pt x="278" y="238"/>
                    </a:lnTo>
                    <a:lnTo>
                      <a:pt x="278" y="239"/>
                    </a:lnTo>
                    <a:lnTo>
                      <a:pt x="278" y="239"/>
                    </a:lnTo>
                    <a:lnTo>
                      <a:pt x="280" y="239"/>
                    </a:lnTo>
                    <a:lnTo>
                      <a:pt x="280" y="241"/>
                    </a:lnTo>
                    <a:lnTo>
                      <a:pt x="280" y="241"/>
                    </a:lnTo>
                    <a:lnTo>
                      <a:pt x="280" y="243"/>
                    </a:lnTo>
                    <a:lnTo>
                      <a:pt x="280" y="245"/>
                    </a:lnTo>
                    <a:lnTo>
                      <a:pt x="272" y="245"/>
                    </a:lnTo>
                    <a:lnTo>
                      <a:pt x="271" y="243"/>
                    </a:lnTo>
                    <a:lnTo>
                      <a:pt x="271" y="243"/>
                    </a:lnTo>
                    <a:lnTo>
                      <a:pt x="271" y="241"/>
                    </a:lnTo>
                    <a:lnTo>
                      <a:pt x="269" y="241"/>
                    </a:lnTo>
                    <a:lnTo>
                      <a:pt x="267" y="239"/>
                    </a:lnTo>
                    <a:lnTo>
                      <a:pt x="265" y="241"/>
                    </a:lnTo>
                    <a:lnTo>
                      <a:pt x="263" y="243"/>
                    </a:lnTo>
                    <a:lnTo>
                      <a:pt x="257" y="243"/>
                    </a:lnTo>
                    <a:lnTo>
                      <a:pt x="257" y="245"/>
                    </a:lnTo>
                    <a:lnTo>
                      <a:pt x="257" y="245"/>
                    </a:lnTo>
                    <a:lnTo>
                      <a:pt x="257" y="245"/>
                    </a:lnTo>
                    <a:lnTo>
                      <a:pt x="257" y="245"/>
                    </a:lnTo>
                    <a:lnTo>
                      <a:pt x="255" y="247"/>
                    </a:lnTo>
                    <a:lnTo>
                      <a:pt x="255" y="247"/>
                    </a:lnTo>
                    <a:lnTo>
                      <a:pt x="253" y="249"/>
                    </a:lnTo>
                    <a:lnTo>
                      <a:pt x="250" y="251"/>
                    </a:lnTo>
                    <a:lnTo>
                      <a:pt x="246" y="253"/>
                    </a:lnTo>
                    <a:lnTo>
                      <a:pt x="244" y="253"/>
                    </a:lnTo>
                    <a:lnTo>
                      <a:pt x="244" y="253"/>
                    </a:lnTo>
                    <a:lnTo>
                      <a:pt x="244" y="255"/>
                    </a:lnTo>
                    <a:lnTo>
                      <a:pt x="244" y="255"/>
                    </a:lnTo>
                    <a:lnTo>
                      <a:pt x="242" y="255"/>
                    </a:lnTo>
                    <a:lnTo>
                      <a:pt x="242" y="257"/>
                    </a:lnTo>
                    <a:lnTo>
                      <a:pt x="240" y="257"/>
                    </a:lnTo>
                    <a:lnTo>
                      <a:pt x="240" y="257"/>
                    </a:lnTo>
                    <a:lnTo>
                      <a:pt x="240" y="258"/>
                    </a:lnTo>
                    <a:lnTo>
                      <a:pt x="240" y="258"/>
                    </a:lnTo>
                    <a:lnTo>
                      <a:pt x="240" y="258"/>
                    </a:lnTo>
                    <a:lnTo>
                      <a:pt x="242" y="258"/>
                    </a:lnTo>
                    <a:lnTo>
                      <a:pt x="242" y="260"/>
                    </a:lnTo>
                    <a:lnTo>
                      <a:pt x="242" y="260"/>
                    </a:lnTo>
                    <a:lnTo>
                      <a:pt x="244" y="260"/>
                    </a:lnTo>
                    <a:lnTo>
                      <a:pt x="244" y="262"/>
                    </a:lnTo>
                    <a:lnTo>
                      <a:pt x="244" y="262"/>
                    </a:lnTo>
                    <a:lnTo>
                      <a:pt x="244" y="262"/>
                    </a:lnTo>
                    <a:lnTo>
                      <a:pt x="244" y="262"/>
                    </a:lnTo>
                    <a:lnTo>
                      <a:pt x="246" y="262"/>
                    </a:lnTo>
                    <a:lnTo>
                      <a:pt x="246" y="262"/>
                    </a:lnTo>
                    <a:lnTo>
                      <a:pt x="246" y="262"/>
                    </a:lnTo>
                    <a:lnTo>
                      <a:pt x="246" y="262"/>
                    </a:lnTo>
                    <a:lnTo>
                      <a:pt x="248" y="262"/>
                    </a:lnTo>
                    <a:lnTo>
                      <a:pt x="248" y="264"/>
                    </a:lnTo>
                    <a:lnTo>
                      <a:pt x="250" y="266"/>
                    </a:lnTo>
                    <a:lnTo>
                      <a:pt x="250" y="266"/>
                    </a:lnTo>
                    <a:lnTo>
                      <a:pt x="250" y="270"/>
                    </a:lnTo>
                    <a:lnTo>
                      <a:pt x="251" y="272"/>
                    </a:lnTo>
                    <a:lnTo>
                      <a:pt x="251" y="274"/>
                    </a:lnTo>
                    <a:lnTo>
                      <a:pt x="251" y="276"/>
                    </a:lnTo>
                    <a:lnTo>
                      <a:pt x="250" y="279"/>
                    </a:lnTo>
                    <a:lnTo>
                      <a:pt x="246" y="283"/>
                    </a:lnTo>
                    <a:lnTo>
                      <a:pt x="246" y="285"/>
                    </a:lnTo>
                    <a:lnTo>
                      <a:pt x="244" y="287"/>
                    </a:lnTo>
                    <a:lnTo>
                      <a:pt x="244" y="289"/>
                    </a:lnTo>
                    <a:lnTo>
                      <a:pt x="244" y="289"/>
                    </a:lnTo>
                    <a:lnTo>
                      <a:pt x="244" y="291"/>
                    </a:lnTo>
                    <a:lnTo>
                      <a:pt x="244" y="293"/>
                    </a:lnTo>
                    <a:lnTo>
                      <a:pt x="244" y="297"/>
                    </a:lnTo>
                    <a:lnTo>
                      <a:pt x="244" y="297"/>
                    </a:lnTo>
                    <a:lnTo>
                      <a:pt x="244" y="298"/>
                    </a:lnTo>
                    <a:lnTo>
                      <a:pt x="244" y="300"/>
                    </a:lnTo>
                    <a:lnTo>
                      <a:pt x="244" y="300"/>
                    </a:lnTo>
                    <a:lnTo>
                      <a:pt x="246" y="302"/>
                    </a:lnTo>
                    <a:lnTo>
                      <a:pt x="246" y="302"/>
                    </a:lnTo>
                    <a:lnTo>
                      <a:pt x="248" y="302"/>
                    </a:lnTo>
                    <a:lnTo>
                      <a:pt x="251" y="308"/>
                    </a:lnTo>
                    <a:lnTo>
                      <a:pt x="253" y="308"/>
                    </a:lnTo>
                    <a:lnTo>
                      <a:pt x="253" y="310"/>
                    </a:lnTo>
                    <a:lnTo>
                      <a:pt x="255" y="312"/>
                    </a:lnTo>
                    <a:lnTo>
                      <a:pt x="257" y="321"/>
                    </a:lnTo>
                    <a:lnTo>
                      <a:pt x="257" y="325"/>
                    </a:lnTo>
                    <a:lnTo>
                      <a:pt x="257" y="329"/>
                    </a:lnTo>
                    <a:lnTo>
                      <a:pt x="257" y="331"/>
                    </a:lnTo>
                    <a:lnTo>
                      <a:pt x="255" y="333"/>
                    </a:lnTo>
                    <a:lnTo>
                      <a:pt x="255" y="335"/>
                    </a:lnTo>
                    <a:lnTo>
                      <a:pt x="255" y="340"/>
                    </a:lnTo>
                    <a:lnTo>
                      <a:pt x="253" y="342"/>
                    </a:lnTo>
                    <a:lnTo>
                      <a:pt x="253" y="342"/>
                    </a:lnTo>
                    <a:lnTo>
                      <a:pt x="253" y="342"/>
                    </a:lnTo>
                    <a:lnTo>
                      <a:pt x="251" y="342"/>
                    </a:lnTo>
                    <a:lnTo>
                      <a:pt x="251" y="342"/>
                    </a:lnTo>
                    <a:lnTo>
                      <a:pt x="250" y="342"/>
                    </a:lnTo>
                    <a:lnTo>
                      <a:pt x="250" y="342"/>
                    </a:lnTo>
                    <a:lnTo>
                      <a:pt x="248" y="344"/>
                    </a:lnTo>
                    <a:lnTo>
                      <a:pt x="250" y="344"/>
                    </a:lnTo>
                    <a:lnTo>
                      <a:pt x="250" y="346"/>
                    </a:lnTo>
                    <a:lnTo>
                      <a:pt x="250" y="346"/>
                    </a:lnTo>
                    <a:lnTo>
                      <a:pt x="251" y="346"/>
                    </a:lnTo>
                    <a:lnTo>
                      <a:pt x="253" y="348"/>
                    </a:lnTo>
                    <a:lnTo>
                      <a:pt x="255" y="348"/>
                    </a:lnTo>
                    <a:lnTo>
                      <a:pt x="255" y="348"/>
                    </a:lnTo>
                    <a:lnTo>
                      <a:pt x="255" y="350"/>
                    </a:lnTo>
                    <a:lnTo>
                      <a:pt x="257" y="352"/>
                    </a:lnTo>
                    <a:lnTo>
                      <a:pt x="257" y="354"/>
                    </a:lnTo>
                    <a:lnTo>
                      <a:pt x="257" y="355"/>
                    </a:lnTo>
                    <a:lnTo>
                      <a:pt x="257" y="355"/>
                    </a:lnTo>
                    <a:lnTo>
                      <a:pt x="257" y="357"/>
                    </a:lnTo>
                    <a:lnTo>
                      <a:pt x="259" y="357"/>
                    </a:lnTo>
                    <a:lnTo>
                      <a:pt x="259" y="359"/>
                    </a:lnTo>
                    <a:lnTo>
                      <a:pt x="259" y="361"/>
                    </a:lnTo>
                    <a:lnTo>
                      <a:pt x="259" y="361"/>
                    </a:lnTo>
                    <a:lnTo>
                      <a:pt x="257" y="361"/>
                    </a:lnTo>
                    <a:lnTo>
                      <a:pt x="257" y="363"/>
                    </a:lnTo>
                    <a:lnTo>
                      <a:pt x="255" y="363"/>
                    </a:lnTo>
                    <a:lnTo>
                      <a:pt x="257" y="365"/>
                    </a:lnTo>
                    <a:lnTo>
                      <a:pt x="257" y="365"/>
                    </a:lnTo>
                    <a:lnTo>
                      <a:pt x="259" y="365"/>
                    </a:lnTo>
                    <a:lnTo>
                      <a:pt x="259" y="365"/>
                    </a:lnTo>
                    <a:lnTo>
                      <a:pt x="259" y="369"/>
                    </a:lnTo>
                    <a:lnTo>
                      <a:pt x="259" y="369"/>
                    </a:lnTo>
                    <a:lnTo>
                      <a:pt x="257" y="371"/>
                    </a:lnTo>
                    <a:lnTo>
                      <a:pt x="255" y="371"/>
                    </a:lnTo>
                    <a:lnTo>
                      <a:pt x="253" y="371"/>
                    </a:lnTo>
                    <a:lnTo>
                      <a:pt x="251" y="371"/>
                    </a:lnTo>
                    <a:lnTo>
                      <a:pt x="250" y="371"/>
                    </a:lnTo>
                    <a:lnTo>
                      <a:pt x="250" y="371"/>
                    </a:lnTo>
                    <a:lnTo>
                      <a:pt x="248" y="371"/>
                    </a:lnTo>
                    <a:lnTo>
                      <a:pt x="246" y="369"/>
                    </a:lnTo>
                    <a:lnTo>
                      <a:pt x="246" y="369"/>
                    </a:lnTo>
                    <a:lnTo>
                      <a:pt x="244" y="369"/>
                    </a:lnTo>
                    <a:lnTo>
                      <a:pt x="242" y="369"/>
                    </a:lnTo>
                    <a:lnTo>
                      <a:pt x="240" y="369"/>
                    </a:lnTo>
                    <a:lnTo>
                      <a:pt x="242" y="371"/>
                    </a:lnTo>
                    <a:lnTo>
                      <a:pt x="242" y="371"/>
                    </a:lnTo>
                    <a:lnTo>
                      <a:pt x="244" y="373"/>
                    </a:lnTo>
                    <a:lnTo>
                      <a:pt x="246" y="373"/>
                    </a:lnTo>
                    <a:lnTo>
                      <a:pt x="246" y="373"/>
                    </a:lnTo>
                    <a:lnTo>
                      <a:pt x="246" y="375"/>
                    </a:lnTo>
                    <a:lnTo>
                      <a:pt x="246" y="378"/>
                    </a:lnTo>
                    <a:lnTo>
                      <a:pt x="246" y="378"/>
                    </a:lnTo>
                    <a:lnTo>
                      <a:pt x="248" y="380"/>
                    </a:lnTo>
                    <a:lnTo>
                      <a:pt x="248" y="382"/>
                    </a:lnTo>
                    <a:lnTo>
                      <a:pt x="248" y="382"/>
                    </a:lnTo>
                    <a:lnTo>
                      <a:pt x="248" y="384"/>
                    </a:lnTo>
                    <a:lnTo>
                      <a:pt x="246" y="384"/>
                    </a:lnTo>
                    <a:lnTo>
                      <a:pt x="246" y="386"/>
                    </a:lnTo>
                    <a:lnTo>
                      <a:pt x="244" y="386"/>
                    </a:lnTo>
                    <a:lnTo>
                      <a:pt x="244" y="388"/>
                    </a:lnTo>
                    <a:lnTo>
                      <a:pt x="244" y="388"/>
                    </a:lnTo>
                    <a:lnTo>
                      <a:pt x="244" y="390"/>
                    </a:lnTo>
                    <a:lnTo>
                      <a:pt x="244" y="392"/>
                    </a:lnTo>
                    <a:lnTo>
                      <a:pt x="244" y="394"/>
                    </a:lnTo>
                    <a:lnTo>
                      <a:pt x="238" y="405"/>
                    </a:lnTo>
                    <a:lnTo>
                      <a:pt x="236" y="407"/>
                    </a:lnTo>
                    <a:lnTo>
                      <a:pt x="234" y="411"/>
                    </a:lnTo>
                    <a:lnTo>
                      <a:pt x="231" y="413"/>
                    </a:lnTo>
                    <a:lnTo>
                      <a:pt x="229" y="413"/>
                    </a:lnTo>
                    <a:lnTo>
                      <a:pt x="227" y="414"/>
                    </a:lnTo>
                    <a:lnTo>
                      <a:pt x="225" y="416"/>
                    </a:lnTo>
                    <a:lnTo>
                      <a:pt x="225" y="416"/>
                    </a:lnTo>
                    <a:lnTo>
                      <a:pt x="225" y="418"/>
                    </a:lnTo>
                    <a:lnTo>
                      <a:pt x="225" y="420"/>
                    </a:lnTo>
                    <a:lnTo>
                      <a:pt x="225" y="420"/>
                    </a:lnTo>
                    <a:lnTo>
                      <a:pt x="225" y="420"/>
                    </a:lnTo>
                    <a:lnTo>
                      <a:pt x="227" y="420"/>
                    </a:lnTo>
                    <a:lnTo>
                      <a:pt x="227" y="420"/>
                    </a:lnTo>
                    <a:lnTo>
                      <a:pt x="229" y="420"/>
                    </a:lnTo>
                    <a:lnTo>
                      <a:pt x="229" y="422"/>
                    </a:lnTo>
                    <a:lnTo>
                      <a:pt x="231" y="424"/>
                    </a:lnTo>
                    <a:lnTo>
                      <a:pt x="231" y="426"/>
                    </a:lnTo>
                    <a:lnTo>
                      <a:pt x="229" y="426"/>
                    </a:lnTo>
                    <a:lnTo>
                      <a:pt x="227" y="426"/>
                    </a:lnTo>
                    <a:lnTo>
                      <a:pt x="223" y="426"/>
                    </a:lnTo>
                    <a:lnTo>
                      <a:pt x="221" y="426"/>
                    </a:lnTo>
                    <a:lnTo>
                      <a:pt x="221" y="428"/>
                    </a:lnTo>
                    <a:lnTo>
                      <a:pt x="221" y="432"/>
                    </a:lnTo>
                    <a:lnTo>
                      <a:pt x="219" y="432"/>
                    </a:lnTo>
                    <a:lnTo>
                      <a:pt x="219" y="435"/>
                    </a:lnTo>
                    <a:lnTo>
                      <a:pt x="217" y="435"/>
                    </a:lnTo>
                    <a:lnTo>
                      <a:pt x="215" y="435"/>
                    </a:lnTo>
                    <a:lnTo>
                      <a:pt x="213" y="433"/>
                    </a:lnTo>
                    <a:lnTo>
                      <a:pt x="211" y="432"/>
                    </a:lnTo>
                    <a:lnTo>
                      <a:pt x="210" y="432"/>
                    </a:lnTo>
                    <a:lnTo>
                      <a:pt x="210" y="432"/>
                    </a:lnTo>
                    <a:lnTo>
                      <a:pt x="208" y="433"/>
                    </a:lnTo>
                    <a:lnTo>
                      <a:pt x="208" y="433"/>
                    </a:lnTo>
                    <a:lnTo>
                      <a:pt x="208" y="437"/>
                    </a:lnTo>
                    <a:lnTo>
                      <a:pt x="208" y="439"/>
                    </a:lnTo>
                    <a:lnTo>
                      <a:pt x="208" y="443"/>
                    </a:lnTo>
                    <a:lnTo>
                      <a:pt x="208" y="445"/>
                    </a:lnTo>
                    <a:lnTo>
                      <a:pt x="208" y="445"/>
                    </a:lnTo>
                    <a:lnTo>
                      <a:pt x="206" y="447"/>
                    </a:lnTo>
                    <a:lnTo>
                      <a:pt x="204" y="449"/>
                    </a:lnTo>
                    <a:lnTo>
                      <a:pt x="202" y="449"/>
                    </a:lnTo>
                    <a:lnTo>
                      <a:pt x="200" y="449"/>
                    </a:lnTo>
                    <a:lnTo>
                      <a:pt x="196" y="449"/>
                    </a:lnTo>
                    <a:lnTo>
                      <a:pt x="189" y="451"/>
                    </a:lnTo>
                    <a:lnTo>
                      <a:pt x="189" y="451"/>
                    </a:lnTo>
                    <a:lnTo>
                      <a:pt x="189" y="451"/>
                    </a:lnTo>
                    <a:lnTo>
                      <a:pt x="189" y="449"/>
                    </a:lnTo>
                    <a:lnTo>
                      <a:pt x="187" y="447"/>
                    </a:lnTo>
                    <a:lnTo>
                      <a:pt x="187" y="445"/>
                    </a:lnTo>
                    <a:lnTo>
                      <a:pt x="187" y="445"/>
                    </a:lnTo>
                    <a:lnTo>
                      <a:pt x="185" y="443"/>
                    </a:lnTo>
                    <a:lnTo>
                      <a:pt x="185" y="443"/>
                    </a:lnTo>
                    <a:lnTo>
                      <a:pt x="179" y="445"/>
                    </a:lnTo>
                    <a:lnTo>
                      <a:pt x="177" y="445"/>
                    </a:lnTo>
                    <a:lnTo>
                      <a:pt x="175" y="447"/>
                    </a:lnTo>
                    <a:lnTo>
                      <a:pt x="175" y="447"/>
                    </a:lnTo>
                    <a:lnTo>
                      <a:pt x="175" y="449"/>
                    </a:lnTo>
                    <a:lnTo>
                      <a:pt x="177" y="451"/>
                    </a:lnTo>
                    <a:lnTo>
                      <a:pt x="179" y="451"/>
                    </a:lnTo>
                    <a:lnTo>
                      <a:pt x="179" y="453"/>
                    </a:lnTo>
                    <a:lnTo>
                      <a:pt x="179" y="453"/>
                    </a:lnTo>
                    <a:lnTo>
                      <a:pt x="179" y="454"/>
                    </a:lnTo>
                    <a:lnTo>
                      <a:pt x="181" y="456"/>
                    </a:lnTo>
                    <a:lnTo>
                      <a:pt x="183" y="458"/>
                    </a:lnTo>
                    <a:lnTo>
                      <a:pt x="183" y="460"/>
                    </a:lnTo>
                    <a:lnTo>
                      <a:pt x="183" y="460"/>
                    </a:lnTo>
                    <a:lnTo>
                      <a:pt x="181" y="462"/>
                    </a:lnTo>
                    <a:lnTo>
                      <a:pt x="181" y="464"/>
                    </a:lnTo>
                    <a:lnTo>
                      <a:pt x="179" y="464"/>
                    </a:lnTo>
                    <a:lnTo>
                      <a:pt x="179" y="464"/>
                    </a:lnTo>
                    <a:lnTo>
                      <a:pt x="177" y="466"/>
                    </a:lnTo>
                    <a:lnTo>
                      <a:pt x="177" y="468"/>
                    </a:lnTo>
                    <a:lnTo>
                      <a:pt x="177" y="470"/>
                    </a:lnTo>
                    <a:lnTo>
                      <a:pt x="177" y="472"/>
                    </a:lnTo>
                    <a:lnTo>
                      <a:pt x="175" y="472"/>
                    </a:lnTo>
                    <a:lnTo>
                      <a:pt x="175" y="472"/>
                    </a:lnTo>
                    <a:lnTo>
                      <a:pt x="173" y="470"/>
                    </a:lnTo>
                    <a:lnTo>
                      <a:pt x="173" y="470"/>
                    </a:lnTo>
                    <a:lnTo>
                      <a:pt x="171" y="470"/>
                    </a:lnTo>
                    <a:lnTo>
                      <a:pt x="169" y="468"/>
                    </a:lnTo>
                    <a:lnTo>
                      <a:pt x="168" y="468"/>
                    </a:lnTo>
                    <a:lnTo>
                      <a:pt x="166" y="468"/>
                    </a:lnTo>
                    <a:lnTo>
                      <a:pt x="166" y="468"/>
                    </a:lnTo>
                    <a:lnTo>
                      <a:pt x="164" y="468"/>
                    </a:lnTo>
                    <a:lnTo>
                      <a:pt x="164" y="470"/>
                    </a:lnTo>
                    <a:lnTo>
                      <a:pt x="164" y="470"/>
                    </a:lnTo>
                    <a:lnTo>
                      <a:pt x="166" y="472"/>
                    </a:lnTo>
                    <a:lnTo>
                      <a:pt x="168" y="473"/>
                    </a:lnTo>
                    <a:lnTo>
                      <a:pt x="168" y="475"/>
                    </a:lnTo>
                    <a:lnTo>
                      <a:pt x="168" y="475"/>
                    </a:lnTo>
                    <a:lnTo>
                      <a:pt x="168" y="477"/>
                    </a:lnTo>
                    <a:lnTo>
                      <a:pt x="164" y="477"/>
                    </a:lnTo>
                    <a:lnTo>
                      <a:pt x="156" y="477"/>
                    </a:lnTo>
                    <a:lnTo>
                      <a:pt x="154" y="475"/>
                    </a:lnTo>
                    <a:lnTo>
                      <a:pt x="152" y="473"/>
                    </a:lnTo>
                    <a:lnTo>
                      <a:pt x="149" y="470"/>
                    </a:lnTo>
                    <a:lnTo>
                      <a:pt x="149" y="470"/>
                    </a:lnTo>
                    <a:lnTo>
                      <a:pt x="147" y="470"/>
                    </a:lnTo>
                    <a:lnTo>
                      <a:pt x="145" y="470"/>
                    </a:lnTo>
                    <a:lnTo>
                      <a:pt x="141" y="468"/>
                    </a:lnTo>
                    <a:lnTo>
                      <a:pt x="135" y="464"/>
                    </a:lnTo>
                    <a:lnTo>
                      <a:pt x="133" y="464"/>
                    </a:lnTo>
                    <a:lnTo>
                      <a:pt x="131" y="464"/>
                    </a:lnTo>
                    <a:lnTo>
                      <a:pt x="131" y="464"/>
                    </a:lnTo>
                    <a:lnTo>
                      <a:pt x="129" y="464"/>
                    </a:lnTo>
                    <a:lnTo>
                      <a:pt x="129" y="466"/>
                    </a:lnTo>
                    <a:lnTo>
                      <a:pt x="129" y="466"/>
                    </a:lnTo>
                    <a:lnTo>
                      <a:pt x="129" y="468"/>
                    </a:lnTo>
                    <a:lnTo>
                      <a:pt x="129" y="468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4" y="472"/>
                    </a:lnTo>
                    <a:lnTo>
                      <a:pt x="124" y="473"/>
                    </a:lnTo>
                    <a:lnTo>
                      <a:pt x="124" y="475"/>
                    </a:lnTo>
                    <a:lnTo>
                      <a:pt x="124" y="477"/>
                    </a:lnTo>
                    <a:lnTo>
                      <a:pt x="124" y="477"/>
                    </a:lnTo>
                    <a:lnTo>
                      <a:pt x="124" y="479"/>
                    </a:lnTo>
                    <a:lnTo>
                      <a:pt x="124" y="481"/>
                    </a:lnTo>
                    <a:lnTo>
                      <a:pt x="124" y="485"/>
                    </a:lnTo>
                    <a:lnTo>
                      <a:pt x="122" y="489"/>
                    </a:lnTo>
                    <a:lnTo>
                      <a:pt x="118" y="491"/>
                    </a:lnTo>
                    <a:lnTo>
                      <a:pt x="103" y="492"/>
                    </a:lnTo>
                    <a:lnTo>
                      <a:pt x="95" y="494"/>
                    </a:lnTo>
                    <a:lnTo>
                      <a:pt x="89" y="498"/>
                    </a:lnTo>
                    <a:lnTo>
                      <a:pt x="78" y="500"/>
                    </a:lnTo>
                    <a:lnTo>
                      <a:pt x="72" y="504"/>
                    </a:lnTo>
                    <a:lnTo>
                      <a:pt x="68" y="506"/>
                    </a:lnTo>
                    <a:lnTo>
                      <a:pt x="67" y="508"/>
                    </a:lnTo>
                    <a:lnTo>
                      <a:pt x="65" y="510"/>
                    </a:lnTo>
                    <a:lnTo>
                      <a:pt x="65" y="512"/>
                    </a:lnTo>
                    <a:lnTo>
                      <a:pt x="65" y="513"/>
                    </a:lnTo>
                    <a:lnTo>
                      <a:pt x="65" y="515"/>
                    </a:lnTo>
                    <a:lnTo>
                      <a:pt x="65" y="517"/>
                    </a:lnTo>
                    <a:lnTo>
                      <a:pt x="63" y="519"/>
                    </a:lnTo>
                    <a:lnTo>
                      <a:pt x="63" y="519"/>
                    </a:lnTo>
                    <a:lnTo>
                      <a:pt x="63" y="519"/>
                    </a:lnTo>
                    <a:lnTo>
                      <a:pt x="63" y="519"/>
                    </a:lnTo>
                    <a:lnTo>
                      <a:pt x="63" y="519"/>
                    </a:lnTo>
                    <a:lnTo>
                      <a:pt x="63" y="521"/>
                    </a:lnTo>
                    <a:lnTo>
                      <a:pt x="61" y="521"/>
                    </a:lnTo>
                    <a:lnTo>
                      <a:pt x="59" y="523"/>
                    </a:lnTo>
                    <a:lnTo>
                      <a:pt x="55" y="527"/>
                    </a:lnTo>
                    <a:lnTo>
                      <a:pt x="51" y="527"/>
                    </a:lnTo>
                    <a:lnTo>
                      <a:pt x="49" y="527"/>
                    </a:lnTo>
                    <a:lnTo>
                      <a:pt x="47" y="527"/>
                    </a:lnTo>
                    <a:lnTo>
                      <a:pt x="47" y="525"/>
                    </a:lnTo>
                    <a:lnTo>
                      <a:pt x="44" y="523"/>
                    </a:lnTo>
                    <a:lnTo>
                      <a:pt x="42" y="521"/>
                    </a:lnTo>
                    <a:lnTo>
                      <a:pt x="40" y="521"/>
                    </a:lnTo>
                    <a:lnTo>
                      <a:pt x="38" y="521"/>
                    </a:lnTo>
                    <a:lnTo>
                      <a:pt x="38" y="521"/>
                    </a:lnTo>
                    <a:lnTo>
                      <a:pt x="36" y="519"/>
                    </a:lnTo>
                    <a:lnTo>
                      <a:pt x="36" y="519"/>
                    </a:lnTo>
                    <a:lnTo>
                      <a:pt x="36" y="519"/>
                    </a:lnTo>
                    <a:lnTo>
                      <a:pt x="36" y="517"/>
                    </a:lnTo>
                    <a:lnTo>
                      <a:pt x="38" y="512"/>
                    </a:lnTo>
                    <a:lnTo>
                      <a:pt x="38" y="510"/>
                    </a:lnTo>
                    <a:lnTo>
                      <a:pt x="34" y="510"/>
                    </a:lnTo>
                    <a:lnTo>
                      <a:pt x="28" y="506"/>
                    </a:lnTo>
                    <a:lnTo>
                      <a:pt x="26" y="506"/>
                    </a:lnTo>
                    <a:lnTo>
                      <a:pt x="25" y="506"/>
                    </a:lnTo>
                    <a:lnTo>
                      <a:pt x="23" y="506"/>
                    </a:lnTo>
                    <a:lnTo>
                      <a:pt x="23" y="508"/>
                    </a:lnTo>
                    <a:lnTo>
                      <a:pt x="21" y="508"/>
                    </a:lnTo>
                    <a:lnTo>
                      <a:pt x="21" y="510"/>
                    </a:lnTo>
                    <a:lnTo>
                      <a:pt x="21" y="510"/>
                    </a:lnTo>
                    <a:lnTo>
                      <a:pt x="23" y="513"/>
                    </a:lnTo>
                    <a:lnTo>
                      <a:pt x="23" y="515"/>
                    </a:lnTo>
                    <a:lnTo>
                      <a:pt x="23" y="517"/>
                    </a:lnTo>
                    <a:lnTo>
                      <a:pt x="23" y="517"/>
                    </a:lnTo>
                    <a:lnTo>
                      <a:pt x="21" y="517"/>
                    </a:lnTo>
                    <a:lnTo>
                      <a:pt x="15" y="519"/>
                    </a:lnTo>
                    <a:lnTo>
                      <a:pt x="11" y="519"/>
                    </a:lnTo>
                    <a:lnTo>
                      <a:pt x="9" y="519"/>
                    </a:lnTo>
                    <a:lnTo>
                      <a:pt x="2" y="521"/>
                    </a:lnTo>
                    <a:lnTo>
                      <a:pt x="0" y="521"/>
                    </a:lnTo>
                    <a:lnTo>
                      <a:pt x="0" y="523"/>
                    </a:lnTo>
                    <a:lnTo>
                      <a:pt x="0" y="523"/>
                    </a:lnTo>
                    <a:lnTo>
                      <a:pt x="0" y="527"/>
                    </a:lnTo>
                    <a:lnTo>
                      <a:pt x="0" y="527"/>
                    </a:lnTo>
                    <a:lnTo>
                      <a:pt x="2" y="529"/>
                    </a:lnTo>
                    <a:lnTo>
                      <a:pt x="2" y="529"/>
                    </a:lnTo>
                    <a:lnTo>
                      <a:pt x="2" y="531"/>
                    </a:lnTo>
                    <a:lnTo>
                      <a:pt x="5" y="529"/>
                    </a:lnTo>
                    <a:lnTo>
                      <a:pt x="7" y="531"/>
                    </a:lnTo>
                    <a:lnTo>
                      <a:pt x="7" y="531"/>
                    </a:lnTo>
                    <a:lnTo>
                      <a:pt x="7" y="532"/>
                    </a:lnTo>
                    <a:lnTo>
                      <a:pt x="7" y="532"/>
                    </a:lnTo>
                    <a:lnTo>
                      <a:pt x="7" y="534"/>
                    </a:lnTo>
                    <a:lnTo>
                      <a:pt x="7" y="538"/>
                    </a:lnTo>
                    <a:lnTo>
                      <a:pt x="5" y="540"/>
                    </a:lnTo>
                    <a:lnTo>
                      <a:pt x="5" y="540"/>
                    </a:lnTo>
                    <a:lnTo>
                      <a:pt x="4" y="542"/>
                    </a:lnTo>
                    <a:lnTo>
                      <a:pt x="2" y="546"/>
                    </a:lnTo>
                    <a:lnTo>
                      <a:pt x="0" y="550"/>
                    </a:lnTo>
                    <a:lnTo>
                      <a:pt x="0" y="551"/>
                    </a:lnTo>
                    <a:lnTo>
                      <a:pt x="2" y="555"/>
                    </a:lnTo>
                    <a:lnTo>
                      <a:pt x="5" y="559"/>
                    </a:lnTo>
                    <a:lnTo>
                      <a:pt x="5" y="563"/>
                    </a:lnTo>
                    <a:lnTo>
                      <a:pt x="5" y="563"/>
                    </a:lnTo>
                    <a:lnTo>
                      <a:pt x="7" y="565"/>
                    </a:lnTo>
                    <a:lnTo>
                      <a:pt x="7" y="565"/>
                    </a:lnTo>
                    <a:lnTo>
                      <a:pt x="9" y="565"/>
                    </a:lnTo>
                    <a:lnTo>
                      <a:pt x="15" y="563"/>
                    </a:lnTo>
                    <a:lnTo>
                      <a:pt x="17" y="563"/>
                    </a:lnTo>
                    <a:lnTo>
                      <a:pt x="19" y="565"/>
                    </a:lnTo>
                    <a:lnTo>
                      <a:pt x="21" y="565"/>
                    </a:lnTo>
                    <a:lnTo>
                      <a:pt x="25" y="567"/>
                    </a:lnTo>
                    <a:lnTo>
                      <a:pt x="40" y="584"/>
                    </a:lnTo>
                    <a:lnTo>
                      <a:pt x="42" y="586"/>
                    </a:lnTo>
                    <a:lnTo>
                      <a:pt x="44" y="588"/>
                    </a:lnTo>
                    <a:lnTo>
                      <a:pt x="46" y="586"/>
                    </a:lnTo>
                    <a:lnTo>
                      <a:pt x="47" y="586"/>
                    </a:lnTo>
                    <a:lnTo>
                      <a:pt x="49" y="586"/>
                    </a:lnTo>
                    <a:lnTo>
                      <a:pt x="53" y="586"/>
                    </a:lnTo>
                    <a:lnTo>
                      <a:pt x="61" y="586"/>
                    </a:lnTo>
                    <a:lnTo>
                      <a:pt x="78" y="588"/>
                    </a:lnTo>
                    <a:lnTo>
                      <a:pt x="80" y="588"/>
                    </a:lnTo>
                    <a:lnTo>
                      <a:pt x="80" y="588"/>
                    </a:lnTo>
                    <a:lnTo>
                      <a:pt x="80" y="588"/>
                    </a:lnTo>
                    <a:lnTo>
                      <a:pt x="80" y="588"/>
                    </a:lnTo>
                    <a:lnTo>
                      <a:pt x="80" y="588"/>
                    </a:lnTo>
                    <a:lnTo>
                      <a:pt x="82" y="588"/>
                    </a:lnTo>
                    <a:lnTo>
                      <a:pt x="84" y="588"/>
                    </a:lnTo>
                    <a:lnTo>
                      <a:pt x="84" y="590"/>
                    </a:lnTo>
                    <a:lnTo>
                      <a:pt x="86" y="590"/>
                    </a:lnTo>
                    <a:lnTo>
                      <a:pt x="86" y="590"/>
                    </a:lnTo>
                    <a:lnTo>
                      <a:pt x="84" y="591"/>
                    </a:lnTo>
                    <a:lnTo>
                      <a:pt x="84" y="591"/>
                    </a:lnTo>
                    <a:lnTo>
                      <a:pt x="82" y="591"/>
                    </a:lnTo>
                    <a:lnTo>
                      <a:pt x="80" y="591"/>
                    </a:lnTo>
                    <a:lnTo>
                      <a:pt x="78" y="591"/>
                    </a:lnTo>
                    <a:lnTo>
                      <a:pt x="76" y="593"/>
                    </a:lnTo>
                    <a:lnTo>
                      <a:pt x="74" y="595"/>
                    </a:lnTo>
                    <a:lnTo>
                      <a:pt x="72" y="597"/>
                    </a:lnTo>
                    <a:lnTo>
                      <a:pt x="72" y="597"/>
                    </a:lnTo>
                    <a:lnTo>
                      <a:pt x="74" y="599"/>
                    </a:lnTo>
                    <a:lnTo>
                      <a:pt x="74" y="601"/>
                    </a:lnTo>
                    <a:lnTo>
                      <a:pt x="72" y="603"/>
                    </a:lnTo>
                    <a:lnTo>
                      <a:pt x="72" y="605"/>
                    </a:lnTo>
                    <a:lnTo>
                      <a:pt x="72" y="607"/>
                    </a:lnTo>
                    <a:lnTo>
                      <a:pt x="72" y="609"/>
                    </a:lnTo>
                    <a:lnTo>
                      <a:pt x="70" y="612"/>
                    </a:lnTo>
                    <a:lnTo>
                      <a:pt x="70" y="614"/>
                    </a:lnTo>
                    <a:lnTo>
                      <a:pt x="72" y="616"/>
                    </a:lnTo>
                    <a:lnTo>
                      <a:pt x="78" y="622"/>
                    </a:lnTo>
                    <a:lnTo>
                      <a:pt x="80" y="622"/>
                    </a:lnTo>
                    <a:lnTo>
                      <a:pt x="82" y="622"/>
                    </a:lnTo>
                    <a:lnTo>
                      <a:pt x="84" y="622"/>
                    </a:lnTo>
                    <a:lnTo>
                      <a:pt x="84" y="622"/>
                    </a:lnTo>
                    <a:lnTo>
                      <a:pt x="87" y="624"/>
                    </a:lnTo>
                    <a:lnTo>
                      <a:pt x="95" y="631"/>
                    </a:lnTo>
                    <a:lnTo>
                      <a:pt x="95" y="637"/>
                    </a:lnTo>
                    <a:lnTo>
                      <a:pt x="97" y="639"/>
                    </a:lnTo>
                    <a:lnTo>
                      <a:pt x="99" y="641"/>
                    </a:lnTo>
                    <a:lnTo>
                      <a:pt x="99" y="643"/>
                    </a:lnTo>
                    <a:lnTo>
                      <a:pt x="101" y="643"/>
                    </a:lnTo>
                    <a:lnTo>
                      <a:pt x="107" y="643"/>
                    </a:lnTo>
                    <a:lnTo>
                      <a:pt x="110" y="645"/>
                    </a:lnTo>
                    <a:lnTo>
                      <a:pt x="112" y="647"/>
                    </a:lnTo>
                    <a:lnTo>
                      <a:pt x="114" y="648"/>
                    </a:lnTo>
                    <a:lnTo>
                      <a:pt x="116" y="648"/>
                    </a:lnTo>
                    <a:lnTo>
                      <a:pt x="116" y="652"/>
                    </a:lnTo>
                    <a:lnTo>
                      <a:pt x="116" y="652"/>
                    </a:lnTo>
                    <a:lnTo>
                      <a:pt x="116" y="654"/>
                    </a:lnTo>
                    <a:lnTo>
                      <a:pt x="116" y="654"/>
                    </a:lnTo>
                    <a:lnTo>
                      <a:pt x="116" y="654"/>
                    </a:lnTo>
                    <a:lnTo>
                      <a:pt x="114" y="656"/>
                    </a:lnTo>
                    <a:lnTo>
                      <a:pt x="112" y="654"/>
                    </a:lnTo>
                    <a:lnTo>
                      <a:pt x="110" y="654"/>
                    </a:lnTo>
                    <a:lnTo>
                      <a:pt x="110" y="656"/>
                    </a:lnTo>
                    <a:lnTo>
                      <a:pt x="110" y="656"/>
                    </a:lnTo>
                    <a:lnTo>
                      <a:pt x="110" y="656"/>
                    </a:lnTo>
                    <a:lnTo>
                      <a:pt x="110" y="656"/>
                    </a:lnTo>
                    <a:lnTo>
                      <a:pt x="110" y="656"/>
                    </a:lnTo>
                    <a:lnTo>
                      <a:pt x="110" y="658"/>
                    </a:lnTo>
                    <a:lnTo>
                      <a:pt x="112" y="660"/>
                    </a:lnTo>
                    <a:lnTo>
                      <a:pt x="112" y="660"/>
                    </a:lnTo>
                    <a:lnTo>
                      <a:pt x="112" y="662"/>
                    </a:lnTo>
                    <a:lnTo>
                      <a:pt x="116" y="664"/>
                    </a:lnTo>
                    <a:lnTo>
                      <a:pt x="118" y="666"/>
                    </a:lnTo>
                    <a:lnTo>
                      <a:pt x="120" y="668"/>
                    </a:lnTo>
                    <a:lnTo>
                      <a:pt x="122" y="669"/>
                    </a:lnTo>
                    <a:lnTo>
                      <a:pt x="122" y="673"/>
                    </a:lnTo>
                    <a:lnTo>
                      <a:pt x="122" y="675"/>
                    </a:lnTo>
                    <a:lnTo>
                      <a:pt x="124" y="677"/>
                    </a:lnTo>
                    <a:lnTo>
                      <a:pt x="126" y="679"/>
                    </a:lnTo>
                    <a:lnTo>
                      <a:pt x="128" y="681"/>
                    </a:lnTo>
                    <a:lnTo>
                      <a:pt x="128" y="683"/>
                    </a:lnTo>
                    <a:lnTo>
                      <a:pt x="128" y="683"/>
                    </a:lnTo>
                    <a:lnTo>
                      <a:pt x="126" y="685"/>
                    </a:lnTo>
                    <a:lnTo>
                      <a:pt x="122" y="685"/>
                    </a:lnTo>
                    <a:lnTo>
                      <a:pt x="120" y="685"/>
                    </a:lnTo>
                    <a:lnTo>
                      <a:pt x="118" y="685"/>
                    </a:lnTo>
                    <a:lnTo>
                      <a:pt x="118" y="687"/>
                    </a:lnTo>
                    <a:lnTo>
                      <a:pt x="118" y="688"/>
                    </a:lnTo>
                    <a:lnTo>
                      <a:pt x="118" y="690"/>
                    </a:lnTo>
                    <a:lnTo>
                      <a:pt x="116" y="690"/>
                    </a:lnTo>
                    <a:lnTo>
                      <a:pt x="116" y="690"/>
                    </a:lnTo>
                    <a:lnTo>
                      <a:pt x="114" y="690"/>
                    </a:lnTo>
                    <a:lnTo>
                      <a:pt x="112" y="690"/>
                    </a:lnTo>
                    <a:lnTo>
                      <a:pt x="112" y="690"/>
                    </a:lnTo>
                    <a:lnTo>
                      <a:pt x="110" y="692"/>
                    </a:lnTo>
                    <a:lnTo>
                      <a:pt x="108" y="692"/>
                    </a:lnTo>
                    <a:lnTo>
                      <a:pt x="107" y="694"/>
                    </a:lnTo>
                    <a:lnTo>
                      <a:pt x="110" y="698"/>
                    </a:lnTo>
                    <a:lnTo>
                      <a:pt x="110" y="698"/>
                    </a:lnTo>
                    <a:lnTo>
                      <a:pt x="112" y="700"/>
                    </a:lnTo>
                    <a:lnTo>
                      <a:pt x="116" y="700"/>
                    </a:lnTo>
                    <a:lnTo>
                      <a:pt x="118" y="700"/>
                    </a:lnTo>
                    <a:lnTo>
                      <a:pt x="120" y="702"/>
                    </a:lnTo>
                    <a:lnTo>
                      <a:pt x="126" y="707"/>
                    </a:lnTo>
                    <a:lnTo>
                      <a:pt x="128" y="707"/>
                    </a:lnTo>
                    <a:lnTo>
                      <a:pt x="129" y="707"/>
                    </a:lnTo>
                    <a:lnTo>
                      <a:pt x="131" y="707"/>
                    </a:lnTo>
                    <a:lnTo>
                      <a:pt x="133" y="707"/>
                    </a:lnTo>
                    <a:lnTo>
                      <a:pt x="139" y="709"/>
                    </a:lnTo>
                    <a:lnTo>
                      <a:pt x="143" y="713"/>
                    </a:lnTo>
                    <a:lnTo>
                      <a:pt x="145" y="713"/>
                    </a:lnTo>
                    <a:lnTo>
                      <a:pt x="147" y="715"/>
                    </a:lnTo>
                    <a:lnTo>
                      <a:pt x="147" y="717"/>
                    </a:lnTo>
                    <a:lnTo>
                      <a:pt x="147" y="717"/>
                    </a:lnTo>
                    <a:lnTo>
                      <a:pt x="147" y="719"/>
                    </a:lnTo>
                    <a:lnTo>
                      <a:pt x="147" y="721"/>
                    </a:lnTo>
                    <a:lnTo>
                      <a:pt x="147" y="723"/>
                    </a:lnTo>
                    <a:lnTo>
                      <a:pt x="147" y="723"/>
                    </a:lnTo>
                    <a:lnTo>
                      <a:pt x="147" y="726"/>
                    </a:lnTo>
                    <a:lnTo>
                      <a:pt x="147" y="728"/>
                    </a:lnTo>
                    <a:lnTo>
                      <a:pt x="147" y="732"/>
                    </a:lnTo>
                    <a:lnTo>
                      <a:pt x="150" y="736"/>
                    </a:lnTo>
                    <a:lnTo>
                      <a:pt x="152" y="736"/>
                    </a:lnTo>
                    <a:lnTo>
                      <a:pt x="154" y="736"/>
                    </a:lnTo>
                    <a:lnTo>
                      <a:pt x="154" y="734"/>
                    </a:lnTo>
                    <a:lnTo>
                      <a:pt x="156" y="732"/>
                    </a:lnTo>
                    <a:lnTo>
                      <a:pt x="156" y="732"/>
                    </a:lnTo>
                    <a:lnTo>
                      <a:pt x="158" y="732"/>
                    </a:lnTo>
                    <a:lnTo>
                      <a:pt x="158" y="730"/>
                    </a:lnTo>
                    <a:lnTo>
                      <a:pt x="160" y="730"/>
                    </a:lnTo>
                    <a:lnTo>
                      <a:pt x="160" y="728"/>
                    </a:lnTo>
                    <a:lnTo>
                      <a:pt x="162" y="726"/>
                    </a:lnTo>
                    <a:lnTo>
                      <a:pt x="162" y="726"/>
                    </a:lnTo>
                    <a:lnTo>
                      <a:pt x="164" y="726"/>
                    </a:lnTo>
                    <a:lnTo>
                      <a:pt x="166" y="726"/>
                    </a:lnTo>
                    <a:lnTo>
                      <a:pt x="171" y="728"/>
                    </a:lnTo>
                    <a:lnTo>
                      <a:pt x="173" y="730"/>
                    </a:lnTo>
                    <a:lnTo>
                      <a:pt x="173" y="734"/>
                    </a:lnTo>
                    <a:lnTo>
                      <a:pt x="175" y="738"/>
                    </a:lnTo>
                    <a:lnTo>
                      <a:pt x="175" y="742"/>
                    </a:lnTo>
                    <a:lnTo>
                      <a:pt x="175" y="744"/>
                    </a:lnTo>
                    <a:lnTo>
                      <a:pt x="177" y="746"/>
                    </a:lnTo>
                    <a:lnTo>
                      <a:pt x="179" y="747"/>
                    </a:lnTo>
                    <a:lnTo>
                      <a:pt x="181" y="747"/>
                    </a:lnTo>
                    <a:lnTo>
                      <a:pt x="198" y="751"/>
                    </a:lnTo>
                    <a:lnTo>
                      <a:pt x="200" y="753"/>
                    </a:lnTo>
                    <a:lnTo>
                      <a:pt x="200" y="755"/>
                    </a:lnTo>
                    <a:lnTo>
                      <a:pt x="200" y="757"/>
                    </a:lnTo>
                    <a:lnTo>
                      <a:pt x="200" y="761"/>
                    </a:lnTo>
                    <a:lnTo>
                      <a:pt x="200" y="763"/>
                    </a:lnTo>
                    <a:lnTo>
                      <a:pt x="200" y="765"/>
                    </a:lnTo>
                    <a:lnTo>
                      <a:pt x="202" y="766"/>
                    </a:lnTo>
                    <a:lnTo>
                      <a:pt x="206" y="772"/>
                    </a:lnTo>
                    <a:lnTo>
                      <a:pt x="206" y="776"/>
                    </a:lnTo>
                    <a:lnTo>
                      <a:pt x="225" y="770"/>
                    </a:lnTo>
                    <a:lnTo>
                      <a:pt x="227" y="770"/>
                    </a:lnTo>
                    <a:lnTo>
                      <a:pt x="232" y="770"/>
                    </a:lnTo>
                    <a:lnTo>
                      <a:pt x="234" y="770"/>
                    </a:lnTo>
                    <a:lnTo>
                      <a:pt x="242" y="765"/>
                    </a:lnTo>
                    <a:lnTo>
                      <a:pt x="251" y="759"/>
                    </a:lnTo>
                    <a:lnTo>
                      <a:pt x="255" y="757"/>
                    </a:lnTo>
                    <a:lnTo>
                      <a:pt x="259" y="753"/>
                    </a:lnTo>
                    <a:lnTo>
                      <a:pt x="259" y="753"/>
                    </a:lnTo>
                    <a:lnTo>
                      <a:pt x="259" y="751"/>
                    </a:lnTo>
                    <a:lnTo>
                      <a:pt x="259" y="751"/>
                    </a:lnTo>
                    <a:lnTo>
                      <a:pt x="259" y="751"/>
                    </a:lnTo>
                    <a:lnTo>
                      <a:pt x="261" y="749"/>
                    </a:lnTo>
                    <a:lnTo>
                      <a:pt x="265" y="747"/>
                    </a:lnTo>
                    <a:lnTo>
                      <a:pt x="267" y="746"/>
                    </a:lnTo>
                    <a:lnTo>
                      <a:pt x="269" y="746"/>
                    </a:lnTo>
                    <a:lnTo>
                      <a:pt x="271" y="744"/>
                    </a:lnTo>
                    <a:lnTo>
                      <a:pt x="276" y="728"/>
                    </a:lnTo>
                    <a:lnTo>
                      <a:pt x="278" y="726"/>
                    </a:lnTo>
                    <a:lnTo>
                      <a:pt x="278" y="725"/>
                    </a:lnTo>
                    <a:lnTo>
                      <a:pt x="278" y="725"/>
                    </a:lnTo>
                    <a:lnTo>
                      <a:pt x="278" y="723"/>
                    </a:lnTo>
                    <a:lnTo>
                      <a:pt x="278" y="721"/>
                    </a:lnTo>
                    <a:lnTo>
                      <a:pt x="278" y="721"/>
                    </a:lnTo>
                    <a:lnTo>
                      <a:pt x="282" y="721"/>
                    </a:lnTo>
                    <a:lnTo>
                      <a:pt x="286" y="719"/>
                    </a:lnTo>
                    <a:lnTo>
                      <a:pt x="290" y="715"/>
                    </a:lnTo>
                    <a:lnTo>
                      <a:pt x="293" y="711"/>
                    </a:lnTo>
                    <a:lnTo>
                      <a:pt x="293" y="707"/>
                    </a:lnTo>
                    <a:lnTo>
                      <a:pt x="292" y="702"/>
                    </a:lnTo>
                    <a:lnTo>
                      <a:pt x="290" y="700"/>
                    </a:lnTo>
                    <a:lnTo>
                      <a:pt x="284" y="698"/>
                    </a:lnTo>
                    <a:lnTo>
                      <a:pt x="280" y="696"/>
                    </a:lnTo>
                    <a:lnTo>
                      <a:pt x="276" y="696"/>
                    </a:lnTo>
                    <a:lnTo>
                      <a:pt x="272" y="696"/>
                    </a:lnTo>
                    <a:lnTo>
                      <a:pt x="271" y="694"/>
                    </a:lnTo>
                    <a:lnTo>
                      <a:pt x="269" y="690"/>
                    </a:lnTo>
                    <a:lnTo>
                      <a:pt x="267" y="688"/>
                    </a:lnTo>
                    <a:lnTo>
                      <a:pt x="265" y="687"/>
                    </a:lnTo>
                    <a:lnTo>
                      <a:pt x="265" y="675"/>
                    </a:lnTo>
                    <a:lnTo>
                      <a:pt x="263" y="669"/>
                    </a:lnTo>
                    <a:lnTo>
                      <a:pt x="261" y="666"/>
                    </a:lnTo>
                    <a:lnTo>
                      <a:pt x="261" y="666"/>
                    </a:lnTo>
                    <a:lnTo>
                      <a:pt x="263" y="666"/>
                    </a:lnTo>
                    <a:lnTo>
                      <a:pt x="265" y="668"/>
                    </a:lnTo>
                    <a:lnTo>
                      <a:pt x="265" y="669"/>
                    </a:lnTo>
                    <a:lnTo>
                      <a:pt x="265" y="673"/>
                    </a:lnTo>
                    <a:lnTo>
                      <a:pt x="267" y="675"/>
                    </a:lnTo>
                    <a:lnTo>
                      <a:pt x="269" y="681"/>
                    </a:lnTo>
                    <a:lnTo>
                      <a:pt x="269" y="683"/>
                    </a:lnTo>
                    <a:lnTo>
                      <a:pt x="269" y="685"/>
                    </a:lnTo>
                    <a:lnTo>
                      <a:pt x="271" y="687"/>
                    </a:lnTo>
                    <a:lnTo>
                      <a:pt x="272" y="690"/>
                    </a:lnTo>
                    <a:lnTo>
                      <a:pt x="276" y="692"/>
                    </a:lnTo>
                    <a:lnTo>
                      <a:pt x="278" y="692"/>
                    </a:lnTo>
                    <a:lnTo>
                      <a:pt x="280" y="692"/>
                    </a:lnTo>
                    <a:lnTo>
                      <a:pt x="282" y="690"/>
                    </a:lnTo>
                    <a:lnTo>
                      <a:pt x="282" y="694"/>
                    </a:lnTo>
                    <a:lnTo>
                      <a:pt x="288" y="696"/>
                    </a:lnTo>
                    <a:lnTo>
                      <a:pt x="293" y="698"/>
                    </a:lnTo>
                    <a:lnTo>
                      <a:pt x="297" y="700"/>
                    </a:lnTo>
                    <a:lnTo>
                      <a:pt x="297" y="702"/>
                    </a:lnTo>
                    <a:lnTo>
                      <a:pt x="299" y="709"/>
                    </a:lnTo>
                    <a:lnTo>
                      <a:pt x="301" y="713"/>
                    </a:lnTo>
                    <a:lnTo>
                      <a:pt x="297" y="715"/>
                    </a:lnTo>
                    <a:lnTo>
                      <a:pt x="293" y="723"/>
                    </a:lnTo>
                    <a:lnTo>
                      <a:pt x="292" y="725"/>
                    </a:lnTo>
                    <a:lnTo>
                      <a:pt x="292" y="726"/>
                    </a:lnTo>
                    <a:lnTo>
                      <a:pt x="292" y="728"/>
                    </a:lnTo>
                    <a:lnTo>
                      <a:pt x="292" y="736"/>
                    </a:lnTo>
                    <a:lnTo>
                      <a:pt x="292" y="736"/>
                    </a:lnTo>
                    <a:lnTo>
                      <a:pt x="292" y="738"/>
                    </a:lnTo>
                    <a:lnTo>
                      <a:pt x="297" y="749"/>
                    </a:lnTo>
                    <a:lnTo>
                      <a:pt x="299" y="751"/>
                    </a:lnTo>
                    <a:lnTo>
                      <a:pt x="297" y="753"/>
                    </a:lnTo>
                    <a:lnTo>
                      <a:pt x="299" y="757"/>
                    </a:lnTo>
                    <a:lnTo>
                      <a:pt x="297" y="761"/>
                    </a:lnTo>
                    <a:lnTo>
                      <a:pt x="295" y="763"/>
                    </a:lnTo>
                    <a:lnTo>
                      <a:pt x="295" y="766"/>
                    </a:lnTo>
                    <a:lnTo>
                      <a:pt x="295" y="768"/>
                    </a:lnTo>
                    <a:lnTo>
                      <a:pt x="295" y="772"/>
                    </a:lnTo>
                    <a:lnTo>
                      <a:pt x="299" y="776"/>
                    </a:lnTo>
                    <a:lnTo>
                      <a:pt x="301" y="776"/>
                    </a:lnTo>
                    <a:lnTo>
                      <a:pt x="301" y="776"/>
                    </a:lnTo>
                    <a:lnTo>
                      <a:pt x="303" y="780"/>
                    </a:lnTo>
                    <a:lnTo>
                      <a:pt x="303" y="784"/>
                    </a:lnTo>
                    <a:lnTo>
                      <a:pt x="305" y="784"/>
                    </a:lnTo>
                    <a:lnTo>
                      <a:pt x="305" y="784"/>
                    </a:lnTo>
                    <a:lnTo>
                      <a:pt x="307" y="784"/>
                    </a:lnTo>
                    <a:lnTo>
                      <a:pt x="309" y="784"/>
                    </a:lnTo>
                    <a:lnTo>
                      <a:pt x="309" y="782"/>
                    </a:lnTo>
                    <a:lnTo>
                      <a:pt x="311" y="782"/>
                    </a:lnTo>
                    <a:lnTo>
                      <a:pt x="311" y="782"/>
                    </a:lnTo>
                    <a:lnTo>
                      <a:pt x="311" y="780"/>
                    </a:lnTo>
                    <a:lnTo>
                      <a:pt x="311" y="778"/>
                    </a:lnTo>
                    <a:lnTo>
                      <a:pt x="309" y="778"/>
                    </a:lnTo>
                    <a:lnTo>
                      <a:pt x="309" y="776"/>
                    </a:lnTo>
                    <a:lnTo>
                      <a:pt x="309" y="774"/>
                    </a:lnTo>
                    <a:lnTo>
                      <a:pt x="309" y="772"/>
                    </a:lnTo>
                    <a:lnTo>
                      <a:pt x="309" y="770"/>
                    </a:lnTo>
                    <a:lnTo>
                      <a:pt x="309" y="766"/>
                    </a:lnTo>
                    <a:lnTo>
                      <a:pt x="305" y="753"/>
                    </a:lnTo>
                    <a:lnTo>
                      <a:pt x="305" y="751"/>
                    </a:lnTo>
                    <a:lnTo>
                      <a:pt x="307" y="751"/>
                    </a:lnTo>
                    <a:lnTo>
                      <a:pt x="309" y="753"/>
                    </a:lnTo>
                    <a:lnTo>
                      <a:pt x="309" y="755"/>
                    </a:lnTo>
                    <a:lnTo>
                      <a:pt x="311" y="757"/>
                    </a:lnTo>
                    <a:lnTo>
                      <a:pt x="311" y="772"/>
                    </a:lnTo>
                    <a:lnTo>
                      <a:pt x="311" y="776"/>
                    </a:lnTo>
                    <a:lnTo>
                      <a:pt x="313" y="776"/>
                    </a:lnTo>
                    <a:lnTo>
                      <a:pt x="314" y="774"/>
                    </a:lnTo>
                    <a:lnTo>
                      <a:pt x="316" y="772"/>
                    </a:lnTo>
                    <a:lnTo>
                      <a:pt x="316" y="770"/>
                    </a:lnTo>
                    <a:lnTo>
                      <a:pt x="316" y="768"/>
                    </a:lnTo>
                    <a:lnTo>
                      <a:pt x="316" y="768"/>
                    </a:lnTo>
                    <a:lnTo>
                      <a:pt x="313" y="765"/>
                    </a:lnTo>
                    <a:lnTo>
                      <a:pt x="313" y="763"/>
                    </a:lnTo>
                    <a:lnTo>
                      <a:pt x="313" y="763"/>
                    </a:lnTo>
                    <a:lnTo>
                      <a:pt x="314" y="761"/>
                    </a:lnTo>
                    <a:lnTo>
                      <a:pt x="314" y="763"/>
                    </a:lnTo>
                    <a:lnTo>
                      <a:pt x="314" y="765"/>
                    </a:lnTo>
                    <a:lnTo>
                      <a:pt x="316" y="765"/>
                    </a:lnTo>
                    <a:lnTo>
                      <a:pt x="316" y="766"/>
                    </a:lnTo>
                    <a:lnTo>
                      <a:pt x="318" y="765"/>
                    </a:lnTo>
                    <a:lnTo>
                      <a:pt x="320" y="765"/>
                    </a:lnTo>
                    <a:lnTo>
                      <a:pt x="322" y="765"/>
                    </a:lnTo>
                    <a:lnTo>
                      <a:pt x="320" y="768"/>
                    </a:lnTo>
                    <a:lnTo>
                      <a:pt x="320" y="772"/>
                    </a:lnTo>
                    <a:lnTo>
                      <a:pt x="322" y="778"/>
                    </a:lnTo>
                    <a:lnTo>
                      <a:pt x="324" y="778"/>
                    </a:lnTo>
                    <a:lnTo>
                      <a:pt x="326" y="776"/>
                    </a:lnTo>
                    <a:lnTo>
                      <a:pt x="328" y="774"/>
                    </a:lnTo>
                    <a:lnTo>
                      <a:pt x="330" y="774"/>
                    </a:lnTo>
                    <a:lnTo>
                      <a:pt x="332" y="770"/>
                    </a:lnTo>
                    <a:lnTo>
                      <a:pt x="332" y="768"/>
                    </a:lnTo>
                    <a:lnTo>
                      <a:pt x="332" y="766"/>
                    </a:lnTo>
                    <a:lnTo>
                      <a:pt x="330" y="763"/>
                    </a:lnTo>
                    <a:lnTo>
                      <a:pt x="330" y="761"/>
                    </a:lnTo>
                    <a:lnTo>
                      <a:pt x="330" y="759"/>
                    </a:lnTo>
                    <a:lnTo>
                      <a:pt x="330" y="755"/>
                    </a:lnTo>
                    <a:lnTo>
                      <a:pt x="332" y="753"/>
                    </a:lnTo>
                    <a:lnTo>
                      <a:pt x="332" y="749"/>
                    </a:lnTo>
                    <a:lnTo>
                      <a:pt x="333" y="749"/>
                    </a:lnTo>
                    <a:lnTo>
                      <a:pt x="333" y="749"/>
                    </a:lnTo>
                    <a:lnTo>
                      <a:pt x="333" y="749"/>
                    </a:lnTo>
                    <a:lnTo>
                      <a:pt x="333" y="747"/>
                    </a:lnTo>
                    <a:lnTo>
                      <a:pt x="333" y="746"/>
                    </a:lnTo>
                    <a:lnTo>
                      <a:pt x="332" y="740"/>
                    </a:lnTo>
                    <a:lnTo>
                      <a:pt x="332" y="738"/>
                    </a:lnTo>
                    <a:lnTo>
                      <a:pt x="333" y="736"/>
                    </a:lnTo>
                    <a:lnTo>
                      <a:pt x="333" y="734"/>
                    </a:lnTo>
                    <a:lnTo>
                      <a:pt x="335" y="732"/>
                    </a:lnTo>
                    <a:lnTo>
                      <a:pt x="333" y="730"/>
                    </a:lnTo>
                    <a:lnTo>
                      <a:pt x="337" y="732"/>
                    </a:lnTo>
                    <a:lnTo>
                      <a:pt x="337" y="734"/>
                    </a:lnTo>
                    <a:lnTo>
                      <a:pt x="333" y="740"/>
                    </a:lnTo>
                    <a:lnTo>
                      <a:pt x="337" y="744"/>
                    </a:lnTo>
                    <a:lnTo>
                      <a:pt x="339" y="747"/>
                    </a:lnTo>
                    <a:lnTo>
                      <a:pt x="339" y="751"/>
                    </a:lnTo>
                    <a:lnTo>
                      <a:pt x="337" y="755"/>
                    </a:lnTo>
                    <a:lnTo>
                      <a:pt x="335" y="759"/>
                    </a:lnTo>
                    <a:lnTo>
                      <a:pt x="335" y="763"/>
                    </a:lnTo>
                    <a:lnTo>
                      <a:pt x="339" y="768"/>
                    </a:lnTo>
                    <a:lnTo>
                      <a:pt x="337" y="770"/>
                    </a:lnTo>
                    <a:lnTo>
                      <a:pt x="337" y="772"/>
                    </a:lnTo>
                    <a:lnTo>
                      <a:pt x="337" y="774"/>
                    </a:lnTo>
                    <a:lnTo>
                      <a:pt x="337" y="776"/>
                    </a:lnTo>
                    <a:lnTo>
                      <a:pt x="337" y="778"/>
                    </a:lnTo>
                    <a:lnTo>
                      <a:pt x="335" y="778"/>
                    </a:lnTo>
                    <a:lnTo>
                      <a:pt x="335" y="778"/>
                    </a:lnTo>
                    <a:lnTo>
                      <a:pt x="333" y="780"/>
                    </a:lnTo>
                    <a:lnTo>
                      <a:pt x="333" y="784"/>
                    </a:lnTo>
                    <a:lnTo>
                      <a:pt x="333" y="785"/>
                    </a:lnTo>
                    <a:lnTo>
                      <a:pt x="337" y="787"/>
                    </a:lnTo>
                    <a:lnTo>
                      <a:pt x="341" y="785"/>
                    </a:lnTo>
                    <a:lnTo>
                      <a:pt x="339" y="785"/>
                    </a:lnTo>
                    <a:lnTo>
                      <a:pt x="339" y="784"/>
                    </a:lnTo>
                    <a:lnTo>
                      <a:pt x="339" y="782"/>
                    </a:lnTo>
                    <a:lnTo>
                      <a:pt x="339" y="780"/>
                    </a:lnTo>
                    <a:lnTo>
                      <a:pt x="341" y="782"/>
                    </a:lnTo>
                    <a:lnTo>
                      <a:pt x="343" y="784"/>
                    </a:lnTo>
                    <a:lnTo>
                      <a:pt x="345" y="784"/>
                    </a:lnTo>
                    <a:lnTo>
                      <a:pt x="345" y="782"/>
                    </a:lnTo>
                    <a:lnTo>
                      <a:pt x="345" y="774"/>
                    </a:lnTo>
                    <a:lnTo>
                      <a:pt x="347" y="776"/>
                    </a:lnTo>
                    <a:lnTo>
                      <a:pt x="347" y="772"/>
                    </a:lnTo>
                    <a:lnTo>
                      <a:pt x="347" y="763"/>
                    </a:lnTo>
                    <a:lnTo>
                      <a:pt x="347" y="763"/>
                    </a:lnTo>
                    <a:lnTo>
                      <a:pt x="349" y="765"/>
                    </a:lnTo>
                    <a:lnTo>
                      <a:pt x="351" y="763"/>
                    </a:lnTo>
                    <a:lnTo>
                      <a:pt x="351" y="759"/>
                    </a:lnTo>
                    <a:lnTo>
                      <a:pt x="353" y="757"/>
                    </a:lnTo>
                    <a:lnTo>
                      <a:pt x="351" y="753"/>
                    </a:lnTo>
                    <a:lnTo>
                      <a:pt x="349" y="753"/>
                    </a:lnTo>
                    <a:lnTo>
                      <a:pt x="345" y="755"/>
                    </a:lnTo>
                    <a:lnTo>
                      <a:pt x="343" y="755"/>
                    </a:lnTo>
                    <a:lnTo>
                      <a:pt x="343" y="753"/>
                    </a:lnTo>
                    <a:lnTo>
                      <a:pt x="343" y="746"/>
                    </a:lnTo>
                    <a:lnTo>
                      <a:pt x="343" y="744"/>
                    </a:lnTo>
                    <a:lnTo>
                      <a:pt x="347" y="732"/>
                    </a:lnTo>
                    <a:lnTo>
                      <a:pt x="347" y="730"/>
                    </a:lnTo>
                    <a:lnTo>
                      <a:pt x="347" y="725"/>
                    </a:lnTo>
                    <a:lnTo>
                      <a:pt x="349" y="723"/>
                    </a:lnTo>
                    <a:lnTo>
                      <a:pt x="351" y="719"/>
                    </a:lnTo>
                    <a:lnTo>
                      <a:pt x="351" y="717"/>
                    </a:lnTo>
                    <a:lnTo>
                      <a:pt x="351" y="715"/>
                    </a:lnTo>
                    <a:lnTo>
                      <a:pt x="351" y="713"/>
                    </a:lnTo>
                    <a:lnTo>
                      <a:pt x="351" y="709"/>
                    </a:lnTo>
                    <a:lnTo>
                      <a:pt x="351" y="707"/>
                    </a:lnTo>
                    <a:lnTo>
                      <a:pt x="351" y="707"/>
                    </a:lnTo>
                    <a:lnTo>
                      <a:pt x="351" y="706"/>
                    </a:lnTo>
                    <a:lnTo>
                      <a:pt x="353" y="704"/>
                    </a:lnTo>
                    <a:lnTo>
                      <a:pt x="353" y="702"/>
                    </a:lnTo>
                    <a:lnTo>
                      <a:pt x="353" y="700"/>
                    </a:lnTo>
                    <a:lnTo>
                      <a:pt x="354" y="700"/>
                    </a:lnTo>
                    <a:lnTo>
                      <a:pt x="354" y="698"/>
                    </a:lnTo>
                    <a:lnTo>
                      <a:pt x="354" y="696"/>
                    </a:lnTo>
                    <a:lnTo>
                      <a:pt x="354" y="696"/>
                    </a:lnTo>
                    <a:lnTo>
                      <a:pt x="358" y="696"/>
                    </a:lnTo>
                    <a:lnTo>
                      <a:pt x="358" y="698"/>
                    </a:lnTo>
                    <a:lnTo>
                      <a:pt x="356" y="702"/>
                    </a:lnTo>
                    <a:lnTo>
                      <a:pt x="354" y="704"/>
                    </a:lnTo>
                    <a:lnTo>
                      <a:pt x="353" y="707"/>
                    </a:lnTo>
                    <a:lnTo>
                      <a:pt x="353" y="709"/>
                    </a:lnTo>
                    <a:lnTo>
                      <a:pt x="353" y="713"/>
                    </a:lnTo>
                    <a:lnTo>
                      <a:pt x="354" y="717"/>
                    </a:lnTo>
                    <a:lnTo>
                      <a:pt x="354" y="719"/>
                    </a:lnTo>
                    <a:lnTo>
                      <a:pt x="354" y="721"/>
                    </a:lnTo>
                    <a:lnTo>
                      <a:pt x="353" y="723"/>
                    </a:lnTo>
                    <a:lnTo>
                      <a:pt x="351" y="726"/>
                    </a:lnTo>
                    <a:lnTo>
                      <a:pt x="351" y="726"/>
                    </a:lnTo>
                    <a:lnTo>
                      <a:pt x="351" y="728"/>
                    </a:lnTo>
                    <a:lnTo>
                      <a:pt x="351" y="730"/>
                    </a:lnTo>
                    <a:lnTo>
                      <a:pt x="353" y="730"/>
                    </a:lnTo>
                    <a:lnTo>
                      <a:pt x="354" y="730"/>
                    </a:lnTo>
                    <a:lnTo>
                      <a:pt x="356" y="730"/>
                    </a:lnTo>
                    <a:lnTo>
                      <a:pt x="358" y="732"/>
                    </a:lnTo>
                    <a:lnTo>
                      <a:pt x="358" y="730"/>
                    </a:lnTo>
                    <a:lnTo>
                      <a:pt x="360" y="728"/>
                    </a:lnTo>
                    <a:lnTo>
                      <a:pt x="360" y="726"/>
                    </a:lnTo>
                    <a:lnTo>
                      <a:pt x="362" y="721"/>
                    </a:lnTo>
                    <a:lnTo>
                      <a:pt x="364" y="719"/>
                    </a:lnTo>
                    <a:lnTo>
                      <a:pt x="362" y="717"/>
                    </a:lnTo>
                    <a:lnTo>
                      <a:pt x="360" y="715"/>
                    </a:lnTo>
                    <a:lnTo>
                      <a:pt x="358" y="715"/>
                    </a:lnTo>
                    <a:lnTo>
                      <a:pt x="360" y="711"/>
                    </a:lnTo>
                    <a:lnTo>
                      <a:pt x="360" y="709"/>
                    </a:lnTo>
                    <a:lnTo>
                      <a:pt x="362" y="707"/>
                    </a:lnTo>
                    <a:lnTo>
                      <a:pt x="364" y="707"/>
                    </a:lnTo>
                    <a:lnTo>
                      <a:pt x="366" y="706"/>
                    </a:lnTo>
                    <a:lnTo>
                      <a:pt x="368" y="706"/>
                    </a:lnTo>
                    <a:lnTo>
                      <a:pt x="364" y="709"/>
                    </a:lnTo>
                    <a:lnTo>
                      <a:pt x="362" y="711"/>
                    </a:lnTo>
                    <a:lnTo>
                      <a:pt x="360" y="713"/>
                    </a:lnTo>
                    <a:lnTo>
                      <a:pt x="362" y="715"/>
                    </a:lnTo>
                    <a:lnTo>
                      <a:pt x="368" y="719"/>
                    </a:lnTo>
                    <a:lnTo>
                      <a:pt x="368" y="721"/>
                    </a:lnTo>
                    <a:lnTo>
                      <a:pt x="368" y="723"/>
                    </a:lnTo>
                    <a:lnTo>
                      <a:pt x="366" y="725"/>
                    </a:lnTo>
                    <a:lnTo>
                      <a:pt x="364" y="726"/>
                    </a:lnTo>
                    <a:lnTo>
                      <a:pt x="362" y="728"/>
                    </a:lnTo>
                    <a:lnTo>
                      <a:pt x="362" y="730"/>
                    </a:lnTo>
                    <a:lnTo>
                      <a:pt x="362" y="736"/>
                    </a:lnTo>
                    <a:lnTo>
                      <a:pt x="360" y="746"/>
                    </a:lnTo>
                    <a:lnTo>
                      <a:pt x="360" y="747"/>
                    </a:lnTo>
                    <a:lnTo>
                      <a:pt x="360" y="749"/>
                    </a:lnTo>
                    <a:lnTo>
                      <a:pt x="358" y="765"/>
                    </a:lnTo>
                    <a:lnTo>
                      <a:pt x="358" y="766"/>
                    </a:lnTo>
                    <a:lnTo>
                      <a:pt x="362" y="776"/>
                    </a:lnTo>
                    <a:lnTo>
                      <a:pt x="360" y="780"/>
                    </a:lnTo>
                    <a:lnTo>
                      <a:pt x="364" y="782"/>
                    </a:lnTo>
                    <a:lnTo>
                      <a:pt x="368" y="784"/>
                    </a:lnTo>
                    <a:lnTo>
                      <a:pt x="372" y="782"/>
                    </a:lnTo>
                    <a:lnTo>
                      <a:pt x="372" y="780"/>
                    </a:lnTo>
                    <a:lnTo>
                      <a:pt x="372" y="778"/>
                    </a:lnTo>
                    <a:lnTo>
                      <a:pt x="370" y="776"/>
                    </a:lnTo>
                    <a:lnTo>
                      <a:pt x="370" y="772"/>
                    </a:lnTo>
                    <a:lnTo>
                      <a:pt x="370" y="770"/>
                    </a:lnTo>
                    <a:lnTo>
                      <a:pt x="370" y="770"/>
                    </a:lnTo>
                    <a:lnTo>
                      <a:pt x="370" y="770"/>
                    </a:lnTo>
                    <a:lnTo>
                      <a:pt x="372" y="768"/>
                    </a:lnTo>
                    <a:lnTo>
                      <a:pt x="374" y="768"/>
                    </a:lnTo>
                    <a:lnTo>
                      <a:pt x="374" y="766"/>
                    </a:lnTo>
                    <a:lnTo>
                      <a:pt x="374" y="765"/>
                    </a:lnTo>
                    <a:lnTo>
                      <a:pt x="375" y="766"/>
                    </a:lnTo>
                    <a:lnTo>
                      <a:pt x="375" y="768"/>
                    </a:lnTo>
                    <a:lnTo>
                      <a:pt x="375" y="768"/>
                    </a:lnTo>
                    <a:lnTo>
                      <a:pt x="374" y="770"/>
                    </a:lnTo>
                    <a:lnTo>
                      <a:pt x="372" y="772"/>
                    </a:lnTo>
                    <a:lnTo>
                      <a:pt x="374" y="774"/>
                    </a:lnTo>
                    <a:lnTo>
                      <a:pt x="375" y="774"/>
                    </a:lnTo>
                    <a:lnTo>
                      <a:pt x="377" y="774"/>
                    </a:lnTo>
                    <a:lnTo>
                      <a:pt x="379" y="772"/>
                    </a:lnTo>
                    <a:lnTo>
                      <a:pt x="379" y="770"/>
                    </a:lnTo>
                    <a:lnTo>
                      <a:pt x="377" y="766"/>
                    </a:lnTo>
                    <a:lnTo>
                      <a:pt x="377" y="763"/>
                    </a:lnTo>
                    <a:lnTo>
                      <a:pt x="377" y="761"/>
                    </a:lnTo>
                    <a:lnTo>
                      <a:pt x="379" y="757"/>
                    </a:lnTo>
                    <a:lnTo>
                      <a:pt x="379" y="755"/>
                    </a:lnTo>
                    <a:lnTo>
                      <a:pt x="381" y="755"/>
                    </a:lnTo>
                    <a:lnTo>
                      <a:pt x="381" y="757"/>
                    </a:lnTo>
                    <a:lnTo>
                      <a:pt x="383" y="766"/>
                    </a:lnTo>
                    <a:lnTo>
                      <a:pt x="383" y="768"/>
                    </a:lnTo>
                    <a:lnTo>
                      <a:pt x="385" y="770"/>
                    </a:lnTo>
                    <a:lnTo>
                      <a:pt x="385" y="770"/>
                    </a:lnTo>
                    <a:lnTo>
                      <a:pt x="389" y="770"/>
                    </a:lnTo>
                    <a:lnTo>
                      <a:pt x="395" y="774"/>
                    </a:lnTo>
                    <a:lnTo>
                      <a:pt x="398" y="776"/>
                    </a:lnTo>
                    <a:lnTo>
                      <a:pt x="400" y="776"/>
                    </a:lnTo>
                    <a:lnTo>
                      <a:pt x="400" y="776"/>
                    </a:lnTo>
                    <a:lnTo>
                      <a:pt x="400" y="774"/>
                    </a:lnTo>
                    <a:lnTo>
                      <a:pt x="402" y="772"/>
                    </a:lnTo>
                    <a:lnTo>
                      <a:pt x="402" y="774"/>
                    </a:lnTo>
                    <a:lnTo>
                      <a:pt x="402" y="774"/>
                    </a:lnTo>
                    <a:lnTo>
                      <a:pt x="404" y="776"/>
                    </a:lnTo>
                    <a:lnTo>
                      <a:pt x="404" y="776"/>
                    </a:lnTo>
                    <a:lnTo>
                      <a:pt x="406" y="776"/>
                    </a:lnTo>
                    <a:lnTo>
                      <a:pt x="408" y="774"/>
                    </a:lnTo>
                    <a:lnTo>
                      <a:pt x="408" y="772"/>
                    </a:lnTo>
                    <a:lnTo>
                      <a:pt x="408" y="766"/>
                    </a:lnTo>
                    <a:lnTo>
                      <a:pt x="408" y="766"/>
                    </a:lnTo>
                    <a:lnTo>
                      <a:pt x="406" y="763"/>
                    </a:lnTo>
                    <a:lnTo>
                      <a:pt x="404" y="761"/>
                    </a:lnTo>
                    <a:lnTo>
                      <a:pt x="404" y="759"/>
                    </a:lnTo>
                    <a:lnTo>
                      <a:pt x="402" y="753"/>
                    </a:lnTo>
                    <a:lnTo>
                      <a:pt x="400" y="744"/>
                    </a:lnTo>
                    <a:lnTo>
                      <a:pt x="396" y="738"/>
                    </a:lnTo>
                    <a:lnTo>
                      <a:pt x="395" y="736"/>
                    </a:lnTo>
                    <a:lnTo>
                      <a:pt x="391" y="734"/>
                    </a:lnTo>
                    <a:lnTo>
                      <a:pt x="391" y="734"/>
                    </a:lnTo>
                    <a:lnTo>
                      <a:pt x="389" y="732"/>
                    </a:lnTo>
                    <a:lnTo>
                      <a:pt x="387" y="730"/>
                    </a:lnTo>
                    <a:lnTo>
                      <a:pt x="385" y="726"/>
                    </a:lnTo>
                    <a:lnTo>
                      <a:pt x="387" y="725"/>
                    </a:lnTo>
                    <a:lnTo>
                      <a:pt x="389" y="725"/>
                    </a:lnTo>
                    <a:lnTo>
                      <a:pt x="389" y="726"/>
                    </a:lnTo>
                    <a:lnTo>
                      <a:pt x="391" y="730"/>
                    </a:lnTo>
                    <a:lnTo>
                      <a:pt x="391" y="732"/>
                    </a:lnTo>
                    <a:lnTo>
                      <a:pt x="393" y="732"/>
                    </a:lnTo>
                    <a:lnTo>
                      <a:pt x="396" y="734"/>
                    </a:lnTo>
                    <a:lnTo>
                      <a:pt x="398" y="736"/>
                    </a:lnTo>
                    <a:lnTo>
                      <a:pt x="398" y="734"/>
                    </a:lnTo>
                    <a:lnTo>
                      <a:pt x="400" y="732"/>
                    </a:lnTo>
                    <a:lnTo>
                      <a:pt x="400" y="732"/>
                    </a:lnTo>
                    <a:lnTo>
                      <a:pt x="402" y="734"/>
                    </a:lnTo>
                    <a:lnTo>
                      <a:pt x="406" y="732"/>
                    </a:lnTo>
                    <a:lnTo>
                      <a:pt x="406" y="728"/>
                    </a:lnTo>
                    <a:lnTo>
                      <a:pt x="404" y="719"/>
                    </a:lnTo>
                    <a:lnTo>
                      <a:pt x="404" y="717"/>
                    </a:lnTo>
                    <a:lnTo>
                      <a:pt x="402" y="713"/>
                    </a:lnTo>
                    <a:lnTo>
                      <a:pt x="402" y="711"/>
                    </a:lnTo>
                    <a:lnTo>
                      <a:pt x="402" y="709"/>
                    </a:lnTo>
                    <a:lnTo>
                      <a:pt x="404" y="707"/>
                    </a:lnTo>
                    <a:lnTo>
                      <a:pt x="404" y="706"/>
                    </a:lnTo>
                    <a:lnTo>
                      <a:pt x="404" y="704"/>
                    </a:lnTo>
                    <a:lnTo>
                      <a:pt x="406" y="706"/>
                    </a:lnTo>
                    <a:lnTo>
                      <a:pt x="406" y="706"/>
                    </a:lnTo>
                    <a:lnTo>
                      <a:pt x="406" y="706"/>
                    </a:lnTo>
                    <a:lnTo>
                      <a:pt x="406" y="706"/>
                    </a:lnTo>
                    <a:lnTo>
                      <a:pt x="408" y="704"/>
                    </a:lnTo>
                    <a:lnTo>
                      <a:pt x="408" y="700"/>
                    </a:lnTo>
                    <a:lnTo>
                      <a:pt x="406" y="696"/>
                    </a:lnTo>
                    <a:lnTo>
                      <a:pt x="406" y="694"/>
                    </a:lnTo>
                    <a:lnTo>
                      <a:pt x="400" y="687"/>
                    </a:lnTo>
                    <a:lnTo>
                      <a:pt x="398" y="685"/>
                    </a:lnTo>
                    <a:lnTo>
                      <a:pt x="400" y="683"/>
                    </a:lnTo>
                    <a:lnTo>
                      <a:pt x="398" y="679"/>
                    </a:lnTo>
                    <a:lnTo>
                      <a:pt x="398" y="679"/>
                    </a:lnTo>
                    <a:lnTo>
                      <a:pt x="396" y="671"/>
                    </a:lnTo>
                    <a:lnTo>
                      <a:pt x="396" y="669"/>
                    </a:lnTo>
                    <a:lnTo>
                      <a:pt x="396" y="668"/>
                    </a:lnTo>
                    <a:lnTo>
                      <a:pt x="398" y="666"/>
                    </a:lnTo>
                    <a:lnTo>
                      <a:pt x="398" y="666"/>
                    </a:lnTo>
                    <a:lnTo>
                      <a:pt x="398" y="662"/>
                    </a:lnTo>
                    <a:lnTo>
                      <a:pt x="395" y="656"/>
                    </a:lnTo>
                    <a:lnTo>
                      <a:pt x="395" y="652"/>
                    </a:lnTo>
                    <a:lnTo>
                      <a:pt x="393" y="650"/>
                    </a:lnTo>
                    <a:lnTo>
                      <a:pt x="389" y="648"/>
                    </a:lnTo>
                    <a:lnTo>
                      <a:pt x="391" y="647"/>
                    </a:lnTo>
                    <a:lnTo>
                      <a:pt x="393" y="645"/>
                    </a:lnTo>
                    <a:lnTo>
                      <a:pt x="393" y="641"/>
                    </a:lnTo>
                    <a:lnTo>
                      <a:pt x="391" y="637"/>
                    </a:lnTo>
                    <a:lnTo>
                      <a:pt x="389" y="633"/>
                    </a:lnTo>
                    <a:lnTo>
                      <a:pt x="389" y="631"/>
                    </a:lnTo>
                    <a:lnTo>
                      <a:pt x="389" y="629"/>
                    </a:lnTo>
                    <a:lnTo>
                      <a:pt x="387" y="626"/>
                    </a:lnTo>
                    <a:lnTo>
                      <a:pt x="387" y="624"/>
                    </a:lnTo>
                    <a:lnTo>
                      <a:pt x="387" y="622"/>
                    </a:lnTo>
                    <a:lnTo>
                      <a:pt x="389" y="620"/>
                    </a:lnTo>
                    <a:lnTo>
                      <a:pt x="391" y="618"/>
                    </a:lnTo>
                    <a:lnTo>
                      <a:pt x="391" y="616"/>
                    </a:lnTo>
                    <a:lnTo>
                      <a:pt x="391" y="612"/>
                    </a:lnTo>
                    <a:lnTo>
                      <a:pt x="391" y="610"/>
                    </a:lnTo>
                    <a:lnTo>
                      <a:pt x="391" y="609"/>
                    </a:lnTo>
                    <a:lnTo>
                      <a:pt x="389" y="607"/>
                    </a:lnTo>
                    <a:lnTo>
                      <a:pt x="385" y="607"/>
                    </a:lnTo>
                    <a:lnTo>
                      <a:pt x="385" y="605"/>
                    </a:lnTo>
                    <a:lnTo>
                      <a:pt x="381" y="597"/>
                    </a:lnTo>
                    <a:lnTo>
                      <a:pt x="381" y="595"/>
                    </a:lnTo>
                    <a:lnTo>
                      <a:pt x="377" y="593"/>
                    </a:lnTo>
                    <a:lnTo>
                      <a:pt x="377" y="591"/>
                    </a:lnTo>
                    <a:lnTo>
                      <a:pt x="377" y="588"/>
                    </a:lnTo>
                    <a:lnTo>
                      <a:pt x="379" y="584"/>
                    </a:lnTo>
                    <a:lnTo>
                      <a:pt x="379" y="578"/>
                    </a:lnTo>
                    <a:lnTo>
                      <a:pt x="381" y="574"/>
                    </a:lnTo>
                    <a:lnTo>
                      <a:pt x="387" y="567"/>
                    </a:lnTo>
                    <a:lnTo>
                      <a:pt x="391" y="565"/>
                    </a:lnTo>
                    <a:lnTo>
                      <a:pt x="393" y="563"/>
                    </a:lnTo>
                    <a:lnTo>
                      <a:pt x="393" y="561"/>
                    </a:lnTo>
                    <a:lnTo>
                      <a:pt x="393" y="561"/>
                    </a:lnTo>
                    <a:lnTo>
                      <a:pt x="393" y="559"/>
                    </a:lnTo>
                    <a:lnTo>
                      <a:pt x="389" y="559"/>
                    </a:lnTo>
                    <a:lnTo>
                      <a:pt x="387" y="559"/>
                    </a:lnTo>
                    <a:lnTo>
                      <a:pt x="387" y="559"/>
                    </a:lnTo>
                    <a:lnTo>
                      <a:pt x="377" y="555"/>
                    </a:lnTo>
                    <a:lnTo>
                      <a:pt x="375" y="555"/>
                    </a:lnTo>
                    <a:lnTo>
                      <a:pt x="374" y="555"/>
                    </a:lnTo>
                    <a:lnTo>
                      <a:pt x="374" y="557"/>
                    </a:lnTo>
                    <a:lnTo>
                      <a:pt x="372" y="557"/>
                    </a:lnTo>
                    <a:lnTo>
                      <a:pt x="372" y="557"/>
                    </a:lnTo>
                    <a:lnTo>
                      <a:pt x="370" y="557"/>
                    </a:lnTo>
                    <a:lnTo>
                      <a:pt x="362" y="555"/>
                    </a:lnTo>
                    <a:lnTo>
                      <a:pt x="360" y="553"/>
                    </a:lnTo>
                    <a:lnTo>
                      <a:pt x="358" y="551"/>
                    </a:lnTo>
                    <a:lnTo>
                      <a:pt x="358" y="548"/>
                    </a:lnTo>
                    <a:lnTo>
                      <a:pt x="360" y="546"/>
                    </a:lnTo>
                    <a:lnTo>
                      <a:pt x="362" y="540"/>
                    </a:lnTo>
                    <a:lnTo>
                      <a:pt x="368" y="525"/>
                    </a:lnTo>
                    <a:lnTo>
                      <a:pt x="370" y="521"/>
                    </a:lnTo>
                    <a:lnTo>
                      <a:pt x="368" y="519"/>
                    </a:lnTo>
                    <a:lnTo>
                      <a:pt x="366" y="521"/>
                    </a:lnTo>
                    <a:lnTo>
                      <a:pt x="364" y="523"/>
                    </a:lnTo>
                    <a:lnTo>
                      <a:pt x="362" y="525"/>
                    </a:lnTo>
                    <a:lnTo>
                      <a:pt x="360" y="521"/>
                    </a:lnTo>
                    <a:lnTo>
                      <a:pt x="360" y="519"/>
                    </a:lnTo>
                    <a:lnTo>
                      <a:pt x="356" y="517"/>
                    </a:lnTo>
                    <a:lnTo>
                      <a:pt x="353" y="515"/>
                    </a:lnTo>
                    <a:lnTo>
                      <a:pt x="351" y="510"/>
                    </a:lnTo>
                    <a:lnTo>
                      <a:pt x="349" y="508"/>
                    </a:lnTo>
                    <a:lnTo>
                      <a:pt x="347" y="508"/>
                    </a:lnTo>
                    <a:lnTo>
                      <a:pt x="345" y="508"/>
                    </a:lnTo>
                    <a:lnTo>
                      <a:pt x="343" y="508"/>
                    </a:lnTo>
                    <a:lnTo>
                      <a:pt x="343" y="506"/>
                    </a:lnTo>
                    <a:lnTo>
                      <a:pt x="343" y="504"/>
                    </a:lnTo>
                    <a:lnTo>
                      <a:pt x="343" y="504"/>
                    </a:lnTo>
                    <a:lnTo>
                      <a:pt x="343" y="502"/>
                    </a:lnTo>
                    <a:lnTo>
                      <a:pt x="343" y="502"/>
                    </a:lnTo>
                    <a:lnTo>
                      <a:pt x="341" y="502"/>
                    </a:lnTo>
                    <a:lnTo>
                      <a:pt x="341" y="500"/>
                    </a:lnTo>
                    <a:lnTo>
                      <a:pt x="339" y="498"/>
                    </a:lnTo>
                    <a:lnTo>
                      <a:pt x="343" y="487"/>
                    </a:lnTo>
                    <a:lnTo>
                      <a:pt x="343" y="485"/>
                    </a:lnTo>
                    <a:lnTo>
                      <a:pt x="341" y="483"/>
                    </a:lnTo>
                    <a:lnTo>
                      <a:pt x="341" y="481"/>
                    </a:lnTo>
                    <a:lnTo>
                      <a:pt x="343" y="481"/>
                    </a:lnTo>
                    <a:lnTo>
                      <a:pt x="345" y="477"/>
                    </a:lnTo>
                    <a:lnTo>
                      <a:pt x="345" y="475"/>
                    </a:lnTo>
                    <a:lnTo>
                      <a:pt x="345" y="475"/>
                    </a:lnTo>
                    <a:lnTo>
                      <a:pt x="345" y="473"/>
                    </a:lnTo>
                    <a:lnTo>
                      <a:pt x="345" y="472"/>
                    </a:lnTo>
                    <a:lnTo>
                      <a:pt x="345" y="472"/>
                    </a:lnTo>
                    <a:lnTo>
                      <a:pt x="347" y="470"/>
                    </a:lnTo>
                    <a:lnTo>
                      <a:pt x="349" y="470"/>
                    </a:lnTo>
                    <a:lnTo>
                      <a:pt x="353" y="470"/>
                    </a:lnTo>
                    <a:lnTo>
                      <a:pt x="354" y="470"/>
                    </a:lnTo>
                    <a:lnTo>
                      <a:pt x="356" y="468"/>
                    </a:lnTo>
                    <a:lnTo>
                      <a:pt x="360" y="462"/>
                    </a:lnTo>
                    <a:lnTo>
                      <a:pt x="362" y="462"/>
                    </a:lnTo>
                    <a:lnTo>
                      <a:pt x="362" y="458"/>
                    </a:lnTo>
                    <a:lnTo>
                      <a:pt x="362" y="456"/>
                    </a:lnTo>
                    <a:lnTo>
                      <a:pt x="360" y="453"/>
                    </a:lnTo>
                    <a:lnTo>
                      <a:pt x="360" y="453"/>
                    </a:lnTo>
                    <a:lnTo>
                      <a:pt x="362" y="449"/>
                    </a:lnTo>
                    <a:lnTo>
                      <a:pt x="364" y="447"/>
                    </a:lnTo>
                    <a:lnTo>
                      <a:pt x="364" y="447"/>
                    </a:lnTo>
                    <a:lnTo>
                      <a:pt x="360" y="445"/>
                    </a:lnTo>
                    <a:lnTo>
                      <a:pt x="360" y="443"/>
                    </a:lnTo>
                    <a:lnTo>
                      <a:pt x="358" y="441"/>
                    </a:lnTo>
                    <a:lnTo>
                      <a:pt x="356" y="439"/>
                    </a:lnTo>
                    <a:lnTo>
                      <a:pt x="356" y="439"/>
                    </a:lnTo>
                    <a:lnTo>
                      <a:pt x="358" y="435"/>
                    </a:lnTo>
                    <a:lnTo>
                      <a:pt x="358" y="433"/>
                    </a:lnTo>
                    <a:lnTo>
                      <a:pt x="356" y="432"/>
                    </a:lnTo>
                    <a:lnTo>
                      <a:pt x="356" y="430"/>
                    </a:lnTo>
                    <a:lnTo>
                      <a:pt x="358" y="428"/>
                    </a:lnTo>
                    <a:lnTo>
                      <a:pt x="360" y="428"/>
                    </a:lnTo>
                    <a:lnTo>
                      <a:pt x="362" y="426"/>
                    </a:lnTo>
                    <a:lnTo>
                      <a:pt x="364" y="426"/>
                    </a:lnTo>
                    <a:lnTo>
                      <a:pt x="364" y="426"/>
                    </a:lnTo>
                    <a:lnTo>
                      <a:pt x="364" y="424"/>
                    </a:lnTo>
                    <a:lnTo>
                      <a:pt x="366" y="422"/>
                    </a:lnTo>
                    <a:lnTo>
                      <a:pt x="366" y="420"/>
                    </a:lnTo>
                    <a:lnTo>
                      <a:pt x="366" y="420"/>
                    </a:lnTo>
                    <a:lnTo>
                      <a:pt x="366" y="418"/>
                    </a:lnTo>
                    <a:lnTo>
                      <a:pt x="366" y="416"/>
                    </a:lnTo>
                    <a:lnTo>
                      <a:pt x="364" y="413"/>
                    </a:lnTo>
                    <a:lnTo>
                      <a:pt x="362" y="409"/>
                    </a:lnTo>
                    <a:lnTo>
                      <a:pt x="358" y="405"/>
                    </a:lnTo>
                    <a:lnTo>
                      <a:pt x="354" y="405"/>
                    </a:lnTo>
                    <a:lnTo>
                      <a:pt x="354" y="409"/>
                    </a:lnTo>
                    <a:lnTo>
                      <a:pt x="353" y="411"/>
                    </a:lnTo>
                    <a:lnTo>
                      <a:pt x="349" y="411"/>
                    </a:lnTo>
                    <a:lnTo>
                      <a:pt x="343" y="409"/>
                    </a:lnTo>
                    <a:lnTo>
                      <a:pt x="335" y="409"/>
                    </a:lnTo>
                    <a:lnTo>
                      <a:pt x="332" y="409"/>
                    </a:lnTo>
                    <a:lnTo>
                      <a:pt x="322" y="401"/>
                    </a:lnTo>
                    <a:lnTo>
                      <a:pt x="290" y="384"/>
                    </a:lnTo>
                    <a:lnTo>
                      <a:pt x="286" y="382"/>
                    </a:lnTo>
                    <a:lnTo>
                      <a:pt x="286" y="382"/>
                    </a:lnTo>
                    <a:lnTo>
                      <a:pt x="284" y="380"/>
                    </a:lnTo>
                    <a:lnTo>
                      <a:pt x="284" y="378"/>
                    </a:lnTo>
                    <a:lnTo>
                      <a:pt x="284" y="378"/>
                    </a:lnTo>
                    <a:lnTo>
                      <a:pt x="282" y="376"/>
                    </a:lnTo>
                    <a:lnTo>
                      <a:pt x="282" y="369"/>
                    </a:lnTo>
                    <a:lnTo>
                      <a:pt x="282" y="369"/>
                    </a:lnTo>
                    <a:lnTo>
                      <a:pt x="280" y="367"/>
                    </a:lnTo>
                    <a:lnTo>
                      <a:pt x="280" y="365"/>
                    </a:lnTo>
                    <a:lnTo>
                      <a:pt x="278" y="363"/>
                    </a:lnTo>
                    <a:lnTo>
                      <a:pt x="274" y="363"/>
                    </a:lnTo>
                    <a:lnTo>
                      <a:pt x="276" y="357"/>
                    </a:lnTo>
                    <a:lnTo>
                      <a:pt x="276" y="355"/>
                    </a:lnTo>
                    <a:lnTo>
                      <a:pt x="278" y="354"/>
                    </a:lnTo>
                    <a:lnTo>
                      <a:pt x="278" y="348"/>
                    </a:lnTo>
                    <a:lnTo>
                      <a:pt x="280" y="346"/>
                    </a:lnTo>
                    <a:lnTo>
                      <a:pt x="282" y="346"/>
                    </a:lnTo>
                    <a:lnTo>
                      <a:pt x="282" y="346"/>
                    </a:lnTo>
                    <a:lnTo>
                      <a:pt x="282" y="344"/>
                    </a:lnTo>
                    <a:lnTo>
                      <a:pt x="284" y="342"/>
                    </a:lnTo>
                    <a:lnTo>
                      <a:pt x="284" y="340"/>
                    </a:lnTo>
                    <a:lnTo>
                      <a:pt x="286" y="340"/>
                    </a:lnTo>
                    <a:lnTo>
                      <a:pt x="288" y="338"/>
                    </a:lnTo>
                    <a:lnTo>
                      <a:pt x="290" y="336"/>
                    </a:lnTo>
                    <a:lnTo>
                      <a:pt x="290" y="335"/>
                    </a:lnTo>
                    <a:lnTo>
                      <a:pt x="290" y="333"/>
                    </a:lnTo>
                    <a:lnTo>
                      <a:pt x="288" y="327"/>
                    </a:lnTo>
                    <a:lnTo>
                      <a:pt x="288" y="327"/>
                    </a:lnTo>
                    <a:lnTo>
                      <a:pt x="286" y="325"/>
                    </a:lnTo>
                    <a:lnTo>
                      <a:pt x="286" y="325"/>
                    </a:lnTo>
                    <a:lnTo>
                      <a:pt x="293" y="321"/>
                    </a:lnTo>
                    <a:lnTo>
                      <a:pt x="295" y="321"/>
                    </a:lnTo>
                    <a:lnTo>
                      <a:pt x="297" y="321"/>
                    </a:lnTo>
                    <a:lnTo>
                      <a:pt x="299" y="323"/>
                    </a:lnTo>
                    <a:lnTo>
                      <a:pt x="301" y="325"/>
                    </a:lnTo>
                    <a:lnTo>
                      <a:pt x="303" y="327"/>
                    </a:lnTo>
                    <a:lnTo>
                      <a:pt x="303" y="331"/>
                    </a:lnTo>
                    <a:lnTo>
                      <a:pt x="305" y="331"/>
                    </a:lnTo>
                    <a:lnTo>
                      <a:pt x="309" y="331"/>
                    </a:lnTo>
                    <a:lnTo>
                      <a:pt x="313" y="333"/>
                    </a:lnTo>
                    <a:lnTo>
                      <a:pt x="313" y="331"/>
                    </a:lnTo>
                    <a:lnTo>
                      <a:pt x="314" y="327"/>
                    </a:lnTo>
                    <a:lnTo>
                      <a:pt x="320" y="321"/>
                    </a:lnTo>
                    <a:lnTo>
                      <a:pt x="320" y="317"/>
                    </a:lnTo>
                    <a:lnTo>
                      <a:pt x="322" y="314"/>
                    </a:lnTo>
                    <a:lnTo>
                      <a:pt x="324" y="310"/>
                    </a:lnTo>
                    <a:lnTo>
                      <a:pt x="326" y="306"/>
                    </a:lnTo>
                    <a:lnTo>
                      <a:pt x="326" y="298"/>
                    </a:lnTo>
                    <a:lnTo>
                      <a:pt x="326" y="289"/>
                    </a:lnTo>
                    <a:lnTo>
                      <a:pt x="328" y="287"/>
                    </a:lnTo>
                    <a:lnTo>
                      <a:pt x="332" y="287"/>
                    </a:lnTo>
                    <a:lnTo>
                      <a:pt x="333" y="287"/>
                    </a:lnTo>
                    <a:lnTo>
                      <a:pt x="337" y="289"/>
                    </a:lnTo>
                    <a:lnTo>
                      <a:pt x="341" y="289"/>
                    </a:lnTo>
                    <a:lnTo>
                      <a:pt x="341" y="291"/>
                    </a:lnTo>
                    <a:lnTo>
                      <a:pt x="343" y="291"/>
                    </a:lnTo>
                    <a:lnTo>
                      <a:pt x="343" y="289"/>
                    </a:lnTo>
                    <a:lnTo>
                      <a:pt x="345" y="289"/>
                    </a:lnTo>
                    <a:lnTo>
                      <a:pt x="347" y="287"/>
                    </a:lnTo>
                    <a:lnTo>
                      <a:pt x="347" y="287"/>
                    </a:lnTo>
                    <a:lnTo>
                      <a:pt x="353" y="287"/>
                    </a:lnTo>
                    <a:lnTo>
                      <a:pt x="356" y="287"/>
                    </a:lnTo>
                    <a:lnTo>
                      <a:pt x="364" y="291"/>
                    </a:lnTo>
                    <a:lnTo>
                      <a:pt x="370" y="291"/>
                    </a:lnTo>
                    <a:lnTo>
                      <a:pt x="372" y="291"/>
                    </a:lnTo>
                    <a:lnTo>
                      <a:pt x="374" y="287"/>
                    </a:lnTo>
                    <a:lnTo>
                      <a:pt x="374" y="287"/>
                    </a:lnTo>
                    <a:lnTo>
                      <a:pt x="375" y="287"/>
                    </a:lnTo>
                    <a:lnTo>
                      <a:pt x="375" y="287"/>
                    </a:lnTo>
                    <a:lnTo>
                      <a:pt x="375" y="287"/>
                    </a:lnTo>
                    <a:lnTo>
                      <a:pt x="385" y="291"/>
                    </a:lnTo>
                    <a:lnTo>
                      <a:pt x="389" y="291"/>
                    </a:lnTo>
                    <a:lnTo>
                      <a:pt x="387" y="287"/>
                    </a:lnTo>
                    <a:lnTo>
                      <a:pt x="389" y="287"/>
                    </a:lnTo>
                    <a:lnTo>
                      <a:pt x="389" y="285"/>
                    </a:lnTo>
                    <a:lnTo>
                      <a:pt x="389" y="283"/>
                    </a:lnTo>
                    <a:lnTo>
                      <a:pt x="389" y="281"/>
                    </a:lnTo>
                    <a:lnTo>
                      <a:pt x="391" y="281"/>
                    </a:lnTo>
                    <a:lnTo>
                      <a:pt x="395" y="277"/>
                    </a:lnTo>
                    <a:lnTo>
                      <a:pt x="395" y="276"/>
                    </a:lnTo>
                    <a:lnTo>
                      <a:pt x="396" y="274"/>
                    </a:lnTo>
                    <a:lnTo>
                      <a:pt x="396" y="274"/>
                    </a:lnTo>
                    <a:lnTo>
                      <a:pt x="395" y="272"/>
                    </a:lnTo>
                    <a:lnTo>
                      <a:pt x="389" y="272"/>
                    </a:lnTo>
                    <a:lnTo>
                      <a:pt x="385" y="272"/>
                    </a:lnTo>
                    <a:lnTo>
                      <a:pt x="383" y="270"/>
                    </a:lnTo>
                    <a:lnTo>
                      <a:pt x="383" y="268"/>
                    </a:lnTo>
                    <a:lnTo>
                      <a:pt x="379" y="268"/>
                    </a:lnTo>
                    <a:lnTo>
                      <a:pt x="379" y="268"/>
                    </a:lnTo>
                    <a:lnTo>
                      <a:pt x="377" y="268"/>
                    </a:lnTo>
                    <a:lnTo>
                      <a:pt x="375" y="264"/>
                    </a:lnTo>
                    <a:lnTo>
                      <a:pt x="374" y="262"/>
                    </a:lnTo>
                    <a:lnTo>
                      <a:pt x="374" y="260"/>
                    </a:lnTo>
                    <a:lnTo>
                      <a:pt x="374" y="260"/>
                    </a:lnTo>
                    <a:lnTo>
                      <a:pt x="372" y="258"/>
                    </a:lnTo>
                    <a:lnTo>
                      <a:pt x="372" y="258"/>
                    </a:lnTo>
                    <a:lnTo>
                      <a:pt x="375" y="253"/>
                    </a:lnTo>
                    <a:lnTo>
                      <a:pt x="374" y="251"/>
                    </a:lnTo>
                    <a:lnTo>
                      <a:pt x="374" y="249"/>
                    </a:lnTo>
                    <a:lnTo>
                      <a:pt x="372" y="247"/>
                    </a:lnTo>
                    <a:lnTo>
                      <a:pt x="370" y="245"/>
                    </a:lnTo>
                    <a:lnTo>
                      <a:pt x="370" y="243"/>
                    </a:lnTo>
                    <a:lnTo>
                      <a:pt x="366" y="243"/>
                    </a:lnTo>
                    <a:lnTo>
                      <a:pt x="366" y="245"/>
                    </a:lnTo>
                    <a:lnTo>
                      <a:pt x="364" y="245"/>
                    </a:lnTo>
                    <a:lnTo>
                      <a:pt x="362" y="245"/>
                    </a:lnTo>
                    <a:lnTo>
                      <a:pt x="362" y="245"/>
                    </a:lnTo>
                    <a:lnTo>
                      <a:pt x="360" y="245"/>
                    </a:lnTo>
                    <a:lnTo>
                      <a:pt x="360" y="247"/>
                    </a:lnTo>
                    <a:lnTo>
                      <a:pt x="358" y="249"/>
                    </a:lnTo>
                    <a:lnTo>
                      <a:pt x="356" y="249"/>
                    </a:lnTo>
                    <a:lnTo>
                      <a:pt x="356" y="249"/>
                    </a:lnTo>
                    <a:lnTo>
                      <a:pt x="353" y="249"/>
                    </a:lnTo>
                    <a:lnTo>
                      <a:pt x="349" y="247"/>
                    </a:lnTo>
                    <a:lnTo>
                      <a:pt x="347" y="245"/>
                    </a:lnTo>
                    <a:lnTo>
                      <a:pt x="341" y="245"/>
                    </a:lnTo>
                    <a:lnTo>
                      <a:pt x="339" y="245"/>
                    </a:lnTo>
                    <a:lnTo>
                      <a:pt x="337" y="243"/>
                    </a:lnTo>
                    <a:lnTo>
                      <a:pt x="337" y="241"/>
                    </a:lnTo>
                    <a:lnTo>
                      <a:pt x="333" y="239"/>
                    </a:lnTo>
                    <a:lnTo>
                      <a:pt x="332" y="236"/>
                    </a:lnTo>
                    <a:lnTo>
                      <a:pt x="328" y="234"/>
                    </a:lnTo>
                    <a:lnTo>
                      <a:pt x="326" y="232"/>
                    </a:lnTo>
                    <a:lnTo>
                      <a:pt x="324" y="222"/>
                    </a:lnTo>
                    <a:lnTo>
                      <a:pt x="322" y="218"/>
                    </a:lnTo>
                    <a:lnTo>
                      <a:pt x="313" y="213"/>
                    </a:lnTo>
                    <a:lnTo>
                      <a:pt x="305" y="205"/>
                    </a:lnTo>
                    <a:lnTo>
                      <a:pt x="301" y="201"/>
                    </a:lnTo>
                    <a:lnTo>
                      <a:pt x="295" y="203"/>
                    </a:lnTo>
                    <a:lnTo>
                      <a:pt x="293" y="205"/>
                    </a:lnTo>
                    <a:lnTo>
                      <a:pt x="292" y="207"/>
                    </a:lnTo>
                    <a:lnTo>
                      <a:pt x="288" y="207"/>
                    </a:lnTo>
                    <a:lnTo>
                      <a:pt x="286" y="205"/>
                    </a:lnTo>
                    <a:lnTo>
                      <a:pt x="286" y="201"/>
                    </a:lnTo>
                    <a:lnTo>
                      <a:pt x="286" y="201"/>
                    </a:lnTo>
                    <a:lnTo>
                      <a:pt x="284" y="198"/>
                    </a:lnTo>
                    <a:lnTo>
                      <a:pt x="284" y="198"/>
                    </a:lnTo>
                    <a:lnTo>
                      <a:pt x="284" y="196"/>
                    </a:lnTo>
                    <a:lnTo>
                      <a:pt x="282" y="194"/>
                    </a:lnTo>
                    <a:lnTo>
                      <a:pt x="282" y="188"/>
                    </a:lnTo>
                    <a:lnTo>
                      <a:pt x="282" y="186"/>
                    </a:lnTo>
                    <a:lnTo>
                      <a:pt x="282" y="186"/>
                    </a:lnTo>
                    <a:lnTo>
                      <a:pt x="284" y="186"/>
                    </a:lnTo>
                    <a:lnTo>
                      <a:pt x="286" y="179"/>
                    </a:lnTo>
                    <a:lnTo>
                      <a:pt x="288" y="173"/>
                    </a:lnTo>
                    <a:lnTo>
                      <a:pt x="292" y="171"/>
                    </a:lnTo>
                    <a:lnTo>
                      <a:pt x="292" y="167"/>
                    </a:lnTo>
                    <a:lnTo>
                      <a:pt x="292" y="167"/>
                    </a:lnTo>
                    <a:lnTo>
                      <a:pt x="292" y="165"/>
                    </a:lnTo>
                    <a:lnTo>
                      <a:pt x="290" y="165"/>
                    </a:lnTo>
                    <a:lnTo>
                      <a:pt x="290" y="165"/>
                    </a:lnTo>
                    <a:lnTo>
                      <a:pt x="290" y="163"/>
                    </a:lnTo>
                    <a:lnTo>
                      <a:pt x="290" y="161"/>
                    </a:lnTo>
                    <a:lnTo>
                      <a:pt x="290" y="161"/>
                    </a:lnTo>
                    <a:lnTo>
                      <a:pt x="292" y="158"/>
                    </a:lnTo>
                    <a:lnTo>
                      <a:pt x="293" y="156"/>
                    </a:lnTo>
                    <a:lnTo>
                      <a:pt x="297" y="152"/>
                    </a:lnTo>
                    <a:lnTo>
                      <a:pt x="297" y="152"/>
                    </a:lnTo>
                    <a:lnTo>
                      <a:pt x="299" y="150"/>
                    </a:lnTo>
                    <a:lnTo>
                      <a:pt x="299" y="150"/>
                    </a:lnTo>
                    <a:lnTo>
                      <a:pt x="301" y="150"/>
                    </a:lnTo>
                    <a:lnTo>
                      <a:pt x="303" y="148"/>
                    </a:lnTo>
                    <a:lnTo>
                      <a:pt x="311" y="146"/>
                    </a:lnTo>
                    <a:lnTo>
                      <a:pt x="313" y="144"/>
                    </a:lnTo>
                    <a:lnTo>
                      <a:pt x="314" y="142"/>
                    </a:lnTo>
                    <a:lnTo>
                      <a:pt x="314" y="139"/>
                    </a:lnTo>
                    <a:lnTo>
                      <a:pt x="314" y="135"/>
                    </a:lnTo>
                    <a:lnTo>
                      <a:pt x="316" y="133"/>
                    </a:lnTo>
                    <a:lnTo>
                      <a:pt x="318" y="131"/>
                    </a:lnTo>
                    <a:lnTo>
                      <a:pt x="324" y="127"/>
                    </a:lnTo>
                    <a:lnTo>
                      <a:pt x="326" y="127"/>
                    </a:lnTo>
                    <a:lnTo>
                      <a:pt x="326" y="125"/>
                    </a:lnTo>
                    <a:lnTo>
                      <a:pt x="326" y="125"/>
                    </a:lnTo>
                    <a:lnTo>
                      <a:pt x="328" y="125"/>
                    </a:lnTo>
                    <a:lnTo>
                      <a:pt x="328" y="125"/>
                    </a:lnTo>
                    <a:lnTo>
                      <a:pt x="330" y="125"/>
                    </a:lnTo>
                    <a:lnTo>
                      <a:pt x="332" y="125"/>
                    </a:lnTo>
                    <a:lnTo>
                      <a:pt x="332" y="125"/>
                    </a:lnTo>
                    <a:lnTo>
                      <a:pt x="335" y="125"/>
                    </a:lnTo>
                    <a:lnTo>
                      <a:pt x="333" y="121"/>
                    </a:lnTo>
                    <a:lnTo>
                      <a:pt x="332" y="114"/>
                    </a:lnTo>
                    <a:lnTo>
                      <a:pt x="330" y="112"/>
                    </a:lnTo>
                    <a:lnTo>
                      <a:pt x="326" y="110"/>
                    </a:lnTo>
                    <a:lnTo>
                      <a:pt x="320" y="108"/>
                    </a:lnTo>
                    <a:lnTo>
                      <a:pt x="316" y="108"/>
                    </a:lnTo>
                    <a:lnTo>
                      <a:pt x="316" y="108"/>
                    </a:lnTo>
                    <a:lnTo>
                      <a:pt x="314" y="108"/>
                    </a:lnTo>
                    <a:lnTo>
                      <a:pt x="314" y="112"/>
                    </a:lnTo>
                    <a:lnTo>
                      <a:pt x="314" y="112"/>
                    </a:lnTo>
                    <a:lnTo>
                      <a:pt x="313" y="112"/>
                    </a:lnTo>
                    <a:lnTo>
                      <a:pt x="313" y="110"/>
                    </a:lnTo>
                    <a:lnTo>
                      <a:pt x="313" y="108"/>
                    </a:lnTo>
                    <a:lnTo>
                      <a:pt x="313" y="106"/>
                    </a:lnTo>
                    <a:lnTo>
                      <a:pt x="313" y="106"/>
                    </a:lnTo>
                    <a:lnTo>
                      <a:pt x="314" y="102"/>
                    </a:lnTo>
                    <a:lnTo>
                      <a:pt x="316" y="95"/>
                    </a:lnTo>
                    <a:lnTo>
                      <a:pt x="318" y="93"/>
                    </a:lnTo>
                    <a:lnTo>
                      <a:pt x="318" y="89"/>
                    </a:lnTo>
                    <a:lnTo>
                      <a:pt x="320" y="87"/>
                    </a:lnTo>
                    <a:lnTo>
                      <a:pt x="322" y="89"/>
                    </a:lnTo>
                    <a:lnTo>
                      <a:pt x="322" y="91"/>
                    </a:lnTo>
                    <a:lnTo>
                      <a:pt x="322" y="95"/>
                    </a:lnTo>
                    <a:lnTo>
                      <a:pt x="322" y="97"/>
                    </a:lnTo>
                    <a:lnTo>
                      <a:pt x="324" y="99"/>
                    </a:lnTo>
                    <a:lnTo>
                      <a:pt x="328" y="101"/>
                    </a:lnTo>
                    <a:lnTo>
                      <a:pt x="330" y="101"/>
                    </a:lnTo>
                    <a:lnTo>
                      <a:pt x="332" y="102"/>
                    </a:lnTo>
                    <a:lnTo>
                      <a:pt x="333" y="104"/>
                    </a:lnTo>
                    <a:lnTo>
                      <a:pt x="335" y="106"/>
                    </a:lnTo>
                    <a:lnTo>
                      <a:pt x="335" y="106"/>
                    </a:lnTo>
                    <a:lnTo>
                      <a:pt x="339" y="108"/>
                    </a:lnTo>
                    <a:lnTo>
                      <a:pt x="341" y="110"/>
                    </a:lnTo>
                    <a:lnTo>
                      <a:pt x="343" y="110"/>
                    </a:lnTo>
                    <a:lnTo>
                      <a:pt x="345" y="110"/>
                    </a:lnTo>
                    <a:lnTo>
                      <a:pt x="347" y="110"/>
                    </a:lnTo>
                    <a:lnTo>
                      <a:pt x="347" y="112"/>
                    </a:lnTo>
                    <a:lnTo>
                      <a:pt x="349" y="114"/>
                    </a:lnTo>
                    <a:lnTo>
                      <a:pt x="349" y="116"/>
                    </a:lnTo>
                    <a:lnTo>
                      <a:pt x="351" y="116"/>
                    </a:lnTo>
                    <a:lnTo>
                      <a:pt x="353" y="116"/>
                    </a:lnTo>
                    <a:lnTo>
                      <a:pt x="354" y="118"/>
                    </a:lnTo>
                    <a:lnTo>
                      <a:pt x="354" y="118"/>
                    </a:lnTo>
                    <a:lnTo>
                      <a:pt x="354" y="120"/>
                    </a:lnTo>
                    <a:lnTo>
                      <a:pt x="354" y="120"/>
                    </a:lnTo>
                    <a:lnTo>
                      <a:pt x="354" y="121"/>
                    </a:lnTo>
                    <a:lnTo>
                      <a:pt x="356" y="121"/>
                    </a:lnTo>
                    <a:lnTo>
                      <a:pt x="356" y="123"/>
                    </a:lnTo>
                    <a:lnTo>
                      <a:pt x="356" y="125"/>
                    </a:lnTo>
                    <a:lnTo>
                      <a:pt x="360" y="125"/>
                    </a:lnTo>
                    <a:lnTo>
                      <a:pt x="362" y="127"/>
                    </a:lnTo>
                    <a:lnTo>
                      <a:pt x="362" y="129"/>
                    </a:lnTo>
                    <a:lnTo>
                      <a:pt x="360" y="131"/>
                    </a:lnTo>
                    <a:lnTo>
                      <a:pt x="358" y="133"/>
                    </a:lnTo>
                    <a:lnTo>
                      <a:pt x="354" y="135"/>
                    </a:lnTo>
                    <a:lnTo>
                      <a:pt x="353" y="137"/>
                    </a:lnTo>
                    <a:lnTo>
                      <a:pt x="356" y="139"/>
                    </a:lnTo>
                    <a:lnTo>
                      <a:pt x="366" y="135"/>
                    </a:lnTo>
                    <a:lnTo>
                      <a:pt x="370" y="137"/>
                    </a:lnTo>
                    <a:lnTo>
                      <a:pt x="372" y="139"/>
                    </a:lnTo>
                    <a:lnTo>
                      <a:pt x="372" y="140"/>
                    </a:lnTo>
                    <a:lnTo>
                      <a:pt x="374" y="142"/>
                    </a:lnTo>
                    <a:lnTo>
                      <a:pt x="375" y="144"/>
                    </a:lnTo>
                    <a:lnTo>
                      <a:pt x="377" y="142"/>
                    </a:lnTo>
                    <a:lnTo>
                      <a:pt x="379" y="139"/>
                    </a:lnTo>
                    <a:lnTo>
                      <a:pt x="381" y="137"/>
                    </a:lnTo>
                    <a:lnTo>
                      <a:pt x="385" y="137"/>
                    </a:lnTo>
                    <a:lnTo>
                      <a:pt x="391" y="142"/>
                    </a:lnTo>
                    <a:lnTo>
                      <a:pt x="395" y="144"/>
                    </a:lnTo>
                    <a:lnTo>
                      <a:pt x="400" y="142"/>
                    </a:lnTo>
                    <a:lnTo>
                      <a:pt x="402" y="140"/>
                    </a:lnTo>
                    <a:lnTo>
                      <a:pt x="402" y="139"/>
                    </a:lnTo>
                    <a:lnTo>
                      <a:pt x="400" y="137"/>
                    </a:lnTo>
                    <a:lnTo>
                      <a:pt x="398" y="137"/>
                    </a:lnTo>
                    <a:lnTo>
                      <a:pt x="398" y="137"/>
                    </a:lnTo>
                    <a:lnTo>
                      <a:pt x="398" y="133"/>
                    </a:lnTo>
                    <a:lnTo>
                      <a:pt x="398" y="135"/>
                    </a:lnTo>
                    <a:lnTo>
                      <a:pt x="396" y="135"/>
                    </a:lnTo>
                    <a:lnTo>
                      <a:pt x="395" y="135"/>
                    </a:lnTo>
                    <a:lnTo>
                      <a:pt x="395" y="133"/>
                    </a:lnTo>
                    <a:lnTo>
                      <a:pt x="393" y="129"/>
                    </a:lnTo>
                    <a:lnTo>
                      <a:pt x="391" y="127"/>
                    </a:lnTo>
                    <a:lnTo>
                      <a:pt x="387" y="127"/>
                    </a:lnTo>
                    <a:lnTo>
                      <a:pt x="385" y="123"/>
                    </a:lnTo>
                    <a:lnTo>
                      <a:pt x="385" y="121"/>
                    </a:lnTo>
                    <a:lnTo>
                      <a:pt x="385" y="118"/>
                    </a:lnTo>
                    <a:lnTo>
                      <a:pt x="387" y="116"/>
                    </a:lnTo>
                    <a:lnTo>
                      <a:pt x="389" y="114"/>
                    </a:lnTo>
                    <a:lnTo>
                      <a:pt x="391" y="114"/>
                    </a:lnTo>
                    <a:lnTo>
                      <a:pt x="391" y="114"/>
                    </a:lnTo>
                    <a:lnTo>
                      <a:pt x="393" y="116"/>
                    </a:lnTo>
                    <a:lnTo>
                      <a:pt x="395" y="116"/>
                    </a:lnTo>
                    <a:lnTo>
                      <a:pt x="396" y="118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400" y="121"/>
                    </a:lnTo>
                    <a:lnTo>
                      <a:pt x="404" y="121"/>
                    </a:lnTo>
                    <a:lnTo>
                      <a:pt x="404" y="123"/>
                    </a:lnTo>
                    <a:lnTo>
                      <a:pt x="404" y="125"/>
                    </a:lnTo>
                    <a:lnTo>
                      <a:pt x="404" y="125"/>
                    </a:lnTo>
                    <a:lnTo>
                      <a:pt x="404" y="127"/>
                    </a:lnTo>
                    <a:lnTo>
                      <a:pt x="406" y="127"/>
                    </a:lnTo>
                    <a:lnTo>
                      <a:pt x="410" y="129"/>
                    </a:lnTo>
                    <a:lnTo>
                      <a:pt x="410" y="129"/>
                    </a:lnTo>
                    <a:lnTo>
                      <a:pt x="410" y="131"/>
                    </a:lnTo>
                    <a:lnTo>
                      <a:pt x="410" y="131"/>
                    </a:lnTo>
                    <a:lnTo>
                      <a:pt x="408" y="131"/>
                    </a:lnTo>
                    <a:lnTo>
                      <a:pt x="406" y="131"/>
                    </a:lnTo>
                    <a:lnTo>
                      <a:pt x="406" y="135"/>
                    </a:lnTo>
                    <a:lnTo>
                      <a:pt x="408" y="137"/>
                    </a:lnTo>
                    <a:lnTo>
                      <a:pt x="410" y="140"/>
                    </a:lnTo>
                    <a:lnTo>
                      <a:pt x="410" y="144"/>
                    </a:lnTo>
                    <a:lnTo>
                      <a:pt x="412" y="152"/>
                    </a:lnTo>
                    <a:lnTo>
                      <a:pt x="414" y="154"/>
                    </a:lnTo>
                    <a:lnTo>
                      <a:pt x="414" y="156"/>
                    </a:lnTo>
                    <a:lnTo>
                      <a:pt x="423" y="160"/>
                    </a:lnTo>
                    <a:lnTo>
                      <a:pt x="425" y="161"/>
                    </a:lnTo>
                    <a:lnTo>
                      <a:pt x="425" y="163"/>
                    </a:lnTo>
                    <a:lnTo>
                      <a:pt x="427" y="165"/>
                    </a:lnTo>
                    <a:lnTo>
                      <a:pt x="427" y="167"/>
                    </a:lnTo>
                    <a:lnTo>
                      <a:pt x="433" y="169"/>
                    </a:lnTo>
                    <a:lnTo>
                      <a:pt x="435" y="173"/>
                    </a:lnTo>
                    <a:lnTo>
                      <a:pt x="436" y="175"/>
                    </a:lnTo>
                    <a:lnTo>
                      <a:pt x="440" y="175"/>
                    </a:lnTo>
                    <a:lnTo>
                      <a:pt x="442" y="175"/>
                    </a:lnTo>
                    <a:lnTo>
                      <a:pt x="444" y="175"/>
                    </a:lnTo>
                    <a:lnTo>
                      <a:pt x="446" y="173"/>
                    </a:lnTo>
                    <a:lnTo>
                      <a:pt x="446" y="173"/>
                    </a:lnTo>
                    <a:lnTo>
                      <a:pt x="448" y="175"/>
                    </a:lnTo>
                    <a:lnTo>
                      <a:pt x="450" y="177"/>
                    </a:lnTo>
                    <a:lnTo>
                      <a:pt x="450" y="177"/>
                    </a:lnTo>
                    <a:lnTo>
                      <a:pt x="450" y="177"/>
                    </a:lnTo>
                    <a:lnTo>
                      <a:pt x="452" y="175"/>
                    </a:lnTo>
                    <a:lnTo>
                      <a:pt x="452" y="175"/>
                    </a:lnTo>
                    <a:lnTo>
                      <a:pt x="452" y="175"/>
                    </a:lnTo>
                    <a:lnTo>
                      <a:pt x="452" y="175"/>
                    </a:lnTo>
                    <a:lnTo>
                      <a:pt x="457" y="175"/>
                    </a:lnTo>
                    <a:lnTo>
                      <a:pt x="459" y="175"/>
                    </a:lnTo>
                    <a:lnTo>
                      <a:pt x="459" y="175"/>
                    </a:lnTo>
                    <a:lnTo>
                      <a:pt x="459" y="175"/>
                    </a:lnTo>
                    <a:lnTo>
                      <a:pt x="461" y="179"/>
                    </a:lnTo>
                    <a:lnTo>
                      <a:pt x="463" y="180"/>
                    </a:lnTo>
                    <a:lnTo>
                      <a:pt x="463" y="180"/>
                    </a:lnTo>
                    <a:lnTo>
                      <a:pt x="465" y="180"/>
                    </a:lnTo>
                    <a:lnTo>
                      <a:pt x="467" y="179"/>
                    </a:lnTo>
                    <a:lnTo>
                      <a:pt x="467" y="177"/>
                    </a:lnTo>
                    <a:lnTo>
                      <a:pt x="467" y="175"/>
                    </a:lnTo>
                    <a:lnTo>
                      <a:pt x="467" y="171"/>
                    </a:lnTo>
                    <a:lnTo>
                      <a:pt x="473" y="167"/>
                    </a:lnTo>
                    <a:lnTo>
                      <a:pt x="475" y="165"/>
                    </a:lnTo>
                    <a:lnTo>
                      <a:pt x="473" y="163"/>
                    </a:lnTo>
                    <a:lnTo>
                      <a:pt x="473" y="163"/>
                    </a:lnTo>
                    <a:lnTo>
                      <a:pt x="471" y="163"/>
                    </a:lnTo>
                    <a:lnTo>
                      <a:pt x="469" y="163"/>
                    </a:lnTo>
                    <a:lnTo>
                      <a:pt x="469" y="161"/>
                    </a:lnTo>
                    <a:lnTo>
                      <a:pt x="471" y="160"/>
                    </a:lnTo>
                    <a:lnTo>
                      <a:pt x="473" y="160"/>
                    </a:lnTo>
                    <a:lnTo>
                      <a:pt x="473" y="158"/>
                    </a:lnTo>
                    <a:lnTo>
                      <a:pt x="471" y="158"/>
                    </a:lnTo>
                    <a:lnTo>
                      <a:pt x="469" y="158"/>
                    </a:lnTo>
                    <a:lnTo>
                      <a:pt x="469" y="156"/>
                    </a:lnTo>
                    <a:lnTo>
                      <a:pt x="469" y="152"/>
                    </a:lnTo>
                    <a:lnTo>
                      <a:pt x="471" y="152"/>
                    </a:lnTo>
                    <a:lnTo>
                      <a:pt x="471" y="152"/>
                    </a:lnTo>
                    <a:lnTo>
                      <a:pt x="473" y="152"/>
                    </a:lnTo>
                    <a:lnTo>
                      <a:pt x="475" y="152"/>
                    </a:lnTo>
                    <a:lnTo>
                      <a:pt x="475" y="152"/>
                    </a:lnTo>
                    <a:lnTo>
                      <a:pt x="475" y="150"/>
                    </a:lnTo>
                    <a:lnTo>
                      <a:pt x="475" y="146"/>
                    </a:lnTo>
                    <a:lnTo>
                      <a:pt x="475" y="144"/>
                    </a:lnTo>
                    <a:lnTo>
                      <a:pt x="476" y="144"/>
                    </a:lnTo>
                    <a:lnTo>
                      <a:pt x="480" y="144"/>
                    </a:lnTo>
                    <a:lnTo>
                      <a:pt x="480" y="146"/>
                    </a:lnTo>
                    <a:lnTo>
                      <a:pt x="480" y="148"/>
                    </a:lnTo>
                    <a:lnTo>
                      <a:pt x="484" y="148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46"/>
                    </a:lnTo>
                    <a:lnTo>
                      <a:pt x="490" y="144"/>
                    </a:lnTo>
                    <a:lnTo>
                      <a:pt x="490" y="142"/>
                    </a:lnTo>
                    <a:lnTo>
                      <a:pt x="490" y="142"/>
                    </a:lnTo>
                    <a:lnTo>
                      <a:pt x="490" y="140"/>
                    </a:lnTo>
                    <a:lnTo>
                      <a:pt x="490" y="140"/>
                    </a:lnTo>
                    <a:lnTo>
                      <a:pt x="492" y="140"/>
                    </a:lnTo>
                    <a:lnTo>
                      <a:pt x="494" y="139"/>
                    </a:lnTo>
                    <a:lnTo>
                      <a:pt x="496" y="133"/>
                    </a:lnTo>
                    <a:lnTo>
                      <a:pt x="496" y="133"/>
                    </a:lnTo>
                    <a:lnTo>
                      <a:pt x="496" y="131"/>
                    </a:lnTo>
                    <a:lnTo>
                      <a:pt x="499" y="131"/>
                    </a:lnTo>
                    <a:lnTo>
                      <a:pt x="501" y="129"/>
                    </a:lnTo>
                    <a:lnTo>
                      <a:pt x="501" y="129"/>
                    </a:lnTo>
                    <a:lnTo>
                      <a:pt x="501" y="129"/>
                    </a:lnTo>
                    <a:lnTo>
                      <a:pt x="501" y="127"/>
                    </a:lnTo>
                    <a:lnTo>
                      <a:pt x="499" y="127"/>
                    </a:lnTo>
                    <a:lnTo>
                      <a:pt x="499" y="125"/>
                    </a:lnTo>
                    <a:lnTo>
                      <a:pt x="499" y="125"/>
                    </a:lnTo>
                    <a:lnTo>
                      <a:pt x="499" y="123"/>
                    </a:lnTo>
                    <a:lnTo>
                      <a:pt x="501" y="123"/>
                    </a:lnTo>
                    <a:lnTo>
                      <a:pt x="503" y="121"/>
                    </a:lnTo>
                    <a:lnTo>
                      <a:pt x="503" y="121"/>
                    </a:lnTo>
                    <a:lnTo>
                      <a:pt x="503" y="121"/>
                    </a:lnTo>
                    <a:lnTo>
                      <a:pt x="505" y="112"/>
                    </a:lnTo>
                    <a:lnTo>
                      <a:pt x="505" y="110"/>
                    </a:lnTo>
                    <a:lnTo>
                      <a:pt x="507" y="104"/>
                    </a:lnTo>
                    <a:lnTo>
                      <a:pt x="507" y="104"/>
                    </a:lnTo>
                    <a:lnTo>
                      <a:pt x="507" y="104"/>
                    </a:lnTo>
                    <a:lnTo>
                      <a:pt x="507" y="104"/>
                    </a:lnTo>
                    <a:lnTo>
                      <a:pt x="509" y="101"/>
                    </a:lnTo>
                    <a:lnTo>
                      <a:pt x="507" y="85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4" name="Freeform 6">
                <a:extLst>
                  <a:ext uri="{FF2B5EF4-FFF2-40B4-BE49-F238E27FC236}">
                    <a16:creationId xmlns:a16="http://schemas.microsoft.com/office/drawing/2014/main" id="{23E852C0-EBDC-4F04-B61C-5664A68BD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5919" y="2792886"/>
                <a:ext cx="687388" cy="622300"/>
              </a:xfrm>
              <a:custGeom>
                <a:avLst/>
                <a:gdLst>
                  <a:gd name="T0" fmla="*/ 399 w 433"/>
                  <a:gd name="T1" fmla="*/ 155 h 392"/>
                  <a:gd name="T2" fmla="*/ 370 w 433"/>
                  <a:gd name="T3" fmla="*/ 143 h 392"/>
                  <a:gd name="T4" fmla="*/ 332 w 433"/>
                  <a:gd name="T5" fmla="*/ 124 h 392"/>
                  <a:gd name="T6" fmla="*/ 330 w 433"/>
                  <a:gd name="T7" fmla="*/ 111 h 392"/>
                  <a:gd name="T8" fmla="*/ 326 w 433"/>
                  <a:gd name="T9" fmla="*/ 94 h 392"/>
                  <a:gd name="T10" fmla="*/ 298 w 433"/>
                  <a:gd name="T11" fmla="*/ 82 h 392"/>
                  <a:gd name="T12" fmla="*/ 277 w 433"/>
                  <a:gd name="T13" fmla="*/ 67 h 392"/>
                  <a:gd name="T14" fmla="*/ 250 w 433"/>
                  <a:gd name="T15" fmla="*/ 73 h 392"/>
                  <a:gd name="T16" fmla="*/ 241 w 433"/>
                  <a:gd name="T17" fmla="*/ 63 h 392"/>
                  <a:gd name="T18" fmla="*/ 229 w 433"/>
                  <a:gd name="T19" fmla="*/ 54 h 392"/>
                  <a:gd name="T20" fmla="*/ 216 w 433"/>
                  <a:gd name="T21" fmla="*/ 37 h 392"/>
                  <a:gd name="T22" fmla="*/ 208 w 433"/>
                  <a:gd name="T23" fmla="*/ 25 h 392"/>
                  <a:gd name="T24" fmla="*/ 204 w 433"/>
                  <a:gd name="T25" fmla="*/ 16 h 392"/>
                  <a:gd name="T26" fmla="*/ 189 w 433"/>
                  <a:gd name="T27" fmla="*/ 0 h 392"/>
                  <a:gd name="T28" fmla="*/ 168 w 433"/>
                  <a:gd name="T29" fmla="*/ 18 h 392"/>
                  <a:gd name="T30" fmla="*/ 182 w 433"/>
                  <a:gd name="T31" fmla="*/ 42 h 392"/>
                  <a:gd name="T32" fmla="*/ 159 w 433"/>
                  <a:gd name="T33" fmla="*/ 40 h 392"/>
                  <a:gd name="T34" fmla="*/ 138 w 433"/>
                  <a:gd name="T35" fmla="*/ 33 h 392"/>
                  <a:gd name="T36" fmla="*/ 117 w 433"/>
                  <a:gd name="T37" fmla="*/ 33 h 392"/>
                  <a:gd name="T38" fmla="*/ 103 w 433"/>
                  <a:gd name="T39" fmla="*/ 23 h 392"/>
                  <a:gd name="T40" fmla="*/ 79 w 433"/>
                  <a:gd name="T41" fmla="*/ 29 h 392"/>
                  <a:gd name="T42" fmla="*/ 48 w 433"/>
                  <a:gd name="T43" fmla="*/ 39 h 392"/>
                  <a:gd name="T44" fmla="*/ 31 w 433"/>
                  <a:gd name="T45" fmla="*/ 63 h 392"/>
                  <a:gd name="T46" fmla="*/ 25 w 433"/>
                  <a:gd name="T47" fmla="*/ 69 h 392"/>
                  <a:gd name="T48" fmla="*/ 27 w 433"/>
                  <a:gd name="T49" fmla="*/ 82 h 392"/>
                  <a:gd name="T50" fmla="*/ 19 w 433"/>
                  <a:gd name="T51" fmla="*/ 99 h 392"/>
                  <a:gd name="T52" fmla="*/ 27 w 433"/>
                  <a:gd name="T53" fmla="*/ 118 h 392"/>
                  <a:gd name="T54" fmla="*/ 31 w 433"/>
                  <a:gd name="T55" fmla="*/ 130 h 392"/>
                  <a:gd name="T56" fmla="*/ 18 w 433"/>
                  <a:gd name="T57" fmla="*/ 143 h 392"/>
                  <a:gd name="T58" fmla="*/ 2 w 433"/>
                  <a:gd name="T59" fmla="*/ 153 h 392"/>
                  <a:gd name="T60" fmla="*/ 48 w 433"/>
                  <a:gd name="T61" fmla="*/ 177 h 392"/>
                  <a:gd name="T62" fmla="*/ 23 w 433"/>
                  <a:gd name="T63" fmla="*/ 221 h 392"/>
                  <a:gd name="T64" fmla="*/ 50 w 433"/>
                  <a:gd name="T65" fmla="*/ 250 h 392"/>
                  <a:gd name="T66" fmla="*/ 79 w 433"/>
                  <a:gd name="T67" fmla="*/ 252 h 392"/>
                  <a:gd name="T68" fmla="*/ 79 w 433"/>
                  <a:gd name="T69" fmla="*/ 217 h 392"/>
                  <a:gd name="T70" fmla="*/ 101 w 433"/>
                  <a:gd name="T71" fmla="*/ 242 h 392"/>
                  <a:gd name="T72" fmla="*/ 157 w 433"/>
                  <a:gd name="T73" fmla="*/ 288 h 392"/>
                  <a:gd name="T74" fmla="*/ 162 w 433"/>
                  <a:gd name="T75" fmla="*/ 305 h 392"/>
                  <a:gd name="T76" fmla="*/ 153 w 433"/>
                  <a:gd name="T77" fmla="*/ 307 h 392"/>
                  <a:gd name="T78" fmla="*/ 147 w 433"/>
                  <a:gd name="T79" fmla="*/ 311 h 392"/>
                  <a:gd name="T80" fmla="*/ 170 w 433"/>
                  <a:gd name="T81" fmla="*/ 332 h 392"/>
                  <a:gd name="T82" fmla="*/ 199 w 433"/>
                  <a:gd name="T83" fmla="*/ 339 h 392"/>
                  <a:gd name="T84" fmla="*/ 224 w 433"/>
                  <a:gd name="T85" fmla="*/ 358 h 392"/>
                  <a:gd name="T86" fmla="*/ 233 w 433"/>
                  <a:gd name="T87" fmla="*/ 364 h 392"/>
                  <a:gd name="T88" fmla="*/ 256 w 433"/>
                  <a:gd name="T89" fmla="*/ 375 h 392"/>
                  <a:gd name="T90" fmla="*/ 275 w 433"/>
                  <a:gd name="T91" fmla="*/ 370 h 392"/>
                  <a:gd name="T92" fmla="*/ 286 w 433"/>
                  <a:gd name="T93" fmla="*/ 381 h 392"/>
                  <a:gd name="T94" fmla="*/ 294 w 433"/>
                  <a:gd name="T95" fmla="*/ 385 h 392"/>
                  <a:gd name="T96" fmla="*/ 302 w 433"/>
                  <a:gd name="T97" fmla="*/ 391 h 392"/>
                  <a:gd name="T98" fmla="*/ 315 w 433"/>
                  <a:gd name="T99" fmla="*/ 381 h 392"/>
                  <a:gd name="T100" fmla="*/ 313 w 433"/>
                  <a:gd name="T101" fmla="*/ 360 h 392"/>
                  <a:gd name="T102" fmla="*/ 323 w 433"/>
                  <a:gd name="T103" fmla="*/ 337 h 392"/>
                  <a:gd name="T104" fmla="*/ 334 w 433"/>
                  <a:gd name="T105" fmla="*/ 324 h 392"/>
                  <a:gd name="T106" fmla="*/ 340 w 433"/>
                  <a:gd name="T107" fmla="*/ 309 h 392"/>
                  <a:gd name="T108" fmla="*/ 340 w 433"/>
                  <a:gd name="T109" fmla="*/ 290 h 392"/>
                  <a:gd name="T110" fmla="*/ 347 w 433"/>
                  <a:gd name="T111" fmla="*/ 280 h 392"/>
                  <a:gd name="T112" fmla="*/ 351 w 433"/>
                  <a:gd name="T113" fmla="*/ 273 h 392"/>
                  <a:gd name="T114" fmla="*/ 353 w 433"/>
                  <a:gd name="T115" fmla="*/ 244 h 392"/>
                  <a:gd name="T116" fmla="*/ 380 w 433"/>
                  <a:gd name="T117" fmla="*/ 215 h 392"/>
                  <a:gd name="T118" fmla="*/ 403 w 433"/>
                  <a:gd name="T119" fmla="*/ 198 h 392"/>
                  <a:gd name="T120" fmla="*/ 420 w 433"/>
                  <a:gd name="T121" fmla="*/ 183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33" h="392">
                    <a:moveTo>
                      <a:pt x="431" y="177"/>
                    </a:moveTo>
                    <a:lnTo>
                      <a:pt x="429" y="174"/>
                    </a:lnTo>
                    <a:lnTo>
                      <a:pt x="426" y="170"/>
                    </a:lnTo>
                    <a:lnTo>
                      <a:pt x="416" y="168"/>
                    </a:lnTo>
                    <a:lnTo>
                      <a:pt x="405" y="164"/>
                    </a:lnTo>
                    <a:lnTo>
                      <a:pt x="403" y="162"/>
                    </a:lnTo>
                    <a:lnTo>
                      <a:pt x="401" y="160"/>
                    </a:lnTo>
                    <a:lnTo>
                      <a:pt x="399" y="155"/>
                    </a:lnTo>
                    <a:lnTo>
                      <a:pt x="397" y="153"/>
                    </a:lnTo>
                    <a:lnTo>
                      <a:pt x="393" y="151"/>
                    </a:lnTo>
                    <a:lnTo>
                      <a:pt x="382" y="143"/>
                    </a:lnTo>
                    <a:lnTo>
                      <a:pt x="378" y="141"/>
                    </a:lnTo>
                    <a:lnTo>
                      <a:pt x="376" y="143"/>
                    </a:lnTo>
                    <a:lnTo>
                      <a:pt x="374" y="143"/>
                    </a:lnTo>
                    <a:lnTo>
                      <a:pt x="372" y="143"/>
                    </a:lnTo>
                    <a:lnTo>
                      <a:pt x="370" y="143"/>
                    </a:lnTo>
                    <a:lnTo>
                      <a:pt x="367" y="139"/>
                    </a:lnTo>
                    <a:lnTo>
                      <a:pt x="361" y="137"/>
                    </a:lnTo>
                    <a:lnTo>
                      <a:pt x="347" y="130"/>
                    </a:lnTo>
                    <a:lnTo>
                      <a:pt x="338" y="128"/>
                    </a:lnTo>
                    <a:lnTo>
                      <a:pt x="334" y="128"/>
                    </a:lnTo>
                    <a:lnTo>
                      <a:pt x="328" y="128"/>
                    </a:lnTo>
                    <a:lnTo>
                      <a:pt x="330" y="126"/>
                    </a:lnTo>
                    <a:lnTo>
                      <a:pt x="332" y="124"/>
                    </a:lnTo>
                    <a:lnTo>
                      <a:pt x="332" y="122"/>
                    </a:lnTo>
                    <a:lnTo>
                      <a:pt x="332" y="118"/>
                    </a:lnTo>
                    <a:lnTo>
                      <a:pt x="330" y="117"/>
                    </a:lnTo>
                    <a:lnTo>
                      <a:pt x="328" y="115"/>
                    </a:lnTo>
                    <a:lnTo>
                      <a:pt x="328" y="115"/>
                    </a:lnTo>
                    <a:lnTo>
                      <a:pt x="328" y="113"/>
                    </a:lnTo>
                    <a:lnTo>
                      <a:pt x="328" y="111"/>
                    </a:lnTo>
                    <a:lnTo>
                      <a:pt x="330" y="111"/>
                    </a:lnTo>
                    <a:lnTo>
                      <a:pt x="330" y="111"/>
                    </a:lnTo>
                    <a:lnTo>
                      <a:pt x="332" y="111"/>
                    </a:lnTo>
                    <a:lnTo>
                      <a:pt x="332" y="111"/>
                    </a:lnTo>
                    <a:lnTo>
                      <a:pt x="336" y="105"/>
                    </a:lnTo>
                    <a:lnTo>
                      <a:pt x="334" y="103"/>
                    </a:lnTo>
                    <a:lnTo>
                      <a:pt x="330" y="101"/>
                    </a:lnTo>
                    <a:lnTo>
                      <a:pt x="328" y="96"/>
                    </a:lnTo>
                    <a:lnTo>
                      <a:pt x="326" y="94"/>
                    </a:lnTo>
                    <a:lnTo>
                      <a:pt x="325" y="94"/>
                    </a:lnTo>
                    <a:lnTo>
                      <a:pt x="321" y="98"/>
                    </a:lnTo>
                    <a:lnTo>
                      <a:pt x="319" y="98"/>
                    </a:lnTo>
                    <a:lnTo>
                      <a:pt x="315" y="96"/>
                    </a:lnTo>
                    <a:lnTo>
                      <a:pt x="313" y="92"/>
                    </a:lnTo>
                    <a:lnTo>
                      <a:pt x="309" y="90"/>
                    </a:lnTo>
                    <a:lnTo>
                      <a:pt x="307" y="86"/>
                    </a:lnTo>
                    <a:lnTo>
                      <a:pt x="298" y="82"/>
                    </a:lnTo>
                    <a:lnTo>
                      <a:pt x="296" y="82"/>
                    </a:lnTo>
                    <a:lnTo>
                      <a:pt x="296" y="82"/>
                    </a:lnTo>
                    <a:lnTo>
                      <a:pt x="294" y="80"/>
                    </a:lnTo>
                    <a:lnTo>
                      <a:pt x="292" y="77"/>
                    </a:lnTo>
                    <a:lnTo>
                      <a:pt x="290" y="73"/>
                    </a:lnTo>
                    <a:lnTo>
                      <a:pt x="288" y="71"/>
                    </a:lnTo>
                    <a:lnTo>
                      <a:pt x="286" y="71"/>
                    </a:lnTo>
                    <a:lnTo>
                      <a:pt x="277" y="67"/>
                    </a:lnTo>
                    <a:lnTo>
                      <a:pt x="273" y="67"/>
                    </a:lnTo>
                    <a:lnTo>
                      <a:pt x="267" y="69"/>
                    </a:lnTo>
                    <a:lnTo>
                      <a:pt x="262" y="69"/>
                    </a:lnTo>
                    <a:lnTo>
                      <a:pt x="260" y="71"/>
                    </a:lnTo>
                    <a:lnTo>
                      <a:pt x="256" y="73"/>
                    </a:lnTo>
                    <a:lnTo>
                      <a:pt x="254" y="73"/>
                    </a:lnTo>
                    <a:lnTo>
                      <a:pt x="252" y="73"/>
                    </a:lnTo>
                    <a:lnTo>
                      <a:pt x="250" y="73"/>
                    </a:lnTo>
                    <a:lnTo>
                      <a:pt x="248" y="71"/>
                    </a:lnTo>
                    <a:lnTo>
                      <a:pt x="246" y="69"/>
                    </a:lnTo>
                    <a:lnTo>
                      <a:pt x="244" y="67"/>
                    </a:lnTo>
                    <a:lnTo>
                      <a:pt x="243" y="65"/>
                    </a:lnTo>
                    <a:lnTo>
                      <a:pt x="243" y="65"/>
                    </a:lnTo>
                    <a:lnTo>
                      <a:pt x="243" y="63"/>
                    </a:lnTo>
                    <a:lnTo>
                      <a:pt x="241" y="63"/>
                    </a:lnTo>
                    <a:lnTo>
                      <a:pt x="241" y="63"/>
                    </a:lnTo>
                    <a:lnTo>
                      <a:pt x="239" y="61"/>
                    </a:lnTo>
                    <a:lnTo>
                      <a:pt x="237" y="61"/>
                    </a:lnTo>
                    <a:lnTo>
                      <a:pt x="235" y="61"/>
                    </a:lnTo>
                    <a:lnTo>
                      <a:pt x="233" y="61"/>
                    </a:lnTo>
                    <a:lnTo>
                      <a:pt x="231" y="61"/>
                    </a:lnTo>
                    <a:lnTo>
                      <a:pt x="231" y="59"/>
                    </a:lnTo>
                    <a:lnTo>
                      <a:pt x="229" y="54"/>
                    </a:lnTo>
                    <a:lnTo>
                      <a:pt x="229" y="54"/>
                    </a:lnTo>
                    <a:lnTo>
                      <a:pt x="227" y="50"/>
                    </a:lnTo>
                    <a:lnTo>
                      <a:pt x="225" y="50"/>
                    </a:lnTo>
                    <a:lnTo>
                      <a:pt x="222" y="48"/>
                    </a:lnTo>
                    <a:lnTo>
                      <a:pt x="218" y="46"/>
                    </a:lnTo>
                    <a:lnTo>
                      <a:pt x="216" y="44"/>
                    </a:lnTo>
                    <a:lnTo>
                      <a:pt x="216" y="42"/>
                    </a:lnTo>
                    <a:lnTo>
                      <a:pt x="216" y="39"/>
                    </a:lnTo>
                    <a:lnTo>
                      <a:pt x="216" y="37"/>
                    </a:lnTo>
                    <a:lnTo>
                      <a:pt x="214" y="33"/>
                    </a:lnTo>
                    <a:lnTo>
                      <a:pt x="212" y="33"/>
                    </a:lnTo>
                    <a:lnTo>
                      <a:pt x="210" y="31"/>
                    </a:lnTo>
                    <a:lnTo>
                      <a:pt x="208" y="31"/>
                    </a:lnTo>
                    <a:lnTo>
                      <a:pt x="208" y="29"/>
                    </a:lnTo>
                    <a:lnTo>
                      <a:pt x="208" y="27"/>
                    </a:lnTo>
                    <a:lnTo>
                      <a:pt x="208" y="27"/>
                    </a:lnTo>
                    <a:lnTo>
                      <a:pt x="208" y="25"/>
                    </a:lnTo>
                    <a:lnTo>
                      <a:pt x="208" y="23"/>
                    </a:lnTo>
                    <a:lnTo>
                      <a:pt x="206" y="23"/>
                    </a:lnTo>
                    <a:lnTo>
                      <a:pt x="206" y="21"/>
                    </a:lnTo>
                    <a:lnTo>
                      <a:pt x="206" y="19"/>
                    </a:lnTo>
                    <a:lnTo>
                      <a:pt x="206" y="18"/>
                    </a:lnTo>
                    <a:lnTo>
                      <a:pt x="206" y="18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3" y="14"/>
                    </a:lnTo>
                    <a:lnTo>
                      <a:pt x="201" y="14"/>
                    </a:lnTo>
                    <a:lnTo>
                      <a:pt x="201" y="12"/>
                    </a:lnTo>
                    <a:lnTo>
                      <a:pt x="199" y="10"/>
                    </a:lnTo>
                    <a:lnTo>
                      <a:pt x="199" y="8"/>
                    </a:lnTo>
                    <a:lnTo>
                      <a:pt x="195" y="4"/>
                    </a:lnTo>
                    <a:lnTo>
                      <a:pt x="191" y="2"/>
                    </a:lnTo>
                    <a:lnTo>
                      <a:pt x="189" y="0"/>
                    </a:lnTo>
                    <a:lnTo>
                      <a:pt x="183" y="2"/>
                    </a:lnTo>
                    <a:lnTo>
                      <a:pt x="182" y="8"/>
                    </a:lnTo>
                    <a:lnTo>
                      <a:pt x="180" y="14"/>
                    </a:lnTo>
                    <a:lnTo>
                      <a:pt x="178" y="18"/>
                    </a:lnTo>
                    <a:lnTo>
                      <a:pt x="176" y="18"/>
                    </a:lnTo>
                    <a:lnTo>
                      <a:pt x="174" y="14"/>
                    </a:lnTo>
                    <a:lnTo>
                      <a:pt x="170" y="12"/>
                    </a:lnTo>
                    <a:lnTo>
                      <a:pt x="168" y="18"/>
                    </a:lnTo>
                    <a:lnTo>
                      <a:pt x="168" y="19"/>
                    </a:lnTo>
                    <a:lnTo>
                      <a:pt x="166" y="21"/>
                    </a:lnTo>
                    <a:lnTo>
                      <a:pt x="168" y="23"/>
                    </a:lnTo>
                    <a:lnTo>
                      <a:pt x="170" y="25"/>
                    </a:lnTo>
                    <a:lnTo>
                      <a:pt x="174" y="29"/>
                    </a:lnTo>
                    <a:lnTo>
                      <a:pt x="176" y="35"/>
                    </a:lnTo>
                    <a:lnTo>
                      <a:pt x="180" y="40"/>
                    </a:lnTo>
                    <a:lnTo>
                      <a:pt x="182" y="42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4" y="46"/>
                    </a:lnTo>
                    <a:lnTo>
                      <a:pt x="172" y="48"/>
                    </a:lnTo>
                    <a:lnTo>
                      <a:pt x="164" y="46"/>
                    </a:lnTo>
                    <a:lnTo>
                      <a:pt x="162" y="44"/>
                    </a:lnTo>
                    <a:lnTo>
                      <a:pt x="161" y="42"/>
                    </a:lnTo>
                    <a:lnTo>
                      <a:pt x="159" y="40"/>
                    </a:lnTo>
                    <a:lnTo>
                      <a:pt x="157" y="35"/>
                    </a:lnTo>
                    <a:lnTo>
                      <a:pt x="155" y="35"/>
                    </a:lnTo>
                    <a:lnTo>
                      <a:pt x="153" y="35"/>
                    </a:lnTo>
                    <a:lnTo>
                      <a:pt x="151" y="35"/>
                    </a:lnTo>
                    <a:lnTo>
                      <a:pt x="147" y="33"/>
                    </a:lnTo>
                    <a:lnTo>
                      <a:pt x="142" y="33"/>
                    </a:lnTo>
                    <a:lnTo>
                      <a:pt x="140" y="33"/>
                    </a:lnTo>
                    <a:lnTo>
                      <a:pt x="138" y="33"/>
                    </a:lnTo>
                    <a:lnTo>
                      <a:pt x="136" y="33"/>
                    </a:lnTo>
                    <a:lnTo>
                      <a:pt x="134" y="31"/>
                    </a:lnTo>
                    <a:lnTo>
                      <a:pt x="132" y="31"/>
                    </a:lnTo>
                    <a:lnTo>
                      <a:pt x="128" y="31"/>
                    </a:lnTo>
                    <a:lnTo>
                      <a:pt x="124" y="31"/>
                    </a:lnTo>
                    <a:lnTo>
                      <a:pt x="121" y="33"/>
                    </a:lnTo>
                    <a:lnTo>
                      <a:pt x="119" y="33"/>
                    </a:lnTo>
                    <a:lnTo>
                      <a:pt x="117" y="33"/>
                    </a:lnTo>
                    <a:lnTo>
                      <a:pt x="115" y="31"/>
                    </a:lnTo>
                    <a:lnTo>
                      <a:pt x="111" y="27"/>
                    </a:lnTo>
                    <a:lnTo>
                      <a:pt x="111" y="25"/>
                    </a:lnTo>
                    <a:lnTo>
                      <a:pt x="109" y="25"/>
                    </a:lnTo>
                    <a:lnTo>
                      <a:pt x="107" y="25"/>
                    </a:lnTo>
                    <a:lnTo>
                      <a:pt x="105" y="25"/>
                    </a:lnTo>
                    <a:lnTo>
                      <a:pt x="105" y="25"/>
                    </a:lnTo>
                    <a:lnTo>
                      <a:pt x="103" y="23"/>
                    </a:lnTo>
                    <a:lnTo>
                      <a:pt x="103" y="23"/>
                    </a:lnTo>
                    <a:lnTo>
                      <a:pt x="101" y="21"/>
                    </a:lnTo>
                    <a:lnTo>
                      <a:pt x="100" y="21"/>
                    </a:lnTo>
                    <a:lnTo>
                      <a:pt x="96" y="21"/>
                    </a:lnTo>
                    <a:lnTo>
                      <a:pt x="94" y="21"/>
                    </a:lnTo>
                    <a:lnTo>
                      <a:pt x="92" y="21"/>
                    </a:lnTo>
                    <a:lnTo>
                      <a:pt x="84" y="27"/>
                    </a:lnTo>
                    <a:lnTo>
                      <a:pt x="79" y="29"/>
                    </a:lnTo>
                    <a:lnTo>
                      <a:pt x="71" y="33"/>
                    </a:lnTo>
                    <a:lnTo>
                      <a:pt x="65" y="37"/>
                    </a:lnTo>
                    <a:lnTo>
                      <a:pt x="61" y="39"/>
                    </a:lnTo>
                    <a:lnTo>
                      <a:pt x="60" y="40"/>
                    </a:lnTo>
                    <a:lnTo>
                      <a:pt x="58" y="40"/>
                    </a:lnTo>
                    <a:lnTo>
                      <a:pt x="52" y="39"/>
                    </a:lnTo>
                    <a:lnTo>
                      <a:pt x="50" y="39"/>
                    </a:lnTo>
                    <a:lnTo>
                      <a:pt x="48" y="39"/>
                    </a:lnTo>
                    <a:lnTo>
                      <a:pt x="46" y="40"/>
                    </a:lnTo>
                    <a:lnTo>
                      <a:pt x="42" y="44"/>
                    </a:lnTo>
                    <a:lnTo>
                      <a:pt x="39" y="50"/>
                    </a:lnTo>
                    <a:lnTo>
                      <a:pt x="31" y="58"/>
                    </a:lnTo>
                    <a:lnTo>
                      <a:pt x="31" y="58"/>
                    </a:lnTo>
                    <a:lnTo>
                      <a:pt x="31" y="59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31" y="65"/>
                    </a:lnTo>
                    <a:lnTo>
                      <a:pt x="29" y="67"/>
                    </a:lnTo>
                    <a:lnTo>
                      <a:pt x="29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5" y="67"/>
                    </a:lnTo>
                    <a:lnTo>
                      <a:pt x="25" y="67"/>
                    </a:lnTo>
                    <a:lnTo>
                      <a:pt x="25" y="69"/>
                    </a:lnTo>
                    <a:lnTo>
                      <a:pt x="25" y="71"/>
                    </a:lnTo>
                    <a:lnTo>
                      <a:pt x="27" y="73"/>
                    </a:lnTo>
                    <a:lnTo>
                      <a:pt x="29" y="73"/>
                    </a:lnTo>
                    <a:lnTo>
                      <a:pt x="29" y="75"/>
                    </a:lnTo>
                    <a:lnTo>
                      <a:pt x="29" y="77"/>
                    </a:lnTo>
                    <a:lnTo>
                      <a:pt x="29" y="80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3" y="84"/>
                    </a:lnTo>
                    <a:lnTo>
                      <a:pt x="21" y="88"/>
                    </a:lnTo>
                    <a:lnTo>
                      <a:pt x="19" y="96"/>
                    </a:lnTo>
                    <a:lnTo>
                      <a:pt x="19" y="98"/>
                    </a:lnTo>
                    <a:lnTo>
                      <a:pt x="19" y="99"/>
                    </a:lnTo>
                    <a:lnTo>
                      <a:pt x="23" y="103"/>
                    </a:lnTo>
                    <a:lnTo>
                      <a:pt x="23" y="105"/>
                    </a:lnTo>
                    <a:lnTo>
                      <a:pt x="23" y="109"/>
                    </a:lnTo>
                    <a:lnTo>
                      <a:pt x="23" y="111"/>
                    </a:lnTo>
                    <a:lnTo>
                      <a:pt x="25" y="113"/>
                    </a:lnTo>
                    <a:lnTo>
                      <a:pt x="27" y="115"/>
                    </a:lnTo>
                    <a:lnTo>
                      <a:pt x="27" y="118"/>
                    </a:lnTo>
                    <a:lnTo>
                      <a:pt x="27" y="118"/>
                    </a:lnTo>
                    <a:lnTo>
                      <a:pt x="25" y="120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27" y="128"/>
                    </a:lnTo>
                    <a:lnTo>
                      <a:pt x="27" y="130"/>
                    </a:lnTo>
                    <a:lnTo>
                      <a:pt x="29" y="130"/>
                    </a:lnTo>
                    <a:lnTo>
                      <a:pt x="31" y="130"/>
                    </a:lnTo>
                    <a:lnTo>
                      <a:pt x="31" y="130"/>
                    </a:lnTo>
                    <a:lnTo>
                      <a:pt x="33" y="130"/>
                    </a:lnTo>
                    <a:lnTo>
                      <a:pt x="33" y="132"/>
                    </a:lnTo>
                    <a:lnTo>
                      <a:pt x="33" y="134"/>
                    </a:lnTo>
                    <a:lnTo>
                      <a:pt x="33" y="134"/>
                    </a:lnTo>
                    <a:lnTo>
                      <a:pt x="31" y="136"/>
                    </a:lnTo>
                    <a:lnTo>
                      <a:pt x="29" y="136"/>
                    </a:lnTo>
                    <a:lnTo>
                      <a:pt x="27" y="137"/>
                    </a:lnTo>
                    <a:lnTo>
                      <a:pt x="18" y="143"/>
                    </a:lnTo>
                    <a:lnTo>
                      <a:pt x="14" y="145"/>
                    </a:lnTo>
                    <a:lnTo>
                      <a:pt x="12" y="145"/>
                    </a:lnTo>
                    <a:lnTo>
                      <a:pt x="8" y="145"/>
                    </a:lnTo>
                    <a:lnTo>
                      <a:pt x="6" y="147"/>
                    </a:lnTo>
                    <a:lnTo>
                      <a:pt x="2" y="147"/>
                    </a:lnTo>
                    <a:lnTo>
                      <a:pt x="0" y="149"/>
                    </a:lnTo>
                    <a:lnTo>
                      <a:pt x="2" y="151"/>
                    </a:lnTo>
                    <a:lnTo>
                      <a:pt x="2" y="153"/>
                    </a:lnTo>
                    <a:lnTo>
                      <a:pt x="4" y="155"/>
                    </a:lnTo>
                    <a:lnTo>
                      <a:pt x="8" y="151"/>
                    </a:lnTo>
                    <a:lnTo>
                      <a:pt x="10" y="151"/>
                    </a:lnTo>
                    <a:lnTo>
                      <a:pt x="14" y="153"/>
                    </a:lnTo>
                    <a:lnTo>
                      <a:pt x="25" y="162"/>
                    </a:lnTo>
                    <a:lnTo>
                      <a:pt x="33" y="168"/>
                    </a:lnTo>
                    <a:lnTo>
                      <a:pt x="46" y="174"/>
                    </a:lnTo>
                    <a:lnTo>
                      <a:pt x="48" y="177"/>
                    </a:lnTo>
                    <a:lnTo>
                      <a:pt x="48" y="179"/>
                    </a:lnTo>
                    <a:lnTo>
                      <a:pt x="46" y="181"/>
                    </a:lnTo>
                    <a:lnTo>
                      <a:pt x="39" y="185"/>
                    </a:lnTo>
                    <a:lnTo>
                      <a:pt x="35" y="191"/>
                    </a:lnTo>
                    <a:lnTo>
                      <a:pt x="29" y="204"/>
                    </a:lnTo>
                    <a:lnTo>
                      <a:pt x="23" y="214"/>
                    </a:lnTo>
                    <a:lnTo>
                      <a:pt x="23" y="215"/>
                    </a:lnTo>
                    <a:lnTo>
                      <a:pt x="23" y="221"/>
                    </a:lnTo>
                    <a:lnTo>
                      <a:pt x="23" y="227"/>
                    </a:lnTo>
                    <a:lnTo>
                      <a:pt x="25" y="231"/>
                    </a:lnTo>
                    <a:lnTo>
                      <a:pt x="27" y="236"/>
                    </a:lnTo>
                    <a:lnTo>
                      <a:pt x="27" y="244"/>
                    </a:lnTo>
                    <a:lnTo>
                      <a:pt x="29" y="248"/>
                    </a:lnTo>
                    <a:lnTo>
                      <a:pt x="35" y="259"/>
                    </a:lnTo>
                    <a:lnTo>
                      <a:pt x="46" y="254"/>
                    </a:lnTo>
                    <a:lnTo>
                      <a:pt x="50" y="250"/>
                    </a:lnTo>
                    <a:lnTo>
                      <a:pt x="52" y="250"/>
                    </a:lnTo>
                    <a:lnTo>
                      <a:pt x="54" y="250"/>
                    </a:lnTo>
                    <a:lnTo>
                      <a:pt x="61" y="255"/>
                    </a:lnTo>
                    <a:lnTo>
                      <a:pt x="65" y="257"/>
                    </a:lnTo>
                    <a:lnTo>
                      <a:pt x="67" y="259"/>
                    </a:lnTo>
                    <a:lnTo>
                      <a:pt x="69" y="259"/>
                    </a:lnTo>
                    <a:lnTo>
                      <a:pt x="75" y="257"/>
                    </a:lnTo>
                    <a:lnTo>
                      <a:pt x="79" y="252"/>
                    </a:lnTo>
                    <a:lnTo>
                      <a:pt x="80" y="246"/>
                    </a:lnTo>
                    <a:lnTo>
                      <a:pt x="80" y="240"/>
                    </a:lnTo>
                    <a:lnTo>
                      <a:pt x="77" y="227"/>
                    </a:lnTo>
                    <a:lnTo>
                      <a:pt x="75" y="225"/>
                    </a:lnTo>
                    <a:lnTo>
                      <a:pt x="75" y="221"/>
                    </a:lnTo>
                    <a:lnTo>
                      <a:pt x="77" y="219"/>
                    </a:lnTo>
                    <a:lnTo>
                      <a:pt x="77" y="217"/>
                    </a:lnTo>
                    <a:lnTo>
                      <a:pt x="79" y="217"/>
                    </a:lnTo>
                    <a:lnTo>
                      <a:pt x="80" y="215"/>
                    </a:lnTo>
                    <a:lnTo>
                      <a:pt x="82" y="215"/>
                    </a:lnTo>
                    <a:lnTo>
                      <a:pt x="82" y="217"/>
                    </a:lnTo>
                    <a:lnTo>
                      <a:pt x="84" y="217"/>
                    </a:lnTo>
                    <a:lnTo>
                      <a:pt x="92" y="225"/>
                    </a:lnTo>
                    <a:lnTo>
                      <a:pt x="96" y="233"/>
                    </a:lnTo>
                    <a:lnTo>
                      <a:pt x="100" y="240"/>
                    </a:lnTo>
                    <a:lnTo>
                      <a:pt x="101" y="242"/>
                    </a:lnTo>
                    <a:lnTo>
                      <a:pt x="103" y="244"/>
                    </a:lnTo>
                    <a:lnTo>
                      <a:pt x="117" y="250"/>
                    </a:lnTo>
                    <a:lnTo>
                      <a:pt x="121" y="255"/>
                    </a:lnTo>
                    <a:lnTo>
                      <a:pt x="122" y="261"/>
                    </a:lnTo>
                    <a:lnTo>
                      <a:pt x="124" y="265"/>
                    </a:lnTo>
                    <a:lnTo>
                      <a:pt x="130" y="271"/>
                    </a:lnTo>
                    <a:lnTo>
                      <a:pt x="136" y="276"/>
                    </a:lnTo>
                    <a:lnTo>
                      <a:pt x="157" y="288"/>
                    </a:lnTo>
                    <a:lnTo>
                      <a:pt x="161" y="290"/>
                    </a:lnTo>
                    <a:lnTo>
                      <a:pt x="170" y="292"/>
                    </a:lnTo>
                    <a:lnTo>
                      <a:pt x="172" y="293"/>
                    </a:lnTo>
                    <a:lnTo>
                      <a:pt x="170" y="293"/>
                    </a:lnTo>
                    <a:lnTo>
                      <a:pt x="170" y="295"/>
                    </a:lnTo>
                    <a:lnTo>
                      <a:pt x="170" y="297"/>
                    </a:lnTo>
                    <a:lnTo>
                      <a:pt x="164" y="303"/>
                    </a:lnTo>
                    <a:lnTo>
                      <a:pt x="162" y="305"/>
                    </a:lnTo>
                    <a:lnTo>
                      <a:pt x="161" y="305"/>
                    </a:lnTo>
                    <a:lnTo>
                      <a:pt x="161" y="303"/>
                    </a:lnTo>
                    <a:lnTo>
                      <a:pt x="159" y="303"/>
                    </a:lnTo>
                    <a:lnTo>
                      <a:pt x="159" y="303"/>
                    </a:lnTo>
                    <a:lnTo>
                      <a:pt x="157" y="305"/>
                    </a:lnTo>
                    <a:lnTo>
                      <a:pt x="155" y="307"/>
                    </a:lnTo>
                    <a:lnTo>
                      <a:pt x="155" y="309"/>
                    </a:lnTo>
                    <a:lnTo>
                      <a:pt x="153" y="307"/>
                    </a:lnTo>
                    <a:lnTo>
                      <a:pt x="153" y="307"/>
                    </a:lnTo>
                    <a:lnTo>
                      <a:pt x="151" y="307"/>
                    </a:lnTo>
                    <a:lnTo>
                      <a:pt x="151" y="307"/>
                    </a:lnTo>
                    <a:lnTo>
                      <a:pt x="149" y="307"/>
                    </a:lnTo>
                    <a:lnTo>
                      <a:pt x="147" y="307"/>
                    </a:lnTo>
                    <a:lnTo>
                      <a:pt x="147" y="309"/>
                    </a:lnTo>
                    <a:lnTo>
                      <a:pt x="147" y="309"/>
                    </a:lnTo>
                    <a:lnTo>
                      <a:pt x="147" y="311"/>
                    </a:lnTo>
                    <a:lnTo>
                      <a:pt x="147" y="311"/>
                    </a:lnTo>
                    <a:lnTo>
                      <a:pt x="145" y="312"/>
                    </a:lnTo>
                    <a:lnTo>
                      <a:pt x="145" y="312"/>
                    </a:lnTo>
                    <a:lnTo>
                      <a:pt x="145" y="312"/>
                    </a:lnTo>
                    <a:lnTo>
                      <a:pt x="164" y="322"/>
                    </a:lnTo>
                    <a:lnTo>
                      <a:pt x="166" y="326"/>
                    </a:lnTo>
                    <a:lnTo>
                      <a:pt x="168" y="328"/>
                    </a:lnTo>
                    <a:lnTo>
                      <a:pt x="170" y="332"/>
                    </a:lnTo>
                    <a:lnTo>
                      <a:pt x="170" y="339"/>
                    </a:lnTo>
                    <a:lnTo>
                      <a:pt x="176" y="335"/>
                    </a:lnTo>
                    <a:lnTo>
                      <a:pt x="183" y="333"/>
                    </a:lnTo>
                    <a:lnTo>
                      <a:pt x="185" y="332"/>
                    </a:lnTo>
                    <a:lnTo>
                      <a:pt x="187" y="332"/>
                    </a:lnTo>
                    <a:lnTo>
                      <a:pt x="187" y="332"/>
                    </a:lnTo>
                    <a:lnTo>
                      <a:pt x="197" y="337"/>
                    </a:lnTo>
                    <a:lnTo>
                      <a:pt x="199" y="339"/>
                    </a:lnTo>
                    <a:lnTo>
                      <a:pt x="199" y="339"/>
                    </a:lnTo>
                    <a:lnTo>
                      <a:pt x="199" y="341"/>
                    </a:lnTo>
                    <a:lnTo>
                      <a:pt x="199" y="343"/>
                    </a:lnTo>
                    <a:lnTo>
                      <a:pt x="201" y="345"/>
                    </a:lnTo>
                    <a:lnTo>
                      <a:pt x="203" y="347"/>
                    </a:lnTo>
                    <a:lnTo>
                      <a:pt x="218" y="358"/>
                    </a:lnTo>
                    <a:lnTo>
                      <a:pt x="222" y="358"/>
                    </a:lnTo>
                    <a:lnTo>
                      <a:pt x="224" y="358"/>
                    </a:lnTo>
                    <a:lnTo>
                      <a:pt x="225" y="358"/>
                    </a:lnTo>
                    <a:lnTo>
                      <a:pt x="227" y="358"/>
                    </a:lnTo>
                    <a:lnTo>
                      <a:pt x="227" y="358"/>
                    </a:lnTo>
                    <a:lnTo>
                      <a:pt x="229" y="358"/>
                    </a:lnTo>
                    <a:lnTo>
                      <a:pt x="229" y="360"/>
                    </a:lnTo>
                    <a:lnTo>
                      <a:pt x="231" y="362"/>
                    </a:lnTo>
                    <a:lnTo>
                      <a:pt x="233" y="364"/>
                    </a:lnTo>
                    <a:lnTo>
                      <a:pt x="233" y="364"/>
                    </a:lnTo>
                    <a:lnTo>
                      <a:pt x="235" y="371"/>
                    </a:lnTo>
                    <a:lnTo>
                      <a:pt x="237" y="375"/>
                    </a:lnTo>
                    <a:lnTo>
                      <a:pt x="246" y="371"/>
                    </a:lnTo>
                    <a:lnTo>
                      <a:pt x="252" y="371"/>
                    </a:lnTo>
                    <a:lnTo>
                      <a:pt x="254" y="371"/>
                    </a:lnTo>
                    <a:lnTo>
                      <a:pt x="254" y="373"/>
                    </a:lnTo>
                    <a:lnTo>
                      <a:pt x="256" y="375"/>
                    </a:lnTo>
                    <a:lnTo>
                      <a:pt x="256" y="375"/>
                    </a:lnTo>
                    <a:lnTo>
                      <a:pt x="258" y="375"/>
                    </a:lnTo>
                    <a:lnTo>
                      <a:pt x="260" y="373"/>
                    </a:lnTo>
                    <a:lnTo>
                      <a:pt x="269" y="375"/>
                    </a:lnTo>
                    <a:lnTo>
                      <a:pt x="273" y="373"/>
                    </a:lnTo>
                    <a:lnTo>
                      <a:pt x="273" y="373"/>
                    </a:lnTo>
                    <a:lnTo>
                      <a:pt x="273" y="371"/>
                    </a:lnTo>
                    <a:lnTo>
                      <a:pt x="273" y="371"/>
                    </a:lnTo>
                    <a:lnTo>
                      <a:pt x="275" y="370"/>
                    </a:lnTo>
                    <a:lnTo>
                      <a:pt x="277" y="370"/>
                    </a:lnTo>
                    <a:lnTo>
                      <a:pt x="283" y="371"/>
                    </a:lnTo>
                    <a:lnTo>
                      <a:pt x="286" y="373"/>
                    </a:lnTo>
                    <a:lnTo>
                      <a:pt x="286" y="373"/>
                    </a:lnTo>
                    <a:lnTo>
                      <a:pt x="286" y="375"/>
                    </a:lnTo>
                    <a:lnTo>
                      <a:pt x="285" y="379"/>
                    </a:lnTo>
                    <a:lnTo>
                      <a:pt x="285" y="381"/>
                    </a:lnTo>
                    <a:lnTo>
                      <a:pt x="286" y="381"/>
                    </a:lnTo>
                    <a:lnTo>
                      <a:pt x="286" y="381"/>
                    </a:lnTo>
                    <a:lnTo>
                      <a:pt x="290" y="379"/>
                    </a:lnTo>
                    <a:lnTo>
                      <a:pt x="292" y="379"/>
                    </a:lnTo>
                    <a:lnTo>
                      <a:pt x="294" y="381"/>
                    </a:lnTo>
                    <a:lnTo>
                      <a:pt x="294" y="381"/>
                    </a:lnTo>
                    <a:lnTo>
                      <a:pt x="292" y="383"/>
                    </a:lnTo>
                    <a:lnTo>
                      <a:pt x="292" y="385"/>
                    </a:lnTo>
                    <a:lnTo>
                      <a:pt x="294" y="385"/>
                    </a:lnTo>
                    <a:lnTo>
                      <a:pt x="294" y="385"/>
                    </a:lnTo>
                    <a:lnTo>
                      <a:pt x="296" y="385"/>
                    </a:lnTo>
                    <a:lnTo>
                      <a:pt x="298" y="385"/>
                    </a:lnTo>
                    <a:lnTo>
                      <a:pt x="298" y="385"/>
                    </a:lnTo>
                    <a:lnTo>
                      <a:pt x="298" y="387"/>
                    </a:lnTo>
                    <a:lnTo>
                      <a:pt x="298" y="389"/>
                    </a:lnTo>
                    <a:lnTo>
                      <a:pt x="298" y="391"/>
                    </a:lnTo>
                    <a:lnTo>
                      <a:pt x="302" y="391"/>
                    </a:lnTo>
                    <a:lnTo>
                      <a:pt x="304" y="392"/>
                    </a:lnTo>
                    <a:lnTo>
                      <a:pt x="305" y="392"/>
                    </a:lnTo>
                    <a:lnTo>
                      <a:pt x="307" y="391"/>
                    </a:lnTo>
                    <a:lnTo>
                      <a:pt x="309" y="391"/>
                    </a:lnTo>
                    <a:lnTo>
                      <a:pt x="309" y="389"/>
                    </a:lnTo>
                    <a:lnTo>
                      <a:pt x="313" y="385"/>
                    </a:lnTo>
                    <a:lnTo>
                      <a:pt x="315" y="383"/>
                    </a:lnTo>
                    <a:lnTo>
                      <a:pt x="315" y="381"/>
                    </a:lnTo>
                    <a:lnTo>
                      <a:pt x="315" y="379"/>
                    </a:lnTo>
                    <a:lnTo>
                      <a:pt x="313" y="379"/>
                    </a:lnTo>
                    <a:lnTo>
                      <a:pt x="311" y="377"/>
                    </a:lnTo>
                    <a:lnTo>
                      <a:pt x="311" y="371"/>
                    </a:lnTo>
                    <a:lnTo>
                      <a:pt x="311" y="368"/>
                    </a:lnTo>
                    <a:lnTo>
                      <a:pt x="311" y="366"/>
                    </a:lnTo>
                    <a:lnTo>
                      <a:pt x="311" y="364"/>
                    </a:lnTo>
                    <a:lnTo>
                      <a:pt x="313" y="360"/>
                    </a:lnTo>
                    <a:lnTo>
                      <a:pt x="315" y="360"/>
                    </a:lnTo>
                    <a:lnTo>
                      <a:pt x="317" y="358"/>
                    </a:lnTo>
                    <a:lnTo>
                      <a:pt x="319" y="356"/>
                    </a:lnTo>
                    <a:lnTo>
                      <a:pt x="321" y="354"/>
                    </a:lnTo>
                    <a:lnTo>
                      <a:pt x="321" y="354"/>
                    </a:lnTo>
                    <a:lnTo>
                      <a:pt x="319" y="349"/>
                    </a:lnTo>
                    <a:lnTo>
                      <a:pt x="321" y="343"/>
                    </a:lnTo>
                    <a:lnTo>
                      <a:pt x="323" y="337"/>
                    </a:lnTo>
                    <a:lnTo>
                      <a:pt x="326" y="335"/>
                    </a:lnTo>
                    <a:lnTo>
                      <a:pt x="328" y="335"/>
                    </a:lnTo>
                    <a:lnTo>
                      <a:pt x="332" y="335"/>
                    </a:lnTo>
                    <a:lnTo>
                      <a:pt x="334" y="335"/>
                    </a:lnTo>
                    <a:lnTo>
                      <a:pt x="336" y="333"/>
                    </a:lnTo>
                    <a:lnTo>
                      <a:pt x="336" y="332"/>
                    </a:lnTo>
                    <a:lnTo>
                      <a:pt x="334" y="326"/>
                    </a:lnTo>
                    <a:lnTo>
                      <a:pt x="334" y="324"/>
                    </a:lnTo>
                    <a:lnTo>
                      <a:pt x="336" y="324"/>
                    </a:lnTo>
                    <a:lnTo>
                      <a:pt x="338" y="324"/>
                    </a:lnTo>
                    <a:lnTo>
                      <a:pt x="340" y="324"/>
                    </a:lnTo>
                    <a:lnTo>
                      <a:pt x="342" y="314"/>
                    </a:lnTo>
                    <a:lnTo>
                      <a:pt x="342" y="312"/>
                    </a:lnTo>
                    <a:lnTo>
                      <a:pt x="342" y="309"/>
                    </a:lnTo>
                    <a:lnTo>
                      <a:pt x="342" y="309"/>
                    </a:lnTo>
                    <a:lnTo>
                      <a:pt x="340" y="309"/>
                    </a:lnTo>
                    <a:lnTo>
                      <a:pt x="338" y="309"/>
                    </a:lnTo>
                    <a:lnTo>
                      <a:pt x="338" y="307"/>
                    </a:lnTo>
                    <a:lnTo>
                      <a:pt x="338" y="301"/>
                    </a:lnTo>
                    <a:lnTo>
                      <a:pt x="334" y="295"/>
                    </a:lnTo>
                    <a:lnTo>
                      <a:pt x="334" y="293"/>
                    </a:lnTo>
                    <a:lnTo>
                      <a:pt x="334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0" y="288"/>
                    </a:lnTo>
                    <a:lnTo>
                      <a:pt x="340" y="286"/>
                    </a:lnTo>
                    <a:lnTo>
                      <a:pt x="342" y="284"/>
                    </a:lnTo>
                    <a:lnTo>
                      <a:pt x="342" y="284"/>
                    </a:lnTo>
                    <a:lnTo>
                      <a:pt x="344" y="282"/>
                    </a:lnTo>
                    <a:lnTo>
                      <a:pt x="344" y="282"/>
                    </a:lnTo>
                    <a:lnTo>
                      <a:pt x="346" y="280"/>
                    </a:lnTo>
                    <a:lnTo>
                      <a:pt x="347" y="280"/>
                    </a:lnTo>
                    <a:lnTo>
                      <a:pt x="347" y="278"/>
                    </a:lnTo>
                    <a:lnTo>
                      <a:pt x="347" y="278"/>
                    </a:lnTo>
                    <a:lnTo>
                      <a:pt x="347" y="276"/>
                    </a:lnTo>
                    <a:lnTo>
                      <a:pt x="347" y="276"/>
                    </a:lnTo>
                    <a:lnTo>
                      <a:pt x="347" y="274"/>
                    </a:lnTo>
                    <a:lnTo>
                      <a:pt x="347" y="274"/>
                    </a:lnTo>
                    <a:lnTo>
                      <a:pt x="349" y="273"/>
                    </a:lnTo>
                    <a:lnTo>
                      <a:pt x="351" y="273"/>
                    </a:lnTo>
                    <a:lnTo>
                      <a:pt x="353" y="271"/>
                    </a:lnTo>
                    <a:lnTo>
                      <a:pt x="355" y="267"/>
                    </a:lnTo>
                    <a:lnTo>
                      <a:pt x="355" y="263"/>
                    </a:lnTo>
                    <a:lnTo>
                      <a:pt x="353" y="259"/>
                    </a:lnTo>
                    <a:lnTo>
                      <a:pt x="353" y="255"/>
                    </a:lnTo>
                    <a:lnTo>
                      <a:pt x="351" y="252"/>
                    </a:lnTo>
                    <a:lnTo>
                      <a:pt x="351" y="248"/>
                    </a:lnTo>
                    <a:lnTo>
                      <a:pt x="353" y="244"/>
                    </a:lnTo>
                    <a:lnTo>
                      <a:pt x="357" y="242"/>
                    </a:lnTo>
                    <a:lnTo>
                      <a:pt x="365" y="240"/>
                    </a:lnTo>
                    <a:lnTo>
                      <a:pt x="367" y="238"/>
                    </a:lnTo>
                    <a:lnTo>
                      <a:pt x="372" y="229"/>
                    </a:lnTo>
                    <a:lnTo>
                      <a:pt x="376" y="225"/>
                    </a:lnTo>
                    <a:lnTo>
                      <a:pt x="378" y="219"/>
                    </a:lnTo>
                    <a:lnTo>
                      <a:pt x="378" y="217"/>
                    </a:lnTo>
                    <a:lnTo>
                      <a:pt x="380" y="215"/>
                    </a:lnTo>
                    <a:lnTo>
                      <a:pt x="386" y="215"/>
                    </a:lnTo>
                    <a:lnTo>
                      <a:pt x="387" y="215"/>
                    </a:lnTo>
                    <a:lnTo>
                      <a:pt x="389" y="214"/>
                    </a:lnTo>
                    <a:lnTo>
                      <a:pt x="391" y="212"/>
                    </a:lnTo>
                    <a:lnTo>
                      <a:pt x="397" y="208"/>
                    </a:lnTo>
                    <a:lnTo>
                      <a:pt x="397" y="206"/>
                    </a:lnTo>
                    <a:lnTo>
                      <a:pt x="401" y="200"/>
                    </a:lnTo>
                    <a:lnTo>
                      <a:pt x="403" y="198"/>
                    </a:lnTo>
                    <a:lnTo>
                      <a:pt x="410" y="193"/>
                    </a:lnTo>
                    <a:lnTo>
                      <a:pt x="412" y="189"/>
                    </a:lnTo>
                    <a:lnTo>
                      <a:pt x="412" y="185"/>
                    </a:lnTo>
                    <a:lnTo>
                      <a:pt x="414" y="183"/>
                    </a:lnTo>
                    <a:lnTo>
                      <a:pt x="416" y="181"/>
                    </a:lnTo>
                    <a:lnTo>
                      <a:pt x="418" y="179"/>
                    </a:lnTo>
                    <a:lnTo>
                      <a:pt x="418" y="181"/>
                    </a:lnTo>
                    <a:lnTo>
                      <a:pt x="420" y="183"/>
                    </a:lnTo>
                    <a:lnTo>
                      <a:pt x="422" y="185"/>
                    </a:lnTo>
                    <a:lnTo>
                      <a:pt x="431" y="181"/>
                    </a:lnTo>
                    <a:lnTo>
                      <a:pt x="431" y="181"/>
                    </a:lnTo>
                    <a:lnTo>
                      <a:pt x="433" y="179"/>
                    </a:lnTo>
                    <a:lnTo>
                      <a:pt x="431" y="177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5" name="Freeform 7">
                <a:extLst>
                  <a:ext uri="{FF2B5EF4-FFF2-40B4-BE49-F238E27FC236}">
                    <a16:creationId xmlns:a16="http://schemas.microsoft.com/office/drawing/2014/main" id="{1B0B1812-8C12-4FBB-A172-52FC15FE0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907" y="3032599"/>
                <a:ext cx="1504950" cy="1452563"/>
              </a:xfrm>
              <a:custGeom>
                <a:avLst/>
                <a:gdLst>
                  <a:gd name="T0" fmla="*/ 887 w 948"/>
                  <a:gd name="T1" fmla="*/ 616 h 915"/>
                  <a:gd name="T2" fmla="*/ 891 w 948"/>
                  <a:gd name="T3" fmla="*/ 578 h 915"/>
                  <a:gd name="T4" fmla="*/ 864 w 948"/>
                  <a:gd name="T5" fmla="*/ 550 h 915"/>
                  <a:gd name="T6" fmla="*/ 920 w 948"/>
                  <a:gd name="T7" fmla="*/ 533 h 915"/>
                  <a:gd name="T8" fmla="*/ 876 w 948"/>
                  <a:gd name="T9" fmla="*/ 481 h 915"/>
                  <a:gd name="T10" fmla="*/ 830 w 948"/>
                  <a:gd name="T11" fmla="*/ 426 h 915"/>
                  <a:gd name="T12" fmla="*/ 702 w 948"/>
                  <a:gd name="T13" fmla="*/ 386 h 915"/>
                  <a:gd name="T14" fmla="*/ 552 w 948"/>
                  <a:gd name="T15" fmla="*/ 331 h 915"/>
                  <a:gd name="T16" fmla="*/ 483 w 948"/>
                  <a:gd name="T17" fmla="*/ 283 h 915"/>
                  <a:gd name="T18" fmla="*/ 418 w 948"/>
                  <a:gd name="T19" fmla="*/ 257 h 915"/>
                  <a:gd name="T20" fmla="*/ 359 w 948"/>
                  <a:gd name="T21" fmla="*/ 234 h 915"/>
                  <a:gd name="T22" fmla="*/ 298 w 948"/>
                  <a:gd name="T23" fmla="*/ 220 h 915"/>
                  <a:gd name="T24" fmla="*/ 210 w 948"/>
                  <a:gd name="T25" fmla="*/ 160 h 915"/>
                  <a:gd name="T26" fmla="*/ 163 w 948"/>
                  <a:gd name="T27" fmla="*/ 89 h 915"/>
                  <a:gd name="T28" fmla="*/ 86 w 948"/>
                  <a:gd name="T29" fmla="*/ 63 h 915"/>
                  <a:gd name="T30" fmla="*/ 31 w 948"/>
                  <a:gd name="T31" fmla="*/ 53 h 915"/>
                  <a:gd name="T32" fmla="*/ 2 w 948"/>
                  <a:gd name="T33" fmla="*/ 122 h 915"/>
                  <a:gd name="T34" fmla="*/ 10 w 948"/>
                  <a:gd name="T35" fmla="*/ 186 h 915"/>
                  <a:gd name="T36" fmla="*/ 33 w 948"/>
                  <a:gd name="T37" fmla="*/ 260 h 915"/>
                  <a:gd name="T38" fmla="*/ 54 w 948"/>
                  <a:gd name="T39" fmla="*/ 304 h 915"/>
                  <a:gd name="T40" fmla="*/ 54 w 948"/>
                  <a:gd name="T41" fmla="*/ 356 h 915"/>
                  <a:gd name="T42" fmla="*/ 33 w 948"/>
                  <a:gd name="T43" fmla="*/ 399 h 915"/>
                  <a:gd name="T44" fmla="*/ 71 w 948"/>
                  <a:gd name="T45" fmla="*/ 449 h 915"/>
                  <a:gd name="T46" fmla="*/ 71 w 948"/>
                  <a:gd name="T47" fmla="*/ 481 h 915"/>
                  <a:gd name="T48" fmla="*/ 42 w 948"/>
                  <a:gd name="T49" fmla="*/ 517 h 915"/>
                  <a:gd name="T50" fmla="*/ 119 w 948"/>
                  <a:gd name="T51" fmla="*/ 502 h 915"/>
                  <a:gd name="T52" fmla="*/ 145 w 948"/>
                  <a:gd name="T53" fmla="*/ 502 h 915"/>
                  <a:gd name="T54" fmla="*/ 191 w 948"/>
                  <a:gd name="T55" fmla="*/ 521 h 915"/>
                  <a:gd name="T56" fmla="*/ 241 w 948"/>
                  <a:gd name="T57" fmla="*/ 546 h 915"/>
                  <a:gd name="T58" fmla="*/ 235 w 948"/>
                  <a:gd name="T59" fmla="*/ 607 h 915"/>
                  <a:gd name="T60" fmla="*/ 208 w 948"/>
                  <a:gd name="T61" fmla="*/ 677 h 915"/>
                  <a:gd name="T62" fmla="*/ 161 w 948"/>
                  <a:gd name="T63" fmla="*/ 759 h 915"/>
                  <a:gd name="T64" fmla="*/ 149 w 948"/>
                  <a:gd name="T65" fmla="*/ 835 h 915"/>
                  <a:gd name="T66" fmla="*/ 178 w 948"/>
                  <a:gd name="T67" fmla="*/ 846 h 915"/>
                  <a:gd name="T68" fmla="*/ 241 w 948"/>
                  <a:gd name="T69" fmla="*/ 839 h 915"/>
                  <a:gd name="T70" fmla="*/ 210 w 948"/>
                  <a:gd name="T71" fmla="*/ 805 h 915"/>
                  <a:gd name="T72" fmla="*/ 191 w 948"/>
                  <a:gd name="T73" fmla="*/ 711 h 915"/>
                  <a:gd name="T74" fmla="*/ 210 w 948"/>
                  <a:gd name="T75" fmla="*/ 694 h 915"/>
                  <a:gd name="T76" fmla="*/ 233 w 948"/>
                  <a:gd name="T77" fmla="*/ 704 h 915"/>
                  <a:gd name="T78" fmla="*/ 237 w 948"/>
                  <a:gd name="T79" fmla="*/ 734 h 915"/>
                  <a:gd name="T80" fmla="*/ 258 w 948"/>
                  <a:gd name="T81" fmla="*/ 744 h 915"/>
                  <a:gd name="T82" fmla="*/ 281 w 948"/>
                  <a:gd name="T83" fmla="*/ 725 h 915"/>
                  <a:gd name="T84" fmla="*/ 287 w 948"/>
                  <a:gd name="T85" fmla="*/ 749 h 915"/>
                  <a:gd name="T86" fmla="*/ 317 w 948"/>
                  <a:gd name="T87" fmla="*/ 740 h 915"/>
                  <a:gd name="T88" fmla="*/ 370 w 948"/>
                  <a:gd name="T89" fmla="*/ 721 h 915"/>
                  <a:gd name="T90" fmla="*/ 416 w 948"/>
                  <a:gd name="T91" fmla="*/ 730 h 915"/>
                  <a:gd name="T92" fmla="*/ 403 w 948"/>
                  <a:gd name="T93" fmla="*/ 753 h 915"/>
                  <a:gd name="T94" fmla="*/ 433 w 948"/>
                  <a:gd name="T95" fmla="*/ 757 h 915"/>
                  <a:gd name="T96" fmla="*/ 452 w 948"/>
                  <a:gd name="T97" fmla="*/ 755 h 915"/>
                  <a:gd name="T98" fmla="*/ 477 w 948"/>
                  <a:gd name="T99" fmla="*/ 736 h 915"/>
                  <a:gd name="T100" fmla="*/ 492 w 948"/>
                  <a:gd name="T101" fmla="*/ 770 h 915"/>
                  <a:gd name="T102" fmla="*/ 525 w 948"/>
                  <a:gd name="T103" fmla="*/ 742 h 915"/>
                  <a:gd name="T104" fmla="*/ 565 w 948"/>
                  <a:gd name="T105" fmla="*/ 746 h 915"/>
                  <a:gd name="T106" fmla="*/ 605 w 948"/>
                  <a:gd name="T107" fmla="*/ 767 h 915"/>
                  <a:gd name="T108" fmla="*/ 647 w 948"/>
                  <a:gd name="T109" fmla="*/ 797 h 915"/>
                  <a:gd name="T110" fmla="*/ 674 w 948"/>
                  <a:gd name="T111" fmla="*/ 812 h 915"/>
                  <a:gd name="T112" fmla="*/ 721 w 948"/>
                  <a:gd name="T113" fmla="*/ 826 h 915"/>
                  <a:gd name="T114" fmla="*/ 712 w 948"/>
                  <a:gd name="T115" fmla="*/ 886 h 915"/>
                  <a:gd name="T116" fmla="*/ 778 w 948"/>
                  <a:gd name="T117" fmla="*/ 896 h 915"/>
                  <a:gd name="T118" fmla="*/ 798 w 948"/>
                  <a:gd name="T119" fmla="*/ 833 h 915"/>
                  <a:gd name="T120" fmla="*/ 792 w 948"/>
                  <a:gd name="T121" fmla="*/ 774 h 915"/>
                  <a:gd name="T122" fmla="*/ 860 w 948"/>
                  <a:gd name="T123" fmla="*/ 689 h 915"/>
                  <a:gd name="T124" fmla="*/ 912 w 948"/>
                  <a:gd name="T125" fmla="*/ 669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48" h="915">
                    <a:moveTo>
                      <a:pt x="948" y="656"/>
                    </a:moveTo>
                    <a:lnTo>
                      <a:pt x="948" y="654"/>
                    </a:lnTo>
                    <a:lnTo>
                      <a:pt x="948" y="654"/>
                    </a:lnTo>
                    <a:lnTo>
                      <a:pt x="939" y="645"/>
                    </a:lnTo>
                    <a:lnTo>
                      <a:pt x="937" y="645"/>
                    </a:lnTo>
                    <a:lnTo>
                      <a:pt x="935" y="645"/>
                    </a:lnTo>
                    <a:lnTo>
                      <a:pt x="931" y="645"/>
                    </a:lnTo>
                    <a:lnTo>
                      <a:pt x="929" y="645"/>
                    </a:lnTo>
                    <a:lnTo>
                      <a:pt x="923" y="641"/>
                    </a:lnTo>
                    <a:lnTo>
                      <a:pt x="923" y="641"/>
                    </a:lnTo>
                    <a:lnTo>
                      <a:pt x="923" y="639"/>
                    </a:lnTo>
                    <a:lnTo>
                      <a:pt x="922" y="637"/>
                    </a:lnTo>
                    <a:lnTo>
                      <a:pt x="920" y="635"/>
                    </a:lnTo>
                    <a:lnTo>
                      <a:pt x="918" y="633"/>
                    </a:lnTo>
                    <a:lnTo>
                      <a:pt x="914" y="633"/>
                    </a:lnTo>
                    <a:lnTo>
                      <a:pt x="914" y="635"/>
                    </a:lnTo>
                    <a:lnTo>
                      <a:pt x="908" y="635"/>
                    </a:lnTo>
                    <a:lnTo>
                      <a:pt x="906" y="635"/>
                    </a:lnTo>
                    <a:lnTo>
                      <a:pt x="904" y="635"/>
                    </a:lnTo>
                    <a:lnTo>
                      <a:pt x="902" y="633"/>
                    </a:lnTo>
                    <a:lnTo>
                      <a:pt x="901" y="631"/>
                    </a:lnTo>
                    <a:lnTo>
                      <a:pt x="901" y="631"/>
                    </a:lnTo>
                    <a:lnTo>
                      <a:pt x="899" y="630"/>
                    </a:lnTo>
                    <a:lnTo>
                      <a:pt x="899" y="626"/>
                    </a:lnTo>
                    <a:lnTo>
                      <a:pt x="897" y="624"/>
                    </a:lnTo>
                    <a:lnTo>
                      <a:pt x="897" y="624"/>
                    </a:lnTo>
                    <a:lnTo>
                      <a:pt x="895" y="624"/>
                    </a:lnTo>
                    <a:lnTo>
                      <a:pt x="893" y="622"/>
                    </a:lnTo>
                    <a:lnTo>
                      <a:pt x="893" y="620"/>
                    </a:lnTo>
                    <a:lnTo>
                      <a:pt x="891" y="618"/>
                    </a:lnTo>
                    <a:lnTo>
                      <a:pt x="891" y="616"/>
                    </a:lnTo>
                    <a:lnTo>
                      <a:pt x="889" y="616"/>
                    </a:lnTo>
                    <a:lnTo>
                      <a:pt x="887" y="616"/>
                    </a:lnTo>
                    <a:lnTo>
                      <a:pt x="885" y="614"/>
                    </a:lnTo>
                    <a:lnTo>
                      <a:pt x="883" y="612"/>
                    </a:lnTo>
                    <a:lnTo>
                      <a:pt x="883" y="612"/>
                    </a:lnTo>
                    <a:lnTo>
                      <a:pt x="881" y="612"/>
                    </a:lnTo>
                    <a:lnTo>
                      <a:pt x="880" y="612"/>
                    </a:lnTo>
                    <a:lnTo>
                      <a:pt x="876" y="603"/>
                    </a:lnTo>
                    <a:lnTo>
                      <a:pt x="874" y="601"/>
                    </a:lnTo>
                    <a:lnTo>
                      <a:pt x="872" y="597"/>
                    </a:lnTo>
                    <a:lnTo>
                      <a:pt x="870" y="597"/>
                    </a:lnTo>
                    <a:lnTo>
                      <a:pt x="870" y="595"/>
                    </a:lnTo>
                    <a:lnTo>
                      <a:pt x="870" y="593"/>
                    </a:lnTo>
                    <a:lnTo>
                      <a:pt x="870" y="593"/>
                    </a:lnTo>
                    <a:lnTo>
                      <a:pt x="870" y="591"/>
                    </a:lnTo>
                    <a:lnTo>
                      <a:pt x="872" y="591"/>
                    </a:lnTo>
                    <a:lnTo>
                      <a:pt x="872" y="591"/>
                    </a:lnTo>
                    <a:lnTo>
                      <a:pt x="872" y="591"/>
                    </a:lnTo>
                    <a:lnTo>
                      <a:pt x="874" y="590"/>
                    </a:lnTo>
                    <a:lnTo>
                      <a:pt x="881" y="590"/>
                    </a:lnTo>
                    <a:lnTo>
                      <a:pt x="883" y="590"/>
                    </a:lnTo>
                    <a:lnTo>
                      <a:pt x="883" y="590"/>
                    </a:lnTo>
                    <a:lnTo>
                      <a:pt x="885" y="588"/>
                    </a:lnTo>
                    <a:lnTo>
                      <a:pt x="885" y="588"/>
                    </a:lnTo>
                    <a:lnTo>
                      <a:pt x="887" y="588"/>
                    </a:lnTo>
                    <a:lnTo>
                      <a:pt x="887" y="588"/>
                    </a:lnTo>
                    <a:lnTo>
                      <a:pt x="889" y="588"/>
                    </a:lnTo>
                    <a:lnTo>
                      <a:pt x="889" y="588"/>
                    </a:lnTo>
                    <a:lnTo>
                      <a:pt x="893" y="588"/>
                    </a:lnTo>
                    <a:lnTo>
                      <a:pt x="895" y="586"/>
                    </a:lnTo>
                    <a:lnTo>
                      <a:pt x="895" y="586"/>
                    </a:lnTo>
                    <a:lnTo>
                      <a:pt x="895" y="586"/>
                    </a:lnTo>
                    <a:lnTo>
                      <a:pt x="893" y="582"/>
                    </a:lnTo>
                    <a:lnTo>
                      <a:pt x="891" y="580"/>
                    </a:lnTo>
                    <a:lnTo>
                      <a:pt x="891" y="578"/>
                    </a:lnTo>
                    <a:lnTo>
                      <a:pt x="891" y="578"/>
                    </a:lnTo>
                    <a:lnTo>
                      <a:pt x="895" y="574"/>
                    </a:lnTo>
                    <a:lnTo>
                      <a:pt x="895" y="572"/>
                    </a:lnTo>
                    <a:lnTo>
                      <a:pt x="895" y="571"/>
                    </a:lnTo>
                    <a:lnTo>
                      <a:pt x="895" y="571"/>
                    </a:lnTo>
                    <a:lnTo>
                      <a:pt x="893" y="569"/>
                    </a:lnTo>
                    <a:lnTo>
                      <a:pt x="885" y="567"/>
                    </a:lnTo>
                    <a:lnTo>
                      <a:pt x="881" y="567"/>
                    </a:lnTo>
                    <a:lnTo>
                      <a:pt x="880" y="565"/>
                    </a:lnTo>
                    <a:lnTo>
                      <a:pt x="876" y="561"/>
                    </a:lnTo>
                    <a:lnTo>
                      <a:pt x="874" y="561"/>
                    </a:lnTo>
                    <a:lnTo>
                      <a:pt x="874" y="559"/>
                    </a:lnTo>
                    <a:lnTo>
                      <a:pt x="872" y="559"/>
                    </a:lnTo>
                    <a:lnTo>
                      <a:pt x="872" y="561"/>
                    </a:lnTo>
                    <a:lnTo>
                      <a:pt x="872" y="561"/>
                    </a:lnTo>
                    <a:lnTo>
                      <a:pt x="872" y="561"/>
                    </a:lnTo>
                    <a:lnTo>
                      <a:pt x="870" y="563"/>
                    </a:lnTo>
                    <a:lnTo>
                      <a:pt x="868" y="563"/>
                    </a:lnTo>
                    <a:lnTo>
                      <a:pt x="868" y="563"/>
                    </a:lnTo>
                    <a:lnTo>
                      <a:pt x="866" y="563"/>
                    </a:lnTo>
                    <a:lnTo>
                      <a:pt x="864" y="563"/>
                    </a:lnTo>
                    <a:lnTo>
                      <a:pt x="862" y="561"/>
                    </a:lnTo>
                    <a:lnTo>
                      <a:pt x="860" y="559"/>
                    </a:lnTo>
                    <a:lnTo>
                      <a:pt x="860" y="559"/>
                    </a:lnTo>
                    <a:lnTo>
                      <a:pt x="860" y="555"/>
                    </a:lnTo>
                    <a:lnTo>
                      <a:pt x="860" y="555"/>
                    </a:lnTo>
                    <a:lnTo>
                      <a:pt x="860" y="552"/>
                    </a:lnTo>
                    <a:lnTo>
                      <a:pt x="862" y="550"/>
                    </a:lnTo>
                    <a:lnTo>
                      <a:pt x="862" y="550"/>
                    </a:lnTo>
                    <a:lnTo>
                      <a:pt x="862" y="550"/>
                    </a:lnTo>
                    <a:lnTo>
                      <a:pt x="864" y="550"/>
                    </a:lnTo>
                    <a:lnTo>
                      <a:pt x="864" y="550"/>
                    </a:lnTo>
                    <a:lnTo>
                      <a:pt x="864" y="550"/>
                    </a:lnTo>
                    <a:lnTo>
                      <a:pt x="864" y="550"/>
                    </a:lnTo>
                    <a:lnTo>
                      <a:pt x="866" y="552"/>
                    </a:lnTo>
                    <a:lnTo>
                      <a:pt x="866" y="552"/>
                    </a:lnTo>
                    <a:lnTo>
                      <a:pt x="866" y="553"/>
                    </a:lnTo>
                    <a:lnTo>
                      <a:pt x="866" y="553"/>
                    </a:lnTo>
                    <a:lnTo>
                      <a:pt x="866" y="553"/>
                    </a:lnTo>
                    <a:lnTo>
                      <a:pt x="868" y="553"/>
                    </a:lnTo>
                    <a:lnTo>
                      <a:pt x="868" y="553"/>
                    </a:lnTo>
                    <a:lnTo>
                      <a:pt x="870" y="552"/>
                    </a:lnTo>
                    <a:lnTo>
                      <a:pt x="870" y="550"/>
                    </a:lnTo>
                    <a:lnTo>
                      <a:pt x="870" y="550"/>
                    </a:lnTo>
                    <a:lnTo>
                      <a:pt x="870" y="550"/>
                    </a:lnTo>
                    <a:lnTo>
                      <a:pt x="876" y="548"/>
                    </a:lnTo>
                    <a:lnTo>
                      <a:pt x="878" y="548"/>
                    </a:lnTo>
                    <a:lnTo>
                      <a:pt x="878" y="548"/>
                    </a:lnTo>
                    <a:lnTo>
                      <a:pt x="880" y="546"/>
                    </a:lnTo>
                    <a:lnTo>
                      <a:pt x="880" y="544"/>
                    </a:lnTo>
                    <a:lnTo>
                      <a:pt x="880" y="544"/>
                    </a:lnTo>
                    <a:lnTo>
                      <a:pt x="881" y="538"/>
                    </a:lnTo>
                    <a:lnTo>
                      <a:pt x="881" y="536"/>
                    </a:lnTo>
                    <a:lnTo>
                      <a:pt x="883" y="536"/>
                    </a:lnTo>
                    <a:lnTo>
                      <a:pt x="883" y="534"/>
                    </a:lnTo>
                    <a:lnTo>
                      <a:pt x="885" y="534"/>
                    </a:lnTo>
                    <a:lnTo>
                      <a:pt x="889" y="534"/>
                    </a:lnTo>
                    <a:lnTo>
                      <a:pt x="891" y="534"/>
                    </a:lnTo>
                    <a:lnTo>
                      <a:pt x="893" y="534"/>
                    </a:lnTo>
                    <a:lnTo>
                      <a:pt x="895" y="536"/>
                    </a:lnTo>
                    <a:lnTo>
                      <a:pt x="901" y="536"/>
                    </a:lnTo>
                    <a:lnTo>
                      <a:pt x="920" y="536"/>
                    </a:lnTo>
                    <a:lnTo>
                      <a:pt x="922" y="534"/>
                    </a:lnTo>
                    <a:lnTo>
                      <a:pt x="922" y="534"/>
                    </a:lnTo>
                    <a:lnTo>
                      <a:pt x="922" y="534"/>
                    </a:lnTo>
                    <a:lnTo>
                      <a:pt x="920" y="533"/>
                    </a:lnTo>
                    <a:lnTo>
                      <a:pt x="920" y="531"/>
                    </a:lnTo>
                    <a:lnTo>
                      <a:pt x="910" y="521"/>
                    </a:lnTo>
                    <a:lnTo>
                      <a:pt x="908" y="521"/>
                    </a:lnTo>
                    <a:lnTo>
                      <a:pt x="906" y="521"/>
                    </a:lnTo>
                    <a:lnTo>
                      <a:pt x="906" y="521"/>
                    </a:lnTo>
                    <a:lnTo>
                      <a:pt x="904" y="521"/>
                    </a:lnTo>
                    <a:lnTo>
                      <a:pt x="902" y="521"/>
                    </a:lnTo>
                    <a:lnTo>
                      <a:pt x="902" y="519"/>
                    </a:lnTo>
                    <a:lnTo>
                      <a:pt x="902" y="517"/>
                    </a:lnTo>
                    <a:lnTo>
                      <a:pt x="902" y="512"/>
                    </a:lnTo>
                    <a:lnTo>
                      <a:pt x="902" y="510"/>
                    </a:lnTo>
                    <a:lnTo>
                      <a:pt x="902" y="506"/>
                    </a:lnTo>
                    <a:lnTo>
                      <a:pt x="902" y="504"/>
                    </a:lnTo>
                    <a:lnTo>
                      <a:pt x="901" y="502"/>
                    </a:lnTo>
                    <a:lnTo>
                      <a:pt x="901" y="502"/>
                    </a:lnTo>
                    <a:lnTo>
                      <a:pt x="899" y="500"/>
                    </a:lnTo>
                    <a:lnTo>
                      <a:pt x="897" y="500"/>
                    </a:lnTo>
                    <a:lnTo>
                      <a:pt x="897" y="500"/>
                    </a:lnTo>
                    <a:lnTo>
                      <a:pt x="895" y="500"/>
                    </a:lnTo>
                    <a:lnTo>
                      <a:pt x="893" y="502"/>
                    </a:lnTo>
                    <a:lnTo>
                      <a:pt x="893" y="502"/>
                    </a:lnTo>
                    <a:lnTo>
                      <a:pt x="893" y="502"/>
                    </a:lnTo>
                    <a:lnTo>
                      <a:pt x="891" y="504"/>
                    </a:lnTo>
                    <a:lnTo>
                      <a:pt x="891" y="504"/>
                    </a:lnTo>
                    <a:lnTo>
                      <a:pt x="887" y="500"/>
                    </a:lnTo>
                    <a:lnTo>
                      <a:pt x="885" y="500"/>
                    </a:lnTo>
                    <a:lnTo>
                      <a:pt x="883" y="498"/>
                    </a:lnTo>
                    <a:lnTo>
                      <a:pt x="881" y="498"/>
                    </a:lnTo>
                    <a:lnTo>
                      <a:pt x="880" y="496"/>
                    </a:lnTo>
                    <a:lnTo>
                      <a:pt x="880" y="494"/>
                    </a:lnTo>
                    <a:lnTo>
                      <a:pt x="876" y="487"/>
                    </a:lnTo>
                    <a:lnTo>
                      <a:pt x="876" y="485"/>
                    </a:lnTo>
                    <a:lnTo>
                      <a:pt x="876" y="481"/>
                    </a:lnTo>
                    <a:lnTo>
                      <a:pt x="876" y="479"/>
                    </a:lnTo>
                    <a:lnTo>
                      <a:pt x="874" y="477"/>
                    </a:lnTo>
                    <a:lnTo>
                      <a:pt x="874" y="475"/>
                    </a:lnTo>
                    <a:lnTo>
                      <a:pt x="872" y="475"/>
                    </a:lnTo>
                    <a:lnTo>
                      <a:pt x="870" y="474"/>
                    </a:lnTo>
                    <a:lnTo>
                      <a:pt x="868" y="470"/>
                    </a:lnTo>
                    <a:lnTo>
                      <a:pt x="868" y="468"/>
                    </a:lnTo>
                    <a:lnTo>
                      <a:pt x="864" y="466"/>
                    </a:lnTo>
                    <a:lnTo>
                      <a:pt x="864" y="464"/>
                    </a:lnTo>
                    <a:lnTo>
                      <a:pt x="864" y="462"/>
                    </a:lnTo>
                    <a:lnTo>
                      <a:pt x="864" y="460"/>
                    </a:lnTo>
                    <a:lnTo>
                      <a:pt x="864" y="456"/>
                    </a:lnTo>
                    <a:lnTo>
                      <a:pt x="864" y="455"/>
                    </a:lnTo>
                    <a:lnTo>
                      <a:pt x="862" y="453"/>
                    </a:lnTo>
                    <a:lnTo>
                      <a:pt x="862" y="451"/>
                    </a:lnTo>
                    <a:lnTo>
                      <a:pt x="860" y="451"/>
                    </a:lnTo>
                    <a:lnTo>
                      <a:pt x="859" y="449"/>
                    </a:lnTo>
                    <a:lnTo>
                      <a:pt x="859" y="447"/>
                    </a:lnTo>
                    <a:lnTo>
                      <a:pt x="857" y="447"/>
                    </a:lnTo>
                    <a:lnTo>
                      <a:pt x="857" y="445"/>
                    </a:lnTo>
                    <a:lnTo>
                      <a:pt x="859" y="441"/>
                    </a:lnTo>
                    <a:lnTo>
                      <a:pt x="859" y="441"/>
                    </a:lnTo>
                    <a:lnTo>
                      <a:pt x="859" y="439"/>
                    </a:lnTo>
                    <a:lnTo>
                      <a:pt x="857" y="439"/>
                    </a:lnTo>
                    <a:lnTo>
                      <a:pt x="853" y="439"/>
                    </a:lnTo>
                    <a:lnTo>
                      <a:pt x="853" y="439"/>
                    </a:lnTo>
                    <a:lnTo>
                      <a:pt x="853" y="439"/>
                    </a:lnTo>
                    <a:lnTo>
                      <a:pt x="853" y="439"/>
                    </a:lnTo>
                    <a:lnTo>
                      <a:pt x="853" y="437"/>
                    </a:lnTo>
                    <a:lnTo>
                      <a:pt x="853" y="437"/>
                    </a:lnTo>
                    <a:lnTo>
                      <a:pt x="853" y="437"/>
                    </a:lnTo>
                    <a:lnTo>
                      <a:pt x="847" y="435"/>
                    </a:lnTo>
                    <a:lnTo>
                      <a:pt x="830" y="426"/>
                    </a:lnTo>
                    <a:lnTo>
                      <a:pt x="820" y="422"/>
                    </a:lnTo>
                    <a:lnTo>
                      <a:pt x="807" y="420"/>
                    </a:lnTo>
                    <a:lnTo>
                      <a:pt x="794" y="420"/>
                    </a:lnTo>
                    <a:lnTo>
                      <a:pt x="792" y="420"/>
                    </a:lnTo>
                    <a:lnTo>
                      <a:pt x="790" y="422"/>
                    </a:lnTo>
                    <a:lnTo>
                      <a:pt x="790" y="424"/>
                    </a:lnTo>
                    <a:lnTo>
                      <a:pt x="790" y="426"/>
                    </a:lnTo>
                    <a:lnTo>
                      <a:pt x="792" y="428"/>
                    </a:lnTo>
                    <a:lnTo>
                      <a:pt x="792" y="430"/>
                    </a:lnTo>
                    <a:lnTo>
                      <a:pt x="792" y="432"/>
                    </a:lnTo>
                    <a:lnTo>
                      <a:pt x="788" y="435"/>
                    </a:lnTo>
                    <a:lnTo>
                      <a:pt x="786" y="437"/>
                    </a:lnTo>
                    <a:lnTo>
                      <a:pt x="784" y="439"/>
                    </a:lnTo>
                    <a:lnTo>
                      <a:pt x="782" y="439"/>
                    </a:lnTo>
                    <a:lnTo>
                      <a:pt x="778" y="439"/>
                    </a:lnTo>
                    <a:lnTo>
                      <a:pt x="777" y="437"/>
                    </a:lnTo>
                    <a:lnTo>
                      <a:pt x="777" y="435"/>
                    </a:lnTo>
                    <a:lnTo>
                      <a:pt x="775" y="432"/>
                    </a:lnTo>
                    <a:lnTo>
                      <a:pt x="773" y="430"/>
                    </a:lnTo>
                    <a:lnTo>
                      <a:pt x="767" y="426"/>
                    </a:lnTo>
                    <a:lnTo>
                      <a:pt x="763" y="424"/>
                    </a:lnTo>
                    <a:lnTo>
                      <a:pt x="748" y="424"/>
                    </a:lnTo>
                    <a:lnTo>
                      <a:pt x="738" y="422"/>
                    </a:lnTo>
                    <a:lnTo>
                      <a:pt x="733" y="418"/>
                    </a:lnTo>
                    <a:lnTo>
                      <a:pt x="731" y="418"/>
                    </a:lnTo>
                    <a:lnTo>
                      <a:pt x="716" y="416"/>
                    </a:lnTo>
                    <a:lnTo>
                      <a:pt x="712" y="413"/>
                    </a:lnTo>
                    <a:lnTo>
                      <a:pt x="710" y="407"/>
                    </a:lnTo>
                    <a:lnTo>
                      <a:pt x="710" y="397"/>
                    </a:lnTo>
                    <a:lnTo>
                      <a:pt x="708" y="392"/>
                    </a:lnTo>
                    <a:lnTo>
                      <a:pt x="706" y="388"/>
                    </a:lnTo>
                    <a:lnTo>
                      <a:pt x="706" y="388"/>
                    </a:lnTo>
                    <a:lnTo>
                      <a:pt x="702" y="386"/>
                    </a:lnTo>
                    <a:lnTo>
                      <a:pt x="687" y="392"/>
                    </a:lnTo>
                    <a:lnTo>
                      <a:pt x="676" y="392"/>
                    </a:lnTo>
                    <a:lnTo>
                      <a:pt x="672" y="390"/>
                    </a:lnTo>
                    <a:lnTo>
                      <a:pt x="664" y="384"/>
                    </a:lnTo>
                    <a:lnTo>
                      <a:pt x="655" y="378"/>
                    </a:lnTo>
                    <a:lnTo>
                      <a:pt x="639" y="367"/>
                    </a:lnTo>
                    <a:lnTo>
                      <a:pt x="634" y="365"/>
                    </a:lnTo>
                    <a:lnTo>
                      <a:pt x="632" y="363"/>
                    </a:lnTo>
                    <a:lnTo>
                      <a:pt x="630" y="361"/>
                    </a:lnTo>
                    <a:lnTo>
                      <a:pt x="628" y="357"/>
                    </a:lnTo>
                    <a:lnTo>
                      <a:pt x="626" y="357"/>
                    </a:lnTo>
                    <a:lnTo>
                      <a:pt x="624" y="357"/>
                    </a:lnTo>
                    <a:lnTo>
                      <a:pt x="618" y="357"/>
                    </a:lnTo>
                    <a:lnTo>
                      <a:pt x="614" y="357"/>
                    </a:lnTo>
                    <a:lnTo>
                      <a:pt x="609" y="365"/>
                    </a:lnTo>
                    <a:lnTo>
                      <a:pt x="605" y="367"/>
                    </a:lnTo>
                    <a:lnTo>
                      <a:pt x="603" y="367"/>
                    </a:lnTo>
                    <a:lnTo>
                      <a:pt x="599" y="363"/>
                    </a:lnTo>
                    <a:lnTo>
                      <a:pt x="595" y="361"/>
                    </a:lnTo>
                    <a:lnTo>
                      <a:pt x="590" y="357"/>
                    </a:lnTo>
                    <a:lnTo>
                      <a:pt x="584" y="352"/>
                    </a:lnTo>
                    <a:lnTo>
                      <a:pt x="582" y="350"/>
                    </a:lnTo>
                    <a:lnTo>
                      <a:pt x="578" y="350"/>
                    </a:lnTo>
                    <a:lnTo>
                      <a:pt x="573" y="348"/>
                    </a:lnTo>
                    <a:lnTo>
                      <a:pt x="571" y="346"/>
                    </a:lnTo>
                    <a:lnTo>
                      <a:pt x="571" y="346"/>
                    </a:lnTo>
                    <a:lnTo>
                      <a:pt x="571" y="346"/>
                    </a:lnTo>
                    <a:lnTo>
                      <a:pt x="569" y="342"/>
                    </a:lnTo>
                    <a:lnTo>
                      <a:pt x="565" y="340"/>
                    </a:lnTo>
                    <a:lnTo>
                      <a:pt x="555" y="335"/>
                    </a:lnTo>
                    <a:lnTo>
                      <a:pt x="553" y="335"/>
                    </a:lnTo>
                    <a:lnTo>
                      <a:pt x="552" y="333"/>
                    </a:lnTo>
                    <a:lnTo>
                      <a:pt x="552" y="331"/>
                    </a:lnTo>
                    <a:lnTo>
                      <a:pt x="552" y="329"/>
                    </a:lnTo>
                    <a:lnTo>
                      <a:pt x="550" y="327"/>
                    </a:lnTo>
                    <a:lnTo>
                      <a:pt x="548" y="323"/>
                    </a:lnTo>
                    <a:lnTo>
                      <a:pt x="544" y="321"/>
                    </a:lnTo>
                    <a:lnTo>
                      <a:pt x="542" y="321"/>
                    </a:lnTo>
                    <a:lnTo>
                      <a:pt x="540" y="321"/>
                    </a:lnTo>
                    <a:lnTo>
                      <a:pt x="540" y="323"/>
                    </a:lnTo>
                    <a:lnTo>
                      <a:pt x="538" y="325"/>
                    </a:lnTo>
                    <a:lnTo>
                      <a:pt x="538" y="327"/>
                    </a:lnTo>
                    <a:lnTo>
                      <a:pt x="536" y="327"/>
                    </a:lnTo>
                    <a:lnTo>
                      <a:pt x="534" y="327"/>
                    </a:lnTo>
                    <a:lnTo>
                      <a:pt x="532" y="327"/>
                    </a:lnTo>
                    <a:lnTo>
                      <a:pt x="532" y="325"/>
                    </a:lnTo>
                    <a:lnTo>
                      <a:pt x="531" y="325"/>
                    </a:lnTo>
                    <a:lnTo>
                      <a:pt x="531" y="323"/>
                    </a:lnTo>
                    <a:lnTo>
                      <a:pt x="531" y="321"/>
                    </a:lnTo>
                    <a:lnTo>
                      <a:pt x="532" y="321"/>
                    </a:lnTo>
                    <a:lnTo>
                      <a:pt x="531" y="318"/>
                    </a:lnTo>
                    <a:lnTo>
                      <a:pt x="523" y="310"/>
                    </a:lnTo>
                    <a:lnTo>
                      <a:pt x="521" y="306"/>
                    </a:lnTo>
                    <a:lnTo>
                      <a:pt x="519" y="297"/>
                    </a:lnTo>
                    <a:lnTo>
                      <a:pt x="517" y="293"/>
                    </a:lnTo>
                    <a:lnTo>
                      <a:pt x="513" y="293"/>
                    </a:lnTo>
                    <a:lnTo>
                      <a:pt x="500" y="289"/>
                    </a:lnTo>
                    <a:lnTo>
                      <a:pt x="494" y="289"/>
                    </a:lnTo>
                    <a:lnTo>
                      <a:pt x="494" y="287"/>
                    </a:lnTo>
                    <a:lnTo>
                      <a:pt x="494" y="285"/>
                    </a:lnTo>
                    <a:lnTo>
                      <a:pt x="494" y="283"/>
                    </a:lnTo>
                    <a:lnTo>
                      <a:pt x="492" y="283"/>
                    </a:lnTo>
                    <a:lnTo>
                      <a:pt x="491" y="283"/>
                    </a:lnTo>
                    <a:lnTo>
                      <a:pt x="489" y="283"/>
                    </a:lnTo>
                    <a:lnTo>
                      <a:pt x="485" y="283"/>
                    </a:lnTo>
                    <a:lnTo>
                      <a:pt x="483" y="283"/>
                    </a:lnTo>
                    <a:lnTo>
                      <a:pt x="481" y="281"/>
                    </a:lnTo>
                    <a:lnTo>
                      <a:pt x="481" y="279"/>
                    </a:lnTo>
                    <a:lnTo>
                      <a:pt x="481" y="276"/>
                    </a:lnTo>
                    <a:lnTo>
                      <a:pt x="479" y="274"/>
                    </a:lnTo>
                    <a:lnTo>
                      <a:pt x="477" y="274"/>
                    </a:lnTo>
                    <a:lnTo>
                      <a:pt x="471" y="274"/>
                    </a:lnTo>
                    <a:lnTo>
                      <a:pt x="470" y="274"/>
                    </a:lnTo>
                    <a:lnTo>
                      <a:pt x="468" y="272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4"/>
                    </a:lnTo>
                    <a:lnTo>
                      <a:pt x="454" y="262"/>
                    </a:lnTo>
                    <a:lnTo>
                      <a:pt x="454" y="262"/>
                    </a:lnTo>
                    <a:lnTo>
                      <a:pt x="450" y="257"/>
                    </a:lnTo>
                    <a:lnTo>
                      <a:pt x="449" y="257"/>
                    </a:lnTo>
                    <a:lnTo>
                      <a:pt x="445" y="255"/>
                    </a:lnTo>
                    <a:lnTo>
                      <a:pt x="443" y="255"/>
                    </a:lnTo>
                    <a:lnTo>
                      <a:pt x="441" y="253"/>
                    </a:lnTo>
                    <a:lnTo>
                      <a:pt x="439" y="251"/>
                    </a:lnTo>
                    <a:lnTo>
                      <a:pt x="439" y="251"/>
                    </a:lnTo>
                    <a:lnTo>
                      <a:pt x="439" y="249"/>
                    </a:lnTo>
                    <a:lnTo>
                      <a:pt x="439" y="249"/>
                    </a:lnTo>
                    <a:lnTo>
                      <a:pt x="437" y="249"/>
                    </a:lnTo>
                    <a:lnTo>
                      <a:pt x="435" y="249"/>
                    </a:lnTo>
                    <a:lnTo>
                      <a:pt x="431" y="249"/>
                    </a:lnTo>
                    <a:lnTo>
                      <a:pt x="431" y="251"/>
                    </a:lnTo>
                    <a:lnTo>
                      <a:pt x="431" y="255"/>
                    </a:lnTo>
                    <a:lnTo>
                      <a:pt x="431" y="262"/>
                    </a:lnTo>
                    <a:lnTo>
                      <a:pt x="431" y="264"/>
                    </a:lnTo>
                    <a:lnTo>
                      <a:pt x="428" y="264"/>
                    </a:lnTo>
                    <a:lnTo>
                      <a:pt x="424" y="257"/>
                    </a:lnTo>
                    <a:lnTo>
                      <a:pt x="420" y="257"/>
                    </a:lnTo>
                    <a:lnTo>
                      <a:pt x="418" y="257"/>
                    </a:lnTo>
                    <a:lnTo>
                      <a:pt x="416" y="257"/>
                    </a:lnTo>
                    <a:lnTo>
                      <a:pt x="414" y="257"/>
                    </a:lnTo>
                    <a:lnTo>
                      <a:pt x="410" y="257"/>
                    </a:lnTo>
                    <a:lnTo>
                      <a:pt x="410" y="255"/>
                    </a:lnTo>
                    <a:lnTo>
                      <a:pt x="407" y="247"/>
                    </a:lnTo>
                    <a:lnTo>
                      <a:pt x="405" y="245"/>
                    </a:lnTo>
                    <a:lnTo>
                      <a:pt x="403" y="245"/>
                    </a:lnTo>
                    <a:lnTo>
                      <a:pt x="403" y="245"/>
                    </a:lnTo>
                    <a:lnTo>
                      <a:pt x="401" y="243"/>
                    </a:lnTo>
                    <a:lnTo>
                      <a:pt x="399" y="241"/>
                    </a:lnTo>
                    <a:lnTo>
                      <a:pt x="399" y="241"/>
                    </a:lnTo>
                    <a:lnTo>
                      <a:pt x="397" y="240"/>
                    </a:lnTo>
                    <a:lnTo>
                      <a:pt x="393" y="240"/>
                    </a:lnTo>
                    <a:lnTo>
                      <a:pt x="389" y="238"/>
                    </a:lnTo>
                    <a:lnTo>
                      <a:pt x="388" y="236"/>
                    </a:lnTo>
                    <a:lnTo>
                      <a:pt x="384" y="230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8" y="230"/>
                    </a:lnTo>
                    <a:lnTo>
                      <a:pt x="378" y="232"/>
                    </a:lnTo>
                    <a:lnTo>
                      <a:pt x="376" y="234"/>
                    </a:lnTo>
                    <a:lnTo>
                      <a:pt x="372" y="238"/>
                    </a:lnTo>
                    <a:lnTo>
                      <a:pt x="372" y="240"/>
                    </a:lnTo>
                    <a:lnTo>
                      <a:pt x="370" y="240"/>
                    </a:lnTo>
                    <a:lnTo>
                      <a:pt x="368" y="241"/>
                    </a:lnTo>
                    <a:lnTo>
                      <a:pt x="367" y="241"/>
                    </a:lnTo>
                    <a:lnTo>
                      <a:pt x="365" y="240"/>
                    </a:lnTo>
                    <a:lnTo>
                      <a:pt x="361" y="240"/>
                    </a:lnTo>
                    <a:lnTo>
                      <a:pt x="361" y="238"/>
                    </a:lnTo>
                    <a:lnTo>
                      <a:pt x="361" y="236"/>
                    </a:lnTo>
                    <a:lnTo>
                      <a:pt x="361" y="234"/>
                    </a:lnTo>
                    <a:lnTo>
                      <a:pt x="361" y="234"/>
                    </a:lnTo>
                    <a:lnTo>
                      <a:pt x="359" y="234"/>
                    </a:lnTo>
                    <a:lnTo>
                      <a:pt x="357" y="234"/>
                    </a:lnTo>
                    <a:lnTo>
                      <a:pt x="357" y="234"/>
                    </a:lnTo>
                    <a:lnTo>
                      <a:pt x="355" y="234"/>
                    </a:lnTo>
                    <a:lnTo>
                      <a:pt x="355" y="232"/>
                    </a:lnTo>
                    <a:lnTo>
                      <a:pt x="357" y="230"/>
                    </a:lnTo>
                    <a:lnTo>
                      <a:pt x="357" y="230"/>
                    </a:lnTo>
                    <a:lnTo>
                      <a:pt x="355" y="228"/>
                    </a:lnTo>
                    <a:lnTo>
                      <a:pt x="353" y="228"/>
                    </a:lnTo>
                    <a:lnTo>
                      <a:pt x="349" y="230"/>
                    </a:lnTo>
                    <a:lnTo>
                      <a:pt x="349" y="230"/>
                    </a:lnTo>
                    <a:lnTo>
                      <a:pt x="348" y="230"/>
                    </a:lnTo>
                    <a:lnTo>
                      <a:pt x="348" y="228"/>
                    </a:lnTo>
                    <a:lnTo>
                      <a:pt x="349" y="224"/>
                    </a:lnTo>
                    <a:lnTo>
                      <a:pt x="349" y="222"/>
                    </a:lnTo>
                    <a:lnTo>
                      <a:pt x="349" y="222"/>
                    </a:lnTo>
                    <a:lnTo>
                      <a:pt x="346" y="220"/>
                    </a:lnTo>
                    <a:lnTo>
                      <a:pt x="340" y="219"/>
                    </a:lnTo>
                    <a:lnTo>
                      <a:pt x="338" y="219"/>
                    </a:lnTo>
                    <a:lnTo>
                      <a:pt x="336" y="220"/>
                    </a:lnTo>
                    <a:lnTo>
                      <a:pt x="336" y="220"/>
                    </a:lnTo>
                    <a:lnTo>
                      <a:pt x="336" y="222"/>
                    </a:lnTo>
                    <a:lnTo>
                      <a:pt x="336" y="222"/>
                    </a:lnTo>
                    <a:lnTo>
                      <a:pt x="332" y="224"/>
                    </a:lnTo>
                    <a:lnTo>
                      <a:pt x="323" y="222"/>
                    </a:lnTo>
                    <a:lnTo>
                      <a:pt x="321" y="224"/>
                    </a:lnTo>
                    <a:lnTo>
                      <a:pt x="319" y="224"/>
                    </a:lnTo>
                    <a:lnTo>
                      <a:pt x="319" y="224"/>
                    </a:lnTo>
                    <a:lnTo>
                      <a:pt x="317" y="222"/>
                    </a:lnTo>
                    <a:lnTo>
                      <a:pt x="317" y="220"/>
                    </a:lnTo>
                    <a:lnTo>
                      <a:pt x="315" y="220"/>
                    </a:lnTo>
                    <a:lnTo>
                      <a:pt x="309" y="220"/>
                    </a:lnTo>
                    <a:lnTo>
                      <a:pt x="300" y="224"/>
                    </a:lnTo>
                    <a:lnTo>
                      <a:pt x="298" y="220"/>
                    </a:lnTo>
                    <a:lnTo>
                      <a:pt x="296" y="213"/>
                    </a:lnTo>
                    <a:lnTo>
                      <a:pt x="296" y="213"/>
                    </a:lnTo>
                    <a:lnTo>
                      <a:pt x="294" y="211"/>
                    </a:lnTo>
                    <a:lnTo>
                      <a:pt x="292" y="209"/>
                    </a:lnTo>
                    <a:lnTo>
                      <a:pt x="292" y="207"/>
                    </a:lnTo>
                    <a:lnTo>
                      <a:pt x="290" y="207"/>
                    </a:lnTo>
                    <a:lnTo>
                      <a:pt x="290" y="207"/>
                    </a:lnTo>
                    <a:lnTo>
                      <a:pt x="288" y="207"/>
                    </a:lnTo>
                    <a:lnTo>
                      <a:pt x="287" y="207"/>
                    </a:lnTo>
                    <a:lnTo>
                      <a:pt x="285" y="207"/>
                    </a:lnTo>
                    <a:lnTo>
                      <a:pt x="281" y="207"/>
                    </a:lnTo>
                    <a:lnTo>
                      <a:pt x="266" y="196"/>
                    </a:lnTo>
                    <a:lnTo>
                      <a:pt x="264" y="194"/>
                    </a:lnTo>
                    <a:lnTo>
                      <a:pt x="262" y="192"/>
                    </a:lnTo>
                    <a:lnTo>
                      <a:pt x="262" y="190"/>
                    </a:lnTo>
                    <a:lnTo>
                      <a:pt x="262" y="188"/>
                    </a:lnTo>
                    <a:lnTo>
                      <a:pt x="262" y="188"/>
                    </a:lnTo>
                    <a:lnTo>
                      <a:pt x="260" y="186"/>
                    </a:lnTo>
                    <a:lnTo>
                      <a:pt x="250" y="181"/>
                    </a:lnTo>
                    <a:lnTo>
                      <a:pt x="250" y="181"/>
                    </a:lnTo>
                    <a:lnTo>
                      <a:pt x="248" y="181"/>
                    </a:lnTo>
                    <a:lnTo>
                      <a:pt x="246" y="182"/>
                    </a:lnTo>
                    <a:lnTo>
                      <a:pt x="239" y="184"/>
                    </a:lnTo>
                    <a:lnTo>
                      <a:pt x="233" y="188"/>
                    </a:lnTo>
                    <a:lnTo>
                      <a:pt x="233" y="181"/>
                    </a:lnTo>
                    <a:lnTo>
                      <a:pt x="231" y="177"/>
                    </a:lnTo>
                    <a:lnTo>
                      <a:pt x="229" y="175"/>
                    </a:lnTo>
                    <a:lnTo>
                      <a:pt x="227" y="171"/>
                    </a:lnTo>
                    <a:lnTo>
                      <a:pt x="208" y="161"/>
                    </a:lnTo>
                    <a:lnTo>
                      <a:pt x="208" y="161"/>
                    </a:lnTo>
                    <a:lnTo>
                      <a:pt x="208" y="161"/>
                    </a:lnTo>
                    <a:lnTo>
                      <a:pt x="210" y="160"/>
                    </a:lnTo>
                    <a:lnTo>
                      <a:pt x="210" y="160"/>
                    </a:lnTo>
                    <a:lnTo>
                      <a:pt x="210" y="158"/>
                    </a:lnTo>
                    <a:lnTo>
                      <a:pt x="210" y="158"/>
                    </a:lnTo>
                    <a:lnTo>
                      <a:pt x="210" y="156"/>
                    </a:lnTo>
                    <a:lnTo>
                      <a:pt x="212" y="156"/>
                    </a:lnTo>
                    <a:lnTo>
                      <a:pt x="214" y="156"/>
                    </a:lnTo>
                    <a:lnTo>
                      <a:pt x="214" y="156"/>
                    </a:lnTo>
                    <a:lnTo>
                      <a:pt x="216" y="156"/>
                    </a:lnTo>
                    <a:lnTo>
                      <a:pt x="216" y="156"/>
                    </a:lnTo>
                    <a:lnTo>
                      <a:pt x="218" y="158"/>
                    </a:lnTo>
                    <a:lnTo>
                      <a:pt x="218" y="156"/>
                    </a:lnTo>
                    <a:lnTo>
                      <a:pt x="220" y="154"/>
                    </a:lnTo>
                    <a:lnTo>
                      <a:pt x="222" y="152"/>
                    </a:lnTo>
                    <a:lnTo>
                      <a:pt x="222" y="152"/>
                    </a:lnTo>
                    <a:lnTo>
                      <a:pt x="224" y="152"/>
                    </a:lnTo>
                    <a:lnTo>
                      <a:pt x="224" y="154"/>
                    </a:lnTo>
                    <a:lnTo>
                      <a:pt x="225" y="154"/>
                    </a:lnTo>
                    <a:lnTo>
                      <a:pt x="227" y="152"/>
                    </a:lnTo>
                    <a:lnTo>
                      <a:pt x="233" y="146"/>
                    </a:lnTo>
                    <a:lnTo>
                      <a:pt x="233" y="144"/>
                    </a:lnTo>
                    <a:lnTo>
                      <a:pt x="233" y="142"/>
                    </a:lnTo>
                    <a:lnTo>
                      <a:pt x="235" y="142"/>
                    </a:lnTo>
                    <a:lnTo>
                      <a:pt x="233" y="141"/>
                    </a:lnTo>
                    <a:lnTo>
                      <a:pt x="224" y="139"/>
                    </a:lnTo>
                    <a:lnTo>
                      <a:pt x="220" y="137"/>
                    </a:lnTo>
                    <a:lnTo>
                      <a:pt x="199" y="125"/>
                    </a:lnTo>
                    <a:lnTo>
                      <a:pt x="193" y="120"/>
                    </a:lnTo>
                    <a:lnTo>
                      <a:pt x="187" y="114"/>
                    </a:lnTo>
                    <a:lnTo>
                      <a:pt x="185" y="110"/>
                    </a:lnTo>
                    <a:lnTo>
                      <a:pt x="184" y="104"/>
                    </a:lnTo>
                    <a:lnTo>
                      <a:pt x="180" y="99"/>
                    </a:lnTo>
                    <a:lnTo>
                      <a:pt x="166" y="93"/>
                    </a:lnTo>
                    <a:lnTo>
                      <a:pt x="164" y="91"/>
                    </a:lnTo>
                    <a:lnTo>
                      <a:pt x="163" y="89"/>
                    </a:lnTo>
                    <a:lnTo>
                      <a:pt x="159" y="82"/>
                    </a:lnTo>
                    <a:lnTo>
                      <a:pt x="155" y="74"/>
                    </a:lnTo>
                    <a:lnTo>
                      <a:pt x="147" y="66"/>
                    </a:lnTo>
                    <a:lnTo>
                      <a:pt x="145" y="66"/>
                    </a:lnTo>
                    <a:lnTo>
                      <a:pt x="145" y="64"/>
                    </a:lnTo>
                    <a:lnTo>
                      <a:pt x="143" y="64"/>
                    </a:lnTo>
                    <a:lnTo>
                      <a:pt x="142" y="66"/>
                    </a:lnTo>
                    <a:lnTo>
                      <a:pt x="140" y="66"/>
                    </a:lnTo>
                    <a:lnTo>
                      <a:pt x="140" y="68"/>
                    </a:lnTo>
                    <a:lnTo>
                      <a:pt x="138" y="70"/>
                    </a:lnTo>
                    <a:lnTo>
                      <a:pt x="138" y="74"/>
                    </a:lnTo>
                    <a:lnTo>
                      <a:pt x="140" y="76"/>
                    </a:lnTo>
                    <a:lnTo>
                      <a:pt x="143" y="89"/>
                    </a:lnTo>
                    <a:lnTo>
                      <a:pt x="143" y="95"/>
                    </a:lnTo>
                    <a:lnTo>
                      <a:pt x="142" y="101"/>
                    </a:lnTo>
                    <a:lnTo>
                      <a:pt x="138" y="106"/>
                    </a:lnTo>
                    <a:lnTo>
                      <a:pt x="132" y="108"/>
                    </a:lnTo>
                    <a:lnTo>
                      <a:pt x="130" y="108"/>
                    </a:lnTo>
                    <a:lnTo>
                      <a:pt x="128" y="106"/>
                    </a:lnTo>
                    <a:lnTo>
                      <a:pt x="124" y="104"/>
                    </a:lnTo>
                    <a:lnTo>
                      <a:pt x="117" y="99"/>
                    </a:lnTo>
                    <a:lnTo>
                      <a:pt x="115" y="99"/>
                    </a:lnTo>
                    <a:lnTo>
                      <a:pt x="113" y="99"/>
                    </a:lnTo>
                    <a:lnTo>
                      <a:pt x="109" y="103"/>
                    </a:lnTo>
                    <a:lnTo>
                      <a:pt x="98" y="108"/>
                    </a:lnTo>
                    <a:lnTo>
                      <a:pt x="92" y="97"/>
                    </a:lnTo>
                    <a:lnTo>
                      <a:pt x="90" y="93"/>
                    </a:lnTo>
                    <a:lnTo>
                      <a:pt x="90" y="85"/>
                    </a:lnTo>
                    <a:lnTo>
                      <a:pt x="88" y="80"/>
                    </a:lnTo>
                    <a:lnTo>
                      <a:pt x="86" y="76"/>
                    </a:lnTo>
                    <a:lnTo>
                      <a:pt x="86" y="70"/>
                    </a:lnTo>
                    <a:lnTo>
                      <a:pt x="86" y="64"/>
                    </a:lnTo>
                    <a:lnTo>
                      <a:pt x="86" y="63"/>
                    </a:lnTo>
                    <a:lnTo>
                      <a:pt x="92" y="53"/>
                    </a:lnTo>
                    <a:lnTo>
                      <a:pt x="98" y="40"/>
                    </a:lnTo>
                    <a:lnTo>
                      <a:pt x="102" y="34"/>
                    </a:lnTo>
                    <a:lnTo>
                      <a:pt x="109" y="30"/>
                    </a:lnTo>
                    <a:lnTo>
                      <a:pt x="111" y="28"/>
                    </a:lnTo>
                    <a:lnTo>
                      <a:pt x="111" y="26"/>
                    </a:lnTo>
                    <a:lnTo>
                      <a:pt x="109" y="23"/>
                    </a:lnTo>
                    <a:lnTo>
                      <a:pt x="96" y="17"/>
                    </a:lnTo>
                    <a:lnTo>
                      <a:pt x="88" y="11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67" y="4"/>
                    </a:lnTo>
                    <a:lnTo>
                      <a:pt x="67" y="5"/>
                    </a:lnTo>
                    <a:lnTo>
                      <a:pt x="67" y="11"/>
                    </a:lnTo>
                    <a:lnTo>
                      <a:pt x="65" y="19"/>
                    </a:lnTo>
                    <a:lnTo>
                      <a:pt x="63" y="21"/>
                    </a:lnTo>
                    <a:lnTo>
                      <a:pt x="58" y="25"/>
                    </a:lnTo>
                    <a:lnTo>
                      <a:pt x="48" y="34"/>
                    </a:lnTo>
                    <a:lnTo>
                      <a:pt x="46" y="36"/>
                    </a:lnTo>
                    <a:lnTo>
                      <a:pt x="44" y="38"/>
                    </a:lnTo>
                    <a:lnTo>
                      <a:pt x="44" y="42"/>
                    </a:lnTo>
                    <a:lnTo>
                      <a:pt x="41" y="45"/>
                    </a:lnTo>
                    <a:lnTo>
                      <a:pt x="37" y="49"/>
                    </a:lnTo>
                    <a:lnTo>
                      <a:pt x="35" y="49"/>
                    </a:lnTo>
                    <a:lnTo>
                      <a:pt x="33" y="49"/>
                    </a:lnTo>
                    <a:lnTo>
                      <a:pt x="33" y="51"/>
                    </a:lnTo>
                    <a:lnTo>
                      <a:pt x="33" y="53"/>
                    </a:lnTo>
                    <a:lnTo>
                      <a:pt x="33" y="53"/>
                    </a:lnTo>
                    <a:lnTo>
                      <a:pt x="33" y="53"/>
                    </a:lnTo>
                    <a:lnTo>
                      <a:pt x="31" y="53"/>
                    </a:lnTo>
                    <a:lnTo>
                      <a:pt x="31" y="53"/>
                    </a:lnTo>
                    <a:lnTo>
                      <a:pt x="29" y="53"/>
                    </a:lnTo>
                    <a:lnTo>
                      <a:pt x="29" y="53"/>
                    </a:lnTo>
                    <a:lnTo>
                      <a:pt x="29" y="53"/>
                    </a:lnTo>
                    <a:lnTo>
                      <a:pt x="29" y="55"/>
                    </a:lnTo>
                    <a:lnTo>
                      <a:pt x="29" y="55"/>
                    </a:lnTo>
                    <a:lnTo>
                      <a:pt x="27" y="57"/>
                    </a:lnTo>
                    <a:lnTo>
                      <a:pt x="23" y="61"/>
                    </a:lnTo>
                    <a:lnTo>
                      <a:pt x="21" y="63"/>
                    </a:lnTo>
                    <a:lnTo>
                      <a:pt x="21" y="64"/>
                    </a:lnTo>
                    <a:lnTo>
                      <a:pt x="20" y="68"/>
                    </a:lnTo>
                    <a:lnTo>
                      <a:pt x="16" y="87"/>
                    </a:lnTo>
                    <a:lnTo>
                      <a:pt x="14" y="91"/>
                    </a:lnTo>
                    <a:lnTo>
                      <a:pt x="14" y="93"/>
                    </a:lnTo>
                    <a:lnTo>
                      <a:pt x="12" y="91"/>
                    </a:lnTo>
                    <a:lnTo>
                      <a:pt x="10" y="91"/>
                    </a:lnTo>
                    <a:lnTo>
                      <a:pt x="10" y="93"/>
                    </a:lnTo>
                    <a:lnTo>
                      <a:pt x="10" y="95"/>
                    </a:lnTo>
                    <a:lnTo>
                      <a:pt x="10" y="95"/>
                    </a:lnTo>
                    <a:lnTo>
                      <a:pt x="10" y="97"/>
                    </a:lnTo>
                    <a:lnTo>
                      <a:pt x="12" y="97"/>
                    </a:lnTo>
                    <a:lnTo>
                      <a:pt x="10" y="99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8" y="104"/>
                    </a:lnTo>
                    <a:lnTo>
                      <a:pt x="4" y="108"/>
                    </a:lnTo>
                    <a:lnTo>
                      <a:pt x="4" y="110"/>
                    </a:lnTo>
                    <a:lnTo>
                      <a:pt x="4" y="112"/>
                    </a:lnTo>
                    <a:lnTo>
                      <a:pt x="4" y="114"/>
                    </a:lnTo>
                    <a:lnTo>
                      <a:pt x="6" y="116"/>
                    </a:lnTo>
                    <a:lnTo>
                      <a:pt x="6" y="118"/>
                    </a:lnTo>
                    <a:lnTo>
                      <a:pt x="4" y="120"/>
                    </a:lnTo>
                    <a:lnTo>
                      <a:pt x="2" y="120"/>
                    </a:lnTo>
                    <a:lnTo>
                      <a:pt x="2" y="122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2" y="125"/>
                    </a:lnTo>
                    <a:lnTo>
                      <a:pt x="2" y="127"/>
                    </a:lnTo>
                    <a:lnTo>
                      <a:pt x="2" y="129"/>
                    </a:lnTo>
                    <a:lnTo>
                      <a:pt x="2" y="131"/>
                    </a:lnTo>
                    <a:lnTo>
                      <a:pt x="2" y="131"/>
                    </a:lnTo>
                    <a:lnTo>
                      <a:pt x="2" y="131"/>
                    </a:lnTo>
                    <a:lnTo>
                      <a:pt x="6" y="131"/>
                    </a:lnTo>
                    <a:lnTo>
                      <a:pt x="8" y="133"/>
                    </a:lnTo>
                    <a:lnTo>
                      <a:pt x="6" y="135"/>
                    </a:lnTo>
                    <a:lnTo>
                      <a:pt x="2" y="139"/>
                    </a:lnTo>
                    <a:lnTo>
                      <a:pt x="2" y="142"/>
                    </a:lnTo>
                    <a:lnTo>
                      <a:pt x="2" y="142"/>
                    </a:lnTo>
                    <a:lnTo>
                      <a:pt x="6" y="141"/>
                    </a:lnTo>
                    <a:lnTo>
                      <a:pt x="10" y="141"/>
                    </a:lnTo>
                    <a:lnTo>
                      <a:pt x="12" y="142"/>
                    </a:lnTo>
                    <a:lnTo>
                      <a:pt x="12" y="144"/>
                    </a:lnTo>
                    <a:lnTo>
                      <a:pt x="12" y="146"/>
                    </a:lnTo>
                    <a:lnTo>
                      <a:pt x="10" y="146"/>
                    </a:lnTo>
                    <a:lnTo>
                      <a:pt x="10" y="148"/>
                    </a:lnTo>
                    <a:lnTo>
                      <a:pt x="10" y="150"/>
                    </a:lnTo>
                    <a:lnTo>
                      <a:pt x="10" y="154"/>
                    </a:lnTo>
                    <a:lnTo>
                      <a:pt x="10" y="154"/>
                    </a:lnTo>
                    <a:lnTo>
                      <a:pt x="12" y="156"/>
                    </a:lnTo>
                    <a:lnTo>
                      <a:pt x="12" y="158"/>
                    </a:lnTo>
                    <a:lnTo>
                      <a:pt x="12" y="160"/>
                    </a:lnTo>
                    <a:lnTo>
                      <a:pt x="10" y="161"/>
                    </a:lnTo>
                    <a:lnTo>
                      <a:pt x="10" y="161"/>
                    </a:lnTo>
                    <a:lnTo>
                      <a:pt x="12" y="184"/>
                    </a:lnTo>
                    <a:lnTo>
                      <a:pt x="10" y="184"/>
                    </a:lnTo>
                    <a:lnTo>
                      <a:pt x="10" y="184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8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4" y="198"/>
                    </a:lnTo>
                    <a:lnTo>
                      <a:pt x="18" y="203"/>
                    </a:lnTo>
                    <a:lnTo>
                      <a:pt x="18" y="203"/>
                    </a:lnTo>
                    <a:lnTo>
                      <a:pt x="16" y="205"/>
                    </a:lnTo>
                    <a:lnTo>
                      <a:pt x="16" y="207"/>
                    </a:lnTo>
                    <a:lnTo>
                      <a:pt x="20" y="211"/>
                    </a:lnTo>
                    <a:lnTo>
                      <a:pt x="20" y="211"/>
                    </a:lnTo>
                    <a:lnTo>
                      <a:pt x="21" y="213"/>
                    </a:lnTo>
                    <a:lnTo>
                      <a:pt x="21" y="215"/>
                    </a:lnTo>
                    <a:lnTo>
                      <a:pt x="21" y="217"/>
                    </a:lnTo>
                    <a:lnTo>
                      <a:pt x="20" y="217"/>
                    </a:lnTo>
                    <a:lnTo>
                      <a:pt x="18" y="220"/>
                    </a:lnTo>
                    <a:lnTo>
                      <a:pt x="21" y="224"/>
                    </a:lnTo>
                    <a:lnTo>
                      <a:pt x="20" y="228"/>
                    </a:lnTo>
                    <a:lnTo>
                      <a:pt x="21" y="230"/>
                    </a:lnTo>
                    <a:lnTo>
                      <a:pt x="21" y="234"/>
                    </a:lnTo>
                    <a:lnTo>
                      <a:pt x="31" y="243"/>
                    </a:lnTo>
                    <a:lnTo>
                      <a:pt x="33" y="245"/>
                    </a:lnTo>
                    <a:lnTo>
                      <a:pt x="33" y="245"/>
                    </a:lnTo>
                    <a:lnTo>
                      <a:pt x="33" y="247"/>
                    </a:lnTo>
                    <a:lnTo>
                      <a:pt x="33" y="249"/>
                    </a:lnTo>
                    <a:lnTo>
                      <a:pt x="35" y="253"/>
                    </a:lnTo>
                    <a:lnTo>
                      <a:pt x="35" y="255"/>
                    </a:lnTo>
                    <a:lnTo>
                      <a:pt x="35" y="257"/>
                    </a:lnTo>
                    <a:lnTo>
                      <a:pt x="35" y="257"/>
                    </a:lnTo>
                    <a:lnTo>
                      <a:pt x="35" y="259"/>
                    </a:lnTo>
                    <a:lnTo>
                      <a:pt x="35" y="259"/>
                    </a:lnTo>
                    <a:lnTo>
                      <a:pt x="33" y="260"/>
                    </a:lnTo>
                    <a:lnTo>
                      <a:pt x="31" y="260"/>
                    </a:lnTo>
                    <a:lnTo>
                      <a:pt x="31" y="262"/>
                    </a:lnTo>
                    <a:lnTo>
                      <a:pt x="31" y="264"/>
                    </a:lnTo>
                    <a:lnTo>
                      <a:pt x="31" y="264"/>
                    </a:lnTo>
                    <a:lnTo>
                      <a:pt x="35" y="272"/>
                    </a:lnTo>
                    <a:lnTo>
                      <a:pt x="35" y="272"/>
                    </a:lnTo>
                    <a:lnTo>
                      <a:pt x="37" y="274"/>
                    </a:lnTo>
                    <a:lnTo>
                      <a:pt x="37" y="276"/>
                    </a:lnTo>
                    <a:lnTo>
                      <a:pt x="39" y="276"/>
                    </a:lnTo>
                    <a:lnTo>
                      <a:pt x="41" y="276"/>
                    </a:lnTo>
                    <a:lnTo>
                      <a:pt x="41" y="278"/>
                    </a:lnTo>
                    <a:lnTo>
                      <a:pt x="41" y="279"/>
                    </a:lnTo>
                    <a:lnTo>
                      <a:pt x="41" y="279"/>
                    </a:lnTo>
                    <a:lnTo>
                      <a:pt x="42" y="279"/>
                    </a:lnTo>
                    <a:lnTo>
                      <a:pt x="44" y="279"/>
                    </a:lnTo>
                    <a:lnTo>
                      <a:pt x="44" y="278"/>
                    </a:lnTo>
                    <a:lnTo>
                      <a:pt x="46" y="279"/>
                    </a:lnTo>
                    <a:lnTo>
                      <a:pt x="46" y="279"/>
                    </a:lnTo>
                    <a:lnTo>
                      <a:pt x="46" y="281"/>
                    </a:lnTo>
                    <a:lnTo>
                      <a:pt x="46" y="281"/>
                    </a:lnTo>
                    <a:lnTo>
                      <a:pt x="46" y="283"/>
                    </a:lnTo>
                    <a:lnTo>
                      <a:pt x="46" y="283"/>
                    </a:lnTo>
                    <a:lnTo>
                      <a:pt x="48" y="283"/>
                    </a:lnTo>
                    <a:lnTo>
                      <a:pt x="50" y="283"/>
                    </a:lnTo>
                    <a:lnTo>
                      <a:pt x="52" y="283"/>
                    </a:lnTo>
                    <a:lnTo>
                      <a:pt x="52" y="285"/>
                    </a:lnTo>
                    <a:lnTo>
                      <a:pt x="52" y="289"/>
                    </a:lnTo>
                    <a:lnTo>
                      <a:pt x="54" y="289"/>
                    </a:lnTo>
                    <a:lnTo>
                      <a:pt x="56" y="289"/>
                    </a:lnTo>
                    <a:lnTo>
                      <a:pt x="52" y="297"/>
                    </a:lnTo>
                    <a:lnTo>
                      <a:pt x="52" y="300"/>
                    </a:lnTo>
                    <a:lnTo>
                      <a:pt x="54" y="302"/>
                    </a:lnTo>
                    <a:lnTo>
                      <a:pt x="54" y="304"/>
                    </a:lnTo>
                    <a:lnTo>
                      <a:pt x="54" y="306"/>
                    </a:lnTo>
                    <a:lnTo>
                      <a:pt x="56" y="308"/>
                    </a:lnTo>
                    <a:lnTo>
                      <a:pt x="56" y="308"/>
                    </a:lnTo>
                    <a:lnTo>
                      <a:pt x="60" y="310"/>
                    </a:lnTo>
                    <a:lnTo>
                      <a:pt x="61" y="310"/>
                    </a:lnTo>
                    <a:lnTo>
                      <a:pt x="60" y="310"/>
                    </a:lnTo>
                    <a:lnTo>
                      <a:pt x="60" y="312"/>
                    </a:lnTo>
                    <a:lnTo>
                      <a:pt x="60" y="312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58" y="316"/>
                    </a:lnTo>
                    <a:lnTo>
                      <a:pt x="56" y="316"/>
                    </a:lnTo>
                    <a:lnTo>
                      <a:pt x="56" y="316"/>
                    </a:lnTo>
                    <a:lnTo>
                      <a:pt x="56" y="318"/>
                    </a:lnTo>
                    <a:lnTo>
                      <a:pt x="60" y="318"/>
                    </a:lnTo>
                    <a:lnTo>
                      <a:pt x="61" y="319"/>
                    </a:lnTo>
                    <a:lnTo>
                      <a:pt x="58" y="321"/>
                    </a:lnTo>
                    <a:lnTo>
                      <a:pt x="56" y="323"/>
                    </a:lnTo>
                    <a:lnTo>
                      <a:pt x="56" y="327"/>
                    </a:lnTo>
                    <a:lnTo>
                      <a:pt x="56" y="333"/>
                    </a:lnTo>
                    <a:lnTo>
                      <a:pt x="52" y="329"/>
                    </a:lnTo>
                    <a:lnTo>
                      <a:pt x="52" y="331"/>
                    </a:lnTo>
                    <a:lnTo>
                      <a:pt x="54" y="335"/>
                    </a:lnTo>
                    <a:lnTo>
                      <a:pt x="52" y="338"/>
                    </a:lnTo>
                    <a:lnTo>
                      <a:pt x="54" y="340"/>
                    </a:lnTo>
                    <a:lnTo>
                      <a:pt x="56" y="340"/>
                    </a:lnTo>
                    <a:lnTo>
                      <a:pt x="56" y="342"/>
                    </a:lnTo>
                    <a:lnTo>
                      <a:pt x="58" y="344"/>
                    </a:lnTo>
                    <a:lnTo>
                      <a:pt x="60" y="348"/>
                    </a:lnTo>
                    <a:lnTo>
                      <a:pt x="60" y="352"/>
                    </a:lnTo>
                    <a:lnTo>
                      <a:pt x="58" y="354"/>
                    </a:lnTo>
                    <a:lnTo>
                      <a:pt x="56" y="356"/>
                    </a:lnTo>
                    <a:lnTo>
                      <a:pt x="54" y="356"/>
                    </a:lnTo>
                    <a:lnTo>
                      <a:pt x="54" y="359"/>
                    </a:lnTo>
                    <a:lnTo>
                      <a:pt x="52" y="361"/>
                    </a:lnTo>
                    <a:lnTo>
                      <a:pt x="50" y="361"/>
                    </a:lnTo>
                    <a:lnTo>
                      <a:pt x="50" y="361"/>
                    </a:lnTo>
                    <a:lnTo>
                      <a:pt x="48" y="359"/>
                    </a:lnTo>
                    <a:lnTo>
                      <a:pt x="46" y="361"/>
                    </a:lnTo>
                    <a:lnTo>
                      <a:pt x="42" y="365"/>
                    </a:lnTo>
                    <a:lnTo>
                      <a:pt x="42" y="365"/>
                    </a:lnTo>
                    <a:lnTo>
                      <a:pt x="37" y="365"/>
                    </a:lnTo>
                    <a:lnTo>
                      <a:pt x="37" y="367"/>
                    </a:lnTo>
                    <a:lnTo>
                      <a:pt x="35" y="367"/>
                    </a:lnTo>
                    <a:lnTo>
                      <a:pt x="35" y="367"/>
                    </a:lnTo>
                    <a:lnTo>
                      <a:pt x="33" y="367"/>
                    </a:lnTo>
                    <a:lnTo>
                      <a:pt x="33" y="369"/>
                    </a:lnTo>
                    <a:lnTo>
                      <a:pt x="31" y="369"/>
                    </a:lnTo>
                    <a:lnTo>
                      <a:pt x="29" y="373"/>
                    </a:lnTo>
                    <a:lnTo>
                      <a:pt x="31" y="378"/>
                    </a:lnTo>
                    <a:lnTo>
                      <a:pt x="31" y="380"/>
                    </a:lnTo>
                    <a:lnTo>
                      <a:pt x="31" y="384"/>
                    </a:lnTo>
                    <a:lnTo>
                      <a:pt x="31" y="386"/>
                    </a:lnTo>
                    <a:lnTo>
                      <a:pt x="31" y="386"/>
                    </a:lnTo>
                    <a:lnTo>
                      <a:pt x="31" y="386"/>
                    </a:lnTo>
                    <a:lnTo>
                      <a:pt x="33" y="386"/>
                    </a:lnTo>
                    <a:lnTo>
                      <a:pt x="33" y="386"/>
                    </a:lnTo>
                    <a:lnTo>
                      <a:pt x="33" y="388"/>
                    </a:lnTo>
                    <a:lnTo>
                      <a:pt x="35" y="388"/>
                    </a:lnTo>
                    <a:lnTo>
                      <a:pt x="35" y="392"/>
                    </a:lnTo>
                    <a:lnTo>
                      <a:pt x="35" y="394"/>
                    </a:lnTo>
                    <a:lnTo>
                      <a:pt x="35" y="396"/>
                    </a:lnTo>
                    <a:lnTo>
                      <a:pt x="35" y="396"/>
                    </a:lnTo>
                    <a:lnTo>
                      <a:pt x="35" y="397"/>
                    </a:lnTo>
                    <a:lnTo>
                      <a:pt x="33" y="397"/>
                    </a:lnTo>
                    <a:lnTo>
                      <a:pt x="33" y="399"/>
                    </a:lnTo>
                    <a:lnTo>
                      <a:pt x="33" y="399"/>
                    </a:lnTo>
                    <a:lnTo>
                      <a:pt x="33" y="399"/>
                    </a:lnTo>
                    <a:lnTo>
                      <a:pt x="35" y="401"/>
                    </a:lnTo>
                    <a:lnTo>
                      <a:pt x="37" y="401"/>
                    </a:lnTo>
                    <a:lnTo>
                      <a:pt x="37" y="403"/>
                    </a:lnTo>
                    <a:lnTo>
                      <a:pt x="37" y="403"/>
                    </a:lnTo>
                    <a:lnTo>
                      <a:pt x="35" y="405"/>
                    </a:lnTo>
                    <a:lnTo>
                      <a:pt x="35" y="407"/>
                    </a:lnTo>
                    <a:lnTo>
                      <a:pt x="37" y="409"/>
                    </a:lnTo>
                    <a:lnTo>
                      <a:pt x="37" y="409"/>
                    </a:lnTo>
                    <a:lnTo>
                      <a:pt x="42" y="416"/>
                    </a:lnTo>
                    <a:lnTo>
                      <a:pt x="44" y="420"/>
                    </a:lnTo>
                    <a:lnTo>
                      <a:pt x="46" y="422"/>
                    </a:lnTo>
                    <a:lnTo>
                      <a:pt x="46" y="428"/>
                    </a:lnTo>
                    <a:lnTo>
                      <a:pt x="48" y="430"/>
                    </a:lnTo>
                    <a:lnTo>
                      <a:pt x="48" y="430"/>
                    </a:lnTo>
                    <a:lnTo>
                      <a:pt x="50" y="432"/>
                    </a:lnTo>
                    <a:lnTo>
                      <a:pt x="50" y="432"/>
                    </a:lnTo>
                    <a:lnTo>
                      <a:pt x="52" y="432"/>
                    </a:lnTo>
                    <a:lnTo>
                      <a:pt x="54" y="432"/>
                    </a:lnTo>
                    <a:lnTo>
                      <a:pt x="56" y="434"/>
                    </a:lnTo>
                    <a:lnTo>
                      <a:pt x="56" y="434"/>
                    </a:lnTo>
                    <a:lnTo>
                      <a:pt x="63" y="439"/>
                    </a:lnTo>
                    <a:lnTo>
                      <a:pt x="63" y="439"/>
                    </a:lnTo>
                    <a:lnTo>
                      <a:pt x="65" y="439"/>
                    </a:lnTo>
                    <a:lnTo>
                      <a:pt x="67" y="439"/>
                    </a:lnTo>
                    <a:lnTo>
                      <a:pt x="69" y="439"/>
                    </a:lnTo>
                    <a:lnTo>
                      <a:pt x="69" y="441"/>
                    </a:lnTo>
                    <a:lnTo>
                      <a:pt x="69" y="441"/>
                    </a:lnTo>
                    <a:lnTo>
                      <a:pt x="69" y="443"/>
                    </a:lnTo>
                    <a:lnTo>
                      <a:pt x="69" y="445"/>
                    </a:lnTo>
                    <a:lnTo>
                      <a:pt x="69" y="447"/>
                    </a:lnTo>
                    <a:lnTo>
                      <a:pt x="71" y="449"/>
                    </a:lnTo>
                    <a:lnTo>
                      <a:pt x="71" y="451"/>
                    </a:lnTo>
                    <a:lnTo>
                      <a:pt x="73" y="451"/>
                    </a:lnTo>
                    <a:lnTo>
                      <a:pt x="73" y="455"/>
                    </a:lnTo>
                    <a:lnTo>
                      <a:pt x="73" y="455"/>
                    </a:lnTo>
                    <a:lnTo>
                      <a:pt x="75" y="456"/>
                    </a:lnTo>
                    <a:lnTo>
                      <a:pt x="75" y="456"/>
                    </a:lnTo>
                    <a:lnTo>
                      <a:pt x="75" y="458"/>
                    </a:lnTo>
                    <a:lnTo>
                      <a:pt x="73" y="460"/>
                    </a:lnTo>
                    <a:lnTo>
                      <a:pt x="71" y="462"/>
                    </a:lnTo>
                    <a:lnTo>
                      <a:pt x="69" y="464"/>
                    </a:lnTo>
                    <a:lnTo>
                      <a:pt x="69" y="464"/>
                    </a:lnTo>
                    <a:lnTo>
                      <a:pt x="69" y="466"/>
                    </a:lnTo>
                    <a:lnTo>
                      <a:pt x="67" y="468"/>
                    </a:lnTo>
                    <a:lnTo>
                      <a:pt x="65" y="468"/>
                    </a:lnTo>
                    <a:lnTo>
                      <a:pt x="58" y="472"/>
                    </a:lnTo>
                    <a:lnTo>
                      <a:pt x="56" y="472"/>
                    </a:lnTo>
                    <a:lnTo>
                      <a:pt x="56" y="472"/>
                    </a:lnTo>
                    <a:lnTo>
                      <a:pt x="56" y="474"/>
                    </a:lnTo>
                    <a:lnTo>
                      <a:pt x="56" y="474"/>
                    </a:lnTo>
                    <a:lnTo>
                      <a:pt x="56" y="474"/>
                    </a:lnTo>
                    <a:lnTo>
                      <a:pt x="56" y="475"/>
                    </a:lnTo>
                    <a:lnTo>
                      <a:pt x="58" y="475"/>
                    </a:lnTo>
                    <a:lnTo>
                      <a:pt x="58" y="475"/>
                    </a:lnTo>
                    <a:lnTo>
                      <a:pt x="58" y="475"/>
                    </a:lnTo>
                    <a:lnTo>
                      <a:pt x="60" y="475"/>
                    </a:lnTo>
                    <a:lnTo>
                      <a:pt x="60" y="475"/>
                    </a:lnTo>
                    <a:lnTo>
                      <a:pt x="61" y="477"/>
                    </a:lnTo>
                    <a:lnTo>
                      <a:pt x="61" y="479"/>
                    </a:lnTo>
                    <a:lnTo>
                      <a:pt x="61" y="479"/>
                    </a:lnTo>
                    <a:lnTo>
                      <a:pt x="61" y="481"/>
                    </a:lnTo>
                    <a:lnTo>
                      <a:pt x="63" y="481"/>
                    </a:lnTo>
                    <a:lnTo>
                      <a:pt x="67" y="481"/>
                    </a:lnTo>
                    <a:lnTo>
                      <a:pt x="71" y="481"/>
                    </a:lnTo>
                    <a:lnTo>
                      <a:pt x="71" y="481"/>
                    </a:lnTo>
                    <a:lnTo>
                      <a:pt x="73" y="481"/>
                    </a:lnTo>
                    <a:lnTo>
                      <a:pt x="73" y="481"/>
                    </a:lnTo>
                    <a:lnTo>
                      <a:pt x="73" y="479"/>
                    </a:lnTo>
                    <a:lnTo>
                      <a:pt x="73" y="479"/>
                    </a:lnTo>
                    <a:lnTo>
                      <a:pt x="75" y="479"/>
                    </a:lnTo>
                    <a:lnTo>
                      <a:pt x="75" y="479"/>
                    </a:lnTo>
                    <a:lnTo>
                      <a:pt x="75" y="481"/>
                    </a:lnTo>
                    <a:lnTo>
                      <a:pt x="77" y="485"/>
                    </a:lnTo>
                    <a:lnTo>
                      <a:pt x="79" y="485"/>
                    </a:lnTo>
                    <a:lnTo>
                      <a:pt x="79" y="485"/>
                    </a:lnTo>
                    <a:lnTo>
                      <a:pt x="79" y="485"/>
                    </a:lnTo>
                    <a:lnTo>
                      <a:pt x="81" y="483"/>
                    </a:lnTo>
                    <a:lnTo>
                      <a:pt x="81" y="483"/>
                    </a:lnTo>
                    <a:lnTo>
                      <a:pt x="81" y="483"/>
                    </a:lnTo>
                    <a:lnTo>
                      <a:pt x="82" y="483"/>
                    </a:lnTo>
                    <a:lnTo>
                      <a:pt x="82" y="483"/>
                    </a:lnTo>
                    <a:lnTo>
                      <a:pt x="84" y="483"/>
                    </a:lnTo>
                    <a:lnTo>
                      <a:pt x="84" y="485"/>
                    </a:lnTo>
                    <a:lnTo>
                      <a:pt x="82" y="487"/>
                    </a:lnTo>
                    <a:lnTo>
                      <a:pt x="81" y="487"/>
                    </a:lnTo>
                    <a:lnTo>
                      <a:pt x="75" y="489"/>
                    </a:lnTo>
                    <a:lnTo>
                      <a:pt x="73" y="491"/>
                    </a:lnTo>
                    <a:lnTo>
                      <a:pt x="52" y="500"/>
                    </a:lnTo>
                    <a:lnTo>
                      <a:pt x="46" y="502"/>
                    </a:lnTo>
                    <a:lnTo>
                      <a:pt x="44" y="504"/>
                    </a:lnTo>
                    <a:lnTo>
                      <a:pt x="44" y="506"/>
                    </a:lnTo>
                    <a:lnTo>
                      <a:pt x="44" y="506"/>
                    </a:lnTo>
                    <a:lnTo>
                      <a:pt x="44" y="508"/>
                    </a:lnTo>
                    <a:lnTo>
                      <a:pt x="44" y="510"/>
                    </a:lnTo>
                    <a:lnTo>
                      <a:pt x="44" y="513"/>
                    </a:lnTo>
                    <a:lnTo>
                      <a:pt x="42" y="515"/>
                    </a:lnTo>
                    <a:lnTo>
                      <a:pt x="42" y="517"/>
                    </a:lnTo>
                    <a:lnTo>
                      <a:pt x="42" y="517"/>
                    </a:lnTo>
                    <a:lnTo>
                      <a:pt x="44" y="517"/>
                    </a:lnTo>
                    <a:lnTo>
                      <a:pt x="48" y="517"/>
                    </a:lnTo>
                    <a:lnTo>
                      <a:pt x="50" y="515"/>
                    </a:lnTo>
                    <a:lnTo>
                      <a:pt x="50" y="513"/>
                    </a:lnTo>
                    <a:lnTo>
                      <a:pt x="52" y="510"/>
                    </a:lnTo>
                    <a:lnTo>
                      <a:pt x="52" y="510"/>
                    </a:lnTo>
                    <a:lnTo>
                      <a:pt x="54" y="510"/>
                    </a:lnTo>
                    <a:lnTo>
                      <a:pt x="56" y="510"/>
                    </a:lnTo>
                    <a:lnTo>
                      <a:pt x="56" y="510"/>
                    </a:lnTo>
                    <a:lnTo>
                      <a:pt x="58" y="510"/>
                    </a:lnTo>
                    <a:lnTo>
                      <a:pt x="73" y="502"/>
                    </a:lnTo>
                    <a:lnTo>
                      <a:pt x="77" y="500"/>
                    </a:lnTo>
                    <a:lnTo>
                      <a:pt x="81" y="496"/>
                    </a:lnTo>
                    <a:lnTo>
                      <a:pt x="82" y="496"/>
                    </a:lnTo>
                    <a:lnTo>
                      <a:pt x="84" y="494"/>
                    </a:lnTo>
                    <a:lnTo>
                      <a:pt x="86" y="496"/>
                    </a:lnTo>
                    <a:lnTo>
                      <a:pt x="88" y="496"/>
                    </a:lnTo>
                    <a:lnTo>
                      <a:pt x="96" y="498"/>
                    </a:lnTo>
                    <a:lnTo>
                      <a:pt x="98" y="498"/>
                    </a:lnTo>
                    <a:lnTo>
                      <a:pt x="98" y="498"/>
                    </a:lnTo>
                    <a:lnTo>
                      <a:pt x="100" y="498"/>
                    </a:lnTo>
                    <a:lnTo>
                      <a:pt x="100" y="500"/>
                    </a:lnTo>
                    <a:lnTo>
                      <a:pt x="100" y="500"/>
                    </a:lnTo>
                    <a:lnTo>
                      <a:pt x="102" y="500"/>
                    </a:lnTo>
                    <a:lnTo>
                      <a:pt x="102" y="498"/>
                    </a:lnTo>
                    <a:lnTo>
                      <a:pt x="103" y="498"/>
                    </a:lnTo>
                    <a:lnTo>
                      <a:pt x="105" y="498"/>
                    </a:lnTo>
                    <a:lnTo>
                      <a:pt x="109" y="498"/>
                    </a:lnTo>
                    <a:lnTo>
                      <a:pt x="115" y="500"/>
                    </a:lnTo>
                    <a:lnTo>
                      <a:pt x="117" y="500"/>
                    </a:lnTo>
                    <a:lnTo>
                      <a:pt x="119" y="500"/>
                    </a:lnTo>
                    <a:lnTo>
                      <a:pt x="119" y="502"/>
                    </a:lnTo>
                    <a:lnTo>
                      <a:pt x="119" y="502"/>
                    </a:lnTo>
                    <a:lnTo>
                      <a:pt x="119" y="504"/>
                    </a:lnTo>
                    <a:lnTo>
                      <a:pt x="121" y="504"/>
                    </a:lnTo>
                    <a:lnTo>
                      <a:pt x="121" y="504"/>
                    </a:lnTo>
                    <a:lnTo>
                      <a:pt x="121" y="504"/>
                    </a:lnTo>
                    <a:lnTo>
                      <a:pt x="121" y="504"/>
                    </a:lnTo>
                    <a:lnTo>
                      <a:pt x="121" y="502"/>
                    </a:lnTo>
                    <a:lnTo>
                      <a:pt x="121" y="500"/>
                    </a:lnTo>
                    <a:lnTo>
                      <a:pt x="123" y="500"/>
                    </a:lnTo>
                    <a:lnTo>
                      <a:pt x="123" y="498"/>
                    </a:lnTo>
                    <a:lnTo>
                      <a:pt x="123" y="498"/>
                    </a:lnTo>
                    <a:lnTo>
                      <a:pt x="126" y="498"/>
                    </a:lnTo>
                    <a:lnTo>
                      <a:pt x="126" y="498"/>
                    </a:lnTo>
                    <a:lnTo>
                      <a:pt x="128" y="498"/>
                    </a:lnTo>
                    <a:lnTo>
                      <a:pt x="128" y="496"/>
                    </a:lnTo>
                    <a:lnTo>
                      <a:pt x="128" y="496"/>
                    </a:lnTo>
                    <a:lnTo>
                      <a:pt x="130" y="494"/>
                    </a:lnTo>
                    <a:lnTo>
                      <a:pt x="130" y="494"/>
                    </a:lnTo>
                    <a:lnTo>
                      <a:pt x="132" y="493"/>
                    </a:lnTo>
                    <a:lnTo>
                      <a:pt x="134" y="493"/>
                    </a:lnTo>
                    <a:lnTo>
                      <a:pt x="138" y="493"/>
                    </a:lnTo>
                    <a:lnTo>
                      <a:pt x="140" y="493"/>
                    </a:lnTo>
                    <a:lnTo>
                      <a:pt x="142" y="494"/>
                    </a:lnTo>
                    <a:lnTo>
                      <a:pt x="143" y="494"/>
                    </a:lnTo>
                    <a:lnTo>
                      <a:pt x="143" y="494"/>
                    </a:lnTo>
                    <a:lnTo>
                      <a:pt x="147" y="494"/>
                    </a:lnTo>
                    <a:lnTo>
                      <a:pt x="147" y="494"/>
                    </a:lnTo>
                    <a:lnTo>
                      <a:pt x="149" y="496"/>
                    </a:lnTo>
                    <a:lnTo>
                      <a:pt x="149" y="496"/>
                    </a:lnTo>
                    <a:lnTo>
                      <a:pt x="149" y="496"/>
                    </a:lnTo>
                    <a:lnTo>
                      <a:pt x="149" y="498"/>
                    </a:lnTo>
                    <a:lnTo>
                      <a:pt x="149" y="498"/>
                    </a:lnTo>
                    <a:lnTo>
                      <a:pt x="145" y="502"/>
                    </a:lnTo>
                    <a:lnTo>
                      <a:pt x="143" y="504"/>
                    </a:lnTo>
                    <a:lnTo>
                      <a:pt x="142" y="504"/>
                    </a:lnTo>
                    <a:lnTo>
                      <a:pt x="142" y="504"/>
                    </a:lnTo>
                    <a:lnTo>
                      <a:pt x="142" y="504"/>
                    </a:lnTo>
                    <a:lnTo>
                      <a:pt x="140" y="504"/>
                    </a:lnTo>
                    <a:lnTo>
                      <a:pt x="140" y="506"/>
                    </a:lnTo>
                    <a:lnTo>
                      <a:pt x="142" y="506"/>
                    </a:lnTo>
                    <a:lnTo>
                      <a:pt x="142" y="508"/>
                    </a:lnTo>
                    <a:lnTo>
                      <a:pt x="143" y="508"/>
                    </a:lnTo>
                    <a:lnTo>
                      <a:pt x="143" y="510"/>
                    </a:lnTo>
                    <a:lnTo>
                      <a:pt x="143" y="512"/>
                    </a:lnTo>
                    <a:lnTo>
                      <a:pt x="145" y="512"/>
                    </a:lnTo>
                    <a:lnTo>
                      <a:pt x="147" y="512"/>
                    </a:lnTo>
                    <a:lnTo>
                      <a:pt x="151" y="512"/>
                    </a:lnTo>
                    <a:lnTo>
                      <a:pt x="151" y="512"/>
                    </a:lnTo>
                    <a:lnTo>
                      <a:pt x="153" y="508"/>
                    </a:lnTo>
                    <a:lnTo>
                      <a:pt x="153" y="508"/>
                    </a:lnTo>
                    <a:lnTo>
                      <a:pt x="155" y="506"/>
                    </a:lnTo>
                    <a:lnTo>
                      <a:pt x="159" y="506"/>
                    </a:lnTo>
                    <a:lnTo>
                      <a:pt x="163" y="506"/>
                    </a:lnTo>
                    <a:lnTo>
                      <a:pt x="164" y="508"/>
                    </a:lnTo>
                    <a:lnTo>
                      <a:pt x="166" y="510"/>
                    </a:lnTo>
                    <a:lnTo>
                      <a:pt x="168" y="512"/>
                    </a:lnTo>
                    <a:lnTo>
                      <a:pt x="172" y="512"/>
                    </a:lnTo>
                    <a:lnTo>
                      <a:pt x="172" y="512"/>
                    </a:lnTo>
                    <a:lnTo>
                      <a:pt x="174" y="512"/>
                    </a:lnTo>
                    <a:lnTo>
                      <a:pt x="174" y="513"/>
                    </a:lnTo>
                    <a:lnTo>
                      <a:pt x="174" y="513"/>
                    </a:lnTo>
                    <a:lnTo>
                      <a:pt x="176" y="515"/>
                    </a:lnTo>
                    <a:lnTo>
                      <a:pt x="182" y="515"/>
                    </a:lnTo>
                    <a:lnTo>
                      <a:pt x="184" y="517"/>
                    </a:lnTo>
                    <a:lnTo>
                      <a:pt x="189" y="519"/>
                    </a:lnTo>
                    <a:lnTo>
                      <a:pt x="191" y="521"/>
                    </a:lnTo>
                    <a:lnTo>
                      <a:pt x="193" y="519"/>
                    </a:lnTo>
                    <a:lnTo>
                      <a:pt x="195" y="519"/>
                    </a:lnTo>
                    <a:lnTo>
                      <a:pt x="195" y="517"/>
                    </a:lnTo>
                    <a:lnTo>
                      <a:pt x="195" y="517"/>
                    </a:lnTo>
                    <a:lnTo>
                      <a:pt x="197" y="517"/>
                    </a:lnTo>
                    <a:lnTo>
                      <a:pt x="199" y="517"/>
                    </a:lnTo>
                    <a:lnTo>
                      <a:pt x="201" y="517"/>
                    </a:lnTo>
                    <a:lnTo>
                      <a:pt x="206" y="515"/>
                    </a:lnTo>
                    <a:lnTo>
                      <a:pt x="208" y="513"/>
                    </a:lnTo>
                    <a:lnTo>
                      <a:pt x="210" y="517"/>
                    </a:lnTo>
                    <a:lnTo>
                      <a:pt x="210" y="515"/>
                    </a:lnTo>
                    <a:lnTo>
                      <a:pt x="212" y="515"/>
                    </a:lnTo>
                    <a:lnTo>
                      <a:pt x="214" y="515"/>
                    </a:lnTo>
                    <a:lnTo>
                      <a:pt x="214" y="517"/>
                    </a:lnTo>
                    <a:lnTo>
                      <a:pt x="214" y="519"/>
                    </a:lnTo>
                    <a:lnTo>
                      <a:pt x="216" y="519"/>
                    </a:lnTo>
                    <a:lnTo>
                      <a:pt x="216" y="519"/>
                    </a:lnTo>
                    <a:lnTo>
                      <a:pt x="218" y="519"/>
                    </a:lnTo>
                    <a:lnTo>
                      <a:pt x="220" y="521"/>
                    </a:lnTo>
                    <a:lnTo>
                      <a:pt x="224" y="527"/>
                    </a:lnTo>
                    <a:lnTo>
                      <a:pt x="227" y="529"/>
                    </a:lnTo>
                    <a:lnTo>
                      <a:pt x="227" y="529"/>
                    </a:lnTo>
                    <a:lnTo>
                      <a:pt x="233" y="527"/>
                    </a:lnTo>
                    <a:lnTo>
                      <a:pt x="235" y="527"/>
                    </a:lnTo>
                    <a:lnTo>
                      <a:pt x="235" y="527"/>
                    </a:lnTo>
                    <a:lnTo>
                      <a:pt x="237" y="529"/>
                    </a:lnTo>
                    <a:lnTo>
                      <a:pt x="237" y="531"/>
                    </a:lnTo>
                    <a:lnTo>
                      <a:pt x="237" y="531"/>
                    </a:lnTo>
                    <a:lnTo>
                      <a:pt x="237" y="531"/>
                    </a:lnTo>
                    <a:lnTo>
                      <a:pt x="237" y="533"/>
                    </a:lnTo>
                    <a:lnTo>
                      <a:pt x="237" y="536"/>
                    </a:lnTo>
                    <a:lnTo>
                      <a:pt x="239" y="542"/>
                    </a:lnTo>
                    <a:lnTo>
                      <a:pt x="241" y="546"/>
                    </a:lnTo>
                    <a:lnTo>
                      <a:pt x="248" y="557"/>
                    </a:lnTo>
                    <a:lnTo>
                      <a:pt x="250" y="561"/>
                    </a:lnTo>
                    <a:lnTo>
                      <a:pt x="250" y="565"/>
                    </a:lnTo>
                    <a:lnTo>
                      <a:pt x="250" y="569"/>
                    </a:lnTo>
                    <a:lnTo>
                      <a:pt x="248" y="574"/>
                    </a:lnTo>
                    <a:lnTo>
                      <a:pt x="250" y="574"/>
                    </a:lnTo>
                    <a:lnTo>
                      <a:pt x="250" y="576"/>
                    </a:lnTo>
                    <a:lnTo>
                      <a:pt x="252" y="576"/>
                    </a:lnTo>
                    <a:lnTo>
                      <a:pt x="252" y="576"/>
                    </a:lnTo>
                    <a:lnTo>
                      <a:pt x="252" y="576"/>
                    </a:lnTo>
                    <a:lnTo>
                      <a:pt x="252" y="578"/>
                    </a:lnTo>
                    <a:lnTo>
                      <a:pt x="248" y="582"/>
                    </a:lnTo>
                    <a:lnTo>
                      <a:pt x="248" y="584"/>
                    </a:lnTo>
                    <a:lnTo>
                      <a:pt x="246" y="586"/>
                    </a:lnTo>
                    <a:lnTo>
                      <a:pt x="245" y="586"/>
                    </a:lnTo>
                    <a:lnTo>
                      <a:pt x="243" y="586"/>
                    </a:lnTo>
                    <a:lnTo>
                      <a:pt x="241" y="586"/>
                    </a:lnTo>
                    <a:lnTo>
                      <a:pt x="239" y="588"/>
                    </a:lnTo>
                    <a:lnTo>
                      <a:pt x="239" y="588"/>
                    </a:lnTo>
                    <a:lnTo>
                      <a:pt x="237" y="590"/>
                    </a:lnTo>
                    <a:lnTo>
                      <a:pt x="237" y="590"/>
                    </a:lnTo>
                    <a:lnTo>
                      <a:pt x="237" y="591"/>
                    </a:lnTo>
                    <a:lnTo>
                      <a:pt x="237" y="593"/>
                    </a:lnTo>
                    <a:lnTo>
                      <a:pt x="237" y="595"/>
                    </a:lnTo>
                    <a:lnTo>
                      <a:pt x="239" y="597"/>
                    </a:lnTo>
                    <a:lnTo>
                      <a:pt x="239" y="599"/>
                    </a:lnTo>
                    <a:lnTo>
                      <a:pt x="239" y="599"/>
                    </a:lnTo>
                    <a:lnTo>
                      <a:pt x="237" y="601"/>
                    </a:lnTo>
                    <a:lnTo>
                      <a:pt x="235" y="601"/>
                    </a:lnTo>
                    <a:lnTo>
                      <a:pt x="235" y="601"/>
                    </a:lnTo>
                    <a:lnTo>
                      <a:pt x="233" y="603"/>
                    </a:lnTo>
                    <a:lnTo>
                      <a:pt x="235" y="607"/>
                    </a:lnTo>
                    <a:lnTo>
                      <a:pt x="235" y="607"/>
                    </a:lnTo>
                    <a:lnTo>
                      <a:pt x="235" y="609"/>
                    </a:lnTo>
                    <a:lnTo>
                      <a:pt x="237" y="611"/>
                    </a:lnTo>
                    <a:lnTo>
                      <a:pt x="239" y="611"/>
                    </a:lnTo>
                    <a:lnTo>
                      <a:pt x="239" y="612"/>
                    </a:lnTo>
                    <a:lnTo>
                      <a:pt x="237" y="614"/>
                    </a:lnTo>
                    <a:lnTo>
                      <a:pt x="233" y="620"/>
                    </a:lnTo>
                    <a:lnTo>
                      <a:pt x="231" y="626"/>
                    </a:lnTo>
                    <a:lnTo>
                      <a:pt x="231" y="630"/>
                    </a:lnTo>
                    <a:lnTo>
                      <a:pt x="229" y="630"/>
                    </a:lnTo>
                    <a:lnTo>
                      <a:pt x="229" y="631"/>
                    </a:lnTo>
                    <a:lnTo>
                      <a:pt x="224" y="639"/>
                    </a:lnTo>
                    <a:lnTo>
                      <a:pt x="222" y="643"/>
                    </a:lnTo>
                    <a:lnTo>
                      <a:pt x="220" y="649"/>
                    </a:lnTo>
                    <a:lnTo>
                      <a:pt x="218" y="650"/>
                    </a:lnTo>
                    <a:lnTo>
                      <a:pt x="216" y="652"/>
                    </a:lnTo>
                    <a:lnTo>
                      <a:pt x="214" y="652"/>
                    </a:lnTo>
                    <a:lnTo>
                      <a:pt x="212" y="654"/>
                    </a:lnTo>
                    <a:lnTo>
                      <a:pt x="212" y="654"/>
                    </a:lnTo>
                    <a:lnTo>
                      <a:pt x="210" y="658"/>
                    </a:lnTo>
                    <a:lnTo>
                      <a:pt x="210" y="660"/>
                    </a:lnTo>
                    <a:lnTo>
                      <a:pt x="210" y="660"/>
                    </a:lnTo>
                    <a:lnTo>
                      <a:pt x="210" y="662"/>
                    </a:lnTo>
                    <a:lnTo>
                      <a:pt x="210" y="664"/>
                    </a:lnTo>
                    <a:lnTo>
                      <a:pt x="210" y="666"/>
                    </a:lnTo>
                    <a:lnTo>
                      <a:pt x="212" y="668"/>
                    </a:lnTo>
                    <a:lnTo>
                      <a:pt x="212" y="669"/>
                    </a:lnTo>
                    <a:lnTo>
                      <a:pt x="214" y="671"/>
                    </a:lnTo>
                    <a:lnTo>
                      <a:pt x="214" y="673"/>
                    </a:lnTo>
                    <a:lnTo>
                      <a:pt x="214" y="673"/>
                    </a:lnTo>
                    <a:lnTo>
                      <a:pt x="214" y="673"/>
                    </a:lnTo>
                    <a:lnTo>
                      <a:pt x="212" y="675"/>
                    </a:lnTo>
                    <a:lnTo>
                      <a:pt x="212" y="675"/>
                    </a:lnTo>
                    <a:lnTo>
                      <a:pt x="208" y="677"/>
                    </a:lnTo>
                    <a:lnTo>
                      <a:pt x="197" y="681"/>
                    </a:lnTo>
                    <a:lnTo>
                      <a:pt x="191" y="683"/>
                    </a:lnTo>
                    <a:lnTo>
                      <a:pt x="191" y="685"/>
                    </a:lnTo>
                    <a:lnTo>
                      <a:pt x="189" y="685"/>
                    </a:lnTo>
                    <a:lnTo>
                      <a:pt x="187" y="685"/>
                    </a:lnTo>
                    <a:lnTo>
                      <a:pt x="185" y="685"/>
                    </a:lnTo>
                    <a:lnTo>
                      <a:pt x="182" y="685"/>
                    </a:lnTo>
                    <a:lnTo>
                      <a:pt x="180" y="685"/>
                    </a:lnTo>
                    <a:lnTo>
                      <a:pt x="176" y="685"/>
                    </a:lnTo>
                    <a:lnTo>
                      <a:pt x="164" y="689"/>
                    </a:lnTo>
                    <a:lnTo>
                      <a:pt x="163" y="690"/>
                    </a:lnTo>
                    <a:lnTo>
                      <a:pt x="163" y="698"/>
                    </a:lnTo>
                    <a:lnTo>
                      <a:pt x="161" y="700"/>
                    </a:lnTo>
                    <a:lnTo>
                      <a:pt x="151" y="708"/>
                    </a:lnTo>
                    <a:lnTo>
                      <a:pt x="151" y="709"/>
                    </a:lnTo>
                    <a:lnTo>
                      <a:pt x="151" y="709"/>
                    </a:lnTo>
                    <a:lnTo>
                      <a:pt x="151" y="711"/>
                    </a:lnTo>
                    <a:lnTo>
                      <a:pt x="151" y="713"/>
                    </a:lnTo>
                    <a:lnTo>
                      <a:pt x="153" y="715"/>
                    </a:lnTo>
                    <a:lnTo>
                      <a:pt x="155" y="717"/>
                    </a:lnTo>
                    <a:lnTo>
                      <a:pt x="157" y="719"/>
                    </a:lnTo>
                    <a:lnTo>
                      <a:pt x="163" y="732"/>
                    </a:lnTo>
                    <a:lnTo>
                      <a:pt x="164" y="736"/>
                    </a:lnTo>
                    <a:lnTo>
                      <a:pt x="164" y="738"/>
                    </a:lnTo>
                    <a:lnTo>
                      <a:pt x="164" y="738"/>
                    </a:lnTo>
                    <a:lnTo>
                      <a:pt x="164" y="742"/>
                    </a:lnTo>
                    <a:lnTo>
                      <a:pt x="163" y="746"/>
                    </a:lnTo>
                    <a:lnTo>
                      <a:pt x="163" y="748"/>
                    </a:lnTo>
                    <a:lnTo>
                      <a:pt x="161" y="749"/>
                    </a:lnTo>
                    <a:lnTo>
                      <a:pt x="161" y="753"/>
                    </a:lnTo>
                    <a:lnTo>
                      <a:pt x="161" y="753"/>
                    </a:lnTo>
                    <a:lnTo>
                      <a:pt x="161" y="755"/>
                    </a:lnTo>
                    <a:lnTo>
                      <a:pt x="161" y="759"/>
                    </a:lnTo>
                    <a:lnTo>
                      <a:pt x="161" y="761"/>
                    </a:lnTo>
                    <a:lnTo>
                      <a:pt x="159" y="765"/>
                    </a:lnTo>
                    <a:lnTo>
                      <a:pt x="159" y="767"/>
                    </a:lnTo>
                    <a:lnTo>
                      <a:pt x="151" y="772"/>
                    </a:lnTo>
                    <a:lnTo>
                      <a:pt x="147" y="774"/>
                    </a:lnTo>
                    <a:lnTo>
                      <a:pt x="142" y="780"/>
                    </a:lnTo>
                    <a:lnTo>
                      <a:pt x="140" y="782"/>
                    </a:lnTo>
                    <a:lnTo>
                      <a:pt x="140" y="784"/>
                    </a:lnTo>
                    <a:lnTo>
                      <a:pt x="140" y="786"/>
                    </a:lnTo>
                    <a:lnTo>
                      <a:pt x="142" y="786"/>
                    </a:lnTo>
                    <a:lnTo>
                      <a:pt x="143" y="786"/>
                    </a:lnTo>
                    <a:lnTo>
                      <a:pt x="143" y="787"/>
                    </a:lnTo>
                    <a:lnTo>
                      <a:pt x="147" y="793"/>
                    </a:lnTo>
                    <a:lnTo>
                      <a:pt x="147" y="795"/>
                    </a:lnTo>
                    <a:lnTo>
                      <a:pt x="147" y="799"/>
                    </a:lnTo>
                    <a:lnTo>
                      <a:pt x="147" y="801"/>
                    </a:lnTo>
                    <a:lnTo>
                      <a:pt x="149" y="803"/>
                    </a:lnTo>
                    <a:lnTo>
                      <a:pt x="151" y="805"/>
                    </a:lnTo>
                    <a:lnTo>
                      <a:pt x="151" y="806"/>
                    </a:lnTo>
                    <a:lnTo>
                      <a:pt x="151" y="810"/>
                    </a:lnTo>
                    <a:lnTo>
                      <a:pt x="151" y="810"/>
                    </a:lnTo>
                    <a:lnTo>
                      <a:pt x="151" y="814"/>
                    </a:lnTo>
                    <a:lnTo>
                      <a:pt x="151" y="814"/>
                    </a:lnTo>
                    <a:lnTo>
                      <a:pt x="153" y="816"/>
                    </a:lnTo>
                    <a:lnTo>
                      <a:pt x="153" y="816"/>
                    </a:lnTo>
                    <a:lnTo>
                      <a:pt x="153" y="820"/>
                    </a:lnTo>
                    <a:lnTo>
                      <a:pt x="151" y="822"/>
                    </a:lnTo>
                    <a:lnTo>
                      <a:pt x="151" y="826"/>
                    </a:lnTo>
                    <a:lnTo>
                      <a:pt x="147" y="829"/>
                    </a:lnTo>
                    <a:lnTo>
                      <a:pt x="147" y="831"/>
                    </a:lnTo>
                    <a:lnTo>
                      <a:pt x="147" y="831"/>
                    </a:lnTo>
                    <a:lnTo>
                      <a:pt x="149" y="835"/>
                    </a:lnTo>
                    <a:lnTo>
                      <a:pt x="149" y="835"/>
                    </a:lnTo>
                    <a:lnTo>
                      <a:pt x="151" y="837"/>
                    </a:lnTo>
                    <a:lnTo>
                      <a:pt x="151" y="837"/>
                    </a:lnTo>
                    <a:lnTo>
                      <a:pt x="153" y="837"/>
                    </a:lnTo>
                    <a:lnTo>
                      <a:pt x="153" y="839"/>
                    </a:lnTo>
                    <a:lnTo>
                      <a:pt x="153" y="841"/>
                    </a:lnTo>
                    <a:lnTo>
                      <a:pt x="155" y="841"/>
                    </a:lnTo>
                    <a:lnTo>
                      <a:pt x="157" y="843"/>
                    </a:lnTo>
                    <a:lnTo>
                      <a:pt x="161" y="845"/>
                    </a:lnTo>
                    <a:lnTo>
                      <a:pt x="163" y="845"/>
                    </a:lnTo>
                    <a:lnTo>
                      <a:pt x="163" y="846"/>
                    </a:lnTo>
                    <a:lnTo>
                      <a:pt x="163" y="846"/>
                    </a:lnTo>
                    <a:lnTo>
                      <a:pt x="163" y="848"/>
                    </a:lnTo>
                    <a:lnTo>
                      <a:pt x="161" y="852"/>
                    </a:lnTo>
                    <a:lnTo>
                      <a:pt x="161" y="854"/>
                    </a:lnTo>
                    <a:lnTo>
                      <a:pt x="161" y="856"/>
                    </a:lnTo>
                    <a:lnTo>
                      <a:pt x="161" y="856"/>
                    </a:lnTo>
                    <a:lnTo>
                      <a:pt x="163" y="858"/>
                    </a:lnTo>
                    <a:lnTo>
                      <a:pt x="163" y="860"/>
                    </a:lnTo>
                    <a:lnTo>
                      <a:pt x="164" y="860"/>
                    </a:lnTo>
                    <a:lnTo>
                      <a:pt x="166" y="862"/>
                    </a:lnTo>
                    <a:lnTo>
                      <a:pt x="170" y="860"/>
                    </a:lnTo>
                    <a:lnTo>
                      <a:pt x="172" y="858"/>
                    </a:lnTo>
                    <a:lnTo>
                      <a:pt x="174" y="858"/>
                    </a:lnTo>
                    <a:lnTo>
                      <a:pt x="174" y="856"/>
                    </a:lnTo>
                    <a:lnTo>
                      <a:pt x="174" y="854"/>
                    </a:lnTo>
                    <a:lnTo>
                      <a:pt x="174" y="854"/>
                    </a:lnTo>
                    <a:lnTo>
                      <a:pt x="176" y="852"/>
                    </a:lnTo>
                    <a:lnTo>
                      <a:pt x="176" y="850"/>
                    </a:lnTo>
                    <a:lnTo>
                      <a:pt x="176" y="850"/>
                    </a:lnTo>
                    <a:lnTo>
                      <a:pt x="176" y="848"/>
                    </a:lnTo>
                    <a:lnTo>
                      <a:pt x="178" y="846"/>
                    </a:lnTo>
                    <a:lnTo>
                      <a:pt x="178" y="846"/>
                    </a:lnTo>
                    <a:lnTo>
                      <a:pt x="178" y="846"/>
                    </a:lnTo>
                    <a:lnTo>
                      <a:pt x="180" y="846"/>
                    </a:lnTo>
                    <a:lnTo>
                      <a:pt x="184" y="846"/>
                    </a:lnTo>
                    <a:lnTo>
                      <a:pt x="185" y="848"/>
                    </a:lnTo>
                    <a:lnTo>
                      <a:pt x="193" y="854"/>
                    </a:lnTo>
                    <a:lnTo>
                      <a:pt x="195" y="856"/>
                    </a:lnTo>
                    <a:lnTo>
                      <a:pt x="199" y="860"/>
                    </a:lnTo>
                    <a:lnTo>
                      <a:pt x="201" y="862"/>
                    </a:lnTo>
                    <a:lnTo>
                      <a:pt x="203" y="864"/>
                    </a:lnTo>
                    <a:lnTo>
                      <a:pt x="205" y="864"/>
                    </a:lnTo>
                    <a:lnTo>
                      <a:pt x="208" y="864"/>
                    </a:lnTo>
                    <a:lnTo>
                      <a:pt x="210" y="864"/>
                    </a:lnTo>
                    <a:lnTo>
                      <a:pt x="212" y="864"/>
                    </a:lnTo>
                    <a:lnTo>
                      <a:pt x="212" y="864"/>
                    </a:lnTo>
                    <a:lnTo>
                      <a:pt x="214" y="865"/>
                    </a:lnTo>
                    <a:lnTo>
                      <a:pt x="214" y="867"/>
                    </a:lnTo>
                    <a:lnTo>
                      <a:pt x="214" y="867"/>
                    </a:lnTo>
                    <a:lnTo>
                      <a:pt x="214" y="869"/>
                    </a:lnTo>
                    <a:lnTo>
                      <a:pt x="216" y="871"/>
                    </a:lnTo>
                    <a:lnTo>
                      <a:pt x="218" y="873"/>
                    </a:lnTo>
                    <a:lnTo>
                      <a:pt x="220" y="871"/>
                    </a:lnTo>
                    <a:lnTo>
                      <a:pt x="222" y="871"/>
                    </a:lnTo>
                    <a:lnTo>
                      <a:pt x="225" y="867"/>
                    </a:lnTo>
                    <a:lnTo>
                      <a:pt x="227" y="865"/>
                    </a:lnTo>
                    <a:lnTo>
                      <a:pt x="229" y="862"/>
                    </a:lnTo>
                    <a:lnTo>
                      <a:pt x="231" y="858"/>
                    </a:lnTo>
                    <a:lnTo>
                      <a:pt x="231" y="854"/>
                    </a:lnTo>
                    <a:lnTo>
                      <a:pt x="237" y="850"/>
                    </a:lnTo>
                    <a:lnTo>
                      <a:pt x="237" y="850"/>
                    </a:lnTo>
                    <a:lnTo>
                      <a:pt x="239" y="848"/>
                    </a:lnTo>
                    <a:lnTo>
                      <a:pt x="239" y="846"/>
                    </a:lnTo>
                    <a:lnTo>
                      <a:pt x="241" y="845"/>
                    </a:lnTo>
                    <a:lnTo>
                      <a:pt x="241" y="843"/>
                    </a:lnTo>
                    <a:lnTo>
                      <a:pt x="241" y="839"/>
                    </a:lnTo>
                    <a:lnTo>
                      <a:pt x="239" y="837"/>
                    </a:lnTo>
                    <a:lnTo>
                      <a:pt x="237" y="837"/>
                    </a:lnTo>
                    <a:lnTo>
                      <a:pt x="235" y="837"/>
                    </a:lnTo>
                    <a:lnTo>
                      <a:pt x="235" y="835"/>
                    </a:lnTo>
                    <a:lnTo>
                      <a:pt x="233" y="835"/>
                    </a:lnTo>
                    <a:lnTo>
                      <a:pt x="233" y="835"/>
                    </a:lnTo>
                    <a:lnTo>
                      <a:pt x="233" y="833"/>
                    </a:lnTo>
                    <a:lnTo>
                      <a:pt x="233" y="833"/>
                    </a:lnTo>
                    <a:lnTo>
                      <a:pt x="233" y="833"/>
                    </a:lnTo>
                    <a:lnTo>
                      <a:pt x="233" y="833"/>
                    </a:lnTo>
                    <a:lnTo>
                      <a:pt x="235" y="831"/>
                    </a:lnTo>
                    <a:lnTo>
                      <a:pt x="235" y="829"/>
                    </a:lnTo>
                    <a:lnTo>
                      <a:pt x="233" y="827"/>
                    </a:lnTo>
                    <a:lnTo>
                      <a:pt x="231" y="824"/>
                    </a:lnTo>
                    <a:lnTo>
                      <a:pt x="229" y="822"/>
                    </a:lnTo>
                    <a:lnTo>
                      <a:pt x="229" y="820"/>
                    </a:lnTo>
                    <a:lnTo>
                      <a:pt x="229" y="818"/>
                    </a:lnTo>
                    <a:lnTo>
                      <a:pt x="227" y="816"/>
                    </a:lnTo>
                    <a:lnTo>
                      <a:pt x="225" y="814"/>
                    </a:lnTo>
                    <a:lnTo>
                      <a:pt x="224" y="814"/>
                    </a:lnTo>
                    <a:lnTo>
                      <a:pt x="222" y="814"/>
                    </a:lnTo>
                    <a:lnTo>
                      <a:pt x="222" y="814"/>
                    </a:lnTo>
                    <a:lnTo>
                      <a:pt x="218" y="814"/>
                    </a:lnTo>
                    <a:lnTo>
                      <a:pt x="214" y="816"/>
                    </a:lnTo>
                    <a:lnTo>
                      <a:pt x="212" y="816"/>
                    </a:lnTo>
                    <a:lnTo>
                      <a:pt x="212" y="816"/>
                    </a:lnTo>
                    <a:lnTo>
                      <a:pt x="210" y="814"/>
                    </a:lnTo>
                    <a:lnTo>
                      <a:pt x="210" y="814"/>
                    </a:lnTo>
                    <a:lnTo>
                      <a:pt x="208" y="812"/>
                    </a:lnTo>
                    <a:lnTo>
                      <a:pt x="208" y="810"/>
                    </a:lnTo>
                    <a:lnTo>
                      <a:pt x="208" y="808"/>
                    </a:lnTo>
                    <a:lnTo>
                      <a:pt x="208" y="806"/>
                    </a:lnTo>
                    <a:lnTo>
                      <a:pt x="210" y="805"/>
                    </a:lnTo>
                    <a:lnTo>
                      <a:pt x="210" y="805"/>
                    </a:lnTo>
                    <a:lnTo>
                      <a:pt x="210" y="803"/>
                    </a:lnTo>
                    <a:lnTo>
                      <a:pt x="210" y="801"/>
                    </a:lnTo>
                    <a:lnTo>
                      <a:pt x="210" y="797"/>
                    </a:lnTo>
                    <a:lnTo>
                      <a:pt x="210" y="789"/>
                    </a:lnTo>
                    <a:lnTo>
                      <a:pt x="210" y="787"/>
                    </a:lnTo>
                    <a:lnTo>
                      <a:pt x="210" y="786"/>
                    </a:lnTo>
                    <a:lnTo>
                      <a:pt x="208" y="782"/>
                    </a:lnTo>
                    <a:lnTo>
                      <a:pt x="206" y="780"/>
                    </a:lnTo>
                    <a:lnTo>
                      <a:pt x="201" y="774"/>
                    </a:lnTo>
                    <a:lnTo>
                      <a:pt x="201" y="772"/>
                    </a:lnTo>
                    <a:lnTo>
                      <a:pt x="199" y="770"/>
                    </a:lnTo>
                    <a:lnTo>
                      <a:pt x="197" y="755"/>
                    </a:lnTo>
                    <a:lnTo>
                      <a:pt x="197" y="749"/>
                    </a:lnTo>
                    <a:lnTo>
                      <a:pt x="195" y="746"/>
                    </a:lnTo>
                    <a:lnTo>
                      <a:pt x="191" y="736"/>
                    </a:lnTo>
                    <a:lnTo>
                      <a:pt x="189" y="734"/>
                    </a:lnTo>
                    <a:lnTo>
                      <a:pt x="187" y="732"/>
                    </a:lnTo>
                    <a:lnTo>
                      <a:pt x="185" y="730"/>
                    </a:lnTo>
                    <a:lnTo>
                      <a:pt x="184" y="728"/>
                    </a:lnTo>
                    <a:lnTo>
                      <a:pt x="184" y="728"/>
                    </a:lnTo>
                    <a:lnTo>
                      <a:pt x="184" y="727"/>
                    </a:lnTo>
                    <a:lnTo>
                      <a:pt x="184" y="727"/>
                    </a:lnTo>
                    <a:lnTo>
                      <a:pt x="184" y="725"/>
                    </a:lnTo>
                    <a:lnTo>
                      <a:pt x="184" y="723"/>
                    </a:lnTo>
                    <a:lnTo>
                      <a:pt x="185" y="721"/>
                    </a:lnTo>
                    <a:lnTo>
                      <a:pt x="189" y="717"/>
                    </a:lnTo>
                    <a:lnTo>
                      <a:pt x="189" y="715"/>
                    </a:lnTo>
                    <a:lnTo>
                      <a:pt x="191" y="713"/>
                    </a:lnTo>
                    <a:lnTo>
                      <a:pt x="191" y="713"/>
                    </a:lnTo>
                    <a:lnTo>
                      <a:pt x="191" y="713"/>
                    </a:lnTo>
                    <a:lnTo>
                      <a:pt x="191" y="711"/>
                    </a:lnTo>
                    <a:lnTo>
                      <a:pt x="191" y="711"/>
                    </a:lnTo>
                    <a:lnTo>
                      <a:pt x="191" y="709"/>
                    </a:lnTo>
                    <a:lnTo>
                      <a:pt x="191" y="709"/>
                    </a:lnTo>
                    <a:lnTo>
                      <a:pt x="191" y="708"/>
                    </a:lnTo>
                    <a:lnTo>
                      <a:pt x="193" y="708"/>
                    </a:lnTo>
                    <a:lnTo>
                      <a:pt x="193" y="708"/>
                    </a:lnTo>
                    <a:lnTo>
                      <a:pt x="195" y="708"/>
                    </a:lnTo>
                    <a:lnTo>
                      <a:pt x="199" y="708"/>
                    </a:lnTo>
                    <a:lnTo>
                      <a:pt x="201" y="708"/>
                    </a:lnTo>
                    <a:lnTo>
                      <a:pt x="203" y="708"/>
                    </a:lnTo>
                    <a:lnTo>
                      <a:pt x="203" y="709"/>
                    </a:lnTo>
                    <a:lnTo>
                      <a:pt x="203" y="711"/>
                    </a:lnTo>
                    <a:lnTo>
                      <a:pt x="203" y="711"/>
                    </a:lnTo>
                    <a:lnTo>
                      <a:pt x="205" y="713"/>
                    </a:lnTo>
                    <a:lnTo>
                      <a:pt x="206" y="713"/>
                    </a:lnTo>
                    <a:lnTo>
                      <a:pt x="208" y="715"/>
                    </a:lnTo>
                    <a:lnTo>
                      <a:pt x="208" y="717"/>
                    </a:lnTo>
                    <a:lnTo>
                      <a:pt x="210" y="717"/>
                    </a:lnTo>
                    <a:lnTo>
                      <a:pt x="210" y="715"/>
                    </a:lnTo>
                    <a:lnTo>
                      <a:pt x="212" y="715"/>
                    </a:lnTo>
                    <a:lnTo>
                      <a:pt x="212" y="713"/>
                    </a:lnTo>
                    <a:lnTo>
                      <a:pt x="210" y="711"/>
                    </a:lnTo>
                    <a:lnTo>
                      <a:pt x="210" y="711"/>
                    </a:lnTo>
                    <a:lnTo>
                      <a:pt x="210" y="709"/>
                    </a:lnTo>
                    <a:lnTo>
                      <a:pt x="210" y="709"/>
                    </a:lnTo>
                    <a:lnTo>
                      <a:pt x="212" y="708"/>
                    </a:lnTo>
                    <a:lnTo>
                      <a:pt x="212" y="706"/>
                    </a:lnTo>
                    <a:lnTo>
                      <a:pt x="212" y="704"/>
                    </a:lnTo>
                    <a:lnTo>
                      <a:pt x="212" y="704"/>
                    </a:lnTo>
                    <a:lnTo>
                      <a:pt x="210" y="702"/>
                    </a:lnTo>
                    <a:lnTo>
                      <a:pt x="210" y="700"/>
                    </a:lnTo>
                    <a:lnTo>
                      <a:pt x="210" y="698"/>
                    </a:lnTo>
                    <a:lnTo>
                      <a:pt x="210" y="696"/>
                    </a:lnTo>
                    <a:lnTo>
                      <a:pt x="210" y="694"/>
                    </a:lnTo>
                    <a:lnTo>
                      <a:pt x="212" y="694"/>
                    </a:lnTo>
                    <a:lnTo>
                      <a:pt x="214" y="694"/>
                    </a:lnTo>
                    <a:lnTo>
                      <a:pt x="214" y="694"/>
                    </a:lnTo>
                    <a:lnTo>
                      <a:pt x="216" y="692"/>
                    </a:lnTo>
                    <a:lnTo>
                      <a:pt x="218" y="694"/>
                    </a:lnTo>
                    <a:lnTo>
                      <a:pt x="218" y="694"/>
                    </a:lnTo>
                    <a:lnTo>
                      <a:pt x="218" y="696"/>
                    </a:lnTo>
                    <a:lnTo>
                      <a:pt x="220" y="698"/>
                    </a:lnTo>
                    <a:lnTo>
                      <a:pt x="220" y="704"/>
                    </a:lnTo>
                    <a:lnTo>
                      <a:pt x="220" y="706"/>
                    </a:lnTo>
                    <a:lnTo>
                      <a:pt x="220" y="706"/>
                    </a:lnTo>
                    <a:lnTo>
                      <a:pt x="222" y="708"/>
                    </a:lnTo>
                    <a:lnTo>
                      <a:pt x="224" y="706"/>
                    </a:lnTo>
                    <a:lnTo>
                      <a:pt x="225" y="706"/>
                    </a:lnTo>
                    <a:lnTo>
                      <a:pt x="225" y="704"/>
                    </a:lnTo>
                    <a:lnTo>
                      <a:pt x="225" y="704"/>
                    </a:lnTo>
                    <a:lnTo>
                      <a:pt x="225" y="698"/>
                    </a:lnTo>
                    <a:lnTo>
                      <a:pt x="225" y="696"/>
                    </a:lnTo>
                    <a:lnTo>
                      <a:pt x="225" y="696"/>
                    </a:lnTo>
                    <a:lnTo>
                      <a:pt x="225" y="694"/>
                    </a:lnTo>
                    <a:lnTo>
                      <a:pt x="227" y="694"/>
                    </a:lnTo>
                    <a:lnTo>
                      <a:pt x="227" y="692"/>
                    </a:lnTo>
                    <a:lnTo>
                      <a:pt x="229" y="690"/>
                    </a:lnTo>
                    <a:lnTo>
                      <a:pt x="231" y="690"/>
                    </a:lnTo>
                    <a:lnTo>
                      <a:pt x="231" y="690"/>
                    </a:lnTo>
                    <a:lnTo>
                      <a:pt x="233" y="692"/>
                    </a:lnTo>
                    <a:lnTo>
                      <a:pt x="233" y="694"/>
                    </a:lnTo>
                    <a:lnTo>
                      <a:pt x="233" y="694"/>
                    </a:lnTo>
                    <a:lnTo>
                      <a:pt x="235" y="698"/>
                    </a:lnTo>
                    <a:lnTo>
                      <a:pt x="233" y="700"/>
                    </a:lnTo>
                    <a:lnTo>
                      <a:pt x="233" y="700"/>
                    </a:lnTo>
                    <a:lnTo>
                      <a:pt x="233" y="702"/>
                    </a:lnTo>
                    <a:lnTo>
                      <a:pt x="233" y="704"/>
                    </a:lnTo>
                    <a:lnTo>
                      <a:pt x="233" y="704"/>
                    </a:lnTo>
                    <a:lnTo>
                      <a:pt x="233" y="704"/>
                    </a:lnTo>
                    <a:lnTo>
                      <a:pt x="235" y="704"/>
                    </a:lnTo>
                    <a:lnTo>
                      <a:pt x="237" y="704"/>
                    </a:lnTo>
                    <a:lnTo>
                      <a:pt x="237" y="704"/>
                    </a:lnTo>
                    <a:lnTo>
                      <a:pt x="239" y="704"/>
                    </a:lnTo>
                    <a:lnTo>
                      <a:pt x="239" y="704"/>
                    </a:lnTo>
                    <a:lnTo>
                      <a:pt x="239" y="704"/>
                    </a:lnTo>
                    <a:lnTo>
                      <a:pt x="239" y="706"/>
                    </a:lnTo>
                    <a:lnTo>
                      <a:pt x="239" y="709"/>
                    </a:lnTo>
                    <a:lnTo>
                      <a:pt x="239" y="711"/>
                    </a:lnTo>
                    <a:lnTo>
                      <a:pt x="237" y="715"/>
                    </a:lnTo>
                    <a:lnTo>
                      <a:pt x="235" y="717"/>
                    </a:lnTo>
                    <a:lnTo>
                      <a:pt x="235" y="717"/>
                    </a:lnTo>
                    <a:lnTo>
                      <a:pt x="237" y="721"/>
                    </a:lnTo>
                    <a:lnTo>
                      <a:pt x="237" y="721"/>
                    </a:lnTo>
                    <a:lnTo>
                      <a:pt x="237" y="723"/>
                    </a:lnTo>
                    <a:lnTo>
                      <a:pt x="235" y="723"/>
                    </a:lnTo>
                    <a:lnTo>
                      <a:pt x="235" y="725"/>
                    </a:lnTo>
                    <a:lnTo>
                      <a:pt x="231" y="727"/>
                    </a:lnTo>
                    <a:lnTo>
                      <a:pt x="229" y="728"/>
                    </a:lnTo>
                    <a:lnTo>
                      <a:pt x="229" y="730"/>
                    </a:lnTo>
                    <a:lnTo>
                      <a:pt x="227" y="732"/>
                    </a:lnTo>
                    <a:lnTo>
                      <a:pt x="227" y="734"/>
                    </a:lnTo>
                    <a:lnTo>
                      <a:pt x="227" y="736"/>
                    </a:lnTo>
                    <a:lnTo>
                      <a:pt x="227" y="738"/>
                    </a:lnTo>
                    <a:lnTo>
                      <a:pt x="227" y="740"/>
                    </a:lnTo>
                    <a:lnTo>
                      <a:pt x="229" y="740"/>
                    </a:lnTo>
                    <a:lnTo>
                      <a:pt x="231" y="740"/>
                    </a:lnTo>
                    <a:lnTo>
                      <a:pt x="233" y="738"/>
                    </a:lnTo>
                    <a:lnTo>
                      <a:pt x="233" y="738"/>
                    </a:lnTo>
                    <a:lnTo>
                      <a:pt x="235" y="734"/>
                    </a:lnTo>
                    <a:lnTo>
                      <a:pt x="237" y="734"/>
                    </a:lnTo>
                    <a:lnTo>
                      <a:pt x="237" y="734"/>
                    </a:lnTo>
                    <a:lnTo>
                      <a:pt x="239" y="734"/>
                    </a:lnTo>
                    <a:lnTo>
                      <a:pt x="241" y="732"/>
                    </a:lnTo>
                    <a:lnTo>
                      <a:pt x="243" y="732"/>
                    </a:lnTo>
                    <a:lnTo>
                      <a:pt x="243" y="730"/>
                    </a:lnTo>
                    <a:lnTo>
                      <a:pt x="243" y="728"/>
                    </a:lnTo>
                    <a:lnTo>
                      <a:pt x="243" y="727"/>
                    </a:lnTo>
                    <a:lnTo>
                      <a:pt x="243" y="727"/>
                    </a:lnTo>
                    <a:lnTo>
                      <a:pt x="243" y="727"/>
                    </a:lnTo>
                    <a:lnTo>
                      <a:pt x="245" y="725"/>
                    </a:lnTo>
                    <a:lnTo>
                      <a:pt x="246" y="727"/>
                    </a:lnTo>
                    <a:lnTo>
                      <a:pt x="246" y="727"/>
                    </a:lnTo>
                    <a:lnTo>
                      <a:pt x="248" y="727"/>
                    </a:lnTo>
                    <a:lnTo>
                      <a:pt x="248" y="727"/>
                    </a:lnTo>
                    <a:lnTo>
                      <a:pt x="248" y="728"/>
                    </a:lnTo>
                    <a:lnTo>
                      <a:pt x="250" y="728"/>
                    </a:lnTo>
                    <a:lnTo>
                      <a:pt x="250" y="728"/>
                    </a:lnTo>
                    <a:lnTo>
                      <a:pt x="250" y="728"/>
                    </a:lnTo>
                    <a:lnTo>
                      <a:pt x="250" y="730"/>
                    </a:lnTo>
                    <a:lnTo>
                      <a:pt x="246" y="734"/>
                    </a:lnTo>
                    <a:lnTo>
                      <a:pt x="246" y="734"/>
                    </a:lnTo>
                    <a:lnTo>
                      <a:pt x="245" y="736"/>
                    </a:lnTo>
                    <a:lnTo>
                      <a:pt x="245" y="738"/>
                    </a:lnTo>
                    <a:lnTo>
                      <a:pt x="246" y="740"/>
                    </a:lnTo>
                    <a:lnTo>
                      <a:pt x="246" y="740"/>
                    </a:lnTo>
                    <a:lnTo>
                      <a:pt x="246" y="740"/>
                    </a:lnTo>
                    <a:lnTo>
                      <a:pt x="248" y="740"/>
                    </a:lnTo>
                    <a:lnTo>
                      <a:pt x="250" y="740"/>
                    </a:lnTo>
                    <a:lnTo>
                      <a:pt x="254" y="738"/>
                    </a:lnTo>
                    <a:lnTo>
                      <a:pt x="256" y="738"/>
                    </a:lnTo>
                    <a:lnTo>
                      <a:pt x="258" y="738"/>
                    </a:lnTo>
                    <a:lnTo>
                      <a:pt x="258" y="738"/>
                    </a:lnTo>
                    <a:lnTo>
                      <a:pt x="258" y="744"/>
                    </a:lnTo>
                    <a:lnTo>
                      <a:pt x="260" y="744"/>
                    </a:lnTo>
                    <a:lnTo>
                      <a:pt x="260" y="746"/>
                    </a:lnTo>
                    <a:lnTo>
                      <a:pt x="262" y="744"/>
                    </a:lnTo>
                    <a:lnTo>
                      <a:pt x="262" y="744"/>
                    </a:lnTo>
                    <a:lnTo>
                      <a:pt x="264" y="742"/>
                    </a:lnTo>
                    <a:lnTo>
                      <a:pt x="264" y="740"/>
                    </a:lnTo>
                    <a:lnTo>
                      <a:pt x="266" y="740"/>
                    </a:lnTo>
                    <a:lnTo>
                      <a:pt x="267" y="740"/>
                    </a:lnTo>
                    <a:lnTo>
                      <a:pt x="267" y="740"/>
                    </a:lnTo>
                    <a:lnTo>
                      <a:pt x="271" y="740"/>
                    </a:lnTo>
                    <a:lnTo>
                      <a:pt x="271" y="740"/>
                    </a:lnTo>
                    <a:lnTo>
                      <a:pt x="273" y="740"/>
                    </a:lnTo>
                    <a:lnTo>
                      <a:pt x="273" y="740"/>
                    </a:lnTo>
                    <a:lnTo>
                      <a:pt x="275" y="740"/>
                    </a:lnTo>
                    <a:lnTo>
                      <a:pt x="279" y="742"/>
                    </a:lnTo>
                    <a:lnTo>
                      <a:pt x="279" y="742"/>
                    </a:lnTo>
                    <a:lnTo>
                      <a:pt x="281" y="742"/>
                    </a:lnTo>
                    <a:lnTo>
                      <a:pt x="281" y="740"/>
                    </a:lnTo>
                    <a:lnTo>
                      <a:pt x="281" y="738"/>
                    </a:lnTo>
                    <a:lnTo>
                      <a:pt x="281" y="736"/>
                    </a:lnTo>
                    <a:lnTo>
                      <a:pt x="277" y="727"/>
                    </a:lnTo>
                    <a:lnTo>
                      <a:pt x="277" y="725"/>
                    </a:lnTo>
                    <a:lnTo>
                      <a:pt x="277" y="723"/>
                    </a:lnTo>
                    <a:lnTo>
                      <a:pt x="277" y="723"/>
                    </a:lnTo>
                    <a:lnTo>
                      <a:pt x="279" y="719"/>
                    </a:lnTo>
                    <a:lnTo>
                      <a:pt x="283" y="713"/>
                    </a:lnTo>
                    <a:lnTo>
                      <a:pt x="283" y="713"/>
                    </a:lnTo>
                    <a:lnTo>
                      <a:pt x="285" y="715"/>
                    </a:lnTo>
                    <a:lnTo>
                      <a:pt x="285" y="715"/>
                    </a:lnTo>
                    <a:lnTo>
                      <a:pt x="285" y="717"/>
                    </a:lnTo>
                    <a:lnTo>
                      <a:pt x="285" y="717"/>
                    </a:lnTo>
                    <a:lnTo>
                      <a:pt x="281" y="723"/>
                    </a:lnTo>
                    <a:lnTo>
                      <a:pt x="281" y="725"/>
                    </a:lnTo>
                    <a:lnTo>
                      <a:pt x="281" y="725"/>
                    </a:lnTo>
                    <a:lnTo>
                      <a:pt x="281" y="727"/>
                    </a:lnTo>
                    <a:lnTo>
                      <a:pt x="281" y="727"/>
                    </a:lnTo>
                    <a:lnTo>
                      <a:pt x="281" y="728"/>
                    </a:lnTo>
                    <a:lnTo>
                      <a:pt x="283" y="730"/>
                    </a:lnTo>
                    <a:lnTo>
                      <a:pt x="283" y="730"/>
                    </a:lnTo>
                    <a:lnTo>
                      <a:pt x="285" y="730"/>
                    </a:lnTo>
                    <a:lnTo>
                      <a:pt x="285" y="730"/>
                    </a:lnTo>
                    <a:lnTo>
                      <a:pt x="285" y="730"/>
                    </a:lnTo>
                    <a:lnTo>
                      <a:pt x="287" y="730"/>
                    </a:lnTo>
                    <a:lnTo>
                      <a:pt x="287" y="728"/>
                    </a:lnTo>
                    <a:lnTo>
                      <a:pt x="287" y="728"/>
                    </a:lnTo>
                    <a:lnTo>
                      <a:pt x="288" y="727"/>
                    </a:lnTo>
                    <a:lnTo>
                      <a:pt x="288" y="727"/>
                    </a:lnTo>
                    <a:lnTo>
                      <a:pt x="290" y="727"/>
                    </a:lnTo>
                    <a:lnTo>
                      <a:pt x="292" y="727"/>
                    </a:lnTo>
                    <a:lnTo>
                      <a:pt x="292" y="727"/>
                    </a:lnTo>
                    <a:lnTo>
                      <a:pt x="294" y="727"/>
                    </a:lnTo>
                    <a:lnTo>
                      <a:pt x="294" y="727"/>
                    </a:lnTo>
                    <a:lnTo>
                      <a:pt x="298" y="725"/>
                    </a:lnTo>
                    <a:lnTo>
                      <a:pt x="298" y="723"/>
                    </a:lnTo>
                    <a:lnTo>
                      <a:pt x="300" y="723"/>
                    </a:lnTo>
                    <a:lnTo>
                      <a:pt x="300" y="723"/>
                    </a:lnTo>
                    <a:lnTo>
                      <a:pt x="300" y="725"/>
                    </a:lnTo>
                    <a:lnTo>
                      <a:pt x="298" y="728"/>
                    </a:lnTo>
                    <a:lnTo>
                      <a:pt x="292" y="734"/>
                    </a:lnTo>
                    <a:lnTo>
                      <a:pt x="292" y="738"/>
                    </a:lnTo>
                    <a:lnTo>
                      <a:pt x="290" y="740"/>
                    </a:lnTo>
                    <a:lnTo>
                      <a:pt x="287" y="744"/>
                    </a:lnTo>
                    <a:lnTo>
                      <a:pt x="287" y="744"/>
                    </a:lnTo>
                    <a:lnTo>
                      <a:pt x="287" y="746"/>
                    </a:lnTo>
                    <a:lnTo>
                      <a:pt x="287" y="748"/>
                    </a:lnTo>
                    <a:lnTo>
                      <a:pt x="287" y="749"/>
                    </a:lnTo>
                    <a:lnTo>
                      <a:pt x="287" y="751"/>
                    </a:lnTo>
                    <a:lnTo>
                      <a:pt x="287" y="753"/>
                    </a:lnTo>
                    <a:lnTo>
                      <a:pt x="287" y="753"/>
                    </a:lnTo>
                    <a:lnTo>
                      <a:pt x="288" y="755"/>
                    </a:lnTo>
                    <a:lnTo>
                      <a:pt x="288" y="755"/>
                    </a:lnTo>
                    <a:lnTo>
                      <a:pt x="294" y="755"/>
                    </a:lnTo>
                    <a:lnTo>
                      <a:pt x="294" y="753"/>
                    </a:lnTo>
                    <a:lnTo>
                      <a:pt x="294" y="751"/>
                    </a:lnTo>
                    <a:lnTo>
                      <a:pt x="294" y="749"/>
                    </a:lnTo>
                    <a:lnTo>
                      <a:pt x="294" y="746"/>
                    </a:lnTo>
                    <a:lnTo>
                      <a:pt x="294" y="746"/>
                    </a:lnTo>
                    <a:lnTo>
                      <a:pt x="294" y="746"/>
                    </a:lnTo>
                    <a:lnTo>
                      <a:pt x="296" y="744"/>
                    </a:lnTo>
                    <a:lnTo>
                      <a:pt x="298" y="744"/>
                    </a:lnTo>
                    <a:lnTo>
                      <a:pt x="300" y="746"/>
                    </a:lnTo>
                    <a:lnTo>
                      <a:pt x="300" y="746"/>
                    </a:lnTo>
                    <a:lnTo>
                      <a:pt x="300" y="748"/>
                    </a:lnTo>
                    <a:lnTo>
                      <a:pt x="300" y="748"/>
                    </a:lnTo>
                    <a:lnTo>
                      <a:pt x="300" y="748"/>
                    </a:lnTo>
                    <a:lnTo>
                      <a:pt x="302" y="749"/>
                    </a:lnTo>
                    <a:lnTo>
                      <a:pt x="302" y="749"/>
                    </a:lnTo>
                    <a:lnTo>
                      <a:pt x="304" y="749"/>
                    </a:lnTo>
                    <a:lnTo>
                      <a:pt x="304" y="749"/>
                    </a:lnTo>
                    <a:lnTo>
                      <a:pt x="306" y="749"/>
                    </a:lnTo>
                    <a:lnTo>
                      <a:pt x="307" y="748"/>
                    </a:lnTo>
                    <a:lnTo>
                      <a:pt x="307" y="748"/>
                    </a:lnTo>
                    <a:lnTo>
                      <a:pt x="309" y="742"/>
                    </a:lnTo>
                    <a:lnTo>
                      <a:pt x="311" y="742"/>
                    </a:lnTo>
                    <a:lnTo>
                      <a:pt x="311" y="740"/>
                    </a:lnTo>
                    <a:lnTo>
                      <a:pt x="313" y="740"/>
                    </a:lnTo>
                    <a:lnTo>
                      <a:pt x="315" y="740"/>
                    </a:lnTo>
                    <a:lnTo>
                      <a:pt x="315" y="740"/>
                    </a:lnTo>
                    <a:lnTo>
                      <a:pt x="317" y="740"/>
                    </a:lnTo>
                    <a:lnTo>
                      <a:pt x="321" y="744"/>
                    </a:lnTo>
                    <a:lnTo>
                      <a:pt x="325" y="744"/>
                    </a:lnTo>
                    <a:lnTo>
                      <a:pt x="327" y="744"/>
                    </a:lnTo>
                    <a:lnTo>
                      <a:pt x="336" y="744"/>
                    </a:lnTo>
                    <a:lnTo>
                      <a:pt x="340" y="744"/>
                    </a:lnTo>
                    <a:lnTo>
                      <a:pt x="340" y="744"/>
                    </a:lnTo>
                    <a:lnTo>
                      <a:pt x="342" y="744"/>
                    </a:lnTo>
                    <a:lnTo>
                      <a:pt x="342" y="744"/>
                    </a:lnTo>
                    <a:lnTo>
                      <a:pt x="344" y="746"/>
                    </a:lnTo>
                    <a:lnTo>
                      <a:pt x="346" y="746"/>
                    </a:lnTo>
                    <a:lnTo>
                      <a:pt x="346" y="746"/>
                    </a:lnTo>
                    <a:lnTo>
                      <a:pt x="349" y="744"/>
                    </a:lnTo>
                    <a:lnTo>
                      <a:pt x="351" y="744"/>
                    </a:lnTo>
                    <a:lnTo>
                      <a:pt x="353" y="744"/>
                    </a:lnTo>
                    <a:lnTo>
                      <a:pt x="353" y="744"/>
                    </a:lnTo>
                    <a:lnTo>
                      <a:pt x="353" y="742"/>
                    </a:lnTo>
                    <a:lnTo>
                      <a:pt x="353" y="742"/>
                    </a:lnTo>
                    <a:lnTo>
                      <a:pt x="353" y="740"/>
                    </a:lnTo>
                    <a:lnTo>
                      <a:pt x="351" y="738"/>
                    </a:lnTo>
                    <a:lnTo>
                      <a:pt x="349" y="736"/>
                    </a:lnTo>
                    <a:lnTo>
                      <a:pt x="349" y="736"/>
                    </a:lnTo>
                    <a:lnTo>
                      <a:pt x="349" y="734"/>
                    </a:lnTo>
                    <a:lnTo>
                      <a:pt x="349" y="734"/>
                    </a:lnTo>
                    <a:lnTo>
                      <a:pt x="349" y="732"/>
                    </a:lnTo>
                    <a:lnTo>
                      <a:pt x="349" y="732"/>
                    </a:lnTo>
                    <a:lnTo>
                      <a:pt x="349" y="732"/>
                    </a:lnTo>
                    <a:lnTo>
                      <a:pt x="351" y="730"/>
                    </a:lnTo>
                    <a:lnTo>
                      <a:pt x="353" y="728"/>
                    </a:lnTo>
                    <a:lnTo>
                      <a:pt x="357" y="728"/>
                    </a:lnTo>
                    <a:lnTo>
                      <a:pt x="359" y="728"/>
                    </a:lnTo>
                    <a:lnTo>
                      <a:pt x="361" y="727"/>
                    </a:lnTo>
                    <a:lnTo>
                      <a:pt x="367" y="723"/>
                    </a:lnTo>
                    <a:lnTo>
                      <a:pt x="370" y="721"/>
                    </a:lnTo>
                    <a:lnTo>
                      <a:pt x="372" y="719"/>
                    </a:lnTo>
                    <a:lnTo>
                      <a:pt x="380" y="715"/>
                    </a:lnTo>
                    <a:lnTo>
                      <a:pt x="384" y="715"/>
                    </a:lnTo>
                    <a:lnTo>
                      <a:pt x="384" y="717"/>
                    </a:lnTo>
                    <a:lnTo>
                      <a:pt x="386" y="717"/>
                    </a:lnTo>
                    <a:lnTo>
                      <a:pt x="386" y="715"/>
                    </a:lnTo>
                    <a:lnTo>
                      <a:pt x="391" y="711"/>
                    </a:lnTo>
                    <a:lnTo>
                      <a:pt x="391" y="711"/>
                    </a:lnTo>
                    <a:lnTo>
                      <a:pt x="393" y="709"/>
                    </a:lnTo>
                    <a:lnTo>
                      <a:pt x="393" y="708"/>
                    </a:lnTo>
                    <a:lnTo>
                      <a:pt x="393" y="708"/>
                    </a:lnTo>
                    <a:lnTo>
                      <a:pt x="395" y="708"/>
                    </a:lnTo>
                    <a:lnTo>
                      <a:pt x="395" y="708"/>
                    </a:lnTo>
                    <a:lnTo>
                      <a:pt x="397" y="708"/>
                    </a:lnTo>
                    <a:lnTo>
                      <a:pt x="399" y="708"/>
                    </a:lnTo>
                    <a:lnTo>
                      <a:pt x="399" y="708"/>
                    </a:lnTo>
                    <a:lnTo>
                      <a:pt x="401" y="708"/>
                    </a:lnTo>
                    <a:lnTo>
                      <a:pt x="403" y="708"/>
                    </a:lnTo>
                    <a:lnTo>
                      <a:pt x="405" y="708"/>
                    </a:lnTo>
                    <a:lnTo>
                      <a:pt x="405" y="708"/>
                    </a:lnTo>
                    <a:lnTo>
                      <a:pt x="407" y="709"/>
                    </a:lnTo>
                    <a:lnTo>
                      <a:pt x="409" y="711"/>
                    </a:lnTo>
                    <a:lnTo>
                      <a:pt x="409" y="713"/>
                    </a:lnTo>
                    <a:lnTo>
                      <a:pt x="409" y="713"/>
                    </a:lnTo>
                    <a:lnTo>
                      <a:pt x="409" y="717"/>
                    </a:lnTo>
                    <a:lnTo>
                      <a:pt x="410" y="723"/>
                    </a:lnTo>
                    <a:lnTo>
                      <a:pt x="410" y="725"/>
                    </a:lnTo>
                    <a:lnTo>
                      <a:pt x="410" y="725"/>
                    </a:lnTo>
                    <a:lnTo>
                      <a:pt x="412" y="727"/>
                    </a:lnTo>
                    <a:lnTo>
                      <a:pt x="414" y="727"/>
                    </a:lnTo>
                    <a:lnTo>
                      <a:pt x="414" y="728"/>
                    </a:lnTo>
                    <a:lnTo>
                      <a:pt x="416" y="728"/>
                    </a:lnTo>
                    <a:lnTo>
                      <a:pt x="416" y="730"/>
                    </a:lnTo>
                    <a:lnTo>
                      <a:pt x="416" y="730"/>
                    </a:lnTo>
                    <a:lnTo>
                      <a:pt x="418" y="730"/>
                    </a:lnTo>
                    <a:lnTo>
                      <a:pt x="418" y="730"/>
                    </a:lnTo>
                    <a:lnTo>
                      <a:pt x="418" y="730"/>
                    </a:lnTo>
                    <a:lnTo>
                      <a:pt x="420" y="730"/>
                    </a:lnTo>
                    <a:lnTo>
                      <a:pt x="420" y="730"/>
                    </a:lnTo>
                    <a:lnTo>
                      <a:pt x="420" y="732"/>
                    </a:lnTo>
                    <a:lnTo>
                      <a:pt x="420" y="732"/>
                    </a:lnTo>
                    <a:lnTo>
                      <a:pt x="420" y="732"/>
                    </a:lnTo>
                    <a:lnTo>
                      <a:pt x="422" y="736"/>
                    </a:lnTo>
                    <a:lnTo>
                      <a:pt x="422" y="736"/>
                    </a:lnTo>
                    <a:lnTo>
                      <a:pt x="422" y="738"/>
                    </a:lnTo>
                    <a:lnTo>
                      <a:pt x="422" y="738"/>
                    </a:lnTo>
                    <a:lnTo>
                      <a:pt x="422" y="740"/>
                    </a:lnTo>
                    <a:lnTo>
                      <a:pt x="422" y="740"/>
                    </a:lnTo>
                    <a:lnTo>
                      <a:pt x="422" y="742"/>
                    </a:lnTo>
                    <a:lnTo>
                      <a:pt x="420" y="742"/>
                    </a:lnTo>
                    <a:lnTo>
                      <a:pt x="418" y="742"/>
                    </a:lnTo>
                    <a:lnTo>
                      <a:pt x="416" y="744"/>
                    </a:lnTo>
                    <a:lnTo>
                      <a:pt x="416" y="744"/>
                    </a:lnTo>
                    <a:lnTo>
                      <a:pt x="414" y="744"/>
                    </a:lnTo>
                    <a:lnTo>
                      <a:pt x="414" y="746"/>
                    </a:lnTo>
                    <a:lnTo>
                      <a:pt x="414" y="746"/>
                    </a:lnTo>
                    <a:lnTo>
                      <a:pt x="412" y="746"/>
                    </a:lnTo>
                    <a:lnTo>
                      <a:pt x="412" y="748"/>
                    </a:lnTo>
                    <a:lnTo>
                      <a:pt x="410" y="749"/>
                    </a:lnTo>
                    <a:lnTo>
                      <a:pt x="409" y="751"/>
                    </a:lnTo>
                    <a:lnTo>
                      <a:pt x="409" y="753"/>
                    </a:lnTo>
                    <a:lnTo>
                      <a:pt x="407" y="753"/>
                    </a:lnTo>
                    <a:lnTo>
                      <a:pt x="405" y="753"/>
                    </a:lnTo>
                    <a:lnTo>
                      <a:pt x="405" y="753"/>
                    </a:lnTo>
                    <a:lnTo>
                      <a:pt x="405" y="751"/>
                    </a:lnTo>
                    <a:lnTo>
                      <a:pt x="403" y="753"/>
                    </a:lnTo>
                    <a:lnTo>
                      <a:pt x="403" y="753"/>
                    </a:lnTo>
                    <a:lnTo>
                      <a:pt x="403" y="755"/>
                    </a:lnTo>
                    <a:lnTo>
                      <a:pt x="403" y="755"/>
                    </a:lnTo>
                    <a:lnTo>
                      <a:pt x="403" y="759"/>
                    </a:lnTo>
                    <a:lnTo>
                      <a:pt x="405" y="761"/>
                    </a:lnTo>
                    <a:lnTo>
                      <a:pt x="407" y="763"/>
                    </a:lnTo>
                    <a:lnTo>
                      <a:pt x="407" y="763"/>
                    </a:lnTo>
                    <a:lnTo>
                      <a:pt x="409" y="763"/>
                    </a:lnTo>
                    <a:lnTo>
                      <a:pt x="412" y="761"/>
                    </a:lnTo>
                    <a:lnTo>
                      <a:pt x="414" y="761"/>
                    </a:lnTo>
                    <a:lnTo>
                      <a:pt x="416" y="761"/>
                    </a:lnTo>
                    <a:lnTo>
                      <a:pt x="416" y="763"/>
                    </a:lnTo>
                    <a:lnTo>
                      <a:pt x="418" y="763"/>
                    </a:lnTo>
                    <a:lnTo>
                      <a:pt x="418" y="763"/>
                    </a:lnTo>
                    <a:lnTo>
                      <a:pt x="420" y="763"/>
                    </a:lnTo>
                    <a:lnTo>
                      <a:pt x="420" y="763"/>
                    </a:lnTo>
                    <a:lnTo>
                      <a:pt x="422" y="763"/>
                    </a:lnTo>
                    <a:lnTo>
                      <a:pt x="422" y="761"/>
                    </a:lnTo>
                    <a:lnTo>
                      <a:pt x="420" y="757"/>
                    </a:lnTo>
                    <a:lnTo>
                      <a:pt x="420" y="757"/>
                    </a:lnTo>
                    <a:lnTo>
                      <a:pt x="420" y="757"/>
                    </a:lnTo>
                    <a:lnTo>
                      <a:pt x="420" y="755"/>
                    </a:lnTo>
                    <a:lnTo>
                      <a:pt x="422" y="755"/>
                    </a:lnTo>
                    <a:lnTo>
                      <a:pt x="424" y="759"/>
                    </a:lnTo>
                    <a:lnTo>
                      <a:pt x="426" y="761"/>
                    </a:lnTo>
                    <a:lnTo>
                      <a:pt x="426" y="763"/>
                    </a:lnTo>
                    <a:lnTo>
                      <a:pt x="428" y="763"/>
                    </a:lnTo>
                    <a:lnTo>
                      <a:pt x="428" y="763"/>
                    </a:lnTo>
                    <a:lnTo>
                      <a:pt x="430" y="763"/>
                    </a:lnTo>
                    <a:lnTo>
                      <a:pt x="433" y="759"/>
                    </a:lnTo>
                    <a:lnTo>
                      <a:pt x="433" y="757"/>
                    </a:lnTo>
                    <a:lnTo>
                      <a:pt x="433" y="757"/>
                    </a:lnTo>
                    <a:lnTo>
                      <a:pt x="433" y="757"/>
                    </a:lnTo>
                    <a:lnTo>
                      <a:pt x="430" y="755"/>
                    </a:lnTo>
                    <a:lnTo>
                      <a:pt x="430" y="755"/>
                    </a:lnTo>
                    <a:lnTo>
                      <a:pt x="428" y="753"/>
                    </a:lnTo>
                    <a:lnTo>
                      <a:pt x="428" y="751"/>
                    </a:lnTo>
                    <a:lnTo>
                      <a:pt x="428" y="751"/>
                    </a:lnTo>
                    <a:lnTo>
                      <a:pt x="428" y="749"/>
                    </a:lnTo>
                    <a:lnTo>
                      <a:pt x="428" y="749"/>
                    </a:lnTo>
                    <a:lnTo>
                      <a:pt x="428" y="748"/>
                    </a:lnTo>
                    <a:lnTo>
                      <a:pt x="428" y="748"/>
                    </a:lnTo>
                    <a:lnTo>
                      <a:pt x="430" y="749"/>
                    </a:lnTo>
                    <a:lnTo>
                      <a:pt x="431" y="749"/>
                    </a:lnTo>
                    <a:lnTo>
                      <a:pt x="435" y="749"/>
                    </a:lnTo>
                    <a:lnTo>
                      <a:pt x="435" y="749"/>
                    </a:lnTo>
                    <a:lnTo>
                      <a:pt x="437" y="749"/>
                    </a:lnTo>
                    <a:lnTo>
                      <a:pt x="439" y="749"/>
                    </a:lnTo>
                    <a:lnTo>
                      <a:pt x="439" y="749"/>
                    </a:lnTo>
                    <a:lnTo>
                      <a:pt x="439" y="748"/>
                    </a:lnTo>
                    <a:lnTo>
                      <a:pt x="439" y="748"/>
                    </a:lnTo>
                    <a:lnTo>
                      <a:pt x="439" y="746"/>
                    </a:lnTo>
                    <a:lnTo>
                      <a:pt x="439" y="746"/>
                    </a:lnTo>
                    <a:lnTo>
                      <a:pt x="439" y="744"/>
                    </a:lnTo>
                    <a:lnTo>
                      <a:pt x="439" y="744"/>
                    </a:lnTo>
                    <a:lnTo>
                      <a:pt x="441" y="744"/>
                    </a:lnTo>
                    <a:lnTo>
                      <a:pt x="441" y="744"/>
                    </a:lnTo>
                    <a:lnTo>
                      <a:pt x="443" y="744"/>
                    </a:lnTo>
                    <a:lnTo>
                      <a:pt x="443" y="746"/>
                    </a:lnTo>
                    <a:lnTo>
                      <a:pt x="445" y="748"/>
                    </a:lnTo>
                    <a:lnTo>
                      <a:pt x="445" y="749"/>
                    </a:lnTo>
                    <a:lnTo>
                      <a:pt x="445" y="751"/>
                    </a:lnTo>
                    <a:lnTo>
                      <a:pt x="449" y="753"/>
                    </a:lnTo>
                    <a:lnTo>
                      <a:pt x="450" y="755"/>
                    </a:lnTo>
                    <a:lnTo>
                      <a:pt x="450" y="755"/>
                    </a:lnTo>
                    <a:lnTo>
                      <a:pt x="452" y="755"/>
                    </a:lnTo>
                    <a:lnTo>
                      <a:pt x="454" y="753"/>
                    </a:lnTo>
                    <a:lnTo>
                      <a:pt x="456" y="753"/>
                    </a:lnTo>
                    <a:lnTo>
                      <a:pt x="458" y="753"/>
                    </a:lnTo>
                    <a:lnTo>
                      <a:pt x="460" y="753"/>
                    </a:lnTo>
                    <a:lnTo>
                      <a:pt x="460" y="753"/>
                    </a:lnTo>
                    <a:lnTo>
                      <a:pt x="462" y="751"/>
                    </a:lnTo>
                    <a:lnTo>
                      <a:pt x="460" y="749"/>
                    </a:lnTo>
                    <a:lnTo>
                      <a:pt x="460" y="749"/>
                    </a:lnTo>
                    <a:lnTo>
                      <a:pt x="454" y="746"/>
                    </a:lnTo>
                    <a:lnTo>
                      <a:pt x="454" y="746"/>
                    </a:lnTo>
                    <a:lnTo>
                      <a:pt x="452" y="744"/>
                    </a:lnTo>
                    <a:lnTo>
                      <a:pt x="452" y="744"/>
                    </a:lnTo>
                    <a:lnTo>
                      <a:pt x="454" y="744"/>
                    </a:lnTo>
                    <a:lnTo>
                      <a:pt x="454" y="744"/>
                    </a:lnTo>
                    <a:lnTo>
                      <a:pt x="456" y="744"/>
                    </a:lnTo>
                    <a:lnTo>
                      <a:pt x="466" y="742"/>
                    </a:lnTo>
                    <a:lnTo>
                      <a:pt x="466" y="742"/>
                    </a:lnTo>
                    <a:lnTo>
                      <a:pt x="468" y="742"/>
                    </a:lnTo>
                    <a:lnTo>
                      <a:pt x="468" y="742"/>
                    </a:lnTo>
                    <a:lnTo>
                      <a:pt x="468" y="740"/>
                    </a:lnTo>
                    <a:lnTo>
                      <a:pt x="470" y="738"/>
                    </a:lnTo>
                    <a:lnTo>
                      <a:pt x="470" y="736"/>
                    </a:lnTo>
                    <a:lnTo>
                      <a:pt x="470" y="736"/>
                    </a:lnTo>
                    <a:lnTo>
                      <a:pt x="470" y="736"/>
                    </a:lnTo>
                    <a:lnTo>
                      <a:pt x="471" y="736"/>
                    </a:lnTo>
                    <a:lnTo>
                      <a:pt x="471" y="734"/>
                    </a:lnTo>
                    <a:lnTo>
                      <a:pt x="473" y="734"/>
                    </a:lnTo>
                    <a:lnTo>
                      <a:pt x="473" y="734"/>
                    </a:lnTo>
                    <a:lnTo>
                      <a:pt x="475" y="734"/>
                    </a:lnTo>
                    <a:lnTo>
                      <a:pt x="475" y="734"/>
                    </a:lnTo>
                    <a:lnTo>
                      <a:pt x="475" y="734"/>
                    </a:lnTo>
                    <a:lnTo>
                      <a:pt x="477" y="736"/>
                    </a:lnTo>
                    <a:lnTo>
                      <a:pt x="477" y="736"/>
                    </a:lnTo>
                    <a:lnTo>
                      <a:pt x="477" y="738"/>
                    </a:lnTo>
                    <a:lnTo>
                      <a:pt x="473" y="748"/>
                    </a:lnTo>
                    <a:lnTo>
                      <a:pt x="473" y="749"/>
                    </a:lnTo>
                    <a:lnTo>
                      <a:pt x="473" y="753"/>
                    </a:lnTo>
                    <a:lnTo>
                      <a:pt x="473" y="753"/>
                    </a:lnTo>
                    <a:lnTo>
                      <a:pt x="470" y="755"/>
                    </a:lnTo>
                    <a:lnTo>
                      <a:pt x="470" y="755"/>
                    </a:lnTo>
                    <a:lnTo>
                      <a:pt x="470" y="757"/>
                    </a:lnTo>
                    <a:lnTo>
                      <a:pt x="470" y="757"/>
                    </a:lnTo>
                    <a:lnTo>
                      <a:pt x="470" y="757"/>
                    </a:lnTo>
                    <a:lnTo>
                      <a:pt x="470" y="759"/>
                    </a:lnTo>
                    <a:lnTo>
                      <a:pt x="470" y="761"/>
                    </a:lnTo>
                    <a:lnTo>
                      <a:pt x="468" y="761"/>
                    </a:lnTo>
                    <a:lnTo>
                      <a:pt x="468" y="763"/>
                    </a:lnTo>
                    <a:lnTo>
                      <a:pt x="468" y="763"/>
                    </a:lnTo>
                    <a:lnTo>
                      <a:pt x="466" y="765"/>
                    </a:lnTo>
                    <a:lnTo>
                      <a:pt x="466" y="765"/>
                    </a:lnTo>
                    <a:lnTo>
                      <a:pt x="466" y="767"/>
                    </a:lnTo>
                    <a:lnTo>
                      <a:pt x="466" y="767"/>
                    </a:lnTo>
                    <a:lnTo>
                      <a:pt x="466" y="768"/>
                    </a:lnTo>
                    <a:lnTo>
                      <a:pt x="468" y="768"/>
                    </a:lnTo>
                    <a:lnTo>
                      <a:pt x="471" y="768"/>
                    </a:lnTo>
                    <a:lnTo>
                      <a:pt x="473" y="768"/>
                    </a:lnTo>
                    <a:lnTo>
                      <a:pt x="475" y="768"/>
                    </a:lnTo>
                    <a:lnTo>
                      <a:pt x="481" y="767"/>
                    </a:lnTo>
                    <a:lnTo>
                      <a:pt x="483" y="767"/>
                    </a:lnTo>
                    <a:lnTo>
                      <a:pt x="483" y="767"/>
                    </a:lnTo>
                    <a:lnTo>
                      <a:pt x="485" y="768"/>
                    </a:lnTo>
                    <a:lnTo>
                      <a:pt x="485" y="770"/>
                    </a:lnTo>
                    <a:lnTo>
                      <a:pt x="487" y="770"/>
                    </a:lnTo>
                    <a:lnTo>
                      <a:pt x="489" y="770"/>
                    </a:lnTo>
                    <a:lnTo>
                      <a:pt x="491" y="770"/>
                    </a:lnTo>
                    <a:lnTo>
                      <a:pt x="492" y="770"/>
                    </a:lnTo>
                    <a:lnTo>
                      <a:pt x="494" y="768"/>
                    </a:lnTo>
                    <a:lnTo>
                      <a:pt x="496" y="768"/>
                    </a:lnTo>
                    <a:lnTo>
                      <a:pt x="496" y="770"/>
                    </a:lnTo>
                    <a:lnTo>
                      <a:pt x="498" y="770"/>
                    </a:lnTo>
                    <a:lnTo>
                      <a:pt x="504" y="776"/>
                    </a:lnTo>
                    <a:lnTo>
                      <a:pt x="508" y="778"/>
                    </a:lnTo>
                    <a:lnTo>
                      <a:pt x="512" y="772"/>
                    </a:lnTo>
                    <a:lnTo>
                      <a:pt x="512" y="772"/>
                    </a:lnTo>
                    <a:lnTo>
                      <a:pt x="512" y="772"/>
                    </a:lnTo>
                    <a:lnTo>
                      <a:pt x="513" y="772"/>
                    </a:lnTo>
                    <a:lnTo>
                      <a:pt x="517" y="770"/>
                    </a:lnTo>
                    <a:lnTo>
                      <a:pt x="517" y="770"/>
                    </a:lnTo>
                    <a:lnTo>
                      <a:pt x="517" y="770"/>
                    </a:lnTo>
                    <a:lnTo>
                      <a:pt x="519" y="768"/>
                    </a:lnTo>
                    <a:lnTo>
                      <a:pt x="519" y="768"/>
                    </a:lnTo>
                    <a:lnTo>
                      <a:pt x="517" y="767"/>
                    </a:lnTo>
                    <a:lnTo>
                      <a:pt x="517" y="767"/>
                    </a:lnTo>
                    <a:lnTo>
                      <a:pt x="517" y="765"/>
                    </a:lnTo>
                    <a:lnTo>
                      <a:pt x="517" y="765"/>
                    </a:lnTo>
                    <a:lnTo>
                      <a:pt x="517" y="765"/>
                    </a:lnTo>
                    <a:lnTo>
                      <a:pt x="517" y="765"/>
                    </a:lnTo>
                    <a:lnTo>
                      <a:pt x="517" y="763"/>
                    </a:lnTo>
                    <a:lnTo>
                      <a:pt x="517" y="763"/>
                    </a:lnTo>
                    <a:lnTo>
                      <a:pt x="517" y="761"/>
                    </a:lnTo>
                    <a:lnTo>
                      <a:pt x="521" y="757"/>
                    </a:lnTo>
                    <a:lnTo>
                      <a:pt x="523" y="755"/>
                    </a:lnTo>
                    <a:lnTo>
                      <a:pt x="525" y="753"/>
                    </a:lnTo>
                    <a:lnTo>
                      <a:pt x="525" y="751"/>
                    </a:lnTo>
                    <a:lnTo>
                      <a:pt x="525" y="749"/>
                    </a:lnTo>
                    <a:lnTo>
                      <a:pt x="525" y="749"/>
                    </a:lnTo>
                    <a:lnTo>
                      <a:pt x="525" y="748"/>
                    </a:lnTo>
                    <a:lnTo>
                      <a:pt x="525" y="744"/>
                    </a:lnTo>
                    <a:lnTo>
                      <a:pt x="525" y="742"/>
                    </a:lnTo>
                    <a:lnTo>
                      <a:pt x="525" y="742"/>
                    </a:lnTo>
                    <a:lnTo>
                      <a:pt x="527" y="742"/>
                    </a:lnTo>
                    <a:lnTo>
                      <a:pt x="529" y="742"/>
                    </a:lnTo>
                    <a:lnTo>
                      <a:pt x="531" y="742"/>
                    </a:lnTo>
                    <a:lnTo>
                      <a:pt x="532" y="742"/>
                    </a:lnTo>
                    <a:lnTo>
                      <a:pt x="534" y="742"/>
                    </a:lnTo>
                    <a:lnTo>
                      <a:pt x="536" y="742"/>
                    </a:lnTo>
                    <a:lnTo>
                      <a:pt x="538" y="742"/>
                    </a:lnTo>
                    <a:lnTo>
                      <a:pt x="540" y="744"/>
                    </a:lnTo>
                    <a:lnTo>
                      <a:pt x="542" y="744"/>
                    </a:lnTo>
                    <a:lnTo>
                      <a:pt x="542" y="744"/>
                    </a:lnTo>
                    <a:lnTo>
                      <a:pt x="542" y="744"/>
                    </a:lnTo>
                    <a:lnTo>
                      <a:pt x="542" y="746"/>
                    </a:lnTo>
                    <a:lnTo>
                      <a:pt x="540" y="748"/>
                    </a:lnTo>
                    <a:lnTo>
                      <a:pt x="540" y="748"/>
                    </a:lnTo>
                    <a:lnTo>
                      <a:pt x="540" y="749"/>
                    </a:lnTo>
                    <a:lnTo>
                      <a:pt x="542" y="749"/>
                    </a:lnTo>
                    <a:lnTo>
                      <a:pt x="542" y="749"/>
                    </a:lnTo>
                    <a:lnTo>
                      <a:pt x="544" y="749"/>
                    </a:lnTo>
                    <a:lnTo>
                      <a:pt x="548" y="749"/>
                    </a:lnTo>
                    <a:lnTo>
                      <a:pt x="552" y="749"/>
                    </a:lnTo>
                    <a:lnTo>
                      <a:pt x="552" y="749"/>
                    </a:lnTo>
                    <a:lnTo>
                      <a:pt x="553" y="748"/>
                    </a:lnTo>
                    <a:lnTo>
                      <a:pt x="553" y="748"/>
                    </a:lnTo>
                    <a:lnTo>
                      <a:pt x="553" y="746"/>
                    </a:lnTo>
                    <a:lnTo>
                      <a:pt x="553" y="746"/>
                    </a:lnTo>
                    <a:lnTo>
                      <a:pt x="550" y="744"/>
                    </a:lnTo>
                    <a:lnTo>
                      <a:pt x="550" y="742"/>
                    </a:lnTo>
                    <a:lnTo>
                      <a:pt x="548" y="742"/>
                    </a:lnTo>
                    <a:lnTo>
                      <a:pt x="552" y="740"/>
                    </a:lnTo>
                    <a:lnTo>
                      <a:pt x="563" y="736"/>
                    </a:lnTo>
                    <a:lnTo>
                      <a:pt x="565" y="742"/>
                    </a:lnTo>
                    <a:lnTo>
                      <a:pt x="565" y="746"/>
                    </a:lnTo>
                    <a:lnTo>
                      <a:pt x="567" y="746"/>
                    </a:lnTo>
                    <a:lnTo>
                      <a:pt x="567" y="748"/>
                    </a:lnTo>
                    <a:lnTo>
                      <a:pt x="569" y="749"/>
                    </a:lnTo>
                    <a:lnTo>
                      <a:pt x="569" y="749"/>
                    </a:lnTo>
                    <a:lnTo>
                      <a:pt x="567" y="749"/>
                    </a:lnTo>
                    <a:lnTo>
                      <a:pt x="567" y="749"/>
                    </a:lnTo>
                    <a:lnTo>
                      <a:pt x="567" y="751"/>
                    </a:lnTo>
                    <a:lnTo>
                      <a:pt x="567" y="751"/>
                    </a:lnTo>
                    <a:lnTo>
                      <a:pt x="567" y="753"/>
                    </a:lnTo>
                    <a:lnTo>
                      <a:pt x="569" y="753"/>
                    </a:lnTo>
                    <a:lnTo>
                      <a:pt x="571" y="753"/>
                    </a:lnTo>
                    <a:lnTo>
                      <a:pt x="573" y="755"/>
                    </a:lnTo>
                    <a:lnTo>
                      <a:pt x="578" y="755"/>
                    </a:lnTo>
                    <a:lnTo>
                      <a:pt x="584" y="755"/>
                    </a:lnTo>
                    <a:lnTo>
                      <a:pt x="584" y="757"/>
                    </a:lnTo>
                    <a:lnTo>
                      <a:pt x="586" y="757"/>
                    </a:lnTo>
                    <a:lnTo>
                      <a:pt x="586" y="759"/>
                    </a:lnTo>
                    <a:lnTo>
                      <a:pt x="586" y="761"/>
                    </a:lnTo>
                    <a:lnTo>
                      <a:pt x="588" y="761"/>
                    </a:lnTo>
                    <a:lnTo>
                      <a:pt x="590" y="763"/>
                    </a:lnTo>
                    <a:lnTo>
                      <a:pt x="592" y="761"/>
                    </a:lnTo>
                    <a:lnTo>
                      <a:pt x="594" y="761"/>
                    </a:lnTo>
                    <a:lnTo>
                      <a:pt x="595" y="761"/>
                    </a:lnTo>
                    <a:lnTo>
                      <a:pt x="595" y="759"/>
                    </a:lnTo>
                    <a:lnTo>
                      <a:pt x="597" y="759"/>
                    </a:lnTo>
                    <a:lnTo>
                      <a:pt x="597" y="759"/>
                    </a:lnTo>
                    <a:lnTo>
                      <a:pt x="599" y="761"/>
                    </a:lnTo>
                    <a:lnTo>
                      <a:pt x="601" y="761"/>
                    </a:lnTo>
                    <a:lnTo>
                      <a:pt x="603" y="763"/>
                    </a:lnTo>
                    <a:lnTo>
                      <a:pt x="603" y="765"/>
                    </a:lnTo>
                    <a:lnTo>
                      <a:pt x="603" y="765"/>
                    </a:lnTo>
                    <a:lnTo>
                      <a:pt x="603" y="765"/>
                    </a:lnTo>
                    <a:lnTo>
                      <a:pt x="605" y="767"/>
                    </a:lnTo>
                    <a:lnTo>
                      <a:pt x="605" y="768"/>
                    </a:lnTo>
                    <a:lnTo>
                      <a:pt x="605" y="770"/>
                    </a:lnTo>
                    <a:lnTo>
                      <a:pt x="605" y="770"/>
                    </a:lnTo>
                    <a:lnTo>
                      <a:pt x="603" y="772"/>
                    </a:lnTo>
                    <a:lnTo>
                      <a:pt x="603" y="772"/>
                    </a:lnTo>
                    <a:lnTo>
                      <a:pt x="605" y="774"/>
                    </a:lnTo>
                    <a:lnTo>
                      <a:pt x="605" y="774"/>
                    </a:lnTo>
                    <a:lnTo>
                      <a:pt x="605" y="776"/>
                    </a:lnTo>
                    <a:lnTo>
                      <a:pt x="614" y="782"/>
                    </a:lnTo>
                    <a:lnTo>
                      <a:pt x="616" y="784"/>
                    </a:lnTo>
                    <a:lnTo>
                      <a:pt x="618" y="784"/>
                    </a:lnTo>
                    <a:lnTo>
                      <a:pt x="620" y="784"/>
                    </a:lnTo>
                    <a:lnTo>
                      <a:pt x="624" y="784"/>
                    </a:lnTo>
                    <a:lnTo>
                      <a:pt x="624" y="784"/>
                    </a:lnTo>
                    <a:lnTo>
                      <a:pt x="628" y="786"/>
                    </a:lnTo>
                    <a:lnTo>
                      <a:pt x="634" y="791"/>
                    </a:lnTo>
                    <a:lnTo>
                      <a:pt x="635" y="791"/>
                    </a:lnTo>
                    <a:lnTo>
                      <a:pt x="635" y="791"/>
                    </a:lnTo>
                    <a:lnTo>
                      <a:pt x="637" y="791"/>
                    </a:lnTo>
                    <a:lnTo>
                      <a:pt x="637" y="791"/>
                    </a:lnTo>
                    <a:lnTo>
                      <a:pt x="639" y="791"/>
                    </a:lnTo>
                    <a:lnTo>
                      <a:pt x="639" y="789"/>
                    </a:lnTo>
                    <a:lnTo>
                      <a:pt x="645" y="786"/>
                    </a:lnTo>
                    <a:lnTo>
                      <a:pt x="645" y="786"/>
                    </a:lnTo>
                    <a:lnTo>
                      <a:pt x="647" y="786"/>
                    </a:lnTo>
                    <a:lnTo>
                      <a:pt x="647" y="786"/>
                    </a:lnTo>
                    <a:lnTo>
                      <a:pt x="647" y="787"/>
                    </a:lnTo>
                    <a:lnTo>
                      <a:pt x="647" y="789"/>
                    </a:lnTo>
                    <a:lnTo>
                      <a:pt x="647" y="791"/>
                    </a:lnTo>
                    <a:lnTo>
                      <a:pt x="647" y="793"/>
                    </a:lnTo>
                    <a:lnTo>
                      <a:pt x="647" y="795"/>
                    </a:lnTo>
                    <a:lnTo>
                      <a:pt x="647" y="795"/>
                    </a:lnTo>
                    <a:lnTo>
                      <a:pt x="647" y="797"/>
                    </a:lnTo>
                    <a:lnTo>
                      <a:pt x="647" y="797"/>
                    </a:lnTo>
                    <a:lnTo>
                      <a:pt x="649" y="799"/>
                    </a:lnTo>
                    <a:lnTo>
                      <a:pt x="649" y="799"/>
                    </a:lnTo>
                    <a:lnTo>
                      <a:pt x="651" y="797"/>
                    </a:lnTo>
                    <a:lnTo>
                      <a:pt x="651" y="797"/>
                    </a:lnTo>
                    <a:lnTo>
                      <a:pt x="651" y="797"/>
                    </a:lnTo>
                    <a:lnTo>
                      <a:pt x="653" y="795"/>
                    </a:lnTo>
                    <a:lnTo>
                      <a:pt x="653" y="793"/>
                    </a:lnTo>
                    <a:lnTo>
                      <a:pt x="653" y="793"/>
                    </a:lnTo>
                    <a:lnTo>
                      <a:pt x="653" y="793"/>
                    </a:lnTo>
                    <a:lnTo>
                      <a:pt x="655" y="795"/>
                    </a:lnTo>
                    <a:lnTo>
                      <a:pt x="655" y="797"/>
                    </a:lnTo>
                    <a:lnTo>
                      <a:pt x="655" y="803"/>
                    </a:lnTo>
                    <a:lnTo>
                      <a:pt x="655" y="805"/>
                    </a:lnTo>
                    <a:lnTo>
                      <a:pt x="655" y="805"/>
                    </a:lnTo>
                    <a:lnTo>
                      <a:pt x="655" y="805"/>
                    </a:lnTo>
                    <a:lnTo>
                      <a:pt x="656" y="805"/>
                    </a:lnTo>
                    <a:lnTo>
                      <a:pt x="656" y="805"/>
                    </a:lnTo>
                    <a:lnTo>
                      <a:pt x="656" y="805"/>
                    </a:lnTo>
                    <a:lnTo>
                      <a:pt x="658" y="805"/>
                    </a:lnTo>
                    <a:lnTo>
                      <a:pt x="658" y="805"/>
                    </a:lnTo>
                    <a:lnTo>
                      <a:pt x="660" y="805"/>
                    </a:lnTo>
                    <a:lnTo>
                      <a:pt x="660" y="806"/>
                    </a:lnTo>
                    <a:lnTo>
                      <a:pt x="660" y="806"/>
                    </a:lnTo>
                    <a:lnTo>
                      <a:pt x="662" y="808"/>
                    </a:lnTo>
                    <a:lnTo>
                      <a:pt x="658" y="814"/>
                    </a:lnTo>
                    <a:lnTo>
                      <a:pt x="658" y="814"/>
                    </a:lnTo>
                    <a:lnTo>
                      <a:pt x="658" y="816"/>
                    </a:lnTo>
                    <a:lnTo>
                      <a:pt x="666" y="814"/>
                    </a:lnTo>
                    <a:lnTo>
                      <a:pt x="670" y="816"/>
                    </a:lnTo>
                    <a:lnTo>
                      <a:pt x="672" y="814"/>
                    </a:lnTo>
                    <a:lnTo>
                      <a:pt x="674" y="814"/>
                    </a:lnTo>
                    <a:lnTo>
                      <a:pt x="674" y="812"/>
                    </a:lnTo>
                    <a:lnTo>
                      <a:pt x="674" y="810"/>
                    </a:lnTo>
                    <a:lnTo>
                      <a:pt x="674" y="808"/>
                    </a:lnTo>
                    <a:lnTo>
                      <a:pt x="674" y="806"/>
                    </a:lnTo>
                    <a:lnTo>
                      <a:pt x="674" y="806"/>
                    </a:lnTo>
                    <a:lnTo>
                      <a:pt x="674" y="805"/>
                    </a:lnTo>
                    <a:lnTo>
                      <a:pt x="674" y="803"/>
                    </a:lnTo>
                    <a:lnTo>
                      <a:pt x="676" y="803"/>
                    </a:lnTo>
                    <a:lnTo>
                      <a:pt x="677" y="803"/>
                    </a:lnTo>
                    <a:lnTo>
                      <a:pt x="689" y="806"/>
                    </a:lnTo>
                    <a:lnTo>
                      <a:pt x="695" y="808"/>
                    </a:lnTo>
                    <a:lnTo>
                      <a:pt x="696" y="808"/>
                    </a:lnTo>
                    <a:lnTo>
                      <a:pt x="698" y="806"/>
                    </a:lnTo>
                    <a:lnTo>
                      <a:pt x="708" y="803"/>
                    </a:lnTo>
                    <a:lnTo>
                      <a:pt x="708" y="803"/>
                    </a:lnTo>
                    <a:lnTo>
                      <a:pt x="710" y="803"/>
                    </a:lnTo>
                    <a:lnTo>
                      <a:pt x="710" y="803"/>
                    </a:lnTo>
                    <a:lnTo>
                      <a:pt x="710" y="805"/>
                    </a:lnTo>
                    <a:lnTo>
                      <a:pt x="710" y="808"/>
                    </a:lnTo>
                    <a:lnTo>
                      <a:pt x="710" y="808"/>
                    </a:lnTo>
                    <a:lnTo>
                      <a:pt x="712" y="810"/>
                    </a:lnTo>
                    <a:lnTo>
                      <a:pt x="712" y="810"/>
                    </a:lnTo>
                    <a:lnTo>
                      <a:pt x="716" y="810"/>
                    </a:lnTo>
                    <a:lnTo>
                      <a:pt x="717" y="810"/>
                    </a:lnTo>
                    <a:lnTo>
                      <a:pt x="717" y="812"/>
                    </a:lnTo>
                    <a:lnTo>
                      <a:pt x="719" y="812"/>
                    </a:lnTo>
                    <a:lnTo>
                      <a:pt x="719" y="816"/>
                    </a:lnTo>
                    <a:lnTo>
                      <a:pt x="719" y="818"/>
                    </a:lnTo>
                    <a:lnTo>
                      <a:pt x="721" y="818"/>
                    </a:lnTo>
                    <a:lnTo>
                      <a:pt x="723" y="820"/>
                    </a:lnTo>
                    <a:lnTo>
                      <a:pt x="723" y="822"/>
                    </a:lnTo>
                    <a:lnTo>
                      <a:pt x="723" y="822"/>
                    </a:lnTo>
                    <a:lnTo>
                      <a:pt x="721" y="824"/>
                    </a:lnTo>
                    <a:lnTo>
                      <a:pt x="721" y="826"/>
                    </a:lnTo>
                    <a:lnTo>
                      <a:pt x="719" y="826"/>
                    </a:lnTo>
                    <a:lnTo>
                      <a:pt x="716" y="824"/>
                    </a:lnTo>
                    <a:lnTo>
                      <a:pt x="716" y="824"/>
                    </a:lnTo>
                    <a:lnTo>
                      <a:pt x="714" y="824"/>
                    </a:lnTo>
                    <a:lnTo>
                      <a:pt x="714" y="826"/>
                    </a:lnTo>
                    <a:lnTo>
                      <a:pt x="712" y="826"/>
                    </a:lnTo>
                    <a:lnTo>
                      <a:pt x="712" y="827"/>
                    </a:lnTo>
                    <a:lnTo>
                      <a:pt x="714" y="829"/>
                    </a:lnTo>
                    <a:lnTo>
                      <a:pt x="714" y="833"/>
                    </a:lnTo>
                    <a:lnTo>
                      <a:pt x="714" y="835"/>
                    </a:lnTo>
                    <a:lnTo>
                      <a:pt x="712" y="843"/>
                    </a:lnTo>
                    <a:lnTo>
                      <a:pt x="712" y="843"/>
                    </a:lnTo>
                    <a:lnTo>
                      <a:pt x="712" y="845"/>
                    </a:lnTo>
                    <a:lnTo>
                      <a:pt x="714" y="845"/>
                    </a:lnTo>
                    <a:lnTo>
                      <a:pt x="716" y="846"/>
                    </a:lnTo>
                    <a:lnTo>
                      <a:pt x="716" y="848"/>
                    </a:lnTo>
                    <a:lnTo>
                      <a:pt x="717" y="848"/>
                    </a:lnTo>
                    <a:lnTo>
                      <a:pt x="716" y="856"/>
                    </a:lnTo>
                    <a:lnTo>
                      <a:pt x="716" y="858"/>
                    </a:lnTo>
                    <a:lnTo>
                      <a:pt x="716" y="860"/>
                    </a:lnTo>
                    <a:lnTo>
                      <a:pt x="714" y="864"/>
                    </a:lnTo>
                    <a:lnTo>
                      <a:pt x="712" y="873"/>
                    </a:lnTo>
                    <a:lnTo>
                      <a:pt x="712" y="875"/>
                    </a:lnTo>
                    <a:lnTo>
                      <a:pt x="710" y="875"/>
                    </a:lnTo>
                    <a:lnTo>
                      <a:pt x="706" y="875"/>
                    </a:lnTo>
                    <a:lnTo>
                      <a:pt x="706" y="877"/>
                    </a:lnTo>
                    <a:lnTo>
                      <a:pt x="706" y="877"/>
                    </a:lnTo>
                    <a:lnTo>
                      <a:pt x="704" y="877"/>
                    </a:lnTo>
                    <a:lnTo>
                      <a:pt x="706" y="879"/>
                    </a:lnTo>
                    <a:lnTo>
                      <a:pt x="706" y="881"/>
                    </a:lnTo>
                    <a:lnTo>
                      <a:pt x="708" y="883"/>
                    </a:lnTo>
                    <a:lnTo>
                      <a:pt x="710" y="884"/>
                    </a:lnTo>
                    <a:lnTo>
                      <a:pt x="712" y="886"/>
                    </a:lnTo>
                    <a:lnTo>
                      <a:pt x="714" y="886"/>
                    </a:lnTo>
                    <a:lnTo>
                      <a:pt x="714" y="888"/>
                    </a:lnTo>
                    <a:lnTo>
                      <a:pt x="714" y="890"/>
                    </a:lnTo>
                    <a:lnTo>
                      <a:pt x="714" y="890"/>
                    </a:lnTo>
                    <a:lnTo>
                      <a:pt x="712" y="892"/>
                    </a:lnTo>
                    <a:lnTo>
                      <a:pt x="712" y="894"/>
                    </a:lnTo>
                    <a:lnTo>
                      <a:pt x="714" y="894"/>
                    </a:lnTo>
                    <a:lnTo>
                      <a:pt x="714" y="894"/>
                    </a:lnTo>
                    <a:lnTo>
                      <a:pt x="717" y="896"/>
                    </a:lnTo>
                    <a:lnTo>
                      <a:pt x="721" y="902"/>
                    </a:lnTo>
                    <a:lnTo>
                      <a:pt x="725" y="904"/>
                    </a:lnTo>
                    <a:lnTo>
                      <a:pt x="733" y="909"/>
                    </a:lnTo>
                    <a:lnTo>
                      <a:pt x="735" y="911"/>
                    </a:lnTo>
                    <a:lnTo>
                      <a:pt x="738" y="913"/>
                    </a:lnTo>
                    <a:lnTo>
                      <a:pt x="742" y="913"/>
                    </a:lnTo>
                    <a:lnTo>
                      <a:pt x="742" y="913"/>
                    </a:lnTo>
                    <a:lnTo>
                      <a:pt x="746" y="913"/>
                    </a:lnTo>
                    <a:lnTo>
                      <a:pt x="752" y="913"/>
                    </a:lnTo>
                    <a:lnTo>
                      <a:pt x="758" y="915"/>
                    </a:lnTo>
                    <a:lnTo>
                      <a:pt x="759" y="915"/>
                    </a:lnTo>
                    <a:lnTo>
                      <a:pt x="761" y="913"/>
                    </a:lnTo>
                    <a:lnTo>
                      <a:pt x="765" y="911"/>
                    </a:lnTo>
                    <a:lnTo>
                      <a:pt x="765" y="911"/>
                    </a:lnTo>
                    <a:lnTo>
                      <a:pt x="769" y="911"/>
                    </a:lnTo>
                    <a:lnTo>
                      <a:pt x="773" y="909"/>
                    </a:lnTo>
                    <a:lnTo>
                      <a:pt x="773" y="909"/>
                    </a:lnTo>
                    <a:lnTo>
                      <a:pt x="775" y="909"/>
                    </a:lnTo>
                    <a:lnTo>
                      <a:pt x="775" y="907"/>
                    </a:lnTo>
                    <a:lnTo>
                      <a:pt x="777" y="904"/>
                    </a:lnTo>
                    <a:lnTo>
                      <a:pt x="778" y="902"/>
                    </a:lnTo>
                    <a:lnTo>
                      <a:pt x="778" y="902"/>
                    </a:lnTo>
                    <a:lnTo>
                      <a:pt x="778" y="898"/>
                    </a:lnTo>
                    <a:lnTo>
                      <a:pt x="778" y="896"/>
                    </a:lnTo>
                    <a:lnTo>
                      <a:pt x="780" y="894"/>
                    </a:lnTo>
                    <a:lnTo>
                      <a:pt x="784" y="892"/>
                    </a:lnTo>
                    <a:lnTo>
                      <a:pt x="784" y="890"/>
                    </a:lnTo>
                    <a:lnTo>
                      <a:pt x="786" y="890"/>
                    </a:lnTo>
                    <a:lnTo>
                      <a:pt x="786" y="884"/>
                    </a:lnTo>
                    <a:lnTo>
                      <a:pt x="788" y="883"/>
                    </a:lnTo>
                    <a:lnTo>
                      <a:pt x="792" y="875"/>
                    </a:lnTo>
                    <a:lnTo>
                      <a:pt x="792" y="873"/>
                    </a:lnTo>
                    <a:lnTo>
                      <a:pt x="794" y="871"/>
                    </a:lnTo>
                    <a:lnTo>
                      <a:pt x="798" y="865"/>
                    </a:lnTo>
                    <a:lnTo>
                      <a:pt x="798" y="865"/>
                    </a:lnTo>
                    <a:lnTo>
                      <a:pt x="798" y="864"/>
                    </a:lnTo>
                    <a:lnTo>
                      <a:pt x="798" y="862"/>
                    </a:lnTo>
                    <a:lnTo>
                      <a:pt x="798" y="862"/>
                    </a:lnTo>
                    <a:lnTo>
                      <a:pt x="798" y="860"/>
                    </a:lnTo>
                    <a:lnTo>
                      <a:pt x="799" y="860"/>
                    </a:lnTo>
                    <a:lnTo>
                      <a:pt x="801" y="854"/>
                    </a:lnTo>
                    <a:lnTo>
                      <a:pt x="803" y="854"/>
                    </a:lnTo>
                    <a:lnTo>
                      <a:pt x="803" y="852"/>
                    </a:lnTo>
                    <a:lnTo>
                      <a:pt x="803" y="852"/>
                    </a:lnTo>
                    <a:lnTo>
                      <a:pt x="801" y="850"/>
                    </a:lnTo>
                    <a:lnTo>
                      <a:pt x="801" y="848"/>
                    </a:lnTo>
                    <a:lnTo>
                      <a:pt x="799" y="845"/>
                    </a:lnTo>
                    <a:lnTo>
                      <a:pt x="798" y="845"/>
                    </a:lnTo>
                    <a:lnTo>
                      <a:pt x="798" y="843"/>
                    </a:lnTo>
                    <a:lnTo>
                      <a:pt x="796" y="839"/>
                    </a:lnTo>
                    <a:lnTo>
                      <a:pt x="796" y="839"/>
                    </a:lnTo>
                    <a:lnTo>
                      <a:pt x="796" y="837"/>
                    </a:lnTo>
                    <a:lnTo>
                      <a:pt x="796" y="837"/>
                    </a:lnTo>
                    <a:lnTo>
                      <a:pt x="796" y="835"/>
                    </a:lnTo>
                    <a:lnTo>
                      <a:pt x="796" y="835"/>
                    </a:lnTo>
                    <a:lnTo>
                      <a:pt x="796" y="833"/>
                    </a:lnTo>
                    <a:lnTo>
                      <a:pt x="798" y="833"/>
                    </a:lnTo>
                    <a:lnTo>
                      <a:pt x="799" y="831"/>
                    </a:lnTo>
                    <a:lnTo>
                      <a:pt x="801" y="831"/>
                    </a:lnTo>
                    <a:lnTo>
                      <a:pt x="811" y="829"/>
                    </a:lnTo>
                    <a:lnTo>
                      <a:pt x="813" y="826"/>
                    </a:lnTo>
                    <a:lnTo>
                      <a:pt x="811" y="822"/>
                    </a:lnTo>
                    <a:lnTo>
                      <a:pt x="811" y="818"/>
                    </a:lnTo>
                    <a:lnTo>
                      <a:pt x="813" y="816"/>
                    </a:lnTo>
                    <a:lnTo>
                      <a:pt x="811" y="814"/>
                    </a:lnTo>
                    <a:lnTo>
                      <a:pt x="811" y="812"/>
                    </a:lnTo>
                    <a:lnTo>
                      <a:pt x="811" y="810"/>
                    </a:lnTo>
                    <a:lnTo>
                      <a:pt x="811" y="810"/>
                    </a:lnTo>
                    <a:lnTo>
                      <a:pt x="813" y="805"/>
                    </a:lnTo>
                    <a:lnTo>
                      <a:pt x="813" y="805"/>
                    </a:lnTo>
                    <a:lnTo>
                      <a:pt x="813" y="803"/>
                    </a:lnTo>
                    <a:lnTo>
                      <a:pt x="811" y="799"/>
                    </a:lnTo>
                    <a:lnTo>
                      <a:pt x="811" y="799"/>
                    </a:lnTo>
                    <a:lnTo>
                      <a:pt x="809" y="797"/>
                    </a:lnTo>
                    <a:lnTo>
                      <a:pt x="805" y="797"/>
                    </a:lnTo>
                    <a:lnTo>
                      <a:pt x="803" y="795"/>
                    </a:lnTo>
                    <a:lnTo>
                      <a:pt x="801" y="795"/>
                    </a:lnTo>
                    <a:lnTo>
                      <a:pt x="799" y="793"/>
                    </a:lnTo>
                    <a:lnTo>
                      <a:pt x="799" y="791"/>
                    </a:lnTo>
                    <a:lnTo>
                      <a:pt x="798" y="787"/>
                    </a:lnTo>
                    <a:lnTo>
                      <a:pt x="796" y="787"/>
                    </a:lnTo>
                    <a:lnTo>
                      <a:pt x="796" y="787"/>
                    </a:lnTo>
                    <a:lnTo>
                      <a:pt x="794" y="786"/>
                    </a:lnTo>
                    <a:lnTo>
                      <a:pt x="792" y="784"/>
                    </a:lnTo>
                    <a:lnTo>
                      <a:pt x="790" y="782"/>
                    </a:lnTo>
                    <a:lnTo>
                      <a:pt x="790" y="780"/>
                    </a:lnTo>
                    <a:lnTo>
                      <a:pt x="790" y="778"/>
                    </a:lnTo>
                    <a:lnTo>
                      <a:pt x="792" y="778"/>
                    </a:lnTo>
                    <a:lnTo>
                      <a:pt x="792" y="776"/>
                    </a:lnTo>
                    <a:lnTo>
                      <a:pt x="792" y="774"/>
                    </a:lnTo>
                    <a:lnTo>
                      <a:pt x="792" y="768"/>
                    </a:lnTo>
                    <a:lnTo>
                      <a:pt x="792" y="765"/>
                    </a:lnTo>
                    <a:lnTo>
                      <a:pt x="792" y="765"/>
                    </a:lnTo>
                    <a:lnTo>
                      <a:pt x="792" y="763"/>
                    </a:lnTo>
                    <a:lnTo>
                      <a:pt x="788" y="759"/>
                    </a:lnTo>
                    <a:lnTo>
                      <a:pt x="786" y="757"/>
                    </a:lnTo>
                    <a:lnTo>
                      <a:pt x="786" y="755"/>
                    </a:lnTo>
                    <a:lnTo>
                      <a:pt x="786" y="753"/>
                    </a:lnTo>
                    <a:lnTo>
                      <a:pt x="786" y="751"/>
                    </a:lnTo>
                    <a:lnTo>
                      <a:pt x="788" y="744"/>
                    </a:lnTo>
                    <a:lnTo>
                      <a:pt x="788" y="740"/>
                    </a:lnTo>
                    <a:lnTo>
                      <a:pt x="788" y="740"/>
                    </a:lnTo>
                    <a:lnTo>
                      <a:pt x="788" y="738"/>
                    </a:lnTo>
                    <a:lnTo>
                      <a:pt x="790" y="738"/>
                    </a:lnTo>
                    <a:lnTo>
                      <a:pt x="790" y="736"/>
                    </a:lnTo>
                    <a:lnTo>
                      <a:pt x="792" y="734"/>
                    </a:lnTo>
                    <a:lnTo>
                      <a:pt x="794" y="732"/>
                    </a:lnTo>
                    <a:lnTo>
                      <a:pt x="798" y="730"/>
                    </a:lnTo>
                    <a:lnTo>
                      <a:pt x="805" y="727"/>
                    </a:lnTo>
                    <a:lnTo>
                      <a:pt x="807" y="725"/>
                    </a:lnTo>
                    <a:lnTo>
                      <a:pt x="811" y="723"/>
                    </a:lnTo>
                    <a:lnTo>
                      <a:pt x="813" y="721"/>
                    </a:lnTo>
                    <a:lnTo>
                      <a:pt x="830" y="711"/>
                    </a:lnTo>
                    <a:lnTo>
                      <a:pt x="843" y="704"/>
                    </a:lnTo>
                    <a:lnTo>
                      <a:pt x="847" y="700"/>
                    </a:lnTo>
                    <a:lnTo>
                      <a:pt x="847" y="698"/>
                    </a:lnTo>
                    <a:lnTo>
                      <a:pt x="847" y="698"/>
                    </a:lnTo>
                    <a:lnTo>
                      <a:pt x="849" y="696"/>
                    </a:lnTo>
                    <a:lnTo>
                      <a:pt x="853" y="694"/>
                    </a:lnTo>
                    <a:lnTo>
                      <a:pt x="857" y="692"/>
                    </a:lnTo>
                    <a:lnTo>
                      <a:pt x="859" y="690"/>
                    </a:lnTo>
                    <a:lnTo>
                      <a:pt x="860" y="690"/>
                    </a:lnTo>
                    <a:lnTo>
                      <a:pt x="860" y="689"/>
                    </a:lnTo>
                    <a:lnTo>
                      <a:pt x="870" y="683"/>
                    </a:lnTo>
                    <a:lnTo>
                      <a:pt x="872" y="681"/>
                    </a:lnTo>
                    <a:lnTo>
                      <a:pt x="880" y="671"/>
                    </a:lnTo>
                    <a:lnTo>
                      <a:pt x="889" y="662"/>
                    </a:lnTo>
                    <a:lnTo>
                      <a:pt x="895" y="662"/>
                    </a:lnTo>
                    <a:lnTo>
                      <a:pt x="899" y="664"/>
                    </a:lnTo>
                    <a:lnTo>
                      <a:pt x="899" y="664"/>
                    </a:lnTo>
                    <a:lnTo>
                      <a:pt x="899" y="666"/>
                    </a:lnTo>
                    <a:lnTo>
                      <a:pt x="899" y="668"/>
                    </a:lnTo>
                    <a:lnTo>
                      <a:pt x="899" y="668"/>
                    </a:lnTo>
                    <a:lnTo>
                      <a:pt x="899" y="669"/>
                    </a:lnTo>
                    <a:lnTo>
                      <a:pt x="899" y="669"/>
                    </a:lnTo>
                    <a:lnTo>
                      <a:pt x="899" y="671"/>
                    </a:lnTo>
                    <a:lnTo>
                      <a:pt x="899" y="671"/>
                    </a:lnTo>
                    <a:lnTo>
                      <a:pt x="899" y="673"/>
                    </a:lnTo>
                    <a:lnTo>
                      <a:pt x="899" y="673"/>
                    </a:lnTo>
                    <a:lnTo>
                      <a:pt x="901" y="673"/>
                    </a:lnTo>
                    <a:lnTo>
                      <a:pt x="901" y="673"/>
                    </a:lnTo>
                    <a:lnTo>
                      <a:pt x="901" y="675"/>
                    </a:lnTo>
                    <a:lnTo>
                      <a:pt x="902" y="675"/>
                    </a:lnTo>
                    <a:lnTo>
                      <a:pt x="902" y="675"/>
                    </a:lnTo>
                    <a:lnTo>
                      <a:pt x="904" y="675"/>
                    </a:lnTo>
                    <a:lnTo>
                      <a:pt x="906" y="675"/>
                    </a:lnTo>
                    <a:lnTo>
                      <a:pt x="908" y="675"/>
                    </a:lnTo>
                    <a:lnTo>
                      <a:pt x="910" y="675"/>
                    </a:lnTo>
                    <a:lnTo>
                      <a:pt x="912" y="673"/>
                    </a:lnTo>
                    <a:lnTo>
                      <a:pt x="912" y="673"/>
                    </a:lnTo>
                    <a:lnTo>
                      <a:pt x="912" y="673"/>
                    </a:lnTo>
                    <a:lnTo>
                      <a:pt x="912" y="671"/>
                    </a:lnTo>
                    <a:lnTo>
                      <a:pt x="912" y="671"/>
                    </a:lnTo>
                    <a:lnTo>
                      <a:pt x="912" y="669"/>
                    </a:lnTo>
                    <a:lnTo>
                      <a:pt x="912" y="669"/>
                    </a:lnTo>
                    <a:lnTo>
                      <a:pt x="912" y="669"/>
                    </a:lnTo>
                    <a:lnTo>
                      <a:pt x="910" y="666"/>
                    </a:lnTo>
                    <a:lnTo>
                      <a:pt x="910" y="662"/>
                    </a:lnTo>
                    <a:lnTo>
                      <a:pt x="912" y="660"/>
                    </a:lnTo>
                    <a:lnTo>
                      <a:pt x="914" y="660"/>
                    </a:lnTo>
                    <a:lnTo>
                      <a:pt x="916" y="660"/>
                    </a:lnTo>
                    <a:lnTo>
                      <a:pt x="918" y="658"/>
                    </a:lnTo>
                    <a:lnTo>
                      <a:pt x="920" y="660"/>
                    </a:lnTo>
                    <a:lnTo>
                      <a:pt x="923" y="664"/>
                    </a:lnTo>
                    <a:lnTo>
                      <a:pt x="927" y="666"/>
                    </a:lnTo>
                    <a:lnTo>
                      <a:pt x="929" y="666"/>
                    </a:lnTo>
                    <a:lnTo>
                      <a:pt x="931" y="668"/>
                    </a:lnTo>
                    <a:lnTo>
                      <a:pt x="933" y="668"/>
                    </a:lnTo>
                    <a:lnTo>
                      <a:pt x="935" y="668"/>
                    </a:lnTo>
                    <a:lnTo>
                      <a:pt x="937" y="668"/>
                    </a:lnTo>
                    <a:lnTo>
                      <a:pt x="939" y="668"/>
                    </a:lnTo>
                    <a:lnTo>
                      <a:pt x="939" y="668"/>
                    </a:lnTo>
                    <a:lnTo>
                      <a:pt x="944" y="662"/>
                    </a:lnTo>
                    <a:lnTo>
                      <a:pt x="946" y="662"/>
                    </a:lnTo>
                    <a:lnTo>
                      <a:pt x="946" y="662"/>
                    </a:lnTo>
                    <a:lnTo>
                      <a:pt x="946" y="660"/>
                    </a:lnTo>
                    <a:lnTo>
                      <a:pt x="948" y="658"/>
                    </a:lnTo>
                    <a:lnTo>
                      <a:pt x="948" y="656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6" name="Freeform 8">
                <a:extLst>
                  <a:ext uri="{FF2B5EF4-FFF2-40B4-BE49-F238E27FC236}">
                    <a16:creationId xmlns:a16="http://schemas.microsoft.com/office/drawing/2014/main" id="{A28D9DCC-1F6D-4115-8D6F-9A512A10C0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9432" y="4345461"/>
                <a:ext cx="239713" cy="347663"/>
              </a:xfrm>
              <a:custGeom>
                <a:avLst/>
                <a:gdLst>
                  <a:gd name="T0" fmla="*/ 151 w 151"/>
                  <a:gd name="T1" fmla="*/ 75 h 219"/>
                  <a:gd name="T2" fmla="*/ 149 w 151"/>
                  <a:gd name="T3" fmla="*/ 71 h 219"/>
                  <a:gd name="T4" fmla="*/ 149 w 151"/>
                  <a:gd name="T5" fmla="*/ 48 h 219"/>
                  <a:gd name="T6" fmla="*/ 147 w 151"/>
                  <a:gd name="T7" fmla="*/ 44 h 219"/>
                  <a:gd name="T8" fmla="*/ 141 w 151"/>
                  <a:gd name="T9" fmla="*/ 29 h 219"/>
                  <a:gd name="T10" fmla="*/ 139 w 151"/>
                  <a:gd name="T11" fmla="*/ 16 h 219"/>
                  <a:gd name="T12" fmla="*/ 138 w 151"/>
                  <a:gd name="T13" fmla="*/ 8 h 219"/>
                  <a:gd name="T14" fmla="*/ 124 w 151"/>
                  <a:gd name="T15" fmla="*/ 2 h 219"/>
                  <a:gd name="T16" fmla="*/ 120 w 151"/>
                  <a:gd name="T17" fmla="*/ 23 h 219"/>
                  <a:gd name="T18" fmla="*/ 105 w 151"/>
                  <a:gd name="T19" fmla="*/ 31 h 219"/>
                  <a:gd name="T20" fmla="*/ 96 w 151"/>
                  <a:gd name="T21" fmla="*/ 29 h 219"/>
                  <a:gd name="T22" fmla="*/ 94 w 151"/>
                  <a:gd name="T23" fmla="*/ 54 h 219"/>
                  <a:gd name="T24" fmla="*/ 84 w 151"/>
                  <a:gd name="T25" fmla="*/ 46 h 219"/>
                  <a:gd name="T26" fmla="*/ 75 w 151"/>
                  <a:gd name="T27" fmla="*/ 48 h 219"/>
                  <a:gd name="T28" fmla="*/ 69 w 151"/>
                  <a:gd name="T29" fmla="*/ 56 h 219"/>
                  <a:gd name="T30" fmla="*/ 61 w 151"/>
                  <a:gd name="T31" fmla="*/ 48 h 219"/>
                  <a:gd name="T32" fmla="*/ 54 w 151"/>
                  <a:gd name="T33" fmla="*/ 63 h 219"/>
                  <a:gd name="T34" fmla="*/ 27 w 151"/>
                  <a:gd name="T35" fmla="*/ 65 h 219"/>
                  <a:gd name="T36" fmla="*/ 23 w 151"/>
                  <a:gd name="T37" fmla="*/ 77 h 219"/>
                  <a:gd name="T38" fmla="*/ 16 w 151"/>
                  <a:gd name="T39" fmla="*/ 80 h 219"/>
                  <a:gd name="T40" fmla="*/ 12 w 151"/>
                  <a:gd name="T41" fmla="*/ 96 h 219"/>
                  <a:gd name="T42" fmla="*/ 4 w 151"/>
                  <a:gd name="T43" fmla="*/ 111 h 219"/>
                  <a:gd name="T44" fmla="*/ 4 w 151"/>
                  <a:gd name="T45" fmla="*/ 118 h 219"/>
                  <a:gd name="T46" fmla="*/ 0 w 151"/>
                  <a:gd name="T47" fmla="*/ 126 h 219"/>
                  <a:gd name="T48" fmla="*/ 8 w 151"/>
                  <a:gd name="T49" fmla="*/ 145 h 219"/>
                  <a:gd name="T50" fmla="*/ 14 w 151"/>
                  <a:gd name="T51" fmla="*/ 153 h 219"/>
                  <a:gd name="T52" fmla="*/ 19 w 151"/>
                  <a:gd name="T53" fmla="*/ 164 h 219"/>
                  <a:gd name="T54" fmla="*/ 17 w 151"/>
                  <a:gd name="T55" fmla="*/ 170 h 219"/>
                  <a:gd name="T56" fmla="*/ 31 w 151"/>
                  <a:gd name="T57" fmla="*/ 204 h 219"/>
                  <a:gd name="T58" fmla="*/ 31 w 151"/>
                  <a:gd name="T59" fmla="*/ 175 h 219"/>
                  <a:gd name="T60" fmla="*/ 38 w 151"/>
                  <a:gd name="T61" fmla="*/ 183 h 219"/>
                  <a:gd name="T62" fmla="*/ 40 w 151"/>
                  <a:gd name="T63" fmla="*/ 183 h 219"/>
                  <a:gd name="T64" fmla="*/ 42 w 151"/>
                  <a:gd name="T65" fmla="*/ 193 h 219"/>
                  <a:gd name="T66" fmla="*/ 48 w 151"/>
                  <a:gd name="T67" fmla="*/ 208 h 219"/>
                  <a:gd name="T68" fmla="*/ 54 w 151"/>
                  <a:gd name="T69" fmla="*/ 215 h 219"/>
                  <a:gd name="T70" fmla="*/ 59 w 151"/>
                  <a:gd name="T71" fmla="*/ 217 h 219"/>
                  <a:gd name="T72" fmla="*/ 63 w 151"/>
                  <a:gd name="T73" fmla="*/ 214 h 219"/>
                  <a:gd name="T74" fmla="*/ 71 w 151"/>
                  <a:gd name="T75" fmla="*/ 214 h 219"/>
                  <a:gd name="T76" fmla="*/ 78 w 151"/>
                  <a:gd name="T77" fmla="*/ 206 h 219"/>
                  <a:gd name="T78" fmla="*/ 80 w 151"/>
                  <a:gd name="T79" fmla="*/ 202 h 219"/>
                  <a:gd name="T80" fmla="*/ 82 w 151"/>
                  <a:gd name="T81" fmla="*/ 198 h 219"/>
                  <a:gd name="T82" fmla="*/ 78 w 151"/>
                  <a:gd name="T83" fmla="*/ 168 h 219"/>
                  <a:gd name="T84" fmla="*/ 98 w 151"/>
                  <a:gd name="T85" fmla="*/ 151 h 219"/>
                  <a:gd name="T86" fmla="*/ 98 w 151"/>
                  <a:gd name="T87" fmla="*/ 118 h 219"/>
                  <a:gd name="T88" fmla="*/ 103 w 151"/>
                  <a:gd name="T89" fmla="*/ 116 h 219"/>
                  <a:gd name="T90" fmla="*/ 120 w 151"/>
                  <a:gd name="T91" fmla="*/ 116 h 219"/>
                  <a:gd name="T92" fmla="*/ 134 w 151"/>
                  <a:gd name="T93" fmla="*/ 124 h 219"/>
                  <a:gd name="T94" fmla="*/ 141 w 151"/>
                  <a:gd name="T95" fmla="*/ 116 h 219"/>
                  <a:gd name="T96" fmla="*/ 143 w 151"/>
                  <a:gd name="T97" fmla="*/ 101 h 219"/>
                  <a:gd name="T98" fmla="*/ 143 w 151"/>
                  <a:gd name="T99" fmla="*/ 97 h 219"/>
                  <a:gd name="T100" fmla="*/ 147 w 151"/>
                  <a:gd name="T101" fmla="*/ 96 h 219"/>
                  <a:gd name="T102" fmla="*/ 149 w 151"/>
                  <a:gd name="T103" fmla="*/ 96 h 219"/>
                  <a:gd name="T104" fmla="*/ 149 w 151"/>
                  <a:gd name="T105" fmla="*/ 92 h 219"/>
                  <a:gd name="T106" fmla="*/ 149 w 151"/>
                  <a:gd name="T107" fmla="*/ 88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1" h="219">
                    <a:moveTo>
                      <a:pt x="149" y="82"/>
                    </a:moveTo>
                    <a:lnTo>
                      <a:pt x="149" y="82"/>
                    </a:lnTo>
                    <a:lnTo>
                      <a:pt x="151" y="78"/>
                    </a:lnTo>
                    <a:lnTo>
                      <a:pt x="151" y="77"/>
                    </a:lnTo>
                    <a:lnTo>
                      <a:pt x="151" y="75"/>
                    </a:lnTo>
                    <a:lnTo>
                      <a:pt x="151" y="75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9" y="71"/>
                    </a:lnTo>
                    <a:lnTo>
                      <a:pt x="149" y="71"/>
                    </a:lnTo>
                    <a:lnTo>
                      <a:pt x="149" y="67"/>
                    </a:lnTo>
                    <a:lnTo>
                      <a:pt x="151" y="61"/>
                    </a:lnTo>
                    <a:lnTo>
                      <a:pt x="151" y="61"/>
                    </a:lnTo>
                    <a:lnTo>
                      <a:pt x="149" y="50"/>
                    </a:lnTo>
                    <a:lnTo>
                      <a:pt x="149" y="48"/>
                    </a:lnTo>
                    <a:lnTo>
                      <a:pt x="149" y="48"/>
                    </a:lnTo>
                    <a:lnTo>
                      <a:pt x="149" y="46"/>
                    </a:lnTo>
                    <a:lnTo>
                      <a:pt x="149" y="46"/>
                    </a:lnTo>
                    <a:lnTo>
                      <a:pt x="147" y="46"/>
                    </a:lnTo>
                    <a:lnTo>
                      <a:pt x="147" y="44"/>
                    </a:lnTo>
                    <a:lnTo>
                      <a:pt x="147" y="42"/>
                    </a:lnTo>
                    <a:lnTo>
                      <a:pt x="138" y="40"/>
                    </a:lnTo>
                    <a:lnTo>
                      <a:pt x="138" y="40"/>
                    </a:lnTo>
                    <a:lnTo>
                      <a:pt x="138" y="38"/>
                    </a:lnTo>
                    <a:lnTo>
                      <a:pt x="141" y="29"/>
                    </a:lnTo>
                    <a:lnTo>
                      <a:pt x="141" y="27"/>
                    </a:lnTo>
                    <a:lnTo>
                      <a:pt x="141" y="25"/>
                    </a:lnTo>
                    <a:lnTo>
                      <a:pt x="141" y="21"/>
                    </a:lnTo>
                    <a:lnTo>
                      <a:pt x="141" y="21"/>
                    </a:lnTo>
                    <a:lnTo>
                      <a:pt x="139" y="16"/>
                    </a:lnTo>
                    <a:lnTo>
                      <a:pt x="139" y="16"/>
                    </a:lnTo>
                    <a:lnTo>
                      <a:pt x="138" y="14"/>
                    </a:lnTo>
                    <a:lnTo>
                      <a:pt x="138" y="10"/>
                    </a:lnTo>
                    <a:lnTo>
                      <a:pt x="138" y="8"/>
                    </a:lnTo>
                    <a:lnTo>
                      <a:pt x="138" y="8"/>
                    </a:lnTo>
                    <a:lnTo>
                      <a:pt x="138" y="6"/>
                    </a:lnTo>
                    <a:lnTo>
                      <a:pt x="128" y="0"/>
                    </a:lnTo>
                    <a:lnTo>
                      <a:pt x="128" y="0"/>
                    </a:lnTo>
                    <a:lnTo>
                      <a:pt x="126" y="2"/>
                    </a:lnTo>
                    <a:lnTo>
                      <a:pt x="124" y="2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2" y="16"/>
                    </a:lnTo>
                    <a:lnTo>
                      <a:pt x="122" y="19"/>
                    </a:lnTo>
                    <a:lnTo>
                      <a:pt x="120" y="23"/>
                    </a:lnTo>
                    <a:lnTo>
                      <a:pt x="117" y="25"/>
                    </a:lnTo>
                    <a:lnTo>
                      <a:pt x="113" y="25"/>
                    </a:lnTo>
                    <a:lnTo>
                      <a:pt x="103" y="23"/>
                    </a:lnTo>
                    <a:lnTo>
                      <a:pt x="103" y="25"/>
                    </a:lnTo>
                    <a:lnTo>
                      <a:pt x="105" y="31"/>
                    </a:lnTo>
                    <a:lnTo>
                      <a:pt x="105" y="31"/>
                    </a:lnTo>
                    <a:lnTo>
                      <a:pt x="103" y="31"/>
                    </a:lnTo>
                    <a:lnTo>
                      <a:pt x="99" y="29"/>
                    </a:lnTo>
                    <a:lnTo>
                      <a:pt x="99" y="27"/>
                    </a:lnTo>
                    <a:lnTo>
                      <a:pt x="96" y="29"/>
                    </a:lnTo>
                    <a:lnTo>
                      <a:pt x="96" y="31"/>
                    </a:lnTo>
                    <a:lnTo>
                      <a:pt x="98" y="37"/>
                    </a:lnTo>
                    <a:lnTo>
                      <a:pt x="98" y="38"/>
                    </a:lnTo>
                    <a:lnTo>
                      <a:pt x="94" y="52"/>
                    </a:lnTo>
                    <a:lnTo>
                      <a:pt x="94" y="54"/>
                    </a:lnTo>
                    <a:lnTo>
                      <a:pt x="92" y="54"/>
                    </a:lnTo>
                    <a:lnTo>
                      <a:pt x="90" y="54"/>
                    </a:lnTo>
                    <a:lnTo>
                      <a:pt x="86" y="50"/>
                    </a:lnTo>
                    <a:lnTo>
                      <a:pt x="86" y="48"/>
                    </a:lnTo>
                    <a:lnTo>
                      <a:pt x="84" y="46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75" y="42"/>
                    </a:lnTo>
                    <a:lnTo>
                      <a:pt x="75" y="44"/>
                    </a:lnTo>
                    <a:lnTo>
                      <a:pt x="75" y="48"/>
                    </a:lnTo>
                    <a:lnTo>
                      <a:pt x="75" y="50"/>
                    </a:lnTo>
                    <a:lnTo>
                      <a:pt x="75" y="52"/>
                    </a:lnTo>
                    <a:lnTo>
                      <a:pt x="75" y="56"/>
                    </a:lnTo>
                    <a:lnTo>
                      <a:pt x="73" y="56"/>
                    </a:lnTo>
                    <a:lnTo>
                      <a:pt x="69" y="56"/>
                    </a:lnTo>
                    <a:lnTo>
                      <a:pt x="67" y="54"/>
                    </a:lnTo>
                    <a:lnTo>
                      <a:pt x="65" y="52"/>
                    </a:lnTo>
                    <a:lnTo>
                      <a:pt x="63" y="46"/>
                    </a:lnTo>
                    <a:lnTo>
                      <a:pt x="63" y="46"/>
                    </a:lnTo>
                    <a:lnTo>
                      <a:pt x="61" y="48"/>
                    </a:lnTo>
                    <a:lnTo>
                      <a:pt x="61" y="56"/>
                    </a:lnTo>
                    <a:lnTo>
                      <a:pt x="59" y="59"/>
                    </a:lnTo>
                    <a:lnTo>
                      <a:pt x="57" y="61"/>
                    </a:lnTo>
                    <a:lnTo>
                      <a:pt x="57" y="61"/>
                    </a:lnTo>
                    <a:lnTo>
                      <a:pt x="54" y="63"/>
                    </a:lnTo>
                    <a:lnTo>
                      <a:pt x="48" y="63"/>
                    </a:lnTo>
                    <a:lnTo>
                      <a:pt x="44" y="63"/>
                    </a:lnTo>
                    <a:lnTo>
                      <a:pt x="35" y="61"/>
                    </a:lnTo>
                    <a:lnTo>
                      <a:pt x="29" y="61"/>
                    </a:lnTo>
                    <a:lnTo>
                      <a:pt x="27" y="65"/>
                    </a:lnTo>
                    <a:lnTo>
                      <a:pt x="27" y="71"/>
                    </a:lnTo>
                    <a:lnTo>
                      <a:pt x="27" y="77"/>
                    </a:lnTo>
                    <a:lnTo>
                      <a:pt x="25" y="77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1" y="77"/>
                    </a:lnTo>
                    <a:lnTo>
                      <a:pt x="19" y="77"/>
                    </a:lnTo>
                    <a:lnTo>
                      <a:pt x="17" y="77"/>
                    </a:lnTo>
                    <a:lnTo>
                      <a:pt x="16" y="78"/>
                    </a:lnTo>
                    <a:lnTo>
                      <a:pt x="16" y="80"/>
                    </a:lnTo>
                    <a:lnTo>
                      <a:pt x="10" y="88"/>
                    </a:lnTo>
                    <a:lnTo>
                      <a:pt x="10" y="90"/>
                    </a:lnTo>
                    <a:lnTo>
                      <a:pt x="10" y="92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9"/>
                    </a:lnTo>
                    <a:lnTo>
                      <a:pt x="10" y="107"/>
                    </a:lnTo>
                    <a:lnTo>
                      <a:pt x="8" y="109"/>
                    </a:lnTo>
                    <a:lnTo>
                      <a:pt x="6" y="111"/>
                    </a:lnTo>
                    <a:lnTo>
                      <a:pt x="4" y="111"/>
                    </a:lnTo>
                    <a:lnTo>
                      <a:pt x="2" y="111"/>
                    </a:lnTo>
                    <a:lnTo>
                      <a:pt x="0" y="113"/>
                    </a:lnTo>
                    <a:lnTo>
                      <a:pt x="0" y="116"/>
                    </a:lnTo>
                    <a:lnTo>
                      <a:pt x="2" y="118"/>
                    </a:lnTo>
                    <a:lnTo>
                      <a:pt x="4" y="118"/>
                    </a:lnTo>
                    <a:lnTo>
                      <a:pt x="6" y="120"/>
                    </a:lnTo>
                    <a:lnTo>
                      <a:pt x="4" y="122"/>
                    </a:lnTo>
                    <a:lnTo>
                      <a:pt x="2" y="122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0" y="128"/>
                    </a:lnTo>
                    <a:lnTo>
                      <a:pt x="4" y="136"/>
                    </a:lnTo>
                    <a:lnTo>
                      <a:pt x="6" y="137"/>
                    </a:lnTo>
                    <a:lnTo>
                      <a:pt x="6" y="141"/>
                    </a:lnTo>
                    <a:lnTo>
                      <a:pt x="8" y="145"/>
                    </a:lnTo>
                    <a:lnTo>
                      <a:pt x="10" y="145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9"/>
                    </a:lnTo>
                    <a:lnTo>
                      <a:pt x="14" y="153"/>
                    </a:lnTo>
                    <a:lnTo>
                      <a:pt x="16" y="158"/>
                    </a:lnTo>
                    <a:lnTo>
                      <a:pt x="16" y="160"/>
                    </a:lnTo>
                    <a:lnTo>
                      <a:pt x="17" y="162"/>
                    </a:lnTo>
                    <a:lnTo>
                      <a:pt x="19" y="162"/>
                    </a:lnTo>
                    <a:lnTo>
                      <a:pt x="19" y="164"/>
                    </a:lnTo>
                    <a:lnTo>
                      <a:pt x="19" y="164"/>
                    </a:lnTo>
                    <a:lnTo>
                      <a:pt x="17" y="166"/>
                    </a:lnTo>
                    <a:lnTo>
                      <a:pt x="17" y="166"/>
                    </a:lnTo>
                    <a:lnTo>
                      <a:pt x="17" y="168"/>
                    </a:lnTo>
                    <a:lnTo>
                      <a:pt x="17" y="170"/>
                    </a:lnTo>
                    <a:lnTo>
                      <a:pt x="17" y="170"/>
                    </a:lnTo>
                    <a:lnTo>
                      <a:pt x="21" y="193"/>
                    </a:lnTo>
                    <a:lnTo>
                      <a:pt x="23" y="198"/>
                    </a:lnTo>
                    <a:lnTo>
                      <a:pt x="25" y="202"/>
                    </a:lnTo>
                    <a:lnTo>
                      <a:pt x="31" y="204"/>
                    </a:lnTo>
                    <a:lnTo>
                      <a:pt x="31" y="198"/>
                    </a:lnTo>
                    <a:lnTo>
                      <a:pt x="29" y="187"/>
                    </a:lnTo>
                    <a:lnTo>
                      <a:pt x="29" y="181"/>
                    </a:lnTo>
                    <a:lnTo>
                      <a:pt x="29" y="177"/>
                    </a:lnTo>
                    <a:lnTo>
                      <a:pt x="31" y="175"/>
                    </a:lnTo>
                    <a:lnTo>
                      <a:pt x="33" y="175"/>
                    </a:lnTo>
                    <a:lnTo>
                      <a:pt x="35" y="177"/>
                    </a:lnTo>
                    <a:lnTo>
                      <a:pt x="37" y="181"/>
                    </a:lnTo>
                    <a:lnTo>
                      <a:pt x="38" y="183"/>
                    </a:lnTo>
                    <a:lnTo>
                      <a:pt x="38" y="183"/>
                    </a:lnTo>
                    <a:lnTo>
                      <a:pt x="38" y="181"/>
                    </a:lnTo>
                    <a:lnTo>
                      <a:pt x="38" y="181"/>
                    </a:lnTo>
                    <a:lnTo>
                      <a:pt x="40" y="183"/>
                    </a:lnTo>
                    <a:lnTo>
                      <a:pt x="40" y="183"/>
                    </a:lnTo>
                    <a:lnTo>
                      <a:pt x="40" y="183"/>
                    </a:lnTo>
                    <a:lnTo>
                      <a:pt x="40" y="185"/>
                    </a:lnTo>
                    <a:lnTo>
                      <a:pt x="42" y="187"/>
                    </a:lnTo>
                    <a:lnTo>
                      <a:pt x="42" y="187"/>
                    </a:lnTo>
                    <a:lnTo>
                      <a:pt x="42" y="191"/>
                    </a:lnTo>
                    <a:lnTo>
                      <a:pt x="42" y="193"/>
                    </a:lnTo>
                    <a:lnTo>
                      <a:pt x="46" y="202"/>
                    </a:lnTo>
                    <a:lnTo>
                      <a:pt x="46" y="206"/>
                    </a:lnTo>
                    <a:lnTo>
                      <a:pt x="48" y="206"/>
                    </a:lnTo>
                    <a:lnTo>
                      <a:pt x="48" y="206"/>
                    </a:lnTo>
                    <a:lnTo>
                      <a:pt x="48" y="208"/>
                    </a:lnTo>
                    <a:lnTo>
                      <a:pt x="48" y="212"/>
                    </a:lnTo>
                    <a:lnTo>
                      <a:pt x="50" y="212"/>
                    </a:lnTo>
                    <a:lnTo>
                      <a:pt x="52" y="214"/>
                    </a:lnTo>
                    <a:lnTo>
                      <a:pt x="52" y="215"/>
                    </a:lnTo>
                    <a:lnTo>
                      <a:pt x="54" y="215"/>
                    </a:lnTo>
                    <a:lnTo>
                      <a:pt x="56" y="215"/>
                    </a:lnTo>
                    <a:lnTo>
                      <a:pt x="57" y="217"/>
                    </a:lnTo>
                    <a:lnTo>
                      <a:pt x="57" y="219"/>
                    </a:lnTo>
                    <a:lnTo>
                      <a:pt x="57" y="219"/>
                    </a:lnTo>
                    <a:lnTo>
                      <a:pt x="59" y="217"/>
                    </a:lnTo>
                    <a:lnTo>
                      <a:pt x="59" y="217"/>
                    </a:lnTo>
                    <a:lnTo>
                      <a:pt x="59" y="215"/>
                    </a:lnTo>
                    <a:lnTo>
                      <a:pt x="61" y="215"/>
                    </a:lnTo>
                    <a:lnTo>
                      <a:pt x="61" y="214"/>
                    </a:lnTo>
                    <a:lnTo>
                      <a:pt x="63" y="214"/>
                    </a:lnTo>
                    <a:lnTo>
                      <a:pt x="63" y="215"/>
                    </a:lnTo>
                    <a:lnTo>
                      <a:pt x="65" y="215"/>
                    </a:lnTo>
                    <a:lnTo>
                      <a:pt x="65" y="215"/>
                    </a:lnTo>
                    <a:lnTo>
                      <a:pt x="67" y="214"/>
                    </a:lnTo>
                    <a:lnTo>
                      <a:pt x="71" y="214"/>
                    </a:lnTo>
                    <a:lnTo>
                      <a:pt x="73" y="212"/>
                    </a:lnTo>
                    <a:lnTo>
                      <a:pt x="73" y="212"/>
                    </a:lnTo>
                    <a:lnTo>
                      <a:pt x="75" y="210"/>
                    </a:lnTo>
                    <a:lnTo>
                      <a:pt x="77" y="208"/>
                    </a:lnTo>
                    <a:lnTo>
                      <a:pt x="78" y="206"/>
                    </a:lnTo>
                    <a:lnTo>
                      <a:pt x="78" y="204"/>
                    </a:lnTo>
                    <a:lnTo>
                      <a:pt x="78" y="204"/>
                    </a:lnTo>
                    <a:lnTo>
                      <a:pt x="78" y="204"/>
                    </a:lnTo>
                    <a:lnTo>
                      <a:pt x="78" y="202"/>
                    </a:lnTo>
                    <a:lnTo>
                      <a:pt x="80" y="202"/>
                    </a:lnTo>
                    <a:lnTo>
                      <a:pt x="80" y="202"/>
                    </a:lnTo>
                    <a:lnTo>
                      <a:pt x="80" y="202"/>
                    </a:lnTo>
                    <a:lnTo>
                      <a:pt x="82" y="200"/>
                    </a:lnTo>
                    <a:lnTo>
                      <a:pt x="84" y="200"/>
                    </a:lnTo>
                    <a:lnTo>
                      <a:pt x="82" y="198"/>
                    </a:lnTo>
                    <a:lnTo>
                      <a:pt x="80" y="194"/>
                    </a:lnTo>
                    <a:lnTo>
                      <a:pt x="78" y="185"/>
                    </a:lnTo>
                    <a:lnTo>
                      <a:pt x="78" y="179"/>
                    </a:lnTo>
                    <a:lnTo>
                      <a:pt x="77" y="175"/>
                    </a:lnTo>
                    <a:lnTo>
                      <a:pt x="78" y="168"/>
                    </a:lnTo>
                    <a:lnTo>
                      <a:pt x="82" y="162"/>
                    </a:lnTo>
                    <a:lnTo>
                      <a:pt x="86" y="156"/>
                    </a:lnTo>
                    <a:lnTo>
                      <a:pt x="88" y="155"/>
                    </a:lnTo>
                    <a:lnTo>
                      <a:pt x="96" y="153"/>
                    </a:lnTo>
                    <a:lnTo>
                      <a:pt x="98" y="151"/>
                    </a:lnTo>
                    <a:lnTo>
                      <a:pt x="99" y="149"/>
                    </a:lnTo>
                    <a:lnTo>
                      <a:pt x="101" y="145"/>
                    </a:lnTo>
                    <a:lnTo>
                      <a:pt x="101" y="139"/>
                    </a:lnTo>
                    <a:lnTo>
                      <a:pt x="98" y="122"/>
                    </a:lnTo>
                    <a:lnTo>
                      <a:pt x="98" y="118"/>
                    </a:lnTo>
                    <a:lnTo>
                      <a:pt x="99" y="115"/>
                    </a:lnTo>
                    <a:lnTo>
                      <a:pt x="99" y="113"/>
                    </a:lnTo>
                    <a:lnTo>
                      <a:pt x="101" y="113"/>
                    </a:lnTo>
                    <a:lnTo>
                      <a:pt x="103" y="115"/>
                    </a:lnTo>
                    <a:lnTo>
                      <a:pt x="103" y="116"/>
                    </a:lnTo>
                    <a:lnTo>
                      <a:pt x="109" y="124"/>
                    </a:lnTo>
                    <a:lnTo>
                      <a:pt x="111" y="124"/>
                    </a:lnTo>
                    <a:lnTo>
                      <a:pt x="115" y="124"/>
                    </a:lnTo>
                    <a:lnTo>
                      <a:pt x="117" y="122"/>
                    </a:lnTo>
                    <a:lnTo>
                      <a:pt x="120" y="116"/>
                    </a:lnTo>
                    <a:lnTo>
                      <a:pt x="122" y="115"/>
                    </a:lnTo>
                    <a:lnTo>
                      <a:pt x="128" y="113"/>
                    </a:lnTo>
                    <a:lnTo>
                      <a:pt x="130" y="116"/>
                    </a:lnTo>
                    <a:lnTo>
                      <a:pt x="132" y="120"/>
                    </a:lnTo>
                    <a:lnTo>
                      <a:pt x="134" y="124"/>
                    </a:lnTo>
                    <a:lnTo>
                      <a:pt x="136" y="122"/>
                    </a:lnTo>
                    <a:lnTo>
                      <a:pt x="138" y="115"/>
                    </a:lnTo>
                    <a:lnTo>
                      <a:pt x="139" y="115"/>
                    </a:lnTo>
                    <a:lnTo>
                      <a:pt x="141" y="115"/>
                    </a:lnTo>
                    <a:lnTo>
                      <a:pt x="141" y="116"/>
                    </a:lnTo>
                    <a:lnTo>
                      <a:pt x="143" y="113"/>
                    </a:lnTo>
                    <a:lnTo>
                      <a:pt x="141" y="105"/>
                    </a:lnTo>
                    <a:lnTo>
                      <a:pt x="143" y="103"/>
                    </a:lnTo>
                    <a:lnTo>
                      <a:pt x="143" y="101"/>
                    </a:lnTo>
                    <a:lnTo>
                      <a:pt x="143" y="101"/>
                    </a:lnTo>
                    <a:lnTo>
                      <a:pt x="143" y="101"/>
                    </a:lnTo>
                    <a:lnTo>
                      <a:pt x="143" y="99"/>
                    </a:lnTo>
                    <a:lnTo>
                      <a:pt x="143" y="99"/>
                    </a:lnTo>
                    <a:lnTo>
                      <a:pt x="143" y="97"/>
                    </a:lnTo>
                    <a:lnTo>
                      <a:pt x="143" y="97"/>
                    </a:lnTo>
                    <a:lnTo>
                      <a:pt x="145" y="96"/>
                    </a:lnTo>
                    <a:lnTo>
                      <a:pt x="145" y="96"/>
                    </a:lnTo>
                    <a:lnTo>
                      <a:pt x="145" y="96"/>
                    </a:lnTo>
                    <a:lnTo>
                      <a:pt x="145" y="96"/>
                    </a:lnTo>
                    <a:lnTo>
                      <a:pt x="147" y="96"/>
                    </a:lnTo>
                    <a:lnTo>
                      <a:pt x="147" y="96"/>
                    </a:lnTo>
                    <a:lnTo>
                      <a:pt x="147" y="96"/>
                    </a:lnTo>
                    <a:lnTo>
                      <a:pt x="147" y="96"/>
                    </a:lnTo>
                    <a:lnTo>
                      <a:pt x="147" y="96"/>
                    </a:lnTo>
                    <a:lnTo>
                      <a:pt x="149" y="96"/>
                    </a:lnTo>
                    <a:lnTo>
                      <a:pt x="149" y="96"/>
                    </a:lnTo>
                    <a:lnTo>
                      <a:pt x="149" y="96"/>
                    </a:lnTo>
                    <a:lnTo>
                      <a:pt x="149" y="96"/>
                    </a:lnTo>
                    <a:lnTo>
                      <a:pt x="149" y="94"/>
                    </a:lnTo>
                    <a:lnTo>
                      <a:pt x="149" y="92"/>
                    </a:lnTo>
                    <a:lnTo>
                      <a:pt x="149" y="92"/>
                    </a:lnTo>
                    <a:lnTo>
                      <a:pt x="149" y="90"/>
                    </a:lnTo>
                    <a:lnTo>
                      <a:pt x="149" y="90"/>
                    </a:lnTo>
                    <a:lnTo>
                      <a:pt x="149" y="88"/>
                    </a:lnTo>
                    <a:lnTo>
                      <a:pt x="149" y="88"/>
                    </a:lnTo>
                    <a:lnTo>
                      <a:pt x="149" y="88"/>
                    </a:lnTo>
                    <a:lnTo>
                      <a:pt x="149" y="84"/>
                    </a:lnTo>
                    <a:lnTo>
                      <a:pt x="149" y="82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7" name="Freeform 9">
                <a:extLst>
                  <a:ext uri="{FF2B5EF4-FFF2-40B4-BE49-F238E27FC236}">
                    <a16:creationId xmlns:a16="http://schemas.microsoft.com/office/drawing/2014/main" id="{C841B784-98B0-4297-AAAC-34C3EE0A77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594" y="5345586"/>
                <a:ext cx="904875" cy="849313"/>
              </a:xfrm>
              <a:custGeom>
                <a:avLst/>
                <a:gdLst>
                  <a:gd name="T0" fmla="*/ 536 w 570"/>
                  <a:gd name="T1" fmla="*/ 274 h 535"/>
                  <a:gd name="T2" fmla="*/ 487 w 570"/>
                  <a:gd name="T3" fmla="*/ 272 h 535"/>
                  <a:gd name="T4" fmla="*/ 466 w 570"/>
                  <a:gd name="T5" fmla="*/ 230 h 535"/>
                  <a:gd name="T6" fmla="*/ 446 w 570"/>
                  <a:gd name="T7" fmla="*/ 227 h 535"/>
                  <a:gd name="T8" fmla="*/ 433 w 570"/>
                  <a:gd name="T9" fmla="*/ 198 h 535"/>
                  <a:gd name="T10" fmla="*/ 391 w 570"/>
                  <a:gd name="T11" fmla="*/ 170 h 535"/>
                  <a:gd name="T12" fmla="*/ 355 w 570"/>
                  <a:gd name="T13" fmla="*/ 158 h 535"/>
                  <a:gd name="T14" fmla="*/ 334 w 570"/>
                  <a:gd name="T15" fmla="*/ 97 h 535"/>
                  <a:gd name="T16" fmla="*/ 340 w 570"/>
                  <a:gd name="T17" fmla="*/ 59 h 535"/>
                  <a:gd name="T18" fmla="*/ 311 w 570"/>
                  <a:gd name="T19" fmla="*/ 38 h 535"/>
                  <a:gd name="T20" fmla="*/ 288 w 570"/>
                  <a:gd name="T21" fmla="*/ 48 h 535"/>
                  <a:gd name="T22" fmla="*/ 244 w 570"/>
                  <a:gd name="T23" fmla="*/ 33 h 535"/>
                  <a:gd name="T24" fmla="*/ 210 w 570"/>
                  <a:gd name="T25" fmla="*/ 36 h 535"/>
                  <a:gd name="T26" fmla="*/ 180 w 570"/>
                  <a:gd name="T27" fmla="*/ 14 h 535"/>
                  <a:gd name="T28" fmla="*/ 145 w 570"/>
                  <a:gd name="T29" fmla="*/ 10 h 535"/>
                  <a:gd name="T30" fmla="*/ 143 w 570"/>
                  <a:gd name="T31" fmla="*/ 27 h 535"/>
                  <a:gd name="T32" fmla="*/ 118 w 570"/>
                  <a:gd name="T33" fmla="*/ 65 h 535"/>
                  <a:gd name="T34" fmla="*/ 98 w 570"/>
                  <a:gd name="T35" fmla="*/ 82 h 535"/>
                  <a:gd name="T36" fmla="*/ 80 w 570"/>
                  <a:gd name="T37" fmla="*/ 80 h 535"/>
                  <a:gd name="T38" fmla="*/ 63 w 570"/>
                  <a:gd name="T39" fmla="*/ 111 h 535"/>
                  <a:gd name="T40" fmla="*/ 71 w 570"/>
                  <a:gd name="T41" fmla="*/ 124 h 535"/>
                  <a:gd name="T42" fmla="*/ 73 w 570"/>
                  <a:gd name="T43" fmla="*/ 145 h 535"/>
                  <a:gd name="T44" fmla="*/ 52 w 570"/>
                  <a:gd name="T45" fmla="*/ 175 h 535"/>
                  <a:gd name="T46" fmla="*/ 33 w 570"/>
                  <a:gd name="T47" fmla="*/ 196 h 535"/>
                  <a:gd name="T48" fmla="*/ 42 w 570"/>
                  <a:gd name="T49" fmla="*/ 236 h 535"/>
                  <a:gd name="T50" fmla="*/ 35 w 570"/>
                  <a:gd name="T51" fmla="*/ 270 h 535"/>
                  <a:gd name="T52" fmla="*/ 19 w 570"/>
                  <a:gd name="T53" fmla="*/ 299 h 535"/>
                  <a:gd name="T54" fmla="*/ 54 w 570"/>
                  <a:gd name="T55" fmla="*/ 307 h 535"/>
                  <a:gd name="T56" fmla="*/ 16 w 570"/>
                  <a:gd name="T57" fmla="*/ 360 h 535"/>
                  <a:gd name="T58" fmla="*/ 21 w 570"/>
                  <a:gd name="T59" fmla="*/ 409 h 535"/>
                  <a:gd name="T60" fmla="*/ 23 w 570"/>
                  <a:gd name="T61" fmla="*/ 430 h 535"/>
                  <a:gd name="T62" fmla="*/ 27 w 570"/>
                  <a:gd name="T63" fmla="*/ 463 h 535"/>
                  <a:gd name="T64" fmla="*/ 29 w 570"/>
                  <a:gd name="T65" fmla="*/ 501 h 535"/>
                  <a:gd name="T66" fmla="*/ 48 w 570"/>
                  <a:gd name="T67" fmla="*/ 527 h 535"/>
                  <a:gd name="T68" fmla="*/ 73 w 570"/>
                  <a:gd name="T69" fmla="*/ 527 h 535"/>
                  <a:gd name="T70" fmla="*/ 99 w 570"/>
                  <a:gd name="T71" fmla="*/ 525 h 535"/>
                  <a:gd name="T72" fmla="*/ 117 w 570"/>
                  <a:gd name="T73" fmla="*/ 525 h 535"/>
                  <a:gd name="T74" fmla="*/ 136 w 570"/>
                  <a:gd name="T75" fmla="*/ 506 h 535"/>
                  <a:gd name="T76" fmla="*/ 176 w 570"/>
                  <a:gd name="T77" fmla="*/ 502 h 535"/>
                  <a:gd name="T78" fmla="*/ 199 w 570"/>
                  <a:gd name="T79" fmla="*/ 493 h 535"/>
                  <a:gd name="T80" fmla="*/ 212 w 570"/>
                  <a:gd name="T81" fmla="*/ 485 h 535"/>
                  <a:gd name="T82" fmla="*/ 248 w 570"/>
                  <a:gd name="T83" fmla="*/ 472 h 535"/>
                  <a:gd name="T84" fmla="*/ 262 w 570"/>
                  <a:gd name="T85" fmla="*/ 436 h 535"/>
                  <a:gd name="T86" fmla="*/ 303 w 570"/>
                  <a:gd name="T87" fmla="*/ 423 h 535"/>
                  <a:gd name="T88" fmla="*/ 342 w 570"/>
                  <a:gd name="T89" fmla="*/ 426 h 535"/>
                  <a:gd name="T90" fmla="*/ 343 w 570"/>
                  <a:gd name="T91" fmla="*/ 400 h 535"/>
                  <a:gd name="T92" fmla="*/ 363 w 570"/>
                  <a:gd name="T93" fmla="*/ 381 h 535"/>
                  <a:gd name="T94" fmla="*/ 384 w 570"/>
                  <a:gd name="T95" fmla="*/ 392 h 535"/>
                  <a:gd name="T96" fmla="*/ 395 w 570"/>
                  <a:gd name="T97" fmla="*/ 404 h 535"/>
                  <a:gd name="T98" fmla="*/ 416 w 570"/>
                  <a:gd name="T99" fmla="*/ 411 h 535"/>
                  <a:gd name="T100" fmla="*/ 418 w 570"/>
                  <a:gd name="T101" fmla="*/ 394 h 535"/>
                  <a:gd name="T102" fmla="*/ 395 w 570"/>
                  <a:gd name="T103" fmla="*/ 386 h 535"/>
                  <a:gd name="T104" fmla="*/ 391 w 570"/>
                  <a:gd name="T105" fmla="*/ 373 h 535"/>
                  <a:gd name="T106" fmla="*/ 405 w 570"/>
                  <a:gd name="T107" fmla="*/ 373 h 535"/>
                  <a:gd name="T108" fmla="*/ 424 w 570"/>
                  <a:gd name="T109" fmla="*/ 367 h 535"/>
                  <a:gd name="T110" fmla="*/ 439 w 570"/>
                  <a:gd name="T111" fmla="*/ 375 h 535"/>
                  <a:gd name="T112" fmla="*/ 454 w 570"/>
                  <a:gd name="T113" fmla="*/ 362 h 535"/>
                  <a:gd name="T114" fmla="*/ 464 w 570"/>
                  <a:gd name="T115" fmla="*/ 356 h 535"/>
                  <a:gd name="T116" fmla="*/ 492 w 570"/>
                  <a:gd name="T117" fmla="*/ 346 h 535"/>
                  <a:gd name="T118" fmla="*/ 513 w 570"/>
                  <a:gd name="T119" fmla="*/ 329 h 535"/>
                  <a:gd name="T120" fmla="*/ 532 w 570"/>
                  <a:gd name="T121" fmla="*/ 322 h 535"/>
                  <a:gd name="T122" fmla="*/ 534 w 570"/>
                  <a:gd name="T123" fmla="*/ 301 h 535"/>
                  <a:gd name="T124" fmla="*/ 555 w 570"/>
                  <a:gd name="T125" fmla="*/ 280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0" h="535">
                    <a:moveTo>
                      <a:pt x="570" y="270"/>
                    </a:moveTo>
                    <a:lnTo>
                      <a:pt x="569" y="268"/>
                    </a:lnTo>
                    <a:lnTo>
                      <a:pt x="569" y="267"/>
                    </a:lnTo>
                    <a:lnTo>
                      <a:pt x="567" y="267"/>
                    </a:lnTo>
                    <a:lnTo>
                      <a:pt x="567" y="265"/>
                    </a:lnTo>
                    <a:lnTo>
                      <a:pt x="565" y="263"/>
                    </a:lnTo>
                    <a:lnTo>
                      <a:pt x="565" y="263"/>
                    </a:lnTo>
                    <a:lnTo>
                      <a:pt x="565" y="263"/>
                    </a:lnTo>
                    <a:lnTo>
                      <a:pt x="563" y="263"/>
                    </a:lnTo>
                    <a:lnTo>
                      <a:pt x="561" y="265"/>
                    </a:lnTo>
                    <a:lnTo>
                      <a:pt x="561" y="267"/>
                    </a:lnTo>
                    <a:lnTo>
                      <a:pt x="559" y="268"/>
                    </a:lnTo>
                    <a:lnTo>
                      <a:pt x="557" y="268"/>
                    </a:lnTo>
                    <a:lnTo>
                      <a:pt x="553" y="270"/>
                    </a:lnTo>
                    <a:lnTo>
                      <a:pt x="551" y="270"/>
                    </a:lnTo>
                    <a:lnTo>
                      <a:pt x="548" y="272"/>
                    </a:lnTo>
                    <a:lnTo>
                      <a:pt x="546" y="274"/>
                    </a:lnTo>
                    <a:lnTo>
                      <a:pt x="542" y="276"/>
                    </a:lnTo>
                    <a:lnTo>
                      <a:pt x="540" y="276"/>
                    </a:lnTo>
                    <a:lnTo>
                      <a:pt x="536" y="274"/>
                    </a:lnTo>
                    <a:lnTo>
                      <a:pt x="534" y="272"/>
                    </a:lnTo>
                    <a:lnTo>
                      <a:pt x="532" y="272"/>
                    </a:lnTo>
                    <a:lnTo>
                      <a:pt x="532" y="274"/>
                    </a:lnTo>
                    <a:lnTo>
                      <a:pt x="532" y="276"/>
                    </a:lnTo>
                    <a:lnTo>
                      <a:pt x="530" y="278"/>
                    </a:lnTo>
                    <a:lnTo>
                      <a:pt x="530" y="278"/>
                    </a:lnTo>
                    <a:lnTo>
                      <a:pt x="528" y="278"/>
                    </a:lnTo>
                    <a:lnTo>
                      <a:pt x="528" y="278"/>
                    </a:lnTo>
                    <a:lnTo>
                      <a:pt x="527" y="278"/>
                    </a:lnTo>
                    <a:lnTo>
                      <a:pt x="519" y="276"/>
                    </a:lnTo>
                    <a:lnTo>
                      <a:pt x="509" y="276"/>
                    </a:lnTo>
                    <a:lnTo>
                      <a:pt x="504" y="276"/>
                    </a:lnTo>
                    <a:lnTo>
                      <a:pt x="502" y="276"/>
                    </a:lnTo>
                    <a:lnTo>
                      <a:pt x="498" y="276"/>
                    </a:lnTo>
                    <a:lnTo>
                      <a:pt x="496" y="274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90" y="272"/>
                    </a:lnTo>
                    <a:lnTo>
                      <a:pt x="488" y="272"/>
                    </a:lnTo>
                    <a:lnTo>
                      <a:pt x="487" y="272"/>
                    </a:lnTo>
                    <a:lnTo>
                      <a:pt x="485" y="274"/>
                    </a:lnTo>
                    <a:lnTo>
                      <a:pt x="481" y="276"/>
                    </a:lnTo>
                    <a:lnTo>
                      <a:pt x="477" y="278"/>
                    </a:lnTo>
                    <a:lnTo>
                      <a:pt x="475" y="280"/>
                    </a:lnTo>
                    <a:lnTo>
                      <a:pt x="473" y="280"/>
                    </a:lnTo>
                    <a:lnTo>
                      <a:pt x="471" y="278"/>
                    </a:lnTo>
                    <a:lnTo>
                      <a:pt x="469" y="276"/>
                    </a:lnTo>
                    <a:lnTo>
                      <a:pt x="467" y="270"/>
                    </a:lnTo>
                    <a:lnTo>
                      <a:pt x="467" y="255"/>
                    </a:lnTo>
                    <a:lnTo>
                      <a:pt x="467" y="253"/>
                    </a:lnTo>
                    <a:lnTo>
                      <a:pt x="464" y="248"/>
                    </a:lnTo>
                    <a:lnTo>
                      <a:pt x="464" y="246"/>
                    </a:lnTo>
                    <a:lnTo>
                      <a:pt x="464" y="244"/>
                    </a:lnTo>
                    <a:lnTo>
                      <a:pt x="462" y="242"/>
                    </a:lnTo>
                    <a:lnTo>
                      <a:pt x="462" y="238"/>
                    </a:lnTo>
                    <a:lnTo>
                      <a:pt x="464" y="236"/>
                    </a:lnTo>
                    <a:lnTo>
                      <a:pt x="464" y="234"/>
                    </a:lnTo>
                    <a:lnTo>
                      <a:pt x="466" y="232"/>
                    </a:lnTo>
                    <a:lnTo>
                      <a:pt x="466" y="232"/>
                    </a:lnTo>
                    <a:lnTo>
                      <a:pt x="466" y="230"/>
                    </a:lnTo>
                    <a:lnTo>
                      <a:pt x="464" y="230"/>
                    </a:lnTo>
                    <a:lnTo>
                      <a:pt x="462" y="230"/>
                    </a:lnTo>
                    <a:lnTo>
                      <a:pt x="460" y="230"/>
                    </a:lnTo>
                    <a:lnTo>
                      <a:pt x="458" y="232"/>
                    </a:lnTo>
                    <a:lnTo>
                      <a:pt x="456" y="232"/>
                    </a:lnTo>
                    <a:lnTo>
                      <a:pt x="454" y="232"/>
                    </a:lnTo>
                    <a:lnTo>
                      <a:pt x="452" y="230"/>
                    </a:lnTo>
                    <a:lnTo>
                      <a:pt x="452" y="230"/>
                    </a:lnTo>
                    <a:lnTo>
                      <a:pt x="452" y="228"/>
                    </a:lnTo>
                    <a:lnTo>
                      <a:pt x="452" y="227"/>
                    </a:lnTo>
                    <a:lnTo>
                      <a:pt x="452" y="225"/>
                    </a:lnTo>
                    <a:lnTo>
                      <a:pt x="450" y="223"/>
                    </a:lnTo>
                    <a:lnTo>
                      <a:pt x="450" y="221"/>
                    </a:lnTo>
                    <a:lnTo>
                      <a:pt x="448" y="221"/>
                    </a:lnTo>
                    <a:lnTo>
                      <a:pt x="448" y="223"/>
                    </a:lnTo>
                    <a:lnTo>
                      <a:pt x="446" y="223"/>
                    </a:lnTo>
                    <a:lnTo>
                      <a:pt x="446" y="223"/>
                    </a:lnTo>
                    <a:lnTo>
                      <a:pt x="446" y="227"/>
                    </a:lnTo>
                    <a:lnTo>
                      <a:pt x="446" y="227"/>
                    </a:lnTo>
                    <a:lnTo>
                      <a:pt x="446" y="227"/>
                    </a:lnTo>
                    <a:lnTo>
                      <a:pt x="445" y="228"/>
                    </a:lnTo>
                    <a:lnTo>
                      <a:pt x="445" y="228"/>
                    </a:lnTo>
                    <a:lnTo>
                      <a:pt x="443" y="228"/>
                    </a:lnTo>
                    <a:lnTo>
                      <a:pt x="439" y="228"/>
                    </a:lnTo>
                    <a:lnTo>
                      <a:pt x="437" y="228"/>
                    </a:lnTo>
                    <a:lnTo>
                      <a:pt x="437" y="227"/>
                    </a:lnTo>
                    <a:lnTo>
                      <a:pt x="437" y="225"/>
                    </a:lnTo>
                    <a:lnTo>
                      <a:pt x="437" y="225"/>
                    </a:lnTo>
                    <a:lnTo>
                      <a:pt x="437" y="223"/>
                    </a:lnTo>
                    <a:lnTo>
                      <a:pt x="437" y="223"/>
                    </a:lnTo>
                    <a:lnTo>
                      <a:pt x="439" y="221"/>
                    </a:lnTo>
                    <a:lnTo>
                      <a:pt x="441" y="221"/>
                    </a:lnTo>
                    <a:lnTo>
                      <a:pt x="441" y="219"/>
                    </a:lnTo>
                    <a:lnTo>
                      <a:pt x="443" y="219"/>
                    </a:lnTo>
                    <a:lnTo>
                      <a:pt x="443" y="217"/>
                    </a:lnTo>
                    <a:lnTo>
                      <a:pt x="441" y="215"/>
                    </a:lnTo>
                    <a:lnTo>
                      <a:pt x="439" y="211"/>
                    </a:lnTo>
                    <a:lnTo>
                      <a:pt x="435" y="204"/>
                    </a:lnTo>
                    <a:lnTo>
                      <a:pt x="433" y="200"/>
                    </a:lnTo>
                    <a:lnTo>
                      <a:pt x="433" y="198"/>
                    </a:lnTo>
                    <a:lnTo>
                      <a:pt x="431" y="196"/>
                    </a:lnTo>
                    <a:lnTo>
                      <a:pt x="429" y="192"/>
                    </a:lnTo>
                    <a:lnTo>
                      <a:pt x="427" y="190"/>
                    </a:lnTo>
                    <a:lnTo>
                      <a:pt x="425" y="189"/>
                    </a:lnTo>
                    <a:lnTo>
                      <a:pt x="424" y="185"/>
                    </a:lnTo>
                    <a:lnTo>
                      <a:pt x="418" y="179"/>
                    </a:lnTo>
                    <a:lnTo>
                      <a:pt x="416" y="175"/>
                    </a:lnTo>
                    <a:lnTo>
                      <a:pt x="414" y="175"/>
                    </a:lnTo>
                    <a:lnTo>
                      <a:pt x="410" y="173"/>
                    </a:lnTo>
                    <a:lnTo>
                      <a:pt x="410" y="173"/>
                    </a:lnTo>
                    <a:lnTo>
                      <a:pt x="408" y="171"/>
                    </a:lnTo>
                    <a:lnTo>
                      <a:pt x="406" y="170"/>
                    </a:lnTo>
                    <a:lnTo>
                      <a:pt x="403" y="170"/>
                    </a:lnTo>
                    <a:lnTo>
                      <a:pt x="399" y="171"/>
                    </a:lnTo>
                    <a:lnTo>
                      <a:pt x="397" y="173"/>
                    </a:lnTo>
                    <a:lnTo>
                      <a:pt x="395" y="171"/>
                    </a:lnTo>
                    <a:lnTo>
                      <a:pt x="393" y="170"/>
                    </a:lnTo>
                    <a:lnTo>
                      <a:pt x="393" y="170"/>
                    </a:lnTo>
                    <a:lnTo>
                      <a:pt x="391" y="170"/>
                    </a:lnTo>
                    <a:lnTo>
                      <a:pt x="391" y="170"/>
                    </a:lnTo>
                    <a:lnTo>
                      <a:pt x="389" y="171"/>
                    </a:lnTo>
                    <a:lnTo>
                      <a:pt x="389" y="171"/>
                    </a:lnTo>
                    <a:lnTo>
                      <a:pt x="387" y="171"/>
                    </a:lnTo>
                    <a:lnTo>
                      <a:pt x="387" y="170"/>
                    </a:lnTo>
                    <a:lnTo>
                      <a:pt x="387" y="168"/>
                    </a:lnTo>
                    <a:lnTo>
                      <a:pt x="385" y="168"/>
                    </a:lnTo>
                    <a:lnTo>
                      <a:pt x="385" y="166"/>
                    </a:lnTo>
                    <a:lnTo>
                      <a:pt x="384" y="164"/>
                    </a:lnTo>
                    <a:lnTo>
                      <a:pt x="384" y="162"/>
                    </a:lnTo>
                    <a:lnTo>
                      <a:pt x="384" y="160"/>
                    </a:lnTo>
                    <a:lnTo>
                      <a:pt x="384" y="158"/>
                    </a:lnTo>
                    <a:lnTo>
                      <a:pt x="384" y="156"/>
                    </a:lnTo>
                    <a:lnTo>
                      <a:pt x="382" y="156"/>
                    </a:lnTo>
                    <a:lnTo>
                      <a:pt x="380" y="156"/>
                    </a:lnTo>
                    <a:lnTo>
                      <a:pt x="378" y="156"/>
                    </a:lnTo>
                    <a:lnTo>
                      <a:pt x="376" y="158"/>
                    </a:lnTo>
                    <a:lnTo>
                      <a:pt x="376" y="158"/>
                    </a:lnTo>
                    <a:lnTo>
                      <a:pt x="366" y="158"/>
                    </a:lnTo>
                    <a:lnTo>
                      <a:pt x="357" y="158"/>
                    </a:lnTo>
                    <a:lnTo>
                      <a:pt x="355" y="158"/>
                    </a:lnTo>
                    <a:lnTo>
                      <a:pt x="353" y="154"/>
                    </a:lnTo>
                    <a:lnTo>
                      <a:pt x="353" y="152"/>
                    </a:lnTo>
                    <a:lnTo>
                      <a:pt x="349" y="150"/>
                    </a:lnTo>
                    <a:lnTo>
                      <a:pt x="345" y="147"/>
                    </a:lnTo>
                    <a:lnTo>
                      <a:pt x="340" y="145"/>
                    </a:lnTo>
                    <a:lnTo>
                      <a:pt x="334" y="141"/>
                    </a:lnTo>
                    <a:lnTo>
                      <a:pt x="334" y="141"/>
                    </a:lnTo>
                    <a:lnTo>
                      <a:pt x="338" y="137"/>
                    </a:lnTo>
                    <a:lnTo>
                      <a:pt x="340" y="135"/>
                    </a:lnTo>
                    <a:lnTo>
                      <a:pt x="340" y="133"/>
                    </a:lnTo>
                    <a:lnTo>
                      <a:pt x="340" y="126"/>
                    </a:lnTo>
                    <a:lnTo>
                      <a:pt x="340" y="122"/>
                    </a:lnTo>
                    <a:lnTo>
                      <a:pt x="338" y="112"/>
                    </a:lnTo>
                    <a:lnTo>
                      <a:pt x="336" y="111"/>
                    </a:lnTo>
                    <a:lnTo>
                      <a:pt x="330" y="112"/>
                    </a:lnTo>
                    <a:lnTo>
                      <a:pt x="328" y="112"/>
                    </a:lnTo>
                    <a:lnTo>
                      <a:pt x="328" y="107"/>
                    </a:lnTo>
                    <a:lnTo>
                      <a:pt x="328" y="103"/>
                    </a:lnTo>
                    <a:lnTo>
                      <a:pt x="332" y="99"/>
                    </a:lnTo>
                    <a:lnTo>
                      <a:pt x="334" y="97"/>
                    </a:lnTo>
                    <a:lnTo>
                      <a:pt x="338" y="95"/>
                    </a:lnTo>
                    <a:lnTo>
                      <a:pt x="336" y="93"/>
                    </a:lnTo>
                    <a:lnTo>
                      <a:pt x="336" y="90"/>
                    </a:lnTo>
                    <a:lnTo>
                      <a:pt x="336" y="88"/>
                    </a:lnTo>
                    <a:lnTo>
                      <a:pt x="336" y="86"/>
                    </a:lnTo>
                    <a:lnTo>
                      <a:pt x="336" y="84"/>
                    </a:lnTo>
                    <a:lnTo>
                      <a:pt x="336" y="84"/>
                    </a:lnTo>
                    <a:lnTo>
                      <a:pt x="336" y="82"/>
                    </a:lnTo>
                    <a:lnTo>
                      <a:pt x="336" y="82"/>
                    </a:lnTo>
                    <a:lnTo>
                      <a:pt x="338" y="80"/>
                    </a:lnTo>
                    <a:lnTo>
                      <a:pt x="338" y="80"/>
                    </a:lnTo>
                    <a:lnTo>
                      <a:pt x="340" y="78"/>
                    </a:lnTo>
                    <a:lnTo>
                      <a:pt x="340" y="76"/>
                    </a:lnTo>
                    <a:lnTo>
                      <a:pt x="340" y="74"/>
                    </a:lnTo>
                    <a:lnTo>
                      <a:pt x="340" y="71"/>
                    </a:lnTo>
                    <a:lnTo>
                      <a:pt x="340" y="71"/>
                    </a:lnTo>
                    <a:lnTo>
                      <a:pt x="340" y="65"/>
                    </a:lnTo>
                    <a:lnTo>
                      <a:pt x="340" y="63"/>
                    </a:lnTo>
                    <a:lnTo>
                      <a:pt x="340" y="61"/>
                    </a:lnTo>
                    <a:lnTo>
                      <a:pt x="340" y="59"/>
                    </a:lnTo>
                    <a:lnTo>
                      <a:pt x="340" y="57"/>
                    </a:lnTo>
                    <a:lnTo>
                      <a:pt x="338" y="57"/>
                    </a:lnTo>
                    <a:lnTo>
                      <a:pt x="338" y="57"/>
                    </a:lnTo>
                    <a:lnTo>
                      <a:pt x="336" y="53"/>
                    </a:lnTo>
                    <a:lnTo>
                      <a:pt x="336" y="53"/>
                    </a:lnTo>
                    <a:lnTo>
                      <a:pt x="336" y="53"/>
                    </a:lnTo>
                    <a:lnTo>
                      <a:pt x="334" y="53"/>
                    </a:lnTo>
                    <a:lnTo>
                      <a:pt x="334" y="53"/>
                    </a:lnTo>
                    <a:lnTo>
                      <a:pt x="332" y="52"/>
                    </a:lnTo>
                    <a:lnTo>
                      <a:pt x="328" y="52"/>
                    </a:lnTo>
                    <a:lnTo>
                      <a:pt x="328" y="52"/>
                    </a:lnTo>
                    <a:lnTo>
                      <a:pt x="328" y="50"/>
                    </a:lnTo>
                    <a:lnTo>
                      <a:pt x="326" y="50"/>
                    </a:lnTo>
                    <a:lnTo>
                      <a:pt x="326" y="50"/>
                    </a:lnTo>
                    <a:lnTo>
                      <a:pt x="324" y="46"/>
                    </a:lnTo>
                    <a:lnTo>
                      <a:pt x="324" y="44"/>
                    </a:lnTo>
                    <a:lnTo>
                      <a:pt x="321" y="42"/>
                    </a:lnTo>
                    <a:lnTo>
                      <a:pt x="321" y="40"/>
                    </a:lnTo>
                    <a:lnTo>
                      <a:pt x="319" y="40"/>
                    </a:lnTo>
                    <a:lnTo>
                      <a:pt x="311" y="38"/>
                    </a:lnTo>
                    <a:lnTo>
                      <a:pt x="309" y="38"/>
                    </a:lnTo>
                    <a:lnTo>
                      <a:pt x="309" y="38"/>
                    </a:lnTo>
                    <a:lnTo>
                      <a:pt x="307" y="40"/>
                    </a:lnTo>
                    <a:lnTo>
                      <a:pt x="300" y="42"/>
                    </a:lnTo>
                    <a:lnTo>
                      <a:pt x="298" y="44"/>
                    </a:lnTo>
                    <a:lnTo>
                      <a:pt x="296" y="44"/>
                    </a:lnTo>
                    <a:lnTo>
                      <a:pt x="296" y="44"/>
                    </a:lnTo>
                    <a:lnTo>
                      <a:pt x="296" y="46"/>
                    </a:lnTo>
                    <a:lnTo>
                      <a:pt x="296" y="48"/>
                    </a:lnTo>
                    <a:lnTo>
                      <a:pt x="296" y="48"/>
                    </a:lnTo>
                    <a:lnTo>
                      <a:pt x="294" y="50"/>
                    </a:lnTo>
                    <a:lnTo>
                      <a:pt x="294" y="50"/>
                    </a:lnTo>
                    <a:lnTo>
                      <a:pt x="292" y="52"/>
                    </a:lnTo>
                    <a:lnTo>
                      <a:pt x="292" y="52"/>
                    </a:lnTo>
                    <a:lnTo>
                      <a:pt x="290" y="50"/>
                    </a:lnTo>
                    <a:lnTo>
                      <a:pt x="290" y="50"/>
                    </a:lnTo>
                    <a:lnTo>
                      <a:pt x="290" y="50"/>
                    </a:lnTo>
                    <a:lnTo>
                      <a:pt x="288" y="50"/>
                    </a:lnTo>
                    <a:lnTo>
                      <a:pt x="288" y="48"/>
                    </a:lnTo>
                    <a:lnTo>
                      <a:pt x="288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8"/>
                    </a:lnTo>
                    <a:lnTo>
                      <a:pt x="282" y="48"/>
                    </a:lnTo>
                    <a:lnTo>
                      <a:pt x="271" y="48"/>
                    </a:lnTo>
                    <a:lnTo>
                      <a:pt x="269" y="46"/>
                    </a:lnTo>
                    <a:lnTo>
                      <a:pt x="269" y="46"/>
                    </a:lnTo>
                    <a:lnTo>
                      <a:pt x="267" y="46"/>
                    </a:lnTo>
                    <a:lnTo>
                      <a:pt x="267" y="46"/>
                    </a:lnTo>
                    <a:lnTo>
                      <a:pt x="265" y="42"/>
                    </a:lnTo>
                    <a:lnTo>
                      <a:pt x="265" y="42"/>
                    </a:lnTo>
                    <a:lnTo>
                      <a:pt x="263" y="42"/>
                    </a:lnTo>
                    <a:lnTo>
                      <a:pt x="252" y="40"/>
                    </a:lnTo>
                    <a:lnTo>
                      <a:pt x="250" y="40"/>
                    </a:lnTo>
                    <a:lnTo>
                      <a:pt x="250" y="38"/>
                    </a:lnTo>
                    <a:lnTo>
                      <a:pt x="250" y="38"/>
                    </a:lnTo>
                    <a:lnTo>
                      <a:pt x="248" y="34"/>
                    </a:lnTo>
                    <a:lnTo>
                      <a:pt x="246" y="34"/>
                    </a:lnTo>
                    <a:lnTo>
                      <a:pt x="246" y="33"/>
                    </a:lnTo>
                    <a:lnTo>
                      <a:pt x="244" y="33"/>
                    </a:lnTo>
                    <a:lnTo>
                      <a:pt x="242" y="33"/>
                    </a:lnTo>
                    <a:lnTo>
                      <a:pt x="241" y="33"/>
                    </a:lnTo>
                    <a:lnTo>
                      <a:pt x="233" y="34"/>
                    </a:lnTo>
                    <a:lnTo>
                      <a:pt x="227" y="36"/>
                    </a:lnTo>
                    <a:lnTo>
                      <a:pt x="227" y="36"/>
                    </a:lnTo>
                    <a:lnTo>
                      <a:pt x="227" y="36"/>
                    </a:lnTo>
                    <a:lnTo>
                      <a:pt x="225" y="40"/>
                    </a:lnTo>
                    <a:lnTo>
                      <a:pt x="223" y="40"/>
                    </a:lnTo>
                    <a:lnTo>
                      <a:pt x="221" y="42"/>
                    </a:lnTo>
                    <a:lnTo>
                      <a:pt x="220" y="42"/>
                    </a:lnTo>
                    <a:lnTo>
                      <a:pt x="218" y="42"/>
                    </a:lnTo>
                    <a:lnTo>
                      <a:pt x="218" y="42"/>
                    </a:lnTo>
                    <a:lnTo>
                      <a:pt x="216" y="42"/>
                    </a:lnTo>
                    <a:lnTo>
                      <a:pt x="216" y="40"/>
                    </a:lnTo>
                    <a:lnTo>
                      <a:pt x="216" y="40"/>
                    </a:lnTo>
                    <a:lnTo>
                      <a:pt x="214" y="40"/>
                    </a:lnTo>
                    <a:lnTo>
                      <a:pt x="212" y="40"/>
                    </a:lnTo>
                    <a:lnTo>
                      <a:pt x="212" y="38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0" y="36"/>
                    </a:lnTo>
                    <a:lnTo>
                      <a:pt x="210" y="34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4" y="33"/>
                    </a:lnTo>
                    <a:lnTo>
                      <a:pt x="204" y="33"/>
                    </a:lnTo>
                    <a:lnTo>
                      <a:pt x="202" y="33"/>
                    </a:lnTo>
                    <a:lnTo>
                      <a:pt x="200" y="21"/>
                    </a:lnTo>
                    <a:lnTo>
                      <a:pt x="200" y="21"/>
                    </a:lnTo>
                    <a:lnTo>
                      <a:pt x="200" y="21"/>
                    </a:lnTo>
                    <a:lnTo>
                      <a:pt x="199" y="21"/>
                    </a:lnTo>
                    <a:lnTo>
                      <a:pt x="199" y="19"/>
                    </a:lnTo>
                    <a:lnTo>
                      <a:pt x="197" y="19"/>
                    </a:lnTo>
                    <a:lnTo>
                      <a:pt x="197" y="17"/>
                    </a:lnTo>
                    <a:lnTo>
                      <a:pt x="195" y="17"/>
                    </a:lnTo>
                    <a:lnTo>
                      <a:pt x="191" y="15"/>
                    </a:lnTo>
                    <a:lnTo>
                      <a:pt x="187" y="15"/>
                    </a:lnTo>
                    <a:lnTo>
                      <a:pt x="183" y="15"/>
                    </a:lnTo>
                    <a:lnTo>
                      <a:pt x="183" y="15"/>
                    </a:lnTo>
                    <a:lnTo>
                      <a:pt x="180" y="14"/>
                    </a:lnTo>
                    <a:lnTo>
                      <a:pt x="172" y="10"/>
                    </a:lnTo>
                    <a:lnTo>
                      <a:pt x="170" y="10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4" y="10"/>
                    </a:lnTo>
                    <a:lnTo>
                      <a:pt x="162" y="10"/>
                    </a:lnTo>
                    <a:lnTo>
                      <a:pt x="162" y="8"/>
                    </a:lnTo>
                    <a:lnTo>
                      <a:pt x="160" y="8"/>
                    </a:lnTo>
                    <a:lnTo>
                      <a:pt x="160" y="8"/>
                    </a:lnTo>
                    <a:lnTo>
                      <a:pt x="159" y="10"/>
                    </a:lnTo>
                    <a:lnTo>
                      <a:pt x="159" y="10"/>
                    </a:lnTo>
                    <a:lnTo>
                      <a:pt x="157" y="10"/>
                    </a:lnTo>
                    <a:lnTo>
                      <a:pt x="157" y="10"/>
                    </a:lnTo>
                    <a:lnTo>
                      <a:pt x="157" y="10"/>
                    </a:lnTo>
                    <a:lnTo>
                      <a:pt x="157" y="10"/>
                    </a:lnTo>
                    <a:lnTo>
                      <a:pt x="157" y="12"/>
                    </a:lnTo>
                    <a:lnTo>
                      <a:pt x="155" y="12"/>
                    </a:lnTo>
                    <a:lnTo>
                      <a:pt x="155" y="12"/>
                    </a:lnTo>
                    <a:lnTo>
                      <a:pt x="153" y="12"/>
                    </a:lnTo>
                    <a:lnTo>
                      <a:pt x="145" y="10"/>
                    </a:lnTo>
                    <a:lnTo>
                      <a:pt x="145" y="8"/>
                    </a:lnTo>
                    <a:lnTo>
                      <a:pt x="145" y="8"/>
                    </a:lnTo>
                    <a:lnTo>
                      <a:pt x="145" y="8"/>
                    </a:lnTo>
                    <a:lnTo>
                      <a:pt x="143" y="4"/>
                    </a:lnTo>
                    <a:lnTo>
                      <a:pt x="141" y="4"/>
                    </a:lnTo>
                    <a:lnTo>
                      <a:pt x="141" y="4"/>
                    </a:lnTo>
                    <a:lnTo>
                      <a:pt x="139" y="2"/>
                    </a:lnTo>
                    <a:lnTo>
                      <a:pt x="136" y="0"/>
                    </a:lnTo>
                    <a:lnTo>
                      <a:pt x="134" y="4"/>
                    </a:lnTo>
                    <a:lnTo>
                      <a:pt x="136" y="6"/>
                    </a:lnTo>
                    <a:lnTo>
                      <a:pt x="139" y="17"/>
                    </a:lnTo>
                    <a:lnTo>
                      <a:pt x="139" y="19"/>
                    </a:lnTo>
                    <a:lnTo>
                      <a:pt x="141" y="19"/>
                    </a:lnTo>
                    <a:lnTo>
                      <a:pt x="143" y="19"/>
                    </a:lnTo>
                    <a:lnTo>
                      <a:pt x="143" y="21"/>
                    </a:lnTo>
                    <a:lnTo>
                      <a:pt x="145" y="21"/>
                    </a:lnTo>
                    <a:lnTo>
                      <a:pt x="145" y="23"/>
                    </a:lnTo>
                    <a:lnTo>
                      <a:pt x="143" y="25"/>
                    </a:lnTo>
                    <a:lnTo>
                      <a:pt x="143" y="25"/>
                    </a:lnTo>
                    <a:lnTo>
                      <a:pt x="143" y="27"/>
                    </a:lnTo>
                    <a:lnTo>
                      <a:pt x="141" y="27"/>
                    </a:lnTo>
                    <a:lnTo>
                      <a:pt x="138" y="29"/>
                    </a:lnTo>
                    <a:lnTo>
                      <a:pt x="136" y="31"/>
                    </a:lnTo>
                    <a:lnTo>
                      <a:pt x="136" y="33"/>
                    </a:lnTo>
                    <a:lnTo>
                      <a:pt x="136" y="36"/>
                    </a:lnTo>
                    <a:lnTo>
                      <a:pt x="132" y="40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2" y="52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2" y="55"/>
                    </a:lnTo>
                    <a:lnTo>
                      <a:pt x="130" y="55"/>
                    </a:lnTo>
                    <a:lnTo>
                      <a:pt x="130" y="55"/>
                    </a:lnTo>
                    <a:lnTo>
                      <a:pt x="124" y="57"/>
                    </a:lnTo>
                    <a:lnTo>
                      <a:pt x="122" y="57"/>
                    </a:lnTo>
                    <a:lnTo>
                      <a:pt x="122" y="59"/>
                    </a:lnTo>
                    <a:lnTo>
                      <a:pt x="120" y="59"/>
                    </a:lnTo>
                    <a:lnTo>
                      <a:pt x="120" y="61"/>
                    </a:lnTo>
                    <a:lnTo>
                      <a:pt x="118" y="65"/>
                    </a:lnTo>
                    <a:lnTo>
                      <a:pt x="117" y="67"/>
                    </a:lnTo>
                    <a:lnTo>
                      <a:pt x="117" y="67"/>
                    </a:lnTo>
                    <a:lnTo>
                      <a:pt x="117" y="69"/>
                    </a:lnTo>
                    <a:lnTo>
                      <a:pt x="115" y="71"/>
                    </a:lnTo>
                    <a:lnTo>
                      <a:pt x="115" y="71"/>
                    </a:lnTo>
                    <a:lnTo>
                      <a:pt x="117" y="76"/>
                    </a:lnTo>
                    <a:lnTo>
                      <a:pt x="117" y="78"/>
                    </a:lnTo>
                    <a:lnTo>
                      <a:pt x="117" y="82"/>
                    </a:lnTo>
                    <a:lnTo>
                      <a:pt x="117" y="82"/>
                    </a:lnTo>
                    <a:lnTo>
                      <a:pt x="115" y="84"/>
                    </a:lnTo>
                    <a:lnTo>
                      <a:pt x="113" y="84"/>
                    </a:lnTo>
                    <a:lnTo>
                      <a:pt x="111" y="84"/>
                    </a:lnTo>
                    <a:lnTo>
                      <a:pt x="109" y="82"/>
                    </a:lnTo>
                    <a:lnTo>
                      <a:pt x="107" y="82"/>
                    </a:lnTo>
                    <a:lnTo>
                      <a:pt x="107" y="82"/>
                    </a:lnTo>
                    <a:lnTo>
                      <a:pt x="105" y="82"/>
                    </a:lnTo>
                    <a:lnTo>
                      <a:pt x="103" y="82"/>
                    </a:lnTo>
                    <a:lnTo>
                      <a:pt x="101" y="84"/>
                    </a:lnTo>
                    <a:lnTo>
                      <a:pt x="99" y="82"/>
                    </a:lnTo>
                    <a:lnTo>
                      <a:pt x="98" y="82"/>
                    </a:lnTo>
                    <a:lnTo>
                      <a:pt x="98" y="82"/>
                    </a:lnTo>
                    <a:lnTo>
                      <a:pt x="96" y="80"/>
                    </a:lnTo>
                    <a:lnTo>
                      <a:pt x="94" y="74"/>
                    </a:lnTo>
                    <a:lnTo>
                      <a:pt x="92" y="74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88" y="74"/>
                    </a:lnTo>
                    <a:lnTo>
                      <a:pt x="86" y="74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0" y="74"/>
                    </a:lnTo>
                    <a:lnTo>
                      <a:pt x="78" y="76"/>
                    </a:lnTo>
                    <a:lnTo>
                      <a:pt x="77" y="78"/>
                    </a:lnTo>
                    <a:lnTo>
                      <a:pt x="77" y="78"/>
                    </a:lnTo>
                    <a:lnTo>
                      <a:pt x="77" y="80"/>
                    </a:lnTo>
                    <a:lnTo>
                      <a:pt x="77" y="80"/>
                    </a:lnTo>
                    <a:lnTo>
                      <a:pt x="80" y="80"/>
                    </a:lnTo>
                    <a:lnTo>
                      <a:pt x="80" y="80"/>
                    </a:lnTo>
                    <a:lnTo>
                      <a:pt x="80" y="82"/>
                    </a:lnTo>
                    <a:lnTo>
                      <a:pt x="77" y="86"/>
                    </a:lnTo>
                    <a:lnTo>
                      <a:pt x="77" y="86"/>
                    </a:lnTo>
                    <a:lnTo>
                      <a:pt x="75" y="88"/>
                    </a:lnTo>
                    <a:lnTo>
                      <a:pt x="75" y="92"/>
                    </a:lnTo>
                    <a:lnTo>
                      <a:pt x="73" y="95"/>
                    </a:lnTo>
                    <a:lnTo>
                      <a:pt x="73" y="97"/>
                    </a:lnTo>
                    <a:lnTo>
                      <a:pt x="73" y="99"/>
                    </a:lnTo>
                    <a:lnTo>
                      <a:pt x="73" y="99"/>
                    </a:lnTo>
                    <a:lnTo>
                      <a:pt x="73" y="101"/>
                    </a:lnTo>
                    <a:lnTo>
                      <a:pt x="73" y="101"/>
                    </a:lnTo>
                    <a:lnTo>
                      <a:pt x="73" y="101"/>
                    </a:lnTo>
                    <a:lnTo>
                      <a:pt x="73" y="103"/>
                    </a:lnTo>
                    <a:lnTo>
                      <a:pt x="71" y="103"/>
                    </a:lnTo>
                    <a:lnTo>
                      <a:pt x="71" y="103"/>
                    </a:lnTo>
                    <a:lnTo>
                      <a:pt x="69" y="105"/>
                    </a:lnTo>
                    <a:lnTo>
                      <a:pt x="67" y="107"/>
                    </a:lnTo>
                    <a:lnTo>
                      <a:pt x="65" y="109"/>
                    </a:lnTo>
                    <a:lnTo>
                      <a:pt x="65" y="109"/>
                    </a:lnTo>
                    <a:lnTo>
                      <a:pt x="63" y="111"/>
                    </a:lnTo>
                    <a:lnTo>
                      <a:pt x="63" y="111"/>
                    </a:lnTo>
                    <a:lnTo>
                      <a:pt x="63" y="112"/>
                    </a:lnTo>
                    <a:lnTo>
                      <a:pt x="63" y="114"/>
                    </a:lnTo>
                    <a:lnTo>
                      <a:pt x="63" y="116"/>
                    </a:lnTo>
                    <a:lnTo>
                      <a:pt x="63" y="116"/>
                    </a:lnTo>
                    <a:lnTo>
                      <a:pt x="63" y="118"/>
                    </a:lnTo>
                    <a:lnTo>
                      <a:pt x="65" y="118"/>
                    </a:lnTo>
                    <a:lnTo>
                      <a:pt x="65" y="120"/>
                    </a:lnTo>
                    <a:lnTo>
                      <a:pt x="65" y="120"/>
                    </a:lnTo>
                    <a:lnTo>
                      <a:pt x="65" y="120"/>
                    </a:lnTo>
                    <a:lnTo>
                      <a:pt x="67" y="120"/>
                    </a:lnTo>
                    <a:lnTo>
                      <a:pt x="69" y="120"/>
                    </a:lnTo>
                    <a:lnTo>
                      <a:pt x="69" y="120"/>
                    </a:lnTo>
                    <a:lnTo>
                      <a:pt x="69" y="120"/>
                    </a:lnTo>
                    <a:lnTo>
                      <a:pt x="69" y="122"/>
                    </a:lnTo>
                    <a:lnTo>
                      <a:pt x="69" y="122"/>
                    </a:lnTo>
                    <a:lnTo>
                      <a:pt x="69" y="124"/>
                    </a:lnTo>
                    <a:lnTo>
                      <a:pt x="69" y="124"/>
                    </a:lnTo>
                    <a:lnTo>
                      <a:pt x="71" y="124"/>
                    </a:lnTo>
                    <a:lnTo>
                      <a:pt x="71" y="124"/>
                    </a:lnTo>
                    <a:lnTo>
                      <a:pt x="73" y="124"/>
                    </a:lnTo>
                    <a:lnTo>
                      <a:pt x="73" y="124"/>
                    </a:lnTo>
                    <a:lnTo>
                      <a:pt x="73" y="126"/>
                    </a:lnTo>
                    <a:lnTo>
                      <a:pt x="75" y="126"/>
                    </a:lnTo>
                    <a:lnTo>
                      <a:pt x="73" y="128"/>
                    </a:lnTo>
                    <a:lnTo>
                      <a:pt x="75" y="130"/>
                    </a:lnTo>
                    <a:lnTo>
                      <a:pt x="75" y="130"/>
                    </a:lnTo>
                    <a:lnTo>
                      <a:pt x="75" y="131"/>
                    </a:lnTo>
                    <a:lnTo>
                      <a:pt x="80" y="135"/>
                    </a:lnTo>
                    <a:lnTo>
                      <a:pt x="82" y="137"/>
                    </a:lnTo>
                    <a:lnTo>
                      <a:pt x="82" y="137"/>
                    </a:lnTo>
                    <a:lnTo>
                      <a:pt x="82" y="139"/>
                    </a:lnTo>
                    <a:lnTo>
                      <a:pt x="82" y="139"/>
                    </a:lnTo>
                    <a:lnTo>
                      <a:pt x="82" y="141"/>
                    </a:lnTo>
                    <a:lnTo>
                      <a:pt x="80" y="141"/>
                    </a:lnTo>
                    <a:lnTo>
                      <a:pt x="78" y="141"/>
                    </a:lnTo>
                    <a:lnTo>
                      <a:pt x="77" y="141"/>
                    </a:lnTo>
                    <a:lnTo>
                      <a:pt x="75" y="143"/>
                    </a:lnTo>
                    <a:lnTo>
                      <a:pt x="73" y="143"/>
                    </a:lnTo>
                    <a:lnTo>
                      <a:pt x="73" y="145"/>
                    </a:lnTo>
                    <a:lnTo>
                      <a:pt x="71" y="147"/>
                    </a:lnTo>
                    <a:lnTo>
                      <a:pt x="67" y="156"/>
                    </a:lnTo>
                    <a:lnTo>
                      <a:pt x="67" y="158"/>
                    </a:lnTo>
                    <a:lnTo>
                      <a:pt x="65" y="158"/>
                    </a:lnTo>
                    <a:lnTo>
                      <a:pt x="65" y="158"/>
                    </a:lnTo>
                    <a:lnTo>
                      <a:pt x="61" y="156"/>
                    </a:lnTo>
                    <a:lnTo>
                      <a:pt x="61" y="158"/>
                    </a:lnTo>
                    <a:lnTo>
                      <a:pt x="59" y="158"/>
                    </a:lnTo>
                    <a:lnTo>
                      <a:pt x="57" y="160"/>
                    </a:lnTo>
                    <a:lnTo>
                      <a:pt x="57" y="160"/>
                    </a:lnTo>
                    <a:lnTo>
                      <a:pt x="57" y="162"/>
                    </a:lnTo>
                    <a:lnTo>
                      <a:pt x="57" y="164"/>
                    </a:lnTo>
                    <a:lnTo>
                      <a:pt x="57" y="164"/>
                    </a:lnTo>
                    <a:lnTo>
                      <a:pt x="57" y="166"/>
                    </a:lnTo>
                    <a:lnTo>
                      <a:pt x="57" y="168"/>
                    </a:lnTo>
                    <a:lnTo>
                      <a:pt x="56" y="171"/>
                    </a:lnTo>
                    <a:lnTo>
                      <a:pt x="56" y="173"/>
                    </a:lnTo>
                    <a:lnTo>
                      <a:pt x="56" y="175"/>
                    </a:lnTo>
                    <a:lnTo>
                      <a:pt x="54" y="175"/>
                    </a:lnTo>
                    <a:lnTo>
                      <a:pt x="52" y="175"/>
                    </a:lnTo>
                    <a:lnTo>
                      <a:pt x="52" y="175"/>
                    </a:lnTo>
                    <a:lnTo>
                      <a:pt x="46" y="175"/>
                    </a:lnTo>
                    <a:lnTo>
                      <a:pt x="44" y="175"/>
                    </a:lnTo>
                    <a:lnTo>
                      <a:pt x="44" y="177"/>
                    </a:lnTo>
                    <a:lnTo>
                      <a:pt x="42" y="177"/>
                    </a:lnTo>
                    <a:lnTo>
                      <a:pt x="42" y="179"/>
                    </a:lnTo>
                    <a:lnTo>
                      <a:pt x="40" y="181"/>
                    </a:lnTo>
                    <a:lnTo>
                      <a:pt x="40" y="181"/>
                    </a:lnTo>
                    <a:lnTo>
                      <a:pt x="38" y="183"/>
                    </a:lnTo>
                    <a:lnTo>
                      <a:pt x="38" y="185"/>
                    </a:lnTo>
                    <a:lnTo>
                      <a:pt x="38" y="185"/>
                    </a:lnTo>
                    <a:lnTo>
                      <a:pt x="38" y="187"/>
                    </a:lnTo>
                    <a:lnTo>
                      <a:pt x="38" y="187"/>
                    </a:lnTo>
                    <a:lnTo>
                      <a:pt x="38" y="189"/>
                    </a:lnTo>
                    <a:lnTo>
                      <a:pt x="36" y="189"/>
                    </a:lnTo>
                    <a:lnTo>
                      <a:pt x="36" y="192"/>
                    </a:lnTo>
                    <a:lnTo>
                      <a:pt x="36" y="194"/>
                    </a:lnTo>
                    <a:lnTo>
                      <a:pt x="36" y="194"/>
                    </a:lnTo>
                    <a:lnTo>
                      <a:pt x="35" y="196"/>
                    </a:lnTo>
                    <a:lnTo>
                      <a:pt x="33" y="196"/>
                    </a:lnTo>
                    <a:lnTo>
                      <a:pt x="33" y="198"/>
                    </a:lnTo>
                    <a:lnTo>
                      <a:pt x="31" y="198"/>
                    </a:lnTo>
                    <a:lnTo>
                      <a:pt x="31" y="200"/>
                    </a:lnTo>
                    <a:lnTo>
                      <a:pt x="36" y="204"/>
                    </a:lnTo>
                    <a:lnTo>
                      <a:pt x="38" y="204"/>
                    </a:lnTo>
                    <a:lnTo>
                      <a:pt x="38" y="206"/>
                    </a:lnTo>
                    <a:lnTo>
                      <a:pt x="38" y="206"/>
                    </a:lnTo>
                    <a:lnTo>
                      <a:pt x="38" y="209"/>
                    </a:lnTo>
                    <a:lnTo>
                      <a:pt x="42" y="211"/>
                    </a:lnTo>
                    <a:lnTo>
                      <a:pt x="42" y="213"/>
                    </a:lnTo>
                    <a:lnTo>
                      <a:pt x="42" y="213"/>
                    </a:lnTo>
                    <a:lnTo>
                      <a:pt x="40" y="215"/>
                    </a:lnTo>
                    <a:lnTo>
                      <a:pt x="40" y="217"/>
                    </a:lnTo>
                    <a:lnTo>
                      <a:pt x="40" y="219"/>
                    </a:lnTo>
                    <a:lnTo>
                      <a:pt x="40" y="221"/>
                    </a:lnTo>
                    <a:lnTo>
                      <a:pt x="42" y="227"/>
                    </a:lnTo>
                    <a:lnTo>
                      <a:pt x="44" y="234"/>
                    </a:lnTo>
                    <a:lnTo>
                      <a:pt x="44" y="234"/>
                    </a:lnTo>
                    <a:lnTo>
                      <a:pt x="42" y="236"/>
                    </a:lnTo>
                    <a:lnTo>
                      <a:pt x="42" y="236"/>
                    </a:lnTo>
                    <a:lnTo>
                      <a:pt x="42" y="236"/>
                    </a:lnTo>
                    <a:lnTo>
                      <a:pt x="40" y="236"/>
                    </a:lnTo>
                    <a:lnTo>
                      <a:pt x="38" y="236"/>
                    </a:lnTo>
                    <a:lnTo>
                      <a:pt x="38" y="238"/>
                    </a:lnTo>
                    <a:lnTo>
                      <a:pt x="38" y="238"/>
                    </a:lnTo>
                    <a:lnTo>
                      <a:pt x="38" y="240"/>
                    </a:lnTo>
                    <a:lnTo>
                      <a:pt x="38" y="240"/>
                    </a:lnTo>
                    <a:lnTo>
                      <a:pt x="42" y="244"/>
                    </a:lnTo>
                    <a:lnTo>
                      <a:pt x="44" y="246"/>
                    </a:lnTo>
                    <a:lnTo>
                      <a:pt x="44" y="248"/>
                    </a:lnTo>
                    <a:lnTo>
                      <a:pt x="46" y="251"/>
                    </a:lnTo>
                    <a:lnTo>
                      <a:pt x="46" y="255"/>
                    </a:lnTo>
                    <a:lnTo>
                      <a:pt x="46" y="257"/>
                    </a:lnTo>
                    <a:lnTo>
                      <a:pt x="46" y="259"/>
                    </a:lnTo>
                    <a:lnTo>
                      <a:pt x="46" y="259"/>
                    </a:lnTo>
                    <a:lnTo>
                      <a:pt x="38" y="267"/>
                    </a:lnTo>
                    <a:lnTo>
                      <a:pt x="36" y="268"/>
                    </a:lnTo>
                    <a:lnTo>
                      <a:pt x="36" y="268"/>
                    </a:lnTo>
                    <a:lnTo>
                      <a:pt x="35" y="268"/>
                    </a:lnTo>
                    <a:lnTo>
                      <a:pt x="35" y="270"/>
                    </a:lnTo>
                    <a:lnTo>
                      <a:pt x="33" y="270"/>
                    </a:lnTo>
                    <a:lnTo>
                      <a:pt x="33" y="272"/>
                    </a:lnTo>
                    <a:lnTo>
                      <a:pt x="31" y="274"/>
                    </a:lnTo>
                    <a:lnTo>
                      <a:pt x="31" y="274"/>
                    </a:lnTo>
                    <a:lnTo>
                      <a:pt x="31" y="274"/>
                    </a:lnTo>
                    <a:lnTo>
                      <a:pt x="31" y="274"/>
                    </a:lnTo>
                    <a:lnTo>
                      <a:pt x="33" y="276"/>
                    </a:lnTo>
                    <a:lnTo>
                      <a:pt x="33" y="278"/>
                    </a:lnTo>
                    <a:lnTo>
                      <a:pt x="35" y="278"/>
                    </a:lnTo>
                    <a:lnTo>
                      <a:pt x="35" y="280"/>
                    </a:lnTo>
                    <a:lnTo>
                      <a:pt x="35" y="282"/>
                    </a:lnTo>
                    <a:lnTo>
                      <a:pt x="35" y="282"/>
                    </a:lnTo>
                    <a:lnTo>
                      <a:pt x="35" y="284"/>
                    </a:lnTo>
                    <a:lnTo>
                      <a:pt x="33" y="284"/>
                    </a:lnTo>
                    <a:lnTo>
                      <a:pt x="29" y="286"/>
                    </a:lnTo>
                    <a:lnTo>
                      <a:pt x="27" y="287"/>
                    </a:lnTo>
                    <a:lnTo>
                      <a:pt x="27" y="287"/>
                    </a:lnTo>
                    <a:lnTo>
                      <a:pt x="25" y="291"/>
                    </a:lnTo>
                    <a:lnTo>
                      <a:pt x="21" y="295"/>
                    </a:lnTo>
                    <a:lnTo>
                      <a:pt x="19" y="299"/>
                    </a:lnTo>
                    <a:lnTo>
                      <a:pt x="21" y="301"/>
                    </a:lnTo>
                    <a:lnTo>
                      <a:pt x="25" y="303"/>
                    </a:lnTo>
                    <a:lnTo>
                      <a:pt x="27" y="305"/>
                    </a:lnTo>
                    <a:lnTo>
                      <a:pt x="29" y="305"/>
                    </a:lnTo>
                    <a:lnTo>
                      <a:pt x="31" y="307"/>
                    </a:lnTo>
                    <a:lnTo>
                      <a:pt x="31" y="307"/>
                    </a:lnTo>
                    <a:lnTo>
                      <a:pt x="33" y="307"/>
                    </a:lnTo>
                    <a:lnTo>
                      <a:pt x="36" y="307"/>
                    </a:lnTo>
                    <a:lnTo>
                      <a:pt x="36" y="307"/>
                    </a:lnTo>
                    <a:lnTo>
                      <a:pt x="42" y="305"/>
                    </a:lnTo>
                    <a:lnTo>
                      <a:pt x="42" y="308"/>
                    </a:lnTo>
                    <a:lnTo>
                      <a:pt x="42" y="308"/>
                    </a:lnTo>
                    <a:lnTo>
                      <a:pt x="44" y="310"/>
                    </a:lnTo>
                    <a:lnTo>
                      <a:pt x="44" y="310"/>
                    </a:lnTo>
                    <a:lnTo>
                      <a:pt x="46" y="308"/>
                    </a:lnTo>
                    <a:lnTo>
                      <a:pt x="50" y="307"/>
                    </a:lnTo>
                    <a:lnTo>
                      <a:pt x="50" y="307"/>
                    </a:lnTo>
                    <a:lnTo>
                      <a:pt x="54" y="307"/>
                    </a:lnTo>
                    <a:lnTo>
                      <a:pt x="54" y="307"/>
                    </a:lnTo>
                    <a:lnTo>
                      <a:pt x="54" y="307"/>
                    </a:lnTo>
                    <a:lnTo>
                      <a:pt x="54" y="308"/>
                    </a:lnTo>
                    <a:lnTo>
                      <a:pt x="50" y="316"/>
                    </a:lnTo>
                    <a:lnTo>
                      <a:pt x="50" y="316"/>
                    </a:lnTo>
                    <a:lnTo>
                      <a:pt x="50" y="316"/>
                    </a:lnTo>
                    <a:lnTo>
                      <a:pt x="44" y="318"/>
                    </a:lnTo>
                    <a:lnTo>
                      <a:pt x="42" y="318"/>
                    </a:lnTo>
                    <a:lnTo>
                      <a:pt x="40" y="320"/>
                    </a:lnTo>
                    <a:lnTo>
                      <a:pt x="40" y="322"/>
                    </a:lnTo>
                    <a:lnTo>
                      <a:pt x="40" y="324"/>
                    </a:lnTo>
                    <a:lnTo>
                      <a:pt x="38" y="324"/>
                    </a:lnTo>
                    <a:lnTo>
                      <a:pt x="36" y="324"/>
                    </a:lnTo>
                    <a:lnTo>
                      <a:pt x="36" y="324"/>
                    </a:lnTo>
                    <a:lnTo>
                      <a:pt x="35" y="326"/>
                    </a:lnTo>
                    <a:lnTo>
                      <a:pt x="33" y="326"/>
                    </a:lnTo>
                    <a:lnTo>
                      <a:pt x="33" y="329"/>
                    </a:lnTo>
                    <a:lnTo>
                      <a:pt x="31" y="333"/>
                    </a:lnTo>
                    <a:lnTo>
                      <a:pt x="16" y="352"/>
                    </a:lnTo>
                    <a:lnTo>
                      <a:pt x="14" y="356"/>
                    </a:lnTo>
                    <a:lnTo>
                      <a:pt x="14" y="358"/>
                    </a:lnTo>
                    <a:lnTo>
                      <a:pt x="16" y="360"/>
                    </a:lnTo>
                    <a:lnTo>
                      <a:pt x="16" y="360"/>
                    </a:lnTo>
                    <a:lnTo>
                      <a:pt x="17" y="360"/>
                    </a:lnTo>
                    <a:lnTo>
                      <a:pt x="19" y="362"/>
                    </a:lnTo>
                    <a:lnTo>
                      <a:pt x="21" y="362"/>
                    </a:lnTo>
                    <a:lnTo>
                      <a:pt x="21" y="364"/>
                    </a:lnTo>
                    <a:lnTo>
                      <a:pt x="21" y="364"/>
                    </a:lnTo>
                    <a:lnTo>
                      <a:pt x="23" y="369"/>
                    </a:lnTo>
                    <a:lnTo>
                      <a:pt x="23" y="371"/>
                    </a:lnTo>
                    <a:lnTo>
                      <a:pt x="27" y="375"/>
                    </a:lnTo>
                    <a:lnTo>
                      <a:pt x="27" y="379"/>
                    </a:lnTo>
                    <a:lnTo>
                      <a:pt x="27" y="381"/>
                    </a:lnTo>
                    <a:lnTo>
                      <a:pt x="25" y="383"/>
                    </a:lnTo>
                    <a:lnTo>
                      <a:pt x="23" y="385"/>
                    </a:lnTo>
                    <a:lnTo>
                      <a:pt x="23" y="386"/>
                    </a:lnTo>
                    <a:lnTo>
                      <a:pt x="23" y="390"/>
                    </a:lnTo>
                    <a:lnTo>
                      <a:pt x="23" y="405"/>
                    </a:lnTo>
                    <a:lnTo>
                      <a:pt x="23" y="407"/>
                    </a:lnTo>
                    <a:lnTo>
                      <a:pt x="21" y="407"/>
                    </a:lnTo>
                    <a:lnTo>
                      <a:pt x="21" y="409"/>
                    </a:lnTo>
                    <a:lnTo>
                      <a:pt x="21" y="409"/>
                    </a:lnTo>
                    <a:lnTo>
                      <a:pt x="19" y="415"/>
                    </a:lnTo>
                    <a:lnTo>
                      <a:pt x="19" y="417"/>
                    </a:lnTo>
                    <a:lnTo>
                      <a:pt x="19" y="419"/>
                    </a:lnTo>
                    <a:lnTo>
                      <a:pt x="21" y="419"/>
                    </a:lnTo>
                    <a:lnTo>
                      <a:pt x="23" y="421"/>
                    </a:lnTo>
                    <a:lnTo>
                      <a:pt x="23" y="421"/>
                    </a:lnTo>
                    <a:lnTo>
                      <a:pt x="25" y="423"/>
                    </a:lnTo>
                    <a:lnTo>
                      <a:pt x="23" y="423"/>
                    </a:lnTo>
                    <a:lnTo>
                      <a:pt x="21" y="424"/>
                    </a:lnTo>
                    <a:lnTo>
                      <a:pt x="21" y="424"/>
                    </a:lnTo>
                    <a:lnTo>
                      <a:pt x="19" y="426"/>
                    </a:lnTo>
                    <a:lnTo>
                      <a:pt x="19" y="428"/>
                    </a:lnTo>
                    <a:lnTo>
                      <a:pt x="19" y="428"/>
                    </a:lnTo>
                    <a:lnTo>
                      <a:pt x="21" y="426"/>
                    </a:lnTo>
                    <a:lnTo>
                      <a:pt x="23" y="426"/>
                    </a:lnTo>
                    <a:lnTo>
                      <a:pt x="23" y="426"/>
                    </a:lnTo>
                    <a:lnTo>
                      <a:pt x="25" y="428"/>
                    </a:lnTo>
                    <a:lnTo>
                      <a:pt x="25" y="428"/>
                    </a:lnTo>
                    <a:lnTo>
                      <a:pt x="23" y="430"/>
                    </a:lnTo>
                    <a:lnTo>
                      <a:pt x="23" y="430"/>
                    </a:lnTo>
                    <a:lnTo>
                      <a:pt x="23" y="432"/>
                    </a:lnTo>
                    <a:lnTo>
                      <a:pt x="23" y="434"/>
                    </a:lnTo>
                    <a:lnTo>
                      <a:pt x="21" y="436"/>
                    </a:lnTo>
                    <a:lnTo>
                      <a:pt x="21" y="436"/>
                    </a:lnTo>
                    <a:lnTo>
                      <a:pt x="17" y="438"/>
                    </a:lnTo>
                    <a:lnTo>
                      <a:pt x="17" y="438"/>
                    </a:lnTo>
                    <a:lnTo>
                      <a:pt x="17" y="440"/>
                    </a:lnTo>
                    <a:lnTo>
                      <a:pt x="16" y="442"/>
                    </a:lnTo>
                    <a:lnTo>
                      <a:pt x="16" y="442"/>
                    </a:lnTo>
                    <a:lnTo>
                      <a:pt x="16" y="443"/>
                    </a:lnTo>
                    <a:lnTo>
                      <a:pt x="12" y="445"/>
                    </a:lnTo>
                    <a:lnTo>
                      <a:pt x="8" y="449"/>
                    </a:lnTo>
                    <a:lnTo>
                      <a:pt x="2" y="451"/>
                    </a:lnTo>
                    <a:lnTo>
                      <a:pt x="0" y="453"/>
                    </a:lnTo>
                    <a:lnTo>
                      <a:pt x="0" y="453"/>
                    </a:lnTo>
                    <a:lnTo>
                      <a:pt x="4" y="457"/>
                    </a:lnTo>
                    <a:lnTo>
                      <a:pt x="6" y="459"/>
                    </a:lnTo>
                    <a:lnTo>
                      <a:pt x="17" y="463"/>
                    </a:lnTo>
                    <a:lnTo>
                      <a:pt x="19" y="463"/>
                    </a:lnTo>
                    <a:lnTo>
                      <a:pt x="27" y="463"/>
                    </a:lnTo>
                    <a:lnTo>
                      <a:pt x="31" y="463"/>
                    </a:lnTo>
                    <a:lnTo>
                      <a:pt x="35" y="464"/>
                    </a:lnTo>
                    <a:lnTo>
                      <a:pt x="36" y="466"/>
                    </a:lnTo>
                    <a:lnTo>
                      <a:pt x="36" y="466"/>
                    </a:lnTo>
                    <a:lnTo>
                      <a:pt x="38" y="468"/>
                    </a:lnTo>
                    <a:lnTo>
                      <a:pt x="38" y="470"/>
                    </a:lnTo>
                    <a:lnTo>
                      <a:pt x="36" y="472"/>
                    </a:lnTo>
                    <a:lnTo>
                      <a:pt x="36" y="472"/>
                    </a:lnTo>
                    <a:lnTo>
                      <a:pt x="35" y="474"/>
                    </a:lnTo>
                    <a:lnTo>
                      <a:pt x="31" y="476"/>
                    </a:lnTo>
                    <a:lnTo>
                      <a:pt x="31" y="476"/>
                    </a:lnTo>
                    <a:lnTo>
                      <a:pt x="31" y="478"/>
                    </a:lnTo>
                    <a:lnTo>
                      <a:pt x="29" y="480"/>
                    </a:lnTo>
                    <a:lnTo>
                      <a:pt x="29" y="483"/>
                    </a:lnTo>
                    <a:lnTo>
                      <a:pt x="29" y="483"/>
                    </a:lnTo>
                    <a:lnTo>
                      <a:pt x="29" y="485"/>
                    </a:lnTo>
                    <a:lnTo>
                      <a:pt x="29" y="487"/>
                    </a:lnTo>
                    <a:lnTo>
                      <a:pt x="29" y="491"/>
                    </a:lnTo>
                    <a:lnTo>
                      <a:pt x="29" y="497"/>
                    </a:lnTo>
                    <a:lnTo>
                      <a:pt x="29" y="501"/>
                    </a:lnTo>
                    <a:lnTo>
                      <a:pt x="29" y="502"/>
                    </a:lnTo>
                    <a:lnTo>
                      <a:pt x="29" y="506"/>
                    </a:lnTo>
                    <a:lnTo>
                      <a:pt x="29" y="512"/>
                    </a:lnTo>
                    <a:lnTo>
                      <a:pt x="29" y="512"/>
                    </a:lnTo>
                    <a:lnTo>
                      <a:pt x="27" y="514"/>
                    </a:lnTo>
                    <a:lnTo>
                      <a:pt x="25" y="516"/>
                    </a:lnTo>
                    <a:lnTo>
                      <a:pt x="25" y="518"/>
                    </a:lnTo>
                    <a:lnTo>
                      <a:pt x="25" y="518"/>
                    </a:lnTo>
                    <a:lnTo>
                      <a:pt x="29" y="522"/>
                    </a:lnTo>
                    <a:lnTo>
                      <a:pt x="35" y="523"/>
                    </a:lnTo>
                    <a:lnTo>
                      <a:pt x="38" y="523"/>
                    </a:lnTo>
                    <a:lnTo>
                      <a:pt x="40" y="523"/>
                    </a:lnTo>
                    <a:lnTo>
                      <a:pt x="42" y="523"/>
                    </a:lnTo>
                    <a:lnTo>
                      <a:pt x="44" y="523"/>
                    </a:lnTo>
                    <a:lnTo>
                      <a:pt x="44" y="523"/>
                    </a:lnTo>
                    <a:lnTo>
                      <a:pt x="46" y="523"/>
                    </a:lnTo>
                    <a:lnTo>
                      <a:pt x="46" y="523"/>
                    </a:lnTo>
                    <a:lnTo>
                      <a:pt x="46" y="525"/>
                    </a:lnTo>
                    <a:lnTo>
                      <a:pt x="48" y="525"/>
                    </a:lnTo>
                    <a:lnTo>
                      <a:pt x="48" y="527"/>
                    </a:lnTo>
                    <a:lnTo>
                      <a:pt x="50" y="527"/>
                    </a:lnTo>
                    <a:lnTo>
                      <a:pt x="52" y="527"/>
                    </a:lnTo>
                    <a:lnTo>
                      <a:pt x="54" y="529"/>
                    </a:lnTo>
                    <a:lnTo>
                      <a:pt x="56" y="527"/>
                    </a:lnTo>
                    <a:lnTo>
                      <a:pt x="56" y="527"/>
                    </a:lnTo>
                    <a:lnTo>
                      <a:pt x="57" y="527"/>
                    </a:lnTo>
                    <a:lnTo>
                      <a:pt x="57" y="527"/>
                    </a:lnTo>
                    <a:lnTo>
                      <a:pt x="59" y="527"/>
                    </a:lnTo>
                    <a:lnTo>
                      <a:pt x="59" y="527"/>
                    </a:lnTo>
                    <a:lnTo>
                      <a:pt x="61" y="527"/>
                    </a:lnTo>
                    <a:lnTo>
                      <a:pt x="63" y="527"/>
                    </a:lnTo>
                    <a:lnTo>
                      <a:pt x="63" y="527"/>
                    </a:lnTo>
                    <a:lnTo>
                      <a:pt x="65" y="529"/>
                    </a:lnTo>
                    <a:lnTo>
                      <a:pt x="65" y="529"/>
                    </a:lnTo>
                    <a:lnTo>
                      <a:pt x="67" y="529"/>
                    </a:lnTo>
                    <a:lnTo>
                      <a:pt x="69" y="529"/>
                    </a:lnTo>
                    <a:lnTo>
                      <a:pt x="69" y="529"/>
                    </a:lnTo>
                    <a:lnTo>
                      <a:pt x="71" y="529"/>
                    </a:lnTo>
                    <a:lnTo>
                      <a:pt x="73" y="529"/>
                    </a:lnTo>
                    <a:lnTo>
                      <a:pt x="73" y="527"/>
                    </a:lnTo>
                    <a:lnTo>
                      <a:pt x="73" y="529"/>
                    </a:lnTo>
                    <a:lnTo>
                      <a:pt x="75" y="529"/>
                    </a:lnTo>
                    <a:lnTo>
                      <a:pt x="77" y="527"/>
                    </a:lnTo>
                    <a:lnTo>
                      <a:pt x="77" y="525"/>
                    </a:lnTo>
                    <a:lnTo>
                      <a:pt x="78" y="525"/>
                    </a:lnTo>
                    <a:lnTo>
                      <a:pt x="80" y="525"/>
                    </a:lnTo>
                    <a:lnTo>
                      <a:pt x="82" y="527"/>
                    </a:lnTo>
                    <a:lnTo>
                      <a:pt x="84" y="527"/>
                    </a:lnTo>
                    <a:lnTo>
                      <a:pt x="86" y="527"/>
                    </a:lnTo>
                    <a:lnTo>
                      <a:pt x="90" y="527"/>
                    </a:lnTo>
                    <a:lnTo>
                      <a:pt x="90" y="529"/>
                    </a:lnTo>
                    <a:lnTo>
                      <a:pt x="94" y="529"/>
                    </a:lnTo>
                    <a:lnTo>
                      <a:pt x="94" y="531"/>
                    </a:lnTo>
                    <a:lnTo>
                      <a:pt x="94" y="529"/>
                    </a:lnTo>
                    <a:lnTo>
                      <a:pt x="96" y="527"/>
                    </a:lnTo>
                    <a:lnTo>
                      <a:pt x="96" y="525"/>
                    </a:lnTo>
                    <a:lnTo>
                      <a:pt x="98" y="525"/>
                    </a:lnTo>
                    <a:lnTo>
                      <a:pt x="98" y="525"/>
                    </a:lnTo>
                    <a:lnTo>
                      <a:pt x="98" y="525"/>
                    </a:lnTo>
                    <a:lnTo>
                      <a:pt x="99" y="525"/>
                    </a:lnTo>
                    <a:lnTo>
                      <a:pt x="99" y="529"/>
                    </a:lnTo>
                    <a:lnTo>
                      <a:pt x="99" y="529"/>
                    </a:lnTo>
                    <a:lnTo>
                      <a:pt x="101" y="531"/>
                    </a:lnTo>
                    <a:lnTo>
                      <a:pt x="101" y="533"/>
                    </a:lnTo>
                    <a:lnTo>
                      <a:pt x="107" y="535"/>
                    </a:lnTo>
                    <a:lnTo>
                      <a:pt x="107" y="535"/>
                    </a:lnTo>
                    <a:lnTo>
                      <a:pt x="109" y="535"/>
                    </a:lnTo>
                    <a:lnTo>
                      <a:pt x="109" y="533"/>
                    </a:lnTo>
                    <a:lnTo>
                      <a:pt x="109" y="531"/>
                    </a:lnTo>
                    <a:lnTo>
                      <a:pt x="111" y="531"/>
                    </a:lnTo>
                    <a:lnTo>
                      <a:pt x="113" y="531"/>
                    </a:lnTo>
                    <a:lnTo>
                      <a:pt x="113" y="531"/>
                    </a:lnTo>
                    <a:lnTo>
                      <a:pt x="115" y="531"/>
                    </a:lnTo>
                    <a:lnTo>
                      <a:pt x="115" y="531"/>
                    </a:lnTo>
                    <a:lnTo>
                      <a:pt x="115" y="529"/>
                    </a:lnTo>
                    <a:lnTo>
                      <a:pt x="115" y="529"/>
                    </a:lnTo>
                    <a:lnTo>
                      <a:pt x="117" y="527"/>
                    </a:lnTo>
                    <a:lnTo>
                      <a:pt x="117" y="527"/>
                    </a:lnTo>
                    <a:lnTo>
                      <a:pt x="117" y="525"/>
                    </a:lnTo>
                    <a:lnTo>
                      <a:pt x="117" y="525"/>
                    </a:lnTo>
                    <a:lnTo>
                      <a:pt x="118" y="523"/>
                    </a:lnTo>
                    <a:lnTo>
                      <a:pt x="120" y="523"/>
                    </a:lnTo>
                    <a:lnTo>
                      <a:pt x="122" y="522"/>
                    </a:lnTo>
                    <a:lnTo>
                      <a:pt x="124" y="522"/>
                    </a:lnTo>
                    <a:lnTo>
                      <a:pt x="124" y="520"/>
                    </a:lnTo>
                    <a:lnTo>
                      <a:pt x="124" y="520"/>
                    </a:lnTo>
                    <a:lnTo>
                      <a:pt x="124" y="518"/>
                    </a:lnTo>
                    <a:lnTo>
                      <a:pt x="124" y="516"/>
                    </a:lnTo>
                    <a:lnTo>
                      <a:pt x="126" y="516"/>
                    </a:lnTo>
                    <a:lnTo>
                      <a:pt x="126" y="514"/>
                    </a:lnTo>
                    <a:lnTo>
                      <a:pt x="126" y="512"/>
                    </a:lnTo>
                    <a:lnTo>
                      <a:pt x="126" y="512"/>
                    </a:lnTo>
                    <a:lnTo>
                      <a:pt x="126" y="508"/>
                    </a:lnTo>
                    <a:lnTo>
                      <a:pt x="126" y="508"/>
                    </a:lnTo>
                    <a:lnTo>
                      <a:pt x="128" y="508"/>
                    </a:lnTo>
                    <a:lnTo>
                      <a:pt x="130" y="508"/>
                    </a:lnTo>
                    <a:lnTo>
                      <a:pt x="130" y="508"/>
                    </a:lnTo>
                    <a:lnTo>
                      <a:pt x="134" y="508"/>
                    </a:lnTo>
                    <a:lnTo>
                      <a:pt x="134" y="506"/>
                    </a:lnTo>
                    <a:lnTo>
                      <a:pt x="136" y="506"/>
                    </a:lnTo>
                    <a:lnTo>
                      <a:pt x="136" y="504"/>
                    </a:lnTo>
                    <a:lnTo>
                      <a:pt x="138" y="504"/>
                    </a:lnTo>
                    <a:lnTo>
                      <a:pt x="139" y="504"/>
                    </a:lnTo>
                    <a:lnTo>
                      <a:pt x="141" y="502"/>
                    </a:lnTo>
                    <a:lnTo>
                      <a:pt x="145" y="501"/>
                    </a:lnTo>
                    <a:lnTo>
                      <a:pt x="147" y="501"/>
                    </a:lnTo>
                    <a:lnTo>
                      <a:pt x="151" y="501"/>
                    </a:lnTo>
                    <a:lnTo>
                      <a:pt x="157" y="502"/>
                    </a:lnTo>
                    <a:lnTo>
                      <a:pt x="159" y="502"/>
                    </a:lnTo>
                    <a:lnTo>
                      <a:pt x="160" y="504"/>
                    </a:lnTo>
                    <a:lnTo>
                      <a:pt x="162" y="504"/>
                    </a:lnTo>
                    <a:lnTo>
                      <a:pt x="164" y="504"/>
                    </a:lnTo>
                    <a:lnTo>
                      <a:pt x="164" y="504"/>
                    </a:lnTo>
                    <a:lnTo>
                      <a:pt x="166" y="502"/>
                    </a:lnTo>
                    <a:lnTo>
                      <a:pt x="168" y="501"/>
                    </a:lnTo>
                    <a:lnTo>
                      <a:pt x="170" y="499"/>
                    </a:lnTo>
                    <a:lnTo>
                      <a:pt x="172" y="499"/>
                    </a:lnTo>
                    <a:lnTo>
                      <a:pt x="174" y="501"/>
                    </a:lnTo>
                    <a:lnTo>
                      <a:pt x="176" y="501"/>
                    </a:lnTo>
                    <a:lnTo>
                      <a:pt x="176" y="502"/>
                    </a:lnTo>
                    <a:lnTo>
                      <a:pt x="178" y="504"/>
                    </a:lnTo>
                    <a:lnTo>
                      <a:pt x="178" y="506"/>
                    </a:lnTo>
                    <a:lnTo>
                      <a:pt x="180" y="506"/>
                    </a:lnTo>
                    <a:lnTo>
                      <a:pt x="183" y="508"/>
                    </a:lnTo>
                    <a:lnTo>
                      <a:pt x="185" y="508"/>
                    </a:lnTo>
                    <a:lnTo>
                      <a:pt x="187" y="508"/>
                    </a:lnTo>
                    <a:lnTo>
                      <a:pt x="189" y="508"/>
                    </a:lnTo>
                    <a:lnTo>
                      <a:pt x="191" y="508"/>
                    </a:lnTo>
                    <a:lnTo>
                      <a:pt x="193" y="508"/>
                    </a:lnTo>
                    <a:lnTo>
                      <a:pt x="195" y="506"/>
                    </a:lnTo>
                    <a:lnTo>
                      <a:pt x="197" y="504"/>
                    </a:lnTo>
                    <a:lnTo>
                      <a:pt x="197" y="504"/>
                    </a:lnTo>
                    <a:lnTo>
                      <a:pt x="199" y="501"/>
                    </a:lnTo>
                    <a:lnTo>
                      <a:pt x="199" y="499"/>
                    </a:lnTo>
                    <a:lnTo>
                      <a:pt x="199" y="499"/>
                    </a:lnTo>
                    <a:lnTo>
                      <a:pt x="199" y="497"/>
                    </a:lnTo>
                    <a:lnTo>
                      <a:pt x="199" y="497"/>
                    </a:lnTo>
                    <a:lnTo>
                      <a:pt x="199" y="495"/>
                    </a:lnTo>
                    <a:lnTo>
                      <a:pt x="199" y="493"/>
                    </a:lnTo>
                    <a:lnTo>
                      <a:pt x="199" y="493"/>
                    </a:lnTo>
                    <a:lnTo>
                      <a:pt x="199" y="491"/>
                    </a:lnTo>
                    <a:lnTo>
                      <a:pt x="200" y="491"/>
                    </a:lnTo>
                    <a:lnTo>
                      <a:pt x="200" y="491"/>
                    </a:lnTo>
                    <a:lnTo>
                      <a:pt x="202" y="491"/>
                    </a:lnTo>
                    <a:lnTo>
                      <a:pt x="202" y="493"/>
                    </a:lnTo>
                    <a:lnTo>
                      <a:pt x="202" y="495"/>
                    </a:lnTo>
                    <a:lnTo>
                      <a:pt x="202" y="497"/>
                    </a:lnTo>
                    <a:lnTo>
                      <a:pt x="202" y="497"/>
                    </a:lnTo>
                    <a:lnTo>
                      <a:pt x="206" y="499"/>
                    </a:lnTo>
                    <a:lnTo>
                      <a:pt x="206" y="499"/>
                    </a:lnTo>
                    <a:lnTo>
                      <a:pt x="208" y="499"/>
                    </a:lnTo>
                    <a:lnTo>
                      <a:pt x="208" y="497"/>
                    </a:lnTo>
                    <a:lnTo>
                      <a:pt x="208" y="497"/>
                    </a:lnTo>
                    <a:lnTo>
                      <a:pt x="210" y="497"/>
                    </a:lnTo>
                    <a:lnTo>
                      <a:pt x="210" y="495"/>
                    </a:lnTo>
                    <a:lnTo>
                      <a:pt x="208" y="491"/>
                    </a:lnTo>
                    <a:lnTo>
                      <a:pt x="208" y="487"/>
                    </a:lnTo>
                    <a:lnTo>
                      <a:pt x="208" y="487"/>
                    </a:lnTo>
                    <a:lnTo>
                      <a:pt x="210" y="485"/>
                    </a:lnTo>
                    <a:lnTo>
                      <a:pt x="212" y="485"/>
                    </a:lnTo>
                    <a:lnTo>
                      <a:pt x="214" y="483"/>
                    </a:lnTo>
                    <a:lnTo>
                      <a:pt x="216" y="483"/>
                    </a:lnTo>
                    <a:lnTo>
                      <a:pt x="218" y="482"/>
                    </a:lnTo>
                    <a:lnTo>
                      <a:pt x="220" y="480"/>
                    </a:lnTo>
                    <a:lnTo>
                      <a:pt x="221" y="480"/>
                    </a:lnTo>
                    <a:lnTo>
                      <a:pt x="223" y="480"/>
                    </a:lnTo>
                    <a:lnTo>
                      <a:pt x="225" y="480"/>
                    </a:lnTo>
                    <a:lnTo>
                      <a:pt x="225" y="480"/>
                    </a:lnTo>
                    <a:lnTo>
                      <a:pt x="227" y="482"/>
                    </a:lnTo>
                    <a:lnTo>
                      <a:pt x="235" y="482"/>
                    </a:lnTo>
                    <a:lnTo>
                      <a:pt x="237" y="482"/>
                    </a:lnTo>
                    <a:lnTo>
                      <a:pt x="237" y="482"/>
                    </a:lnTo>
                    <a:lnTo>
                      <a:pt x="239" y="483"/>
                    </a:lnTo>
                    <a:lnTo>
                      <a:pt x="241" y="483"/>
                    </a:lnTo>
                    <a:lnTo>
                      <a:pt x="241" y="483"/>
                    </a:lnTo>
                    <a:lnTo>
                      <a:pt x="242" y="483"/>
                    </a:lnTo>
                    <a:lnTo>
                      <a:pt x="244" y="482"/>
                    </a:lnTo>
                    <a:lnTo>
                      <a:pt x="246" y="482"/>
                    </a:lnTo>
                    <a:lnTo>
                      <a:pt x="248" y="480"/>
                    </a:lnTo>
                    <a:lnTo>
                      <a:pt x="248" y="472"/>
                    </a:lnTo>
                    <a:lnTo>
                      <a:pt x="248" y="468"/>
                    </a:lnTo>
                    <a:lnTo>
                      <a:pt x="248" y="466"/>
                    </a:lnTo>
                    <a:lnTo>
                      <a:pt x="246" y="464"/>
                    </a:lnTo>
                    <a:lnTo>
                      <a:pt x="246" y="463"/>
                    </a:lnTo>
                    <a:lnTo>
                      <a:pt x="246" y="461"/>
                    </a:lnTo>
                    <a:lnTo>
                      <a:pt x="246" y="457"/>
                    </a:lnTo>
                    <a:lnTo>
                      <a:pt x="246" y="455"/>
                    </a:lnTo>
                    <a:lnTo>
                      <a:pt x="248" y="453"/>
                    </a:lnTo>
                    <a:lnTo>
                      <a:pt x="248" y="451"/>
                    </a:lnTo>
                    <a:lnTo>
                      <a:pt x="248" y="451"/>
                    </a:lnTo>
                    <a:lnTo>
                      <a:pt x="248" y="449"/>
                    </a:lnTo>
                    <a:lnTo>
                      <a:pt x="248" y="447"/>
                    </a:lnTo>
                    <a:lnTo>
                      <a:pt x="248" y="445"/>
                    </a:lnTo>
                    <a:lnTo>
                      <a:pt x="248" y="443"/>
                    </a:lnTo>
                    <a:lnTo>
                      <a:pt x="252" y="440"/>
                    </a:lnTo>
                    <a:lnTo>
                      <a:pt x="252" y="438"/>
                    </a:lnTo>
                    <a:lnTo>
                      <a:pt x="254" y="438"/>
                    </a:lnTo>
                    <a:lnTo>
                      <a:pt x="256" y="438"/>
                    </a:lnTo>
                    <a:lnTo>
                      <a:pt x="260" y="436"/>
                    </a:lnTo>
                    <a:lnTo>
                      <a:pt x="262" y="436"/>
                    </a:lnTo>
                    <a:lnTo>
                      <a:pt x="263" y="436"/>
                    </a:lnTo>
                    <a:lnTo>
                      <a:pt x="269" y="436"/>
                    </a:lnTo>
                    <a:lnTo>
                      <a:pt x="273" y="436"/>
                    </a:lnTo>
                    <a:lnTo>
                      <a:pt x="273" y="436"/>
                    </a:lnTo>
                    <a:lnTo>
                      <a:pt x="275" y="434"/>
                    </a:lnTo>
                    <a:lnTo>
                      <a:pt x="275" y="432"/>
                    </a:lnTo>
                    <a:lnTo>
                      <a:pt x="279" y="432"/>
                    </a:lnTo>
                    <a:lnTo>
                      <a:pt x="282" y="430"/>
                    </a:lnTo>
                    <a:lnTo>
                      <a:pt x="284" y="428"/>
                    </a:lnTo>
                    <a:lnTo>
                      <a:pt x="286" y="430"/>
                    </a:lnTo>
                    <a:lnTo>
                      <a:pt x="288" y="428"/>
                    </a:lnTo>
                    <a:lnTo>
                      <a:pt x="290" y="428"/>
                    </a:lnTo>
                    <a:lnTo>
                      <a:pt x="292" y="428"/>
                    </a:lnTo>
                    <a:lnTo>
                      <a:pt x="292" y="426"/>
                    </a:lnTo>
                    <a:lnTo>
                      <a:pt x="294" y="424"/>
                    </a:lnTo>
                    <a:lnTo>
                      <a:pt x="296" y="424"/>
                    </a:lnTo>
                    <a:lnTo>
                      <a:pt x="298" y="426"/>
                    </a:lnTo>
                    <a:lnTo>
                      <a:pt x="300" y="426"/>
                    </a:lnTo>
                    <a:lnTo>
                      <a:pt x="302" y="424"/>
                    </a:lnTo>
                    <a:lnTo>
                      <a:pt x="303" y="423"/>
                    </a:lnTo>
                    <a:lnTo>
                      <a:pt x="305" y="423"/>
                    </a:lnTo>
                    <a:lnTo>
                      <a:pt x="309" y="421"/>
                    </a:lnTo>
                    <a:lnTo>
                      <a:pt x="311" y="421"/>
                    </a:lnTo>
                    <a:lnTo>
                      <a:pt x="313" y="419"/>
                    </a:lnTo>
                    <a:lnTo>
                      <a:pt x="315" y="417"/>
                    </a:lnTo>
                    <a:lnTo>
                      <a:pt x="317" y="417"/>
                    </a:lnTo>
                    <a:lnTo>
                      <a:pt x="317" y="417"/>
                    </a:lnTo>
                    <a:lnTo>
                      <a:pt x="321" y="423"/>
                    </a:lnTo>
                    <a:lnTo>
                      <a:pt x="323" y="423"/>
                    </a:lnTo>
                    <a:lnTo>
                      <a:pt x="324" y="421"/>
                    </a:lnTo>
                    <a:lnTo>
                      <a:pt x="328" y="421"/>
                    </a:lnTo>
                    <a:lnTo>
                      <a:pt x="328" y="423"/>
                    </a:lnTo>
                    <a:lnTo>
                      <a:pt x="330" y="424"/>
                    </a:lnTo>
                    <a:lnTo>
                      <a:pt x="330" y="426"/>
                    </a:lnTo>
                    <a:lnTo>
                      <a:pt x="332" y="428"/>
                    </a:lnTo>
                    <a:lnTo>
                      <a:pt x="334" y="430"/>
                    </a:lnTo>
                    <a:lnTo>
                      <a:pt x="336" y="430"/>
                    </a:lnTo>
                    <a:lnTo>
                      <a:pt x="338" y="430"/>
                    </a:lnTo>
                    <a:lnTo>
                      <a:pt x="340" y="428"/>
                    </a:lnTo>
                    <a:lnTo>
                      <a:pt x="342" y="426"/>
                    </a:lnTo>
                    <a:lnTo>
                      <a:pt x="343" y="421"/>
                    </a:lnTo>
                    <a:lnTo>
                      <a:pt x="343" y="421"/>
                    </a:lnTo>
                    <a:lnTo>
                      <a:pt x="345" y="421"/>
                    </a:lnTo>
                    <a:lnTo>
                      <a:pt x="347" y="419"/>
                    </a:lnTo>
                    <a:lnTo>
                      <a:pt x="347" y="419"/>
                    </a:lnTo>
                    <a:lnTo>
                      <a:pt x="349" y="417"/>
                    </a:lnTo>
                    <a:lnTo>
                      <a:pt x="349" y="415"/>
                    </a:lnTo>
                    <a:lnTo>
                      <a:pt x="351" y="415"/>
                    </a:lnTo>
                    <a:lnTo>
                      <a:pt x="351" y="411"/>
                    </a:lnTo>
                    <a:lnTo>
                      <a:pt x="351" y="409"/>
                    </a:lnTo>
                    <a:lnTo>
                      <a:pt x="353" y="407"/>
                    </a:lnTo>
                    <a:lnTo>
                      <a:pt x="353" y="405"/>
                    </a:lnTo>
                    <a:lnTo>
                      <a:pt x="349" y="404"/>
                    </a:lnTo>
                    <a:lnTo>
                      <a:pt x="349" y="404"/>
                    </a:lnTo>
                    <a:lnTo>
                      <a:pt x="349" y="402"/>
                    </a:lnTo>
                    <a:lnTo>
                      <a:pt x="349" y="402"/>
                    </a:lnTo>
                    <a:lnTo>
                      <a:pt x="349" y="400"/>
                    </a:lnTo>
                    <a:lnTo>
                      <a:pt x="347" y="400"/>
                    </a:lnTo>
                    <a:lnTo>
                      <a:pt x="343" y="400"/>
                    </a:lnTo>
                    <a:lnTo>
                      <a:pt x="343" y="400"/>
                    </a:lnTo>
                    <a:lnTo>
                      <a:pt x="343" y="398"/>
                    </a:lnTo>
                    <a:lnTo>
                      <a:pt x="345" y="396"/>
                    </a:lnTo>
                    <a:lnTo>
                      <a:pt x="345" y="394"/>
                    </a:lnTo>
                    <a:lnTo>
                      <a:pt x="347" y="392"/>
                    </a:lnTo>
                    <a:lnTo>
                      <a:pt x="347" y="390"/>
                    </a:lnTo>
                    <a:lnTo>
                      <a:pt x="349" y="390"/>
                    </a:lnTo>
                    <a:lnTo>
                      <a:pt x="351" y="386"/>
                    </a:lnTo>
                    <a:lnTo>
                      <a:pt x="355" y="386"/>
                    </a:lnTo>
                    <a:lnTo>
                      <a:pt x="355" y="385"/>
                    </a:lnTo>
                    <a:lnTo>
                      <a:pt x="355" y="383"/>
                    </a:lnTo>
                    <a:lnTo>
                      <a:pt x="357" y="383"/>
                    </a:lnTo>
                    <a:lnTo>
                      <a:pt x="359" y="385"/>
                    </a:lnTo>
                    <a:lnTo>
                      <a:pt x="359" y="385"/>
                    </a:lnTo>
                    <a:lnTo>
                      <a:pt x="359" y="383"/>
                    </a:lnTo>
                    <a:lnTo>
                      <a:pt x="361" y="383"/>
                    </a:lnTo>
                    <a:lnTo>
                      <a:pt x="361" y="383"/>
                    </a:lnTo>
                    <a:lnTo>
                      <a:pt x="361" y="383"/>
                    </a:lnTo>
                    <a:lnTo>
                      <a:pt x="363" y="383"/>
                    </a:lnTo>
                    <a:lnTo>
                      <a:pt x="363" y="381"/>
                    </a:lnTo>
                    <a:lnTo>
                      <a:pt x="363" y="381"/>
                    </a:lnTo>
                    <a:lnTo>
                      <a:pt x="366" y="379"/>
                    </a:lnTo>
                    <a:lnTo>
                      <a:pt x="366" y="377"/>
                    </a:lnTo>
                    <a:lnTo>
                      <a:pt x="368" y="375"/>
                    </a:lnTo>
                    <a:lnTo>
                      <a:pt x="368" y="375"/>
                    </a:lnTo>
                    <a:lnTo>
                      <a:pt x="370" y="379"/>
                    </a:lnTo>
                    <a:lnTo>
                      <a:pt x="368" y="379"/>
                    </a:lnTo>
                    <a:lnTo>
                      <a:pt x="370" y="379"/>
                    </a:lnTo>
                    <a:lnTo>
                      <a:pt x="372" y="379"/>
                    </a:lnTo>
                    <a:lnTo>
                      <a:pt x="372" y="379"/>
                    </a:lnTo>
                    <a:lnTo>
                      <a:pt x="374" y="381"/>
                    </a:lnTo>
                    <a:lnTo>
                      <a:pt x="374" y="381"/>
                    </a:lnTo>
                    <a:lnTo>
                      <a:pt x="374" y="381"/>
                    </a:lnTo>
                    <a:lnTo>
                      <a:pt x="376" y="381"/>
                    </a:lnTo>
                    <a:lnTo>
                      <a:pt x="378" y="381"/>
                    </a:lnTo>
                    <a:lnTo>
                      <a:pt x="380" y="383"/>
                    </a:lnTo>
                    <a:lnTo>
                      <a:pt x="382" y="385"/>
                    </a:lnTo>
                    <a:lnTo>
                      <a:pt x="382" y="386"/>
                    </a:lnTo>
                    <a:lnTo>
                      <a:pt x="384" y="388"/>
                    </a:lnTo>
                    <a:lnTo>
                      <a:pt x="384" y="392"/>
                    </a:lnTo>
                    <a:lnTo>
                      <a:pt x="384" y="392"/>
                    </a:lnTo>
                    <a:lnTo>
                      <a:pt x="384" y="392"/>
                    </a:lnTo>
                    <a:lnTo>
                      <a:pt x="384" y="396"/>
                    </a:lnTo>
                    <a:lnTo>
                      <a:pt x="384" y="396"/>
                    </a:lnTo>
                    <a:lnTo>
                      <a:pt x="385" y="398"/>
                    </a:lnTo>
                    <a:lnTo>
                      <a:pt x="385" y="398"/>
                    </a:lnTo>
                    <a:lnTo>
                      <a:pt x="385" y="398"/>
                    </a:lnTo>
                    <a:lnTo>
                      <a:pt x="387" y="398"/>
                    </a:lnTo>
                    <a:lnTo>
                      <a:pt x="387" y="400"/>
                    </a:lnTo>
                    <a:lnTo>
                      <a:pt x="389" y="400"/>
                    </a:lnTo>
                    <a:lnTo>
                      <a:pt x="389" y="400"/>
                    </a:lnTo>
                    <a:lnTo>
                      <a:pt x="389" y="402"/>
                    </a:lnTo>
                    <a:lnTo>
                      <a:pt x="391" y="402"/>
                    </a:lnTo>
                    <a:lnTo>
                      <a:pt x="391" y="404"/>
                    </a:lnTo>
                    <a:lnTo>
                      <a:pt x="391" y="405"/>
                    </a:lnTo>
                    <a:lnTo>
                      <a:pt x="391" y="405"/>
                    </a:lnTo>
                    <a:lnTo>
                      <a:pt x="391" y="405"/>
                    </a:lnTo>
                    <a:lnTo>
                      <a:pt x="393" y="405"/>
                    </a:lnTo>
                    <a:lnTo>
                      <a:pt x="395" y="404"/>
                    </a:lnTo>
                    <a:lnTo>
                      <a:pt x="395" y="404"/>
                    </a:lnTo>
                    <a:lnTo>
                      <a:pt x="395" y="404"/>
                    </a:lnTo>
                    <a:lnTo>
                      <a:pt x="395" y="402"/>
                    </a:lnTo>
                    <a:lnTo>
                      <a:pt x="397" y="402"/>
                    </a:lnTo>
                    <a:lnTo>
                      <a:pt x="397" y="404"/>
                    </a:lnTo>
                    <a:lnTo>
                      <a:pt x="397" y="404"/>
                    </a:lnTo>
                    <a:lnTo>
                      <a:pt x="399" y="404"/>
                    </a:lnTo>
                    <a:lnTo>
                      <a:pt x="399" y="404"/>
                    </a:lnTo>
                    <a:lnTo>
                      <a:pt x="401" y="405"/>
                    </a:lnTo>
                    <a:lnTo>
                      <a:pt x="401" y="405"/>
                    </a:lnTo>
                    <a:lnTo>
                      <a:pt x="403" y="407"/>
                    </a:lnTo>
                    <a:lnTo>
                      <a:pt x="403" y="409"/>
                    </a:lnTo>
                    <a:lnTo>
                      <a:pt x="405" y="409"/>
                    </a:lnTo>
                    <a:lnTo>
                      <a:pt x="405" y="409"/>
                    </a:lnTo>
                    <a:lnTo>
                      <a:pt x="405" y="409"/>
                    </a:lnTo>
                    <a:lnTo>
                      <a:pt x="406" y="411"/>
                    </a:lnTo>
                    <a:lnTo>
                      <a:pt x="408" y="411"/>
                    </a:lnTo>
                    <a:lnTo>
                      <a:pt x="410" y="411"/>
                    </a:lnTo>
                    <a:lnTo>
                      <a:pt x="410" y="411"/>
                    </a:lnTo>
                    <a:lnTo>
                      <a:pt x="414" y="411"/>
                    </a:lnTo>
                    <a:lnTo>
                      <a:pt x="416" y="413"/>
                    </a:lnTo>
                    <a:lnTo>
                      <a:pt x="416" y="411"/>
                    </a:lnTo>
                    <a:lnTo>
                      <a:pt x="420" y="409"/>
                    </a:lnTo>
                    <a:lnTo>
                      <a:pt x="420" y="409"/>
                    </a:lnTo>
                    <a:lnTo>
                      <a:pt x="420" y="409"/>
                    </a:lnTo>
                    <a:lnTo>
                      <a:pt x="420" y="407"/>
                    </a:lnTo>
                    <a:lnTo>
                      <a:pt x="418" y="407"/>
                    </a:lnTo>
                    <a:lnTo>
                      <a:pt x="416" y="405"/>
                    </a:lnTo>
                    <a:lnTo>
                      <a:pt x="416" y="405"/>
                    </a:lnTo>
                    <a:lnTo>
                      <a:pt x="416" y="405"/>
                    </a:lnTo>
                    <a:lnTo>
                      <a:pt x="414" y="405"/>
                    </a:lnTo>
                    <a:lnTo>
                      <a:pt x="414" y="404"/>
                    </a:lnTo>
                    <a:lnTo>
                      <a:pt x="416" y="404"/>
                    </a:lnTo>
                    <a:lnTo>
                      <a:pt x="416" y="402"/>
                    </a:lnTo>
                    <a:lnTo>
                      <a:pt x="416" y="402"/>
                    </a:lnTo>
                    <a:lnTo>
                      <a:pt x="416" y="398"/>
                    </a:lnTo>
                    <a:lnTo>
                      <a:pt x="418" y="398"/>
                    </a:lnTo>
                    <a:lnTo>
                      <a:pt x="418" y="398"/>
                    </a:lnTo>
                    <a:lnTo>
                      <a:pt x="418" y="396"/>
                    </a:lnTo>
                    <a:lnTo>
                      <a:pt x="418" y="396"/>
                    </a:lnTo>
                    <a:lnTo>
                      <a:pt x="418" y="394"/>
                    </a:lnTo>
                    <a:lnTo>
                      <a:pt x="418" y="394"/>
                    </a:lnTo>
                    <a:lnTo>
                      <a:pt x="418" y="394"/>
                    </a:lnTo>
                    <a:lnTo>
                      <a:pt x="418" y="394"/>
                    </a:lnTo>
                    <a:lnTo>
                      <a:pt x="418" y="392"/>
                    </a:lnTo>
                    <a:lnTo>
                      <a:pt x="418" y="392"/>
                    </a:lnTo>
                    <a:lnTo>
                      <a:pt x="418" y="390"/>
                    </a:lnTo>
                    <a:lnTo>
                      <a:pt x="416" y="390"/>
                    </a:lnTo>
                    <a:lnTo>
                      <a:pt x="412" y="388"/>
                    </a:lnTo>
                    <a:lnTo>
                      <a:pt x="410" y="390"/>
                    </a:lnTo>
                    <a:lnTo>
                      <a:pt x="408" y="388"/>
                    </a:lnTo>
                    <a:lnTo>
                      <a:pt x="406" y="388"/>
                    </a:lnTo>
                    <a:lnTo>
                      <a:pt x="406" y="390"/>
                    </a:lnTo>
                    <a:lnTo>
                      <a:pt x="406" y="390"/>
                    </a:lnTo>
                    <a:lnTo>
                      <a:pt x="406" y="392"/>
                    </a:lnTo>
                    <a:lnTo>
                      <a:pt x="405" y="392"/>
                    </a:lnTo>
                    <a:lnTo>
                      <a:pt x="405" y="390"/>
                    </a:lnTo>
                    <a:lnTo>
                      <a:pt x="403" y="390"/>
                    </a:lnTo>
                    <a:lnTo>
                      <a:pt x="401" y="390"/>
                    </a:lnTo>
                    <a:lnTo>
                      <a:pt x="401" y="388"/>
                    </a:lnTo>
                    <a:lnTo>
                      <a:pt x="397" y="386"/>
                    </a:lnTo>
                    <a:lnTo>
                      <a:pt x="395" y="386"/>
                    </a:lnTo>
                    <a:lnTo>
                      <a:pt x="393" y="386"/>
                    </a:lnTo>
                    <a:lnTo>
                      <a:pt x="389" y="385"/>
                    </a:lnTo>
                    <a:lnTo>
                      <a:pt x="389" y="385"/>
                    </a:lnTo>
                    <a:lnTo>
                      <a:pt x="389" y="385"/>
                    </a:lnTo>
                    <a:lnTo>
                      <a:pt x="391" y="383"/>
                    </a:lnTo>
                    <a:lnTo>
                      <a:pt x="391" y="383"/>
                    </a:lnTo>
                    <a:lnTo>
                      <a:pt x="391" y="383"/>
                    </a:lnTo>
                    <a:lnTo>
                      <a:pt x="391" y="383"/>
                    </a:lnTo>
                    <a:lnTo>
                      <a:pt x="393" y="381"/>
                    </a:lnTo>
                    <a:lnTo>
                      <a:pt x="393" y="381"/>
                    </a:lnTo>
                    <a:lnTo>
                      <a:pt x="393" y="381"/>
                    </a:lnTo>
                    <a:lnTo>
                      <a:pt x="393" y="379"/>
                    </a:lnTo>
                    <a:lnTo>
                      <a:pt x="393" y="379"/>
                    </a:lnTo>
                    <a:lnTo>
                      <a:pt x="391" y="379"/>
                    </a:lnTo>
                    <a:lnTo>
                      <a:pt x="391" y="377"/>
                    </a:lnTo>
                    <a:lnTo>
                      <a:pt x="391" y="377"/>
                    </a:lnTo>
                    <a:lnTo>
                      <a:pt x="391" y="375"/>
                    </a:lnTo>
                    <a:lnTo>
                      <a:pt x="391" y="375"/>
                    </a:lnTo>
                    <a:lnTo>
                      <a:pt x="391" y="373"/>
                    </a:lnTo>
                    <a:lnTo>
                      <a:pt x="391" y="373"/>
                    </a:lnTo>
                    <a:lnTo>
                      <a:pt x="393" y="373"/>
                    </a:lnTo>
                    <a:lnTo>
                      <a:pt x="393" y="371"/>
                    </a:lnTo>
                    <a:lnTo>
                      <a:pt x="393" y="371"/>
                    </a:lnTo>
                    <a:lnTo>
                      <a:pt x="395" y="371"/>
                    </a:lnTo>
                    <a:lnTo>
                      <a:pt x="395" y="371"/>
                    </a:lnTo>
                    <a:lnTo>
                      <a:pt x="395" y="373"/>
                    </a:lnTo>
                    <a:lnTo>
                      <a:pt x="395" y="373"/>
                    </a:lnTo>
                    <a:lnTo>
                      <a:pt x="395" y="375"/>
                    </a:lnTo>
                    <a:lnTo>
                      <a:pt x="397" y="375"/>
                    </a:lnTo>
                    <a:lnTo>
                      <a:pt x="397" y="377"/>
                    </a:lnTo>
                    <a:lnTo>
                      <a:pt x="397" y="379"/>
                    </a:lnTo>
                    <a:lnTo>
                      <a:pt x="399" y="379"/>
                    </a:lnTo>
                    <a:lnTo>
                      <a:pt x="401" y="379"/>
                    </a:lnTo>
                    <a:lnTo>
                      <a:pt x="401" y="377"/>
                    </a:lnTo>
                    <a:lnTo>
                      <a:pt x="403" y="377"/>
                    </a:lnTo>
                    <a:lnTo>
                      <a:pt x="405" y="377"/>
                    </a:lnTo>
                    <a:lnTo>
                      <a:pt x="405" y="375"/>
                    </a:lnTo>
                    <a:lnTo>
                      <a:pt x="405" y="375"/>
                    </a:lnTo>
                    <a:lnTo>
                      <a:pt x="405" y="373"/>
                    </a:lnTo>
                    <a:lnTo>
                      <a:pt x="405" y="373"/>
                    </a:lnTo>
                    <a:lnTo>
                      <a:pt x="406" y="371"/>
                    </a:lnTo>
                    <a:lnTo>
                      <a:pt x="406" y="369"/>
                    </a:lnTo>
                    <a:lnTo>
                      <a:pt x="406" y="369"/>
                    </a:lnTo>
                    <a:lnTo>
                      <a:pt x="406" y="367"/>
                    </a:lnTo>
                    <a:lnTo>
                      <a:pt x="406" y="367"/>
                    </a:lnTo>
                    <a:lnTo>
                      <a:pt x="408" y="367"/>
                    </a:lnTo>
                    <a:lnTo>
                      <a:pt x="410" y="367"/>
                    </a:lnTo>
                    <a:lnTo>
                      <a:pt x="410" y="365"/>
                    </a:lnTo>
                    <a:lnTo>
                      <a:pt x="412" y="365"/>
                    </a:lnTo>
                    <a:lnTo>
                      <a:pt x="412" y="365"/>
                    </a:lnTo>
                    <a:lnTo>
                      <a:pt x="414" y="365"/>
                    </a:lnTo>
                    <a:lnTo>
                      <a:pt x="414" y="364"/>
                    </a:lnTo>
                    <a:lnTo>
                      <a:pt x="416" y="364"/>
                    </a:lnTo>
                    <a:lnTo>
                      <a:pt x="418" y="364"/>
                    </a:lnTo>
                    <a:lnTo>
                      <a:pt x="420" y="365"/>
                    </a:lnTo>
                    <a:lnTo>
                      <a:pt x="420" y="365"/>
                    </a:lnTo>
                    <a:lnTo>
                      <a:pt x="422" y="365"/>
                    </a:lnTo>
                    <a:lnTo>
                      <a:pt x="422" y="365"/>
                    </a:lnTo>
                    <a:lnTo>
                      <a:pt x="424" y="367"/>
                    </a:lnTo>
                    <a:lnTo>
                      <a:pt x="424" y="367"/>
                    </a:lnTo>
                    <a:lnTo>
                      <a:pt x="424" y="367"/>
                    </a:lnTo>
                    <a:lnTo>
                      <a:pt x="424" y="369"/>
                    </a:lnTo>
                    <a:lnTo>
                      <a:pt x="425" y="369"/>
                    </a:lnTo>
                    <a:lnTo>
                      <a:pt x="427" y="369"/>
                    </a:lnTo>
                    <a:lnTo>
                      <a:pt x="427" y="371"/>
                    </a:lnTo>
                    <a:lnTo>
                      <a:pt x="425" y="371"/>
                    </a:lnTo>
                    <a:lnTo>
                      <a:pt x="425" y="371"/>
                    </a:lnTo>
                    <a:lnTo>
                      <a:pt x="425" y="373"/>
                    </a:lnTo>
                    <a:lnTo>
                      <a:pt x="424" y="373"/>
                    </a:lnTo>
                    <a:lnTo>
                      <a:pt x="425" y="375"/>
                    </a:lnTo>
                    <a:lnTo>
                      <a:pt x="425" y="375"/>
                    </a:lnTo>
                    <a:lnTo>
                      <a:pt x="427" y="373"/>
                    </a:lnTo>
                    <a:lnTo>
                      <a:pt x="429" y="373"/>
                    </a:lnTo>
                    <a:lnTo>
                      <a:pt x="429" y="373"/>
                    </a:lnTo>
                    <a:lnTo>
                      <a:pt x="429" y="373"/>
                    </a:lnTo>
                    <a:lnTo>
                      <a:pt x="431" y="373"/>
                    </a:lnTo>
                    <a:lnTo>
                      <a:pt x="431" y="373"/>
                    </a:lnTo>
                    <a:lnTo>
                      <a:pt x="433" y="373"/>
                    </a:lnTo>
                    <a:lnTo>
                      <a:pt x="435" y="373"/>
                    </a:lnTo>
                    <a:lnTo>
                      <a:pt x="439" y="375"/>
                    </a:lnTo>
                    <a:lnTo>
                      <a:pt x="441" y="375"/>
                    </a:lnTo>
                    <a:lnTo>
                      <a:pt x="443" y="375"/>
                    </a:lnTo>
                    <a:lnTo>
                      <a:pt x="443" y="375"/>
                    </a:lnTo>
                    <a:lnTo>
                      <a:pt x="445" y="375"/>
                    </a:lnTo>
                    <a:lnTo>
                      <a:pt x="445" y="375"/>
                    </a:lnTo>
                    <a:lnTo>
                      <a:pt x="448" y="377"/>
                    </a:lnTo>
                    <a:lnTo>
                      <a:pt x="448" y="377"/>
                    </a:lnTo>
                    <a:lnTo>
                      <a:pt x="448" y="379"/>
                    </a:lnTo>
                    <a:lnTo>
                      <a:pt x="450" y="377"/>
                    </a:lnTo>
                    <a:lnTo>
                      <a:pt x="452" y="377"/>
                    </a:lnTo>
                    <a:lnTo>
                      <a:pt x="452" y="375"/>
                    </a:lnTo>
                    <a:lnTo>
                      <a:pt x="452" y="375"/>
                    </a:lnTo>
                    <a:lnTo>
                      <a:pt x="452" y="373"/>
                    </a:lnTo>
                    <a:lnTo>
                      <a:pt x="452" y="371"/>
                    </a:lnTo>
                    <a:lnTo>
                      <a:pt x="452" y="369"/>
                    </a:lnTo>
                    <a:lnTo>
                      <a:pt x="452" y="369"/>
                    </a:lnTo>
                    <a:lnTo>
                      <a:pt x="452" y="367"/>
                    </a:lnTo>
                    <a:lnTo>
                      <a:pt x="452" y="365"/>
                    </a:lnTo>
                    <a:lnTo>
                      <a:pt x="454" y="365"/>
                    </a:lnTo>
                    <a:lnTo>
                      <a:pt x="454" y="362"/>
                    </a:lnTo>
                    <a:lnTo>
                      <a:pt x="454" y="362"/>
                    </a:lnTo>
                    <a:lnTo>
                      <a:pt x="456" y="364"/>
                    </a:lnTo>
                    <a:lnTo>
                      <a:pt x="458" y="364"/>
                    </a:lnTo>
                    <a:lnTo>
                      <a:pt x="458" y="364"/>
                    </a:lnTo>
                    <a:lnTo>
                      <a:pt x="458" y="362"/>
                    </a:lnTo>
                    <a:lnTo>
                      <a:pt x="460" y="362"/>
                    </a:lnTo>
                    <a:lnTo>
                      <a:pt x="460" y="362"/>
                    </a:lnTo>
                    <a:lnTo>
                      <a:pt x="460" y="360"/>
                    </a:lnTo>
                    <a:lnTo>
                      <a:pt x="460" y="360"/>
                    </a:lnTo>
                    <a:lnTo>
                      <a:pt x="460" y="358"/>
                    </a:lnTo>
                    <a:lnTo>
                      <a:pt x="458" y="358"/>
                    </a:lnTo>
                    <a:lnTo>
                      <a:pt x="458" y="358"/>
                    </a:lnTo>
                    <a:lnTo>
                      <a:pt x="458" y="356"/>
                    </a:lnTo>
                    <a:lnTo>
                      <a:pt x="458" y="354"/>
                    </a:lnTo>
                    <a:lnTo>
                      <a:pt x="460" y="354"/>
                    </a:lnTo>
                    <a:lnTo>
                      <a:pt x="460" y="354"/>
                    </a:lnTo>
                    <a:lnTo>
                      <a:pt x="462" y="354"/>
                    </a:lnTo>
                    <a:lnTo>
                      <a:pt x="462" y="356"/>
                    </a:lnTo>
                    <a:lnTo>
                      <a:pt x="464" y="356"/>
                    </a:lnTo>
                    <a:lnTo>
                      <a:pt x="464" y="356"/>
                    </a:lnTo>
                    <a:lnTo>
                      <a:pt x="466" y="358"/>
                    </a:lnTo>
                    <a:lnTo>
                      <a:pt x="467" y="358"/>
                    </a:lnTo>
                    <a:lnTo>
                      <a:pt x="469" y="358"/>
                    </a:lnTo>
                    <a:lnTo>
                      <a:pt x="469" y="358"/>
                    </a:lnTo>
                    <a:lnTo>
                      <a:pt x="471" y="358"/>
                    </a:lnTo>
                    <a:lnTo>
                      <a:pt x="473" y="356"/>
                    </a:lnTo>
                    <a:lnTo>
                      <a:pt x="473" y="356"/>
                    </a:lnTo>
                    <a:lnTo>
                      <a:pt x="475" y="356"/>
                    </a:lnTo>
                    <a:lnTo>
                      <a:pt x="475" y="356"/>
                    </a:lnTo>
                    <a:lnTo>
                      <a:pt x="475" y="354"/>
                    </a:lnTo>
                    <a:lnTo>
                      <a:pt x="475" y="354"/>
                    </a:lnTo>
                    <a:lnTo>
                      <a:pt x="477" y="354"/>
                    </a:lnTo>
                    <a:lnTo>
                      <a:pt x="477" y="354"/>
                    </a:lnTo>
                    <a:lnTo>
                      <a:pt x="481" y="354"/>
                    </a:lnTo>
                    <a:lnTo>
                      <a:pt x="485" y="352"/>
                    </a:lnTo>
                    <a:lnTo>
                      <a:pt x="488" y="350"/>
                    </a:lnTo>
                    <a:lnTo>
                      <a:pt x="490" y="350"/>
                    </a:lnTo>
                    <a:lnTo>
                      <a:pt x="490" y="350"/>
                    </a:lnTo>
                    <a:lnTo>
                      <a:pt x="492" y="348"/>
                    </a:lnTo>
                    <a:lnTo>
                      <a:pt x="492" y="346"/>
                    </a:lnTo>
                    <a:lnTo>
                      <a:pt x="492" y="346"/>
                    </a:lnTo>
                    <a:lnTo>
                      <a:pt x="492" y="343"/>
                    </a:lnTo>
                    <a:lnTo>
                      <a:pt x="492" y="341"/>
                    </a:lnTo>
                    <a:lnTo>
                      <a:pt x="492" y="341"/>
                    </a:lnTo>
                    <a:lnTo>
                      <a:pt x="492" y="339"/>
                    </a:lnTo>
                    <a:lnTo>
                      <a:pt x="494" y="339"/>
                    </a:lnTo>
                    <a:lnTo>
                      <a:pt x="498" y="339"/>
                    </a:lnTo>
                    <a:lnTo>
                      <a:pt x="500" y="339"/>
                    </a:lnTo>
                    <a:lnTo>
                      <a:pt x="502" y="339"/>
                    </a:lnTo>
                    <a:lnTo>
                      <a:pt x="504" y="339"/>
                    </a:lnTo>
                    <a:lnTo>
                      <a:pt x="504" y="339"/>
                    </a:lnTo>
                    <a:lnTo>
                      <a:pt x="506" y="339"/>
                    </a:lnTo>
                    <a:lnTo>
                      <a:pt x="506" y="337"/>
                    </a:lnTo>
                    <a:lnTo>
                      <a:pt x="507" y="335"/>
                    </a:lnTo>
                    <a:lnTo>
                      <a:pt x="507" y="335"/>
                    </a:lnTo>
                    <a:lnTo>
                      <a:pt x="509" y="331"/>
                    </a:lnTo>
                    <a:lnTo>
                      <a:pt x="511" y="331"/>
                    </a:lnTo>
                    <a:lnTo>
                      <a:pt x="511" y="329"/>
                    </a:lnTo>
                    <a:lnTo>
                      <a:pt x="511" y="329"/>
                    </a:lnTo>
                    <a:lnTo>
                      <a:pt x="513" y="329"/>
                    </a:lnTo>
                    <a:lnTo>
                      <a:pt x="513" y="331"/>
                    </a:lnTo>
                    <a:lnTo>
                      <a:pt x="513" y="331"/>
                    </a:lnTo>
                    <a:lnTo>
                      <a:pt x="513" y="333"/>
                    </a:lnTo>
                    <a:lnTo>
                      <a:pt x="515" y="333"/>
                    </a:lnTo>
                    <a:lnTo>
                      <a:pt x="517" y="335"/>
                    </a:lnTo>
                    <a:lnTo>
                      <a:pt x="517" y="335"/>
                    </a:lnTo>
                    <a:lnTo>
                      <a:pt x="519" y="335"/>
                    </a:lnTo>
                    <a:lnTo>
                      <a:pt x="521" y="333"/>
                    </a:lnTo>
                    <a:lnTo>
                      <a:pt x="523" y="333"/>
                    </a:lnTo>
                    <a:lnTo>
                      <a:pt x="523" y="333"/>
                    </a:lnTo>
                    <a:lnTo>
                      <a:pt x="523" y="333"/>
                    </a:lnTo>
                    <a:lnTo>
                      <a:pt x="525" y="331"/>
                    </a:lnTo>
                    <a:lnTo>
                      <a:pt x="525" y="331"/>
                    </a:lnTo>
                    <a:lnTo>
                      <a:pt x="527" y="329"/>
                    </a:lnTo>
                    <a:lnTo>
                      <a:pt x="527" y="329"/>
                    </a:lnTo>
                    <a:lnTo>
                      <a:pt x="527" y="327"/>
                    </a:lnTo>
                    <a:lnTo>
                      <a:pt x="528" y="326"/>
                    </a:lnTo>
                    <a:lnTo>
                      <a:pt x="530" y="326"/>
                    </a:lnTo>
                    <a:lnTo>
                      <a:pt x="532" y="322"/>
                    </a:lnTo>
                    <a:lnTo>
                      <a:pt x="532" y="322"/>
                    </a:lnTo>
                    <a:lnTo>
                      <a:pt x="532" y="322"/>
                    </a:lnTo>
                    <a:lnTo>
                      <a:pt x="532" y="320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2" y="316"/>
                    </a:lnTo>
                    <a:lnTo>
                      <a:pt x="532" y="314"/>
                    </a:lnTo>
                    <a:lnTo>
                      <a:pt x="532" y="312"/>
                    </a:lnTo>
                    <a:lnTo>
                      <a:pt x="532" y="310"/>
                    </a:lnTo>
                    <a:lnTo>
                      <a:pt x="534" y="308"/>
                    </a:lnTo>
                    <a:lnTo>
                      <a:pt x="534" y="308"/>
                    </a:lnTo>
                    <a:lnTo>
                      <a:pt x="536" y="307"/>
                    </a:lnTo>
                    <a:lnTo>
                      <a:pt x="536" y="307"/>
                    </a:lnTo>
                    <a:lnTo>
                      <a:pt x="536" y="307"/>
                    </a:lnTo>
                    <a:lnTo>
                      <a:pt x="536" y="307"/>
                    </a:lnTo>
                    <a:lnTo>
                      <a:pt x="534" y="305"/>
                    </a:lnTo>
                    <a:lnTo>
                      <a:pt x="532" y="305"/>
                    </a:lnTo>
                    <a:lnTo>
                      <a:pt x="534" y="303"/>
                    </a:lnTo>
                    <a:lnTo>
                      <a:pt x="534" y="303"/>
                    </a:lnTo>
                    <a:lnTo>
                      <a:pt x="534" y="303"/>
                    </a:lnTo>
                    <a:lnTo>
                      <a:pt x="534" y="301"/>
                    </a:lnTo>
                    <a:lnTo>
                      <a:pt x="536" y="301"/>
                    </a:lnTo>
                    <a:lnTo>
                      <a:pt x="538" y="299"/>
                    </a:lnTo>
                    <a:lnTo>
                      <a:pt x="538" y="297"/>
                    </a:lnTo>
                    <a:lnTo>
                      <a:pt x="538" y="295"/>
                    </a:lnTo>
                    <a:lnTo>
                      <a:pt x="540" y="293"/>
                    </a:lnTo>
                    <a:lnTo>
                      <a:pt x="540" y="293"/>
                    </a:lnTo>
                    <a:lnTo>
                      <a:pt x="542" y="291"/>
                    </a:lnTo>
                    <a:lnTo>
                      <a:pt x="542" y="291"/>
                    </a:lnTo>
                    <a:lnTo>
                      <a:pt x="542" y="289"/>
                    </a:lnTo>
                    <a:lnTo>
                      <a:pt x="542" y="287"/>
                    </a:lnTo>
                    <a:lnTo>
                      <a:pt x="542" y="287"/>
                    </a:lnTo>
                    <a:lnTo>
                      <a:pt x="542" y="286"/>
                    </a:lnTo>
                    <a:lnTo>
                      <a:pt x="544" y="286"/>
                    </a:lnTo>
                    <a:lnTo>
                      <a:pt x="546" y="284"/>
                    </a:lnTo>
                    <a:lnTo>
                      <a:pt x="548" y="284"/>
                    </a:lnTo>
                    <a:lnTo>
                      <a:pt x="548" y="282"/>
                    </a:lnTo>
                    <a:lnTo>
                      <a:pt x="548" y="282"/>
                    </a:lnTo>
                    <a:lnTo>
                      <a:pt x="551" y="282"/>
                    </a:lnTo>
                    <a:lnTo>
                      <a:pt x="551" y="282"/>
                    </a:lnTo>
                    <a:lnTo>
                      <a:pt x="555" y="280"/>
                    </a:lnTo>
                    <a:lnTo>
                      <a:pt x="555" y="280"/>
                    </a:lnTo>
                    <a:lnTo>
                      <a:pt x="557" y="280"/>
                    </a:lnTo>
                    <a:lnTo>
                      <a:pt x="557" y="278"/>
                    </a:lnTo>
                    <a:lnTo>
                      <a:pt x="559" y="276"/>
                    </a:lnTo>
                    <a:lnTo>
                      <a:pt x="559" y="276"/>
                    </a:lnTo>
                    <a:lnTo>
                      <a:pt x="561" y="274"/>
                    </a:lnTo>
                    <a:lnTo>
                      <a:pt x="561" y="274"/>
                    </a:lnTo>
                    <a:lnTo>
                      <a:pt x="563" y="274"/>
                    </a:lnTo>
                    <a:lnTo>
                      <a:pt x="565" y="274"/>
                    </a:lnTo>
                    <a:lnTo>
                      <a:pt x="567" y="272"/>
                    </a:lnTo>
                    <a:lnTo>
                      <a:pt x="569" y="272"/>
                    </a:lnTo>
                    <a:lnTo>
                      <a:pt x="569" y="270"/>
                    </a:lnTo>
                    <a:lnTo>
                      <a:pt x="570" y="270"/>
                    </a:lnTo>
                    <a:lnTo>
                      <a:pt x="570" y="27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8" name="Freeform 10">
                <a:extLst>
                  <a:ext uri="{FF2B5EF4-FFF2-40B4-BE49-F238E27FC236}">
                    <a16:creationId xmlns:a16="http://schemas.microsoft.com/office/drawing/2014/main" id="{001B4F62-7E5B-4EE8-BCBE-C98E59991A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02394" y="6666386"/>
                <a:ext cx="817563" cy="1101725"/>
              </a:xfrm>
              <a:custGeom>
                <a:avLst/>
                <a:gdLst>
                  <a:gd name="T0" fmla="*/ 508 w 515"/>
                  <a:gd name="T1" fmla="*/ 11 h 694"/>
                  <a:gd name="T2" fmla="*/ 485 w 515"/>
                  <a:gd name="T3" fmla="*/ 5 h 694"/>
                  <a:gd name="T4" fmla="*/ 479 w 515"/>
                  <a:gd name="T5" fmla="*/ 3 h 694"/>
                  <a:gd name="T6" fmla="*/ 451 w 515"/>
                  <a:gd name="T7" fmla="*/ 30 h 694"/>
                  <a:gd name="T8" fmla="*/ 445 w 515"/>
                  <a:gd name="T9" fmla="*/ 40 h 694"/>
                  <a:gd name="T10" fmla="*/ 416 w 515"/>
                  <a:gd name="T11" fmla="*/ 28 h 694"/>
                  <a:gd name="T12" fmla="*/ 401 w 515"/>
                  <a:gd name="T13" fmla="*/ 38 h 694"/>
                  <a:gd name="T14" fmla="*/ 369 w 515"/>
                  <a:gd name="T15" fmla="*/ 61 h 694"/>
                  <a:gd name="T16" fmla="*/ 342 w 515"/>
                  <a:gd name="T17" fmla="*/ 55 h 694"/>
                  <a:gd name="T18" fmla="*/ 319 w 515"/>
                  <a:gd name="T19" fmla="*/ 59 h 694"/>
                  <a:gd name="T20" fmla="*/ 298 w 515"/>
                  <a:gd name="T21" fmla="*/ 87 h 694"/>
                  <a:gd name="T22" fmla="*/ 275 w 515"/>
                  <a:gd name="T23" fmla="*/ 114 h 694"/>
                  <a:gd name="T24" fmla="*/ 224 w 515"/>
                  <a:gd name="T25" fmla="*/ 91 h 694"/>
                  <a:gd name="T26" fmla="*/ 191 w 515"/>
                  <a:gd name="T27" fmla="*/ 99 h 694"/>
                  <a:gd name="T28" fmla="*/ 172 w 515"/>
                  <a:gd name="T29" fmla="*/ 110 h 694"/>
                  <a:gd name="T30" fmla="*/ 174 w 515"/>
                  <a:gd name="T31" fmla="*/ 135 h 694"/>
                  <a:gd name="T32" fmla="*/ 157 w 515"/>
                  <a:gd name="T33" fmla="*/ 169 h 694"/>
                  <a:gd name="T34" fmla="*/ 189 w 515"/>
                  <a:gd name="T35" fmla="*/ 186 h 694"/>
                  <a:gd name="T36" fmla="*/ 151 w 515"/>
                  <a:gd name="T37" fmla="*/ 220 h 694"/>
                  <a:gd name="T38" fmla="*/ 113 w 515"/>
                  <a:gd name="T39" fmla="*/ 222 h 694"/>
                  <a:gd name="T40" fmla="*/ 77 w 515"/>
                  <a:gd name="T41" fmla="*/ 234 h 694"/>
                  <a:gd name="T42" fmla="*/ 31 w 515"/>
                  <a:gd name="T43" fmla="*/ 232 h 694"/>
                  <a:gd name="T44" fmla="*/ 16 w 515"/>
                  <a:gd name="T45" fmla="*/ 245 h 694"/>
                  <a:gd name="T46" fmla="*/ 0 w 515"/>
                  <a:gd name="T47" fmla="*/ 258 h 694"/>
                  <a:gd name="T48" fmla="*/ 39 w 515"/>
                  <a:gd name="T49" fmla="*/ 281 h 694"/>
                  <a:gd name="T50" fmla="*/ 42 w 515"/>
                  <a:gd name="T51" fmla="*/ 298 h 694"/>
                  <a:gd name="T52" fmla="*/ 62 w 515"/>
                  <a:gd name="T53" fmla="*/ 308 h 694"/>
                  <a:gd name="T54" fmla="*/ 56 w 515"/>
                  <a:gd name="T55" fmla="*/ 321 h 694"/>
                  <a:gd name="T56" fmla="*/ 81 w 515"/>
                  <a:gd name="T57" fmla="*/ 348 h 694"/>
                  <a:gd name="T58" fmla="*/ 75 w 515"/>
                  <a:gd name="T59" fmla="*/ 380 h 694"/>
                  <a:gd name="T60" fmla="*/ 81 w 515"/>
                  <a:gd name="T61" fmla="*/ 414 h 694"/>
                  <a:gd name="T62" fmla="*/ 123 w 515"/>
                  <a:gd name="T63" fmla="*/ 409 h 694"/>
                  <a:gd name="T64" fmla="*/ 128 w 515"/>
                  <a:gd name="T65" fmla="*/ 456 h 694"/>
                  <a:gd name="T66" fmla="*/ 123 w 515"/>
                  <a:gd name="T67" fmla="*/ 504 h 694"/>
                  <a:gd name="T68" fmla="*/ 147 w 515"/>
                  <a:gd name="T69" fmla="*/ 515 h 694"/>
                  <a:gd name="T70" fmla="*/ 126 w 515"/>
                  <a:gd name="T71" fmla="*/ 593 h 694"/>
                  <a:gd name="T72" fmla="*/ 123 w 515"/>
                  <a:gd name="T73" fmla="*/ 627 h 694"/>
                  <a:gd name="T74" fmla="*/ 123 w 515"/>
                  <a:gd name="T75" fmla="*/ 645 h 694"/>
                  <a:gd name="T76" fmla="*/ 111 w 515"/>
                  <a:gd name="T77" fmla="*/ 667 h 694"/>
                  <a:gd name="T78" fmla="*/ 178 w 515"/>
                  <a:gd name="T79" fmla="*/ 685 h 694"/>
                  <a:gd name="T80" fmla="*/ 239 w 515"/>
                  <a:gd name="T81" fmla="*/ 622 h 694"/>
                  <a:gd name="T82" fmla="*/ 245 w 515"/>
                  <a:gd name="T83" fmla="*/ 593 h 694"/>
                  <a:gd name="T84" fmla="*/ 319 w 515"/>
                  <a:gd name="T85" fmla="*/ 549 h 694"/>
                  <a:gd name="T86" fmla="*/ 369 w 515"/>
                  <a:gd name="T87" fmla="*/ 544 h 694"/>
                  <a:gd name="T88" fmla="*/ 390 w 515"/>
                  <a:gd name="T89" fmla="*/ 542 h 694"/>
                  <a:gd name="T90" fmla="*/ 338 w 515"/>
                  <a:gd name="T91" fmla="*/ 506 h 694"/>
                  <a:gd name="T92" fmla="*/ 372 w 515"/>
                  <a:gd name="T93" fmla="*/ 454 h 694"/>
                  <a:gd name="T94" fmla="*/ 395 w 515"/>
                  <a:gd name="T95" fmla="*/ 411 h 694"/>
                  <a:gd name="T96" fmla="*/ 416 w 515"/>
                  <a:gd name="T97" fmla="*/ 413 h 694"/>
                  <a:gd name="T98" fmla="*/ 426 w 515"/>
                  <a:gd name="T99" fmla="*/ 411 h 694"/>
                  <a:gd name="T100" fmla="*/ 449 w 515"/>
                  <a:gd name="T101" fmla="*/ 346 h 694"/>
                  <a:gd name="T102" fmla="*/ 443 w 515"/>
                  <a:gd name="T103" fmla="*/ 338 h 694"/>
                  <a:gd name="T104" fmla="*/ 441 w 515"/>
                  <a:gd name="T105" fmla="*/ 331 h 694"/>
                  <a:gd name="T106" fmla="*/ 454 w 515"/>
                  <a:gd name="T107" fmla="*/ 304 h 694"/>
                  <a:gd name="T108" fmla="*/ 443 w 515"/>
                  <a:gd name="T109" fmla="*/ 276 h 694"/>
                  <a:gd name="T110" fmla="*/ 441 w 515"/>
                  <a:gd name="T111" fmla="*/ 247 h 694"/>
                  <a:gd name="T112" fmla="*/ 437 w 515"/>
                  <a:gd name="T113" fmla="*/ 215 h 694"/>
                  <a:gd name="T114" fmla="*/ 433 w 515"/>
                  <a:gd name="T115" fmla="*/ 203 h 694"/>
                  <a:gd name="T116" fmla="*/ 445 w 515"/>
                  <a:gd name="T117" fmla="*/ 199 h 694"/>
                  <a:gd name="T118" fmla="*/ 454 w 515"/>
                  <a:gd name="T119" fmla="*/ 201 h 694"/>
                  <a:gd name="T120" fmla="*/ 479 w 515"/>
                  <a:gd name="T121" fmla="*/ 154 h 694"/>
                  <a:gd name="T122" fmla="*/ 506 w 515"/>
                  <a:gd name="T123" fmla="*/ 89 h 694"/>
                  <a:gd name="T124" fmla="*/ 513 w 515"/>
                  <a:gd name="T125" fmla="*/ 36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15" h="694">
                    <a:moveTo>
                      <a:pt x="512" y="11"/>
                    </a:moveTo>
                    <a:lnTo>
                      <a:pt x="512" y="11"/>
                    </a:lnTo>
                    <a:lnTo>
                      <a:pt x="512" y="5"/>
                    </a:lnTo>
                    <a:lnTo>
                      <a:pt x="510" y="0"/>
                    </a:lnTo>
                    <a:lnTo>
                      <a:pt x="508" y="0"/>
                    </a:lnTo>
                    <a:lnTo>
                      <a:pt x="508" y="2"/>
                    </a:lnTo>
                    <a:lnTo>
                      <a:pt x="508" y="2"/>
                    </a:lnTo>
                    <a:lnTo>
                      <a:pt x="508" y="2"/>
                    </a:lnTo>
                    <a:lnTo>
                      <a:pt x="512" y="11"/>
                    </a:lnTo>
                    <a:close/>
                    <a:moveTo>
                      <a:pt x="515" y="19"/>
                    </a:moveTo>
                    <a:lnTo>
                      <a:pt x="515" y="15"/>
                    </a:lnTo>
                    <a:lnTo>
                      <a:pt x="513" y="13"/>
                    </a:lnTo>
                    <a:lnTo>
                      <a:pt x="512" y="13"/>
                    </a:lnTo>
                    <a:lnTo>
                      <a:pt x="512" y="13"/>
                    </a:lnTo>
                    <a:lnTo>
                      <a:pt x="512" y="15"/>
                    </a:lnTo>
                    <a:lnTo>
                      <a:pt x="510" y="13"/>
                    </a:lnTo>
                    <a:lnTo>
                      <a:pt x="508" y="11"/>
                    </a:lnTo>
                    <a:lnTo>
                      <a:pt x="506" y="9"/>
                    </a:lnTo>
                    <a:lnTo>
                      <a:pt x="506" y="7"/>
                    </a:lnTo>
                    <a:lnTo>
                      <a:pt x="506" y="7"/>
                    </a:lnTo>
                    <a:lnTo>
                      <a:pt x="506" y="7"/>
                    </a:lnTo>
                    <a:lnTo>
                      <a:pt x="506" y="7"/>
                    </a:lnTo>
                    <a:lnTo>
                      <a:pt x="506" y="7"/>
                    </a:lnTo>
                    <a:lnTo>
                      <a:pt x="506" y="7"/>
                    </a:lnTo>
                    <a:lnTo>
                      <a:pt x="500" y="9"/>
                    </a:lnTo>
                    <a:lnTo>
                      <a:pt x="498" y="9"/>
                    </a:lnTo>
                    <a:lnTo>
                      <a:pt x="492" y="9"/>
                    </a:lnTo>
                    <a:lnTo>
                      <a:pt x="491" y="9"/>
                    </a:lnTo>
                    <a:lnTo>
                      <a:pt x="487" y="9"/>
                    </a:lnTo>
                    <a:lnTo>
                      <a:pt x="485" y="9"/>
                    </a:lnTo>
                    <a:lnTo>
                      <a:pt x="485" y="7"/>
                    </a:lnTo>
                    <a:lnTo>
                      <a:pt x="485" y="7"/>
                    </a:lnTo>
                    <a:lnTo>
                      <a:pt x="485" y="7"/>
                    </a:lnTo>
                    <a:lnTo>
                      <a:pt x="485" y="5"/>
                    </a:lnTo>
                    <a:lnTo>
                      <a:pt x="487" y="5"/>
                    </a:lnTo>
                    <a:lnTo>
                      <a:pt x="487" y="3"/>
                    </a:lnTo>
                    <a:lnTo>
                      <a:pt x="487" y="3"/>
                    </a:lnTo>
                    <a:lnTo>
                      <a:pt x="487" y="2"/>
                    </a:lnTo>
                    <a:lnTo>
                      <a:pt x="487" y="2"/>
                    </a:lnTo>
                    <a:lnTo>
                      <a:pt x="483" y="2"/>
                    </a:lnTo>
                    <a:lnTo>
                      <a:pt x="481" y="2"/>
                    </a:lnTo>
                    <a:lnTo>
                      <a:pt x="479" y="0"/>
                    </a:lnTo>
                    <a:lnTo>
                      <a:pt x="477" y="0"/>
                    </a:lnTo>
                    <a:lnTo>
                      <a:pt x="477" y="0"/>
                    </a:lnTo>
                    <a:lnTo>
                      <a:pt x="477" y="0"/>
                    </a:lnTo>
                    <a:lnTo>
                      <a:pt x="475" y="0"/>
                    </a:lnTo>
                    <a:lnTo>
                      <a:pt x="477" y="2"/>
                    </a:lnTo>
                    <a:lnTo>
                      <a:pt x="477" y="2"/>
                    </a:lnTo>
                    <a:lnTo>
                      <a:pt x="477" y="3"/>
                    </a:lnTo>
                    <a:lnTo>
                      <a:pt x="479" y="3"/>
                    </a:lnTo>
                    <a:lnTo>
                      <a:pt x="479" y="3"/>
                    </a:lnTo>
                    <a:lnTo>
                      <a:pt x="479" y="5"/>
                    </a:lnTo>
                    <a:lnTo>
                      <a:pt x="479" y="5"/>
                    </a:lnTo>
                    <a:lnTo>
                      <a:pt x="479" y="7"/>
                    </a:lnTo>
                    <a:lnTo>
                      <a:pt x="477" y="7"/>
                    </a:lnTo>
                    <a:lnTo>
                      <a:pt x="475" y="7"/>
                    </a:lnTo>
                    <a:lnTo>
                      <a:pt x="473" y="9"/>
                    </a:lnTo>
                    <a:lnTo>
                      <a:pt x="471" y="11"/>
                    </a:lnTo>
                    <a:lnTo>
                      <a:pt x="470" y="13"/>
                    </a:lnTo>
                    <a:lnTo>
                      <a:pt x="468" y="15"/>
                    </a:lnTo>
                    <a:lnTo>
                      <a:pt x="468" y="15"/>
                    </a:lnTo>
                    <a:lnTo>
                      <a:pt x="468" y="17"/>
                    </a:lnTo>
                    <a:lnTo>
                      <a:pt x="468" y="17"/>
                    </a:lnTo>
                    <a:lnTo>
                      <a:pt x="468" y="19"/>
                    </a:lnTo>
                    <a:lnTo>
                      <a:pt x="468" y="19"/>
                    </a:lnTo>
                    <a:lnTo>
                      <a:pt x="468" y="21"/>
                    </a:lnTo>
                    <a:lnTo>
                      <a:pt x="456" y="26"/>
                    </a:lnTo>
                    <a:lnTo>
                      <a:pt x="451" y="30"/>
                    </a:lnTo>
                    <a:lnTo>
                      <a:pt x="447" y="30"/>
                    </a:lnTo>
                    <a:lnTo>
                      <a:pt x="445" y="30"/>
                    </a:lnTo>
                    <a:lnTo>
                      <a:pt x="445" y="30"/>
                    </a:lnTo>
                    <a:lnTo>
                      <a:pt x="443" y="30"/>
                    </a:lnTo>
                    <a:lnTo>
                      <a:pt x="443" y="30"/>
                    </a:lnTo>
                    <a:lnTo>
                      <a:pt x="441" y="32"/>
                    </a:lnTo>
                    <a:lnTo>
                      <a:pt x="441" y="32"/>
                    </a:lnTo>
                    <a:lnTo>
                      <a:pt x="443" y="34"/>
                    </a:lnTo>
                    <a:lnTo>
                      <a:pt x="443" y="34"/>
                    </a:lnTo>
                    <a:lnTo>
                      <a:pt x="443" y="34"/>
                    </a:lnTo>
                    <a:lnTo>
                      <a:pt x="445" y="34"/>
                    </a:lnTo>
                    <a:lnTo>
                      <a:pt x="445" y="36"/>
                    </a:lnTo>
                    <a:lnTo>
                      <a:pt x="447" y="36"/>
                    </a:lnTo>
                    <a:lnTo>
                      <a:pt x="447" y="36"/>
                    </a:lnTo>
                    <a:lnTo>
                      <a:pt x="447" y="38"/>
                    </a:lnTo>
                    <a:lnTo>
                      <a:pt x="445" y="40"/>
                    </a:lnTo>
                    <a:lnTo>
                      <a:pt x="445" y="40"/>
                    </a:lnTo>
                    <a:lnTo>
                      <a:pt x="443" y="40"/>
                    </a:lnTo>
                    <a:lnTo>
                      <a:pt x="443" y="40"/>
                    </a:lnTo>
                    <a:lnTo>
                      <a:pt x="439" y="40"/>
                    </a:lnTo>
                    <a:lnTo>
                      <a:pt x="437" y="40"/>
                    </a:lnTo>
                    <a:lnTo>
                      <a:pt x="435" y="38"/>
                    </a:lnTo>
                    <a:lnTo>
                      <a:pt x="433" y="36"/>
                    </a:lnTo>
                    <a:lnTo>
                      <a:pt x="433" y="36"/>
                    </a:lnTo>
                    <a:lnTo>
                      <a:pt x="433" y="34"/>
                    </a:lnTo>
                    <a:lnTo>
                      <a:pt x="433" y="34"/>
                    </a:lnTo>
                    <a:lnTo>
                      <a:pt x="433" y="32"/>
                    </a:lnTo>
                    <a:lnTo>
                      <a:pt x="433" y="30"/>
                    </a:lnTo>
                    <a:lnTo>
                      <a:pt x="431" y="30"/>
                    </a:lnTo>
                    <a:lnTo>
                      <a:pt x="422" y="32"/>
                    </a:lnTo>
                    <a:lnTo>
                      <a:pt x="420" y="32"/>
                    </a:lnTo>
                    <a:lnTo>
                      <a:pt x="418" y="32"/>
                    </a:lnTo>
                    <a:lnTo>
                      <a:pt x="418" y="30"/>
                    </a:lnTo>
                    <a:lnTo>
                      <a:pt x="416" y="28"/>
                    </a:lnTo>
                    <a:lnTo>
                      <a:pt x="416" y="26"/>
                    </a:lnTo>
                    <a:lnTo>
                      <a:pt x="414" y="24"/>
                    </a:lnTo>
                    <a:lnTo>
                      <a:pt x="412" y="24"/>
                    </a:lnTo>
                    <a:lnTo>
                      <a:pt x="410" y="24"/>
                    </a:lnTo>
                    <a:lnTo>
                      <a:pt x="409" y="24"/>
                    </a:lnTo>
                    <a:lnTo>
                      <a:pt x="407" y="24"/>
                    </a:lnTo>
                    <a:lnTo>
                      <a:pt x="403" y="24"/>
                    </a:lnTo>
                    <a:lnTo>
                      <a:pt x="403" y="26"/>
                    </a:lnTo>
                    <a:lnTo>
                      <a:pt x="403" y="26"/>
                    </a:lnTo>
                    <a:lnTo>
                      <a:pt x="403" y="28"/>
                    </a:lnTo>
                    <a:lnTo>
                      <a:pt x="403" y="30"/>
                    </a:lnTo>
                    <a:lnTo>
                      <a:pt x="401" y="30"/>
                    </a:lnTo>
                    <a:lnTo>
                      <a:pt x="401" y="34"/>
                    </a:lnTo>
                    <a:lnTo>
                      <a:pt x="401" y="34"/>
                    </a:lnTo>
                    <a:lnTo>
                      <a:pt x="401" y="36"/>
                    </a:lnTo>
                    <a:lnTo>
                      <a:pt x="401" y="36"/>
                    </a:lnTo>
                    <a:lnTo>
                      <a:pt x="401" y="38"/>
                    </a:lnTo>
                    <a:lnTo>
                      <a:pt x="399" y="40"/>
                    </a:lnTo>
                    <a:lnTo>
                      <a:pt x="395" y="41"/>
                    </a:lnTo>
                    <a:lnTo>
                      <a:pt x="395" y="41"/>
                    </a:lnTo>
                    <a:lnTo>
                      <a:pt x="393" y="43"/>
                    </a:lnTo>
                    <a:lnTo>
                      <a:pt x="391" y="45"/>
                    </a:lnTo>
                    <a:lnTo>
                      <a:pt x="388" y="49"/>
                    </a:lnTo>
                    <a:lnTo>
                      <a:pt x="388" y="51"/>
                    </a:lnTo>
                    <a:lnTo>
                      <a:pt x="386" y="51"/>
                    </a:lnTo>
                    <a:lnTo>
                      <a:pt x="384" y="51"/>
                    </a:lnTo>
                    <a:lnTo>
                      <a:pt x="384" y="49"/>
                    </a:lnTo>
                    <a:lnTo>
                      <a:pt x="382" y="49"/>
                    </a:lnTo>
                    <a:lnTo>
                      <a:pt x="380" y="49"/>
                    </a:lnTo>
                    <a:lnTo>
                      <a:pt x="378" y="49"/>
                    </a:lnTo>
                    <a:lnTo>
                      <a:pt x="378" y="49"/>
                    </a:lnTo>
                    <a:lnTo>
                      <a:pt x="372" y="57"/>
                    </a:lnTo>
                    <a:lnTo>
                      <a:pt x="370" y="61"/>
                    </a:lnTo>
                    <a:lnTo>
                      <a:pt x="369" y="61"/>
                    </a:lnTo>
                    <a:lnTo>
                      <a:pt x="367" y="62"/>
                    </a:lnTo>
                    <a:lnTo>
                      <a:pt x="367" y="62"/>
                    </a:lnTo>
                    <a:lnTo>
                      <a:pt x="361" y="62"/>
                    </a:lnTo>
                    <a:lnTo>
                      <a:pt x="359" y="62"/>
                    </a:lnTo>
                    <a:lnTo>
                      <a:pt x="357" y="62"/>
                    </a:lnTo>
                    <a:lnTo>
                      <a:pt x="355" y="62"/>
                    </a:lnTo>
                    <a:lnTo>
                      <a:pt x="355" y="62"/>
                    </a:lnTo>
                    <a:lnTo>
                      <a:pt x="353" y="61"/>
                    </a:lnTo>
                    <a:lnTo>
                      <a:pt x="349" y="61"/>
                    </a:lnTo>
                    <a:lnTo>
                      <a:pt x="349" y="61"/>
                    </a:lnTo>
                    <a:lnTo>
                      <a:pt x="348" y="61"/>
                    </a:lnTo>
                    <a:lnTo>
                      <a:pt x="348" y="59"/>
                    </a:lnTo>
                    <a:lnTo>
                      <a:pt x="348" y="57"/>
                    </a:lnTo>
                    <a:lnTo>
                      <a:pt x="348" y="57"/>
                    </a:lnTo>
                    <a:lnTo>
                      <a:pt x="346" y="57"/>
                    </a:lnTo>
                    <a:lnTo>
                      <a:pt x="346" y="57"/>
                    </a:lnTo>
                    <a:lnTo>
                      <a:pt x="342" y="55"/>
                    </a:lnTo>
                    <a:lnTo>
                      <a:pt x="340" y="55"/>
                    </a:lnTo>
                    <a:lnTo>
                      <a:pt x="340" y="57"/>
                    </a:lnTo>
                    <a:lnTo>
                      <a:pt x="338" y="57"/>
                    </a:lnTo>
                    <a:lnTo>
                      <a:pt x="338" y="59"/>
                    </a:lnTo>
                    <a:lnTo>
                      <a:pt x="338" y="61"/>
                    </a:lnTo>
                    <a:lnTo>
                      <a:pt x="338" y="61"/>
                    </a:lnTo>
                    <a:lnTo>
                      <a:pt x="336" y="62"/>
                    </a:lnTo>
                    <a:lnTo>
                      <a:pt x="334" y="62"/>
                    </a:lnTo>
                    <a:lnTo>
                      <a:pt x="334" y="62"/>
                    </a:lnTo>
                    <a:lnTo>
                      <a:pt x="332" y="62"/>
                    </a:lnTo>
                    <a:lnTo>
                      <a:pt x="332" y="61"/>
                    </a:lnTo>
                    <a:lnTo>
                      <a:pt x="332" y="59"/>
                    </a:lnTo>
                    <a:lnTo>
                      <a:pt x="330" y="59"/>
                    </a:lnTo>
                    <a:lnTo>
                      <a:pt x="330" y="57"/>
                    </a:lnTo>
                    <a:lnTo>
                      <a:pt x="325" y="59"/>
                    </a:lnTo>
                    <a:lnTo>
                      <a:pt x="323" y="59"/>
                    </a:lnTo>
                    <a:lnTo>
                      <a:pt x="319" y="59"/>
                    </a:lnTo>
                    <a:lnTo>
                      <a:pt x="313" y="61"/>
                    </a:lnTo>
                    <a:lnTo>
                      <a:pt x="313" y="61"/>
                    </a:lnTo>
                    <a:lnTo>
                      <a:pt x="311" y="61"/>
                    </a:lnTo>
                    <a:lnTo>
                      <a:pt x="311" y="62"/>
                    </a:lnTo>
                    <a:lnTo>
                      <a:pt x="309" y="64"/>
                    </a:lnTo>
                    <a:lnTo>
                      <a:pt x="309" y="64"/>
                    </a:lnTo>
                    <a:lnTo>
                      <a:pt x="308" y="66"/>
                    </a:lnTo>
                    <a:lnTo>
                      <a:pt x="306" y="66"/>
                    </a:lnTo>
                    <a:lnTo>
                      <a:pt x="306" y="66"/>
                    </a:lnTo>
                    <a:lnTo>
                      <a:pt x="304" y="66"/>
                    </a:lnTo>
                    <a:lnTo>
                      <a:pt x="302" y="68"/>
                    </a:lnTo>
                    <a:lnTo>
                      <a:pt x="302" y="70"/>
                    </a:lnTo>
                    <a:lnTo>
                      <a:pt x="302" y="72"/>
                    </a:lnTo>
                    <a:lnTo>
                      <a:pt x="302" y="76"/>
                    </a:lnTo>
                    <a:lnTo>
                      <a:pt x="302" y="76"/>
                    </a:lnTo>
                    <a:lnTo>
                      <a:pt x="300" y="78"/>
                    </a:lnTo>
                    <a:lnTo>
                      <a:pt x="298" y="87"/>
                    </a:lnTo>
                    <a:lnTo>
                      <a:pt x="294" y="97"/>
                    </a:lnTo>
                    <a:lnTo>
                      <a:pt x="294" y="97"/>
                    </a:lnTo>
                    <a:lnTo>
                      <a:pt x="294" y="99"/>
                    </a:lnTo>
                    <a:lnTo>
                      <a:pt x="288" y="102"/>
                    </a:lnTo>
                    <a:lnTo>
                      <a:pt x="288" y="102"/>
                    </a:lnTo>
                    <a:lnTo>
                      <a:pt x="287" y="102"/>
                    </a:lnTo>
                    <a:lnTo>
                      <a:pt x="287" y="100"/>
                    </a:lnTo>
                    <a:lnTo>
                      <a:pt x="285" y="100"/>
                    </a:lnTo>
                    <a:lnTo>
                      <a:pt x="285" y="100"/>
                    </a:lnTo>
                    <a:lnTo>
                      <a:pt x="285" y="100"/>
                    </a:lnTo>
                    <a:lnTo>
                      <a:pt x="285" y="102"/>
                    </a:lnTo>
                    <a:lnTo>
                      <a:pt x="285" y="104"/>
                    </a:lnTo>
                    <a:lnTo>
                      <a:pt x="285" y="106"/>
                    </a:lnTo>
                    <a:lnTo>
                      <a:pt x="283" y="108"/>
                    </a:lnTo>
                    <a:lnTo>
                      <a:pt x="277" y="114"/>
                    </a:lnTo>
                    <a:lnTo>
                      <a:pt x="277" y="114"/>
                    </a:lnTo>
                    <a:lnTo>
                      <a:pt x="275" y="114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71" y="116"/>
                    </a:lnTo>
                    <a:lnTo>
                      <a:pt x="269" y="114"/>
                    </a:lnTo>
                    <a:lnTo>
                      <a:pt x="266" y="114"/>
                    </a:lnTo>
                    <a:lnTo>
                      <a:pt x="260" y="110"/>
                    </a:lnTo>
                    <a:lnTo>
                      <a:pt x="256" y="106"/>
                    </a:lnTo>
                    <a:lnTo>
                      <a:pt x="250" y="99"/>
                    </a:lnTo>
                    <a:lnTo>
                      <a:pt x="243" y="97"/>
                    </a:lnTo>
                    <a:lnTo>
                      <a:pt x="239" y="95"/>
                    </a:lnTo>
                    <a:lnTo>
                      <a:pt x="233" y="91"/>
                    </a:lnTo>
                    <a:lnTo>
                      <a:pt x="229" y="87"/>
                    </a:lnTo>
                    <a:lnTo>
                      <a:pt x="227" y="87"/>
                    </a:lnTo>
                    <a:lnTo>
                      <a:pt x="226" y="87"/>
                    </a:lnTo>
                    <a:lnTo>
                      <a:pt x="224" y="89"/>
                    </a:lnTo>
                    <a:lnTo>
                      <a:pt x="224" y="91"/>
                    </a:lnTo>
                    <a:lnTo>
                      <a:pt x="224" y="91"/>
                    </a:lnTo>
                    <a:lnTo>
                      <a:pt x="222" y="93"/>
                    </a:lnTo>
                    <a:lnTo>
                      <a:pt x="222" y="93"/>
                    </a:lnTo>
                    <a:lnTo>
                      <a:pt x="220" y="93"/>
                    </a:lnTo>
                    <a:lnTo>
                      <a:pt x="218" y="93"/>
                    </a:lnTo>
                    <a:lnTo>
                      <a:pt x="218" y="91"/>
                    </a:lnTo>
                    <a:lnTo>
                      <a:pt x="216" y="89"/>
                    </a:lnTo>
                    <a:lnTo>
                      <a:pt x="214" y="87"/>
                    </a:lnTo>
                    <a:lnTo>
                      <a:pt x="214" y="87"/>
                    </a:lnTo>
                    <a:lnTo>
                      <a:pt x="212" y="85"/>
                    </a:lnTo>
                    <a:lnTo>
                      <a:pt x="210" y="85"/>
                    </a:lnTo>
                    <a:lnTo>
                      <a:pt x="210" y="83"/>
                    </a:lnTo>
                    <a:lnTo>
                      <a:pt x="208" y="83"/>
                    </a:lnTo>
                    <a:lnTo>
                      <a:pt x="203" y="83"/>
                    </a:lnTo>
                    <a:lnTo>
                      <a:pt x="197" y="85"/>
                    </a:lnTo>
                    <a:lnTo>
                      <a:pt x="195" y="93"/>
                    </a:lnTo>
                    <a:lnTo>
                      <a:pt x="193" y="95"/>
                    </a:lnTo>
                    <a:lnTo>
                      <a:pt x="191" y="99"/>
                    </a:lnTo>
                    <a:lnTo>
                      <a:pt x="191" y="99"/>
                    </a:lnTo>
                    <a:lnTo>
                      <a:pt x="191" y="100"/>
                    </a:lnTo>
                    <a:lnTo>
                      <a:pt x="191" y="100"/>
                    </a:lnTo>
                    <a:lnTo>
                      <a:pt x="191" y="102"/>
                    </a:lnTo>
                    <a:lnTo>
                      <a:pt x="193" y="102"/>
                    </a:lnTo>
                    <a:lnTo>
                      <a:pt x="193" y="104"/>
                    </a:lnTo>
                    <a:lnTo>
                      <a:pt x="191" y="104"/>
                    </a:lnTo>
                    <a:lnTo>
                      <a:pt x="191" y="104"/>
                    </a:lnTo>
                    <a:lnTo>
                      <a:pt x="189" y="106"/>
                    </a:lnTo>
                    <a:lnTo>
                      <a:pt x="184" y="108"/>
                    </a:lnTo>
                    <a:lnTo>
                      <a:pt x="184" y="110"/>
                    </a:lnTo>
                    <a:lnTo>
                      <a:pt x="182" y="110"/>
                    </a:lnTo>
                    <a:lnTo>
                      <a:pt x="180" y="110"/>
                    </a:lnTo>
                    <a:lnTo>
                      <a:pt x="178" y="108"/>
                    </a:lnTo>
                    <a:lnTo>
                      <a:pt x="176" y="108"/>
                    </a:lnTo>
                    <a:lnTo>
                      <a:pt x="176" y="108"/>
                    </a:lnTo>
                    <a:lnTo>
                      <a:pt x="172" y="110"/>
                    </a:lnTo>
                    <a:lnTo>
                      <a:pt x="170" y="116"/>
                    </a:lnTo>
                    <a:lnTo>
                      <a:pt x="168" y="121"/>
                    </a:lnTo>
                    <a:lnTo>
                      <a:pt x="168" y="123"/>
                    </a:lnTo>
                    <a:lnTo>
                      <a:pt x="168" y="125"/>
                    </a:lnTo>
                    <a:lnTo>
                      <a:pt x="168" y="127"/>
                    </a:lnTo>
                    <a:lnTo>
                      <a:pt x="168" y="129"/>
                    </a:lnTo>
                    <a:lnTo>
                      <a:pt x="168" y="129"/>
                    </a:lnTo>
                    <a:lnTo>
                      <a:pt x="168" y="133"/>
                    </a:lnTo>
                    <a:lnTo>
                      <a:pt x="168" y="133"/>
                    </a:lnTo>
                    <a:lnTo>
                      <a:pt x="168" y="133"/>
                    </a:lnTo>
                    <a:lnTo>
                      <a:pt x="168" y="133"/>
                    </a:lnTo>
                    <a:lnTo>
                      <a:pt x="170" y="133"/>
                    </a:lnTo>
                    <a:lnTo>
                      <a:pt x="170" y="133"/>
                    </a:lnTo>
                    <a:lnTo>
                      <a:pt x="172" y="133"/>
                    </a:lnTo>
                    <a:lnTo>
                      <a:pt x="172" y="133"/>
                    </a:lnTo>
                    <a:lnTo>
                      <a:pt x="174" y="133"/>
                    </a:lnTo>
                    <a:lnTo>
                      <a:pt x="174" y="135"/>
                    </a:lnTo>
                    <a:lnTo>
                      <a:pt x="174" y="137"/>
                    </a:lnTo>
                    <a:lnTo>
                      <a:pt x="172" y="144"/>
                    </a:lnTo>
                    <a:lnTo>
                      <a:pt x="172" y="146"/>
                    </a:lnTo>
                    <a:lnTo>
                      <a:pt x="170" y="148"/>
                    </a:lnTo>
                    <a:lnTo>
                      <a:pt x="168" y="150"/>
                    </a:lnTo>
                    <a:lnTo>
                      <a:pt x="166" y="152"/>
                    </a:lnTo>
                    <a:lnTo>
                      <a:pt x="163" y="156"/>
                    </a:lnTo>
                    <a:lnTo>
                      <a:pt x="157" y="159"/>
                    </a:lnTo>
                    <a:lnTo>
                      <a:pt x="157" y="159"/>
                    </a:lnTo>
                    <a:lnTo>
                      <a:pt x="155" y="161"/>
                    </a:lnTo>
                    <a:lnTo>
                      <a:pt x="155" y="161"/>
                    </a:lnTo>
                    <a:lnTo>
                      <a:pt x="155" y="163"/>
                    </a:lnTo>
                    <a:lnTo>
                      <a:pt x="155" y="163"/>
                    </a:lnTo>
                    <a:lnTo>
                      <a:pt x="157" y="165"/>
                    </a:lnTo>
                    <a:lnTo>
                      <a:pt x="157" y="167"/>
                    </a:lnTo>
                    <a:lnTo>
                      <a:pt x="157" y="169"/>
                    </a:lnTo>
                    <a:lnTo>
                      <a:pt x="157" y="169"/>
                    </a:lnTo>
                    <a:lnTo>
                      <a:pt x="159" y="169"/>
                    </a:lnTo>
                    <a:lnTo>
                      <a:pt x="180" y="169"/>
                    </a:lnTo>
                    <a:lnTo>
                      <a:pt x="184" y="171"/>
                    </a:lnTo>
                    <a:lnTo>
                      <a:pt x="187" y="173"/>
                    </a:lnTo>
                    <a:lnTo>
                      <a:pt x="187" y="173"/>
                    </a:lnTo>
                    <a:lnTo>
                      <a:pt x="189" y="173"/>
                    </a:lnTo>
                    <a:lnTo>
                      <a:pt x="193" y="178"/>
                    </a:lnTo>
                    <a:lnTo>
                      <a:pt x="193" y="180"/>
                    </a:lnTo>
                    <a:lnTo>
                      <a:pt x="193" y="180"/>
                    </a:lnTo>
                    <a:lnTo>
                      <a:pt x="193" y="182"/>
                    </a:lnTo>
                    <a:lnTo>
                      <a:pt x="193" y="182"/>
                    </a:lnTo>
                    <a:lnTo>
                      <a:pt x="193" y="184"/>
                    </a:lnTo>
                    <a:lnTo>
                      <a:pt x="191" y="184"/>
                    </a:lnTo>
                    <a:lnTo>
                      <a:pt x="191" y="184"/>
                    </a:lnTo>
                    <a:lnTo>
                      <a:pt x="191" y="184"/>
                    </a:lnTo>
                    <a:lnTo>
                      <a:pt x="191" y="186"/>
                    </a:lnTo>
                    <a:lnTo>
                      <a:pt x="189" y="186"/>
                    </a:lnTo>
                    <a:lnTo>
                      <a:pt x="189" y="188"/>
                    </a:lnTo>
                    <a:lnTo>
                      <a:pt x="187" y="188"/>
                    </a:lnTo>
                    <a:lnTo>
                      <a:pt x="185" y="192"/>
                    </a:lnTo>
                    <a:lnTo>
                      <a:pt x="182" y="196"/>
                    </a:lnTo>
                    <a:lnTo>
                      <a:pt x="180" y="199"/>
                    </a:lnTo>
                    <a:lnTo>
                      <a:pt x="180" y="201"/>
                    </a:lnTo>
                    <a:lnTo>
                      <a:pt x="178" y="201"/>
                    </a:lnTo>
                    <a:lnTo>
                      <a:pt x="178" y="201"/>
                    </a:lnTo>
                    <a:lnTo>
                      <a:pt x="174" y="203"/>
                    </a:lnTo>
                    <a:lnTo>
                      <a:pt x="161" y="203"/>
                    </a:lnTo>
                    <a:lnTo>
                      <a:pt x="161" y="205"/>
                    </a:lnTo>
                    <a:lnTo>
                      <a:pt x="157" y="205"/>
                    </a:lnTo>
                    <a:lnTo>
                      <a:pt x="157" y="207"/>
                    </a:lnTo>
                    <a:lnTo>
                      <a:pt x="155" y="209"/>
                    </a:lnTo>
                    <a:lnTo>
                      <a:pt x="155" y="211"/>
                    </a:lnTo>
                    <a:lnTo>
                      <a:pt x="151" y="218"/>
                    </a:lnTo>
                    <a:lnTo>
                      <a:pt x="151" y="220"/>
                    </a:lnTo>
                    <a:lnTo>
                      <a:pt x="149" y="222"/>
                    </a:lnTo>
                    <a:lnTo>
                      <a:pt x="147" y="222"/>
                    </a:lnTo>
                    <a:lnTo>
                      <a:pt x="144" y="222"/>
                    </a:lnTo>
                    <a:lnTo>
                      <a:pt x="142" y="224"/>
                    </a:lnTo>
                    <a:lnTo>
                      <a:pt x="140" y="224"/>
                    </a:lnTo>
                    <a:lnTo>
                      <a:pt x="138" y="222"/>
                    </a:lnTo>
                    <a:lnTo>
                      <a:pt x="134" y="220"/>
                    </a:lnTo>
                    <a:lnTo>
                      <a:pt x="134" y="220"/>
                    </a:lnTo>
                    <a:lnTo>
                      <a:pt x="132" y="220"/>
                    </a:lnTo>
                    <a:lnTo>
                      <a:pt x="130" y="220"/>
                    </a:lnTo>
                    <a:lnTo>
                      <a:pt x="128" y="218"/>
                    </a:lnTo>
                    <a:lnTo>
                      <a:pt x="128" y="220"/>
                    </a:lnTo>
                    <a:lnTo>
                      <a:pt x="126" y="220"/>
                    </a:lnTo>
                    <a:lnTo>
                      <a:pt x="124" y="220"/>
                    </a:lnTo>
                    <a:lnTo>
                      <a:pt x="119" y="220"/>
                    </a:lnTo>
                    <a:lnTo>
                      <a:pt x="115" y="222"/>
                    </a:lnTo>
                    <a:lnTo>
                      <a:pt x="113" y="222"/>
                    </a:lnTo>
                    <a:lnTo>
                      <a:pt x="111" y="222"/>
                    </a:lnTo>
                    <a:lnTo>
                      <a:pt x="111" y="224"/>
                    </a:lnTo>
                    <a:lnTo>
                      <a:pt x="111" y="226"/>
                    </a:lnTo>
                    <a:lnTo>
                      <a:pt x="109" y="228"/>
                    </a:lnTo>
                    <a:lnTo>
                      <a:pt x="109" y="228"/>
                    </a:lnTo>
                    <a:lnTo>
                      <a:pt x="107" y="228"/>
                    </a:lnTo>
                    <a:lnTo>
                      <a:pt x="100" y="220"/>
                    </a:lnTo>
                    <a:lnTo>
                      <a:pt x="98" y="218"/>
                    </a:lnTo>
                    <a:lnTo>
                      <a:pt x="96" y="218"/>
                    </a:lnTo>
                    <a:lnTo>
                      <a:pt x="94" y="218"/>
                    </a:lnTo>
                    <a:lnTo>
                      <a:pt x="92" y="220"/>
                    </a:lnTo>
                    <a:lnTo>
                      <a:pt x="90" y="220"/>
                    </a:lnTo>
                    <a:lnTo>
                      <a:pt x="88" y="220"/>
                    </a:lnTo>
                    <a:lnTo>
                      <a:pt x="86" y="220"/>
                    </a:lnTo>
                    <a:lnTo>
                      <a:pt x="84" y="222"/>
                    </a:lnTo>
                    <a:lnTo>
                      <a:pt x="81" y="228"/>
                    </a:lnTo>
                    <a:lnTo>
                      <a:pt x="77" y="234"/>
                    </a:lnTo>
                    <a:lnTo>
                      <a:pt x="75" y="241"/>
                    </a:lnTo>
                    <a:lnTo>
                      <a:pt x="75" y="243"/>
                    </a:lnTo>
                    <a:lnTo>
                      <a:pt x="73" y="243"/>
                    </a:lnTo>
                    <a:lnTo>
                      <a:pt x="67" y="241"/>
                    </a:lnTo>
                    <a:lnTo>
                      <a:pt x="65" y="241"/>
                    </a:lnTo>
                    <a:lnTo>
                      <a:pt x="46" y="243"/>
                    </a:lnTo>
                    <a:lnTo>
                      <a:pt x="44" y="243"/>
                    </a:lnTo>
                    <a:lnTo>
                      <a:pt x="42" y="243"/>
                    </a:lnTo>
                    <a:lnTo>
                      <a:pt x="41" y="241"/>
                    </a:lnTo>
                    <a:lnTo>
                      <a:pt x="41" y="241"/>
                    </a:lnTo>
                    <a:lnTo>
                      <a:pt x="39" y="239"/>
                    </a:lnTo>
                    <a:lnTo>
                      <a:pt x="39" y="239"/>
                    </a:lnTo>
                    <a:lnTo>
                      <a:pt x="41" y="236"/>
                    </a:lnTo>
                    <a:lnTo>
                      <a:pt x="39" y="236"/>
                    </a:lnTo>
                    <a:lnTo>
                      <a:pt x="37" y="234"/>
                    </a:lnTo>
                    <a:lnTo>
                      <a:pt x="35" y="232"/>
                    </a:lnTo>
                    <a:lnTo>
                      <a:pt x="31" y="232"/>
                    </a:lnTo>
                    <a:lnTo>
                      <a:pt x="29" y="232"/>
                    </a:lnTo>
                    <a:lnTo>
                      <a:pt x="27" y="234"/>
                    </a:lnTo>
                    <a:lnTo>
                      <a:pt x="25" y="234"/>
                    </a:lnTo>
                    <a:lnTo>
                      <a:pt x="25" y="236"/>
                    </a:lnTo>
                    <a:lnTo>
                      <a:pt x="23" y="236"/>
                    </a:lnTo>
                    <a:lnTo>
                      <a:pt x="23" y="237"/>
                    </a:lnTo>
                    <a:lnTo>
                      <a:pt x="23" y="239"/>
                    </a:lnTo>
                    <a:lnTo>
                      <a:pt x="23" y="239"/>
                    </a:lnTo>
                    <a:lnTo>
                      <a:pt x="23" y="239"/>
                    </a:lnTo>
                    <a:lnTo>
                      <a:pt x="23" y="241"/>
                    </a:lnTo>
                    <a:lnTo>
                      <a:pt x="23" y="241"/>
                    </a:lnTo>
                    <a:lnTo>
                      <a:pt x="21" y="241"/>
                    </a:lnTo>
                    <a:lnTo>
                      <a:pt x="21" y="241"/>
                    </a:lnTo>
                    <a:lnTo>
                      <a:pt x="20" y="241"/>
                    </a:lnTo>
                    <a:lnTo>
                      <a:pt x="18" y="243"/>
                    </a:lnTo>
                    <a:lnTo>
                      <a:pt x="18" y="245"/>
                    </a:lnTo>
                    <a:lnTo>
                      <a:pt x="16" y="245"/>
                    </a:lnTo>
                    <a:lnTo>
                      <a:pt x="16" y="247"/>
                    </a:lnTo>
                    <a:lnTo>
                      <a:pt x="14" y="249"/>
                    </a:lnTo>
                    <a:lnTo>
                      <a:pt x="10" y="249"/>
                    </a:lnTo>
                    <a:lnTo>
                      <a:pt x="8" y="249"/>
                    </a:lnTo>
                    <a:lnTo>
                      <a:pt x="6" y="247"/>
                    </a:lnTo>
                    <a:lnTo>
                      <a:pt x="4" y="247"/>
                    </a:lnTo>
                    <a:lnTo>
                      <a:pt x="0" y="247"/>
                    </a:lnTo>
                    <a:lnTo>
                      <a:pt x="0" y="247"/>
                    </a:lnTo>
                    <a:lnTo>
                      <a:pt x="0" y="249"/>
                    </a:lnTo>
                    <a:lnTo>
                      <a:pt x="0" y="251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0" y="255"/>
                    </a:lnTo>
                    <a:lnTo>
                      <a:pt x="0" y="256"/>
                    </a:lnTo>
                    <a:lnTo>
                      <a:pt x="0" y="256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0" y="260"/>
                    </a:lnTo>
                    <a:lnTo>
                      <a:pt x="0" y="260"/>
                    </a:lnTo>
                    <a:lnTo>
                      <a:pt x="0" y="260"/>
                    </a:lnTo>
                    <a:lnTo>
                      <a:pt x="2" y="262"/>
                    </a:lnTo>
                    <a:lnTo>
                      <a:pt x="2" y="262"/>
                    </a:lnTo>
                    <a:lnTo>
                      <a:pt x="8" y="264"/>
                    </a:lnTo>
                    <a:lnTo>
                      <a:pt x="21" y="268"/>
                    </a:lnTo>
                    <a:lnTo>
                      <a:pt x="23" y="268"/>
                    </a:lnTo>
                    <a:lnTo>
                      <a:pt x="25" y="272"/>
                    </a:lnTo>
                    <a:lnTo>
                      <a:pt x="27" y="272"/>
                    </a:lnTo>
                    <a:lnTo>
                      <a:pt x="29" y="272"/>
                    </a:lnTo>
                    <a:lnTo>
                      <a:pt x="31" y="274"/>
                    </a:lnTo>
                    <a:lnTo>
                      <a:pt x="31" y="274"/>
                    </a:lnTo>
                    <a:lnTo>
                      <a:pt x="33" y="274"/>
                    </a:lnTo>
                    <a:lnTo>
                      <a:pt x="35" y="279"/>
                    </a:lnTo>
                    <a:lnTo>
                      <a:pt x="39" y="281"/>
                    </a:lnTo>
                    <a:lnTo>
                      <a:pt x="39" y="283"/>
                    </a:lnTo>
                    <a:lnTo>
                      <a:pt x="31" y="289"/>
                    </a:lnTo>
                    <a:lnTo>
                      <a:pt x="29" y="291"/>
                    </a:lnTo>
                    <a:lnTo>
                      <a:pt x="27" y="295"/>
                    </a:lnTo>
                    <a:lnTo>
                      <a:pt x="25" y="295"/>
                    </a:lnTo>
                    <a:lnTo>
                      <a:pt x="25" y="296"/>
                    </a:lnTo>
                    <a:lnTo>
                      <a:pt x="27" y="296"/>
                    </a:lnTo>
                    <a:lnTo>
                      <a:pt x="29" y="298"/>
                    </a:lnTo>
                    <a:lnTo>
                      <a:pt x="29" y="298"/>
                    </a:lnTo>
                    <a:lnTo>
                      <a:pt x="33" y="296"/>
                    </a:lnTo>
                    <a:lnTo>
                      <a:pt x="33" y="296"/>
                    </a:lnTo>
                    <a:lnTo>
                      <a:pt x="33" y="296"/>
                    </a:lnTo>
                    <a:lnTo>
                      <a:pt x="35" y="296"/>
                    </a:lnTo>
                    <a:lnTo>
                      <a:pt x="37" y="298"/>
                    </a:lnTo>
                    <a:lnTo>
                      <a:pt x="39" y="298"/>
                    </a:lnTo>
                    <a:lnTo>
                      <a:pt x="41" y="298"/>
                    </a:lnTo>
                    <a:lnTo>
                      <a:pt x="42" y="298"/>
                    </a:lnTo>
                    <a:lnTo>
                      <a:pt x="52" y="296"/>
                    </a:lnTo>
                    <a:lnTo>
                      <a:pt x="54" y="296"/>
                    </a:lnTo>
                    <a:lnTo>
                      <a:pt x="54" y="296"/>
                    </a:lnTo>
                    <a:lnTo>
                      <a:pt x="58" y="293"/>
                    </a:lnTo>
                    <a:lnTo>
                      <a:pt x="58" y="293"/>
                    </a:lnTo>
                    <a:lnTo>
                      <a:pt x="60" y="293"/>
                    </a:lnTo>
                    <a:lnTo>
                      <a:pt x="60" y="295"/>
                    </a:lnTo>
                    <a:lnTo>
                      <a:pt x="60" y="296"/>
                    </a:lnTo>
                    <a:lnTo>
                      <a:pt x="58" y="298"/>
                    </a:lnTo>
                    <a:lnTo>
                      <a:pt x="58" y="300"/>
                    </a:lnTo>
                    <a:lnTo>
                      <a:pt x="58" y="300"/>
                    </a:lnTo>
                    <a:lnTo>
                      <a:pt x="58" y="302"/>
                    </a:lnTo>
                    <a:lnTo>
                      <a:pt x="58" y="302"/>
                    </a:lnTo>
                    <a:lnTo>
                      <a:pt x="60" y="304"/>
                    </a:lnTo>
                    <a:lnTo>
                      <a:pt x="60" y="304"/>
                    </a:lnTo>
                    <a:lnTo>
                      <a:pt x="62" y="306"/>
                    </a:lnTo>
                    <a:lnTo>
                      <a:pt x="62" y="308"/>
                    </a:lnTo>
                    <a:lnTo>
                      <a:pt x="63" y="312"/>
                    </a:lnTo>
                    <a:lnTo>
                      <a:pt x="65" y="315"/>
                    </a:lnTo>
                    <a:lnTo>
                      <a:pt x="65" y="315"/>
                    </a:lnTo>
                    <a:lnTo>
                      <a:pt x="67" y="315"/>
                    </a:lnTo>
                    <a:lnTo>
                      <a:pt x="67" y="317"/>
                    </a:lnTo>
                    <a:lnTo>
                      <a:pt x="67" y="317"/>
                    </a:lnTo>
                    <a:lnTo>
                      <a:pt x="67" y="319"/>
                    </a:lnTo>
                    <a:lnTo>
                      <a:pt x="65" y="319"/>
                    </a:lnTo>
                    <a:lnTo>
                      <a:pt x="65" y="319"/>
                    </a:lnTo>
                    <a:lnTo>
                      <a:pt x="63" y="319"/>
                    </a:lnTo>
                    <a:lnTo>
                      <a:pt x="62" y="319"/>
                    </a:lnTo>
                    <a:lnTo>
                      <a:pt x="60" y="319"/>
                    </a:lnTo>
                    <a:lnTo>
                      <a:pt x="60" y="319"/>
                    </a:lnTo>
                    <a:lnTo>
                      <a:pt x="58" y="319"/>
                    </a:lnTo>
                    <a:lnTo>
                      <a:pt x="58" y="319"/>
                    </a:lnTo>
                    <a:lnTo>
                      <a:pt x="56" y="321"/>
                    </a:lnTo>
                    <a:lnTo>
                      <a:pt x="56" y="321"/>
                    </a:lnTo>
                    <a:lnTo>
                      <a:pt x="56" y="323"/>
                    </a:lnTo>
                    <a:lnTo>
                      <a:pt x="56" y="325"/>
                    </a:lnTo>
                    <a:lnTo>
                      <a:pt x="56" y="327"/>
                    </a:lnTo>
                    <a:lnTo>
                      <a:pt x="56" y="329"/>
                    </a:lnTo>
                    <a:lnTo>
                      <a:pt x="58" y="333"/>
                    </a:lnTo>
                    <a:lnTo>
                      <a:pt x="60" y="334"/>
                    </a:lnTo>
                    <a:lnTo>
                      <a:pt x="62" y="334"/>
                    </a:lnTo>
                    <a:lnTo>
                      <a:pt x="67" y="336"/>
                    </a:lnTo>
                    <a:lnTo>
                      <a:pt x="73" y="340"/>
                    </a:lnTo>
                    <a:lnTo>
                      <a:pt x="75" y="340"/>
                    </a:lnTo>
                    <a:lnTo>
                      <a:pt x="75" y="342"/>
                    </a:lnTo>
                    <a:lnTo>
                      <a:pt x="77" y="342"/>
                    </a:lnTo>
                    <a:lnTo>
                      <a:pt x="77" y="344"/>
                    </a:lnTo>
                    <a:lnTo>
                      <a:pt x="77" y="346"/>
                    </a:lnTo>
                    <a:lnTo>
                      <a:pt x="79" y="348"/>
                    </a:lnTo>
                    <a:lnTo>
                      <a:pt x="79" y="348"/>
                    </a:lnTo>
                    <a:lnTo>
                      <a:pt x="81" y="348"/>
                    </a:lnTo>
                    <a:lnTo>
                      <a:pt x="81" y="350"/>
                    </a:lnTo>
                    <a:lnTo>
                      <a:pt x="82" y="350"/>
                    </a:lnTo>
                    <a:lnTo>
                      <a:pt x="82" y="350"/>
                    </a:lnTo>
                    <a:lnTo>
                      <a:pt x="82" y="352"/>
                    </a:lnTo>
                    <a:lnTo>
                      <a:pt x="82" y="354"/>
                    </a:lnTo>
                    <a:lnTo>
                      <a:pt x="82" y="354"/>
                    </a:lnTo>
                    <a:lnTo>
                      <a:pt x="81" y="357"/>
                    </a:lnTo>
                    <a:lnTo>
                      <a:pt x="81" y="357"/>
                    </a:lnTo>
                    <a:lnTo>
                      <a:pt x="81" y="363"/>
                    </a:lnTo>
                    <a:lnTo>
                      <a:pt x="81" y="365"/>
                    </a:lnTo>
                    <a:lnTo>
                      <a:pt x="79" y="367"/>
                    </a:lnTo>
                    <a:lnTo>
                      <a:pt x="77" y="367"/>
                    </a:lnTo>
                    <a:lnTo>
                      <a:pt x="77" y="367"/>
                    </a:lnTo>
                    <a:lnTo>
                      <a:pt x="75" y="369"/>
                    </a:lnTo>
                    <a:lnTo>
                      <a:pt x="75" y="369"/>
                    </a:lnTo>
                    <a:lnTo>
                      <a:pt x="73" y="371"/>
                    </a:lnTo>
                    <a:lnTo>
                      <a:pt x="75" y="380"/>
                    </a:lnTo>
                    <a:lnTo>
                      <a:pt x="75" y="388"/>
                    </a:lnTo>
                    <a:lnTo>
                      <a:pt x="75" y="388"/>
                    </a:lnTo>
                    <a:lnTo>
                      <a:pt x="73" y="388"/>
                    </a:lnTo>
                    <a:lnTo>
                      <a:pt x="73" y="392"/>
                    </a:lnTo>
                    <a:lnTo>
                      <a:pt x="73" y="395"/>
                    </a:lnTo>
                    <a:lnTo>
                      <a:pt x="73" y="397"/>
                    </a:lnTo>
                    <a:lnTo>
                      <a:pt x="73" y="397"/>
                    </a:lnTo>
                    <a:lnTo>
                      <a:pt x="73" y="399"/>
                    </a:lnTo>
                    <a:lnTo>
                      <a:pt x="75" y="401"/>
                    </a:lnTo>
                    <a:lnTo>
                      <a:pt x="77" y="403"/>
                    </a:lnTo>
                    <a:lnTo>
                      <a:pt x="77" y="405"/>
                    </a:lnTo>
                    <a:lnTo>
                      <a:pt x="77" y="409"/>
                    </a:lnTo>
                    <a:lnTo>
                      <a:pt x="77" y="411"/>
                    </a:lnTo>
                    <a:lnTo>
                      <a:pt x="77" y="411"/>
                    </a:lnTo>
                    <a:lnTo>
                      <a:pt x="77" y="413"/>
                    </a:lnTo>
                    <a:lnTo>
                      <a:pt x="81" y="414"/>
                    </a:lnTo>
                    <a:lnTo>
                      <a:pt x="81" y="414"/>
                    </a:lnTo>
                    <a:lnTo>
                      <a:pt x="82" y="416"/>
                    </a:lnTo>
                    <a:lnTo>
                      <a:pt x="86" y="420"/>
                    </a:lnTo>
                    <a:lnTo>
                      <a:pt x="86" y="420"/>
                    </a:lnTo>
                    <a:lnTo>
                      <a:pt x="88" y="420"/>
                    </a:lnTo>
                    <a:lnTo>
                      <a:pt x="88" y="422"/>
                    </a:lnTo>
                    <a:lnTo>
                      <a:pt x="88" y="422"/>
                    </a:lnTo>
                    <a:lnTo>
                      <a:pt x="90" y="422"/>
                    </a:lnTo>
                    <a:lnTo>
                      <a:pt x="92" y="422"/>
                    </a:lnTo>
                    <a:lnTo>
                      <a:pt x="94" y="422"/>
                    </a:lnTo>
                    <a:lnTo>
                      <a:pt x="100" y="418"/>
                    </a:lnTo>
                    <a:lnTo>
                      <a:pt x="103" y="413"/>
                    </a:lnTo>
                    <a:lnTo>
                      <a:pt x="105" y="413"/>
                    </a:lnTo>
                    <a:lnTo>
                      <a:pt x="107" y="413"/>
                    </a:lnTo>
                    <a:lnTo>
                      <a:pt x="113" y="409"/>
                    </a:lnTo>
                    <a:lnTo>
                      <a:pt x="117" y="407"/>
                    </a:lnTo>
                    <a:lnTo>
                      <a:pt x="121" y="407"/>
                    </a:lnTo>
                    <a:lnTo>
                      <a:pt x="123" y="409"/>
                    </a:lnTo>
                    <a:lnTo>
                      <a:pt x="123" y="409"/>
                    </a:lnTo>
                    <a:lnTo>
                      <a:pt x="126" y="414"/>
                    </a:lnTo>
                    <a:lnTo>
                      <a:pt x="126" y="414"/>
                    </a:lnTo>
                    <a:lnTo>
                      <a:pt x="128" y="416"/>
                    </a:lnTo>
                    <a:lnTo>
                      <a:pt x="128" y="420"/>
                    </a:lnTo>
                    <a:lnTo>
                      <a:pt x="128" y="422"/>
                    </a:lnTo>
                    <a:lnTo>
                      <a:pt x="128" y="422"/>
                    </a:lnTo>
                    <a:lnTo>
                      <a:pt x="130" y="424"/>
                    </a:lnTo>
                    <a:lnTo>
                      <a:pt x="130" y="424"/>
                    </a:lnTo>
                    <a:lnTo>
                      <a:pt x="132" y="426"/>
                    </a:lnTo>
                    <a:lnTo>
                      <a:pt x="132" y="426"/>
                    </a:lnTo>
                    <a:lnTo>
                      <a:pt x="130" y="430"/>
                    </a:lnTo>
                    <a:lnTo>
                      <a:pt x="124" y="441"/>
                    </a:lnTo>
                    <a:lnTo>
                      <a:pt x="124" y="443"/>
                    </a:lnTo>
                    <a:lnTo>
                      <a:pt x="124" y="443"/>
                    </a:lnTo>
                    <a:lnTo>
                      <a:pt x="126" y="449"/>
                    </a:lnTo>
                    <a:lnTo>
                      <a:pt x="128" y="456"/>
                    </a:lnTo>
                    <a:lnTo>
                      <a:pt x="128" y="456"/>
                    </a:lnTo>
                    <a:lnTo>
                      <a:pt x="128" y="458"/>
                    </a:lnTo>
                    <a:lnTo>
                      <a:pt x="124" y="466"/>
                    </a:lnTo>
                    <a:lnTo>
                      <a:pt x="124" y="468"/>
                    </a:lnTo>
                    <a:lnTo>
                      <a:pt x="124" y="470"/>
                    </a:lnTo>
                    <a:lnTo>
                      <a:pt x="124" y="473"/>
                    </a:lnTo>
                    <a:lnTo>
                      <a:pt x="126" y="477"/>
                    </a:lnTo>
                    <a:lnTo>
                      <a:pt x="126" y="479"/>
                    </a:lnTo>
                    <a:lnTo>
                      <a:pt x="126" y="481"/>
                    </a:lnTo>
                    <a:lnTo>
                      <a:pt x="121" y="500"/>
                    </a:lnTo>
                    <a:lnTo>
                      <a:pt x="121" y="502"/>
                    </a:lnTo>
                    <a:lnTo>
                      <a:pt x="121" y="502"/>
                    </a:lnTo>
                    <a:lnTo>
                      <a:pt x="121" y="502"/>
                    </a:lnTo>
                    <a:lnTo>
                      <a:pt x="121" y="504"/>
                    </a:lnTo>
                    <a:lnTo>
                      <a:pt x="121" y="504"/>
                    </a:lnTo>
                    <a:lnTo>
                      <a:pt x="123" y="504"/>
                    </a:lnTo>
                    <a:lnTo>
                      <a:pt x="123" y="504"/>
                    </a:lnTo>
                    <a:lnTo>
                      <a:pt x="124" y="504"/>
                    </a:lnTo>
                    <a:lnTo>
                      <a:pt x="124" y="506"/>
                    </a:lnTo>
                    <a:lnTo>
                      <a:pt x="124" y="506"/>
                    </a:lnTo>
                    <a:lnTo>
                      <a:pt x="126" y="506"/>
                    </a:lnTo>
                    <a:lnTo>
                      <a:pt x="126" y="508"/>
                    </a:lnTo>
                    <a:lnTo>
                      <a:pt x="128" y="508"/>
                    </a:lnTo>
                    <a:lnTo>
                      <a:pt x="130" y="508"/>
                    </a:lnTo>
                    <a:lnTo>
                      <a:pt x="136" y="504"/>
                    </a:lnTo>
                    <a:lnTo>
                      <a:pt x="136" y="504"/>
                    </a:lnTo>
                    <a:lnTo>
                      <a:pt x="138" y="504"/>
                    </a:lnTo>
                    <a:lnTo>
                      <a:pt x="140" y="504"/>
                    </a:lnTo>
                    <a:lnTo>
                      <a:pt x="140" y="506"/>
                    </a:lnTo>
                    <a:lnTo>
                      <a:pt x="140" y="506"/>
                    </a:lnTo>
                    <a:lnTo>
                      <a:pt x="142" y="508"/>
                    </a:lnTo>
                    <a:lnTo>
                      <a:pt x="142" y="510"/>
                    </a:lnTo>
                    <a:lnTo>
                      <a:pt x="145" y="515"/>
                    </a:lnTo>
                    <a:lnTo>
                      <a:pt x="147" y="515"/>
                    </a:lnTo>
                    <a:lnTo>
                      <a:pt x="147" y="519"/>
                    </a:lnTo>
                    <a:lnTo>
                      <a:pt x="144" y="523"/>
                    </a:lnTo>
                    <a:lnTo>
                      <a:pt x="144" y="523"/>
                    </a:lnTo>
                    <a:lnTo>
                      <a:pt x="142" y="525"/>
                    </a:lnTo>
                    <a:lnTo>
                      <a:pt x="140" y="534"/>
                    </a:lnTo>
                    <a:lnTo>
                      <a:pt x="136" y="540"/>
                    </a:lnTo>
                    <a:lnTo>
                      <a:pt x="128" y="563"/>
                    </a:lnTo>
                    <a:lnTo>
                      <a:pt x="124" y="570"/>
                    </a:lnTo>
                    <a:lnTo>
                      <a:pt x="123" y="574"/>
                    </a:lnTo>
                    <a:lnTo>
                      <a:pt x="119" y="576"/>
                    </a:lnTo>
                    <a:lnTo>
                      <a:pt x="117" y="578"/>
                    </a:lnTo>
                    <a:lnTo>
                      <a:pt x="117" y="578"/>
                    </a:lnTo>
                    <a:lnTo>
                      <a:pt x="117" y="580"/>
                    </a:lnTo>
                    <a:lnTo>
                      <a:pt x="121" y="588"/>
                    </a:lnTo>
                    <a:lnTo>
                      <a:pt x="123" y="591"/>
                    </a:lnTo>
                    <a:lnTo>
                      <a:pt x="124" y="593"/>
                    </a:lnTo>
                    <a:lnTo>
                      <a:pt x="126" y="593"/>
                    </a:lnTo>
                    <a:lnTo>
                      <a:pt x="126" y="595"/>
                    </a:lnTo>
                    <a:lnTo>
                      <a:pt x="128" y="595"/>
                    </a:lnTo>
                    <a:lnTo>
                      <a:pt x="128" y="597"/>
                    </a:lnTo>
                    <a:lnTo>
                      <a:pt x="128" y="597"/>
                    </a:lnTo>
                    <a:lnTo>
                      <a:pt x="128" y="599"/>
                    </a:lnTo>
                    <a:lnTo>
                      <a:pt x="126" y="605"/>
                    </a:lnTo>
                    <a:lnTo>
                      <a:pt x="121" y="614"/>
                    </a:lnTo>
                    <a:lnTo>
                      <a:pt x="119" y="616"/>
                    </a:lnTo>
                    <a:lnTo>
                      <a:pt x="119" y="616"/>
                    </a:lnTo>
                    <a:lnTo>
                      <a:pt x="119" y="618"/>
                    </a:lnTo>
                    <a:lnTo>
                      <a:pt x="119" y="620"/>
                    </a:lnTo>
                    <a:lnTo>
                      <a:pt x="119" y="620"/>
                    </a:lnTo>
                    <a:lnTo>
                      <a:pt x="119" y="622"/>
                    </a:lnTo>
                    <a:lnTo>
                      <a:pt x="121" y="624"/>
                    </a:lnTo>
                    <a:lnTo>
                      <a:pt x="121" y="626"/>
                    </a:lnTo>
                    <a:lnTo>
                      <a:pt x="121" y="626"/>
                    </a:lnTo>
                    <a:lnTo>
                      <a:pt x="123" y="627"/>
                    </a:lnTo>
                    <a:lnTo>
                      <a:pt x="128" y="631"/>
                    </a:lnTo>
                    <a:lnTo>
                      <a:pt x="130" y="633"/>
                    </a:lnTo>
                    <a:lnTo>
                      <a:pt x="130" y="635"/>
                    </a:lnTo>
                    <a:lnTo>
                      <a:pt x="132" y="637"/>
                    </a:lnTo>
                    <a:lnTo>
                      <a:pt x="132" y="637"/>
                    </a:lnTo>
                    <a:lnTo>
                      <a:pt x="130" y="639"/>
                    </a:lnTo>
                    <a:lnTo>
                      <a:pt x="130" y="641"/>
                    </a:lnTo>
                    <a:lnTo>
                      <a:pt x="126" y="645"/>
                    </a:lnTo>
                    <a:lnTo>
                      <a:pt x="126" y="645"/>
                    </a:lnTo>
                    <a:lnTo>
                      <a:pt x="124" y="645"/>
                    </a:lnTo>
                    <a:lnTo>
                      <a:pt x="124" y="645"/>
                    </a:lnTo>
                    <a:lnTo>
                      <a:pt x="123" y="645"/>
                    </a:lnTo>
                    <a:lnTo>
                      <a:pt x="123" y="645"/>
                    </a:lnTo>
                    <a:lnTo>
                      <a:pt x="123" y="643"/>
                    </a:lnTo>
                    <a:lnTo>
                      <a:pt x="123" y="645"/>
                    </a:lnTo>
                    <a:lnTo>
                      <a:pt x="123" y="645"/>
                    </a:lnTo>
                    <a:lnTo>
                      <a:pt x="123" y="645"/>
                    </a:lnTo>
                    <a:lnTo>
                      <a:pt x="123" y="647"/>
                    </a:lnTo>
                    <a:lnTo>
                      <a:pt x="123" y="650"/>
                    </a:lnTo>
                    <a:lnTo>
                      <a:pt x="123" y="652"/>
                    </a:lnTo>
                    <a:lnTo>
                      <a:pt x="123" y="652"/>
                    </a:lnTo>
                    <a:lnTo>
                      <a:pt x="123" y="654"/>
                    </a:lnTo>
                    <a:lnTo>
                      <a:pt x="119" y="658"/>
                    </a:lnTo>
                    <a:lnTo>
                      <a:pt x="117" y="660"/>
                    </a:lnTo>
                    <a:lnTo>
                      <a:pt x="117" y="662"/>
                    </a:lnTo>
                    <a:lnTo>
                      <a:pt x="117" y="662"/>
                    </a:lnTo>
                    <a:lnTo>
                      <a:pt x="117" y="664"/>
                    </a:lnTo>
                    <a:lnTo>
                      <a:pt x="117" y="666"/>
                    </a:lnTo>
                    <a:lnTo>
                      <a:pt x="117" y="666"/>
                    </a:lnTo>
                    <a:lnTo>
                      <a:pt x="117" y="666"/>
                    </a:lnTo>
                    <a:lnTo>
                      <a:pt x="115" y="667"/>
                    </a:lnTo>
                    <a:lnTo>
                      <a:pt x="115" y="667"/>
                    </a:lnTo>
                    <a:lnTo>
                      <a:pt x="113" y="667"/>
                    </a:lnTo>
                    <a:lnTo>
                      <a:pt x="111" y="667"/>
                    </a:lnTo>
                    <a:lnTo>
                      <a:pt x="111" y="667"/>
                    </a:lnTo>
                    <a:lnTo>
                      <a:pt x="111" y="667"/>
                    </a:lnTo>
                    <a:lnTo>
                      <a:pt x="111" y="667"/>
                    </a:lnTo>
                    <a:lnTo>
                      <a:pt x="113" y="669"/>
                    </a:lnTo>
                    <a:lnTo>
                      <a:pt x="124" y="681"/>
                    </a:lnTo>
                    <a:lnTo>
                      <a:pt x="126" y="683"/>
                    </a:lnTo>
                    <a:lnTo>
                      <a:pt x="130" y="683"/>
                    </a:lnTo>
                    <a:lnTo>
                      <a:pt x="132" y="685"/>
                    </a:lnTo>
                    <a:lnTo>
                      <a:pt x="134" y="686"/>
                    </a:lnTo>
                    <a:lnTo>
                      <a:pt x="136" y="688"/>
                    </a:lnTo>
                    <a:lnTo>
                      <a:pt x="136" y="688"/>
                    </a:lnTo>
                    <a:lnTo>
                      <a:pt x="153" y="694"/>
                    </a:lnTo>
                    <a:lnTo>
                      <a:pt x="161" y="694"/>
                    </a:lnTo>
                    <a:lnTo>
                      <a:pt x="166" y="694"/>
                    </a:lnTo>
                    <a:lnTo>
                      <a:pt x="166" y="690"/>
                    </a:lnTo>
                    <a:lnTo>
                      <a:pt x="170" y="686"/>
                    </a:lnTo>
                    <a:lnTo>
                      <a:pt x="178" y="685"/>
                    </a:lnTo>
                    <a:lnTo>
                      <a:pt x="191" y="683"/>
                    </a:lnTo>
                    <a:lnTo>
                      <a:pt x="193" y="681"/>
                    </a:lnTo>
                    <a:lnTo>
                      <a:pt x="195" y="677"/>
                    </a:lnTo>
                    <a:lnTo>
                      <a:pt x="197" y="675"/>
                    </a:lnTo>
                    <a:lnTo>
                      <a:pt x="222" y="660"/>
                    </a:lnTo>
                    <a:lnTo>
                      <a:pt x="227" y="658"/>
                    </a:lnTo>
                    <a:lnTo>
                      <a:pt x="229" y="658"/>
                    </a:lnTo>
                    <a:lnTo>
                      <a:pt x="229" y="658"/>
                    </a:lnTo>
                    <a:lnTo>
                      <a:pt x="231" y="650"/>
                    </a:lnTo>
                    <a:lnTo>
                      <a:pt x="233" y="648"/>
                    </a:lnTo>
                    <a:lnTo>
                      <a:pt x="237" y="645"/>
                    </a:lnTo>
                    <a:lnTo>
                      <a:pt x="237" y="645"/>
                    </a:lnTo>
                    <a:lnTo>
                      <a:pt x="237" y="643"/>
                    </a:lnTo>
                    <a:lnTo>
                      <a:pt x="239" y="629"/>
                    </a:lnTo>
                    <a:lnTo>
                      <a:pt x="239" y="626"/>
                    </a:lnTo>
                    <a:lnTo>
                      <a:pt x="237" y="622"/>
                    </a:lnTo>
                    <a:lnTo>
                      <a:pt x="239" y="622"/>
                    </a:lnTo>
                    <a:lnTo>
                      <a:pt x="239" y="620"/>
                    </a:lnTo>
                    <a:lnTo>
                      <a:pt x="239" y="618"/>
                    </a:lnTo>
                    <a:lnTo>
                      <a:pt x="241" y="616"/>
                    </a:lnTo>
                    <a:lnTo>
                      <a:pt x="243" y="612"/>
                    </a:lnTo>
                    <a:lnTo>
                      <a:pt x="243" y="612"/>
                    </a:lnTo>
                    <a:lnTo>
                      <a:pt x="245" y="610"/>
                    </a:lnTo>
                    <a:lnTo>
                      <a:pt x="246" y="608"/>
                    </a:lnTo>
                    <a:lnTo>
                      <a:pt x="248" y="608"/>
                    </a:lnTo>
                    <a:lnTo>
                      <a:pt x="248" y="605"/>
                    </a:lnTo>
                    <a:lnTo>
                      <a:pt x="246" y="607"/>
                    </a:lnTo>
                    <a:lnTo>
                      <a:pt x="245" y="608"/>
                    </a:lnTo>
                    <a:lnTo>
                      <a:pt x="245" y="608"/>
                    </a:lnTo>
                    <a:lnTo>
                      <a:pt x="243" y="608"/>
                    </a:lnTo>
                    <a:lnTo>
                      <a:pt x="243" y="607"/>
                    </a:lnTo>
                    <a:lnTo>
                      <a:pt x="245" y="605"/>
                    </a:lnTo>
                    <a:lnTo>
                      <a:pt x="245" y="595"/>
                    </a:lnTo>
                    <a:lnTo>
                      <a:pt x="245" y="593"/>
                    </a:lnTo>
                    <a:lnTo>
                      <a:pt x="248" y="586"/>
                    </a:lnTo>
                    <a:lnTo>
                      <a:pt x="252" y="582"/>
                    </a:lnTo>
                    <a:lnTo>
                      <a:pt x="269" y="569"/>
                    </a:lnTo>
                    <a:lnTo>
                      <a:pt x="273" y="565"/>
                    </a:lnTo>
                    <a:lnTo>
                      <a:pt x="279" y="563"/>
                    </a:lnTo>
                    <a:lnTo>
                      <a:pt x="283" y="563"/>
                    </a:lnTo>
                    <a:lnTo>
                      <a:pt x="300" y="561"/>
                    </a:lnTo>
                    <a:lnTo>
                      <a:pt x="302" y="559"/>
                    </a:lnTo>
                    <a:lnTo>
                      <a:pt x="304" y="559"/>
                    </a:lnTo>
                    <a:lnTo>
                      <a:pt x="304" y="557"/>
                    </a:lnTo>
                    <a:lnTo>
                      <a:pt x="306" y="555"/>
                    </a:lnTo>
                    <a:lnTo>
                      <a:pt x="308" y="555"/>
                    </a:lnTo>
                    <a:lnTo>
                      <a:pt x="313" y="553"/>
                    </a:lnTo>
                    <a:lnTo>
                      <a:pt x="315" y="553"/>
                    </a:lnTo>
                    <a:lnTo>
                      <a:pt x="317" y="553"/>
                    </a:lnTo>
                    <a:lnTo>
                      <a:pt x="317" y="551"/>
                    </a:lnTo>
                    <a:lnTo>
                      <a:pt x="319" y="549"/>
                    </a:lnTo>
                    <a:lnTo>
                      <a:pt x="325" y="549"/>
                    </a:lnTo>
                    <a:lnTo>
                      <a:pt x="328" y="548"/>
                    </a:lnTo>
                    <a:lnTo>
                      <a:pt x="330" y="546"/>
                    </a:lnTo>
                    <a:lnTo>
                      <a:pt x="334" y="546"/>
                    </a:lnTo>
                    <a:lnTo>
                      <a:pt x="336" y="546"/>
                    </a:lnTo>
                    <a:lnTo>
                      <a:pt x="336" y="546"/>
                    </a:lnTo>
                    <a:lnTo>
                      <a:pt x="336" y="546"/>
                    </a:lnTo>
                    <a:lnTo>
                      <a:pt x="338" y="546"/>
                    </a:lnTo>
                    <a:lnTo>
                      <a:pt x="340" y="544"/>
                    </a:lnTo>
                    <a:lnTo>
                      <a:pt x="342" y="544"/>
                    </a:lnTo>
                    <a:lnTo>
                      <a:pt x="346" y="542"/>
                    </a:lnTo>
                    <a:lnTo>
                      <a:pt x="351" y="544"/>
                    </a:lnTo>
                    <a:lnTo>
                      <a:pt x="355" y="544"/>
                    </a:lnTo>
                    <a:lnTo>
                      <a:pt x="359" y="546"/>
                    </a:lnTo>
                    <a:lnTo>
                      <a:pt x="359" y="546"/>
                    </a:lnTo>
                    <a:lnTo>
                      <a:pt x="363" y="546"/>
                    </a:lnTo>
                    <a:lnTo>
                      <a:pt x="369" y="544"/>
                    </a:lnTo>
                    <a:lnTo>
                      <a:pt x="370" y="544"/>
                    </a:lnTo>
                    <a:lnTo>
                      <a:pt x="372" y="544"/>
                    </a:lnTo>
                    <a:lnTo>
                      <a:pt x="374" y="544"/>
                    </a:lnTo>
                    <a:lnTo>
                      <a:pt x="376" y="546"/>
                    </a:lnTo>
                    <a:lnTo>
                      <a:pt x="384" y="546"/>
                    </a:lnTo>
                    <a:lnTo>
                      <a:pt x="393" y="551"/>
                    </a:lnTo>
                    <a:lnTo>
                      <a:pt x="401" y="557"/>
                    </a:lnTo>
                    <a:lnTo>
                      <a:pt x="403" y="559"/>
                    </a:lnTo>
                    <a:lnTo>
                      <a:pt x="405" y="557"/>
                    </a:lnTo>
                    <a:lnTo>
                      <a:pt x="403" y="555"/>
                    </a:lnTo>
                    <a:lnTo>
                      <a:pt x="393" y="549"/>
                    </a:lnTo>
                    <a:lnTo>
                      <a:pt x="391" y="548"/>
                    </a:lnTo>
                    <a:lnTo>
                      <a:pt x="391" y="546"/>
                    </a:lnTo>
                    <a:lnTo>
                      <a:pt x="391" y="546"/>
                    </a:lnTo>
                    <a:lnTo>
                      <a:pt x="390" y="546"/>
                    </a:lnTo>
                    <a:lnTo>
                      <a:pt x="390" y="544"/>
                    </a:lnTo>
                    <a:lnTo>
                      <a:pt x="390" y="542"/>
                    </a:lnTo>
                    <a:lnTo>
                      <a:pt x="390" y="542"/>
                    </a:lnTo>
                    <a:lnTo>
                      <a:pt x="390" y="540"/>
                    </a:lnTo>
                    <a:lnTo>
                      <a:pt x="391" y="538"/>
                    </a:lnTo>
                    <a:lnTo>
                      <a:pt x="390" y="538"/>
                    </a:lnTo>
                    <a:lnTo>
                      <a:pt x="388" y="536"/>
                    </a:lnTo>
                    <a:lnTo>
                      <a:pt x="384" y="538"/>
                    </a:lnTo>
                    <a:lnTo>
                      <a:pt x="382" y="540"/>
                    </a:lnTo>
                    <a:lnTo>
                      <a:pt x="378" y="542"/>
                    </a:lnTo>
                    <a:lnTo>
                      <a:pt x="361" y="540"/>
                    </a:lnTo>
                    <a:lnTo>
                      <a:pt x="357" y="540"/>
                    </a:lnTo>
                    <a:lnTo>
                      <a:pt x="351" y="538"/>
                    </a:lnTo>
                    <a:lnTo>
                      <a:pt x="342" y="529"/>
                    </a:lnTo>
                    <a:lnTo>
                      <a:pt x="338" y="525"/>
                    </a:lnTo>
                    <a:lnTo>
                      <a:pt x="336" y="521"/>
                    </a:lnTo>
                    <a:lnTo>
                      <a:pt x="336" y="517"/>
                    </a:lnTo>
                    <a:lnTo>
                      <a:pt x="338" y="513"/>
                    </a:lnTo>
                    <a:lnTo>
                      <a:pt x="338" y="506"/>
                    </a:lnTo>
                    <a:lnTo>
                      <a:pt x="340" y="504"/>
                    </a:lnTo>
                    <a:lnTo>
                      <a:pt x="340" y="502"/>
                    </a:lnTo>
                    <a:lnTo>
                      <a:pt x="342" y="500"/>
                    </a:lnTo>
                    <a:lnTo>
                      <a:pt x="342" y="498"/>
                    </a:lnTo>
                    <a:lnTo>
                      <a:pt x="344" y="498"/>
                    </a:lnTo>
                    <a:lnTo>
                      <a:pt x="344" y="496"/>
                    </a:lnTo>
                    <a:lnTo>
                      <a:pt x="346" y="496"/>
                    </a:lnTo>
                    <a:lnTo>
                      <a:pt x="344" y="494"/>
                    </a:lnTo>
                    <a:lnTo>
                      <a:pt x="346" y="492"/>
                    </a:lnTo>
                    <a:lnTo>
                      <a:pt x="351" y="483"/>
                    </a:lnTo>
                    <a:lnTo>
                      <a:pt x="357" y="479"/>
                    </a:lnTo>
                    <a:lnTo>
                      <a:pt x="359" y="475"/>
                    </a:lnTo>
                    <a:lnTo>
                      <a:pt x="359" y="473"/>
                    </a:lnTo>
                    <a:lnTo>
                      <a:pt x="361" y="473"/>
                    </a:lnTo>
                    <a:lnTo>
                      <a:pt x="363" y="470"/>
                    </a:lnTo>
                    <a:lnTo>
                      <a:pt x="365" y="464"/>
                    </a:lnTo>
                    <a:lnTo>
                      <a:pt x="372" y="454"/>
                    </a:lnTo>
                    <a:lnTo>
                      <a:pt x="378" y="449"/>
                    </a:lnTo>
                    <a:lnTo>
                      <a:pt x="382" y="447"/>
                    </a:lnTo>
                    <a:lnTo>
                      <a:pt x="380" y="445"/>
                    </a:lnTo>
                    <a:lnTo>
                      <a:pt x="378" y="441"/>
                    </a:lnTo>
                    <a:lnTo>
                      <a:pt x="376" y="432"/>
                    </a:lnTo>
                    <a:lnTo>
                      <a:pt x="376" y="430"/>
                    </a:lnTo>
                    <a:lnTo>
                      <a:pt x="378" y="428"/>
                    </a:lnTo>
                    <a:lnTo>
                      <a:pt x="378" y="428"/>
                    </a:lnTo>
                    <a:lnTo>
                      <a:pt x="380" y="426"/>
                    </a:lnTo>
                    <a:lnTo>
                      <a:pt x="382" y="426"/>
                    </a:lnTo>
                    <a:lnTo>
                      <a:pt x="382" y="424"/>
                    </a:lnTo>
                    <a:lnTo>
                      <a:pt x="382" y="422"/>
                    </a:lnTo>
                    <a:lnTo>
                      <a:pt x="382" y="422"/>
                    </a:lnTo>
                    <a:lnTo>
                      <a:pt x="384" y="418"/>
                    </a:lnTo>
                    <a:lnTo>
                      <a:pt x="386" y="416"/>
                    </a:lnTo>
                    <a:lnTo>
                      <a:pt x="393" y="413"/>
                    </a:lnTo>
                    <a:lnTo>
                      <a:pt x="395" y="411"/>
                    </a:lnTo>
                    <a:lnTo>
                      <a:pt x="397" y="411"/>
                    </a:lnTo>
                    <a:lnTo>
                      <a:pt x="399" y="411"/>
                    </a:lnTo>
                    <a:lnTo>
                      <a:pt x="403" y="413"/>
                    </a:lnTo>
                    <a:lnTo>
                      <a:pt x="405" y="413"/>
                    </a:lnTo>
                    <a:lnTo>
                      <a:pt x="410" y="411"/>
                    </a:lnTo>
                    <a:lnTo>
                      <a:pt x="414" y="411"/>
                    </a:lnTo>
                    <a:lnTo>
                      <a:pt x="414" y="409"/>
                    </a:lnTo>
                    <a:lnTo>
                      <a:pt x="414" y="409"/>
                    </a:lnTo>
                    <a:lnTo>
                      <a:pt x="418" y="409"/>
                    </a:lnTo>
                    <a:lnTo>
                      <a:pt x="420" y="407"/>
                    </a:lnTo>
                    <a:lnTo>
                      <a:pt x="424" y="409"/>
                    </a:lnTo>
                    <a:lnTo>
                      <a:pt x="424" y="409"/>
                    </a:lnTo>
                    <a:lnTo>
                      <a:pt x="420" y="411"/>
                    </a:lnTo>
                    <a:lnTo>
                      <a:pt x="418" y="411"/>
                    </a:lnTo>
                    <a:lnTo>
                      <a:pt x="416" y="411"/>
                    </a:lnTo>
                    <a:lnTo>
                      <a:pt x="416" y="411"/>
                    </a:lnTo>
                    <a:lnTo>
                      <a:pt x="416" y="413"/>
                    </a:lnTo>
                    <a:lnTo>
                      <a:pt x="416" y="413"/>
                    </a:lnTo>
                    <a:lnTo>
                      <a:pt x="418" y="413"/>
                    </a:lnTo>
                    <a:lnTo>
                      <a:pt x="420" y="413"/>
                    </a:lnTo>
                    <a:lnTo>
                      <a:pt x="443" y="418"/>
                    </a:lnTo>
                    <a:lnTo>
                      <a:pt x="445" y="418"/>
                    </a:lnTo>
                    <a:lnTo>
                      <a:pt x="445" y="416"/>
                    </a:lnTo>
                    <a:lnTo>
                      <a:pt x="443" y="414"/>
                    </a:lnTo>
                    <a:lnTo>
                      <a:pt x="439" y="414"/>
                    </a:lnTo>
                    <a:lnTo>
                      <a:pt x="435" y="414"/>
                    </a:lnTo>
                    <a:lnTo>
                      <a:pt x="435" y="414"/>
                    </a:lnTo>
                    <a:lnTo>
                      <a:pt x="433" y="413"/>
                    </a:lnTo>
                    <a:lnTo>
                      <a:pt x="431" y="413"/>
                    </a:lnTo>
                    <a:lnTo>
                      <a:pt x="430" y="413"/>
                    </a:lnTo>
                    <a:lnTo>
                      <a:pt x="428" y="413"/>
                    </a:lnTo>
                    <a:lnTo>
                      <a:pt x="426" y="411"/>
                    </a:lnTo>
                    <a:lnTo>
                      <a:pt x="424" y="413"/>
                    </a:lnTo>
                    <a:lnTo>
                      <a:pt x="426" y="411"/>
                    </a:lnTo>
                    <a:lnTo>
                      <a:pt x="426" y="409"/>
                    </a:lnTo>
                    <a:lnTo>
                      <a:pt x="443" y="413"/>
                    </a:lnTo>
                    <a:lnTo>
                      <a:pt x="445" y="413"/>
                    </a:lnTo>
                    <a:lnTo>
                      <a:pt x="445" y="416"/>
                    </a:lnTo>
                    <a:lnTo>
                      <a:pt x="447" y="416"/>
                    </a:lnTo>
                    <a:lnTo>
                      <a:pt x="449" y="416"/>
                    </a:lnTo>
                    <a:lnTo>
                      <a:pt x="452" y="416"/>
                    </a:lnTo>
                    <a:lnTo>
                      <a:pt x="454" y="414"/>
                    </a:lnTo>
                    <a:lnTo>
                      <a:pt x="454" y="414"/>
                    </a:lnTo>
                    <a:lnTo>
                      <a:pt x="456" y="403"/>
                    </a:lnTo>
                    <a:lnTo>
                      <a:pt x="454" y="380"/>
                    </a:lnTo>
                    <a:lnTo>
                      <a:pt x="454" y="376"/>
                    </a:lnTo>
                    <a:lnTo>
                      <a:pt x="454" y="355"/>
                    </a:lnTo>
                    <a:lnTo>
                      <a:pt x="454" y="348"/>
                    </a:lnTo>
                    <a:lnTo>
                      <a:pt x="452" y="348"/>
                    </a:lnTo>
                    <a:lnTo>
                      <a:pt x="449" y="346"/>
                    </a:lnTo>
                    <a:lnTo>
                      <a:pt x="449" y="346"/>
                    </a:lnTo>
                    <a:lnTo>
                      <a:pt x="449" y="346"/>
                    </a:lnTo>
                    <a:lnTo>
                      <a:pt x="447" y="344"/>
                    </a:lnTo>
                    <a:lnTo>
                      <a:pt x="447" y="344"/>
                    </a:lnTo>
                    <a:lnTo>
                      <a:pt x="447" y="342"/>
                    </a:lnTo>
                    <a:lnTo>
                      <a:pt x="447" y="342"/>
                    </a:lnTo>
                    <a:lnTo>
                      <a:pt x="447" y="342"/>
                    </a:lnTo>
                    <a:lnTo>
                      <a:pt x="449" y="340"/>
                    </a:lnTo>
                    <a:lnTo>
                      <a:pt x="449" y="340"/>
                    </a:lnTo>
                    <a:lnTo>
                      <a:pt x="447" y="340"/>
                    </a:lnTo>
                    <a:lnTo>
                      <a:pt x="447" y="340"/>
                    </a:lnTo>
                    <a:lnTo>
                      <a:pt x="445" y="340"/>
                    </a:lnTo>
                    <a:lnTo>
                      <a:pt x="445" y="340"/>
                    </a:lnTo>
                    <a:lnTo>
                      <a:pt x="445" y="340"/>
                    </a:lnTo>
                    <a:lnTo>
                      <a:pt x="445" y="338"/>
                    </a:lnTo>
                    <a:lnTo>
                      <a:pt x="445" y="338"/>
                    </a:lnTo>
                    <a:lnTo>
                      <a:pt x="443" y="338"/>
                    </a:lnTo>
                    <a:lnTo>
                      <a:pt x="443" y="338"/>
                    </a:lnTo>
                    <a:lnTo>
                      <a:pt x="441" y="338"/>
                    </a:lnTo>
                    <a:lnTo>
                      <a:pt x="441" y="338"/>
                    </a:lnTo>
                    <a:lnTo>
                      <a:pt x="439" y="336"/>
                    </a:lnTo>
                    <a:lnTo>
                      <a:pt x="439" y="336"/>
                    </a:lnTo>
                    <a:lnTo>
                      <a:pt x="437" y="336"/>
                    </a:lnTo>
                    <a:lnTo>
                      <a:pt x="437" y="336"/>
                    </a:lnTo>
                    <a:lnTo>
                      <a:pt x="435" y="334"/>
                    </a:lnTo>
                    <a:lnTo>
                      <a:pt x="435" y="334"/>
                    </a:lnTo>
                    <a:lnTo>
                      <a:pt x="437" y="333"/>
                    </a:lnTo>
                    <a:lnTo>
                      <a:pt x="437" y="333"/>
                    </a:lnTo>
                    <a:lnTo>
                      <a:pt x="437" y="333"/>
                    </a:lnTo>
                    <a:lnTo>
                      <a:pt x="435" y="331"/>
                    </a:lnTo>
                    <a:lnTo>
                      <a:pt x="435" y="331"/>
                    </a:lnTo>
                    <a:lnTo>
                      <a:pt x="437" y="331"/>
                    </a:lnTo>
                    <a:lnTo>
                      <a:pt x="439" y="331"/>
                    </a:lnTo>
                    <a:lnTo>
                      <a:pt x="439" y="331"/>
                    </a:lnTo>
                    <a:lnTo>
                      <a:pt x="441" y="331"/>
                    </a:lnTo>
                    <a:lnTo>
                      <a:pt x="441" y="331"/>
                    </a:lnTo>
                    <a:lnTo>
                      <a:pt x="441" y="329"/>
                    </a:lnTo>
                    <a:lnTo>
                      <a:pt x="439" y="327"/>
                    </a:lnTo>
                    <a:lnTo>
                      <a:pt x="439" y="327"/>
                    </a:lnTo>
                    <a:lnTo>
                      <a:pt x="439" y="327"/>
                    </a:lnTo>
                    <a:lnTo>
                      <a:pt x="439" y="325"/>
                    </a:lnTo>
                    <a:lnTo>
                      <a:pt x="439" y="325"/>
                    </a:lnTo>
                    <a:lnTo>
                      <a:pt x="443" y="327"/>
                    </a:lnTo>
                    <a:lnTo>
                      <a:pt x="445" y="327"/>
                    </a:lnTo>
                    <a:lnTo>
                      <a:pt x="445" y="327"/>
                    </a:lnTo>
                    <a:lnTo>
                      <a:pt x="447" y="327"/>
                    </a:lnTo>
                    <a:lnTo>
                      <a:pt x="449" y="325"/>
                    </a:lnTo>
                    <a:lnTo>
                      <a:pt x="451" y="325"/>
                    </a:lnTo>
                    <a:lnTo>
                      <a:pt x="454" y="327"/>
                    </a:lnTo>
                    <a:lnTo>
                      <a:pt x="454" y="327"/>
                    </a:lnTo>
                    <a:lnTo>
                      <a:pt x="454" y="323"/>
                    </a:lnTo>
                    <a:lnTo>
                      <a:pt x="454" y="304"/>
                    </a:lnTo>
                    <a:lnTo>
                      <a:pt x="452" y="291"/>
                    </a:lnTo>
                    <a:lnTo>
                      <a:pt x="452" y="279"/>
                    </a:lnTo>
                    <a:lnTo>
                      <a:pt x="451" y="279"/>
                    </a:lnTo>
                    <a:lnTo>
                      <a:pt x="451" y="279"/>
                    </a:lnTo>
                    <a:lnTo>
                      <a:pt x="447" y="277"/>
                    </a:lnTo>
                    <a:lnTo>
                      <a:pt x="445" y="277"/>
                    </a:lnTo>
                    <a:lnTo>
                      <a:pt x="443" y="277"/>
                    </a:lnTo>
                    <a:lnTo>
                      <a:pt x="441" y="279"/>
                    </a:lnTo>
                    <a:lnTo>
                      <a:pt x="441" y="281"/>
                    </a:lnTo>
                    <a:lnTo>
                      <a:pt x="435" y="285"/>
                    </a:lnTo>
                    <a:lnTo>
                      <a:pt x="433" y="285"/>
                    </a:lnTo>
                    <a:lnTo>
                      <a:pt x="431" y="285"/>
                    </a:lnTo>
                    <a:lnTo>
                      <a:pt x="433" y="283"/>
                    </a:lnTo>
                    <a:lnTo>
                      <a:pt x="441" y="277"/>
                    </a:lnTo>
                    <a:lnTo>
                      <a:pt x="441" y="276"/>
                    </a:lnTo>
                    <a:lnTo>
                      <a:pt x="443" y="276"/>
                    </a:lnTo>
                    <a:lnTo>
                      <a:pt x="443" y="276"/>
                    </a:lnTo>
                    <a:lnTo>
                      <a:pt x="445" y="276"/>
                    </a:lnTo>
                    <a:lnTo>
                      <a:pt x="445" y="276"/>
                    </a:lnTo>
                    <a:lnTo>
                      <a:pt x="449" y="276"/>
                    </a:lnTo>
                    <a:lnTo>
                      <a:pt x="451" y="276"/>
                    </a:lnTo>
                    <a:lnTo>
                      <a:pt x="451" y="274"/>
                    </a:lnTo>
                    <a:lnTo>
                      <a:pt x="451" y="268"/>
                    </a:lnTo>
                    <a:lnTo>
                      <a:pt x="449" y="266"/>
                    </a:lnTo>
                    <a:lnTo>
                      <a:pt x="447" y="266"/>
                    </a:lnTo>
                    <a:lnTo>
                      <a:pt x="447" y="266"/>
                    </a:lnTo>
                    <a:lnTo>
                      <a:pt x="447" y="268"/>
                    </a:lnTo>
                    <a:lnTo>
                      <a:pt x="447" y="268"/>
                    </a:lnTo>
                    <a:lnTo>
                      <a:pt x="447" y="270"/>
                    </a:lnTo>
                    <a:lnTo>
                      <a:pt x="447" y="270"/>
                    </a:lnTo>
                    <a:lnTo>
                      <a:pt x="445" y="264"/>
                    </a:lnTo>
                    <a:lnTo>
                      <a:pt x="443" y="255"/>
                    </a:lnTo>
                    <a:lnTo>
                      <a:pt x="441" y="251"/>
                    </a:lnTo>
                    <a:lnTo>
                      <a:pt x="441" y="247"/>
                    </a:lnTo>
                    <a:lnTo>
                      <a:pt x="443" y="243"/>
                    </a:lnTo>
                    <a:lnTo>
                      <a:pt x="443" y="237"/>
                    </a:lnTo>
                    <a:lnTo>
                      <a:pt x="447" y="226"/>
                    </a:lnTo>
                    <a:lnTo>
                      <a:pt x="447" y="222"/>
                    </a:lnTo>
                    <a:lnTo>
                      <a:pt x="449" y="222"/>
                    </a:lnTo>
                    <a:lnTo>
                      <a:pt x="449" y="217"/>
                    </a:lnTo>
                    <a:lnTo>
                      <a:pt x="449" y="217"/>
                    </a:lnTo>
                    <a:lnTo>
                      <a:pt x="449" y="217"/>
                    </a:lnTo>
                    <a:lnTo>
                      <a:pt x="445" y="217"/>
                    </a:lnTo>
                    <a:lnTo>
                      <a:pt x="443" y="217"/>
                    </a:lnTo>
                    <a:lnTo>
                      <a:pt x="441" y="217"/>
                    </a:lnTo>
                    <a:lnTo>
                      <a:pt x="441" y="217"/>
                    </a:lnTo>
                    <a:lnTo>
                      <a:pt x="441" y="217"/>
                    </a:lnTo>
                    <a:lnTo>
                      <a:pt x="439" y="217"/>
                    </a:lnTo>
                    <a:lnTo>
                      <a:pt x="439" y="217"/>
                    </a:lnTo>
                    <a:lnTo>
                      <a:pt x="439" y="217"/>
                    </a:lnTo>
                    <a:lnTo>
                      <a:pt x="437" y="215"/>
                    </a:lnTo>
                    <a:lnTo>
                      <a:pt x="437" y="215"/>
                    </a:lnTo>
                    <a:lnTo>
                      <a:pt x="435" y="215"/>
                    </a:lnTo>
                    <a:lnTo>
                      <a:pt x="435" y="215"/>
                    </a:lnTo>
                    <a:lnTo>
                      <a:pt x="435" y="213"/>
                    </a:lnTo>
                    <a:lnTo>
                      <a:pt x="435" y="213"/>
                    </a:lnTo>
                    <a:lnTo>
                      <a:pt x="435" y="211"/>
                    </a:lnTo>
                    <a:lnTo>
                      <a:pt x="435" y="211"/>
                    </a:lnTo>
                    <a:lnTo>
                      <a:pt x="437" y="209"/>
                    </a:lnTo>
                    <a:lnTo>
                      <a:pt x="437" y="209"/>
                    </a:lnTo>
                    <a:lnTo>
                      <a:pt x="435" y="207"/>
                    </a:lnTo>
                    <a:lnTo>
                      <a:pt x="435" y="207"/>
                    </a:lnTo>
                    <a:lnTo>
                      <a:pt x="435" y="205"/>
                    </a:lnTo>
                    <a:lnTo>
                      <a:pt x="435" y="205"/>
                    </a:lnTo>
                    <a:lnTo>
                      <a:pt x="433" y="205"/>
                    </a:lnTo>
                    <a:lnTo>
                      <a:pt x="433" y="203"/>
                    </a:lnTo>
                    <a:lnTo>
                      <a:pt x="433" y="203"/>
                    </a:lnTo>
                    <a:lnTo>
                      <a:pt x="433" y="203"/>
                    </a:lnTo>
                    <a:lnTo>
                      <a:pt x="433" y="201"/>
                    </a:lnTo>
                    <a:lnTo>
                      <a:pt x="431" y="199"/>
                    </a:lnTo>
                    <a:lnTo>
                      <a:pt x="431" y="199"/>
                    </a:lnTo>
                    <a:lnTo>
                      <a:pt x="431" y="198"/>
                    </a:lnTo>
                    <a:lnTo>
                      <a:pt x="431" y="198"/>
                    </a:lnTo>
                    <a:lnTo>
                      <a:pt x="433" y="196"/>
                    </a:lnTo>
                    <a:lnTo>
                      <a:pt x="433" y="196"/>
                    </a:lnTo>
                    <a:lnTo>
                      <a:pt x="433" y="196"/>
                    </a:lnTo>
                    <a:lnTo>
                      <a:pt x="433" y="196"/>
                    </a:lnTo>
                    <a:lnTo>
                      <a:pt x="435" y="196"/>
                    </a:lnTo>
                    <a:lnTo>
                      <a:pt x="435" y="198"/>
                    </a:lnTo>
                    <a:lnTo>
                      <a:pt x="437" y="198"/>
                    </a:lnTo>
                    <a:lnTo>
                      <a:pt x="437" y="199"/>
                    </a:lnTo>
                    <a:lnTo>
                      <a:pt x="439" y="199"/>
                    </a:lnTo>
                    <a:lnTo>
                      <a:pt x="443" y="199"/>
                    </a:lnTo>
                    <a:lnTo>
                      <a:pt x="443" y="199"/>
                    </a:lnTo>
                    <a:lnTo>
                      <a:pt x="445" y="199"/>
                    </a:lnTo>
                    <a:lnTo>
                      <a:pt x="445" y="199"/>
                    </a:lnTo>
                    <a:lnTo>
                      <a:pt x="445" y="201"/>
                    </a:lnTo>
                    <a:lnTo>
                      <a:pt x="443" y="201"/>
                    </a:lnTo>
                    <a:lnTo>
                      <a:pt x="441" y="203"/>
                    </a:lnTo>
                    <a:lnTo>
                      <a:pt x="441" y="203"/>
                    </a:lnTo>
                    <a:lnTo>
                      <a:pt x="441" y="205"/>
                    </a:lnTo>
                    <a:lnTo>
                      <a:pt x="443" y="205"/>
                    </a:lnTo>
                    <a:lnTo>
                      <a:pt x="443" y="205"/>
                    </a:lnTo>
                    <a:lnTo>
                      <a:pt x="445" y="205"/>
                    </a:lnTo>
                    <a:lnTo>
                      <a:pt x="445" y="207"/>
                    </a:lnTo>
                    <a:lnTo>
                      <a:pt x="445" y="207"/>
                    </a:lnTo>
                    <a:lnTo>
                      <a:pt x="447" y="207"/>
                    </a:lnTo>
                    <a:lnTo>
                      <a:pt x="449" y="203"/>
                    </a:lnTo>
                    <a:lnTo>
                      <a:pt x="451" y="203"/>
                    </a:lnTo>
                    <a:lnTo>
                      <a:pt x="454" y="201"/>
                    </a:lnTo>
                    <a:lnTo>
                      <a:pt x="454" y="201"/>
                    </a:lnTo>
                    <a:lnTo>
                      <a:pt x="454" y="201"/>
                    </a:lnTo>
                    <a:lnTo>
                      <a:pt x="454" y="199"/>
                    </a:lnTo>
                    <a:lnTo>
                      <a:pt x="456" y="199"/>
                    </a:lnTo>
                    <a:lnTo>
                      <a:pt x="454" y="194"/>
                    </a:lnTo>
                    <a:lnTo>
                      <a:pt x="456" y="194"/>
                    </a:lnTo>
                    <a:lnTo>
                      <a:pt x="456" y="192"/>
                    </a:lnTo>
                    <a:lnTo>
                      <a:pt x="460" y="188"/>
                    </a:lnTo>
                    <a:lnTo>
                      <a:pt x="464" y="178"/>
                    </a:lnTo>
                    <a:lnTo>
                      <a:pt x="464" y="178"/>
                    </a:lnTo>
                    <a:lnTo>
                      <a:pt x="466" y="177"/>
                    </a:lnTo>
                    <a:lnTo>
                      <a:pt x="473" y="165"/>
                    </a:lnTo>
                    <a:lnTo>
                      <a:pt x="470" y="167"/>
                    </a:lnTo>
                    <a:lnTo>
                      <a:pt x="468" y="169"/>
                    </a:lnTo>
                    <a:lnTo>
                      <a:pt x="466" y="169"/>
                    </a:lnTo>
                    <a:lnTo>
                      <a:pt x="466" y="167"/>
                    </a:lnTo>
                    <a:lnTo>
                      <a:pt x="473" y="163"/>
                    </a:lnTo>
                    <a:lnTo>
                      <a:pt x="475" y="161"/>
                    </a:lnTo>
                    <a:lnTo>
                      <a:pt x="479" y="154"/>
                    </a:lnTo>
                    <a:lnTo>
                      <a:pt x="481" y="154"/>
                    </a:lnTo>
                    <a:lnTo>
                      <a:pt x="481" y="152"/>
                    </a:lnTo>
                    <a:lnTo>
                      <a:pt x="483" y="152"/>
                    </a:lnTo>
                    <a:lnTo>
                      <a:pt x="485" y="150"/>
                    </a:lnTo>
                    <a:lnTo>
                      <a:pt x="487" y="144"/>
                    </a:lnTo>
                    <a:lnTo>
                      <a:pt x="489" y="142"/>
                    </a:lnTo>
                    <a:lnTo>
                      <a:pt x="492" y="135"/>
                    </a:lnTo>
                    <a:lnTo>
                      <a:pt x="494" y="127"/>
                    </a:lnTo>
                    <a:lnTo>
                      <a:pt x="496" y="125"/>
                    </a:lnTo>
                    <a:lnTo>
                      <a:pt x="496" y="123"/>
                    </a:lnTo>
                    <a:lnTo>
                      <a:pt x="498" y="118"/>
                    </a:lnTo>
                    <a:lnTo>
                      <a:pt x="498" y="116"/>
                    </a:lnTo>
                    <a:lnTo>
                      <a:pt x="500" y="112"/>
                    </a:lnTo>
                    <a:lnTo>
                      <a:pt x="502" y="110"/>
                    </a:lnTo>
                    <a:lnTo>
                      <a:pt x="502" y="104"/>
                    </a:lnTo>
                    <a:lnTo>
                      <a:pt x="504" y="99"/>
                    </a:lnTo>
                    <a:lnTo>
                      <a:pt x="506" y="89"/>
                    </a:lnTo>
                    <a:lnTo>
                      <a:pt x="506" y="74"/>
                    </a:lnTo>
                    <a:lnTo>
                      <a:pt x="508" y="64"/>
                    </a:lnTo>
                    <a:lnTo>
                      <a:pt x="508" y="59"/>
                    </a:lnTo>
                    <a:lnTo>
                      <a:pt x="510" y="59"/>
                    </a:lnTo>
                    <a:lnTo>
                      <a:pt x="512" y="55"/>
                    </a:lnTo>
                    <a:lnTo>
                      <a:pt x="512" y="55"/>
                    </a:lnTo>
                    <a:lnTo>
                      <a:pt x="512" y="51"/>
                    </a:lnTo>
                    <a:lnTo>
                      <a:pt x="512" y="49"/>
                    </a:lnTo>
                    <a:lnTo>
                      <a:pt x="512" y="47"/>
                    </a:lnTo>
                    <a:lnTo>
                      <a:pt x="513" y="45"/>
                    </a:lnTo>
                    <a:lnTo>
                      <a:pt x="513" y="41"/>
                    </a:lnTo>
                    <a:lnTo>
                      <a:pt x="515" y="40"/>
                    </a:lnTo>
                    <a:lnTo>
                      <a:pt x="513" y="40"/>
                    </a:lnTo>
                    <a:lnTo>
                      <a:pt x="512" y="40"/>
                    </a:lnTo>
                    <a:lnTo>
                      <a:pt x="513" y="38"/>
                    </a:lnTo>
                    <a:lnTo>
                      <a:pt x="513" y="36"/>
                    </a:lnTo>
                    <a:lnTo>
                      <a:pt x="513" y="36"/>
                    </a:lnTo>
                    <a:lnTo>
                      <a:pt x="515" y="36"/>
                    </a:lnTo>
                    <a:lnTo>
                      <a:pt x="515" y="32"/>
                    </a:lnTo>
                    <a:lnTo>
                      <a:pt x="515" y="26"/>
                    </a:lnTo>
                    <a:lnTo>
                      <a:pt x="515" y="22"/>
                    </a:lnTo>
                    <a:lnTo>
                      <a:pt x="515" y="1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09" name="Freeform 11">
                <a:extLst>
                  <a:ext uri="{FF2B5EF4-FFF2-40B4-BE49-F238E27FC236}">
                    <a16:creationId xmlns:a16="http://schemas.microsoft.com/office/drawing/2014/main" id="{2AF01BFB-0197-498E-A5E8-6C6B166ADB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5544" y="3554886"/>
                <a:ext cx="179388" cy="230188"/>
              </a:xfrm>
              <a:custGeom>
                <a:avLst/>
                <a:gdLst>
                  <a:gd name="T0" fmla="*/ 107 w 113"/>
                  <a:gd name="T1" fmla="*/ 108 h 145"/>
                  <a:gd name="T2" fmla="*/ 103 w 113"/>
                  <a:gd name="T3" fmla="*/ 105 h 145"/>
                  <a:gd name="T4" fmla="*/ 100 w 113"/>
                  <a:gd name="T5" fmla="*/ 103 h 145"/>
                  <a:gd name="T6" fmla="*/ 96 w 113"/>
                  <a:gd name="T7" fmla="*/ 95 h 145"/>
                  <a:gd name="T8" fmla="*/ 96 w 113"/>
                  <a:gd name="T9" fmla="*/ 87 h 145"/>
                  <a:gd name="T10" fmla="*/ 94 w 113"/>
                  <a:gd name="T11" fmla="*/ 82 h 145"/>
                  <a:gd name="T12" fmla="*/ 94 w 113"/>
                  <a:gd name="T13" fmla="*/ 78 h 145"/>
                  <a:gd name="T14" fmla="*/ 98 w 113"/>
                  <a:gd name="T15" fmla="*/ 70 h 145"/>
                  <a:gd name="T16" fmla="*/ 107 w 113"/>
                  <a:gd name="T17" fmla="*/ 38 h 145"/>
                  <a:gd name="T18" fmla="*/ 107 w 113"/>
                  <a:gd name="T19" fmla="*/ 34 h 145"/>
                  <a:gd name="T20" fmla="*/ 103 w 113"/>
                  <a:gd name="T21" fmla="*/ 28 h 145"/>
                  <a:gd name="T22" fmla="*/ 102 w 113"/>
                  <a:gd name="T23" fmla="*/ 25 h 145"/>
                  <a:gd name="T24" fmla="*/ 103 w 113"/>
                  <a:gd name="T25" fmla="*/ 17 h 145"/>
                  <a:gd name="T26" fmla="*/ 103 w 113"/>
                  <a:gd name="T27" fmla="*/ 17 h 145"/>
                  <a:gd name="T28" fmla="*/ 98 w 113"/>
                  <a:gd name="T29" fmla="*/ 11 h 145"/>
                  <a:gd name="T30" fmla="*/ 90 w 113"/>
                  <a:gd name="T31" fmla="*/ 8 h 145"/>
                  <a:gd name="T32" fmla="*/ 79 w 113"/>
                  <a:gd name="T33" fmla="*/ 4 h 145"/>
                  <a:gd name="T34" fmla="*/ 75 w 113"/>
                  <a:gd name="T35" fmla="*/ 0 h 145"/>
                  <a:gd name="T36" fmla="*/ 67 w 113"/>
                  <a:gd name="T37" fmla="*/ 8 h 145"/>
                  <a:gd name="T38" fmla="*/ 63 w 113"/>
                  <a:gd name="T39" fmla="*/ 11 h 145"/>
                  <a:gd name="T40" fmla="*/ 58 w 113"/>
                  <a:gd name="T41" fmla="*/ 11 h 145"/>
                  <a:gd name="T42" fmla="*/ 50 w 113"/>
                  <a:gd name="T43" fmla="*/ 17 h 145"/>
                  <a:gd name="T44" fmla="*/ 48 w 113"/>
                  <a:gd name="T45" fmla="*/ 19 h 145"/>
                  <a:gd name="T46" fmla="*/ 21 w 113"/>
                  <a:gd name="T47" fmla="*/ 23 h 145"/>
                  <a:gd name="T48" fmla="*/ 20 w 113"/>
                  <a:gd name="T49" fmla="*/ 23 h 145"/>
                  <a:gd name="T50" fmla="*/ 14 w 113"/>
                  <a:gd name="T51" fmla="*/ 23 h 145"/>
                  <a:gd name="T52" fmla="*/ 12 w 113"/>
                  <a:gd name="T53" fmla="*/ 30 h 145"/>
                  <a:gd name="T54" fmla="*/ 16 w 113"/>
                  <a:gd name="T55" fmla="*/ 36 h 145"/>
                  <a:gd name="T56" fmla="*/ 20 w 113"/>
                  <a:gd name="T57" fmla="*/ 38 h 145"/>
                  <a:gd name="T58" fmla="*/ 21 w 113"/>
                  <a:gd name="T59" fmla="*/ 40 h 145"/>
                  <a:gd name="T60" fmla="*/ 20 w 113"/>
                  <a:gd name="T61" fmla="*/ 47 h 145"/>
                  <a:gd name="T62" fmla="*/ 18 w 113"/>
                  <a:gd name="T63" fmla="*/ 55 h 145"/>
                  <a:gd name="T64" fmla="*/ 6 w 113"/>
                  <a:gd name="T65" fmla="*/ 80 h 145"/>
                  <a:gd name="T66" fmla="*/ 2 w 113"/>
                  <a:gd name="T67" fmla="*/ 89 h 145"/>
                  <a:gd name="T68" fmla="*/ 4 w 113"/>
                  <a:gd name="T69" fmla="*/ 93 h 145"/>
                  <a:gd name="T70" fmla="*/ 4 w 113"/>
                  <a:gd name="T71" fmla="*/ 95 h 145"/>
                  <a:gd name="T72" fmla="*/ 4 w 113"/>
                  <a:gd name="T73" fmla="*/ 97 h 145"/>
                  <a:gd name="T74" fmla="*/ 4 w 113"/>
                  <a:gd name="T75" fmla="*/ 99 h 145"/>
                  <a:gd name="T76" fmla="*/ 2 w 113"/>
                  <a:gd name="T77" fmla="*/ 103 h 145"/>
                  <a:gd name="T78" fmla="*/ 2 w 113"/>
                  <a:gd name="T79" fmla="*/ 106 h 145"/>
                  <a:gd name="T80" fmla="*/ 4 w 113"/>
                  <a:gd name="T81" fmla="*/ 110 h 145"/>
                  <a:gd name="T82" fmla="*/ 4 w 113"/>
                  <a:gd name="T83" fmla="*/ 116 h 145"/>
                  <a:gd name="T84" fmla="*/ 2 w 113"/>
                  <a:gd name="T85" fmla="*/ 124 h 145"/>
                  <a:gd name="T86" fmla="*/ 8 w 113"/>
                  <a:gd name="T87" fmla="*/ 127 h 145"/>
                  <a:gd name="T88" fmla="*/ 10 w 113"/>
                  <a:gd name="T89" fmla="*/ 131 h 145"/>
                  <a:gd name="T90" fmla="*/ 10 w 113"/>
                  <a:gd name="T91" fmla="*/ 135 h 145"/>
                  <a:gd name="T92" fmla="*/ 12 w 113"/>
                  <a:gd name="T93" fmla="*/ 137 h 145"/>
                  <a:gd name="T94" fmla="*/ 20 w 113"/>
                  <a:gd name="T95" fmla="*/ 137 h 145"/>
                  <a:gd name="T96" fmla="*/ 29 w 113"/>
                  <a:gd name="T97" fmla="*/ 137 h 145"/>
                  <a:gd name="T98" fmla="*/ 42 w 113"/>
                  <a:gd name="T99" fmla="*/ 145 h 145"/>
                  <a:gd name="T100" fmla="*/ 44 w 113"/>
                  <a:gd name="T101" fmla="*/ 145 h 145"/>
                  <a:gd name="T102" fmla="*/ 50 w 113"/>
                  <a:gd name="T103" fmla="*/ 145 h 145"/>
                  <a:gd name="T104" fmla="*/ 56 w 113"/>
                  <a:gd name="T105" fmla="*/ 141 h 145"/>
                  <a:gd name="T106" fmla="*/ 69 w 113"/>
                  <a:gd name="T107" fmla="*/ 131 h 145"/>
                  <a:gd name="T108" fmla="*/ 84 w 113"/>
                  <a:gd name="T109" fmla="*/ 133 h 145"/>
                  <a:gd name="T110" fmla="*/ 86 w 113"/>
                  <a:gd name="T111" fmla="*/ 135 h 145"/>
                  <a:gd name="T112" fmla="*/ 92 w 113"/>
                  <a:gd name="T113" fmla="*/ 137 h 145"/>
                  <a:gd name="T114" fmla="*/ 92 w 113"/>
                  <a:gd name="T115" fmla="*/ 135 h 145"/>
                  <a:gd name="T116" fmla="*/ 96 w 113"/>
                  <a:gd name="T117" fmla="*/ 127 h 145"/>
                  <a:gd name="T118" fmla="*/ 102 w 113"/>
                  <a:gd name="T119" fmla="*/ 122 h 145"/>
                  <a:gd name="T120" fmla="*/ 111 w 113"/>
                  <a:gd name="T121" fmla="*/ 118 h 145"/>
                  <a:gd name="T122" fmla="*/ 113 w 113"/>
                  <a:gd name="T123" fmla="*/ 11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3" h="145">
                    <a:moveTo>
                      <a:pt x="109" y="110"/>
                    </a:moveTo>
                    <a:lnTo>
                      <a:pt x="107" y="108"/>
                    </a:lnTo>
                    <a:lnTo>
                      <a:pt x="105" y="105"/>
                    </a:lnTo>
                    <a:lnTo>
                      <a:pt x="103" y="105"/>
                    </a:lnTo>
                    <a:lnTo>
                      <a:pt x="102" y="105"/>
                    </a:lnTo>
                    <a:lnTo>
                      <a:pt x="100" y="103"/>
                    </a:lnTo>
                    <a:lnTo>
                      <a:pt x="98" y="99"/>
                    </a:lnTo>
                    <a:lnTo>
                      <a:pt x="96" y="95"/>
                    </a:lnTo>
                    <a:lnTo>
                      <a:pt x="96" y="91"/>
                    </a:lnTo>
                    <a:lnTo>
                      <a:pt x="96" y="87"/>
                    </a:lnTo>
                    <a:lnTo>
                      <a:pt x="96" y="86"/>
                    </a:lnTo>
                    <a:lnTo>
                      <a:pt x="94" y="82"/>
                    </a:lnTo>
                    <a:lnTo>
                      <a:pt x="94" y="80"/>
                    </a:lnTo>
                    <a:lnTo>
                      <a:pt x="94" y="78"/>
                    </a:lnTo>
                    <a:lnTo>
                      <a:pt x="96" y="74"/>
                    </a:lnTo>
                    <a:lnTo>
                      <a:pt x="98" y="70"/>
                    </a:lnTo>
                    <a:lnTo>
                      <a:pt x="102" y="65"/>
                    </a:lnTo>
                    <a:lnTo>
                      <a:pt x="107" y="38"/>
                    </a:lnTo>
                    <a:lnTo>
                      <a:pt x="107" y="36"/>
                    </a:lnTo>
                    <a:lnTo>
                      <a:pt x="107" y="34"/>
                    </a:lnTo>
                    <a:lnTo>
                      <a:pt x="105" y="30"/>
                    </a:lnTo>
                    <a:lnTo>
                      <a:pt x="103" y="28"/>
                    </a:lnTo>
                    <a:lnTo>
                      <a:pt x="102" y="27"/>
                    </a:lnTo>
                    <a:lnTo>
                      <a:pt x="102" y="25"/>
                    </a:lnTo>
                    <a:lnTo>
                      <a:pt x="103" y="19"/>
                    </a:lnTo>
                    <a:lnTo>
                      <a:pt x="103" y="17"/>
                    </a:lnTo>
                    <a:lnTo>
                      <a:pt x="103" y="17"/>
                    </a:lnTo>
                    <a:lnTo>
                      <a:pt x="103" y="17"/>
                    </a:lnTo>
                    <a:lnTo>
                      <a:pt x="102" y="15"/>
                    </a:lnTo>
                    <a:lnTo>
                      <a:pt x="98" y="11"/>
                    </a:lnTo>
                    <a:lnTo>
                      <a:pt x="92" y="8"/>
                    </a:lnTo>
                    <a:lnTo>
                      <a:pt x="90" y="8"/>
                    </a:lnTo>
                    <a:lnTo>
                      <a:pt x="82" y="6"/>
                    </a:lnTo>
                    <a:lnTo>
                      <a:pt x="79" y="4"/>
                    </a:lnTo>
                    <a:lnTo>
                      <a:pt x="77" y="2"/>
                    </a:lnTo>
                    <a:lnTo>
                      <a:pt x="75" y="0"/>
                    </a:lnTo>
                    <a:lnTo>
                      <a:pt x="69" y="6"/>
                    </a:lnTo>
                    <a:lnTo>
                      <a:pt x="67" y="8"/>
                    </a:lnTo>
                    <a:lnTo>
                      <a:pt x="65" y="9"/>
                    </a:lnTo>
                    <a:lnTo>
                      <a:pt x="63" y="11"/>
                    </a:lnTo>
                    <a:lnTo>
                      <a:pt x="60" y="11"/>
                    </a:lnTo>
                    <a:lnTo>
                      <a:pt x="58" y="11"/>
                    </a:lnTo>
                    <a:lnTo>
                      <a:pt x="50" y="17"/>
                    </a:lnTo>
                    <a:lnTo>
                      <a:pt x="50" y="17"/>
                    </a:lnTo>
                    <a:lnTo>
                      <a:pt x="50" y="17"/>
                    </a:lnTo>
                    <a:lnTo>
                      <a:pt x="48" y="19"/>
                    </a:lnTo>
                    <a:lnTo>
                      <a:pt x="25" y="23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0" y="23"/>
                    </a:lnTo>
                    <a:lnTo>
                      <a:pt x="16" y="23"/>
                    </a:lnTo>
                    <a:lnTo>
                      <a:pt x="14" y="23"/>
                    </a:lnTo>
                    <a:lnTo>
                      <a:pt x="12" y="27"/>
                    </a:lnTo>
                    <a:lnTo>
                      <a:pt x="12" y="30"/>
                    </a:lnTo>
                    <a:lnTo>
                      <a:pt x="14" y="32"/>
                    </a:lnTo>
                    <a:lnTo>
                      <a:pt x="16" y="36"/>
                    </a:lnTo>
                    <a:lnTo>
                      <a:pt x="18" y="36"/>
                    </a:lnTo>
                    <a:lnTo>
                      <a:pt x="20" y="38"/>
                    </a:lnTo>
                    <a:lnTo>
                      <a:pt x="21" y="38"/>
                    </a:lnTo>
                    <a:lnTo>
                      <a:pt x="21" y="40"/>
                    </a:lnTo>
                    <a:lnTo>
                      <a:pt x="20" y="42"/>
                    </a:lnTo>
                    <a:lnTo>
                      <a:pt x="20" y="47"/>
                    </a:lnTo>
                    <a:lnTo>
                      <a:pt x="20" y="51"/>
                    </a:lnTo>
                    <a:lnTo>
                      <a:pt x="18" y="55"/>
                    </a:lnTo>
                    <a:lnTo>
                      <a:pt x="14" y="67"/>
                    </a:lnTo>
                    <a:lnTo>
                      <a:pt x="6" y="80"/>
                    </a:lnTo>
                    <a:lnTo>
                      <a:pt x="2" y="87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4" y="93"/>
                    </a:lnTo>
                    <a:lnTo>
                      <a:pt x="4" y="93"/>
                    </a:lnTo>
                    <a:lnTo>
                      <a:pt x="4" y="95"/>
                    </a:lnTo>
                    <a:lnTo>
                      <a:pt x="6" y="95"/>
                    </a:lnTo>
                    <a:lnTo>
                      <a:pt x="4" y="97"/>
                    </a:lnTo>
                    <a:lnTo>
                      <a:pt x="4" y="97"/>
                    </a:lnTo>
                    <a:lnTo>
                      <a:pt x="4" y="99"/>
                    </a:lnTo>
                    <a:lnTo>
                      <a:pt x="4" y="99"/>
                    </a:lnTo>
                    <a:lnTo>
                      <a:pt x="2" y="103"/>
                    </a:lnTo>
                    <a:lnTo>
                      <a:pt x="2" y="105"/>
                    </a:lnTo>
                    <a:lnTo>
                      <a:pt x="2" y="106"/>
                    </a:lnTo>
                    <a:lnTo>
                      <a:pt x="2" y="106"/>
                    </a:lnTo>
                    <a:lnTo>
                      <a:pt x="4" y="110"/>
                    </a:lnTo>
                    <a:lnTo>
                      <a:pt x="4" y="112"/>
                    </a:lnTo>
                    <a:lnTo>
                      <a:pt x="4" y="116"/>
                    </a:lnTo>
                    <a:lnTo>
                      <a:pt x="0" y="122"/>
                    </a:lnTo>
                    <a:lnTo>
                      <a:pt x="2" y="124"/>
                    </a:lnTo>
                    <a:lnTo>
                      <a:pt x="4" y="126"/>
                    </a:lnTo>
                    <a:lnTo>
                      <a:pt x="8" y="127"/>
                    </a:lnTo>
                    <a:lnTo>
                      <a:pt x="10" y="129"/>
                    </a:lnTo>
                    <a:lnTo>
                      <a:pt x="10" y="131"/>
                    </a:lnTo>
                    <a:lnTo>
                      <a:pt x="10" y="133"/>
                    </a:lnTo>
                    <a:lnTo>
                      <a:pt x="10" y="135"/>
                    </a:lnTo>
                    <a:lnTo>
                      <a:pt x="12" y="135"/>
                    </a:lnTo>
                    <a:lnTo>
                      <a:pt x="12" y="137"/>
                    </a:lnTo>
                    <a:lnTo>
                      <a:pt x="16" y="137"/>
                    </a:lnTo>
                    <a:lnTo>
                      <a:pt x="20" y="137"/>
                    </a:lnTo>
                    <a:lnTo>
                      <a:pt x="25" y="137"/>
                    </a:lnTo>
                    <a:lnTo>
                      <a:pt x="29" y="137"/>
                    </a:lnTo>
                    <a:lnTo>
                      <a:pt x="42" y="143"/>
                    </a:lnTo>
                    <a:lnTo>
                      <a:pt x="42" y="145"/>
                    </a:lnTo>
                    <a:lnTo>
                      <a:pt x="44" y="145"/>
                    </a:lnTo>
                    <a:lnTo>
                      <a:pt x="44" y="145"/>
                    </a:lnTo>
                    <a:lnTo>
                      <a:pt x="46" y="145"/>
                    </a:lnTo>
                    <a:lnTo>
                      <a:pt x="50" y="145"/>
                    </a:lnTo>
                    <a:lnTo>
                      <a:pt x="54" y="143"/>
                    </a:lnTo>
                    <a:lnTo>
                      <a:pt x="56" y="141"/>
                    </a:lnTo>
                    <a:lnTo>
                      <a:pt x="65" y="133"/>
                    </a:lnTo>
                    <a:lnTo>
                      <a:pt x="69" y="131"/>
                    </a:lnTo>
                    <a:lnTo>
                      <a:pt x="77" y="133"/>
                    </a:lnTo>
                    <a:lnTo>
                      <a:pt x="84" y="133"/>
                    </a:lnTo>
                    <a:lnTo>
                      <a:pt x="84" y="133"/>
                    </a:lnTo>
                    <a:lnTo>
                      <a:pt x="86" y="135"/>
                    </a:lnTo>
                    <a:lnTo>
                      <a:pt x="90" y="137"/>
                    </a:lnTo>
                    <a:lnTo>
                      <a:pt x="92" y="137"/>
                    </a:lnTo>
                    <a:lnTo>
                      <a:pt x="92" y="137"/>
                    </a:lnTo>
                    <a:lnTo>
                      <a:pt x="92" y="135"/>
                    </a:lnTo>
                    <a:lnTo>
                      <a:pt x="92" y="131"/>
                    </a:lnTo>
                    <a:lnTo>
                      <a:pt x="96" y="127"/>
                    </a:lnTo>
                    <a:lnTo>
                      <a:pt x="98" y="124"/>
                    </a:lnTo>
                    <a:lnTo>
                      <a:pt x="102" y="122"/>
                    </a:lnTo>
                    <a:lnTo>
                      <a:pt x="109" y="120"/>
                    </a:lnTo>
                    <a:lnTo>
                      <a:pt x="111" y="118"/>
                    </a:lnTo>
                    <a:lnTo>
                      <a:pt x="111" y="116"/>
                    </a:lnTo>
                    <a:lnTo>
                      <a:pt x="113" y="112"/>
                    </a:lnTo>
                    <a:lnTo>
                      <a:pt x="109" y="11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0" name="Freeform 12">
                <a:extLst>
                  <a:ext uri="{FF2B5EF4-FFF2-40B4-BE49-F238E27FC236}">
                    <a16:creationId xmlns:a16="http://schemas.microsoft.com/office/drawing/2014/main" id="{3E596296-43A1-4625-9118-79F35DE144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6194" y="3077049"/>
                <a:ext cx="1746250" cy="1595438"/>
              </a:xfrm>
              <a:custGeom>
                <a:avLst/>
                <a:gdLst>
                  <a:gd name="T0" fmla="*/ 1070 w 1100"/>
                  <a:gd name="T1" fmla="*/ 472 h 1005"/>
                  <a:gd name="T2" fmla="*/ 993 w 1100"/>
                  <a:gd name="T3" fmla="*/ 489 h 1005"/>
                  <a:gd name="T4" fmla="*/ 1022 w 1100"/>
                  <a:gd name="T5" fmla="*/ 453 h 1005"/>
                  <a:gd name="T6" fmla="*/ 1024 w 1100"/>
                  <a:gd name="T7" fmla="*/ 423 h 1005"/>
                  <a:gd name="T8" fmla="*/ 986 w 1100"/>
                  <a:gd name="T9" fmla="*/ 373 h 1005"/>
                  <a:gd name="T10" fmla="*/ 967 w 1100"/>
                  <a:gd name="T11" fmla="*/ 345 h 1005"/>
                  <a:gd name="T12" fmla="*/ 934 w 1100"/>
                  <a:gd name="T13" fmla="*/ 358 h 1005"/>
                  <a:gd name="T14" fmla="*/ 936 w 1100"/>
                  <a:gd name="T15" fmla="*/ 295 h 1005"/>
                  <a:gd name="T16" fmla="*/ 902 w 1100"/>
                  <a:gd name="T17" fmla="*/ 314 h 1005"/>
                  <a:gd name="T18" fmla="*/ 873 w 1100"/>
                  <a:gd name="T19" fmla="*/ 301 h 1005"/>
                  <a:gd name="T20" fmla="*/ 862 w 1100"/>
                  <a:gd name="T21" fmla="*/ 297 h 1005"/>
                  <a:gd name="T22" fmla="*/ 839 w 1100"/>
                  <a:gd name="T23" fmla="*/ 314 h 1005"/>
                  <a:gd name="T24" fmla="*/ 814 w 1100"/>
                  <a:gd name="T25" fmla="*/ 324 h 1005"/>
                  <a:gd name="T26" fmla="*/ 812 w 1100"/>
                  <a:gd name="T27" fmla="*/ 301 h 1005"/>
                  <a:gd name="T28" fmla="*/ 793 w 1100"/>
                  <a:gd name="T29" fmla="*/ 255 h 1005"/>
                  <a:gd name="T30" fmla="*/ 759 w 1100"/>
                  <a:gd name="T31" fmla="*/ 179 h 1005"/>
                  <a:gd name="T32" fmla="*/ 742 w 1100"/>
                  <a:gd name="T33" fmla="*/ 137 h 1005"/>
                  <a:gd name="T34" fmla="*/ 709 w 1100"/>
                  <a:gd name="T35" fmla="*/ 139 h 1005"/>
                  <a:gd name="T36" fmla="*/ 669 w 1100"/>
                  <a:gd name="T37" fmla="*/ 118 h 1005"/>
                  <a:gd name="T38" fmla="*/ 637 w 1100"/>
                  <a:gd name="T39" fmla="*/ 107 h 1005"/>
                  <a:gd name="T40" fmla="*/ 631 w 1100"/>
                  <a:gd name="T41" fmla="*/ 69 h 1005"/>
                  <a:gd name="T42" fmla="*/ 564 w 1100"/>
                  <a:gd name="T43" fmla="*/ 12 h 1005"/>
                  <a:gd name="T44" fmla="*/ 336 w 1100"/>
                  <a:gd name="T45" fmla="*/ 267 h 1005"/>
                  <a:gd name="T46" fmla="*/ 124 w 1100"/>
                  <a:gd name="T47" fmla="*/ 310 h 1005"/>
                  <a:gd name="T48" fmla="*/ 86 w 1100"/>
                  <a:gd name="T49" fmla="*/ 529 h 1005"/>
                  <a:gd name="T50" fmla="*/ 149 w 1100"/>
                  <a:gd name="T51" fmla="*/ 661 h 1005"/>
                  <a:gd name="T52" fmla="*/ 246 w 1100"/>
                  <a:gd name="T53" fmla="*/ 780 h 1005"/>
                  <a:gd name="T54" fmla="*/ 311 w 1100"/>
                  <a:gd name="T55" fmla="*/ 782 h 1005"/>
                  <a:gd name="T56" fmla="*/ 356 w 1100"/>
                  <a:gd name="T57" fmla="*/ 798 h 1005"/>
                  <a:gd name="T58" fmla="*/ 381 w 1100"/>
                  <a:gd name="T59" fmla="*/ 805 h 1005"/>
                  <a:gd name="T60" fmla="*/ 438 w 1100"/>
                  <a:gd name="T61" fmla="*/ 817 h 1005"/>
                  <a:gd name="T62" fmla="*/ 465 w 1100"/>
                  <a:gd name="T63" fmla="*/ 822 h 1005"/>
                  <a:gd name="T64" fmla="*/ 463 w 1100"/>
                  <a:gd name="T65" fmla="*/ 860 h 1005"/>
                  <a:gd name="T66" fmla="*/ 488 w 1100"/>
                  <a:gd name="T67" fmla="*/ 891 h 1005"/>
                  <a:gd name="T68" fmla="*/ 515 w 1100"/>
                  <a:gd name="T69" fmla="*/ 925 h 1005"/>
                  <a:gd name="T70" fmla="*/ 561 w 1100"/>
                  <a:gd name="T71" fmla="*/ 961 h 1005"/>
                  <a:gd name="T72" fmla="*/ 612 w 1100"/>
                  <a:gd name="T73" fmla="*/ 1003 h 1005"/>
                  <a:gd name="T74" fmla="*/ 639 w 1100"/>
                  <a:gd name="T75" fmla="*/ 961 h 1005"/>
                  <a:gd name="T76" fmla="*/ 690 w 1100"/>
                  <a:gd name="T77" fmla="*/ 870 h 1005"/>
                  <a:gd name="T78" fmla="*/ 673 w 1100"/>
                  <a:gd name="T79" fmla="*/ 811 h 1005"/>
                  <a:gd name="T80" fmla="*/ 688 w 1100"/>
                  <a:gd name="T81" fmla="*/ 780 h 1005"/>
                  <a:gd name="T82" fmla="*/ 681 w 1100"/>
                  <a:gd name="T83" fmla="*/ 750 h 1005"/>
                  <a:gd name="T84" fmla="*/ 711 w 1100"/>
                  <a:gd name="T85" fmla="*/ 731 h 1005"/>
                  <a:gd name="T86" fmla="*/ 730 w 1100"/>
                  <a:gd name="T87" fmla="*/ 752 h 1005"/>
                  <a:gd name="T88" fmla="*/ 717 w 1100"/>
                  <a:gd name="T89" fmla="*/ 767 h 1005"/>
                  <a:gd name="T90" fmla="*/ 803 w 1100"/>
                  <a:gd name="T91" fmla="*/ 803 h 1005"/>
                  <a:gd name="T92" fmla="*/ 789 w 1100"/>
                  <a:gd name="T93" fmla="*/ 855 h 1005"/>
                  <a:gd name="T94" fmla="*/ 755 w 1100"/>
                  <a:gd name="T95" fmla="*/ 883 h 1005"/>
                  <a:gd name="T96" fmla="*/ 795 w 1100"/>
                  <a:gd name="T97" fmla="*/ 889 h 1005"/>
                  <a:gd name="T98" fmla="*/ 843 w 1100"/>
                  <a:gd name="T99" fmla="*/ 826 h 1005"/>
                  <a:gd name="T100" fmla="*/ 896 w 1100"/>
                  <a:gd name="T101" fmla="*/ 834 h 1005"/>
                  <a:gd name="T102" fmla="*/ 921 w 1100"/>
                  <a:gd name="T103" fmla="*/ 824 h 1005"/>
                  <a:gd name="T104" fmla="*/ 934 w 1100"/>
                  <a:gd name="T105" fmla="*/ 805 h 1005"/>
                  <a:gd name="T106" fmla="*/ 929 w 1100"/>
                  <a:gd name="T107" fmla="*/ 752 h 1005"/>
                  <a:gd name="T108" fmla="*/ 988 w 1100"/>
                  <a:gd name="T109" fmla="*/ 720 h 1005"/>
                  <a:gd name="T110" fmla="*/ 990 w 1100"/>
                  <a:gd name="T111" fmla="*/ 681 h 1005"/>
                  <a:gd name="T112" fmla="*/ 934 w 1100"/>
                  <a:gd name="T113" fmla="*/ 695 h 1005"/>
                  <a:gd name="T114" fmla="*/ 879 w 1100"/>
                  <a:gd name="T115" fmla="*/ 638 h 1005"/>
                  <a:gd name="T116" fmla="*/ 921 w 1100"/>
                  <a:gd name="T117" fmla="*/ 598 h 1005"/>
                  <a:gd name="T118" fmla="*/ 980 w 1100"/>
                  <a:gd name="T119" fmla="*/ 558 h 1005"/>
                  <a:gd name="T120" fmla="*/ 1047 w 1100"/>
                  <a:gd name="T121" fmla="*/ 514 h 1005"/>
                  <a:gd name="T122" fmla="*/ 1091 w 1100"/>
                  <a:gd name="T123" fmla="*/ 484 h 10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00" h="1005">
                    <a:moveTo>
                      <a:pt x="1100" y="468"/>
                    </a:moveTo>
                    <a:lnTo>
                      <a:pt x="1100" y="468"/>
                    </a:lnTo>
                    <a:lnTo>
                      <a:pt x="1100" y="468"/>
                    </a:lnTo>
                    <a:lnTo>
                      <a:pt x="1098" y="466"/>
                    </a:lnTo>
                    <a:lnTo>
                      <a:pt x="1098" y="466"/>
                    </a:lnTo>
                    <a:lnTo>
                      <a:pt x="1094" y="466"/>
                    </a:lnTo>
                    <a:lnTo>
                      <a:pt x="1094" y="466"/>
                    </a:lnTo>
                    <a:lnTo>
                      <a:pt x="1093" y="466"/>
                    </a:lnTo>
                    <a:lnTo>
                      <a:pt x="1091" y="465"/>
                    </a:lnTo>
                    <a:lnTo>
                      <a:pt x="1089" y="465"/>
                    </a:lnTo>
                    <a:lnTo>
                      <a:pt x="1085" y="465"/>
                    </a:lnTo>
                    <a:lnTo>
                      <a:pt x="1083" y="465"/>
                    </a:lnTo>
                    <a:lnTo>
                      <a:pt x="1081" y="466"/>
                    </a:lnTo>
                    <a:lnTo>
                      <a:pt x="1081" y="466"/>
                    </a:lnTo>
                    <a:lnTo>
                      <a:pt x="1079" y="468"/>
                    </a:lnTo>
                    <a:lnTo>
                      <a:pt x="1079" y="468"/>
                    </a:lnTo>
                    <a:lnTo>
                      <a:pt x="1079" y="470"/>
                    </a:lnTo>
                    <a:lnTo>
                      <a:pt x="1077" y="470"/>
                    </a:lnTo>
                    <a:lnTo>
                      <a:pt x="1077" y="470"/>
                    </a:lnTo>
                    <a:lnTo>
                      <a:pt x="1074" y="470"/>
                    </a:lnTo>
                    <a:lnTo>
                      <a:pt x="1074" y="470"/>
                    </a:lnTo>
                    <a:lnTo>
                      <a:pt x="1074" y="472"/>
                    </a:lnTo>
                    <a:lnTo>
                      <a:pt x="1072" y="472"/>
                    </a:lnTo>
                    <a:lnTo>
                      <a:pt x="1072" y="474"/>
                    </a:lnTo>
                    <a:lnTo>
                      <a:pt x="1072" y="476"/>
                    </a:lnTo>
                    <a:lnTo>
                      <a:pt x="1072" y="476"/>
                    </a:lnTo>
                    <a:lnTo>
                      <a:pt x="1072" y="476"/>
                    </a:lnTo>
                    <a:lnTo>
                      <a:pt x="1072" y="476"/>
                    </a:lnTo>
                    <a:lnTo>
                      <a:pt x="1070" y="476"/>
                    </a:lnTo>
                    <a:lnTo>
                      <a:pt x="1070" y="474"/>
                    </a:lnTo>
                    <a:lnTo>
                      <a:pt x="1070" y="474"/>
                    </a:lnTo>
                    <a:lnTo>
                      <a:pt x="1070" y="472"/>
                    </a:lnTo>
                    <a:lnTo>
                      <a:pt x="1068" y="472"/>
                    </a:lnTo>
                    <a:lnTo>
                      <a:pt x="1066" y="472"/>
                    </a:lnTo>
                    <a:lnTo>
                      <a:pt x="1060" y="470"/>
                    </a:lnTo>
                    <a:lnTo>
                      <a:pt x="1056" y="470"/>
                    </a:lnTo>
                    <a:lnTo>
                      <a:pt x="1054" y="470"/>
                    </a:lnTo>
                    <a:lnTo>
                      <a:pt x="1053" y="470"/>
                    </a:lnTo>
                    <a:lnTo>
                      <a:pt x="1053" y="472"/>
                    </a:lnTo>
                    <a:lnTo>
                      <a:pt x="1051" y="472"/>
                    </a:lnTo>
                    <a:lnTo>
                      <a:pt x="1051" y="472"/>
                    </a:lnTo>
                    <a:lnTo>
                      <a:pt x="1051" y="470"/>
                    </a:lnTo>
                    <a:lnTo>
                      <a:pt x="1049" y="470"/>
                    </a:lnTo>
                    <a:lnTo>
                      <a:pt x="1049" y="470"/>
                    </a:lnTo>
                    <a:lnTo>
                      <a:pt x="1047" y="470"/>
                    </a:lnTo>
                    <a:lnTo>
                      <a:pt x="1039" y="468"/>
                    </a:lnTo>
                    <a:lnTo>
                      <a:pt x="1037" y="468"/>
                    </a:lnTo>
                    <a:lnTo>
                      <a:pt x="1035" y="466"/>
                    </a:lnTo>
                    <a:lnTo>
                      <a:pt x="1033" y="468"/>
                    </a:lnTo>
                    <a:lnTo>
                      <a:pt x="1032" y="468"/>
                    </a:lnTo>
                    <a:lnTo>
                      <a:pt x="1028" y="472"/>
                    </a:lnTo>
                    <a:lnTo>
                      <a:pt x="1024" y="474"/>
                    </a:lnTo>
                    <a:lnTo>
                      <a:pt x="1009" y="482"/>
                    </a:lnTo>
                    <a:lnTo>
                      <a:pt x="1007" y="482"/>
                    </a:lnTo>
                    <a:lnTo>
                      <a:pt x="1007" y="482"/>
                    </a:lnTo>
                    <a:lnTo>
                      <a:pt x="1005" y="482"/>
                    </a:lnTo>
                    <a:lnTo>
                      <a:pt x="1003" y="482"/>
                    </a:lnTo>
                    <a:lnTo>
                      <a:pt x="1003" y="482"/>
                    </a:lnTo>
                    <a:lnTo>
                      <a:pt x="1001" y="485"/>
                    </a:lnTo>
                    <a:lnTo>
                      <a:pt x="1001" y="487"/>
                    </a:lnTo>
                    <a:lnTo>
                      <a:pt x="999" y="489"/>
                    </a:lnTo>
                    <a:lnTo>
                      <a:pt x="995" y="489"/>
                    </a:lnTo>
                    <a:lnTo>
                      <a:pt x="993" y="489"/>
                    </a:lnTo>
                    <a:lnTo>
                      <a:pt x="993" y="489"/>
                    </a:lnTo>
                    <a:lnTo>
                      <a:pt x="993" y="487"/>
                    </a:lnTo>
                    <a:lnTo>
                      <a:pt x="995" y="485"/>
                    </a:lnTo>
                    <a:lnTo>
                      <a:pt x="995" y="482"/>
                    </a:lnTo>
                    <a:lnTo>
                      <a:pt x="995" y="480"/>
                    </a:lnTo>
                    <a:lnTo>
                      <a:pt x="995" y="478"/>
                    </a:lnTo>
                    <a:lnTo>
                      <a:pt x="995" y="478"/>
                    </a:lnTo>
                    <a:lnTo>
                      <a:pt x="995" y="476"/>
                    </a:lnTo>
                    <a:lnTo>
                      <a:pt x="997" y="474"/>
                    </a:lnTo>
                    <a:lnTo>
                      <a:pt x="1003" y="472"/>
                    </a:lnTo>
                    <a:lnTo>
                      <a:pt x="1024" y="463"/>
                    </a:lnTo>
                    <a:lnTo>
                      <a:pt x="1026" y="461"/>
                    </a:lnTo>
                    <a:lnTo>
                      <a:pt x="1032" y="459"/>
                    </a:lnTo>
                    <a:lnTo>
                      <a:pt x="1033" y="459"/>
                    </a:lnTo>
                    <a:lnTo>
                      <a:pt x="1035" y="457"/>
                    </a:lnTo>
                    <a:lnTo>
                      <a:pt x="1035" y="455"/>
                    </a:lnTo>
                    <a:lnTo>
                      <a:pt x="1033" y="455"/>
                    </a:lnTo>
                    <a:lnTo>
                      <a:pt x="1033" y="455"/>
                    </a:lnTo>
                    <a:lnTo>
                      <a:pt x="1032" y="455"/>
                    </a:lnTo>
                    <a:lnTo>
                      <a:pt x="1032" y="455"/>
                    </a:lnTo>
                    <a:lnTo>
                      <a:pt x="1032" y="455"/>
                    </a:lnTo>
                    <a:lnTo>
                      <a:pt x="1030" y="457"/>
                    </a:lnTo>
                    <a:lnTo>
                      <a:pt x="1030" y="457"/>
                    </a:lnTo>
                    <a:lnTo>
                      <a:pt x="1030" y="457"/>
                    </a:lnTo>
                    <a:lnTo>
                      <a:pt x="1028" y="457"/>
                    </a:lnTo>
                    <a:lnTo>
                      <a:pt x="1026" y="453"/>
                    </a:lnTo>
                    <a:lnTo>
                      <a:pt x="1026" y="451"/>
                    </a:lnTo>
                    <a:lnTo>
                      <a:pt x="1026" y="451"/>
                    </a:lnTo>
                    <a:lnTo>
                      <a:pt x="1024" y="451"/>
                    </a:lnTo>
                    <a:lnTo>
                      <a:pt x="1024" y="451"/>
                    </a:lnTo>
                    <a:lnTo>
                      <a:pt x="1024" y="453"/>
                    </a:lnTo>
                    <a:lnTo>
                      <a:pt x="1024" y="453"/>
                    </a:lnTo>
                    <a:lnTo>
                      <a:pt x="1022" y="453"/>
                    </a:lnTo>
                    <a:lnTo>
                      <a:pt x="1022" y="453"/>
                    </a:lnTo>
                    <a:lnTo>
                      <a:pt x="1018" y="453"/>
                    </a:lnTo>
                    <a:lnTo>
                      <a:pt x="1014" y="453"/>
                    </a:lnTo>
                    <a:lnTo>
                      <a:pt x="1012" y="453"/>
                    </a:lnTo>
                    <a:lnTo>
                      <a:pt x="1012" y="451"/>
                    </a:lnTo>
                    <a:lnTo>
                      <a:pt x="1012" y="451"/>
                    </a:lnTo>
                    <a:lnTo>
                      <a:pt x="1012" y="449"/>
                    </a:lnTo>
                    <a:lnTo>
                      <a:pt x="1011" y="447"/>
                    </a:lnTo>
                    <a:lnTo>
                      <a:pt x="1011" y="447"/>
                    </a:lnTo>
                    <a:lnTo>
                      <a:pt x="1009" y="447"/>
                    </a:lnTo>
                    <a:lnTo>
                      <a:pt x="1009" y="447"/>
                    </a:lnTo>
                    <a:lnTo>
                      <a:pt x="1009" y="447"/>
                    </a:lnTo>
                    <a:lnTo>
                      <a:pt x="1007" y="447"/>
                    </a:lnTo>
                    <a:lnTo>
                      <a:pt x="1007" y="446"/>
                    </a:lnTo>
                    <a:lnTo>
                      <a:pt x="1007" y="446"/>
                    </a:lnTo>
                    <a:lnTo>
                      <a:pt x="1007" y="446"/>
                    </a:lnTo>
                    <a:lnTo>
                      <a:pt x="1007" y="444"/>
                    </a:lnTo>
                    <a:lnTo>
                      <a:pt x="1007" y="444"/>
                    </a:lnTo>
                    <a:lnTo>
                      <a:pt x="1009" y="444"/>
                    </a:lnTo>
                    <a:lnTo>
                      <a:pt x="1016" y="440"/>
                    </a:lnTo>
                    <a:lnTo>
                      <a:pt x="1018" y="440"/>
                    </a:lnTo>
                    <a:lnTo>
                      <a:pt x="1020" y="438"/>
                    </a:lnTo>
                    <a:lnTo>
                      <a:pt x="1020" y="436"/>
                    </a:lnTo>
                    <a:lnTo>
                      <a:pt x="1020" y="436"/>
                    </a:lnTo>
                    <a:lnTo>
                      <a:pt x="1022" y="434"/>
                    </a:lnTo>
                    <a:lnTo>
                      <a:pt x="1024" y="432"/>
                    </a:lnTo>
                    <a:lnTo>
                      <a:pt x="1026" y="430"/>
                    </a:lnTo>
                    <a:lnTo>
                      <a:pt x="1026" y="428"/>
                    </a:lnTo>
                    <a:lnTo>
                      <a:pt x="1026" y="428"/>
                    </a:lnTo>
                    <a:lnTo>
                      <a:pt x="1024" y="427"/>
                    </a:lnTo>
                    <a:lnTo>
                      <a:pt x="1024" y="427"/>
                    </a:lnTo>
                    <a:lnTo>
                      <a:pt x="1024" y="423"/>
                    </a:lnTo>
                    <a:lnTo>
                      <a:pt x="1022" y="423"/>
                    </a:lnTo>
                    <a:lnTo>
                      <a:pt x="1022" y="421"/>
                    </a:lnTo>
                    <a:lnTo>
                      <a:pt x="1020" y="419"/>
                    </a:lnTo>
                    <a:lnTo>
                      <a:pt x="1020" y="417"/>
                    </a:lnTo>
                    <a:lnTo>
                      <a:pt x="1020" y="415"/>
                    </a:lnTo>
                    <a:lnTo>
                      <a:pt x="1020" y="413"/>
                    </a:lnTo>
                    <a:lnTo>
                      <a:pt x="1020" y="413"/>
                    </a:lnTo>
                    <a:lnTo>
                      <a:pt x="1020" y="411"/>
                    </a:lnTo>
                    <a:lnTo>
                      <a:pt x="1018" y="411"/>
                    </a:lnTo>
                    <a:lnTo>
                      <a:pt x="1016" y="411"/>
                    </a:lnTo>
                    <a:lnTo>
                      <a:pt x="1014" y="411"/>
                    </a:lnTo>
                    <a:lnTo>
                      <a:pt x="1014" y="411"/>
                    </a:lnTo>
                    <a:lnTo>
                      <a:pt x="1007" y="406"/>
                    </a:lnTo>
                    <a:lnTo>
                      <a:pt x="1007" y="406"/>
                    </a:lnTo>
                    <a:lnTo>
                      <a:pt x="1005" y="404"/>
                    </a:lnTo>
                    <a:lnTo>
                      <a:pt x="1003" y="404"/>
                    </a:lnTo>
                    <a:lnTo>
                      <a:pt x="1001" y="404"/>
                    </a:lnTo>
                    <a:lnTo>
                      <a:pt x="1001" y="404"/>
                    </a:lnTo>
                    <a:lnTo>
                      <a:pt x="999" y="402"/>
                    </a:lnTo>
                    <a:lnTo>
                      <a:pt x="999" y="402"/>
                    </a:lnTo>
                    <a:lnTo>
                      <a:pt x="997" y="400"/>
                    </a:lnTo>
                    <a:lnTo>
                      <a:pt x="997" y="394"/>
                    </a:lnTo>
                    <a:lnTo>
                      <a:pt x="995" y="392"/>
                    </a:lnTo>
                    <a:lnTo>
                      <a:pt x="993" y="388"/>
                    </a:lnTo>
                    <a:lnTo>
                      <a:pt x="988" y="381"/>
                    </a:lnTo>
                    <a:lnTo>
                      <a:pt x="988" y="381"/>
                    </a:lnTo>
                    <a:lnTo>
                      <a:pt x="986" y="379"/>
                    </a:lnTo>
                    <a:lnTo>
                      <a:pt x="986" y="377"/>
                    </a:lnTo>
                    <a:lnTo>
                      <a:pt x="988" y="375"/>
                    </a:lnTo>
                    <a:lnTo>
                      <a:pt x="988" y="375"/>
                    </a:lnTo>
                    <a:lnTo>
                      <a:pt x="988" y="373"/>
                    </a:lnTo>
                    <a:lnTo>
                      <a:pt x="986" y="373"/>
                    </a:lnTo>
                    <a:lnTo>
                      <a:pt x="984" y="371"/>
                    </a:lnTo>
                    <a:lnTo>
                      <a:pt x="984" y="371"/>
                    </a:lnTo>
                    <a:lnTo>
                      <a:pt x="984" y="371"/>
                    </a:lnTo>
                    <a:lnTo>
                      <a:pt x="984" y="369"/>
                    </a:lnTo>
                    <a:lnTo>
                      <a:pt x="986" y="369"/>
                    </a:lnTo>
                    <a:lnTo>
                      <a:pt x="986" y="368"/>
                    </a:lnTo>
                    <a:lnTo>
                      <a:pt x="986" y="368"/>
                    </a:lnTo>
                    <a:lnTo>
                      <a:pt x="986" y="366"/>
                    </a:lnTo>
                    <a:lnTo>
                      <a:pt x="986" y="364"/>
                    </a:lnTo>
                    <a:lnTo>
                      <a:pt x="986" y="360"/>
                    </a:lnTo>
                    <a:lnTo>
                      <a:pt x="984" y="360"/>
                    </a:lnTo>
                    <a:lnTo>
                      <a:pt x="984" y="358"/>
                    </a:lnTo>
                    <a:lnTo>
                      <a:pt x="984" y="358"/>
                    </a:lnTo>
                    <a:lnTo>
                      <a:pt x="982" y="358"/>
                    </a:lnTo>
                    <a:lnTo>
                      <a:pt x="982" y="358"/>
                    </a:lnTo>
                    <a:lnTo>
                      <a:pt x="982" y="358"/>
                    </a:lnTo>
                    <a:lnTo>
                      <a:pt x="982" y="356"/>
                    </a:lnTo>
                    <a:lnTo>
                      <a:pt x="982" y="352"/>
                    </a:lnTo>
                    <a:lnTo>
                      <a:pt x="982" y="350"/>
                    </a:lnTo>
                    <a:lnTo>
                      <a:pt x="980" y="345"/>
                    </a:lnTo>
                    <a:lnTo>
                      <a:pt x="976" y="343"/>
                    </a:lnTo>
                    <a:lnTo>
                      <a:pt x="974" y="347"/>
                    </a:lnTo>
                    <a:lnTo>
                      <a:pt x="974" y="347"/>
                    </a:lnTo>
                    <a:lnTo>
                      <a:pt x="972" y="347"/>
                    </a:lnTo>
                    <a:lnTo>
                      <a:pt x="972" y="347"/>
                    </a:lnTo>
                    <a:lnTo>
                      <a:pt x="972" y="345"/>
                    </a:lnTo>
                    <a:lnTo>
                      <a:pt x="971" y="343"/>
                    </a:lnTo>
                    <a:lnTo>
                      <a:pt x="971" y="343"/>
                    </a:lnTo>
                    <a:lnTo>
                      <a:pt x="969" y="343"/>
                    </a:lnTo>
                    <a:lnTo>
                      <a:pt x="969" y="345"/>
                    </a:lnTo>
                    <a:lnTo>
                      <a:pt x="969" y="345"/>
                    </a:lnTo>
                    <a:lnTo>
                      <a:pt x="967" y="345"/>
                    </a:lnTo>
                    <a:lnTo>
                      <a:pt x="967" y="345"/>
                    </a:lnTo>
                    <a:lnTo>
                      <a:pt x="965" y="343"/>
                    </a:lnTo>
                    <a:lnTo>
                      <a:pt x="965" y="343"/>
                    </a:lnTo>
                    <a:lnTo>
                      <a:pt x="965" y="343"/>
                    </a:lnTo>
                    <a:lnTo>
                      <a:pt x="963" y="345"/>
                    </a:lnTo>
                    <a:lnTo>
                      <a:pt x="961" y="347"/>
                    </a:lnTo>
                    <a:lnTo>
                      <a:pt x="959" y="347"/>
                    </a:lnTo>
                    <a:lnTo>
                      <a:pt x="957" y="347"/>
                    </a:lnTo>
                    <a:lnTo>
                      <a:pt x="953" y="345"/>
                    </a:lnTo>
                    <a:lnTo>
                      <a:pt x="951" y="343"/>
                    </a:lnTo>
                    <a:lnTo>
                      <a:pt x="950" y="345"/>
                    </a:lnTo>
                    <a:lnTo>
                      <a:pt x="948" y="347"/>
                    </a:lnTo>
                    <a:lnTo>
                      <a:pt x="948" y="348"/>
                    </a:lnTo>
                    <a:lnTo>
                      <a:pt x="950" y="348"/>
                    </a:lnTo>
                    <a:lnTo>
                      <a:pt x="953" y="350"/>
                    </a:lnTo>
                    <a:lnTo>
                      <a:pt x="953" y="352"/>
                    </a:lnTo>
                    <a:lnTo>
                      <a:pt x="953" y="352"/>
                    </a:lnTo>
                    <a:lnTo>
                      <a:pt x="953" y="354"/>
                    </a:lnTo>
                    <a:lnTo>
                      <a:pt x="948" y="354"/>
                    </a:lnTo>
                    <a:lnTo>
                      <a:pt x="946" y="356"/>
                    </a:lnTo>
                    <a:lnTo>
                      <a:pt x="944" y="356"/>
                    </a:lnTo>
                    <a:lnTo>
                      <a:pt x="942" y="362"/>
                    </a:lnTo>
                    <a:lnTo>
                      <a:pt x="940" y="362"/>
                    </a:lnTo>
                    <a:lnTo>
                      <a:pt x="936" y="362"/>
                    </a:lnTo>
                    <a:lnTo>
                      <a:pt x="932" y="364"/>
                    </a:lnTo>
                    <a:lnTo>
                      <a:pt x="932" y="364"/>
                    </a:lnTo>
                    <a:lnTo>
                      <a:pt x="930" y="362"/>
                    </a:lnTo>
                    <a:lnTo>
                      <a:pt x="930" y="362"/>
                    </a:lnTo>
                    <a:lnTo>
                      <a:pt x="930" y="362"/>
                    </a:lnTo>
                    <a:lnTo>
                      <a:pt x="930" y="360"/>
                    </a:lnTo>
                    <a:lnTo>
                      <a:pt x="932" y="360"/>
                    </a:lnTo>
                    <a:lnTo>
                      <a:pt x="934" y="358"/>
                    </a:lnTo>
                    <a:lnTo>
                      <a:pt x="934" y="358"/>
                    </a:lnTo>
                    <a:lnTo>
                      <a:pt x="934" y="358"/>
                    </a:lnTo>
                    <a:lnTo>
                      <a:pt x="934" y="356"/>
                    </a:lnTo>
                    <a:lnTo>
                      <a:pt x="932" y="356"/>
                    </a:lnTo>
                    <a:lnTo>
                      <a:pt x="932" y="356"/>
                    </a:lnTo>
                    <a:lnTo>
                      <a:pt x="932" y="354"/>
                    </a:lnTo>
                    <a:lnTo>
                      <a:pt x="932" y="352"/>
                    </a:lnTo>
                    <a:lnTo>
                      <a:pt x="934" y="343"/>
                    </a:lnTo>
                    <a:lnTo>
                      <a:pt x="934" y="343"/>
                    </a:lnTo>
                    <a:lnTo>
                      <a:pt x="936" y="339"/>
                    </a:lnTo>
                    <a:lnTo>
                      <a:pt x="936" y="337"/>
                    </a:lnTo>
                    <a:lnTo>
                      <a:pt x="936" y="337"/>
                    </a:lnTo>
                    <a:lnTo>
                      <a:pt x="938" y="335"/>
                    </a:lnTo>
                    <a:lnTo>
                      <a:pt x="936" y="331"/>
                    </a:lnTo>
                    <a:lnTo>
                      <a:pt x="936" y="329"/>
                    </a:lnTo>
                    <a:lnTo>
                      <a:pt x="936" y="328"/>
                    </a:lnTo>
                    <a:lnTo>
                      <a:pt x="936" y="326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36" y="322"/>
                    </a:lnTo>
                    <a:lnTo>
                      <a:pt x="936" y="320"/>
                    </a:lnTo>
                    <a:lnTo>
                      <a:pt x="936" y="320"/>
                    </a:lnTo>
                    <a:lnTo>
                      <a:pt x="936" y="318"/>
                    </a:lnTo>
                    <a:lnTo>
                      <a:pt x="936" y="318"/>
                    </a:lnTo>
                    <a:lnTo>
                      <a:pt x="934" y="314"/>
                    </a:lnTo>
                    <a:lnTo>
                      <a:pt x="934" y="312"/>
                    </a:lnTo>
                    <a:lnTo>
                      <a:pt x="934" y="310"/>
                    </a:lnTo>
                    <a:lnTo>
                      <a:pt x="934" y="307"/>
                    </a:lnTo>
                    <a:lnTo>
                      <a:pt x="936" y="299"/>
                    </a:lnTo>
                    <a:lnTo>
                      <a:pt x="936" y="297"/>
                    </a:lnTo>
                    <a:lnTo>
                      <a:pt x="936" y="297"/>
                    </a:lnTo>
                    <a:lnTo>
                      <a:pt x="936" y="295"/>
                    </a:lnTo>
                    <a:lnTo>
                      <a:pt x="934" y="293"/>
                    </a:lnTo>
                    <a:lnTo>
                      <a:pt x="930" y="290"/>
                    </a:lnTo>
                    <a:lnTo>
                      <a:pt x="929" y="288"/>
                    </a:lnTo>
                    <a:lnTo>
                      <a:pt x="929" y="286"/>
                    </a:lnTo>
                    <a:lnTo>
                      <a:pt x="927" y="286"/>
                    </a:lnTo>
                    <a:lnTo>
                      <a:pt x="927" y="284"/>
                    </a:lnTo>
                    <a:lnTo>
                      <a:pt x="925" y="284"/>
                    </a:lnTo>
                    <a:lnTo>
                      <a:pt x="925" y="284"/>
                    </a:lnTo>
                    <a:lnTo>
                      <a:pt x="923" y="284"/>
                    </a:lnTo>
                    <a:lnTo>
                      <a:pt x="923" y="284"/>
                    </a:lnTo>
                    <a:lnTo>
                      <a:pt x="919" y="286"/>
                    </a:lnTo>
                    <a:lnTo>
                      <a:pt x="919" y="288"/>
                    </a:lnTo>
                    <a:lnTo>
                      <a:pt x="917" y="288"/>
                    </a:lnTo>
                    <a:lnTo>
                      <a:pt x="917" y="291"/>
                    </a:lnTo>
                    <a:lnTo>
                      <a:pt x="913" y="295"/>
                    </a:lnTo>
                    <a:lnTo>
                      <a:pt x="911" y="295"/>
                    </a:lnTo>
                    <a:lnTo>
                      <a:pt x="910" y="297"/>
                    </a:lnTo>
                    <a:lnTo>
                      <a:pt x="908" y="299"/>
                    </a:lnTo>
                    <a:lnTo>
                      <a:pt x="908" y="299"/>
                    </a:lnTo>
                    <a:lnTo>
                      <a:pt x="906" y="299"/>
                    </a:lnTo>
                    <a:lnTo>
                      <a:pt x="904" y="301"/>
                    </a:lnTo>
                    <a:lnTo>
                      <a:pt x="904" y="303"/>
                    </a:lnTo>
                    <a:lnTo>
                      <a:pt x="902" y="303"/>
                    </a:lnTo>
                    <a:lnTo>
                      <a:pt x="900" y="305"/>
                    </a:lnTo>
                    <a:lnTo>
                      <a:pt x="900" y="305"/>
                    </a:lnTo>
                    <a:lnTo>
                      <a:pt x="900" y="305"/>
                    </a:lnTo>
                    <a:lnTo>
                      <a:pt x="900" y="307"/>
                    </a:lnTo>
                    <a:lnTo>
                      <a:pt x="900" y="307"/>
                    </a:lnTo>
                    <a:lnTo>
                      <a:pt x="900" y="309"/>
                    </a:lnTo>
                    <a:lnTo>
                      <a:pt x="900" y="310"/>
                    </a:lnTo>
                    <a:lnTo>
                      <a:pt x="902" y="312"/>
                    </a:lnTo>
                    <a:lnTo>
                      <a:pt x="902" y="314"/>
                    </a:lnTo>
                    <a:lnTo>
                      <a:pt x="902" y="314"/>
                    </a:lnTo>
                    <a:lnTo>
                      <a:pt x="900" y="314"/>
                    </a:lnTo>
                    <a:lnTo>
                      <a:pt x="898" y="316"/>
                    </a:lnTo>
                    <a:lnTo>
                      <a:pt x="896" y="316"/>
                    </a:lnTo>
                    <a:lnTo>
                      <a:pt x="894" y="316"/>
                    </a:lnTo>
                    <a:lnTo>
                      <a:pt x="892" y="316"/>
                    </a:lnTo>
                    <a:lnTo>
                      <a:pt x="892" y="318"/>
                    </a:lnTo>
                    <a:lnTo>
                      <a:pt x="892" y="318"/>
                    </a:lnTo>
                    <a:lnTo>
                      <a:pt x="890" y="320"/>
                    </a:lnTo>
                    <a:lnTo>
                      <a:pt x="889" y="322"/>
                    </a:lnTo>
                    <a:lnTo>
                      <a:pt x="889" y="322"/>
                    </a:lnTo>
                    <a:lnTo>
                      <a:pt x="887" y="320"/>
                    </a:lnTo>
                    <a:lnTo>
                      <a:pt x="887" y="320"/>
                    </a:lnTo>
                    <a:lnTo>
                      <a:pt x="887" y="318"/>
                    </a:lnTo>
                    <a:lnTo>
                      <a:pt x="885" y="312"/>
                    </a:lnTo>
                    <a:lnTo>
                      <a:pt x="885" y="312"/>
                    </a:lnTo>
                    <a:lnTo>
                      <a:pt x="883" y="310"/>
                    </a:lnTo>
                    <a:lnTo>
                      <a:pt x="883" y="310"/>
                    </a:lnTo>
                    <a:lnTo>
                      <a:pt x="881" y="310"/>
                    </a:lnTo>
                    <a:lnTo>
                      <a:pt x="879" y="310"/>
                    </a:lnTo>
                    <a:lnTo>
                      <a:pt x="875" y="309"/>
                    </a:lnTo>
                    <a:lnTo>
                      <a:pt x="875" y="309"/>
                    </a:lnTo>
                    <a:lnTo>
                      <a:pt x="875" y="307"/>
                    </a:lnTo>
                    <a:lnTo>
                      <a:pt x="875" y="307"/>
                    </a:lnTo>
                    <a:lnTo>
                      <a:pt x="879" y="305"/>
                    </a:lnTo>
                    <a:lnTo>
                      <a:pt x="879" y="305"/>
                    </a:lnTo>
                    <a:lnTo>
                      <a:pt x="879" y="305"/>
                    </a:lnTo>
                    <a:lnTo>
                      <a:pt x="879" y="305"/>
                    </a:lnTo>
                    <a:lnTo>
                      <a:pt x="877" y="305"/>
                    </a:lnTo>
                    <a:lnTo>
                      <a:pt x="875" y="303"/>
                    </a:lnTo>
                    <a:lnTo>
                      <a:pt x="875" y="301"/>
                    </a:lnTo>
                    <a:lnTo>
                      <a:pt x="873" y="301"/>
                    </a:lnTo>
                    <a:lnTo>
                      <a:pt x="875" y="299"/>
                    </a:lnTo>
                    <a:lnTo>
                      <a:pt x="875" y="299"/>
                    </a:lnTo>
                    <a:lnTo>
                      <a:pt x="875" y="299"/>
                    </a:lnTo>
                    <a:lnTo>
                      <a:pt x="877" y="301"/>
                    </a:lnTo>
                    <a:lnTo>
                      <a:pt x="879" y="301"/>
                    </a:lnTo>
                    <a:lnTo>
                      <a:pt x="879" y="301"/>
                    </a:lnTo>
                    <a:lnTo>
                      <a:pt x="879" y="301"/>
                    </a:lnTo>
                    <a:lnTo>
                      <a:pt x="879" y="299"/>
                    </a:lnTo>
                    <a:lnTo>
                      <a:pt x="879" y="299"/>
                    </a:lnTo>
                    <a:lnTo>
                      <a:pt x="875" y="293"/>
                    </a:lnTo>
                    <a:lnTo>
                      <a:pt x="875" y="293"/>
                    </a:lnTo>
                    <a:lnTo>
                      <a:pt x="873" y="293"/>
                    </a:lnTo>
                    <a:lnTo>
                      <a:pt x="871" y="293"/>
                    </a:lnTo>
                    <a:lnTo>
                      <a:pt x="866" y="295"/>
                    </a:lnTo>
                    <a:lnTo>
                      <a:pt x="864" y="295"/>
                    </a:lnTo>
                    <a:lnTo>
                      <a:pt x="864" y="293"/>
                    </a:lnTo>
                    <a:lnTo>
                      <a:pt x="864" y="293"/>
                    </a:lnTo>
                    <a:lnTo>
                      <a:pt x="862" y="293"/>
                    </a:lnTo>
                    <a:lnTo>
                      <a:pt x="862" y="291"/>
                    </a:lnTo>
                    <a:lnTo>
                      <a:pt x="862" y="291"/>
                    </a:lnTo>
                    <a:lnTo>
                      <a:pt x="862" y="290"/>
                    </a:lnTo>
                    <a:lnTo>
                      <a:pt x="860" y="290"/>
                    </a:lnTo>
                    <a:lnTo>
                      <a:pt x="860" y="290"/>
                    </a:lnTo>
                    <a:lnTo>
                      <a:pt x="858" y="288"/>
                    </a:lnTo>
                    <a:lnTo>
                      <a:pt x="856" y="290"/>
                    </a:lnTo>
                    <a:lnTo>
                      <a:pt x="856" y="290"/>
                    </a:lnTo>
                    <a:lnTo>
                      <a:pt x="856" y="291"/>
                    </a:lnTo>
                    <a:lnTo>
                      <a:pt x="858" y="293"/>
                    </a:lnTo>
                    <a:lnTo>
                      <a:pt x="858" y="295"/>
                    </a:lnTo>
                    <a:lnTo>
                      <a:pt x="860" y="295"/>
                    </a:lnTo>
                    <a:lnTo>
                      <a:pt x="862" y="297"/>
                    </a:lnTo>
                    <a:lnTo>
                      <a:pt x="862" y="297"/>
                    </a:lnTo>
                    <a:lnTo>
                      <a:pt x="862" y="299"/>
                    </a:lnTo>
                    <a:lnTo>
                      <a:pt x="860" y="299"/>
                    </a:lnTo>
                    <a:lnTo>
                      <a:pt x="858" y="299"/>
                    </a:lnTo>
                    <a:lnTo>
                      <a:pt x="858" y="299"/>
                    </a:lnTo>
                    <a:lnTo>
                      <a:pt x="856" y="301"/>
                    </a:lnTo>
                    <a:lnTo>
                      <a:pt x="858" y="301"/>
                    </a:lnTo>
                    <a:lnTo>
                      <a:pt x="858" y="303"/>
                    </a:lnTo>
                    <a:lnTo>
                      <a:pt x="860" y="303"/>
                    </a:lnTo>
                    <a:lnTo>
                      <a:pt x="862" y="303"/>
                    </a:lnTo>
                    <a:lnTo>
                      <a:pt x="862" y="305"/>
                    </a:lnTo>
                    <a:lnTo>
                      <a:pt x="862" y="307"/>
                    </a:lnTo>
                    <a:lnTo>
                      <a:pt x="862" y="309"/>
                    </a:lnTo>
                    <a:lnTo>
                      <a:pt x="860" y="310"/>
                    </a:lnTo>
                    <a:lnTo>
                      <a:pt x="858" y="310"/>
                    </a:lnTo>
                    <a:lnTo>
                      <a:pt x="858" y="310"/>
                    </a:lnTo>
                    <a:lnTo>
                      <a:pt x="852" y="307"/>
                    </a:lnTo>
                    <a:lnTo>
                      <a:pt x="850" y="305"/>
                    </a:lnTo>
                    <a:lnTo>
                      <a:pt x="850" y="305"/>
                    </a:lnTo>
                    <a:lnTo>
                      <a:pt x="848" y="307"/>
                    </a:lnTo>
                    <a:lnTo>
                      <a:pt x="848" y="307"/>
                    </a:lnTo>
                    <a:lnTo>
                      <a:pt x="847" y="307"/>
                    </a:lnTo>
                    <a:lnTo>
                      <a:pt x="847" y="307"/>
                    </a:lnTo>
                    <a:lnTo>
                      <a:pt x="845" y="307"/>
                    </a:lnTo>
                    <a:lnTo>
                      <a:pt x="843" y="307"/>
                    </a:lnTo>
                    <a:lnTo>
                      <a:pt x="841" y="307"/>
                    </a:lnTo>
                    <a:lnTo>
                      <a:pt x="841" y="307"/>
                    </a:lnTo>
                    <a:lnTo>
                      <a:pt x="841" y="307"/>
                    </a:lnTo>
                    <a:lnTo>
                      <a:pt x="839" y="309"/>
                    </a:lnTo>
                    <a:lnTo>
                      <a:pt x="839" y="309"/>
                    </a:lnTo>
                    <a:lnTo>
                      <a:pt x="839" y="310"/>
                    </a:lnTo>
                    <a:lnTo>
                      <a:pt x="839" y="312"/>
                    </a:lnTo>
                    <a:lnTo>
                      <a:pt x="839" y="314"/>
                    </a:lnTo>
                    <a:lnTo>
                      <a:pt x="839" y="318"/>
                    </a:lnTo>
                    <a:lnTo>
                      <a:pt x="841" y="324"/>
                    </a:lnTo>
                    <a:lnTo>
                      <a:pt x="841" y="326"/>
                    </a:lnTo>
                    <a:lnTo>
                      <a:pt x="841" y="328"/>
                    </a:lnTo>
                    <a:lnTo>
                      <a:pt x="841" y="329"/>
                    </a:lnTo>
                    <a:lnTo>
                      <a:pt x="843" y="331"/>
                    </a:lnTo>
                    <a:lnTo>
                      <a:pt x="845" y="333"/>
                    </a:lnTo>
                    <a:lnTo>
                      <a:pt x="845" y="333"/>
                    </a:lnTo>
                    <a:lnTo>
                      <a:pt x="845" y="335"/>
                    </a:lnTo>
                    <a:lnTo>
                      <a:pt x="845" y="337"/>
                    </a:lnTo>
                    <a:lnTo>
                      <a:pt x="845" y="337"/>
                    </a:lnTo>
                    <a:lnTo>
                      <a:pt x="845" y="339"/>
                    </a:lnTo>
                    <a:lnTo>
                      <a:pt x="847" y="339"/>
                    </a:lnTo>
                    <a:lnTo>
                      <a:pt x="845" y="341"/>
                    </a:lnTo>
                    <a:lnTo>
                      <a:pt x="845" y="341"/>
                    </a:lnTo>
                    <a:lnTo>
                      <a:pt x="841" y="345"/>
                    </a:lnTo>
                    <a:lnTo>
                      <a:pt x="837" y="341"/>
                    </a:lnTo>
                    <a:lnTo>
                      <a:pt x="833" y="337"/>
                    </a:lnTo>
                    <a:lnTo>
                      <a:pt x="831" y="337"/>
                    </a:lnTo>
                    <a:lnTo>
                      <a:pt x="818" y="339"/>
                    </a:lnTo>
                    <a:lnTo>
                      <a:pt x="818" y="339"/>
                    </a:lnTo>
                    <a:lnTo>
                      <a:pt x="816" y="337"/>
                    </a:lnTo>
                    <a:lnTo>
                      <a:pt x="816" y="335"/>
                    </a:lnTo>
                    <a:lnTo>
                      <a:pt x="816" y="333"/>
                    </a:lnTo>
                    <a:lnTo>
                      <a:pt x="816" y="333"/>
                    </a:lnTo>
                    <a:lnTo>
                      <a:pt x="814" y="331"/>
                    </a:lnTo>
                    <a:lnTo>
                      <a:pt x="814" y="331"/>
                    </a:lnTo>
                    <a:lnTo>
                      <a:pt x="810" y="329"/>
                    </a:lnTo>
                    <a:lnTo>
                      <a:pt x="810" y="326"/>
                    </a:lnTo>
                    <a:lnTo>
                      <a:pt x="810" y="324"/>
                    </a:lnTo>
                    <a:lnTo>
                      <a:pt x="810" y="324"/>
                    </a:lnTo>
                    <a:lnTo>
                      <a:pt x="814" y="324"/>
                    </a:lnTo>
                    <a:lnTo>
                      <a:pt x="814" y="324"/>
                    </a:lnTo>
                    <a:lnTo>
                      <a:pt x="816" y="324"/>
                    </a:lnTo>
                    <a:lnTo>
                      <a:pt x="816" y="322"/>
                    </a:lnTo>
                    <a:lnTo>
                      <a:pt x="818" y="322"/>
                    </a:lnTo>
                    <a:lnTo>
                      <a:pt x="818" y="320"/>
                    </a:lnTo>
                    <a:lnTo>
                      <a:pt x="816" y="318"/>
                    </a:lnTo>
                    <a:lnTo>
                      <a:pt x="816" y="318"/>
                    </a:lnTo>
                    <a:lnTo>
                      <a:pt x="814" y="316"/>
                    </a:lnTo>
                    <a:lnTo>
                      <a:pt x="814" y="316"/>
                    </a:lnTo>
                    <a:lnTo>
                      <a:pt x="814" y="316"/>
                    </a:lnTo>
                    <a:lnTo>
                      <a:pt x="816" y="316"/>
                    </a:lnTo>
                    <a:lnTo>
                      <a:pt x="816" y="314"/>
                    </a:lnTo>
                    <a:lnTo>
                      <a:pt x="816" y="314"/>
                    </a:lnTo>
                    <a:lnTo>
                      <a:pt x="818" y="312"/>
                    </a:lnTo>
                    <a:lnTo>
                      <a:pt x="818" y="310"/>
                    </a:lnTo>
                    <a:lnTo>
                      <a:pt x="818" y="310"/>
                    </a:lnTo>
                    <a:lnTo>
                      <a:pt x="820" y="309"/>
                    </a:lnTo>
                    <a:lnTo>
                      <a:pt x="822" y="305"/>
                    </a:lnTo>
                    <a:lnTo>
                      <a:pt x="822" y="305"/>
                    </a:lnTo>
                    <a:lnTo>
                      <a:pt x="822" y="303"/>
                    </a:lnTo>
                    <a:lnTo>
                      <a:pt x="822" y="301"/>
                    </a:lnTo>
                    <a:lnTo>
                      <a:pt x="820" y="301"/>
                    </a:lnTo>
                    <a:lnTo>
                      <a:pt x="820" y="301"/>
                    </a:lnTo>
                    <a:lnTo>
                      <a:pt x="820" y="303"/>
                    </a:lnTo>
                    <a:lnTo>
                      <a:pt x="818" y="303"/>
                    </a:lnTo>
                    <a:lnTo>
                      <a:pt x="818" y="305"/>
                    </a:lnTo>
                    <a:lnTo>
                      <a:pt x="818" y="305"/>
                    </a:lnTo>
                    <a:lnTo>
                      <a:pt x="816" y="305"/>
                    </a:lnTo>
                    <a:lnTo>
                      <a:pt x="816" y="305"/>
                    </a:lnTo>
                    <a:lnTo>
                      <a:pt x="812" y="303"/>
                    </a:lnTo>
                    <a:lnTo>
                      <a:pt x="812" y="301"/>
                    </a:lnTo>
                    <a:lnTo>
                      <a:pt x="812" y="301"/>
                    </a:lnTo>
                    <a:lnTo>
                      <a:pt x="812" y="299"/>
                    </a:lnTo>
                    <a:lnTo>
                      <a:pt x="812" y="297"/>
                    </a:lnTo>
                    <a:lnTo>
                      <a:pt x="814" y="297"/>
                    </a:lnTo>
                    <a:lnTo>
                      <a:pt x="816" y="297"/>
                    </a:lnTo>
                    <a:lnTo>
                      <a:pt x="818" y="295"/>
                    </a:lnTo>
                    <a:lnTo>
                      <a:pt x="820" y="295"/>
                    </a:lnTo>
                    <a:lnTo>
                      <a:pt x="820" y="293"/>
                    </a:lnTo>
                    <a:lnTo>
                      <a:pt x="822" y="291"/>
                    </a:lnTo>
                    <a:lnTo>
                      <a:pt x="822" y="291"/>
                    </a:lnTo>
                    <a:lnTo>
                      <a:pt x="824" y="290"/>
                    </a:lnTo>
                    <a:lnTo>
                      <a:pt x="824" y="291"/>
                    </a:lnTo>
                    <a:lnTo>
                      <a:pt x="826" y="293"/>
                    </a:lnTo>
                    <a:lnTo>
                      <a:pt x="828" y="293"/>
                    </a:lnTo>
                    <a:lnTo>
                      <a:pt x="828" y="295"/>
                    </a:lnTo>
                    <a:lnTo>
                      <a:pt x="829" y="293"/>
                    </a:lnTo>
                    <a:lnTo>
                      <a:pt x="829" y="291"/>
                    </a:lnTo>
                    <a:lnTo>
                      <a:pt x="828" y="290"/>
                    </a:lnTo>
                    <a:lnTo>
                      <a:pt x="828" y="288"/>
                    </a:lnTo>
                    <a:lnTo>
                      <a:pt x="826" y="286"/>
                    </a:lnTo>
                    <a:lnTo>
                      <a:pt x="826" y="286"/>
                    </a:lnTo>
                    <a:lnTo>
                      <a:pt x="824" y="282"/>
                    </a:lnTo>
                    <a:lnTo>
                      <a:pt x="822" y="280"/>
                    </a:lnTo>
                    <a:lnTo>
                      <a:pt x="814" y="269"/>
                    </a:lnTo>
                    <a:lnTo>
                      <a:pt x="808" y="263"/>
                    </a:lnTo>
                    <a:lnTo>
                      <a:pt x="805" y="259"/>
                    </a:lnTo>
                    <a:lnTo>
                      <a:pt x="803" y="259"/>
                    </a:lnTo>
                    <a:lnTo>
                      <a:pt x="801" y="259"/>
                    </a:lnTo>
                    <a:lnTo>
                      <a:pt x="799" y="257"/>
                    </a:lnTo>
                    <a:lnTo>
                      <a:pt x="797" y="255"/>
                    </a:lnTo>
                    <a:lnTo>
                      <a:pt x="795" y="255"/>
                    </a:lnTo>
                    <a:lnTo>
                      <a:pt x="793" y="255"/>
                    </a:lnTo>
                    <a:lnTo>
                      <a:pt x="793" y="255"/>
                    </a:lnTo>
                    <a:lnTo>
                      <a:pt x="791" y="255"/>
                    </a:lnTo>
                    <a:lnTo>
                      <a:pt x="791" y="255"/>
                    </a:lnTo>
                    <a:lnTo>
                      <a:pt x="789" y="253"/>
                    </a:lnTo>
                    <a:lnTo>
                      <a:pt x="789" y="251"/>
                    </a:lnTo>
                    <a:lnTo>
                      <a:pt x="791" y="251"/>
                    </a:lnTo>
                    <a:lnTo>
                      <a:pt x="791" y="250"/>
                    </a:lnTo>
                    <a:lnTo>
                      <a:pt x="789" y="250"/>
                    </a:lnTo>
                    <a:lnTo>
                      <a:pt x="787" y="248"/>
                    </a:lnTo>
                    <a:lnTo>
                      <a:pt x="782" y="244"/>
                    </a:lnTo>
                    <a:lnTo>
                      <a:pt x="778" y="238"/>
                    </a:lnTo>
                    <a:lnTo>
                      <a:pt x="776" y="236"/>
                    </a:lnTo>
                    <a:lnTo>
                      <a:pt x="776" y="236"/>
                    </a:lnTo>
                    <a:lnTo>
                      <a:pt x="774" y="234"/>
                    </a:lnTo>
                    <a:lnTo>
                      <a:pt x="772" y="231"/>
                    </a:lnTo>
                    <a:lnTo>
                      <a:pt x="770" y="229"/>
                    </a:lnTo>
                    <a:lnTo>
                      <a:pt x="768" y="225"/>
                    </a:lnTo>
                    <a:lnTo>
                      <a:pt x="766" y="221"/>
                    </a:lnTo>
                    <a:lnTo>
                      <a:pt x="763" y="210"/>
                    </a:lnTo>
                    <a:lnTo>
                      <a:pt x="761" y="204"/>
                    </a:lnTo>
                    <a:lnTo>
                      <a:pt x="759" y="202"/>
                    </a:lnTo>
                    <a:lnTo>
                      <a:pt x="759" y="200"/>
                    </a:lnTo>
                    <a:lnTo>
                      <a:pt x="759" y="198"/>
                    </a:lnTo>
                    <a:lnTo>
                      <a:pt x="757" y="194"/>
                    </a:lnTo>
                    <a:lnTo>
                      <a:pt x="757" y="192"/>
                    </a:lnTo>
                    <a:lnTo>
                      <a:pt x="755" y="189"/>
                    </a:lnTo>
                    <a:lnTo>
                      <a:pt x="755" y="185"/>
                    </a:lnTo>
                    <a:lnTo>
                      <a:pt x="755" y="185"/>
                    </a:lnTo>
                    <a:lnTo>
                      <a:pt x="755" y="183"/>
                    </a:lnTo>
                    <a:lnTo>
                      <a:pt x="755" y="183"/>
                    </a:lnTo>
                    <a:lnTo>
                      <a:pt x="757" y="181"/>
                    </a:lnTo>
                    <a:lnTo>
                      <a:pt x="759" y="181"/>
                    </a:lnTo>
                    <a:lnTo>
                      <a:pt x="759" y="179"/>
                    </a:lnTo>
                    <a:lnTo>
                      <a:pt x="759" y="177"/>
                    </a:lnTo>
                    <a:lnTo>
                      <a:pt x="759" y="175"/>
                    </a:lnTo>
                    <a:lnTo>
                      <a:pt x="759" y="175"/>
                    </a:lnTo>
                    <a:lnTo>
                      <a:pt x="757" y="175"/>
                    </a:lnTo>
                    <a:lnTo>
                      <a:pt x="757" y="173"/>
                    </a:lnTo>
                    <a:lnTo>
                      <a:pt x="751" y="172"/>
                    </a:lnTo>
                    <a:lnTo>
                      <a:pt x="749" y="172"/>
                    </a:lnTo>
                    <a:lnTo>
                      <a:pt x="747" y="166"/>
                    </a:lnTo>
                    <a:lnTo>
                      <a:pt x="744" y="162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2" y="158"/>
                    </a:lnTo>
                    <a:lnTo>
                      <a:pt x="742" y="156"/>
                    </a:lnTo>
                    <a:lnTo>
                      <a:pt x="744" y="156"/>
                    </a:lnTo>
                    <a:lnTo>
                      <a:pt x="744" y="154"/>
                    </a:lnTo>
                    <a:lnTo>
                      <a:pt x="742" y="154"/>
                    </a:lnTo>
                    <a:lnTo>
                      <a:pt x="742" y="153"/>
                    </a:lnTo>
                    <a:lnTo>
                      <a:pt x="742" y="151"/>
                    </a:lnTo>
                    <a:lnTo>
                      <a:pt x="740" y="151"/>
                    </a:lnTo>
                    <a:lnTo>
                      <a:pt x="742" y="149"/>
                    </a:lnTo>
                    <a:lnTo>
                      <a:pt x="742" y="149"/>
                    </a:lnTo>
                    <a:lnTo>
                      <a:pt x="742" y="149"/>
                    </a:lnTo>
                    <a:lnTo>
                      <a:pt x="744" y="149"/>
                    </a:lnTo>
                    <a:lnTo>
                      <a:pt x="744" y="147"/>
                    </a:lnTo>
                    <a:lnTo>
                      <a:pt x="746" y="147"/>
                    </a:lnTo>
                    <a:lnTo>
                      <a:pt x="746" y="147"/>
                    </a:lnTo>
                    <a:lnTo>
                      <a:pt x="746" y="145"/>
                    </a:lnTo>
                    <a:lnTo>
                      <a:pt x="746" y="145"/>
                    </a:lnTo>
                    <a:lnTo>
                      <a:pt x="744" y="143"/>
                    </a:lnTo>
                    <a:lnTo>
                      <a:pt x="744" y="141"/>
                    </a:lnTo>
                    <a:lnTo>
                      <a:pt x="742" y="139"/>
                    </a:lnTo>
                    <a:lnTo>
                      <a:pt x="742" y="137"/>
                    </a:lnTo>
                    <a:lnTo>
                      <a:pt x="742" y="137"/>
                    </a:lnTo>
                    <a:lnTo>
                      <a:pt x="740" y="139"/>
                    </a:lnTo>
                    <a:lnTo>
                      <a:pt x="738" y="139"/>
                    </a:lnTo>
                    <a:lnTo>
                      <a:pt x="738" y="141"/>
                    </a:lnTo>
                    <a:lnTo>
                      <a:pt x="736" y="141"/>
                    </a:lnTo>
                    <a:lnTo>
                      <a:pt x="736" y="141"/>
                    </a:lnTo>
                    <a:lnTo>
                      <a:pt x="734" y="141"/>
                    </a:lnTo>
                    <a:lnTo>
                      <a:pt x="734" y="139"/>
                    </a:lnTo>
                    <a:lnTo>
                      <a:pt x="734" y="137"/>
                    </a:lnTo>
                    <a:lnTo>
                      <a:pt x="734" y="137"/>
                    </a:lnTo>
                    <a:lnTo>
                      <a:pt x="734" y="133"/>
                    </a:lnTo>
                    <a:lnTo>
                      <a:pt x="734" y="133"/>
                    </a:lnTo>
                    <a:lnTo>
                      <a:pt x="734" y="132"/>
                    </a:lnTo>
                    <a:lnTo>
                      <a:pt x="734" y="132"/>
                    </a:lnTo>
                    <a:lnTo>
                      <a:pt x="732" y="132"/>
                    </a:lnTo>
                    <a:lnTo>
                      <a:pt x="728" y="133"/>
                    </a:lnTo>
                    <a:lnTo>
                      <a:pt x="728" y="135"/>
                    </a:lnTo>
                    <a:lnTo>
                      <a:pt x="728" y="135"/>
                    </a:lnTo>
                    <a:lnTo>
                      <a:pt x="726" y="135"/>
                    </a:lnTo>
                    <a:lnTo>
                      <a:pt x="726" y="137"/>
                    </a:lnTo>
                    <a:lnTo>
                      <a:pt x="726" y="137"/>
                    </a:lnTo>
                    <a:lnTo>
                      <a:pt x="725" y="137"/>
                    </a:lnTo>
                    <a:lnTo>
                      <a:pt x="723" y="139"/>
                    </a:lnTo>
                    <a:lnTo>
                      <a:pt x="721" y="137"/>
                    </a:lnTo>
                    <a:lnTo>
                      <a:pt x="719" y="137"/>
                    </a:lnTo>
                    <a:lnTo>
                      <a:pt x="717" y="135"/>
                    </a:lnTo>
                    <a:lnTo>
                      <a:pt x="717" y="135"/>
                    </a:lnTo>
                    <a:lnTo>
                      <a:pt x="715" y="135"/>
                    </a:lnTo>
                    <a:lnTo>
                      <a:pt x="713" y="137"/>
                    </a:lnTo>
                    <a:lnTo>
                      <a:pt x="713" y="139"/>
                    </a:lnTo>
                    <a:lnTo>
                      <a:pt x="709" y="139"/>
                    </a:lnTo>
                    <a:lnTo>
                      <a:pt x="709" y="139"/>
                    </a:lnTo>
                    <a:lnTo>
                      <a:pt x="707" y="141"/>
                    </a:lnTo>
                    <a:lnTo>
                      <a:pt x="705" y="141"/>
                    </a:lnTo>
                    <a:lnTo>
                      <a:pt x="705" y="141"/>
                    </a:lnTo>
                    <a:lnTo>
                      <a:pt x="704" y="141"/>
                    </a:lnTo>
                    <a:lnTo>
                      <a:pt x="702" y="139"/>
                    </a:lnTo>
                    <a:lnTo>
                      <a:pt x="702" y="139"/>
                    </a:lnTo>
                    <a:lnTo>
                      <a:pt x="700" y="135"/>
                    </a:lnTo>
                    <a:lnTo>
                      <a:pt x="700" y="135"/>
                    </a:lnTo>
                    <a:lnTo>
                      <a:pt x="698" y="133"/>
                    </a:lnTo>
                    <a:lnTo>
                      <a:pt x="698" y="133"/>
                    </a:lnTo>
                    <a:lnTo>
                      <a:pt x="696" y="133"/>
                    </a:lnTo>
                    <a:lnTo>
                      <a:pt x="694" y="133"/>
                    </a:lnTo>
                    <a:lnTo>
                      <a:pt x="692" y="135"/>
                    </a:lnTo>
                    <a:lnTo>
                      <a:pt x="692" y="133"/>
                    </a:lnTo>
                    <a:lnTo>
                      <a:pt x="690" y="133"/>
                    </a:lnTo>
                    <a:lnTo>
                      <a:pt x="690" y="133"/>
                    </a:lnTo>
                    <a:lnTo>
                      <a:pt x="688" y="133"/>
                    </a:lnTo>
                    <a:lnTo>
                      <a:pt x="688" y="132"/>
                    </a:lnTo>
                    <a:lnTo>
                      <a:pt x="686" y="128"/>
                    </a:lnTo>
                    <a:lnTo>
                      <a:pt x="684" y="126"/>
                    </a:lnTo>
                    <a:lnTo>
                      <a:pt x="684" y="124"/>
                    </a:lnTo>
                    <a:lnTo>
                      <a:pt x="684" y="124"/>
                    </a:lnTo>
                    <a:lnTo>
                      <a:pt x="684" y="122"/>
                    </a:lnTo>
                    <a:lnTo>
                      <a:pt x="683" y="120"/>
                    </a:lnTo>
                    <a:lnTo>
                      <a:pt x="681" y="120"/>
                    </a:lnTo>
                    <a:lnTo>
                      <a:pt x="679" y="118"/>
                    </a:lnTo>
                    <a:lnTo>
                      <a:pt x="677" y="118"/>
                    </a:lnTo>
                    <a:lnTo>
                      <a:pt x="675" y="118"/>
                    </a:lnTo>
                    <a:lnTo>
                      <a:pt x="673" y="116"/>
                    </a:lnTo>
                    <a:lnTo>
                      <a:pt x="673" y="116"/>
                    </a:lnTo>
                    <a:lnTo>
                      <a:pt x="671" y="116"/>
                    </a:lnTo>
                    <a:lnTo>
                      <a:pt x="669" y="118"/>
                    </a:lnTo>
                    <a:lnTo>
                      <a:pt x="667" y="118"/>
                    </a:lnTo>
                    <a:lnTo>
                      <a:pt x="667" y="120"/>
                    </a:lnTo>
                    <a:lnTo>
                      <a:pt x="665" y="122"/>
                    </a:lnTo>
                    <a:lnTo>
                      <a:pt x="664" y="122"/>
                    </a:lnTo>
                    <a:lnTo>
                      <a:pt x="664" y="122"/>
                    </a:lnTo>
                    <a:lnTo>
                      <a:pt x="662" y="122"/>
                    </a:lnTo>
                    <a:lnTo>
                      <a:pt x="658" y="122"/>
                    </a:lnTo>
                    <a:lnTo>
                      <a:pt x="656" y="122"/>
                    </a:lnTo>
                    <a:lnTo>
                      <a:pt x="652" y="122"/>
                    </a:lnTo>
                    <a:lnTo>
                      <a:pt x="650" y="122"/>
                    </a:lnTo>
                    <a:lnTo>
                      <a:pt x="650" y="122"/>
                    </a:lnTo>
                    <a:lnTo>
                      <a:pt x="650" y="122"/>
                    </a:lnTo>
                    <a:lnTo>
                      <a:pt x="648" y="124"/>
                    </a:lnTo>
                    <a:lnTo>
                      <a:pt x="648" y="124"/>
                    </a:lnTo>
                    <a:lnTo>
                      <a:pt x="648" y="126"/>
                    </a:lnTo>
                    <a:lnTo>
                      <a:pt x="648" y="126"/>
                    </a:lnTo>
                    <a:lnTo>
                      <a:pt x="646" y="128"/>
                    </a:lnTo>
                    <a:lnTo>
                      <a:pt x="646" y="128"/>
                    </a:lnTo>
                    <a:lnTo>
                      <a:pt x="644" y="126"/>
                    </a:lnTo>
                    <a:lnTo>
                      <a:pt x="644" y="126"/>
                    </a:lnTo>
                    <a:lnTo>
                      <a:pt x="643" y="124"/>
                    </a:lnTo>
                    <a:lnTo>
                      <a:pt x="643" y="122"/>
                    </a:lnTo>
                    <a:lnTo>
                      <a:pt x="641" y="120"/>
                    </a:lnTo>
                    <a:lnTo>
                      <a:pt x="639" y="118"/>
                    </a:lnTo>
                    <a:lnTo>
                      <a:pt x="639" y="116"/>
                    </a:lnTo>
                    <a:lnTo>
                      <a:pt x="637" y="114"/>
                    </a:lnTo>
                    <a:lnTo>
                      <a:pt x="637" y="113"/>
                    </a:lnTo>
                    <a:lnTo>
                      <a:pt x="635" y="113"/>
                    </a:lnTo>
                    <a:lnTo>
                      <a:pt x="635" y="111"/>
                    </a:lnTo>
                    <a:lnTo>
                      <a:pt x="635" y="111"/>
                    </a:lnTo>
                    <a:lnTo>
                      <a:pt x="637" y="109"/>
                    </a:lnTo>
                    <a:lnTo>
                      <a:pt x="637" y="107"/>
                    </a:lnTo>
                    <a:lnTo>
                      <a:pt x="639" y="107"/>
                    </a:lnTo>
                    <a:lnTo>
                      <a:pt x="641" y="107"/>
                    </a:lnTo>
                    <a:lnTo>
                      <a:pt x="643" y="107"/>
                    </a:lnTo>
                    <a:lnTo>
                      <a:pt x="644" y="107"/>
                    </a:lnTo>
                    <a:lnTo>
                      <a:pt x="644" y="107"/>
                    </a:lnTo>
                    <a:lnTo>
                      <a:pt x="644" y="105"/>
                    </a:lnTo>
                    <a:lnTo>
                      <a:pt x="644" y="99"/>
                    </a:lnTo>
                    <a:lnTo>
                      <a:pt x="644" y="99"/>
                    </a:lnTo>
                    <a:lnTo>
                      <a:pt x="644" y="97"/>
                    </a:lnTo>
                    <a:lnTo>
                      <a:pt x="641" y="94"/>
                    </a:lnTo>
                    <a:lnTo>
                      <a:pt x="641" y="92"/>
                    </a:lnTo>
                    <a:lnTo>
                      <a:pt x="641" y="90"/>
                    </a:lnTo>
                    <a:lnTo>
                      <a:pt x="641" y="78"/>
                    </a:lnTo>
                    <a:lnTo>
                      <a:pt x="643" y="75"/>
                    </a:lnTo>
                    <a:lnTo>
                      <a:pt x="644" y="71"/>
                    </a:lnTo>
                    <a:lnTo>
                      <a:pt x="644" y="69"/>
                    </a:lnTo>
                    <a:lnTo>
                      <a:pt x="644" y="67"/>
                    </a:lnTo>
                    <a:lnTo>
                      <a:pt x="643" y="65"/>
                    </a:lnTo>
                    <a:lnTo>
                      <a:pt x="643" y="65"/>
                    </a:lnTo>
                    <a:lnTo>
                      <a:pt x="641" y="63"/>
                    </a:lnTo>
                    <a:lnTo>
                      <a:pt x="641" y="65"/>
                    </a:lnTo>
                    <a:lnTo>
                      <a:pt x="641" y="65"/>
                    </a:lnTo>
                    <a:lnTo>
                      <a:pt x="639" y="65"/>
                    </a:lnTo>
                    <a:lnTo>
                      <a:pt x="639" y="65"/>
                    </a:lnTo>
                    <a:lnTo>
                      <a:pt x="639" y="67"/>
                    </a:lnTo>
                    <a:lnTo>
                      <a:pt x="637" y="67"/>
                    </a:lnTo>
                    <a:lnTo>
                      <a:pt x="635" y="67"/>
                    </a:lnTo>
                    <a:lnTo>
                      <a:pt x="635" y="67"/>
                    </a:lnTo>
                    <a:lnTo>
                      <a:pt x="633" y="69"/>
                    </a:lnTo>
                    <a:lnTo>
                      <a:pt x="633" y="69"/>
                    </a:lnTo>
                    <a:lnTo>
                      <a:pt x="631" y="69"/>
                    </a:lnTo>
                    <a:lnTo>
                      <a:pt x="631" y="69"/>
                    </a:lnTo>
                    <a:lnTo>
                      <a:pt x="629" y="69"/>
                    </a:lnTo>
                    <a:lnTo>
                      <a:pt x="627" y="69"/>
                    </a:lnTo>
                    <a:lnTo>
                      <a:pt x="627" y="67"/>
                    </a:lnTo>
                    <a:lnTo>
                      <a:pt x="625" y="67"/>
                    </a:lnTo>
                    <a:lnTo>
                      <a:pt x="625" y="65"/>
                    </a:lnTo>
                    <a:lnTo>
                      <a:pt x="625" y="63"/>
                    </a:lnTo>
                    <a:lnTo>
                      <a:pt x="627" y="59"/>
                    </a:lnTo>
                    <a:lnTo>
                      <a:pt x="627" y="57"/>
                    </a:lnTo>
                    <a:lnTo>
                      <a:pt x="629" y="55"/>
                    </a:lnTo>
                    <a:lnTo>
                      <a:pt x="629" y="55"/>
                    </a:lnTo>
                    <a:lnTo>
                      <a:pt x="629" y="55"/>
                    </a:lnTo>
                    <a:lnTo>
                      <a:pt x="633" y="54"/>
                    </a:lnTo>
                    <a:lnTo>
                      <a:pt x="635" y="54"/>
                    </a:lnTo>
                    <a:lnTo>
                      <a:pt x="637" y="52"/>
                    </a:lnTo>
                    <a:lnTo>
                      <a:pt x="637" y="52"/>
                    </a:lnTo>
                    <a:lnTo>
                      <a:pt x="637" y="50"/>
                    </a:lnTo>
                    <a:lnTo>
                      <a:pt x="637" y="48"/>
                    </a:lnTo>
                    <a:lnTo>
                      <a:pt x="637" y="46"/>
                    </a:lnTo>
                    <a:lnTo>
                      <a:pt x="635" y="46"/>
                    </a:lnTo>
                    <a:lnTo>
                      <a:pt x="635" y="44"/>
                    </a:lnTo>
                    <a:lnTo>
                      <a:pt x="633" y="44"/>
                    </a:lnTo>
                    <a:lnTo>
                      <a:pt x="633" y="42"/>
                    </a:lnTo>
                    <a:lnTo>
                      <a:pt x="633" y="38"/>
                    </a:lnTo>
                    <a:lnTo>
                      <a:pt x="616" y="36"/>
                    </a:lnTo>
                    <a:lnTo>
                      <a:pt x="604" y="36"/>
                    </a:lnTo>
                    <a:lnTo>
                      <a:pt x="557" y="35"/>
                    </a:lnTo>
                    <a:lnTo>
                      <a:pt x="553" y="33"/>
                    </a:lnTo>
                    <a:lnTo>
                      <a:pt x="553" y="31"/>
                    </a:lnTo>
                    <a:lnTo>
                      <a:pt x="553" y="31"/>
                    </a:lnTo>
                    <a:lnTo>
                      <a:pt x="553" y="29"/>
                    </a:lnTo>
                    <a:lnTo>
                      <a:pt x="555" y="25"/>
                    </a:lnTo>
                    <a:lnTo>
                      <a:pt x="564" y="12"/>
                    </a:lnTo>
                    <a:lnTo>
                      <a:pt x="564" y="10"/>
                    </a:lnTo>
                    <a:lnTo>
                      <a:pt x="564" y="8"/>
                    </a:lnTo>
                    <a:lnTo>
                      <a:pt x="564" y="4"/>
                    </a:lnTo>
                    <a:lnTo>
                      <a:pt x="564" y="2"/>
                    </a:lnTo>
                    <a:lnTo>
                      <a:pt x="561" y="0"/>
                    </a:lnTo>
                    <a:lnTo>
                      <a:pt x="561" y="4"/>
                    </a:lnTo>
                    <a:lnTo>
                      <a:pt x="540" y="21"/>
                    </a:lnTo>
                    <a:lnTo>
                      <a:pt x="536" y="23"/>
                    </a:lnTo>
                    <a:lnTo>
                      <a:pt x="513" y="29"/>
                    </a:lnTo>
                    <a:lnTo>
                      <a:pt x="490" y="38"/>
                    </a:lnTo>
                    <a:lnTo>
                      <a:pt x="488" y="42"/>
                    </a:lnTo>
                    <a:lnTo>
                      <a:pt x="484" y="59"/>
                    </a:lnTo>
                    <a:lnTo>
                      <a:pt x="479" y="76"/>
                    </a:lnTo>
                    <a:lnTo>
                      <a:pt x="471" y="97"/>
                    </a:lnTo>
                    <a:lnTo>
                      <a:pt x="465" y="111"/>
                    </a:lnTo>
                    <a:lnTo>
                      <a:pt x="459" y="122"/>
                    </a:lnTo>
                    <a:lnTo>
                      <a:pt x="448" y="141"/>
                    </a:lnTo>
                    <a:lnTo>
                      <a:pt x="440" y="153"/>
                    </a:lnTo>
                    <a:lnTo>
                      <a:pt x="438" y="158"/>
                    </a:lnTo>
                    <a:lnTo>
                      <a:pt x="435" y="168"/>
                    </a:lnTo>
                    <a:lnTo>
                      <a:pt x="433" y="170"/>
                    </a:lnTo>
                    <a:lnTo>
                      <a:pt x="431" y="172"/>
                    </a:lnTo>
                    <a:lnTo>
                      <a:pt x="414" y="179"/>
                    </a:lnTo>
                    <a:lnTo>
                      <a:pt x="400" y="187"/>
                    </a:lnTo>
                    <a:lnTo>
                      <a:pt x="383" y="196"/>
                    </a:lnTo>
                    <a:lnTo>
                      <a:pt x="364" y="206"/>
                    </a:lnTo>
                    <a:lnTo>
                      <a:pt x="362" y="208"/>
                    </a:lnTo>
                    <a:lnTo>
                      <a:pt x="353" y="219"/>
                    </a:lnTo>
                    <a:lnTo>
                      <a:pt x="349" y="225"/>
                    </a:lnTo>
                    <a:lnTo>
                      <a:pt x="341" y="253"/>
                    </a:lnTo>
                    <a:lnTo>
                      <a:pt x="339" y="261"/>
                    </a:lnTo>
                    <a:lnTo>
                      <a:pt x="336" y="267"/>
                    </a:lnTo>
                    <a:lnTo>
                      <a:pt x="332" y="272"/>
                    </a:lnTo>
                    <a:lnTo>
                      <a:pt x="316" y="284"/>
                    </a:lnTo>
                    <a:lnTo>
                      <a:pt x="305" y="297"/>
                    </a:lnTo>
                    <a:lnTo>
                      <a:pt x="305" y="301"/>
                    </a:lnTo>
                    <a:lnTo>
                      <a:pt x="303" y="303"/>
                    </a:lnTo>
                    <a:lnTo>
                      <a:pt x="301" y="320"/>
                    </a:lnTo>
                    <a:lnTo>
                      <a:pt x="301" y="322"/>
                    </a:lnTo>
                    <a:lnTo>
                      <a:pt x="299" y="324"/>
                    </a:lnTo>
                    <a:lnTo>
                      <a:pt x="280" y="329"/>
                    </a:lnTo>
                    <a:lnTo>
                      <a:pt x="261" y="335"/>
                    </a:lnTo>
                    <a:lnTo>
                      <a:pt x="252" y="337"/>
                    </a:lnTo>
                    <a:lnTo>
                      <a:pt x="242" y="335"/>
                    </a:lnTo>
                    <a:lnTo>
                      <a:pt x="231" y="337"/>
                    </a:lnTo>
                    <a:lnTo>
                      <a:pt x="219" y="339"/>
                    </a:lnTo>
                    <a:lnTo>
                      <a:pt x="210" y="343"/>
                    </a:lnTo>
                    <a:lnTo>
                      <a:pt x="194" y="350"/>
                    </a:lnTo>
                    <a:lnTo>
                      <a:pt x="181" y="356"/>
                    </a:lnTo>
                    <a:lnTo>
                      <a:pt x="170" y="360"/>
                    </a:lnTo>
                    <a:lnTo>
                      <a:pt x="162" y="358"/>
                    </a:lnTo>
                    <a:lnTo>
                      <a:pt x="154" y="354"/>
                    </a:lnTo>
                    <a:lnTo>
                      <a:pt x="151" y="347"/>
                    </a:lnTo>
                    <a:lnTo>
                      <a:pt x="147" y="337"/>
                    </a:lnTo>
                    <a:lnTo>
                      <a:pt x="147" y="335"/>
                    </a:lnTo>
                    <a:lnTo>
                      <a:pt x="147" y="329"/>
                    </a:lnTo>
                    <a:lnTo>
                      <a:pt x="145" y="328"/>
                    </a:lnTo>
                    <a:lnTo>
                      <a:pt x="145" y="326"/>
                    </a:lnTo>
                    <a:lnTo>
                      <a:pt x="141" y="322"/>
                    </a:lnTo>
                    <a:lnTo>
                      <a:pt x="137" y="318"/>
                    </a:lnTo>
                    <a:lnTo>
                      <a:pt x="133" y="314"/>
                    </a:lnTo>
                    <a:lnTo>
                      <a:pt x="130" y="312"/>
                    </a:lnTo>
                    <a:lnTo>
                      <a:pt x="126" y="312"/>
                    </a:lnTo>
                    <a:lnTo>
                      <a:pt x="124" y="310"/>
                    </a:lnTo>
                    <a:lnTo>
                      <a:pt x="122" y="312"/>
                    </a:lnTo>
                    <a:lnTo>
                      <a:pt x="116" y="314"/>
                    </a:lnTo>
                    <a:lnTo>
                      <a:pt x="110" y="314"/>
                    </a:lnTo>
                    <a:lnTo>
                      <a:pt x="109" y="316"/>
                    </a:lnTo>
                    <a:lnTo>
                      <a:pt x="107" y="316"/>
                    </a:lnTo>
                    <a:lnTo>
                      <a:pt x="99" y="326"/>
                    </a:lnTo>
                    <a:lnTo>
                      <a:pt x="91" y="331"/>
                    </a:lnTo>
                    <a:lnTo>
                      <a:pt x="90" y="331"/>
                    </a:lnTo>
                    <a:lnTo>
                      <a:pt x="78" y="343"/>
                    </a:lnTo>
                    <a:lnTo>
                      <a:pt x="78" y="347"/>
                    </a:lnTo>
                    <a:lnTo>
                      <a:pt x="69" y="373"/>
                    </a:lnTo>
                    <a:lnTo>
                      <a:pt x="65" y="377"/>
                    </a:lnTo>
                    <a:lnTo>
                      <a:pt x="55" y="388"/>
                    </a:lnTo>
                    <a:lnTo>
                      <a:pt x="48" y="400"/>
                    </a:lnTo>
                    <a:lnTo>
                      <a:pt x="32" y="415"/>
                    </a:lnTo>
                    <a:lnTo>
                      <a:pt x="25" y="421"/>
                    </a:lnTo>
                    <a:lnTo>
                      <a:pt x="13" y="432"/>
                    </a:lnTo>
                    <a:lnTo>
                      <a:pt x="8" y="440"/>
                    </a:lnTo>
                    <a:lnTo>
                      <a:pt x="4" y="451"/>
                    </a:lnTo>
                    <a:lnTo>
                      <a:pt x="2" y="468"/>
                    </a:lnTo>
                    <a:lnTo>
                      <a:pt x="0" y="485"/>
                    </a:lnTo>
                    <a:lnTo>
                      <a:pt x="0" y="491"/>
                    </a:lnTo>
                    <a:lnTo>
                      <a:pt x="4" y="495"/>
                    </a:lnTo>
                    <a:lnTo>
                      <a:pt x="23" y="503"/>
                    </a:lnTo>
                    <a:lnTo>
                      <a:pt x="29" y="506"/>
                    </a:lnTo>
                    <a:lnTo>
                      <a:pt x="38" y="514"/>
                    </a:lnTo>
                    <a:lnTo>
                      <a:pt x="44" y="518"/>
                    </a:lnTo>
                    <a:lnTo>
                      <a:pt x="72" y="516"/>
                    </a:lnTo>
                    <a:lnTo>
                      <a:pt x="78" y="518"/>
                    </a:lnTo>
                    <a:lnTo>
                      <a:pt x="82" y="520"/>
                    </a:lnTo>
                    <a:lnTo>
                      <a:pt x="86" y="524"/>
                    </a:lnTo>
                    <a:lnTo>
                      <a:pt x="86" y="529"/>
                    </a:lnTo>
                    <a:lnTo>
                      <a:pt x="86" y="541"/>
                    </a:lnTo>
                    <a:lnTo>
                      <a:pt x="86" y="546"/>
                    </a:lnTo>
                    <a:lnTo>
                      <a:pt x="86" y="548"/>
                    </a:lnTo>
                    <a:lnTo>
                      <a:pt x="84" y="552"/>
                    </a:lnTo>
                    <a:lnTo>
                      <a:pt x="84" y="554"/>
                    </a:lnTo>
                    <a:lnTo>
                      <a:pt x="84" y="558"/>
                    </a:lnTo>
                    <a:lnTo>
                      <a:pt x="86" y="562"/>
                    </a:lnTo>
                    <a:lnTo>
                      <a:pt x="84" y="567"/>
                    </a:lnTo>
                    <a:lnTo>
                      <a:pt x="82" y="573"/>
                    </a:lnTo>
                    <a:lnTo>
                      <a:pt x="76" y="584"/>
                    </a:lnTo>
                    <a:lnTo>
                      <a:pt x="76" y="586"/>
                    </a:lnTo>
                    <a:lnTo>
                      <a:pt x="76" y="592"/>
                    </a:lnTo>
                    <a:lnTo>
                      <a:pt x="74" y="598"/>
                    </a:lnTo>
                    <a:lnTo>
                      <a:pt x="74" y="602"/>
                    </a:lnTo>
                    <a:lnTo>
                      <a:pt x="76" y="607"/>
                    </a:lnTo>
                    <a:lnTo>
                      <a:pt x="80" y="615"/>
                    </a:lnTo>
                    <a:lnTo>
                      <a:pt x="86" y="621"/>
                    </a:lnTo>
                    <a:lnTo>
                      <a:pt x="91" y="624"/>
                    </a:lnTo>
                    <a:lnTo>
                      <a:pt x="93" y="628"/>
                    </a:lnTo>
                    <a:lnTo>
                      <a:pt x="95" y="636"/>
                    </a:lnTo>
                    <a:lnTo>
                      <a:pt x="97" y="638"/>
                    </a:lnTo>
                    <a:lnTo>
                      <a:pt x="99" y="640"/>
                    </a:lnTo>
                    <a:lnTo>
                      <a:pt x="105" y="641"/>
                    </a:lnTo>
                    <a:lnTo>
                      <a:pt x="110" y="643"/>
                    </a:lnTo>
                    <a:lnTo>
                      <a:pt x="126" y="643"/>
                    </a:lnTo>
                    <a:lnTo>
                      <a:pt x="131" y="641"/>
                    </a:lnTo>
                    <a:lnTo>
                      <a:pt x="135" y="640"/>
                    </a:lnTo>
                    <a:lnTo>
                      <a:pt x="141" y="638"/>
                    </a:lnTo>
                    <a:lnTo>
                      <a:pt x="145" y="640"/>
                    </a:lnTo>
                    <a:lnTo>
                      <a:pt x="149" y="643"/>
                    </a:lnTo>
                    <a:lnTo>
                      <a:pt x="149" y="649"/>
                    </a:lnTo>
                    <a:lnTo>
                      <a:pt x="149" y="661"/>
                    </a:lnTo>
                    <a:lnTo>
                      <a:pt x="147" y="678"/>
                    </a:lnTo>
                    <a:lnTo>
                      <a:pt x="149" y="681"/>
                    </a:lnTo>
                    <a:lnTo>
                      <a:pt x="151" y="685"/>
                    </a:lnTo>
                    <a:lnTo>
                      <a:pt x="154" y="691"/>
                    </a:lnTo>
                    <a:lnTo>
                      <a:pt x="156" y="693"/>
                    </a:lnTo>
                    <a:lnTo>
                      <a:pt x="156" y="697"/>
                    </a:lnTo>
                    <a:lnTo>
                      <a:pt x="158" y="700"/>
                    </a:lnTo>
                    <a:lnTo>
                      <a:pt x="162" y="704"/>
                    </a:lnTo>
                    <a:lnTo>
                      <a:pt x="170" y="712"/>
                    </a:lnTo>
                    <a:lnTo>
                      <a:pt x="173" y="714"/>
                    </a:lnTo>
                    <a:lnTo>
                      <a:pt x="173" y="718"/>
                    </a:lnTo>
                    <a:lnTo>
                      <a:pt x="179" y="737"/>
                    </a:lnTo>
                    <a:lnTo>
                      <a:pt x="181" y="744"/>
                    </a:lnTo>
                    <a:lnTo>
                      <a:pt x="185" y="752"/>
                    </a:lnTo>
                    <a:lnTo>
                      <a:pt x="192" y="763"/>
                    </a:lnTo>
                    <a:lnTo>
                      <a:pt x="196" y="775"/>
                    </a:lnTo>
                    <a:lnTo>
                      <a:pt x="198" y="778"/>
                    </a:lnTo>
                    <a:lnTo>
                      <a:pt x="202" y="780"/>
                    </a:lnTo>
                    <a:lnTo>
                      <a:pt x="208" y="784"/>
                    </a:lnTo>
                    <a:lnTo>
                      <a:pt x="219" y="786"/>
                    </a:lnTo>
                    <a:lnTo>
                      <a:pt x="221" y="786"/>
                    </a:lnTo>
                    <a:lnTo>
                      <a:pt x="223" y="786"/>
                    </a:lnTo>
                    <a:lnTo>
                      <a:pt x="225" y="786"/>
                    </a:lnTo>
                    <a:lnTo>
                      <a:pt x="227" y="784"/>
                    </a:lnTo>
                    <a:lnTo>
                      <a:pt x="229" y="784"/>
                    </a:lnTo>
                    <a:lnTo>
                      <a:pt x="233" y="782"/>
                    </a:lnTo>
                    <a:lnTo>
                      <a:pt x="234" y="784"/>
                    </a:lnTo>
                    <a:lnTo>
                      <a:pt x="236" y="784"/>
                    </a:lnTo>
                    <a:lnTo>
                      <a:pt x="238" y="786"/>
                    </a:lnTo>
                    <a:lnTo>
                      <a:pt x="240" y="784"/>
                    </a:lnTo>
                    <a:lnTo>
                      <a:pt x="242" y="784"/>
                    </a:lnTo>
                    <a:lnTo>
                      <a:pt x="246" y="780"/>
                    </a:lnTo>
                    <a:lnTo>
                      <a:pt x="248" y="780"/>
                    </a:lnTo>
                    <a:lnTo>
                      <a:pt x="250" y="780"/>
                    </a:lnTo>
                    <a:lnTo>
                      <a:pt x="259" y="780"/>
                    </a:lnTo>
                    <a:lnTo>
                      <a:pt x="263" y="780"/>
                    </a:lnTo>
                    <a:lnTo>
                      <a:pt x="265" y="780"/>
                    </a:lnTo>
                    <a:lnTo>
                      <a:pt x="269" y="782"/>
                    </a:lnTo>
                    <a:lnTo>
                      <a:pt x="269" y="782"/>
                    </a:lnTo>
                    <a:lnTo>
                      <a:pt x="271" y="784"/>
                    </a:lnTo>
                    <a:lnTo>
                      <a:pt x="273" y="784"/>
                    </a:lnTo>
                    <a:lnTo>
                      <a:pt x="286" y="780"/>
                    </a:lnTo>
                    <a:lnTo>
                      <a:pt x="288" y="780"/>
                    </a:lnTo>
                    <a:lnTo>
                      <a:pt x="288" y="782"/>
                    </a:lnTo>
                    <a:lnTo>
                      <a:pt x="288" y="784"/>
                    </a:lnTo>
                    <a:lnTo>
                      <a:pt x="290" y="784"/>
                    </a:lnTo>
                    <a:lnTo>
                      <a:pt x="290" y="786"/>
                    </a:lnTo>
                    <a:lnTo>
                      <a:pt x="294" y="786"/>
                    </a:lnTo>
                    <a:lnTo>
                      <a:pt x="295" y="786"/>
                    </a:lnTo>
                    <a:lnTo>
                      <a:pt x="295" y="786"/>
                    </a:lnTo>
                    <a:lnTo>
                      <a:pt x="295" y="786"/>
                    </a:lnTo>
                    <a:lnTo>
                      <a:pt x="295" y="784"/>
                    </a:lnTo>
                    <a:lnTo>
                      <a:pt x="295" y="782"/>
                    </a:lnTo>
                    <a:lnTo>
                      <a:pt x="295" y="782"/>
                    </a:lnTo>
                    <a:lnTo>
                      <a:pt x="297" y="780"/>
                    </a:lnTo>
                    <a:lnTo>
                      <a:pt x="299" y="780"/>
                    </a:lnTo>
                    <a:lnTo>
                      <a:pt x="301" y="780"/>
                    </a:lnTo>
                    <a:lnTo>
                      <a:pt x="301" y="780"/>
                    </a:lnTo>
                    <a:lnTo>
                      <a:pt x="303" y="780"/>
                    </a:lnTo>
                    <a:lnTo>
                      <a:pt x="303" y="782"/>
                    </a:lnTo>
                    <a:lnTo>
                      <a:pt x="305" y="784"/>
                    </a:lnTo>
                    <a:lnTo>
                      <a:pt x="307" y="784"/>
                    </a:lnTo>
                    <a:lnTo>
                      <a:pt x="309" y="784"/>
                    </a:lnTo>
                    <a:lnTo>
                      <a:pt x="311" y="782"/>
                    </a:lnTo>
                    <a:lnTo>
                      <a:pt x="313" y="782"/>
                    </a:lnTo>
                    <a:lnTo>
                      <a:pt x="315" y="780"/>
                    </a:lnTo>
                    <a:lnTo>
                      <a:pt x="315" y="778"/>
                    </a:lnTo>
                    <a:lnTo>
                      <a:pt x="315" y="778"/>
                    </a:lnTo>
                    <a:lnTo>
                      <a:pt x="322" y="777"/>
                    </a:lnTo>
                    <a:lnTo>
                      <a:pt x="324" y="777"/>
                    </a:lnTo>
                    <a:lnTo>
                      <a:pt x="324" y="778"/>
                    </a:lnTo>
                    <a:lnTo>
                      <a:pt x="326" y="778"/>
                    </a:lnTo>
                    <a:lnTo>
                      <a:pt x="328" y="782"/>
                    </a:lnTo>
                    <a:lnTo>
                      <a:pt x="330" y="784"/>
                    </a:lnTo>
                    <a:lnTo>
                      <a:pt x="339" y="788"/>
                    </a:lnTo>
                    <a:lnTo>
                      <a:pt x="343" y="788"/>
                    </a:lnTo>
                    <a:lnTo>
                      <a:pt x="351" y="786"/>
                    </a:lnTo>
                    <a:lnTo>
                      <a:pt x="355" y="786"/>
                    </a:lnTo>
                    <a:lnTo>
                      <a:pt x="356" y="786"/>
                    </a:lnTo>
                    <a:lnTo>
                      <a:pt x="358" y="786"/>
                    </a:lnTo>
                    <a:lnTo>
                      <a:pt x="358" y="786"/>
                    </a:lnTo>
                    <a:lnTo>
                      <a:pt x="358" y="788"/>
                    </a:lnTo>
                    <a:lnTo>
                      <a:pt x="358" y="788"/>
                    </a:lnTo>
                    <a:lnTo>
                      <a:pt x="358" y="790"/>
                    </a:lnTo>
                    <a:lnTo>
                      <a:pt x="356" y="790"/>
                    </a:lnTo>
                    <a:lnTo>
                      <a:pt x="356" y="790"/>
                    </a:lnTo>
                    <a:lnTo>
                      <a:pt x="351" y="790"/>
                    </a:lnTo>
                    <a:lnTo>
                      <a:pt x="349" y="792"/>
                    </a:lnTo>
                    <a:lnTo>
                      <a:pt x="349" y="792"/>
                    </a:lnTo>
                    <a:lnTo>
                      <a:pt x="349" y="792"/>
                    </a:lnTo>
                    <a:lnTo>
                      <a:pt x="349" y="794"/>
                    </a:lnTo>
                    <a:lnTo>
                      <a:pt x="349" y="794"/>
                    </a:lnTo>
                    <a:lnTo>
                      <a:pt x="351" y="796"/>
                    </a:lnTo>
                    <a:lnTo>
                      <a:pt x="353" y="798"/>
                    </a:lnTo>
                    <a:lnTo>
                      <a:pt x="355" y="798"/>
                    </a:lnTo>
                    <a:lnTo>
                      <a:pt x="356" y="798"/>
                    </a:lnTo>
                    <a:lnTo>
                      <a:pt x="358" y="798"/>
                    </a:lnTo>
                    <a:lnTo>
                      <a:pt x="360" y="798"/>
                    </a:lnTo>
                    <a:lnTo>
                      <a:pt x="360" y="799"/>
                    </a:lnTo>
                    <a:lnTo>
                      <a:pt x="360" y="799"/>
                    </a:lnTo>
                    <a:lnTo>
                      <a:pt x="360" y="801"/>
                    </a:lnTo>
                    <a:lnTo>
                      <a:pt x="362" y="801"/>
                    </a:lnTo>
                    <a:lnTo>
                      <a:pt x="362" y="803"/>
                    </a:lnTo>
                    <a:lnTo>
                      <a:pt x="364" y="803"/>
                    </a:lnTo>
                    <a:lnTo>
                      <a:pt x="366" y="801"/>
                    </a:lnTo>
                    <a:lnTo>
                      <a:pt x="366" y="801"/>
                    </a:lnTo>
                    <a:lnTo>
                      <a:pt x="370" y="803"/>
                    </a:lnTo>
                    <a:lnTo>
                      <a:pt x="370" y="803"/>
                    </a:lnTo>
                    <a:lnTo>
                      <a:pt x="370" y="805"/>
                    </a:lnTo>
                    <a:lnTo>
                      <a:pt x="370" y="805"/>
                    </a:lnTo>
                    <a:lnTo>
                      <a:pt x="370" y="805"/>
                    </a:lnTo>
                    <a:lnTo>
                      <a:pt x="370" y="807"/>
                    </a:lnTo>
                    <a:lnTo>
                      <a:pt x="370" y="809"/>
                    </a:lnTo>
                    <a:lnTo>
                      <a:pt x="372" y="811"/>
                    </a:lnTo>
                    <a:lnTo>
                      <a:pt x="372" y="813"/>
                    </a:lnTo>
                    <a:lnTo>
                      <a:pt x="374" y="815"/>
                    </a:lnTo>
                    <a:lnTo>
                      <a:pt x="374" y="815"/>
                    </a:lnTo>
                    <a:lnTo>
                      <a:pt x="376" y="815"/>
                    </a:lnTo>
                    <a:lnTo>
                      <a:pt x="376" y="815"/>
                    </a:lnTo>
                    <a:lnTo>
                      <a:pt x="377" y="815"/>
                    </a:lnTo>
                    <a:lnTo>
                      <a:pt x="377" y="815"/>
                    </a:lnTo>
                    <a:lnTo>
                      <a:pt x="377" y="815"/>
                    </a:lnTo>
                    <a:lnTo>
                      <a:pt x="377" y="813"/>
                    </a:lnTo>
                    <a:lnTo>
                      <a:pt x="379" y="805"/>
                    </a:lnTo>
                    <a:lnTo>
                      <a:pt x="379" y="805"/>
                    </a:lnTo>
                    <a:lnTo>
                      <a:pt x="381" y="805"/>
                    </a:lnTo>
                    <a:lnTo>
                      <a:pt x="381" y="805"/>
                    </a:lnTo>
                    <a:lnTo>
                      <a:pt x="381" y="805"/>
                    </a:lnTo>
                    <a:lnTo>
                      <a:pt x="383" y="803"/>
                    </a:lnTo>
                    <a:lnTo>
                      <a:pt x="385" y="803"/>
                    </a:lnTo>
                    <a:lnTo>
                      <a:pt x="387" y="805"/>
                    </a:lnTo>
                    <a:lnTo>
                      <a:pt x="393" y="809"/>
                    </a:lnTo>
                    <a:lnTo>
                      <a:pt x="395" y="809"/>
                    </a:lnTo>
                    <a:lnTo>
                      <a:pt x="397" y="809"/>
                    </a:lnTo>
                    <a:lnTo>
                      <a:pt x="398" y="809"/>
                    </a:lnTo>
                    <a:lnTo>
                      <a:pt x="400" y="811"/>
                    </a:lnTo>
                    <a:lnTo>
                      <a:pt x="400" y="811"/>
                    </a:lnTo>
                    <a:lnTo>
                      <a:pt x="402" y="813"/>
                    </a:lnTo>
                    <a:lnTo>
                      <a:pt x="402" y="813"/>
                    </a:lnTo>
                    <a:lnTo>
                      <a:pt x="404" y="817"/>
                    </a:lnTo>
                    <a:lnTo>
                      <a:pt x="404" y="818"/>
                    </a:lnTo>
                    <a:lnTo>
                      <a:pt x="406" y="818"/>
                    </a:lnTo>
                    <a:lnTo>
                      <a:pt x="408" y="820"/>
                    </a:lnTo>
                    <a:lnTo>
                      <a:pt x="410" y="822"/>
                    </a:lnTo>
                    <a:lnTo>
                      <a:pt x="410" y="822"/>
                    </a:lnTo>
                    <a:lnTo>
                      <a:pt x="418" y="822"/>
                    </a:lnTo>
                    <a:lnTo>
                      <a:pt x="421" y="822"/>
                    </a:lnTo>
                    <a:lnTo>
                      <a:pt x="425" y="822"/>
                    </a:lnTo>
                    <a:lnTo>
                      <a:pt x="429" y="824"/>
                    </a:lnTo>
                    <a:lnTo>
                      <a:pt x="431" y="824"/>
                    </a:lnTo>
                    <a:lnTo>
                      <a:pt x="433" y="824"/>
                    </a:lnTo>
                    <a:lnTo>
                      <a:pt x="437" y="822"/>
                    </a:lnTo>
                    <a:lnTo>
                      <a:pt x="437" y="822"/>
                    </a:lnTo>
                    <a:lnTo>
                      <a:pt x="437" y="820"/>
                    </a:lnTo>
                    <a:lnTo>
                      <a:pt x="438" y="820"/>
                    </a:lnTo>
                    <a:lnTo>
                      <a:pt x="438" y="818"/>
                    </a:lnTo>
                    <a:lnTo>
                      <a:pt x="438" y="818"/>
                    </a:lnTo>
                    <a:lnTo>
                      <a:pt x="438" y="817"/>
                    </a:lnTo>
                    <a:lnTo>
                      <a:pt x="438" y="817"/>
                    </a:lnTo>
                    <a:lnTo>
                      <a:pt x="438" y="817"/>
                    </a:lnTo>
                    <a:lnTo>
                      <a:pt x="438" y="815"/>
                    </a:lnTo>
                    <a:lnTo>
                      <a:pt x="438" y="815"/>
                    </a:lnTo>
                    <a:lnTo>
                      <a:pt x="438" y="815"/>
                    </a:lnTo>
                    <a:lnTo>
                      <a:pt x="438" y="813"/>
                    </a:lnTo>
                    <a:lnTo>
                      <a:pt x="438" y="811"/>
                    </a:lnTo>
                    <a:lnTo>
                      <a:pt x="438" y="811"/>
                    </a:lnTo>
                    <a:lnTo>
                      <a:pt x="440" y="809"/>
                    </a:lnTo>
                    <a:lnTo>
                      <a:pt x="440" y="809"/>
                    </a:lnTo>
                    <a:lnTo>
                      <a:pt x="442" y="807"/>
                    </a:lnTo>
                    <a:lnTo>
                      <a:pt x="442" y="807"/>
                    </a:lnTo>
                    <a:lnTo>
                      <a:pt x="442" y="807"/>
                    </a:lnTo>
                    <a:lnTo>
                      <a:pt x="444" y="807"/>
                    </a:lnTo>
                    <a:lnTo>
                      <a:pt x="446" y="805"/>
                    </a:lnTo>
                    <a:lnTo>
                      <a:pt x="450" y="805"/>
                    </a:lnTo>
                    <a:lnTo>
                      <a:pt x="452" y="805"/>
                    </a:lnTo>
                    <a:lnTo>
                      <a:pt x="454" y="805"/>
                    </a:lnTo>
                    <a:lnTo>
                      <a:pt x="454" y="805"/>
                    </a:lnTo>
                    <a:lnTo>
                      <a:pt x="454" y="805"/>
                    </a:lnTo>
                    <a:lnTo>
                      <a:pt x="456" y="805"/>
                    </a:lnTo>
                    <a:lnTo>
                      <a:pt x="456" y="807"/>
                    </a:lnTo>
                    <a:lnTo>
                      <a:pt x="456" y="807"/>
                    </a:lnTo>
                    <a:lnTo>
                      <a:pt x="456" y="811"/>
                    </a:lnTo>
                    <a:lnTo>
                      <a:pt x="456" y="813"/>
                    </a:lnTo>
                    <a:lnTo>
                      <a:pt x="454" y="817"/>
                    </a:lnTo>
                    <a:lnTo>
                      <a:pt x="454" y="817"/>
                    </a:lnTo>
                    <a:lnTo>
                      <a:pt x="454" y="818"/>
                    </a:lnTo>
                    <a:lnTo>
                      <a:pt x="456" y="818"/>
                    </a:lnTo>
                    <a:lnTo>
                      <a:pt x="456" y="820"/>
                    </a:lnTo>
                    <a:lnTo>
                      <a:pt x="458" y="820"/>
                    </a:lnTo>
                    <a:lnTo>
                      <a:pt x="463" y="822"/>
                    </a:lnTo>
                    <a:lnTo>
                      <a:pt x="465" y="822"/>
                    </a:lnTo>
                    <a:lnTo>
                      <a:pt x="465" y="822"/>
                    </a:lnTo>
                    <a:lnTo>
                      <a:pt x="465" y="822"/>
                    </a:lnTo>
                    <a:lnTo>
                      <a:pt x="467" y="820"/>
                    </a:lnTo>
                    <a:lnTo>
                      <a:pt x="469" y="820"/>
                    </a:lnTo>
                    <a:lnTo>
                      <a:pt x="469" y="820"/>
                    </a:lnTo>
                    <a:lnTo>
                      <a:pt x="469" y="822"/>
                    </a:lnTo>
                    <a:lnTo>
                      <a:pt x="469" y="824"/>
                    </a:lnTo>
                    <a:lnTo>
                      <a:pt x="469" y="826"/>
                    </a:lnTo>
                    <a:lnTo>
                      <a:pt x="469" y="826"/>
                    </a:lnTo>
                    <a:lnTo>
                      <a:pt x="467" y="828"/>
                    </a:lnTo>
                    <a:lnTo>
                      <a:pt x="467" y="828"/>
                    </a:lnTo>
                    <a:lnTo>
                      <a:pt x="465" y="828"/>
                    </a:lnTo>
                    <a:lnTo>
                      <a:pt x="463" y="828"/>
                    </a:lnTo>
                    <a:lnTo>
                      <a:pt x="461" y="828"/>
                    </a:lnTo>
                    <a:lnTo>
                      <a:pt x="459" y="828"/>
                    </a:lnTo>
                    <a:lnTo>
                      <a:pt x="459" y="828"/>
                    </a:lnTo>
                    <a:lnTo>
                      <a:pt x="459" y="828"/>
                    </a:lnTo>
                    <a:lnTo>
                      <a:pt x="459" y="830"/>
                    </a:lnTo>
                    <a:lnTo>
                      <a:pt x="459" y="832"/>
                    </a:lnTo>
                    <a:lnTo>
                      <a:pt x="458" y="832"/>
                    </a:lnTo>
                    <a:lnTo>
                      <a:pt x="458" y="834"/>
                    </a:lnTo>
                    <a:lnTo>
                      <a:pt x="456" y="834"/>
                    </a:lnTo>
                    <a:lnTo>
                      <a:pt x="452" y="843"/>
                    </a:lnTo>
                    <a:lnTo>
                      <a:pt x="452" y="845"/>
                    </a:lnTo>
                    <a:lnTo>
                      <a:pt x="452" y="847"/>
                    </a:lnTo>
                    <a:lnTo>
                      <a:pt x="454" y="849"/>
                    </a:lnTo>
                    <a:lnTo>
                      <a:pt x="456" y="853"/>
                    </a:lnTo>
                    <a:lnTo>
                      <a:pt x="456" y="855"/>
                    </a:lnTo>
                    <a:lnTo>
                      <a:pt x="458" y="855"/>
                    </a:lnTo>
                    <a:lnTo>
                      <a:pt x="459" y="856"/>
                    </a:lnTo>
                    <a:lnTo>
                      <a:pt x="461" y="856"/>
                    </a:lnTo>
                    <a:lnTo>
                      <a:pt x="463" y="860"/>
                    </a:lnTo>
                    <a:lnTo>
                      <a:pt x="463" y="860"/>
                    </a:lnTo>
                    <a:lnTo>
                      <a:pt x="467" y="862"/>
                    </a:lnTo>
                    <a:lnTo>
                      <a:pt x="467" y="862"/>
                    </a:lnTo>
                    <a:lnTo>
                      <a:pt x="467" y="864"/>
                    </a:lnTo>
                    <a:lnTo>
                      <a:pt x="469" y="866"/>
                    </a:lnTo>
                    <a:lnTo>
                      <a:pt x="469" y="866"/>
                    </a:lnTo>
                    <a:lnTo>
                      <a:pt x="471" y="870"/>
                    </a:lnTo>
                    <a:lnTo>
                      <a:pt x="473" y="872"/>
                    </a:lnTo>
                    <a:lnTo>
                      <a:pt x="475" y="872"/>
                    </a:lnTo>
                    <a:lnTo>
                      <a:pt x="479" y="868"/>
                    </a:lnTo>
                    <a:lnTo>
                      <a:pt x="480" y="868"/>
                    </a:lnTo>
                    <a:lnTo>
                      <a:pt x="482" y="866"/>
                    </a:lnTo>
                    <a:lnTo>
                      <a:pt x="482" y="864"/>
                    </a:lnTo>
                    <a:lnTo>
                      <a:pt x="484" y="862"/>
                    </a:lnTo>
                    <a:lnTo>
                      <a:pt x="484" y="860"/>
                    </a:lnTo>
                    <a:lnTo>
                      <a:pt x="486" y="858"/>
                    </a:lnTo>
                    <a:lnTo>
                      <a:pt x="486" y="860"/>
                    </a:lnTo>
                    <a:lnTo>
                      <a:pt x="492" y="866"/>
                    </a:lnTo>
                    <a:lnTo>
                      <a:pt x="492" y="868"/>
                    </a:lnTo>
                    <a:lnTo>
                      <a:pt x="492" y="870"/>
                    </a:lnTo>
                    <a:lnTo>
                      <a:pt x="492" y="874"/>
                    </a:lnTo>
                    <a:lnTo>
                      <a:pt x="492" y="874"/>
                    </a:lnTo>
                    <a:lnTo>
                      <a:pt x="492" y="874"/>
                    </a:lnTo>
                    <a:lnTo>
                      <a:pt x="494" y="876"/>
                    </a:lnTo>
                    <a:lnTo>
                      <a:pt x="496" y="879"/>
                    </a:lnTo>
                    <a:lnTo>
                      <a:pt x="496" y="883"/>
                    </a:lnTo>
                    <a:lnTo>
                      <a:pt x="496" y="883"/>
                    </a:lnTo>
                    <a:lnTo>
                      <a:pt x="494" y="885"/>
                    </a:lnTo>
                    <a:lnTo>
                      <a:pt x="492" y="885"/>
                    </a:lnTo>
                    <a:lnTo>
                      <a:pt x="490" y="887"/>
                    </a:lnTo>
                    <a:lnTo>
                      <a:pt x="488" y="889"/>
                    </a:lnTo>
                    <a:lnTo>
                      <a:pt x="488" y="889"/>
                    </a:lnTo>
                    <a:lnTo>
                      <a:pt x="488" y="891"/>
                    </a:lnTo>
                    <a:lnTo>
                      <a:pt x="488" y="895"/>
                    </a:lnTo>
                    <a:lnTo>
                      <a:pt x="488" y="896"/>
                    </a:lnTo>
                    <a:lnTo>
                      <a:pt x="488" y="902"/>
                    </a:lnTo>
                    <a:lnTo>
                      <a:pt x="488" y="904"/>
                    </a:lnTo>
                    <a:lnTo>
                      <a:pt x="488" y="904"/>
                    </a:lnTo>
                    <a:lnTo>
                      <a:pt x="492" y="904"/>
                    </a:lnTo>
                    <a:lnTo>
                      <a:pt x="494" y="904"/>
                    </a:lnTo>
                    <a:lnTo>
                      <a:pt x="494" y="904"/>
                    </a:lnTo>
                    <a:lnTo>
                      <a:pt x="496" y="906"/>
                    </a:lnTo>
                    <a:lnTo>
                      <a:pt x="496" y="908"/>
                    </a:lnTo>
                    <a:lnTo>
                      <a:pt x="496" y="910"/>
                    </a:lnTo>
                    <a:lnTo>
                      <a:pt x="498" y="912"/>
                    </a:lnTo>
                    <a:lnTo>
                      <a:pt x="500" y="912"/>
                    </a:lnTo>
                    <a:lnTo>
                      <a:pt x="501" y="914"/>
                    </a:lnTo>
                    <a:lnTo>
                      <a:pt x="503" y="914"/>
                    </a:lnTo>
                    <a:lnTo>
                      <a:pt x="505" y="914"/>
                    </a:lnTo>
                    <a:lnTo>
                      <a:pt x="505" y="915"/>
                    </a:lnTo>
                    <a:lnTo>
                      <a:pt x="507" y="915"/>
                    </a:lnTo>
                    <a:lnTo>
                      <a:pt x="507" y="917"/>
                    </a:lnTo>
                    <a:lnTo>
                      <a:pt x="507" y="917"/>
                    </a:lnTo>
                    <a:lnTo>
                      <a:pt x="505" y="919"/>
                    </a:lnTo>
                    <a:lnTo>
                      <a:pt x="505" y="921"/>
                    </a:lnTo>
                    <a:lnTo>
                      <a:pt x="505" y="925"/>
                    </a:lnTo>
                    <a:lnTo>
                      <a:pt x="505" y="927"/>
                    </a:lnTo>
                    <a:lnTo>
                      <a:pt x="505" y="929"/>
                    </a:lnTo>
                    <a:lnTo>
                      <a:pt x="505" y="929"/>
                    </a:lnTo>
                    <a:lnTo>
                      <a:pt x="507" y="929"/>
                    </a:lnTo>
                    <a:lnTo>
                      <a:pt x="509" y="929"/>
                    </a:lnTo>
                    <a:lnTo>
                      <a:pt x="509" y="927"/>
                    </a:lnTo>
                    <a:lnTo>
                      <a:pt x="513" y="925"/>
                    </a:lnTo>
                    <a:lnTo>
                      <a:pt x="513" y="925"/>
                    </a:lnTo>
                    <a:lnTo>
                      <a:pt x="515" y="925"/>
                    </a:lnTo>
                    <a:lnTo>
                      <a:pt x="517" y="925"/>
                    </a:lnTo>
                    <a:lnTo>
                      <a:pt x="520" y="929"/>
                    </a:lnTo>
                    <a:lnTo>
                      <a:pt x="520" y="931"/>
                    </a:lnTo>
                    <a:lnTo>
                      <a:pt x="520" y="935"/>
                    </a:lnTo>
                    <a:lnTo>
                      <a:pt x="520" y="936"/>
                    </a:lnTo>
                    <a:lnTo>
                      <a:pt x="520" y="938"/>
                    </a:lnTo>
                    <a:lnTo>
                      <a:pt x="520" y="940"/>
                    </a:lnTo>
                    <a:lnTo>
                      <a:pt x="522" y="942"/>
                    </a:lnTo>
                    <a:lnTo>
                      <a:pt x="522" y="944"/>
                    </a:lnTo>
                    <a:lnTo>
                      <a:pt x="522" y="946"/>
                    </a:lnTo>
                    <a:lnTo>
                      <a:pt x="520" y="950"/>
                    </a:lnTo>
                    <a:lnTo>
                      <a:pt x="520" y="952"/>
                    </a:lnTo>
                    <a:lnTo>
                      <a:pt x="526" y="950"/>
                    </a:lnTo>
                    <a:lnTo>
                      <a:pt x="528" y="952"/>
                    </a:lnTo>
                    <a:lnTo>
                      <a:pt x="530" y="954"/>
                    </a:lnTo>
                    <a:lnTo>
                      <a:pt x="532" y="954"/>
                    </a:lnTo>
                    <a:lnTo>
                      <a:pt x="541" y="952"/>
                    </a:lnTo>
                    <a:lnTo>
                      <a:pt x="543" y="952"/>
                    </a:lnTo>
                    <a:lnTo>
                      <a:pt x="545" y="952"/>
                    </a:lnTo>
                    <a:lnTo>
                      <a:pt x="545" y="954"/>
                    </a:lnTo>
                    <a:lnTo>
                      <a:pt x="549" y="961"/>
                    </a:lnTo>
                    <a:lnTo>
                      <a:pt x="553" y="965"/>
                    </a:lnTo>
                    <a:lnTo>
                      <a:pt x="555" y="965"/>
                    </a:lnTo>
                    <a:lnTo>
                      <a:pt x="557" y="965"/>
                    </a:lnTo>
                    <a:lnTo>
                      <a:pt x="557" y="965"/>
                    </a:lnTo>
                    <a:lnTo>
                      <a:pt x="559" y="965"/>
                    </a:lnTo>
                    <a:lnTo>
                      <a:pt x="559" y="965"/>
                    </a:lnTo>
                    <a:lnTo>
                      <a:pt x="559" y="963"/>
                    </a:lnTo>
                    <a:lnTo>
                      <a:pt x="559" y="963"/>
                    </a:lnTo>
                    <a:lnTo>
                      <a:pt x="561" y="961"/>
                    </a:lnTo>
                    <a:lnTo>
                      <a:pt x="561" y="961"/>
                    </a:lnTo>
                    <a:lnTo>
                      <a:pt x="561" y="961"/>
                    </a:lnTo>
                    <a:lnTo>
                      <a:pt x="562" y="961"/>
                    </a:lnTo>
                    <a:lnTo>
                      <a:pt x="568" y="965"/>
                    </a:lnTo>
                    <a:lnTo>
                      <a:pt x="572" y="971"/>
                    </a:lnTo>
                    <a:lnTo>
                      <a:pt x="578" y="974"/>
                    </a:lnTo>
                    <a:lnTo>
                      <a:pt x="580" y="974"/>
                    </a:lnTo>
                    <a:lnTo>
                      <a:pt x="582" y="976"/>
                    </a:lnTo>
                    <a:lnTo>
                      <a:pt x="582" y="978"/>
                    </a:lnTo>
                    <a:lnTo>
                      <a:pt x="582" y="980"/>
                    </a:lnTo>
                    <a:lnTo>
                      <a:pt x="582" y="982"/>
                    </a:lnTo>
                    <a:lnTo>
                      <a:pt x="582" y="984"/>
                    </a:lnTo>
                    <a:lnTo>
                      <a:pt x="583" y="988"/>
                    </a:lnTo>
                    <a:lnTo>
                      <a:pt x="585" y="988"/>
                    </a:lnTo>
                    <a:lnTo>
                      <a:pt x="587" y="990"/>
                    </a:lnTo>
                    <a:lnTo>
                      <a:pt x="587" y="990"/>
                    </a:lnTo>
                    <a:lnTo>
                      <a:pt x="589" y="988"/>
                    </a:lnTo>
                    <a:lnTo>
                      <a:pt x="589" y="988"/>
                    </a:lnTo>
                    <a:lnTo>
                      <a:pt x="591" y="986"/>
                    </a:lnTo>
                    <a:lnTo>
                      <a:pt x="593" y="986"/>
                    </a:lnTo>
                    <a:lnTo>
                      <a:pt x="593" y="988"/>
                    </a:lnTo>
                    <a:lnTo>
                      <a:pt x="597" y="990"/>
                    </a:lnTo>
                    <a:lnTo>
                      <a:pt x="599" y="992"/>
                    </a:lnTo>
                    <a:lnTo>
                      <a:pt x="601" y="993"/>
                    </a:lnTo>
                    <a:lnTo>
                      <a:pt x="601" y="995"/>
                    </a:lnTo>
                    <a:lnTo>
                      <a:pt x="602" y="999"/>
                    </a:lnTo>
                    <a:lnTo>
                      <a:pt x="602" y="999"/>
                    </a:lnTo>
                    <a:lnTo>
                      <a:pt x="604" y="999"/>
                    </a:lnTo>
                    <a:lnTo>
                      <a:pt x="606" y="1001"/>
                    </a:lnTo>
                    <a:lnTo>
                      <a:pt x="606" y="1001"/>
                    </a:lnTo>
                    <a:lnTo>
                      <a:pt x="608" y="1003"/>
                    </a:lnTo>
                    <a:lnTo>
                      <a:pt x="608" y="1005"/>
                    </a:lnTo>
                    <a:lnTo>
                      <a:pt x="610" y="1005"/>
                    </a:lnTo>
                    <a:lnTo>
                      <a:pt x="612" y="1003"/>
                    </a:lnTo>
                    <a:lnTo>
                      <a:pt x="614" y="1001"/>
                    </a:lnTo>
                    <a:lnTo>
                      <a:pt x="616" y="1001"/>
                    </a:lnTo>
                    <a:lnTo>
                      <a:pt x="616" y="1001"/>
                    </a:lnTo>
                    <a:lnTo>
                      <a:pt x="620" y="1001"/>
                    </a:lnTo>
                    <a:lnTo>
                      <a:pt x="622" y="1001"/>
                    </a:lnTo>
                    <a:lnTo>
                      <a:pt x="623" y="1001"/>
                    </a:lnTo>
                    <a:lnTo>
                      <a:pt x="625" y="1003"/>
                    </a:lnTo>
                    <a:lnTo>
                      <a:pt x="627" y="1003"/>
                    </a:lnTo>
                    <a:lnTo>
                      <a:pt x="637" y="997"/>
                    </a:lnTo>
                    <a:lnTo>
                      <a:pt x="644" y="995"/>
                    </a:lnTo>
                    <a:lnTo>
                      <a:pt x="652" y="990"/>
                    </a:lnTo>
                    <a:lnTo>
                      <a:pt x="658" y="988"/>
                    </a:lnTo>
                    <a:lnTo>
                      <a:pt x="658" y="988"/>
                    </a:lnTo>
                    <a:lnTo>
                      <a:pt x="658" y="986"/>
                    </a:lnTo>
                    <a:lnTo>
                      <a:pt x="656" y="984"/>
                    </a:lnTo>
                    <a:lnTo>
                      <a:pt x="654" y="984"/>
                    </a:lnTo>
                    <a:lnTo>
                      <a:pt x="652" y="982"/>
                    </a:lnTo>
                    <a:lnTo>
                      <a:pt x="652" y="980"/>
                    </a:lnTo>
                    <a:lnTo>
                      <a:pt x="650" y="980"/>
                    </a:lnTo>
                    <a:lnTo>
                      <a:pt x="648" y="980"/>
                    </a:lnTo>
                    <a:lnTo>
                      <a:pt x="646" y="980"/>
                    </a:lnTo>
                    <a:lnTo>
                      <a:pt x="644" y="980"/>
                    </a:lnTo>
                    <a:lnTo>
                      <a:pt x="641" y="978"/>
                    </a:lnTo>
                    <a:lnTo>
                      <a:pt x="637" y="978"/>
                    </a:lnTo>
                    <a:lnTo>
                      <a:pt x="637" y="976"/>
                    </a:lnTo>
                    <a:lnTo>
                      <a:pt x="635" y="976"/>
                    </a:lnTo>
                    <a:lnTo>
                      <a:pt x="635" y="976"/>
                    </a:lnTo>
                    <a:lnTo>
                      <a:pt x="633" y="974"/>
                    </a:lnTo>
                    <a:lnTo>
                      <a:pt x="633" y="973"/>
                    </a:lnTo>
                    <a:lnTo>
                      <a:pt x="633" y="971"/>
                    </a:lnTo>
                    <a:lnTo>
                      <a:pt x="639" y="963"/>
                    </a:lnTo>
                    <a:lnTo>
                      <a:pt x="639" y="961"/>
                    </a:lnTo>
                    <a:lnTo>
                      <a:pt x="646" y="954"/>
                    </a:lnTo>
                    <a:lnTo>
                      <a:pt x="650" y="952"/>
                    </a:lnTo>
                    <a:lnTo>
                      <a:pt x="656" y="950"/>
                    </a:lnTo>
                    <a:lnTo>
                      <a:pt x="658" y="950"/>
                    </a:lnTo>
                    <a:lnTo>
                      <a:pt x="665" y="944"/>
                    </a:lnTo>
                    <a:lnTo>
                      <a:pt x="667" y="944"/>
                    </a:lnTo>
                    <a:lnTo>
                      <a:pt x="671" y="942"/>
                    </a:lnTo>
                    <a:lnTo>
                      <a:pt x="671" y="942"/>
                    </a:lnTo>
                    <a:lnTo>
                      <a:pt x="675" y="938"/>
                    </a:lnTo>
                    <a:lnTo>
                      <a:pt x="677" y="936"/>
                    </a:lnTo>
                    <a:lnTo>
                      <a:pt x="677" y="935"/>
                    </a:lnTo>
                    <a:lnTo>
                      <a:pt x="679" y="933"/>
                    </a:lnTo>
                    <a:lnTo>
                      <a:pt x="681" y="927"/>
                    </a:lnTo>
                    <a:lnTo>
                      <a:pt x="681" y="927"/>
                    </a:lnTo>
                    <a:lnTo>
                      <a:pt x="683" y="925"/>
                    </a:lnTo>
                    <a:lnTo>
                      <a:pt x="683" y="923"/>
                    </a:lnTo>
                    <a:lnTo>
                      <a:pt x="684" y="921"/>
                    </a:lnTo>
                    <a:lnTo>
                      <a:pt x="684" y="919"/>
                    </a:lnTo>
                    <a:lnTo>
                      <a:pt x="686" y="917"/>
                    </a:lnTo>
                    <a:lnTo>
                      <a:pt x="686" y="914"/>
                    </a:lnTo>
                    <a:lnTo>
                      <a:pt x="686" y="912"/>
                    </a:lnTo>
                    <a:lnTo>
                      <a:pt x="684" y="908"/>
                    </a:lnTo>
                    <a:lnTo>
                      <a:pt x="683" y="904"/>
                    </a:lnTo>
                    <a:lnTo>
                      <a:pt x="683" y="902"/>
                    </a:lnTo>
                    <a:lnTo>
                      <a:pt x="681" y="900"/>
                    </a:lnTo>
                    <a:lnTo>
                      <a:pt x="681" y="898"/>
                    </a:lnTo>
                    <a:lnTo>
                      <a:pt x="681" y="895"/>
                    </a:lnTo>
                    <a:lnTo>
                      <a:pt x="683" y="889"/>
                    </a:lnTo>
                    <a:lnTo>
                      <a:pt x="686" y="874"/>
                    </a:lnTo>
                    <a:lnTo>
                      <a:pt x="688" y="872"/>
                    </a:lnTo>
                    <a:lnTo>
                      <a:pt x="688" y="872"/>
                    </a:lnTo>
                    <a:lnTo>
                      <a:pt x="690" y="870"/>
                    </a:lnTo>
                    <a:lnTo>
                      <a:pt x="690" y="868"/>
                    </a:lnTo>
                    <a:lnTo>
                      <a:pt x="688" y="868"/>
                    </a:lnTo>
                    <a:lnTo>
                      <a:pt x="686" y="866"/>
                    </a:lnTo>
                    <a:lnTo>
                      <a:pt x="684" y="864"/>
                    </a:lnTo>
                    <a:lnTo>
                      <a:pt x="683" y="862"/>
                    </a:lnTo>
                    <a:lnTo>
                      <a:pt x="683" y="860"/>
                    </a:lnTo>
                    <a:lnTo>
                      <a:pt x="681" y="858"/>
                    </a:lnTo>
                    <a:lnTo>
                      <a:pt x="681" y="856"/>
                    </a:lnTo>
                    <a:lnTo>
                      <a:pt x="679" y="853"/>
                    </a:lnTo>
                    <a:lnTo>
                      <a:pt x="679" y="847"/>
                    </a:lnTo>
                    <a:lnTo>
                      <a:pt x="679" y="843"/>
                    </a:lnTo>
                    <a:lnTo>
                      <a:pt x="677" y="841"/>
                    </a:lnTo>
                    <a:lnTo>
                      <a:pt x="675" y="839"/>
                    </a:lnTo>
                    <a:lnTo>
                      <a:pt x="673" y="839"/>
                    </a:lnTo>
                    <a:lnTo>
                      <a:pt x="671" y="837"/>
                    </a:lnTo>
                    <a:lnTo>
                      <a:pt x="669" y="837"/>
                    </a:lnTo>
                    <a:lnTo>
                      <a:pt x="664" y="839"/>
                    </a:lnTo>
                    <a:lnTo>
                      <a:pt x="662" y="839"/>
                    </a:lnTo>
                    <a:lnTo>
                      <a:pt x="660" y="837"/>
                    </a:lnTo>
                    <a:lnTo>
                      <a:pt x="660" y="837"/>
                    </a:lnTo>
                    <a:lnTo>
                      <a:pt x="660" y="836"/>
                    </a:lnTo>
                    <a:lnTo>
                      <a:pt x="662" y="834"/>
                    </a:lnTo>
                    <a:lnTo>
                      <a:pt x="662" y="832"/>
                    </a:lnTo>
                    <a:lnTo>
                      <a:pt x="664" y="830"/>
                    </a:lnTo>
                    <a:lnTo>
                      <a:pt x="664" y="828"/>
                    </a:lnTo>
                    <a:lnTo>
                      <a:pt x="664" y="826"/>
                    </a:lnTo>
                    <a:lnTo>
                      <a:pt x="664" y="824"/>
                    </a:lnTo>
                    <a:lnTo>
                      <a:pt x="671" y="818"/>
                    </a:lnTo>
                    <a:lnTo>
                      <a:pt x="673" y="817"/>
                    </a:lnTo>
                    <a:lnTo>
                      <a:pt x="675" y="815"/>
                    </a:lnTo>
                    <a:lnTo>
                      <a:pt x="673" y="811"/>
                    </a:lnTo>
                    <a:lnTo>
                      <a:pt x="673" y="811"/>
                    </a:lnTo>
                    <a:lnTo>
                      <a:pt x="671" y="809"/>
                    </a:lnTo>
                    <a:lnTo>
                      <a:pt x="658" y="805"/>
                    </a:lnTo>
                    <a:lnTo>
                      <a:pt x="658" y="805"/>
                    </a:lnTo>
                    <a:lnTo>
                      <a:pt x="658" y="803"/>
                    </a:lnTo>
                    <a:lnTo>
                      <a:pt x="658" y="801"/>
                    </a:lnTo>
                    <a:lnTo>
                      <a:pt x="658" y="801"/>
                    </a:lnTo>
                    <a:lnTo>
                      <a:pt x="658" y="799"/>
                    </a:lnTo>
                    <a:lnTo>
                      <a:pt x="662" y="794"/>
                    </a:lnTo>
                    <a:lnTo>
                      <a:pt x="665" y="782"/>
                    </a:lnTo>
                    <a:lnTo>
                      <a:pt x="665" y="780"/>
                    </a:lnTo>
                    <a:lnTo>
                      <a:pt x="665" y="778"/>
                    </a:lnTo>
                    <a:lnTo>
                      <a:pt x="665" y="777"/>
                    </a:lnTo>
                    <a:lnTo>
                      <a:pt x="664" y="773"/>
                    </a:lnTo>
                    <a:lnTo>
                      <a:pt x="665" y="769"/>
                    </a:lnTo>
                    <a:lnTo>
                      <a:pt x="665" y="767"/>
                    </a:lnTo>
                    <a:lnTo>
                      <a:pt x="665" y="767"/>
                    </a:lnTo>
                    <a:lnTo>
                      <a:pt x="667" y="767"/>
                    </a:lnTo>
                    <a:lnTo>
                      <a:pt x="667" y="767"/>
                    </a:lnTo>
                    <a:lnTo>
                      <a:pt x="669" y="769"/>
                    </a:lnTo>
                    <a:lnTo>
                      <a:pt x="669" y="773"/>
                    </a:lnTo>
                    <a:lnTo>
                      <a:pt x="669" y="775"/>
                    </a:lnTo>
                    <a:lnTo>
                      <a:pt x="671" y="775"/>
                    </a:lnTo>
                    <a:lnTo>
                      <a:pt x="673" y="777"/>
                    </a:lnTo>
                    <a:lnTo>
                      <a:pt x="673" y="777"/>
                    </a:lnTo>
                    <a:lnTo>
                      <a:pt x="675" y="780"/>
                    </a:lnTo>
                    <a:lnTo>
                      <a:pt x="675" y="782"/>
                    </a:lnTo>
                    <a:lnTo>
                      <a:pt x="677" y="782"/>
                    </a:lnTo>
                    <a:lnTo>
                      <a:pt x="679" y="782"/>
                    </a:lnTo>
                    <a:lnTo>
                      <a:pt x="683" y="782"/>
                    </a:lnTo>
                    <a:lnTo>
                      <a:pt x="684" y="782"/>
                    </a:lnTo>
                    <a:lnTo>
                      <a:pt x="686" y="782"/>
                    </a:lnTo>
                    <a:lnTo>
                      <a:pt x="688" y="780"/>
                    </a:lnTo>
                    <a:lnTo>
                      <a:pt x="688" y="778"/>
                    </a:lnTo>
                    <a:lnTo>
                      <a:pt x="690" y="777"/>
                    </a:lnTo>
                    <a:lnTo>
                      <a:pt x="690" y="775"/>
                    </a:lnTo>
                    <a:lnTo>
                      <a:pt x="690" y="773"/>
                    </a:lnTo>
                    <a:lnTo>
                      <a:pt x="690" y="771"/>
                    </a:lnTo>
                    <a:lnTo>
                      <a:pt x="690" y="769"/>
                    </a:lnTo>
                    <a:lnTo>
                      <a:pt x="690" y="767"/>
                    </a:lnTo>
                    <a:lnTo>
                      <a:pt x="690" y="767"/>
                    </a:lnTo>
                    <a:lnTo>
                      <a:pt x="688" y="765"/>
                    </a:lnTo>
                    <a:lnTo>
                      <a:pt x="688" y="765"/>
                    </a:lnTo>
                    <a:lnTo>
                      <a:pt x="686" y="765"/>
                    </a:lnTo>
                    <a:lnTo>
                      <a:pt x="686" y="765"/>
                    </a:lnTo>
                    <a:lnTo>
                      <a:pt x="684" y="767"/>
                    </a:lnTo>
                    <a:lnTo>
                      <a:pt x="683" y="765"/>
                    </a:lnTo>
                    <a:lnTo>
                      <a:pt x="681" y="765"/>
                    </a:lnTo>
                    <a:lnTo>
                      <a:pt x="679" y="765"/>
                    </a:lnTo>
                    <a:lnTo>
                      <a:pt x="675" y="765"/>
                    </a:lnTo>
                    <a:lnTo>
                      <a:pt x="673" y="765"/>
                    </a:lnTo>
                    <a:lnTo>
                      <a:pt x="673" y="763"/>
                    </a:lnTo>
                    <a:lnTo>
                      <a:pt x="673" y="763"/>
                    </a:lnTo>
                    <a:lnTo>
                      <a:pt x="673" y="759"/>
                    </a:lnTo>
                    <a:lnTo>
                      <a:pt x="673" y="758"/>
                    </a:lnTo>
                    <a:lnTo>
                      <a:pt x="673" y="756"/>
                    </a:lnTo>
                    <a:lnTo>
                      <a:pt x="673" y="754"/>
                    </a:lnTo>
                    <a:lnTo>
                      <a:pt x="671" y="748"/>
                    </a:lnTo>
                    <a:lnTo>
                      <a:pt x="671" y="746"/>
                    </a:lnTo>
                    <a:lnTo>
                      <a:pt x="671" y="746"/>
                    </a:lnTo>
                    <a:lnTo>
                      <a:pt x="675" y="746"/>
                    </a:lnTo>
                    <a:lnTo>
                      <a:pt x="677" y="746"/>
                    </a:lnTo>
                    <a:lnTo>
                      <a:pt x="679" y="748"/>
                    </a:lnTo>
                    <a:lnTo>
                      <a:pt x="681" y="750"/>
                    </a:lnTo>
                    <a:lnTo>
                      <a:pt x="681" y="750"/>
                    </a:lnTo>
                    <a:lnTo>
                      <a:pt x="683" y="752"/>
                    </a:lnTo>
                    <a:lnTo>
                      <a:pt x="683" y="752"/>
                    </a:lnTo>
                    <a:lnTo>
                      <a:pt x="684" y="752"/>
                    </a:lnTo>
                    <a:lnTo>
                      <a:pt x="688" y="754"/>
                    </a:lnTo>
                    <a:lnTo>
                      <a:pt x="688" y="756"/>
                    </a:lnTo>
                    <a:lnTo>
                      <a:pt x="690" y="756"/>
                    </a:lnTo>
                    <a:lnTo>
                      <a:pt x="692" y="756"/>
                    </a:lnTo>
                    <a:lnTo>
                      <a:pt x="694" y="756"/>
                    </a:lnTo>
                    <a:lnTo>
                      <a:pt x="696" y="754"/>
                    </a:lnTo>
                    <a:lnTo>
                      <a:pt x="700" y="752"/>
                    </a:lnTo>
                    <a:lnTo>
                      <a:pt x="700" y="750"/>
                    </a:lnTo>
                    <a:lnTo>
                      <a:pt x="700" y="750"/>
                    </a:lnTo>
                    <a:lnTo>
                      <a:pt x="702" y="752"/>
                    </a:lnTo>
                    <a:lnTo>
                      <a:pt x="704" y="752"/>
                    </a:lnTo>
                    <a:lnTo>
                      <a:pt x="704" y="752"/>
                    </a:lnTo>
                    <a:lnTo>
                      <a:pt x="705" y="752"/>
                    </a:lnTo>
                    <a:lnTo>
                      <a:pt x="705" y="750"/>
                    </a:lnTo>
                    <a:lnTo>
                      <a:pt x="705" y="750"/>
                    </a:lnTo>
                    <a:lnTo>
                      <a:pt x="707" y="746"/>
                    </a:lnTo>
                    <a:lnTo>
                      <a:pt x="705" y="744"/>
                    </a:lnTo>
                    <a:lnTo>
                      <a:pt x="705" y="740"/>
                    </a:lnTo>
                    <a:lnTo>
                      <a:pt x="705" y="739"/>
                    </a:lnTo>
                    <a:lnTo>
                      <a:pt x="705" y="739"/>
                    </a:lnTo>
                    <a:lnTo>
                      <a:pt x="705" y="739"/>
                    </a:lnTo>
                    <a:lnTo>
                      <a:pt x="707" y="737"/>
                    </a:lnTo>
                    <a:lnTo>
                      <a:pt x="709" y="735"/>
                    </a:lnTo>
                    <a:lnTo>
                      <a:pt x="709" y="735"/>
                    </a:lnTo>
                    <a:lnTo>
                      <a:pt x="709" y="735"/>
                    </a:lnTo>
                    <a:lnTo>
                      <a:pt x="709" y="733"/>
                    </a:lnTo>
                    <a:lnTo>
                      <a:pt x="709" y="731"/>
                    </a:lnTo>
                    <a:lnTo>
                      <a:pt x="709" y="731"/>
                    </a:lnTo>
                    <a:lnTo>
                      <a:pt x="711" y="731"/>
                    </a:lnTo>
                    <a:lnTo>
                      <a:pt x="713" y="731"/>
                    </a:lnTo>
                    <a:lnTo>
                      <a:pt x="719" y="731"/>
                    </a:lnTo>
                    <a:lnTo>
                      <a:pt x="723" y="731"/>
                    </a:lnTo>
                    <a:lnTo>
                      <a:pt x="728" y="729"/>
                    </a:lnTo>
                    <a:lnTo>
                      <a:pt x="732" y="729"/>
                    </a:lnTo>
                    <a:lnTo>
                      <a:pt x="732" y="729"/>
                    </a:lnTo>
                    <a:lnTo>
                      <a:pt x="734" y="729"/>
                    </a:lnTo>
                    <a:lnTo>
                      <a:pt x="734" y="729"/>
                    </a:lnTo>
                    <a:lnTo>
                      <a:pt x="734" y="729"/>
                    </a:lnTo>
                    <a:lnTo>
                      <a:pt x="734" y="731"/>
                    </a:lnTo>
                    <a:lnTo>
                      <a:pt x="732" y="733"/>
                    </a:lnTo>
                    <a:lnTo>
                      <a:pt x="730" y="737"/>
                    </a:lnTo>
                    <a:lnTo>
                      <a:pt x="730" y="739"/>
                    </a:lnTo>
                    <a:lnTo>
                      <a:pt x="730" y="739"/>
                    </a:lnTo>
                    <a:lnTo>
                      <a:pt x="730" y="740"/>
                    </a:lnTo>
                    <a:lnTo>
                      <a:pt x="734" y="742"/>
                    </a:lnTo>
                    <a:lnTo>
                      <a:pt x="734" y="744"/>
                    </a:lnTo>
                    <a:lnTo>
                      <a:pt x="734" y="746"/>
                    </a:lnTo>
                    <a:lnTo>
                      <a:pt x="732" y="746"/>
                    </a:lnTo>
                    <a:lnTo>
                      <a:pt x="732" y="746"/>
                    </a:lnTo>
                    <a:lnTo>
                      <a:pt x="730" y="746"/>
                    </a:lnTo>
                    <a:lnTo>
                      <a:pt x="728" y="746"/>
                    </a:lnTo>
                    <a:lnTo>
                      <a:pt x="726" y="746"/>
                    </a:lnTo>
                    <a:lnTo>
                      <a:pt x="726" y="744"/>
                    </a:lnTo>
                    <a:lnTo>
                      <a:pt x="725" y="746"/>
                    </a:lnTo>
                    <a:lnTo>
                      <a:pt x="725" y="746"/>
                    </a:lnTo>
                    <a:lnTo>
                      <a:pt x="725" y="746"/>
                    </a:lnTo>
                    <a:lnTo>
                      <a:pt x="725" y="748"/>
                    </a:lnTo>
                    <a:lnTo>
                      <a:pt x="725" y="748"/>
                    </a:lnTo>
                    <a:lnTo>
                      <a:pt x="725" y="750"/>
                    </a:lnTo>
                    <a:lnTo>
                      <a:pt x="726" y="752"/>
                    </a:lnTo>
                    <a:lnTo>
                      <a:pt x="730" y="752"/>
                    </a:lnTo>
                    <a:lnTo>
                      <a:pt x="734" y="752"/>
                    </a:lnTo>
                    <a:lnTo>
                      <a:pt x="736" y="752"/>
                    </a:lnTo>
                    <a:lnTo>
                      <a:pt x="742" y="750"/>
                    </a:lnTo>
                    <a:lnTo>
                      <a:pt x="744" y="750"/>
                    </a:lnTo>
                    <a:lnTo>
                      <a:pt x="744" y="750"/>
                    </a:lnTo>
                    <a:lnTo>
                      <a:pt x="744" y="752"/>
                    </a:lnTo>
                    <a:lnTo>
                      <a:pt x="744" y="752"/>
                    </a:lnTo>
                    <a:lnTo>
                      <a:pt x="744" y="754"/>
                    </a:lnTo>
                    <a:lnTo>
                      <a:pt x="744" y="754"/>
                    </a:lnTo>
                    <a:lnTo>
                      <a:pt x="742" y="756"/>
                    </a:lnTo>
                    <a:lnTo>
                      <a:pt x="740" y="758"/>
                    </a:lnTo>
                    <a:lnTo>
                      <a:pt x="738" y="758"/>
                    </a:lnTo>
                    <a:lnTo>
                      <a:pt x="736" y="758"/>
                    </a:lnTo>
                    <a:lnTo>
                      <a:pt x="734" y="759"/>
                    </a:lnTo>
                    <a:lnTo>
                      <a:pt x="730" y="759"/>
                    </a:lnTo>
                    <a:lnTo>
                      <a:pt x="728" y="759"/>
                    </a:lnTo>
                    <a:lnTo>
                      <a:pt x="726" y="758"/>
                    </a:lnTo>
                    <a:lnTo>
                      <a:pt x="725" y="758"/>
                    </a:lnTo>
                    <a:lnTo>
                      <a:pt x="723" y="756"/>
                    </a:lnTo>
                    <a:lnTo>
                      <a:pt x="721" y="752"/>
                    </a:lnTo>
                    <a:lnTo>
                      <a:pt x="719" y="752"/>
                    </a:lnTo>
                    <a:lnTo>
                      <a:pt x="717" y="752"/>
                    </a:lnTo>
                    <a:lnTo>
                      <a:pt x="717" y="752"/>
                    </a:lnTo>
                    <a:lnTo>
                      <a:pt x="717" y="752"/>
                    </a:lnTo>
                    <a:lnTo>
                      <a:pt x="717" y="754"/>
                    </a:lnTo>
                    <a:lnTo>
                      <a:pt x="717" y="756"/>
                    </a:lnTo>
                    <a:lnTo>
                      <a:pt x="719" y="758"/>
                    </a:lnTo>
                    <a:lnTo>
                      <a:pt x="719" y="759"/>
                    </a:lnTo>
                    <a:lnTo>
                      <a:pt x="721" y="761"/>
                    </a:lnTo>
                    <a:lnTo>
                      <a:pt x="719" y="763"/>
                    </a:lnTo>
                    <a:lnTo>
                      <a:pt x="719" y="763"/>
                    </a:lnTo>
                    <a:lnTo>
                      <a:pt x="717" y="767"/>
                    </a:lnTo>
                    <a:lnTo>
                      <a:pt x="715" y="767"/>
                    </a:lnTo>
                    <a:lnTo>
                      <a:pt x="715" y="769"/>
                    </a:lnTo>
                    <a:lnTo>
                      <a:pt x="715" y="771"/>
                    </a:lnTo>
                    <a:lnTo>
                      <a:pt x="717" y="773"/>
                    </a:lnTo>
                    <a:lnTo>
                      <a:pt x="717" y="773"/>
                    </a:lnTo>
                    <a:lnTo>
                      <a:pt x="719" y="775"/>
                    </a:lnTo>
                    <a:lnTo>
                      <a:pt x="721" y="775"/>
                    </a:lnTo>
                    <a:lnTo>
                      <a:pt x="725" y="775"/>
                    </a:lnTo>
                    <a:lnTo>
                      <a:pt x="728" y="775"/>
                    </a:lnTo>
                    <a:lnTo>
                      <a:pt x="732" y="775"/>
                    </a:lnTo>
                    <a:lnTo>
                      <a:pt x="736" y="775"/>
                    </a:lnTo>
                    <a:lnTo>
                      <a:pt x="742" y="777"/>
                    </a:lnTo>
                    <a:lnTo>
                      <a:pt x="746" y="778"/>
                    </a:lnTo>
                    <a:lnTo>
                      <a:pt x="749" y="778"/>
                    </a:lnTo>
                    <a:lnTo>
                      <a:pt x="763" y="775"/>
                    </a:lnTo>
                    <a:lnTo>
                      <a:pt x="768" y="775"/>
                    </a:lnTo>
                    <a:lnTo>
                      <a:pt x="774" y="773"/>
                    </a:lnTo>
                    <a:lnTo>
                      <a:pt x="784" y="767"/>
                    </a:lnTo>
                    <a:lnTo>
                      <a:pt x="786" y="767"/>
                    </a:lnTo>
                    <a:lnTo>
                      <a:pt x="787" y="767"/>
                    </a:lnTo>
                    <a:lnTo>
                      <a:pt x="789" y="767"/>
                    </a:lnTo>
                    <a:lnTo>
                      <a:pt x="789" y="769"/>
                    </a:lnTo>
                    <a:lnTo>
                      <a:pt x="791" y="769"/>
                    </a:lnTo>
                    <a:lnTo>
                      <a:pt x="795" y="775"/>
                    </a:lnTo>
                    <a:lnTo>
                      <a:pt x="797" y="778"/>
                    </a:lnTo>
                    <a:lnTo>
                      <a:pt x="795" y="780"/>
                    </a:lnTo>
                    <a:lnTo>
                      <a:pt x="795" y="782"/>
                    </a:lnTo>
                    <a:lnTo>
                      <a:pt x="795" y="782"/>
                    </a:lnTo>
                    <a:lnTo>
                      <a:pt x="797" y="784"/>
                    </a:lnTo>
                    <a:lnTo>
                      <a:pt x="799" y="788"/>
                    </a:lnTo>
                    <a:lnTo>
                      <a:pt x="803" y="792"/>
                    </a:lnTo>
                    <a:lnTo>
                      <a:pt x="803" y="803"/>
                    </a:lnTo>
                    <a:lnTo>
                      <a:pt x="803" y="805"/>
                    </a:lnTo>
                    <a:lnTo>
                      <a:pt x="803" y="805"/>
                    </a:lnTo>
                    <a:lnTo>
                      <a:pt x="803" y="807"/>
                    </a:lnTo>
                    <a:lnTo>
                      <a:pt x="801" y="809"/>
                    </a:lnTo>
                    <a:lnTo>
                      <a:pt x="801" y="809"/>
                    </a:lnTo>
                    <a:lnTo>
                      <a:pt x="799" y="809"/>
                    </a:lnTo>
                    <a:lnTo>
                      <a:pt x="797" y="809"/>
                    </a:lnTo>
                    <a:lnTo>
                      <a:pt x="793" y="807"/>
                    </a:lnTo>
                    <a:lnTo>
                      <a:pt x="791" y="805"/>
                    </a:lnTo>
                    <a:lnTo>
                      <a:pt x="789" y="807"/>
                    </a:lnTo>
                    <a:lnTo>
                      <a:pt x="787" y="807"/>
                    </a:lnTo>
                    <a:lnTo>
                      <a:pt x="787" y="809"/>
                    </a:lnTo>
                    <a:lnTo>
                      <a:pt x="786" y="815"/>
                    </a:lnTo>
                    <a:lnTo>
                      <a:pt x="786" y="817"/>
                    </a:lnTo>
                    <a:lnTo>
                      <a:pt x="786" y="818"/>
                    </a:lnTo>
                    <a:lnTo>
                      <a:pt x="786" y="818"/>
                    </a:lnTo>
                    <a:lnTo>
                      <a:pt x="787" y="826"/>
                    </a:lnTo>
                    <a:lnTo>
                      <a:pt x="787" y="828"/>
                    </a:lnTo>
                    <a:lnTo>
                      <a:pt x="789" y="828"/>
                    </a:lnTo>
                    <a:lnTo>
                      <a:pt x="789" y="830"/>
                    </a:lnTo>
                    <a:lnTo>
                      <a:pt x="791" y="830"/>
                    </a:lnTo>
                    <a:lnTo>
                      <a:pt x="793" y="830"/>
                    </a:lnTo>
                    <a:lnTo>
                      <a:pt x="793" y="832"/>
                    </a:lnTo>
                    <a:lnTo>
                      <a:pt x="793" y="832"/>
                    </a:lnTo>
                    <a:lnTo>
                      <a:pt x="795" y="834"/>
                    </a:lnTo>
                    <a:lnTo>
                      <a:pt x="793" y="837"/>
                    </a:lnTo>
                    <a:lnTo>
                      <a:pt x="793" y="839"/>
                    </a:lnTo>
                    <a:lnTo>
                      <a:pt x="789" y="845"/>
                    </a:lnTo>
                    <a:lnTo>
                      <a:pt x="787" y="849"/>
                    </a:lnTo>
                    <a:lnTo>
                      <a:pt x="787" y="851"/>
                    </a:lnTo>
                    <a:lnTo>
                      <a:pt x="787" y="853"/>
                    </a:lnTo>
                    <a:lnTo>
                      <a:pt x="789" y="855"/>
                    </a:lnTo>
                    <a:lnTo>
                      <a:pt x="795" y="858"/>
                    </a:lnTo>
                    <a:lnTo>
                      <a:pt x="795" y="858"/>
                    </a:lnTo>
                    <a:lnTo>
                      <a:pt x="795" y="860"/>
                    </a:lnTo>
                    <a:lnTo>
                      <a:pt x="793" y="862"/>
                    </a:lnTo>
                    <a:lnTo>
                      <a:pt x="789" y="866"/>
                    </a:lnTo>
                    <a:lnTo>
                      <a:pt x="787" y="870"/>
                    </a:lnTo>
                    <a:lnTo>
                      <a:pt x="787" y="872"/>
                    </a:lnTo>
                    <a:lnTo>
                      <a:pt x="786" y="874"/>
                    </a:lnTo>
                    <a:lnTo>
                      <a:pt x="786" y="874"/>
                    </a:lnTo>
                    <a:lnTo>
                      <a:pt x="784" y="874"/>
                    </a:lnTo>
                    <a:lnTo>
                      <a:pt x="784" y="874"/>
                    </a:lnTo>
                    <a:lnTo>
                      <a:pt x="784" y="874"/>
                    </a:lnTo>
                    <a:lnTo>
                      <a:pt x="780" y="872"/>
                    </a:lnTo>
                    <a:lnTo>
                      <a:pt x="780" y="872"/>
                    </a:lnTo>
                    <a:lnTo>
                      <a:pt x="778" y="872"/>
                    </a:lnTo>
                    <a:lnTo>
                      <a:pt x="774" y="874"/>
                    </a:lnTo>
                    <a:lnTo>
                      <a:pt x="772" y="876"/>
                    </a:lnTo>
                    <a:lnTo>
                      <a:pt x="772" y="876"/>
                    </a:lnTo>
                    <a:lnTo>
                      <a:pt x="770" y="874"/>
                    </a:lnTo>
                    <a:lnTo>
                      <a:pt x="768" y="874"/>
                    </a:lnTo>
                    <a:lnTo>
                      <a:pt x="766" y="872"/>
                    </a:lnTo>
                    <a:lnTo>
                      <a:pt x="765" y="872"/>
                    </a:lnTo>
                    <a:lnTo>
                      <a:pt x="765" y="872"/>
                    </a:lnTo>
                    <a:lnTo>
                      <a:pt x="763" y="870"/>
                    </a:lnTo>
                    <a:lnTo>
                      <a:pt x="761" y="868"/>
                    </a:lnTo>
                    <a:lnTo>
                      <a:pt x="761" y="868"/>
                    </a:lnTo>
                    <a:lnTo>
                      <a:pt x="759" y="868"/>
                    </a:lnTo>
                    <a:lnTo>
                      <a:pt x="757" y="870"/>
                    </a:lnTo>
                    <a:lnTo>
                      <a:pt x="757" y="872"/>
                    </a:lnTo>
                    <a:lnTo>
                      <a:pt x="755" y="876"/>
                    </a:lnTo>
                    <a:lnTo>
                      <a:pt x="755" y="877"/>
                    </a:lnTo>
                    <a:lnTo>
                      <a:pt x="755" y="883"/>
                    </a:lnTo>
                    <a:lnTo>
                      <a:pt x="757" y="885"/>
                    </a:lnTo>
                    <a:lnTo>
                      <a:pt x="757" y="885"/>
                    </a:lnTo>
                    <a:lnTo>
                      <a:pt x="759" y="887"/>
                    </a:lnTo>
                    <a:lnTo>
                      <a:pt x="766" y="891"/>
                    </a:lnTo>
                    <a:lnTo>
                      <a:pt x="766" y="893"/>
                    </a:lnTo>
                    <a:lnTo>
                      <a:pt x="766" y="895"/>
                    </a:lnTo>
                    <a:lnTo>
                      <a:pt x="768" y="896"/>
                    </a:lnTo>
                    <a:lnTo>
                      <a:pt x="768" y="898"/>
                    </a:lnTo>
                    <a:lnTo>
                      <a:pt x="774" y="900"/>
                    </a:lnTo>
                    <a:lnTo>
                      <a:pt x="776" y="900"/>
                    </a:lnTo>
                    <a:lnTo>
                      <a:pt x="776" y="900"/>
                    </a:lnTo>
                    <a:lnTo>
                      <a:pt x="780" y="902"/>
                    </a:lnTo>
                    <a:lnTo>
                      <a:pt x="780" y="902"/>
                    </a:lnTo>
                    <a:lnTo>
                      <a:pt x="782" y="902"/>
                    </a:lnTo>
                    <a:lnTo>
                      <a:pt x="782" y="900"/>
                    </a:lnTo>
                    <a:lnTo>
                      <a:pt x="782" y="900"/>
                    </a:lnTo>
                    <a:lnTo>
                      <a:pt x="782" y="898"/>
                    </a:lnTo>
                    <a:lnTo>
                      <a:pt x="784" y="896"/>
                    </a:lnTo>
                    <a:lnTo>
                      <a:pt x="784" y="893"/>
                    </a:lnTo>
                    <a:lnTo>
                      <a:pt x="786" y="893"/>
                    </a:lnTo>
                    <a:lnTo>
                      <a:pt x="786" y="891"/>
                    </a:lnTo>
                    <a:lnTo>
                      <a:pt x="784" y="889"/>
                    </a:lnTo>
                    <a:lnTo>
                      <a:pt x="784" y="887"/>
                    </a:lnTo>
                    <a:lnTo>
                      <a:pt x="784" y="887"/>
                    </a:lnTo>
                    <a:lnTo>
                      <a:pt x="786" y="885"/>
                    </a:lnTo>
                    <a:lnTo>
                      <a:pt x="786" y="885"/>
                    </a:lnTo>
                    <a:lnTo>
                      <a:pt x="787" y="887"/>
                    </a:lnTo>
                    <a:lnTo>
                      <a:pt x="787" y="887"/>
                    </a:lnTo>
                    <a:lnTo>
                      <a:pt x="789" y="889"/>
                    </a:lnTo>
                    <a:lnTo>
                      <a:pt x="791" y="891"/>
                    </a:lnTo>
                    <a:lnTo>
                      <a:pt x="793" y="891"/>
                    </a:lnTo>
                    <a:lnTo>
                      <a:pt x="795" y="889"/>
                    </a:lnTo>
                    <a:lnTo>
                      <a:pt x="799" y="887"/>
                    </a:lnTo>
                    <a:lnTo>
                      <a:pt x="807" y="885"/>
                    </a:lnTo>
                    <a:lnTo>
                      <a:pt x="816" y="879"/>
                    </a:lnTo>
                    <a:lnTo>
                      <a:pt x="818" y="879"/>
                    </a:lnTo>
                    <a:lnTo>
                      <a:pt x="818" y="877"/>
                    </a:lnTo>
                    <a:lnTo>
                      <a:pt x="818" y="876"/>
                    </a:lnTo>
                    <a:lnTo>
                      <a:pt x="820" y="876"/>
                    </a:lnTo>
                    <a:lnTo>
                      <a:pt x="820" y="874"/>
                    </a:lnTo>
                    <a:lnTo>
                      <a:pt x="820" y="874"/>
                    </a:lnTo>
                    <a:lnTo>
                      <a:pt x="818" y="874"/>
                    </a:lnTo>
                    <a:lnTo>
                      <a:pt x="818" y="872"/>
                    </a:lnTo>
                    <a:lnTo>
                      <a:pt x="816" y="870"/>
                    </a:lnTo>
                    <a:lnTo>
                      <a:pt x="816" y="870"/>
                    </a:lnTo>
                    <a:lnTo>
                      <a:pt x="818" y="868"/>
                    </a:lnTo>
                    <a:lnTo>
                      <a:pt x="829" y="860"/>
                    </a:lnTo>
                    <a:lnTo>
                      <a:pt x="833" y="856"/>
                    </a:lnTo>
                    <a:lnTo>
                      <a:pt x="833" y="853"/>
                    </a:lnTo>
                    <a:lnTo>
                      <a:pt x="833" y="853"/>
                    </a:lnTo>
                    <a:lnTo>
                      <a:pt x="833" y="849"/>
                    </a:lnTo>
                    <a:lnTo>
                      <a:pt x="833" y="847"/>
                    </a:lnTo>
                    <a:lnTo>
                      <a:pt x="833" y="843"/>
                    </a:lnTo>
                    <a:lnTo>
                      <a:pt x="833" y="839"/>
                    </a:lnTo>
                    <a:lnTo>
                      <a:pt x="833" y="837"/>
                    </a:lnTo>
                    <a:lnTo>
                      <a:pt x="835" y="836"/>
                    </a:lnTo>
                    <a:lnTo>
                      <a:pt x="835" y="832"/>
                    </a:lnTo>
                    <a:lnTo>
                      <a:pt x="835" y="830"/>
                    </a:lnTo>
                    <a:lnTo>
                      <a:pt x="835" y="830"/>
                    </a:lnTo>
                    <a:lnTo>
                      <a:pt x="837" y="828"/>
                    </a:lnTo>
                    <a:lnTo>
                      <a:pt x="839" y="828"/>
                    </a:lnTo>
                    <a:lnTo>
                      <a:pt x="841" y="826"/>
                    </a:lnTo>
                    <a:lnTo>
                      <a:pt x="841" y="826"/>
                    </a:lnTo>
                    <a:lnTo>
                      <a:pt x="843" y="826"/>
                    </a:lnTo>
                    <a:lnTo>
                      <a:pt x="843" y="826"/>
                    </a:lnTo>
                    <a:lnTo>
                      <a:pt x="843" y="828"/>
                    </a:lnTo>
                    <a:lnTo>
                      <a:pt x="843" y="830"/>
                    </a:lnTo>
                    <a:lnTo>
                      <a:pt x="843" y="830"/>
                    </a:lnTo>
                    <a:lnTo>
                      <a:pt x="843" y="832"/>
                    </a:lnTo>
                    <a:lnTo>
                      <a:pt x="843" y="834"/>
                    </a:lnTo>
                    <a:lnTo>
                      <a:pt x="845" y="834"/>
                    </a:lnTo>
                    <a:lnTo>
                      <a:pt x="847" y="836"/>
                    </a:lnTo>
                    <a:lnTo>
                      <a:pt x="848" y="836"/>
                    </a:lnTo>
                    <a:lnTo>
                      <a:pt x="850" y="836"/>
                    </a:lnTo>
                    <a:lnTo>
                      <a:pt x="854" y="836"/>
                    </a:lnTo>
                    <a:lnTo>
                      <a:pt x="858" y="836"/>
                    </a:lnTo>
                    <a:lnTo>
                      <a:pt x="864" y="837"/>
                    </a:lnTo>
                    <a:lnTo>
                      <a:pt x="868" y="839"/>
                    </a:lnTo>
                    <a:lnTo>
                      <a:pt x="869" y="839"/>
                    </a:lnTo>
                    <a:lnTo>
                      <a:pt x="875" y="837"/>
                    </a:lnTo>
                    <a:lnTo>
                      <a:pt x="877" y="837"/>
                    </a:lnTo>
                    <a:lnTo>
                      <a:pt x="879" y="839"/>
                    </a:lnTo>
                    <a:lnTo>
                      <a:pt x="879" y="841"/>
                    </a:lnTo>
                    <a:lnTo>
                      <a:pt x="881" y="843"/>
                    </a:lnTo>
                    <a:lnTo>
                      <a:pt x="881" y="845"/>
                    </a:lnTo>
                    <a:lnTo>
                      <a:pt x="881" y="845"/>
                    </a:lnTo>
                    <a:lnTo>
                      <a:pt x="883" y="845"/>
                    </a:lnTo>
                    <a:lnTo>
                      <a:pt x="885" y="845"/>
                    </a:lnTo>
                    <a:lnTo>
                      <a:pt x="887" y="845"/>
                    </a:lnTo>
                    <a:lnTo>
                      <a:pt x="889" y="843"/>
                    </a:lnTo>
                    <a:lnTo>
                      <a:pt x="889" y="843"/>
                    </a:lnTo>
                    <a:lnTo>
                      <a:pt x="890" y="837"/>
                    </a:lnTo>
                    <a:lnTo>
                      <a:pt x="890" y="837"/>
                    </a:lnTo>
                    <a:lnTo>
                      <a:pt x="892" y="836"/>
                    </a:lnTo>
                    <a:lnTo>
                      <a:pt x="892" y="834"/>
                    </a:lnTo>
                    <a:lnTo>
                      <a:pt x="896" y="834"/>
                    </a:lnTo>
                    <a:lnTo>
                      <a:pt x="900" y="832"/>
                    </a:lnTo>
                    <a:lnTo>
                      <a:pt x="902" y="832"/>
                    </a:lnTo>
                    <a:lnTo>
                      <a:pt x="904" y="832"/>
                    </a:lnTo>
                    <a:lnTo>
                      <a:pt x="904" y="834"/>
                    </a:lnTo>
                    <a:lnTo>
                      <a:pt x="904" y="836"/>
                    </a:lnTo>
                    <a:lnTo>
                      <a:pt x="902" y="837"/>
                    </a:lnTo>
                    <a:lnTo>
                      <a:pt x="902" y="839"/>
                    </a:lnTo>
                    <a:lnTo>
                      <a:pt x="902" y="839"/>
                    </a:lnTo>
                    <a:lnTo>
                      <a:pt x="900" y="841"/>
                    </a:lnTo>
                    <a:lnTo>
                      <a:pt x="902" y="841"/>
                    </a:lnTo>
                    <a:lnTo>
                      <a:pt x="902" y="843"/>
                    </a:lnTo>
                    <a:lnTo>
                      <a:pt x="910" y="849"/>
                    </a:lnTo>
                    <a:lnTo>
                      <a:pt x="911" y="851"/>
                    </a:lnTo>
                    <a:lnTo>
                      <a:pt x="915" y="853"/>
                    </a:lnTo>
                    <a:lnTo>
                      <a:pt x="919" y="853"/>
                    </a:lnTo>
                    <a:lnTo>
                      <a:pt x="921" y="851"/>
                    </a:lnTo>
                    <a:lnTo>
                      <a:pt x="923" y="851"/>
                    </a:lnTo>
                    <a:lnTo>
                      <a:pt x="923" y="851"/>
                    </a:lnTo>
                    <a:lnTo>
                      <a:pt x="925" y="851"/>
                    </a:lnTo>
                    <a:lnTo>
                      <a:pt x="927" y="851"/>
                    </a:lnTo>
                    <a:lnTo>
                      <a:pt x="927" y="851"/>
                    </a:lnTo>
                    <a:lnTo>
                      <a:pt x="929" y="849"/>
                    </a:lnTo>
                    <a:lnTo>
                      <a:pt x="929" y="849"/>
                    </a:lnTo>
                    <a:lnTo>
                      <a:pt x="929" y="847"/>
                    </a:lnTo>
                    <a:lnTo>
                      <a:pt x="930" y="845"/>
                    </a:lnTo>
                    <a:lnTo>
                      <a:pt x="930" y="843"/>
                    </a:lnTo>
                    <a:lnTo>
                      <a:pt x="930" y="843"/>
                    </a:lnTo>
                    <a:lnTo>
                      <a:pt x="930" y="841"/>
                    </a:lnTo>
                    <a:lnTo>
                      <a:pt x="929" y="837"/>
                    </a:lnTo>
                    <a:lnTo>
                      <a:pt x="923" y="830"/>
                    </a:lnTo>
                    <a:lnTo>
                      <a:pt x="921" y="828"/>
                    </a:lnTo>
                    <a:lnTo>
                      <a:pt x="921" y="824"/>
                    </a:lnTo>
                    <a:lnTo>
                      <a:pt x="921" y="817"/>
                    </a:lnTo>
                    <a:lnTo>
                      <a:pt x="921" y="813"/>
                    </a:lnTo>
                    <a:lnTo>
                      <a:pt x="919" y="811"/>
                    </a:lnTo>
                    <a:lnTo>
                      <a:pt x="919" y="809"/>
                    </a:lnTo>
                    <a:lnTo>
                      <a:pt x="921" y="809"/>
                    </a:lnTo>
                    <a:lnTo>
                      <a:pt x="921" y="805"/>
                    </a:lnTo>
                    <a:lnTo>
                      <a:pt x="921" y="805"/>
                    </a:lnTo>
                    <a:lnTo>
                      <a:pt x="921" y="803"/>
                    </a:lnTo>
                    <a:lnTo>
                      <a:pt x="921" y="803"/>
                    </a:lnTo>
                    <a:lnTo>
                      <a:pt x="919" y="798"/>
                    </a:lnTo>
                    <a:lnTo>
                      <a:pt x="921" y="796"/>
                    </a:lnTo>
                    <a:lnTo>
                      <a:pt x="921" y="796"/>
                    </a:lnTo>
                    <a:lnTo>
                      <a:pt x="923" y="796"/>
                    </a:lnTo>
                    <a:lnTo>
                      <a:pt x="923" y="796"/>
                    </a:lnTo>
                    <a:lnTo>
                      <a:pt x="923" y="796"/>
                    </a:lnTo>
                    <a:lnTo>
                      <a:pt x="925" y="796"/>
                    </a:lnTo>
                    <a:lnTo>
                      <a:pt x="925" y="796"/>
                    </a:lnTo>
                    <a:lnTo>
                      <a:pt x="927" y="796"/>
                    </a:lnTo>
                    <a:lnTo>
                      <a:pt x="929" y="796"/>
                    </a:lnTo>
                    <a:lnTo>
                      <a:pt x="929" y="796"/>
                    </a:lnTo>
                    <a:lnTo>
                      <a:pt x="929" y="798"/>
                    </a:lnTo>
                    <a:lnTo>
                      <a:pt x="930" y="798"/>
                    </a:lnTo>
                    <a:lnTo>
                      <a:pt x="930" y="799"/>
                    </a:lnTo>
                    <a:lnTo>
                      <a:pt x="930" y="801"/>
                    </a:lnTo>
                    <a:lnTo>
                      <a:pt x="932" y="801"/>
                    </a:lnTo>
                    <a:lnTo>
                      <a:pt x="932" y="803"/>
                    </a:lnTo>
                    <a:lnTo>
                      <a:pt x="932" y="805"/>
                    </a:lnTo>
                    <a:lnTo>
                      <a:pt x="932" y="805"/>
                    </a:lnTo>
                    <a:lnTo>
                      <a:pt x="932" y="805"/>
                    </a:lnTo>
                    <a:lnTo>
                      <a:pt x="932" y="805"/>
                    </a:lnTo>
                    <a:lnTo>
                      <a:pt x="932" y="805"/>
                    </a:lnTo>
                    <a:lnTo>
                      <a:pt x="934" y="805"/>
                    </a:lnTo>
                    <a:lnTo>
                      <a:pt x="936" y="805"/>
                    </a:lnTo>
                    <a:lnTo>
                      <a:pt x="936" y="805"/>
                    </a:lnTo>
                    <a:lnTo>
                      <a:pt x="950" y="799"/>
                    </a:lnTo>
                    <a:lnTo>
                      <a:pt x="950" y="799"/>
                    </a:lnTo>
                    <a:lnTo>
                      <a:pt x="951" y="798"/>
                    </a:lnTo>
                    <a:lnTo>
                      <a:pt x="951" y="798"/>
                    </a:lnTo>
                    <a:lnTo>
                      <a:pt x="951" y="796"/>
                    </a:lnTo>
                    <a:lnTo>
                      <a:pt x="951" y="792"/>
                    </a:lnTo>
                    <a:lnTo>
                      <a:pt x="950" y="784"/>
                    </a:lnTo>
                    <a:lnTo>
                      <a:pt x="950" y="782"/>
                    </a:lnTo>
                    <a:lnTo>
                      <a:pt x="948" y="780"/>
                    </a:lnTo>
                    <a:lnTo>
                      <a:pt x="946" y="778"/>
                    </a:lnTo>
                    <a:lnTo>
                      <a:pt x="940" y="773"/>
                    </a:lnTo>
                    <a:lnTo>
                      <a:pt x="938" y="773"/>
                    </a:lnTo>
                    <a:lnTo>
                      <a:pt x="938" y="773"/>
                    </a:lnTo>
                    <a:lnTo>
                      <a:pt x="936" y="773"/>
                    </a:lnTo>
                    <a:lnTo>
                      <a:pt x="936" y="773"/>
                    </a:lnTo>
                    <a:lnTo>
                      <a:pt x="934" y="773"/>
                    </a:lnTo>
                    <a:lnTo>
                      <a:pt x="929" y="773"/>
                    </a:lnTo>
                    <a:lnTo>
                      <a:pt x="925" y="769"/>
                    </a:lnTo>
                    <a:lnTo>
                      <a:pt x="919" y="761"/>
                    </a:lnTo>
                    <a:lnTo>
                      <a:pt x="917" y="761"/>
                    </a:lnTo>
                    <a:lnTo>
                      <a:pt x="917" y="759"/>
                    </a:lnTo>
                    <a:lnTo>
                      <a:pt x="917" y="758"/>
                    </a:lnTo>
                    <a:lnTo>
                      <a:pt x="919" y="758"/>
                    </a:lnTo>
                    <a:lnTo>
                      <a:pt x="919" y="758"/>
                    </a:lnTo>
                    <a:lnTo>
                      <a:pt x="919" y="756"/>
                    </a:lnTo>
                    <a:lnTo>
                      <a:pt x="923" y="756"/>
                    </a:lnTo>
                    <a:lnTo>
                      <a:pt x="925" y="756"/>
                    </a:lnTo>
                    <a:lnTo>
                      <a:pt x="927" y="756"/>
                    </a:lnTo>
                    <a:lnTo>
                      <a:pt x="929" y="754"/>
                    </a:lnTo>
                    <a:lnTo>
                      <a:pt x="929" y="752"/>
                    </a:lnTo>
                    <a:lnTo>
                      <a:pt x="929" y="752"/>
                    </a:lnTo>
                    <a:lnTo>
                      <a:pt x="930" y="750"/>
                    </a:lnTo>
                    <a:lnTo>
                      <a:pt x="930" y="748"/>
                    </a:lnTo>
                    <a:lnTo>
                      <a:pt x="929" y="746"/>
                    </a:lnTo>
                    <a:lnTo>
                      <a:pt x="927" y="740"/>
                    </a:lnTo>
                    <a:lnTo>
                      <a:pt x="925" y="737"/>
                    </a:lnTo>
                    <a:lnTo>
                      <a:pt x="925" y="737"/>
                    </a:lnTo>
                    <a:lnTo>
                      <a:pt x="925" y="737"/>
                    </a:lnTo>
                    <a:lnTo>
                      <a:pt x="925" y="737"/>
                    </a:lnTo>
                    <a:lnTo>
                      <a:pt x="925" y="735"/>
                    </a:lnTo>
                    <a:lnTo>
                      <a:pt x="925" y="735"/>
                    </a:lnTo>
                    <a:lnTo>
                      <a:pt x="927" y="733"/>
                    </a:lnTo>
                    <a:lnTo>
                      <a:pt x="929" y="731"/>
                    </a:lnTo>
                    <a:lnTo>
                      <a:pt x="930" y="731"/>
                    </a:lnTo>
                    <a:lnTo>
                      <a:pt x="934" y="729"/>
                    </a:lnTo>
                    <a:lnTo>
                      <a:pt x="944" y="725"/>
                    </a:lnTo>
                    <a:lnTo>
                      <a:pt x="946" y="725"/>
                    </a:lnTo>
                    <a:lnTo>
                      <a:pt x="946" y="725"/>
                    </a:lnTo>
                    <a:lnTo>
                      <a:pt x="950" y="725"/>
                    </a:lnTo>
                    <a:lnTo>
                      <a:pt x="955" y="723"/>
                    </a:lnTo>
                    <a:lnTo>
                      <a:pt x="969" y="720"/>
                    </a:lnTo>
                    <a:lnTo>
                      <a:pt x="969" y="720"/>
                    </a:lnTo>
                    <a:lnTo>
                      <a:pt x="972" y="720"/>
                    </a:lnTo>
                    <a:lnTo>
                      <a:pt x="974" y="720"/>
                    </a:lnTo>
                    <a:lnTo>
                      <a:pt x="976" y="720"/>
                    </a:lnTo>
                    <a:lnTo>
                      <a:pt x="978" y="720"/>
                    </a:lnTo>
                    <a:lnTo>
                      <a:pt x="980" y="720"/>
                    </a:lnTo>
                    <a:lnTo>
                      <a:pt x="982" y="720"/>
                    </a:lnTo>
                    <a:lnTo>
                      <a:pt x="984" y="721"/>
                    </a:lnTo>
                    <a:lnTo>
                      <a:pt x="986" y="721"/>
                    </a:lnTo>
                    <a:lnTo>
                      <a:pt x="988" y="721"/>
                    </a:lnTo>
                    <a:lnTo>
                      <a:pt x="988" y="720"/>
                    </a:lnTo>
                    <a:lnTo>
                      <a:pt x="990" y="720"/>
                    </a:lnTo>
                    <a:lnTo>
                      <a:pt x="990" y="718"/>
                    </a:lnTo>
                    <a:lnTo>
                      <a:pt x="990" y="718"/>
                    </a:lnTo>
                    <a:lnTo>
                      <a:pt x="992" y="718"/>
                    </a:lnTo>
                    <a:lnTo>
                      <a:pt x="992" y="718"/>
                    </a:lnTo>
                    <a:lnTo>
                      <a:pt x="993" y="716"/>
                    </a:lnTo>
                    <a:lnTo>
                      <a:pt x="993" y="714"/>
                    </a:lnTo>
                    <a:lnTo>
                      <a:pt x="993" y="712"/>
                    </a:lnTo>
                    <a:lnTo>
                      <a:pt x="993" y="710"/>
                    </a:lnTo>
                    <a:lnTo>
                      <a:pt x="993" y="710"/>
                    </a:lnTo>
                    <a:lnTo>
                      <a:pt x="993" y="708"/>
                    </a:lnTo>
                    <a:lnTo>
                      <a:pt x="993" y="708"/>
                    </a:lnTo>
                    <a:lnTo>
                      <a:pt x="993" y="706"/>
                    </a:lnTo>
                    <a:lnTo>
                      <a:pt x="993" y="704"/>
                    </a:lnTo>
                    <a:lnTo>
                      <a:pt x="992" y="702"/>
                    </a:lnTo>
                    <a:lnTo>
                      <a:pt x="990" y="700"/>
                    </a:lnTo>
                    <a:lnTo>
                      <a:pt x="990" y="699"/>
                    </a:lnTo>
                    <a:lnTo>
                      <a:pt x="990" y="699"/>
                    </a:lnTo>
                    <a:lnTo>
                      <a:pt x="990" y="697"/>
                    </a:lnTo>
                    <a:lnTo>
                      <a:pt x="990" y="695"/>
                    </a:lnTo>
                    <a:lnTo>
                      <a:pt x="990" y="695"/>
                    </a:lnTo>
                    <a:lnTo>
                      <a:pt x="990" y="693"/>
                    </a:lnTo>
                    <a:lnTo>
                      <a:pt x="990" y="693"/>
                    </a:lnTo>
                    <a:lnTo>
                      <a:pt x="990" y="691"/>
                    </a:lnTo>
                    <a:lnTo>
                      <a:pt x="990" y="691"/>
                    </a:lnTo>
                    <a:lnTo>
                      <a:pt x="988" y="689"/>
                    </a:lnTo>
                    <a:lnTo>
                      <a:pt x="988" y="687"/>
                    </a:lnTo>
                    <a:lnTo>
                      <a:pt x="988" y="685"/>
                    </a:lnTo>
                    <a:lnTo>
                      <a:pt x="988" y="683"/>
                    </a:lnTo>
                    <a:lnTo>
                      <a:pt x="988" y="683"/>
                    </a:lnTo>
                    <a:lnTo>
                      <a:pt x="988" y="681"/>
                    </a:lnTo>
                    <a:lnTo>
                      <a:pt x="990" y="681"/>
                    </a:lnTo>
                    <a:lnTo>
                      <a:pt x="990" y="680"/>
                    </a:lnTo>
                    <a:lnTo>
                      <a:pt x="990" y="680"/>
                    </a:lnTo>
                    <a:lnTo>
                      <a:pt x="990" y="680"/>
                    </a:lnTo>
                    <a:lnTo>
                      <a:pt x="988" y="678"/>
                    </a:lnTo>
                    <a:lnTo>
                      <a:pt x="988" y="678"/>
                    </a:lnTo>
                    <a:lnTo>
                      <a:pt x="988" y="676"/>
                    </a:lnTo>
                    <a:lnTo>
                      <a:pt x="986" y="676"/>
                    </a:lnTo>
                    <a:lnTo>
                      <a:pt x="986" y="676"/>
                    </a:lnTo>
                    <a:lnTo>
                      <a:pt x="984" y="676"/>
                    </a:lnTo>
                    <a:lnTo>
                      <a:pt x="982" y="676"/>
                    </a:lnTo>
                    <a:lnTo>
                      <a:pt x="980" y="676"/>
                    </a:lnTo>
                    <a:lnTo>
                      <a:pt x="976" y="676"/>
                    </a:lnTo>
                    <a:lnTo>
                      <a:pt x="974" y="678"/>
                    </a:lnTo>
                    <a:lnTo>
                      <a:pt x="972" y="680"/>
                    </a:lnTo>
                    <a:lnTo>
                      <a:pt x="972" y="681"/>
                    </a:lnTo>
                    <a:lnTo>
                      <a:pt x="971" y="685"/>
                    </a:lnTo>
                    <a:lnTo>
                      <a:pt x="971" y="685"/>
                    </a:lnTo>
                    <a:lnTo>
                      <a:pt x="971" y="687"/>
                    </a:lnTo>
                    <a:lnTo>
                      <a:pt x="969" y="689"/>
                    </a:lnTo>
                    <a:lnTo>
                      <a:pt x="967" y="689"/>
                    </a:lnTo>
                    <a:lnTo>
                      <a:pt x="965" y="689"/>
                    </a:lnTo>
                    <a:lnTo>
                      <a:pt x="963" y="689"/>
                    </a:lnTo>
                    <a:lnTo>
                      <a:pt x="961" y="689"/>
                    </a:lnTo>
                    <a:lnTo>
                      <a:pt x="957" y="687"/>
                    </a:lnTo>
                    <a:lnTo>
                      <a:pt x="957" y="687"/>
                    </a:lnTo>
                    <a:lnTo>
                      <a:pt x="955" y="687"/>
                    </a:lnTo>
                    <a:lnTo>
                      <a:pt x="951" y="689"/>
                    </a:lnTo>
                    <a:lnTo>
                      <a:pt x="948" y="691"/>
                    </a:lnTo>
                    <a:lnTo>
                      <a:pt x="944" y="693"/>
                    </a:lnTo>
                    <a:lnTo>
                      <a:pt x="938" y="693"/>
                    </a:lnTo>
                    <a:lnTo>
                      <a:pt x="936" y="695"/>
                    </a:lnTo>
                    <a:lnTo>
                      <a:pt x="934" y="695"/>
                    </a:lnTo>
                    <a:lnTo>
                      <a:pt x="934" y="695"/>
                    </a:lnTo>
                    <a:lnTo>
                      <a:pt x="929" y="691"/>
                    </a:lnTo>
                    <a:lnTo>
                      <a:pt x="929" y="689"/>
                    </a:lnTo>
                    <a:lnTo>
                      <a:pt x="923" y="689"/>
                    </a:lnTo>
                    <a:lnTo>
                      <a:pt x="921" y="689"/>
                    </a:lnTo>
                    <a:lnTo>
                      <a:pt x="921" y="689"/>
                    </a:lnTo>
                    <a:lnTo>
                      <a:pt x="917" y="691"/>
                    </a:lnTo>
                    <a:lnTo>
                      <a:pt x="915" y="691"/>
                    </a:lnTo>
                    <a:lnTo>
                      <a:pt x="915" y="691"/>
                    </a:lnTo>
                    <a:lnTo>
                      <a:pt x="913" y="689"/>
                    </a:lnTo>
                    <a:lnTo>
                      <a:pt x="910" y="685"/>
                    </a:lnTo>
                    <a:lnTo>
                      <a:pt x="908" y="685"/>
                    </a:lnTo>
                    <a:lnTo>
                      <a:pt x="906" y="685"/>
                    </a:lnTo>
                    <a:lnTo>
                      <a:pt x="904" y="685"/>
                    </a:lnTo>
                    <a:lnTo>
                      <a:pt x="902" y="685"/>
                    </a:lnTo>
                    <a:lnTo>
                      <a:pt x="900" y="683"/>
                    </a:lnTo>
                    <a:lnTo>
                      <a:pt x="900" y="683"/>
                    </a:lnTo>
                    <a:lnTo>
                      <a:pt x="898" y="681"/>
                    </a:lnTo>
                    <a:lnTo>
                      <a:pt x="896" y="678"/>
                    </a:lnTo>
                    <a:lnTo>
                      <a:pt x="894" y="676"/>
                    </a:lnTo>
                    <a:lnTo>
                      <a:pt x="892" y="676"/>
                    </a:lnTo>
                    <a:lnTo>
                      <a:pt x="890" y="676"/>
                    </a:lnTo>
                    <a:lnTo>
                      <a:pt x="890" y="674"/>
                    </a:lnTo>
                    <a:lnTo>
                      <a:pt x="889" y="674"/>
                    </a:lnTo>
                    <a:lnTo>
                      <a:pt x="889" y="674"/>
                    </a:lnTo>
                    <a:lnTo>
                      <a:pt x="887" y="672"/>
                    </a:lnTo>
                    <a:lnTo>
                      <a:pt x="887" y="668"/>
                    </a:lnTo>
                    <a:lnTo>
                      <a:pt x="885" y="661"/>
                    </a:lnTo>
                    <a:lnTo>
                      <a:pt x="881" y="641"/>
                    </a:lnTo>
                    <a:lnTo>
                      <a:pt x="881" y="640"/>
                    </a:lnTo>
                    <a:lnTo>
                      <a:pt x="879" y="638"/>
                    </a:lnTo>
                    <a:lnTo>
                      <a:pt x="879" y="638"/>
                    </a:lnTo>
                    <a:lnTo>
                      <a:pt x="879" y="636"/>
                    </a:lnTo>
                    <a:lnTo>
                      <a:pt x="881" y="634"/>
                    </a:lnTo>
                    <a:lnTo>
                      <a:pt x="883" y="634"/>
                    </a:lnTo>
                    <a:lnTo>
                      <a:pt x="883" y="634"/>
                    </a:lnTo>
                    <a:lnTo>
                      <a:pt x="885" y="632"/>
                    </a:lnTo>
                    <a:lnTo>
                      <a:pt x="883" y="628"/>
                    </a:lnTo>
                    <a:lnTo>
                      <a:pt x="885" y="626"/>
                    </a:lnTo>
                    <a:lnTo>
                      <a:pt x="885" y="624"/>
                    </a:lnTo>
                    <a:lnTo>
                      <a:pt x="887" y="619"/>
                    </a:lnTo>
                    <a:lnTo>
                      <a:pt x="889" y="619"/>
                    </a:lnTo>
                    <a:lnTo>
                      <a:pt x="889" y="619"/>
                    </a:lnTo>
                    <a:lnTo>
                      <a:pt x="892" y="615"/>
                    </a:lnTo>
                    <a:lnTo>
                      <a:pt x="892" y="615"/>
                    </a:lnTo>
                    <a:lnTo>
                      <a:pt x="896" y="615"/>
                    </a:lnTo>
                    <a:lnTo>
                      <a:pt x="896" y="615"/>
                    </a:lnTo>
                    <a:lnTo>
                      <a:pt x="898" y="613"/>
                    </a:lnTo>
                    <a:lnTo>
                      <a:pt x="898" y="609"/>
                    </a:lnTo>
                    <a:lnTo>
                      <a:pt x="900" y="609"/>
                    </a:lnTo>
                    <a:lnTo>
                      <a:pt x="900" y="609"/>
                    </a:lnTo>
                    <a:lnTo>
                      <a:pt x="908" y="609"/>
                    </a:lnTo>
                    <a:lnTo>
                      <a:pt x="910" y="609"/>
                    </a:lnTo>
                    <a:lnTo>
                      <a:pt x="910" y="609"/>
                    </a:lnTo>
                    <a:lnTo>
                      <a:pt x="911" y="609"/>
                    </a:lnTo>
                    <a:lnTo>
                      <a:pt x="913" y="605"/>
                    </a:lnTo>
                    <a:lnTo>
                      <a:pt x="915" y="603"/>
                    </a:lnTo>
                    <a:lnTo>
                      <a:pt x="917" y="603"/>
                    </a:lnTo>
                    <a:lnTo>
                      <a:pt x="917" y="603"/>
                    </a:lnTo>
                    <a:lnTo>
                      <a:pt x="919" y="603"/>
                    </a:lnTo>
                    <a:lnTo>
                      <a:pt x="919" y="602"/>
                    </a:lnTo>
                    <a:lnTo>
                      <a:pt x="921" y="600"/>
                    </a:lnTo>
                    <a:lnTo>
                      <a:pt x="921" y="598"/>
                    </a:lnTo>
                    <a:lnTo>
                      <a:pt x="921" y="598"/>
                    </a:lnTo>
                    <a:lnTo>
                      <a:pt x="921" y="596"/>
                    </a:lnTo>
                    <a:lnTo>
                      <a:pt x="929" y="590"/>
                    </a:lnTo>
                    <a:lnTo>
                      <a:pt x="930" y="588"/>
                    </a:lnTo>
                    <a:lnTo>
                      <a:pt x="930" y="588"/>
                    </a:lnTo>
                    <a:lnTo>
                      <a:pt x="930" y="586"/>
                    </a:lnTo>
                    <a:lnTo>
                      <a:pt x="932" y="584"/>
                    </a:lnTo>
                    <a:lnTo>
                      <a:pt x="932" y="584"/>
                    </a:lnTo>
                    <a:lnTo>
                      <a:pt x="936" y="583"/>
                    </a:lnTo>
                    <a:lnTo>
                      <a:pt x="938" y="583"/>
                    </a:lnTo>
                    <a:lnTo>
                      <a:pt x="940" y="581"/>
                    </a:lnTo>
                    <a:lnTo>
                      <a:pt x="940" y="581"/>
                    </a:lnTo>
                    <a:lnTo>
                      <a:pt x="944" y="579"/>
                    </a:lnTo>
                    <a:lnTo>
                      <a:pt x="944" y="577"/>
                    </a:lnTo>
                    <a:lnTo>
                      <a:pt x="944" y="577"/>
                    </a:lnTo>
                    <a:lnTo>
                      <a:pt x="946" y="575"/>
                    </a:lnTo>
                    <a:lnTo>
                      <a:pt x="946" y="575"/>
                    </a:lnTo>
                    <a:lnTo>
                      <a:pt x="950" y="573"/>
                    </a:lnTo>
                    <a:lnTo>
                      <a:pt x="951" y="571"/>
                    </a:lnTo>
                    <a:lnTo>
                      <a:pt x="953" y="573"/>
                    </a:lnTo>
                    <a:lnTo>
                      <a:pt x="955" y="573"/>
                    </a:lnTo>
                    <a:lnTo>
                      <a:pt x="955" y="571"/>
                    </a:lnTo>
                    <a:lnTo>
                      <a:pt x="955" y="571"/>
                    </a:lnTo>
                    <a:lnTo>
                      <a:pt x="957" y="567"/>
                    </a:lnTo>
                    <a:lnTo>
                      <a:pt x="957" y="567"/>
                    </a:lnTo>
                    <a:lnTo>
                      <a:pt x="959" y="565"/>
                    </a:lnTo>
                    <a:lnTo>
                      <a:pt x="963" y="565"/>
                    </a:lnTo>
                    <a:lnTo>
                      <a:pt x="967" y="565"/>
                    </a:lnTo>
                    <a:lnTo>
                      <a:pt x="971" y="563"/>
                    </a:lnTo>
                    <a:lnTo>
                      <a:pt x="972" y="562"/>
                    </a:lnTo>
                    <a:lnTo>
                      <a:pt x="976" y="560"/>
                    </a:lnTo>
                    <a:lnTo>
                      <a:pt x="978" y="558"/>
                    </a:lnTo>
                    <a:lnTo>
                      <a:pt x="980" y="558"/>
                    </a:lnTo>
                    <a:lnTo>
                      <a:pt x="980" y="556"/>
                    </a:lnTo>
                    <a:lnTo>
                      <a:pt x="982" y="556"/>
                    </a:lnTo>
                    <a:lnTo>
                      <a:pt x="982" y="552"/>
                    </a:lnTo>
                    <a:lnTo>
                      <a:pt x="982" y="552"/>
                    </a:lnTo>
                    <a:lnTo>
                      <a:pt x="986" y="548"/>
                    </a:lnTo>
                    <a:lnTo>
                      <a:pt x="986" y="548"/>
                    </a:lnTo>
                    <a:lnTo>
                      <a:pt x="988" y="546"/>
                    </a:lnTo>
                    <a:lnTo>
                      <a:pt x="992" y="546"/>
                    </a:lnTo>
                    <a:lnTo>
                      <a:pt x="993" y="546"/>
                    </a:lnTo>
                    <a:lnTo>
                      <a:pt x="995" y="546"/>
                    </a:lnTo>
                    <a:lnTo>
                      <a:pt x="997" y="546"/>
                    </a:lnTo>
                    <a:lnTo>
                      <a:pt x="999" y="546"/>
                    </a:lnTo>
                    <a:lnTo>
                      <a:pt x="999" y="544"/>
                    </a:lnTo>
                    <a:lnTo>
                      <a:pt x="999" y="543"/>
                    </a:lnTo>
                    <a:lnTo>
                      <a:pt x="999" y="541"/>
                    </a:lnTo>
                    <a:lnTo>
                      <a:pt x="1001" y="541"/>
                    </a:lnTo>
                    <a:lnTo>
                      <a:pt x="1007" y="541"/>
                    </a:lnTo>
                    <a:lnTo>
                      <a:pt x="1009" y="541"/>
                    </a:lnTo>
                    <a:lnTo>
                      <a:pt x="1011" y="539"/>
                    </a:lnTo>
                    <a:lnTo>
                      <a:pt x="1014" y="535"/>
                    </a:lnTo>
                    <a:lnTo>
                      <a:pt x="1022" y="531"/>
                    </a:lnTo>
                    <a:lnTo>
                      <a:pt x="1024" y="529"/>
                    </a:lnTo>
                    <a:lnTo>
                      <a:pt x="1026" y="529"/>
                    </a:lnTo>
                    <a:lnTo>
                      <a:pt x="1030" y="527"/>
                    </a:lnTo>
                    <a:lnTo>
                      <a:pt x="1032" y="527"/>
                    </a:lnTo>
                    <a:lnTo>
                      <a:pt x="1033" y="527"/>
                    </a:lnTo>
                    <a:lnTo>
                      <a:pt x="1035" y="525"/>
                    </a:lnTo>
                    <a:lnTo>
                      <a:pt x="1037" y="524"/>
                    </a:lnTo>
                    <a:lnTo>
                      <a:pt x="1041" y="522"/>
                    </a:lnTo>
                    <a:lnTo>
                      <a:pt x="1045" y="520"/>
                    </a:lnTo>
                    <a:lnTo>
                      <a:pt x="1049" y="518"/>
                    </a:lnTo>
                    <a:lnTo>
                      <a:pt x="1047" y="514"/>
                    </a:lnTo>
                    <a:lnTo>
                      <a:pt x="1053" y="512"/>
                    </a:lnTo>
                    <a:lnTo>
                      <a:pt x="1054" y="510"/>
                    </a:lnTo>
                    <a:lnTo>
                      <a:pt x="1056" y="510"/>
                    </a:lnTo>
                    <a:lnTo>
                      <a:pt x="1056" y="506"/>
                    </a:lnTo>
                    <a:lnTo>
                      <a:pt x="1056" y="506"/>
                    </a:lnTo>
                    <a:lnTo>
                      <a:pt x="1058" y="505"/>
                    </a:lnTo>
                    <a:lnTo>
                      <a:pt x="1058" y="505"/>
                    </a:lnTo>
                    <a:lnTo>
                      <a:pt x="1062" y="505"/>
                    </a:lnTo>
                    <a:lnTo>
                      <a:pt x="1064" y="505"/>
                    </a:lnTo>
                    <a:lnTo>
                      <a:pt x="1068" y="503"/>
                    </a:lnTo>
                    <a:lnTo>
                      <a:pt x="1070" y="501"/>
                    </a:lnTo>
                    <a:lnTo>
                      <a:pt x="1072" y="501"/>
                    </a:lnTo>
                    <a:lnTo>
                      <a:pt x="1072" y="501"/>
                    </a:lnTo>
                    <a:lnTo>
                      <a:pt x="1074" y="503"/>
                    </a:lnTo>
                    <a:lnTo>
                      <a:pt x="1075" y="503"/>
                    </a:lnTo>
                    <a:lnTo>
                      <a:pt x="1075" y="503"/>
                    </a:lnTo>
                    <a:lnTo>
                      <a:pt x="1077" y="503"/>
                    </a:lnTo>
                    <a:lnTo>
                      <a:pt x="1079" y="503"/>
                    </a:lnTo>
                    <a:lnTo>
                      <a:pt x="1081" y="501"/>
                    </a:lnTo>
                    <a:lnTo>
                      <a:pt x="1081" y="501"/>
                    </a:lnTo>
                    <a:lnTo>
                      <a:pt x="1081" y="497"/>
                    </a:lnTo>
                    <a:lnTo>
                      <a:pt x="1081" y="497"/>
                    </a:lnTo>
                    <a:lnTo>
                      <a:pt x="1083" y="495"/>
                    </a:lnTo>
                    <a:lnTo>
                      <a:pt x="1083" y="495"/>
                    </a:lnTo>
                    <a:lnTo>
                      <a:pt x="1083" y="493"/>
                    </a:lnTo>
                    <a:lnTo>
                      <a:pt x="1081" y="491"/>
                    </a:lnTo>
                    <a:lnTo>
                      <a:pt x="1081" y="489"/>
                    </a:lnTo>
                    <a:lnTo>
                      <a:pt x="1083" y="487"/>
                    </a:lnTo>
                    <a:lnTo>
                      <a:pt x="1085" y="487"/>
                    </a:lnTo>
                    <a:lnTo>
                      <a:pt x="1089" y="489"/>
                    </a:lnTo>
                    <a:lnTo>
                      <a:pt x="1091" y="487"/>
                    </a:lnTo>
                    <a:lnTo>
                      <a:pt x="1091" y="484"/>
                    </a:lnTo>
                    <a:lnTo>
                      <a:pt x="1093" y="484"/>
                    </a:lnTo>
                    <a:lnTo>
                      <a:pt x="1094" y="484"/>
                    </a:lnTo>
                    <a:lnTo>
                      <a:pt x="1094" y="482"/>
                    </a:lnTo>
                    <a:lnTo>
                      <a:pt x="1094" y="480"/>
                    </a:lnTo>
                    <a:lnTo>
                      <a:pt x="1093" y="480"/>
                    </a:lnTo>
                    <a:lnTo>
                      <a:pt x="1093" y="478"/>
                    </a:lnTo>
                    <a:lnTo>
                      <a:pt x="1091" y="478"/>
                    </a:lnTo>
                    <a:lnTo>
                      <a:pt x="1091" y="476"/>
                    </a:lnTo>
                    <a:lnTo>
                      <a:pt x="1093" y="476"/>
                    </a:lnTo>
                    <a:lnTo>
                      <a:pt x="1093" y="476"/>
                    </a:lnTo>
                    <a:lnTo>
                      <a:pt x="1093" y="476"/>
                    </a:lnTo>
                    <a:lnTo>
                      <a:pt x="1094" y="476"/>
                    </a:lnTo>
                    <a:lnTo>
                      <a:pt x="1096" y="474"/>
                    </a:lnTo>
                    <a:lnTo>
                      <a:pt x="1100" y="470"/>
                    </a:lnTo>
                    <a:lnTo>
                      <a:pt x="1100" y="470"/>
                    </a:lnTo>
                    <a:lnTo>
                      <a:pt x="1100" y="468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1" name="Freeform 13">
                <a:extLst>
                  <a:ext uri="{FF2B5EF4-FFF2-40B4-BE49-F238E27FC236}">
                    <a16:creationId xmlns:a16="http://schemas.microsoft.com/office/drawing/2014/main" id="{A71D6360-99C3-442E-97FE-CA0775789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7732" y="2540474"/>
                <a:ext cx="608013" cy="685800"/>
              </a:xfrm>
              <a:custGeom>
                <a:avLst/>
                <a:gdLst>
                  <a:gd name="T0" fmla="*/ 381 w 383"/>
                  <a:gd name="T1" fmla="*/ 287 h 432"/>
                  <a:gd name="T2" fmla="*/ 378 w 383"/>
                  <a:gd name="T3" fmla="*/ 270 h 432"/>
                  <a:gd name="T4" fmla="*/ 368 w 383"/>
                  <a:gd name="T5" fmla="*/ 272 h 432"/>
                  <a:gd name="T6" fmla="*/ 362 w 383"/>
                  <a:gd name="T7" fmla="*/ 253 h 432"/>
                  <a:gd name="T8" fmla="*/ 370 w 383"/>
                  <a:gd name="T9" fmla="*/ 245 h 432"/>
                  <a:gd name="T10" fmla="*/ 345 w 383"/>
                  <a:gd name="T11" fmla="*/ 215 h 432"/>
                  <a:gd name="T12" fmla="*/ 349 w 383"/>
                  <a:gd name="T13" fmla="*/ 192 h 432"/>
                  <a:gd name="T14" fmla="*/ 340 w 383"/>
                  <a:gd name="T15" fmla="*/ 182 h 432"/>
                  <a:gd name="T16" fmla="*/ 332 w 383"/>
                  <a:gd name="T17" fmla="*/ 180 h 432"/>
                  <a:gd name="T18" fmla="*/ 324 w 383"/>
                  <a:gd name="T19" fmla="*/ 177 h 432"/>
                  <a:gd name="T20" fmla="*/ 309 w 383"/>
                  <a:gd name="T21" fmla="*/ 173 h 432"/>
                  <a:gd name="T22" fmla="*/ 296 w 383"/>
                  <a:gd name="T23" fmla="*/ 178 h 432"/>
                  <a:gd name="T24" fmla="*/ 261 w 383"/>
                  <a:gd name="T25" fmla="*/ 100 h 432"/>
                  <a:gd name="T26" fmla="*/ 238 w 383"/>
                  <a:gd name="T27" fmla="*/ 72 h 432"/>
                  <a:gd name="T28" fmla="*/ 227 w 383"/>
                  <a:gd name="T29" fmla="*/ 51 h 432"/>
                  <a:gd name="T30" fmla="*/ 221 w 383"/>
                  <a:gd name="T31" fmla="*/ 42 h 432"/>
                  <a:gd name="T32" fmla="*/ 259 w 383"/>
                  <a:gd name="T33" fmla="*/ 13 h 432"/>
                  <a:gd name="T34" fmla="*/ 237 w 383"/>
                  <a:gd name="T35" fmla="*/ 11 h 432"/>
                  <a:gd name="T36" fmla="*/ 202 w 383"/>
                  <a:gd name="T37" fmla="*/ 30 h 432"/>
                  <a:gd name="T38" fmla="*/ 185 w 383"/>
                  <a:gd name="T39" fmla="*/ 30 h 432"/>
                  <a:gd name="T40" fmla="*/ 166 w 383"/>
                  <a:gd name="T41" fmla="*/ 61 h 432"/>
                  <a:gd name="T42" fmla="*/ 143 w 383"/>
                  <a:gd name="T43" fmla="*/ 66 h 432"/>
                  <a:gd name="T44" fmla="*/ 120 w 383"/>
                  <a:gd name="T45" fmla="*/ 81 h 432"/>
                  <a:gd name="T46" fmla="*/ 86 w 383"/>
                  <a:gd name="T47" fmla="*/ 110 h 432"/>
                  <a:gd name="T48" fmla="*/ 88 w 383"/>
                  <a:gd name="T49" fmla="*/ 133 h 432"/>
                  <a:gd name="T50" fmla="*/ 82 w 383"/>
                  <a:gd name="T51" fmla="*/ 198 h 432"/>
                  <a:gd name="T52" fmla="*/ 92 w 383"/>
                  <a:gd name="T53" fmla="*/ 217 h 432"/>
                  <a:gd name="T54" fmla="*/ 71 w 383"/>
                  <a:gd name="T55" fmla="*/ 237 h 432"/>
                  <a:gd name="T56" fmla="*/ 52 w 383"/>
                  <a:gd name="T57" fmla="*/ 249 h 432"/>
                  <a:gd name="T58" fmla="*/ 40 w 383"/>
                  <a:gd name="T59" fmla="*/ 270 h 432"/>
                  <a:gd name="T60" fmla="*/ 25 w 383"/>
                  <a:gd name="T61" fmla="*/ 293 h 432"/>
                  <a:gd name="T62" fmla="*/ 2 w 383"/>
                  <a:gd name="T63" fmla="*/ 312 h 432"/>
                  <a:gd name="T64" fmla="*/ 15 w 383"/>
                  <a:gd name="T65" fmla="*/ 348 h 432"/>
                  <a:gd name="T66" fmla="*/ 99 w 383"/>
                  <a:gd name="T67" fmla="*/ 380 h 432"/>
                  <a:gd name="T68" fmla="*/ 120 w 383"/>
                  <a:gd name="T69" fmla="*/ 371 h 432"/>
                  <a:gd name="T70" fmla="*/ 135 w 383"/>
                  <a:gd name="T71" fmla="*/ 378 h 432"/>
                  <a:gd name="T72" fmla="*/ 147 w 383"/>
                  <a:gd name="T73" fmla="*/ 386 h 432"/>
                  <a:gd name="T74" fmla="*/ 156 w 383"/>
                  <a:gd name="T75" fmla="*/ 380 h 432"/>
                  <a:gd name="T76" fmla="*/ 156 w 383"/>
                  <a:gd name="T77" fmla="*/ 390 h 432"/>
                  <a:gd name="T78" fmla="*/ 164 w 383"/>
                  <a:gd name="T79" fmla="*/ 397 h 432"/>
                  <a:gd name="T80" fmla="*/ 172 w 383"/>
                  <a:gd name="T81" fmla="*/ 399 h 432"/>
                  <a:gd name="T82" fmla="*/ 170 w 383"/>
                  <a:gd name="T83" fmla="*/ 405 h 432"/>
                  <a:gd name="T84" fmla="*/ 166 w 383"/>
                  <a:gd name="T85" fmla="*/ 414 h 432"/>
                  <a:gd name="T86" fmla="*/ 172 w 383"/>
                  <a:gd name="T87" fmla="*/ 424 h 432"/>
                  <a:gd name="T88" fmla="*/ 181 w 383"/>
                  <a:gd name="T89" fmla="*/ 426 h 432"/>
                  <a:gd name="T90" fmla="*/ 187 w 383"/>
                  <a:gd name="T91" fmla="*/ 414 h 432"/>
                  <a:gd name="T92" fmla="*/ 212 w 383"/>
                  <a:gd name="T93" fmla="*/ 399 h 432"/>
                  <a:gd name="T94" fmla="*/ 235 w 383"/>
                  <a:gd name="T95" fmla="*/ 397 h 432"/>
                  <a:gd name="T96" fmla="*/ 256 w 383"/>
                  <a:gd name="T97" fmla="*/ 405 h 432"/>
                  <a:gd name="T98" fmla="*/ 288 w 383"/>
                  <a:gd name="T99" fmla="*/ 393 h 432"/>
                  <a:gd name="T100" fmla="*/ 292 w 383"/>
                  <a:gd name="T101" fmla="*/ 378 h 432"/>
                  <a:gd name="T102" fmla="*/ 298 w 383"/>
                  <a:gd name="T103" fmla="*/ 359 h 432"/>
                  <a:gd name="T104" fmla="*/ 296 w 383"/>
                  <a:gd name="T105" fmla="*/ 350 h 432"/>
                  <a:gd name="T106" fmla="*/ 311 w 383"/>
                  <a:gd name="T107" fmla="*/ 352 h 432"/>
                  <a:gd name="T108" fmla="*/ 317 w 383"/>
                  <a:gd name="T109" fmla="*/ 352 h 432"/>
                  <a:gd name="T110" fmla="*/ 322 w 383"/>
                  <a:gd name="T111" fmla="*/ 342 h 432"/>
                  <a:gd name="T112" fmla="*/ 349 w 383"/>
                  <a:gd name="T113" fmla="*/ 348 h 432"/>
                  <a:gd name="T114" fmla="*/ 345 w 383"/>
                  <a:gd name="T115" fmla="*/ 336 h 432"/>
                  <a:gd name="T116" fmla="*/ 340 w 383"/>
                  <a:gd name="T117" fmla="*/ 336 h 432"/>
                  <a:gd name="T118" fmla="*/ 359 w 383"/>
                  <a:gd name="T119" fmla="*/ 319 h 432"/>
                  <a:gd name="T120" fmla="*/ 361 w 383"/>
                  <a:gd name="T121" fmla="*/ 308 h 432"/>
                  <a:gd name="T122" fmla="*/ 381 w 383"/>
                  <a:gd name="T123" fmla="*/ 315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83" h="432">
                    <a:moveTo>
                      <a:pt x="381" y="304"/>
                    </a:moveTo>
                    <a:lnTo>
                      <a:pt x="381" y="302"/>
                    </a:lnTo>
                    <a:lnTo>
                      <a:pt x="381" y="298"/>
                    </a:lnTo>
                    <a:lnTo>
                      <a:pt x="383" y="296"/>
                    </a:lnTo>
                    <a:lnTo>
                      <a:pt x="383" y="296"/>
                    </a:lnTo>
                    <a:lnTo>
                      <a:pt x="383" y="295"/>
                    </a:lnTo>
                    <a:lnTo>
                      <a:pt x="383" y="295"/>
                    </a:lnTo>
                    <a:lnTo>
                      <a:pt x="383" y="293"/>
                    </a:lnTo>
                    <a:lnTo>
                      <a:pt x="383" y="293"/>
                    </a:lnTo>
                    <a:lnTo>
                      <a:pt x="383" y="291"/>
                    </a:lnTo>
                    <a:lnTo>
                      <a:pt x="381" y="291"/>
                    </a:lnTo>
                    <a:lnTo>
                      <a:pt x="381" y="287"/>
                    </a:lnTo>
                    <a:lnTo>
                      <a:pt x="383" y="283"/>
                    </a:lnTo>
                    <a:lnTo>
                      <a:pt x="383" y="281"/>
                    </a:lnTo>
                    <a:lnTo>
                      <a:pt x="383" y="281"/>
                    </a:lnTo>
                    <a:lnTo>
                      <a:pt x="381" y="279"/>
                    </a:lnTo>
                    <a:lnTo>
                      <a:pt x="381" y="277"/>
                    </a:lnTo>
                    <a:lnTo>
                      <a:pt x="381" y="277"/>
                    </a:lnTo>
                    <a:lnTo>
                      <a:pt x="380" y="276"/>
                    </a:lnTo>
                    <a:lnTo>
                      <a:pt x="380" y="276"/>
                    </a:lnTo>
                    <a:lnTo>
                      <a:pt x="378" y="276"/>
                    </a:lnTo>
                    <a:lnTo>
                      <a:pt x="378" y="276"/>
                    </a:lnTo>
                    <a:lnTo>
                      <a:pt x="378" y="272"/>
                    </a:lnTo>
                    <a:lnTo>
                      <a:pt x="378" y="270"/>
                    </a:lnTo>
                    <a:lnTo>
                      <a:pt x="376" y="270"/>
                    </a:lnTo>
                    <a:lnTo>
                      <a:pt x="376" y="270"/>
                    </a:lnTo>
                    <a:lnTo>
                      <a:pt x="376" y="270"/>
                    </a:lnTo>
                    <a:lnTo>
                      <a:pt x="376" y="270"/>
                    </a:lnTo>
                    <a:lnTo>
                      <a:pt x="376" y="270"/>
                    </a:lnTo>
                    <a:lnTo>
                      <a:pt x="374" y="270"/>
                    </a:lnTo>
                    <a:lnTo>
                      <a:pt x="372" y="270"/>
                    </a:lnTo>
                    <a:lnTo>
                      <a:pt x="372" y="270"/>
                    </a:lnTo>
                    <a:lnTo>
                      <a:pt x="370" y="270"/>
                    </a:lnTo>
                    <a:lnTo>
                      <a:pt x="370" y="270"/>
                    </a:lnTo>
                    <a:lnTo>
                      <a:pt x="368" y="272"/>
                    </a:lnTo>
                    <a:lnTo>
                      <a:pt x="368" y="272"/>
                    </a:lnTo>
                    <a:lnTo>
                      <a:pt x="366" y="270"/>
                    </a:lnTo>
                    <a:lnTo>
                      <a:pt x="366" y="270"/>
                    </a:lnTo>
                    <a:lnTo>
                      <a:pt x="364" y="268"/>
                    </a:lnTo>
                    <a:lnTo>
                      <a:pt x="362" y="264"/>
                    </a:lnTo>
                    <a:lnTo>
                      <a:pt x="359" y="260"/>
                    </a:lnTo>
                    <a:lnTo>
                      <a:pt x="357" y="260"/>
                    </a:lnTo>
                    <a:lnTo>
                      <a:pt x="357" y="258"/>
                    </a:lnTo>
                    <a:lnTo>
                      <a:pt x="357" y="258"/>
                    </a:lnTo>
                    <a:lnTo>
                      <a:pt x="357" y="257"/>
                    </a:lnTo>
                    <a:lnTo>
                      <a:pt x="357" y="257"/>
                    </a:lnTo>
                    <a:lnTo>
                      <a:pt x="359" y="255"/>
                    </a:lnTo>
                    <a:lnTo>
                      <a:pt x="362" y="253"/>
                    </a:lnTo>
                    <a:lnTo>
                      <a:pt x="364" y="253"/>
                    </a:lnTo>
                    <a:lnTo>
                      <a:pt x="366" y="253"/>
                    </a:lnTo>
                    <a:lnTo>
                      <a:pt x="372" y="255"/>
                    </a:lnTo>
                    <a:lnTo>
                      <a:pt x="374" y="251"/>
                    </a:lnTo>
                    <a:lnTo>
                      <a:pt x="374" y="249"/>
                    </a:lnTo>
                    <a:lnTo>
                      <a:pt x="374" y="249"/>
                    </a:lnTo>
                    <a:lnTo>
                      <a:pt x="374" y="247"/>
                    </a:lnTo>
                    <a:lnTo>
                      <a:pt x="374" y="247"/>
                    </a:lnTo>
                    <a:lnTo>
                      <a:pt x="374" y="245"/>
                    </a:lnTo>
                    <a:lnTo>
                      <a:pt x="374" y="245"/>
                    </a:lnTo>
                    <a:lnTo>
                      <a:pt x="372" y="245"/>
                    </a:lnTo>
                    <a:lnTo>
                      <a:pt x="370" y="245"/>
                    </a:lnTo>
                    <a:lnTo>
                      <a:pt x="370" y="243"/>
                    </a:lnTo>
                    <a:lnTo>
                      <a:pt x="368" y="239"/>
                    </a:lnTo>
                    <a:lnTo>
                      <a:pt x="368" y="239"/>
                    </a:lnTo>
                    <a:lnTo>
                      <a:pt x="366" y="237"/>
                    </a:lnTo>
                    <a:lnTo>
                      <a:pt x="361" y="232"/>
                    </a:lnTo>
                    <a:lnTo>
                      <a:pt x="359" y="230"/>
                    </a:lnTo>
                    <a:lnTo>
                      <a:pt x="351" y="224"/>
                    </a:lnTo>
                    <a:lnTo>
                      <a:pt x="349" y="220"/>
                    </a:lnTo>
                    <a:lnTo>
                      <a:pt x="347" y="218"/>
                    </a:lnTo>
                    <a:lnTo>
                      <a:pt x="347" y="217"/>
                    </a:lnTo>
                    <a:lnTo>
                      <a:pt x="345" y="217"/>
                    </a:lnTo>
                    <a:lnTo>
                      <a:pt x="345" y="215"/>
                    </a:lnTo>
                    <a:lnTo>
                      <a:pt x="345" y="213"/>
                    </a:lnTo>
                    <a:lnTo>
                      <a:pt x="345" y="211"/>
                    </a:lnTo>
                    <a:lnTo>
                      <a:pt x="347" y="211"/>
                    </a:lnTo>
                    <a:lnTo>
                      <a:pt x="347" y="207"/>
                    </a:lnTo>
                    <a:lnTo>
                      <a:pt x="347" y="207"/>
                    </a:lnTo>
                    <a:lnTo>
                      <a:pt x="345" y="205"/>
                    </a:lnTo>
                    <a:lnTo>
                      <a:pt x="345" y="203"/>
                    </a:lnTo>
                    <a:lnTo>
                      <a:pt x="345" y="198"/>
                    </a:lnTo>
                    <a:lnTo>
                      <a:pt x="345" y="196"/>
                    </a:lnTo>
                    <a:lnTo>
                      <a:pt x="345" y="196"/>
                    </a:lnTo>
                    <a:lnTo>
                      <a:pt x="347" y="194"/>
                    </a:lnTo>
                    <a:lnTo>
                      <a:pt x="349" y="192"/>
                    </a:lnTo>
                    <a:lnTo>
                      <a:pt x="347" y="190"/>
                    </a:lnTo>
                    <a:lnTo>
                      <a:pt x="347" y="190"/>
                    </a:lnTo>
                    <a:lnTo>
                      <a:pt x="343" y="190"/>
                    </a:lnTo>
                    <a:lnTo>
                      <a:pt x="343" y="190"/>
                    </a:lnTo>
                    <a:lnTo>
                      <a:pt x="343" y="190"/>
                    </a:lnTo>
                    <a:lnTo>
                      <a:pt x="343" y="186"/>
                    </a:lnTo>
                    <a:lnTo>
                      <a:pt x="343" y="186"/>
                    </a:lnTo>
                    <a:lnTo>
                      <a:pt x="341" y="184"/>
                    </a:lnTo>
                    <a:lnTo>
                      <a:pt x="341" y="182"/>
                    </a:lnTo>
                    <a:lnTo>
                      <a:pt x="341" y="182"/>
                    </a:lnTo>
                    <a:lnTo>
                      <a:pt x="341" y="182"/>
                    </a:lnTo>
                    <a:lnTo>
                      <a:pt x="340" y="182"/>
                    </a:lnTo>
                    <a:lnTo>
                      <a:pt x="340" y="184"/>
                    </a:lnTo>
                    <a:lnTo>
                      <a:pt x="340" y="186"/>
                    </a:lnTo>
                    <a:lnTo>
                      <a:pt x="338" y="186"/>
                    </a:lnTo>
                    <a:lnTo>
                      <a:pt x="338" y="186"/>
                    </a:lnTo>
                    <a:lnTo>
                      <a:pt x="338" y="186"/>
                    </a:lnTo>
                    <a:lnTo>
                      <a:pt x="338" y="184"/>
                    </a:lnTo>
                    <a:lnTo>
                      <a:pt x="336" y="182"/>
                    </a:lnTo>
                    <a:lnTo>
                      <a:pt x="336" y="182"/>
                    </a:lnTo>
                    <a:lnTo>
                      <a:pt x="336" y="180"/>
                    </a:lnTo>
                    <a:lnTo>
                      <a:pt x="334" y="180"/>
                    </a:lnTo>
                    <a:lnTo>
                      <a:pt x="334" y="180"/>
                    </a:lnTo>
                    <a:lnTo>
                      <a:pt x="332" y="180"/>
                    </a:lnTo>
                    <a:lnTo>
                      <a:pt x="332" y="182"/>
                    </a:lnTo>
                    <a:lnTo>
                      <a:pt x="332" y="182"/>
                    </a:lnTo>
                    <a:lnTo>
                      <a:pt x="332" y="182"/>
                    </a:lnTo>
                    <a:lnTo>
                      <a:pt x="330" y="180"/>
                    </a:lnTo>
                    <a:lnTo>
                      <a:pt x="330" y="178"/>
                    </a:lnTo>
                    <a:lnTo>
                      <a:pt x="328" y="178"/>
                    </a:lnTo>
                    <a:lnTo>
                      <a:pt x="328" y="178"/>
                    </a:lnTo>
                    <a:lnTo>
                      <a:pt x="328" y="178"/>
                    </a:lnTo>
                    <a:lnTo>
                      <a:pt x="326" y="180"/>
                    </a:lnTo>
                    <a:lnTo>
                      <a:pt x="326" y="180"/>
                    </a:lnTo>
                    <a:lnTo>
                      <a:pt x="324" y="180"/>
                    </a:lnTo>
                    <a:lnTo>
                      <a:pt x="324" y="177"/>
                    </a:lnTo>
                    <a:lnTo>
                      <a:pt x="322" y="171"/>
                    </a:lnTo>
                    <a:lnTo>
                      <a:pt x="317" y="161"/>
                    </a:lnTo>
                    <a:lnTo>
                      <a:pt x="315" y="161"/>
                    </a:lnTo>
                    <a:lnTo>
                      <a:pt x="315" y="161"/>
                    </a:lnTo>
                    <a:lnTo>
                      <a:pt x="315" y="161"/>
                    </a:lnTo>
                    <a:lnTo>
                      <a:pt x="313" y="161"/>
                    </a:lnTo>
                    <a:lnTo>
                      <a:pt x="313" y="161"/>
                    </a:lnTo>
                    <a:lnTo>
                      <a:pt x="311" y="163"/>
                    </a:lnTo>
                    <a:lnTo>
                      <a:pt x="309" y="165"/>
                    </a:lnTo>
                    <a:lnTo>
                      <a:pt x="311" y="171"/>
                    </a:lnTo>
                    <a:lnTo>
                      <a:pt x="309" y="171"/>
                    </a:lnTo>
                    <a:lnTo>
                      <a:pt x="309" y="173"/>
                    </a:lnTo>
                    <a:lnTo>
                      <a:pt x="307" y="173"/>
                    </a:lnTo>
                    <a:lnTo>
                      <a:pt x="307" y="173"/>
                    </a:lnTo>
                    <a:lnTo>
                      <a:pt x="307" y="175"/>
                    </a:lnTo>
                    <a:lnTo>
                      <a:pt x="305" y="177"/>
                    </a:lnTo>
                    <a:lnTo>
                      <a:pt x="305" y="177"/>
                    </a:lnTo>
                    <a:lnTo>
                      <a:pt x="305" y="178"/>
                    </a:lnTo>
                    <a:lnTo>
                      <a:pt x="303" y="178"/>
                    </a:lnTo>
                    <a:lnTo>
                      <a:pt x="303" y="178"/>
                    </a:lnTo>
                    <a:lnTo>
                      <a:pt x="299" y="177"/>
                    </a:lnTo>
                    <a:lnTo>
                      <a:pt x="299" y="177"/>
                    </a:lnTo>
                    <a:lnTo>
                      <a:pt x="298" y="177"/>
                    </a:lnTo>
                    <a:lnTo>
                      <a:pt x="296" y="178"/>
                    </a:lnTo>
                    <a:lnTo>
                      <a:pt x="292" y="177"/>
                    </a:lnTo>
                    <a:lnTo>
                      <a:pt x="290" y="175"/>
                    </a:lnTo>
                    <a:lnTo>
                      <a:pt x="288" y="171"/>
                    </a:lnTo>
                    <a:lnTo>
                      <a:pt x="288" y="169"/>
                    </a:lnTo>
                    <a:lnTo>
                      <a:pt x="286" y="161"/>
                    </a:lnTo>
                    <a:lnTo>
                      <a:pt x="279" y="140"/>
                    </a:lnTo>
                    <a:lnTo>
                      <a:pt x="263" y="110"/>
                    </a:lnTo>
                    <a:lnTo>
                      <a:pt x="259" y="104"/>
                    </a:lnTo>
                    <a:lnTo>
                      <a:pt x="259" y="104"/>
                    </a:lnTo>
                    <a:lnTo>
                      <a:pt x="259" y="102"/>
                    </a:lnTo>
                    <a:lnTo>
                      <a:pt x="261" y="102"/>
                    </a:lnTo>
                    <a:lnTo>
                      <a:pt x="261" y="100"/>
                    </a:lnTo>
                    <a:lnTo>
                      <a:pt x="263" y="100"/>
                    </a:lnTo>
                    <a:lnTo>
                      <a:pt x="265" y="102"/>
                    </a:lnTo>
                    <a:lnTo>
                      <a:pt x="265" y="102"/>
                    </a:lnTo>
                    <a:lnTo>
                      <a:pt x="265" y="100"/>
                    </a:lnTo>
                    <a:lnTo>
                      <a:pt x="265" y="100"/>
                    </a:lnTo>
                    <a:lnTo>
                      <a:pt x="265" y="99"/>
                    </a:lnTo>
                    <a:lnTo>
                      <a:pt x="261" y="91"/>
                    </a:lnTo>
                    <a:lnTo>
                      <a:pt x="256" y="83"/>
                    </a:lnTo>
                    <a:lnTo>
                      <a:pt x="256" y="81"/>
                    </a:lnTo>
                    <a:lnTo>
                      <a:pt x="252" y="80"/>
                    </a:lnTo>
                    <a:lnTo>
                      <a:pt x="244" y="76"/>
                    </a:lnTo>
                    <a:lnTo>
                      <a:pt x="238" y="72"/>
                    </a:lnTo>
                    <a:lnTo>
                      <a:pt x="233" y="70"/>
                    </a:lnTo>
                    <a:lnTo>
                      <a:pt x="233" y="68"/>
                    </a:lnTo>
                    <a:lnTo>
                      <a:pt x="231" y="68"/>
                    </a:lnTo>
                    <a:lnTo>
                      <a:pt x="227" y="68"/>
                    </a:lnTo>
                    <a:lnTo>
                      <a:pt x="219" y="66"/>
                    </a:lnTo>
                    <a:lnTo>
                      <a:pt x="219" y="66"/>
                    </a:lnTo>
                    <a:lnTo>
                      <a:pt x="217" y="66"/>
                    </a:lnTo>
                    <a:lnTo>
                      <a:pt x="217" y="64"/>
                    </a:lnTo>
                    <a:lnTo>
                      <a:pt x="217" y="62"/>
                    </a:lnTo>
                    <a:lnTo>
                      <a:pt x="225" y="55"/>
                    </a:lnTo>
                    <a:lnTo>
                      <a:pt x="225" y="53"/>
                    </a:lnTo>
                    <a:lnTo>
                      <a:pt x="227" y="51"/>
                    </a:lnTo>
                    <a:lnTo>
                      <a:pt x="227" y="49"/>
                    </a:lnTo>
                    <a:lnTo>
                      <a:pt x="227" y="47"/>
                    </a:lnTo>
                    <a:lnTo>
                      <a:pt x="227" y="47"/>
                    </a:lnTo>
                    <a:lnTo>
                      <a:pt x="225" y="47"/>
                    </a:lnTo>
                    <a:lnTo>
                      <a:pt x="225" y="47"/>
                    </a:lnTo>
                    <a:lnTo>
                      <a:pt x="225" y="47"/>
                    </a:lnTo>
                    <a:lnTo>
                      <a:pt x="223" y="49"/>
                    </a:lnTo>
                    <a:lnTo>
                      <a:pt x="223" y="49"/>
                    </a:lnTo>
                    <a:lnTo>
                      <a:pt x="221" y="47"/>
                    </a:lnTo>
                    <a:lnTo>
                      <a:pt x="221" y="45"/>
                    </a:lnTo>
                    <a:lnTo>
                      <a:pt x="221" y="43"/>
                    </a:lnTo>
                    <a:lnTo>
                      <a:pt x="221" y="42"/>
                    </a:lnTo>
                    <a:lnTo>
                      <a:pt x="221" y="40"/>
                    </a:lnTo>
                    <a:lnTo>
                      <a:pt x="221" y="40"/>
                    </a:lnTo>
                    <a:lnTo>
                      <a:pt x="223" y="38"/>
                    </a:lnTo>
                    <a:lnTo>
                      <a:pt x="231" y="36"/>
                    </a:lnTo>
                    <a:lnTo>
                      <a:pt x="235" y="36"/>
                    </a:lnTo>
                    <a:lnTo>
                      <a:pt x="237" y="34"/>
                    </a:lnTo>
                    <a:lnTo>
                      <a:pt x="238" y="32"/>
                    </a:lnTo>
                    <a:lnTo>
                      <a:pt x="242" y="26"/>
                    </a:lnTo>
                    <a:lnTo>
                      <a:pt x="252" y="19"/>
                    </a:lnTo>
                    <a:lnTo>
                      <a:pt x="258" y="15"/>
                    </a:lnTo>
                    <a:lnTo>
                      <a:pt x="259" y="15"/>
                    </a:lnTo>
                    <a:lnTo>
                      <a:pt x="259" y="13"/>
                    </a:lnTo>
                    <a:lnTo>
                      <a:pt x="259" y="13"/>
                    </a:lnTo>
                    <a:lnTo>
                      <a:pt x="254" y="3"/>
                    </a:lnTo>
                    <a:lnTo>
                      <a:pt x="254" y="2"/>
                    </a:lnTo>
                    <a:lnTo>
                      <a:pt x="252" y="0"/>
                    </a:lnTo>
                    <a:lnTo>
                      <a:pt x="250" y="0"/>
                    </a:lnTo>
                    <a:lnTo>
                      <a:pt x="250" y="2"/>
                    </a:lnTo>
                    <a:lnTo>
                      <a:pt x="248" y="3"/>
                    </a:lnTo>
                    <a:lnTo>
                      <a:pt x="246" y="3"/>
                    </a:lnTo>
                    <a:lnTo>
                      <a:pt x="244" y="5"/>
                    </a:lnTo>
                    <a:lnTo>
                      <a:pt x="238" y="7"/>
                    </a:lnTo>
                    <a:lnTo>
                      <a:pt x="237" y="9"/>
                    </a:lnTo>
                    <a:lnTo>
                      <a:pt x="237" y="11"/>
                    </a:lnTo>
                    <a:lnTo>
                      <a:pt x="237" y="13"/>
                    </a:lnTo>
                    <a:lnTo>
                      <a:pt x="235" y="13"/>
                    </a:lnTo>
                    <a:lnTo>
                      <a:pt x="233" y="15"/>
                    </a:lnTo>
                    <a:lnTo>
                      <a:pt x="233" y="17"/>
                    </a:lnTo>
                    <a:lnTo>
                      <a:pt x="231" y="17"/>
                    </a:lnTo>
                    <a:lnTo>
                      <a:pt x="221" y="19"/>
                    </a:lnTo>
                    <a:lnTo>
                      <a:pt x="216" y="21"/>
                    </a:lnTo>
                    <a:lnTo>
                      <a:pt x="212" y="26"/>
                    </a:lnTo>
                    <a:lnTo>
                      <a:pt x="208" y="32"/>
                    </a:lnTo>
                    <a:lnTo>
                      <a:pt x="204" y="32"/>
                    </a:lnTo>
                    <a:lnTo>
                      <a:pt x="204" y="30"/>
                    </a:lnTo>
                    <a:lnTo>
                      <a:pt x="202" y="30"/>
                    </a:lnTo>
                    <a:lnTo>
                      <a:pt x="200" y="28"/>
                    </a:lnTo>
                    <a:lnTo>
                      <a:pt x="200" y="28"/>
                    </a:lnTo>
                    <a:lnTo>
                      <a:pt x="200" y="26"/>
                    </a:lnTo>
                    <a:lnTo>
                      <a:pt x="200" y="24"/>
                    </a:lnTo>
                    <a:lnTo>
                      <a:pt x="200" y="24"/>
                    </a:lnTo>
                    <a:lnTo>
                      <a:pt x="198" y="22"/>
                    </a:lnTo>
                    <a:lnTo>
                      <a:pt x="197" y="24"/>
                    </a:lnTo>
                    <a:lnTo>
                      <a:pt x="197" y="26"/>
                    </a:lnTo>
                    <a:lnTo>
                      <a:pt x="193" y="26"/>
                    </a:lnTo>
                    <a:lnTo>
                      <a:pt x="185" y="26"/>
                    </a:lnTo>
                    <a:lnTo>
                      <a:pt x="181" y="28"/>
                    </a:lnTo>
                    <a:lnTo>
                      <a:pt x="185" y="30"/>
                    </a:lnTo>
                    <a:lnTo>
                      <a:pt x="189" y="34"/>
                    </a:lnTo>
                    <a:lnTo>
                      <a:pt x="189" y="38"/>
                    </a:lnTo>
                    <a:lnTo>
                      <a:pt x="189" y="42"/>
                    </a:lnTo>
                    <a:lnTo>
                      <a:pt x="185" y="45"/>
                    </a:lnTo>
                    <a:lnTo>
                      <a:pt x="183" y="47"/>
                    </a:lnTo>
                    <a:lnTo>
                      <a:pt x="181" y="53"/>
                    </a:lnTo>
                    <a:lnTo>
                      <a:pt x="181" y="55"/>
                    </a:lnTo>
                    <a:lnTo>
                      <a:pt x="177" y="55"/>
                    </a:lnTo>
                    <a:lnTo>
                      <a:pt x="176" y="55"/>
                    </a:lnTo>
                    <a:lnTo>
                      <a:pt x="174" y="55"/>
                    </a:lnTo>
                    <a:lnTo>
                      <a:pt x="170" y="57"/>
                    </a:lnTo>
                    <a:lnTo>
                      <a:pt x="166" y="61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2" y="62"/>
                    </a:lnTo>
                    <a:lnTo>
                      <a:pt x="160" y="62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6" y="64"/>
                    </a:lnTo>
                    <a:lnTo>
                      <a:pt x="149" y="62"/>
                    </a:lnTo>
                    <a:lnTo>
                      <a:pt x="147" y="62"/>
                    </a:lnTo>
                    <a:lnTo>
                      <a:pt x="149" y="66"/>
                    </a:lnTo>
                    <a:lnTo>
                      <a:pt x="147" y="66"/>
                    </a:lnTo>
                    <a:lnTo>
                      <a:pt x="143" y="66"/>
                    </a:lnTo>
                    <a:lnTo>
                      <a:pt x="143" y="68"/>
                    </a:lnTo>
                    <a:lnTo>
                      <a:pt x="141" y="68"/>
                    </a:lnTo>
                    <a:lnTo>
                      <a:pt x="141" y="70"/>
                    </a:lnTo>
                    <a:lnTo>
                      <a:pt x="141" y="72"/>
                    </a:lnTo>
                    <a:lnTo>
                      <a:pt x="139" y="72"/>
                    </a:lnTo>
                    <a:lnTo>
                      <a:pt x="135" y="72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8" y="76"/>
                    </a:lnTo>
                    <a:lnTo>
                      <a:pt x="122" y="74"/>
                    </a:lnTo>
                    <a:lnTo>
                      <a:pt x="120" y="76"/>
                    </a:lnTo>
                    <a:lnTo>
                      <a:pt x="120" y="81"/>
                    </a:lnTo>
                    <a:lnTo>
                      <a:pt x="116" y="85"/>
                    </a:lnTo>
                    <a:lnTo>
                      <a:pt x="115" y="85"/>
                    </a:lnTo>
                    <a:lnTo>
                      <a:pt x="107" y="83"/>
                    </a:lnTo>
                    <a:lnTo>
                      <a:pt x="103" y="91"/>
                    </a:lnTo>
                    <a:lnTo>
                      <a:pt x="101" y="93"/>
                    </a:lnTo>
                    <a:lnTo>
                      <a:pt x="99" y="93"/>
                    </a:lnTo>
                    <a:lnTo>
                      <a:pt x="90" y="100"/>
                    </a:lnTo>
                    <a:lnTo>
                      <a:pt x="88" y="102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6" y="110"/>
                    </a:lnTo>
                    <a:lnTo>
                      <a:pt x="86" y="110"/>
                    </a:lnTo>
                    <a:lnTo>
                      <a:pt x="86" y="110"/>
                    </a:lnTo>
                    <a:lnTo>
                      <a:pt x="84" y="112"/>
                    </a:lnTo>
                    <a:lnTo>
                      <a:pt x="84" y="114"/>
                    </a:lnTo>
                    <a:lnTo>
                      <a:pt x="84" y="114"/>
                    </a:lnTo>
                    <a:lnTo>
                      <a:pt x="84" y="116"/>
                    </a:lnTo>
                    <a:lnTo>
                      <a:pt x="84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0" y="120"/>
                    </a:lnTo>
                    <a:lnTo>
                      <a:pt x="80" y="120"/>
                    </a:lnTo>
                    <a:lnTo>
                      <a:pt x="82" y="121"/>
                    </a:lnTo>
                    <a:lnTo>
                      <a:pt x="88" y="133"/>
                    </a:lnTo>
                    <a:lnTo>
                      <a:pt x="92" y="148"/>
                    </a:lnTo>
                    <a:lnTo>
                      <a:pt x="95" y="154"/>
                    </a:lnTo>
                    <a:lnTo>
                      <a:pt x="95" y="156"/>
                    </a:lnTo>
                    <a:lnTo>
                      <a:pt x="95" y="159"/>
                    </a:lnTo>
                    <a:lnTo>
                      <a:pt x="94" y="161"/>
                    </a:lnTo>
                    <a:lnTo>
                      <a:pt x="92" y="163"/>
                    </a:lnTo>
                    <a:lnTo>
                      <a:pt x="90" y="167"/>
                    </a:lnTo>
                    <a:lnTo>
                      <a:pt x="86" y="178"/>
                    </a:lnTo>
                    <a:lnTo>
                      <a:pt x="84" y="182"/>
                    </a:lnTo>
                    <a:lnTo>
                      <a:pt x="84" y="190"/>
                    </a:lnTo>
                    <a:lnTo>
                      <a:pt x="82" y="196"/>
                    </a:lnTo>
                    <a:lnTo>
                      <a:pt x="82" y="198"/>
                    </a:lnTo>
                    <a:lnTo>
                      <a:pt x="82" y="201"/>
                    </a:lnTo>
                    <a:lnTo>
                      <a:pt x="84" y="203"/>
                    </a:lnTo>
                    <a:lnTo>
                      <a:pt x="84" y="205"/>
                    </a:lnTo>
                    <a:lnTo>
                      <a:pt x="86" y="207"/>
                    </a:lnTo>
                    <a:lnTo>
                      <a:pt x="88" y="207"/>
                    </a:lnTo>
                    <a:lnTo>
                      <a:pt x="94" y="207"/>
                    </a:lnTo>
                    <a:lnTo>
                      <a:pt x="95" y="207"/>
                    </a:lnTo>
                    <a:lnTo>
                      <a:pt x="97" y="207"/>
                    </a:lnTo>
                    <a:lnTo>
                      <a:pt x="101" y="209"/>
                    </a:lnTo>
                    <a:lnTo>
                      <a:pt x="101" y="211"/>
                    </a:lnTo>
                    <a:lnTo>
                      <a:pt x="94" y="215"/>
                    </a:lnTo>
                    <a:lnTo>
                      <a:pt x="92" y="217"/>
                    </a:lnTo>
                    <a:lnTo>
                      <a:pt x="90" y="220"/>
                    </a:lnTo>
                    <a:lnTo>
                      <a:pt x="90" y="222"/>
                    </a:lnTo>
                    <a:lnTo>
                      <a:pt x="88" y="224"/>
                    </a:lnTo>
                    <a:lnTo>
                      <a:pt x="86" y="226"/>
                    </a:lnTo>
                    <a:lnTo>
                      <a:pt x="84" y="230"/>
                    </a:lnTo>
                    <a:lnTo>
                      <a:pt x="82" y="230"/>
                    </a:lnTo>
                    <a:lnTo>
                      <a:pt x="78" y="230"/>
                    </a:lnTo>
                    <a:lnTo>
                      <a:pt x="76" y="230"/>
                    </a:lnTo>
                    <a:lnTo>
                      <a:pt x="74" y="232"/>
                    </a:lnTo>
                    <a:lnTo>
                      <a:pt x="73" y="234"/>
                    </a:lnTo>
                    <a:lnTo>
                      <a:pt x="71" y="236"/>
                    </a:lnTo>
                    <a:lnTo>
                      <a:pt x="71" y="237"/>
                    </a:lnTo>
                    <a:lnTo>
                      <a:pt x="69" y="239"/>
                    </a:lnTo>
                    <a:lnTo>
                      <a:pt x="67" y="239"/>
                    </a:lnTo>
                    <a:lnTo>
                      <a:pt x="63" y="237"/>
                    </a:lnTo>
                    <a:lnTo>
                      <a:pt x="61" y="237"/>
                    </a:lnTo>
                    <a:lnTo>
                      <a:pt x="61" y="237"/>
                    </a:lnTo>
                    <a:lnTo>
                      <a:pt x="59" y="239"/>
                    </a:lnTo>
                    <a:lnTo>
                      <a:pt x="57" y="239"/>
                    </a:lnTo>
                    <a:lnTo>
                      <a:pt x="57" y="241"/>
                    </a:lnTo>
                    <a:lnTo>
                      <a:pt x="57" y="245"/>
                    </a:lnTo>
                    <a:lnTo>
                      <a:pt x="57" y="247"/>
                    </a:lnTo>
                    <a:lnTo>
                      <a:pt x="53" y="249"/>
                    </a:lnTo>
                    <a:lnTo>
                      <a:pt x="52" y="249"/>
                    </a:lnTo>
                    <a:lnTo>
                      <a:pt x="52" y="251"/>
                    </a:lnTo>
                    <a:lnTo>
                      <a:pt x="52" y="253"/>
                    </a:lnTo>
                    <a:lnTo>
                      <a:pt x="52" y="255"/>
                    </a:lnTo>
                    <a:lnTo>
                      <a:pt x="52" y="255"/>
                    </a:lnTo>
                    <a:lnTo>
                      <a:pt x="50" y="257"/>
                    </a:lnTo>
                    <a:lnTo>
                      <a:pt x="48" y="258"/>
                    </a:lnTo>
                    <a:lnTo>
                      <a:pt x="46" y="262"/>
                    </a:lnTo>
                    <a:lnTo>
                      <a:pt x="44" y="264"/>
                    </a:lnTo>
                    <a:lnTo>
                      <a:pt x="42" y="264"/>
                    </a:lnTo>
                    <a:lnTo>
                      <a:pt x="42" y="268"/>
                    </a:lnTo>
                    <a:lnTo>
                      <a:pt x="40" y="270"/>
                    </a:lnTo>
                    <a:lnTo>
                      <a:pt x="40" y="270"/>
                    </a:lnTo>
                    <a:lnTo>
                      <a:pt x="40" y="272"/>
                    </a:lnTo>
                    <a:lnTo>
                      <a:pt x="38" y="274"/>
                    </a:lnTo>
                    <a:lnTo>
                      <a:pt x="36" y="274"/>
                    </a:lnTo>
                    <a:lnTo>
                      <a:pt x="33" y="276"/>
                    </a:lnTo>
                    <a:lnTo>
                      <a:pt x="31" y="276"/>
                    </a:lnTo>
                    <a:lnTo>
                      <a:pt x="29" y="277"/>
                    </a:lnTo>
                    <a:lnTo>
                      <a:pt x="27" y="279"/>
                    </a:lnTo>
                    <a:lnTo>
                      <a:pt x="27" y="283"/>
                    </a:lnTo>
                    <a:lnTo>
                      <a:pt x="27" y="285"/>
                    </a:lnTo>
                    <a:lnTo>
                      <a:pt x="27" y="289"/>
                    </a:lnTo>
                    <a:lnTo>
                      <a:pt x="27" y="293"/>
                    </a:lnTo>
                    <a:lnTo>
                      <a:pt x="25" y="293"/>
                    </a:lnTo>
                    <a:lnTo>
                      <a:pt x="19" y="295"/>
                    </a:lnTo>
                    <a:lnTo>
                      <a:pt x="19" y="296"/>
                    </a:lnTo>
                    <a:lnTo>
                      <a:pt x="17" y="298"/>
                    </a:lnTo>
                    <a:lnTo>
                      <a:pt x="12" y="308"/>
                    </a:lnTo>
                    <a:lnTo>
                      <a:pt x="10" y="308"/>
                    </a:lnTo>
                    <a:lnTo>
                      <a:pt x="8" y="308"/>
                    </a:lnTo>
                    <a:lnTo>
                      <a:pt x="6" y="308"/>
                    </a:lnTo>
                    <a:lnTo>
                      <a:pt x="6" y="308"/>
                    </a:lnTo>
                    <a:lnTo>
                      <a:pt x="8" y="310"/>
                    </a:lnTo>
                    <a:lnTo>
                      <a:pt x="8" y="312"/>
                    </a:lnTo>
                    <a:lnTo>
                      <a:pt x="6" y="312"/>
                    </a:lnTo>
                    <a:lnTo>
                      <a:pt x="2" y="312"/>
                    </a:lnTo>
                    <a:lnTo>
                      <a:pt x="0" y="315"/>
                    </a:lnTo>
                    <a:lnTo>
                      <a:pt x="0" y="317"/>
                    </a:lnTo>
                    <a:lnTo>
                      <a:pt x="0" y="317"/>
                    </a:lnTo>
                    <a:lnTo>
                      <a:pt x="6" y="321"/>
                    </a:lnTo>
                    <a:lnTo>
                      <a:pt x="8" y="325"/>
                    </a:lnTo>
                    <a:lnTo>
                      <a:pt x="12" y="331"/>
                    </a:lnTo>
                    <a:lnTo>
                      <a:pt x="13" y="336"/>
                    </a:lnTo>
                    <a:lnTo>
                      <a:pt x="12" y="338"/>
                    </a:lnTo>
                    <a:lnTo>
                      <a:pt x="15" y="340"/>
                    </a:lnTo>
                    <a:lnTo>
                      <a:pt x="15" y="342"/>
                    </a:lnTo>
                    <a:lnTo>
                      <a:pt x="15" y="346"/>
                    </a:lnTo>
                    <a:lnTo>
                      <a:pt x="15" y="348"/>
                    </a:lnTo>
                    <a:lnTo>
                      <a:pt x="15" y="350"/>
                    </a:lnTo>
                    <a:lnTo>
                      <a:pt x="6" y="363"/>
                    </a:lnTo>
                    <a:lnTo>
                      <a:pt x="4" y="367"/>
                    </a:lnTo>
                    <a:lnTo>
                      <a:pt x="4" y="369"/>
                    </a:lnTo>
                    <a:lnTo>
                      <a:pt x="4" y="369"/>
                    </a:lnTo>
                    <a:lnTo>
                      <a:pt x="4" y="371"/>
                    </a:lnTo>
                    <a:lnTo>
                      <a:pt x="8" y="373"/>
                    </a:lnTo>
                    <a:lnTo>
                      <a:pt x="55" y="374"/>
                    </a:lnTo>
                    <a:lnTo>
                      <a:pt x="67" y="374"/>
                    </a:lnTo>
                    <a:lnTo>
                      <a:pt x="84" y="376"/>
                    </a:lnTo>
                    <a:lnTo>
                      <a:pt x="92" y="378"/>
                    </a:lnTo>
                    <a:lnTo>
                      <a:pt x="99" y="380"/>
                    </a:lnTo>
                    <a:lnTo>
                      <a:pt x="101" y="382"/>
                    </a:lnTo>
                    <a:lnTo>
                      <a:pt x="101" y="380"/>
                    </a:lnTo>
                    <a:lnTo>
                      <a:pt x="101" y="380"/>
                    </a:lnTo>
                    <a:lnTo>
                      <a:pt x="103" y="378"/>
                    </a:lnTo>
                    <a:lnTo>
                      <a:pt x="103" y="376"/>
                    </a:lnTo>
                    <a:lnTo>
                      <a:pt x="105" y="376"/>
                    </a:lnTo>
                    <a:lnTo>
                      <a:pt x="109" y="373"/>
                    </a:lnTo>
                    <a:lnTo>
                      <a:pt x="109" y="373"/>
                    </a:lnTo>
                    <a:lnTo>
                      <a:pt x="111" y="373"/>
                    </a:lnTo>
                    <a:lnTo>
                      <a:pt x="113" y="373"/>
                    </a:lnTo>
                    <a:lnTo>
                      <a:pt x="115" y="373"/>
                    </a:lnTo>
                    <a:lnTo>
                      <a:pt x="120" y="371"/>
                    </a:lnTo>
                    <a:lnTo>
                      <a:pt x="122" y="371"/>
                    </a:lnTo>
                    <a:lnTo>
                      <a:pt x="122" y="371"/>
                    </a:lnTo>
                    <a:lnTo>
                      <a:pt x="122" y="371"/>
                    </a:lnTo>
                    <a:lnTo>
                      <a:pt x="124" y="373"/>
                    </a:lnTo>
                    <a:lnTo>
                      <a:pt x="124" y="373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2" y="374"/>
                    </a:lnTo>
                    <a:lnTo>
                      <a:pt x="134" y="376"/>
                    </a:lnTo>
                    <a:lnTo>
                      <a:pt x="134" y="376"/>
                    </a:lnTo>
                    <a:lnTo>
                      <a:pt x="135" y="376"/>
                    </a:lnTo>
                    <a:lnTo>
                      <a:pt x="135" y="378"/>
                    </a:lnTo>
                    <a:lnTo>
                      <a:pt x="135" y="378"/>
                    </a:lnTo>
                    <a:lnTo>
                      <a:pt x="135" y="380"/>
                    </a:lnTo>
                    <a:lnTo>
                      <a:pt x="137" y="380"/>
                    </a:lnTo>
                    <a:lnTo>
                      <a:pt x="137" y="382"/>
                    </a:lnTo>
                    <a:lnTo>
                      <a:pt x="137" y="382"/>
                    </a:lnTo>
                    <a:lnTo>
                      <a:pt x="141" y="384"/>
                    </a:lnTo>
                    <a:lnTo>
                      <a:pt x="141" y="384"/>
                    </a:lnTo>
                    <a:lnTo>
                      <a:pt x="141" y="386"/>
                    </a:lnTo>
                    <a:lnTo>
                      <a:pt x="143" y="386"/>
                    </a:lnTo>
                    <a:lnTo>
                      <a:pt x="143" y="388"/>
                    </a:lnTo>
                    <a:lnTo>
                      <a:pt x="145" y="388"/>
                    </a:lnTo>
                    <a:lnTo>
                      <a:pt x="147" y="386"/>
                    </a:lnTo>
                    <a:lnTo>
                      <a:pt x="151" y="386"/>
                    </a:lnTo>
                    <a:lnTo>
                      <a:pt x="153" y="386"/>
                    </a:lnTo>
                    <a:lnTo>
                      <a:pt x="153" y="384"/>
                    </a:lnTo>
                    <a:lnTo>
                      <a:pt x="153" y="384"/>
                    </a:lnTo>
                    <a:lnTo>
                      <a:pt x="155" y="384"/>
                    </a:lnTo>
                    <a:lnTo>
                      <a:pt x="155" y="384"/>
                    </a:lnTo>
                    <a:lnTo>
                      <a:pt x="155" y="382"/>
                    </a:lnTo>
                    <a:lnTo>
                      <a:pt x="155" y="382"/>
                    </a:lnTo>
                    <a:lnTo>
                      <a:pt x="155" y="380"/>
                    </a:lnTo>
                    <a:lnTo>
                      <a:pt x="155" y="380"/>
                    </a:lnTo>
                    <a:lnTo>
                      <a:pt x="156" y="378"/>
                    </a:lnTo>
                    <a:lnTo>
                      <a:pt x="156" y="380"/>
                    </a:lnTo>
                    <a:lnTo>
                      <a:pt x="158" y="380"/>
                    </a:lnTo>
                    <a:lnTo>
                      <a:pt x="158" y="382"/>
                    </a:lnTo>
                    <a:lnTo>
                      <a:pt x="158" y="382"/>
                    </a:lnTo>
                    <a:lnTo>
                      <a:pt x="158" y="384"/>
                    </a:lnTo>
                    <a:lnTo>
                      <a:pt x="158" y="386"/>
                    </a:lnTo>
                    <a:lnTo>
                      <a:pt x="156" y="386"/>
                    </a:lnTo>
                    <a:lnTo>
                      <a:pt x="156" y="386"/>
                    </a:lnTo>
                    <a:lnTo>
                      <a:pt x="156" y="388"/>
                    </a:lnTo>
                    <a:lnTo>
                      <a:pt x="156" y="388"/>
                    </a:lnTo>
                    <a:lnTo>
                      <a:pt x="156" y="388"/>
                    </a:lnTo>
                    <a:lnTo>
                      <a:pt x="156" y="388"/>
                    </a:lnTo>
                    <a:lnTo>
                      <a:pt x="156" y="390"/>
                    </a:lnTo>
                    <a:lnTo>
                      <a:pt x="156" y="390"/>
                    </a:lnTo>
                    <a:lnTo>
                      <a:pt x="156" y="390"/>
                    </a:lnTo>
                    <a:lnTo>
                      <a:pt x="156" y="393"/>
                    </a:lnTo>
                    <a:lnTo>
                      <a:pt x="156" y="393"/>
                    </a:lnTo>
                    <a:lnTo>
                      <a:pt x="158" y="395"/>
                    </a:lnTo>
                    <a:lnTo>
                      <a:pt x="160" y="395"/>
                    </a:lnTo>
                    <a:lnTo>
                      <a:pt x="160" y="397"/>
                    </a:lnTo>
                    <a:lnTo>
                      <a:pt x="162" y="397"/>
                    </a:lnTo>
                    <a:lnTo>
                      <a:pt x="162" y="399"/>
                    </a:lnTo>
                    <a:lnTo>
                      <a:pt x="162" y="399"/>
                    </a:lnTo>
                    <a:lnTo>
                      <a:pt x="164" y="399"/>
                    </a:lnTo>
                    <a:lnTo>
                      <a:pt x="164" y="397"/>
                    </a:lnTo>
                    <a:lnTo>
                      <a:pt x="164" y="395"/>
                    </a:lnTo>
                    <a:lnTo>
                      <a:pt x="164" y="395"/>
                    </a:lnTo>
                    <a:lnTo>
                      <a:pt x="164" y="393"/>
                    </a:lnTo>
                    <a:lnTo>
                      <a:pt x="166" y="393"/>
                    </a:lnTo>
                    <a:lnTo>
                      <a:pt x="168" y="393"/>
                    </a:lnTo>
                    <a:lnTo>
                      <a:pt x="168" y="393"/>
                    </a:lnTo>
                    <a:lnTo>
                      <a:pt x="168" y="393"/>
                    </a:lnTo>
                    <a:lnTo>
                      <a:pt x="170" y="393"/>
                    </a:lnTo>
                    <a:lnTo>
                      <a:pt x="170" y="395"/>
                    </a:lnTo>
                    <a:lnTo>
                      <a:pt x="170" y="397"/>
                    </a:lnTo>
                    <a:lnTo>
                      <a:pt x="170" y="397"/>
                    </a:lnTo>
                    <a:lnTo>
                      <a:pt x="172" y="399"/>
                    </a:lnTo>
                    <a:lnTo>
                      <a:pt x="174" y="403"/>
                    </a:lnTo>
                    <a:lnTo>
                      <a:pt x="174" y="403"/>
                    </a:lnTo>
                    <a:lnTo>
                      <a:pt x="174" y="405"/>
                    </a:lnTo>
                    <a:lnTo>
                      <a:pt x="174" y="405"/>
                    </a:lnTo>
                    <a:lnTo>
                      <a:pt x="174" y="405"/>
                    </a:lnTo>
                    <a:lnTo>
                      <a:pt x="174" y="405"/>
                    </a:lnTo>
                    <a:lnTo>
                      <a:pt x="174" y="405"/>
                    </a:lnTo>
                    <a:lnTo>
                      <a:pt x="172" y="405"/>
                    </a:lnTo>
                    <a:lnTo>
                      <a:pt x="172" y="405"/>
                    </a:lnTo>
                    <a:lnTo>
                      <a:pt x="172" y="405"/>
                    </a:lnTo>
                    <a:lnTo>
                      <a:pt x="172" y="405"/>
                    </a:lnTo>
                    <a:lnTo>
                      <a:pt x="170" y="405"/>
                    </a:lnTo>
                    <a:lnTo>
                      <a:pt x="170" y="405"/>
                    </a:lnTo>
                    <a:lnTo>
                      <a:pt x="170" y="407"/>
                    </a:lnTo>
                    <a:lnTo>
                      <a:pt x="170" y="407"/>
                    </a:lnTo>
                    <a:lnTo>
                      <a:pt x="170" y="409"/>
                    </a:lnTo>
                    <a:lnTo>
                      <a:pt x="170" y="411"/>
                    </a:lnTo>
                    <a:lnTo>
                      <a:pt x="170" y="411"/>
                    </a:lnTo>
                    <a:lnTo>
                      <a:pt x="170" y="411"/>
                    </a:lnTo>
                    <a:lnTo>
                      <a:pt x="170" y="413"/>
                    </a:lnTo>
                    <a:lnTo>
                      <a:pt x="168" y="413"/>
                    </a:lnTo>
                    <a:lnTo>
                      <a:pt x="168" y="413"/>
                    </a:lnTo>
                    <a:lnTo>
                      <a:pt x="166" y="413"/>
                    </a:lnTo>
                    <a:lnTo>
                      <a:pt x="166" y="414"/>
                    </a:lnTo>
                    <a:lnTo>
                      <a:pt x="166" y="414"/>
                    </a:lnTo>
                    <a:lnTo>
                      <a:pt x="166" y="414"/>
                    </a:lnTo>
                    <a:lnTo>
                      <a:pt x="168" y="418"/>
                    </a:lnTo>
                    <a:lnTo>
                      <a:pt x="168" y="418"/>
                    </a:lnTo>
                    <a:lnTo>
                      <a:pt x="168" y="418"/>
                    </a:lnTo>
                    <a:lnTo>
                      <a:pt x="168" y="418"/>
                    </a:lnTo>
                    <a:lnTo>
                      <a:pt x="168" y="420"/>
                    </a:lnTo>
                    <a:lnTo>
                      <a:pt x="168" y="420"/>
                    </a:lnTo>
                    <a:lnTo>
                      <a:pt x="168" y="420"/>
                    </a:lnTo>
                    <a:lnTo>
                      <a:pt x="170" y="422"/>
                    </a:lnTo>
                    <a:lnTo>
                      <a:pt x="172" y="424"/>
                    </a:lnTo>
                    <a:lnTo>
                      <a:pt x="172" y="424"/>
                    </a:lnTo>
                    <a:lnTo>
                      <a:pt x="172" y="426"/>
                    </a:lnTo>
                    <a:lnTo>
                      <a:pt x="172" y="426"/>
                    </a:lnTo>
                    <a:lnTo>
                      <a:pt x="172" y="426"/>
                    </a:lnTo>
                    <a:lnTo>
                      <a:pt x="174" y="428"/>
                    </a:lnTo>
                    <a:lnTo>
                      <a:pt x="174" y="428"/>
                    </a:lnTo>
                    <a:lnTo>
                      <a:pt x="174" y="432"/>
                    </a:lnTo>
                    <a:lnTo>
                      <a:pt x="176" y="432"/>
                    </a:lnTo>
                    <a:lnTo>
                      <a:pt x="177" y="432"/>
                    </a:lnTo>
                    <a:lnTo>
                      <a:pt x="181" y="430"/>
                    </a:lnTo>
                    <a:lnTo>
                      <a:pt x="183" y="430"/>
                    </a:lnTo>
                    <a:lnTo>
                      <a:pt x="183" y="428"/>
                    </a:lnTo>
                    <a:lnTo>
                      <a:pt x="181" y="426"/>
                    </a:lnTo>
                    <a:lnTo>
                      <a:pt x="181" y="426"/>
                    </a:lnTo>
                    <a:lnTo>
                      <a:pt x="181" y="424"/>
                    </a:lnTo>
                    <a:lnTo>
                      <a:pt x="181" y="424"/>
                    </a:lnTo>
                    <a:lnTo>
                      <a:pt x="181" y="422"/>
                    </a:lnTo>
                    <a:lnTo>
                      <a:pt x="183" y="418"/>
                    </a:lnTo>
                    <a:lnTo>
                      <a:pt x="185" y="418"/>
                    </a:lnTo>
                    <a:lnTo>
                      <a:pt x="185" y="418"/>
                    </a:lnTo>
                    <a:lnTo>
                      <a:pt x="187" y="418"/>
                    </a:lnTo>
                    <a:lnTo>
                      <a:pt x="187" y="418"/>
                    </a:lnTo>
                    <a:lnTo>
                      <a:pt x="187" y="416"/>
                    </a:lnTo>
                    <a:lnTo>
                      <a:pt x="187" y="414"/>
                    </a:lnTo>
                    <a:lnTo>
                      <a:pt x="187" y="414"/>
                    </a:lnTo>
                    <a:lnTo>
                      <a:pt x="189" y="413"/>
                    </a:lnTo>
                    <a:lnTo>
                      <a:pt x="191" y="411"/>
                    </a:lnTo>
                    <a:lnTo>
                      <a:pt x="193" y="409"/>
                    </a:lnTo>
                    <a:lnTo>
                      <a:pt x="197" y="403"/>
                    </a:lnTo>
                    <a:lnTo>
                      <a:pt x="198" y="399"/>
                    </a:lnTo>
                    <a:lnTo>
                      <a:pt x="200" y="397"/>
                    </a:lnTo>
                    <a:lnTo>
                      <a:pt x="200" y="395"/>
                    </a:lnTo>
                    <a:lnTo>
                      <a:pt x="202" y="397"/>
                    </a:lnTo>
                    <a:lnTo>
                      <a:pt x="204" y="397"/>
                    </a:lnTo>
                    <a:lnTo>
                      <a:pt x="208" y="399"/>
                    </a:lnTo>
                    <a:lnTo>
                      <a:pt x="212" y="399"/>
                    </a:lnTo>
                    <a:lnTo>
                      <a:pt x="212" y="399"/>
                    </a:lnTo>
                    <a:lnTo>
                      <a:pt x="214" y="399"/>
                    </a:lnTo>
                    <a:lnTo>
                      <a:pt x="217" y="401"/>
                    </a:lnTo>
                    <a:lnTo>
                      <a:pt x="219" y="403"/>
                    </a:lnTo>
                    <a:lnTo>
                      <a:pt x="223" y="403"/>
                    </a:lnTo>
                    <a:lnTo>
                      <a:pt x="225" y="401"/>
                    </a:lnTo>
                    <a:lnTo>
                      <a:pt x="227" y="401"/>
                    </a:lnTo>
                    <a:lnTo>
                      <a:pt x="233" y="403"/>
                    </a:lnTo>
                    <a:lnTo>
                      <a:pt x="233" y="401"/>
                    </a:lnTo>
                    <a:lnTo>
                      <a:pt x="235" y="401"/>
                    </a:lnTo>
                    <a:lnTo>
                      <a:pt x="235" y="399"/>
                    </a:lnTo>
                    <a:lnTo>
                      <a:pt x="235" y="399"/>
                    </a:lnTo>
                    <a:lnTo>
                      <a:pt x="235" y="397"/>
                    </a:lnTo>
                    <a:lnTo>
                      <a:pt x="237" y="395"/>
                    </a:lnTo>
                    <a:lnTo>
                      <a:pt x="240" y="393"/>
                    </a:lnTo>
                    <a:lnTo>
                      <a:pt x="242" y="393"/>
                    </a:lnTo>
                    <a:lnTo>
                      <a:pt x="244" y="393"/>
                    </a:lnTo>
                    <a:lnTo>
                      <a:pt x="246" y="393"/>
                    </a:lnTo>
                    <a:lnTo>
                      <a:pt x="248" y="393"/>
                    </a:lnTo>
                    <a:lnTo>
                      <a:pt x="248" y="395"/>
                    </a:lnTo>
                    <a:lnTo>
                      <a:pt x="252" y="397"/>
                    </a:lnTo>
                    <a:lnTo>
                      <a:pt x="252" y="397"/>
                    </a:lnTo>
                    <a:lnTo>
                      <a:pt x="254" y="403"/>
                    </a:lnTo>
                    <a:lnTo>
                      <a:pt x="254" y="403"/>
                    </a:lnTo>
                    <a:lnTo>
                      <a:pt x="256" y="405"/>
                    </a:lnTo>
                    <a:lnTo>
                      <a:pt x="258" y="405"/>
                    </a:lnTo>
                    <a:lnTo>
                      <a:pt x="263" y="407"/>
                    </a:lnTo>
                    <a:lnTo>
                      <a:pt x="265" y="407"/>
                    </a:lnTo>
                    <a:lnTo>
                      <a:pt x="267" y="405"/>
                    </a:lnTo>
                    <a:lnTo>
                      <a:pt x="269" y="405"/>
                    </a:lnTo>
                    <a:lnTo>
                      <a:pt x="271" y="403"/>
                    </a:lnTo>
                    <a:lnTo>
                      <a:pt x="275" y="405"/>
                    </a:lnTo>
                    <a:lnTo>
                      <a:pt x="275" y="403"/>
                    </a:lnTo>
                    <a:lnTo>
                      <a:pt x="277" y="403"/>
                    </a:lnTo>
                    <a:lnTo>
                      <a:pt x="280" y="397"/>
                    </a:lnTo>
                    <a:lnTo>
                      <a:pt x="286" y="395"/>
                    </a:lnTo>
                    <a:lnTo>
                      <a:pt x="288" y="393"/>
                    </a:lnTo>
                    <a:lnTo>
                      <a:pt x="290" y="393"/>
                    </a:lnTo>
                    <a:lnTo>
                      <a:pt x="294" y="392"/>
                    </a:lnTo>
                    <a:lnTo>
                      <a:pt x="298" y="390"/>
                    </a:lnTo>
                    <a:lnTo>
                      <a:pt x="298" y="388"/>
                    </a:lnTo>
                    <a:lnTo>
                      <a:pt x="298" y="386"/>
                    </a:lnTo>
                    <a:lnTo>
                      <a:pt x="298" y="386"/>
                    </a:lnTo>
                    <a:lnTo>
                      <a:pt x="296" y="384"/>
                    </a:lnTo>
                    <a:lnTo>
                      <a:pt x="294" y="382"/>
                    </a:lnTo>
                    <a:lnTo>
                      <a:pt x="294" y="382"/>
                    </a:lnTo>
                    <a:lnTo>
                      <a:pt x="294" y="380"/>
                    </a:lnTo>
                    <a:lnTo>
                      <a:pt x="292" y="378"/>
                    </a:lnTo>
                    <a:lnTo>
                      <a:pt x="292" y="378"/>
                    </a:lnTo>
                    <a:lnTo>
                      <a:pt x="292" y="376"/>
                    </a:lnTo>
                    <a:lnTo>
                      <a:pt x="292" y="374"/>
                    </a:lnTo>
                    <a:lnTo>
                      <a:pt x="294" y="373"/>
                    </a:lnTo>
                    <a:lnTo>
                      <a:pt x="296" y="365"/>
                    </a:lnTo>
                    <a:lnTo>
                      <a:pt x="296" y="363"/>
                    </a:lnTo>
                    <a:lnTo>
                      <a:pt x="298" y="363"/>
                    </a:lnTo>
                    <a:lnTo>
                      <a:pt x="298" y="361"/>
                    </a:lnTo>
                    <a:lnTo>
                      <a:pt x="298" y="361"/>
                    </a:lnTo>
                    <a:lnTo>
                      <a:pt x="298" y="361"/>
                    </a:lnTo>
                    <a:lnTo>
                      <a:pt x="298" y="359"/>
                    </a:lnTo>
                    <a:lnTo>
                      <a:pt x="298" y="359"/>
                    </a:lnTo>
                    <a:lnTo>
                      <a:pt x="298" y="359"/>
                    </a:lnTo>
                    <a:lnTo>
                      <a:pt x="298" y="357"/>
                    </a:lnTo>
                    <a:lnTo>
                      <a:pt x="298" y="357"/>
                    </a:lnTo>
                    <a:lnTo>
                      <a:pt x="298" y="357"/>
                    </a:lnTo>
                    <a:lnTo>
                      <a:pt x="301" y="357"/>
                    </a:lnTo>
                    <a:lnTo>
                      <a:pt x="301" y="355"/>
                    </a:lnTo>
                    <a:lnTo>
                      <a:pt x="301" y="355"/>
                    </a:lnTo>
                    <a:lnTo>
                      <a:pt x="301" y="355"/>
                    </a:lnTo>
                    <a:lnTo>
                      <a:pt x="298" y="354"/>
                    </a:lnTo>
                    <a:lnTo>
                      <a:pt x="296" y="354"/>
                    </a:lnTo>
                    <a:lnTo>
                      <a:pt x="296" y="352"/>
                    </a:lnTo>
                    <a:lnTo>
                      <a:pt x="296" y="352"/>
                    </a:lnTo>
                    <a:lnTo>
                      <a:pt x="296" y="350"/>
                    </a:lnTo>
                    <a:lnTo>
                      <a:pt x="296" y="350"/>
                    </a:lnTo>
                    <a:lnTo>
                      <a:pt x="298" y="350"/>
                    </a:lnTo>
                    <a:lnTo>
                      <a:pt x="298" y="348"/>
                    </a:lnTo>
                    <a:lnTo>
                      <a:pt x="299" y="348"/>
                    </a:lnTo>
                    <a:lnTo>
                      <a:pt x="301" y="352"/>
                    </a:lnTo>
                    <a:lnTo>
                      <a:pt x="303" y="352"/>
                    </a:lnTo>
                    <a:lnTo>
                      <a:pt x="305" y="352"/>
                    </a:lnTo>
                    <a:lnTo>
                      <a:pt x="305" y="354"/>
                    </a:lnTo>
                    <a:lnTo>
                      <a:pt x="307" y="354"/>
                    </a:lnTo>
                    <a:lnTo>
                      <a:pt x="309" y="354"/>
                    </a:lnTo>
                    <a:lnTo>
                      <a:pt x="309" y="354"/>
                    </a:lnTo>
                    <a:lnTo>
                      <a:pt x="311" y="352"/>
                    </a:lnTo>
                    <a:lnTo>
                      <a:pt x="311" y="352"/>
                    </a:lnTo>
                    <a:lnTo>
                      <a:pt x="311" y="352"/>
                    </a:lnTo>
                    <a:lnTo>
                      <a:pt x="311" y="350"/>
                    </a:lnTo>
                    <a:lnTo>
                      <a:pt x="311" y="348"/>
                    </a:lnTo>
                    <a:lnTo>
                      <a:pt x="311" y="348"/>
                    </a:lnTo>
                    <a:lnTo>
                      <a:pt x="313" y="348"/>
                    </a:lnTo>
                    <a:lnTo>
                      <a:pt x="313" y="350"/>
                    </a:lnTo>
                    <a:lnTo>
                      <a:pt x="315" y="352"/>
                    </a:lnTo>
                    <a:lnTo>
                      <a:pt x="315" y="352"/>
                    </a:lnTo>
                    <a:lnTo>
                      <a:pt x="317" y="352"/>
                    </a:lnTo>
                    <a:lnTo>
                      <a:pt x="317" y="352"/>
                    </a:lnTo>
                    <a:lnTo>
                      <a:pt x="317" y="352"/>
                    </a:lnTo>
                    <a:lnTo>
                      <a:pt x="319" y="350"/>
                    </a:lnTo>
                    <a:lnTo>
                      <a:pt x="319" y="348"/>
                    </a:lnTo>
                    <a:lnTo>
                      <a:pt x="319" y="348"/>
                    </a:lnTo>
                    <a:lnTo>
                      <a:pt x="319" y="346"/>
                    </a:lnTo>
                    <a:lnTo>
                      <a:pt x="319" y="346"/>
                    </a:lnTo>
                    <a:lnTo>
                      <a:pt x="319" y="344"/>
                    </a:lnTo>
                    <a:lnTo>
                      <a:pt x="319" y="344"/>
                    </a:lnTo>
                    <a:lnTo>
                      <a:pt x="319" y="342"/>
                    </a:lnTo>
                    <a:lnTo>
                      <a:pt x="319" y="342"/>
                    </a:lnTo>
                    <a:lnTo>
                      <a:pt x="320" y="342"/>
                    </a:lnTo>
                    <a:lnTo>
                      <a:pt x="320" y="342"/>
                    </a:lnTo>
                    <a:lnTo>
                      <a:pt x="322" y="342"/>
                    </a:lnTo>
                    <a:lnTo>
                      <a:pt x="322" y="344"/>
                    </a:lnTo>
                    <a:lnTo>
                      <a:pt x="324" y="348"/>
                    </a:lnTo>
                    <a:lnTo>
                      <a:pt x="324" y="352"/>
                    </a:lnTo>
                    <a:lnTo>
                      <a:pt x="326" y="354"/>
                    </a:lnTo>
                    <a:lnTo>
                      <a:pt x="326" y="354"/>
                    </a:lnTo>
                    <a:lnTo>
                      <a:pt x="328" y="355"/>
                    </a:lnTo>
                    <a:lnTo>
                      <a:pt x="330" y="355"/>
                    </a:lnTo>
                    <a:lnTo>
                      <a:pt x="332" y="357"/>
                    </a:lnTo>
                    <a:lnTo>
                      <a:pt x="336" y="357"/>
                    </a:lnTo>
                    <a:lnTo>
                      <a:pt x="343" y="352"/>
                    </a:lnTo>
                    <a:lnTo>
                      <a:pt x="349" y="348"/>
                    </a:lnTo>
                    <a:lnTo>
                      <a:pt x="349" y="348"/>
                    </a:lnTo>
                    <a:lnTo>
                      <a:pt x="349" y="346"/>
                    </a:lnTo>
                    <a:lnTo>
                      <a:pt x="349" y="344"/>
                    </a:lnTo>
                    <a:lnTo>
                      <a:pt x="349" y="342"/>
                    </a:lnTo>
                    <a:lnTo>
                      <a:pt x="351" y="340"/>
                    </a:lnTo>
                    <a:lnTo>
                      <a:pt x="351" y="340"/>
                    </a:lnTo>
                    <a:lnTo>
                      <a:pt x="351" y="340"/>
                    </a:lnTo>
                    <a:lnTo>
                      <a:pt x="349" y="338"/>
                    </a:lnTo>
                    <a:lnTo>
                      <a:pt x="349" y="338"/>
                    </a:lnTo>
                    <a:lnTo>
                      <a:pt x="349" y="338"/>
                    </a:lnTo>
                    <a:lnTo>
                      <a:pt x="347" y="338"/>
                    </a:lnTo>
                    <a:lnTo>
                      <a:pt x="347" y="336"/>
                    </a:lnTo>
                    <a:lnTo>
                      <a:pt x="345" y="336"/>
                    </a:lnTo>
                    <a:lnTo>
                      <a:pt x="345" y="336"/>
                    </a:lnTo>
                    <a:lnTo>
                      <a:pt x="345" y="335"/>
                    </a:lnTo>
                    <a:lnTo>
                      <a:pt x="345" y="335"/>
                    </a:lnTo>
                    <a:lnTo>
                      <a:pt x="345" y="335"/>
                    </a:lnTo>
                    <a:lnTo>
                      <a:pt x="345" y="333"/>
                    </a:lnTo>
                    <a:lnTo>
                      <a:pt x="343" y="333"/>
                    </a:lnTo>
                    <a:lnTo>
                      <a:pt x="343" y="333"/>
                    </a:lnTo>
                    <a:lnTo>
                      <a:pt x="343" y="333"/>
                    </a:lnTo>
                    <a:lnTo>
                      <a:pt x="341" y="333"/>
                    </a:lnTo>
                    <a:lnTo>
                      <a:pt x="340" y="336"/>
                    </a:lnTo>
                    <a:lnTo>
                      <a:pt x="340" y="336"/>
                    </a:lnTo>
                    <a:lnTo>
                      <a:pt x="340" y="336"/>
                    </a:lnTo>
                    <a:lnTo>
                      <a:pt x="338" y="336"/>
                    </a:lnTo>
                    <a:lnTo>
                      <a:pt x="338" y="336"/>
                    </a:lnTo>
                    <a:lnTo>
                      <a:pt x="338" y="336"/>
                    </a:lnTo>
                    <a:lnTo>
                      <a:pt x="338" y="335"/>
                    </a:lnTo>
                    <a:lnTo>
                      <a:pt x="338" y="333"/>
                    </a:lnTo>
                    <a:lnTo>
                      <a:pt x="340" y="333"/>
                    </a:lnTo>
                    <a:lnTo>
                      <a:pt x="341" y="331"/>
                    </a:lnTo>
                    <a:lnTo>
                      <a:pt x="345" y="329"/>
                    </a:lnTo>
                    <a:lnTo>
                      <a:pt x="347" y="329"/>
                    </a:lnTo>
                    <a:lnTo>
                      <a:pt x="349" y="327"/>
                    </a:lnTo>
                    <a:lnTo>
                      <a:pt x="351" y="325"/>
                    </a:lnTo>
                    <a:lnTo>
                      <a:pt x="359" y="319"/>
                    </a:lnTo>
                    <a:lnTo>
                      <a:pt x="361" y="317"/>
                    </a:lnTo>
                    <a:lnTo>
                      <a:pt x="362" y="317"/>
                    </a:lnTo>
                    <a:lnTo>
                      <a:pt x="362" y="315"/>
                    </a:lnTo>
                    <a:lnTo>
                      <a:pt x="362" y="315"/>
                    </a:lnTo>
                    <a:lnTo>
                      <a:pt x="362" y="315"/>
                    </a:lnTo>
                    <a:lnTo>
                      <a:pt x="361" y="315"/>
                    </a:lnTo>
                    <a:lnTo>
                      <a:pt x="361" y="315"/>
                    </a:lnTo>
                    <a:lnTo>
                      <a:pt x="361" y="314"/>
                    </a:lnTo>
                    <a:lnTo>
                      <a:pt x="361" y="314"/>
                    </a:lnTo>
                    <a:lnTo>
                      <a:pt x="361" y="310"/>
                    </a:lnTo>
                    <a:lnTo>
                      <a:pt x="361" y="308"/>
                    </a:lnTo>
                    <a:lnTo>
                      <a:pt x="361" y="308"/>
                    </a:lnTo>
                    <a:lnTo>
                      <a:pt x="364" y="306"/>
                    </a:lnTo>
                    <a:lnTo>
                      <a:pt x="366" y="306"/>
                    </a:lnTo>
                    <a:lnTo>
                      <a:pt x="368" y="308"/>
                    </a:lnTo>
                    <a:lnTo>
                      <a:pt x="370" y="308"/>
                    </a:lnTo>
                    <a:lnTo>
                      <a:pt x="374" y="306"/>
                    </a:lnTo>
                    <a:lnTo>
                      <a:pt x="376" y="308"/>
                    </a:lnTo>
                    <a:lnTo>
                      <a:pt x="376" y="308"/>
                    </a:lnTo>
                    <a:lnTo>
                      <a:pt x="376" y="310"/>
                    </a:lnTo>
                    <a:lnTo>
                      <a:pt x="378" y="314"/>
                    </a:lnTo>
                    <a:lnTo>
                      <a:pt x="380" y="315"/>
                    </a:lnTo>
                    <a:lnTo>
                      <a:pt x="380" y="317"/>
                    </a:lnTo>
                    <a:lnTo>
                      <a:pt x="381" y="315"/>
                    </a:lnTo>
                    <a:lnTo>
                      <a:pt x="383" y="315"/>
                    </a:lnTo>
                    <a:lnTo>
                      <a:pt x="383" y="314"/>
                    </a:lnTo>
                    <a:lnTo>
                      <a:pt x="383" y="312"/>
                    </a:lnTo>
                    <a:lnTo>
                      <a:pt x="383" y="310"/>
                    </a:lnTo>
                    <a:lnTo>
                      <a:pt x="381" y="304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2" name="Freeform 14">
                <a:extLst>
                  <a:ext uri="{FF2B5EF4-FFF2-40B4-BE49-F238E27FC236}">
                    <a16:creationId xmlns:a16="http://schemas.microsoft.com/office/drawing/2014/main" id="{AAA8AFCE-F518-44F1-8A30-B6138CE7A8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7607" y="6001224"/>
                <a:ext cx="1412875" cy="1217613"/>
              </a:xfrm>
              <a:custGeom>
                <a:avLst/>
                <a:gdLst>
                  <a:gd name="T0" fmla="*/ 583 w 890"/>
                  <a:gd name="T1" fmla="*/ 746 h 767"/>
                  <a:gd name="T2" fmla="*/ 574 w 890"/>
                  <a:gd name="T3" fmla="*/ 746 h 767"/>
                  <a:gd name="T4" fmla="*/ 568 w 890"/>
                  <a:gd name="T5" fmla="*/ 744 h 767"/>
                  <a:gd name="T6" fmla="*/ 570 w 890"/>
                  <a:gd name="T7" fmla="*/ 748 h 767"/>
                  <a:gd name="T8" fmla="*/ 568 w 890"/>
                  <a:gd name="T9" fmla="*/ 750 h 767"/>
                  <a:gd name="T10" fmla="*/ 566 w 890"/>
                  <a:gd name="T11" fmla="*/ 752 h 767"/>
                  <a:gd name="T12" fmla="*/ 564 w 890"/>
                  <a:gd name="T13" fmla="*/ 753 h 767"/>
                  <a:gd name="T14" fmla="*/ 568 w 890"/>
                  <a:gd name="T15" fmla="*/ 755 h 767"/>
                  <a:gd name="T16" fmla="*/ 572 w 890"/>
                  <a:gd name="T17" fmla="*/ 757 h 767"/>
                  <a:gd name="T18" fmla="*/ 574 w 890"/>
                  <a:gd name="T19" fmla="*/ 759 h 767"/>
                  <a:gd name="T20" fmla="*/ 578 w 890"/>
                  <a:gd name="T21" fmla="*/ 759 h 767"/>
                  <a:gd name="T22" fmla="*/ 576 w 890"/>
                  <a:gd name="T23" fmla="*/ 761 h 767"/>
                  <a:gd name="T24" fmla="*/ 578 w 890"/>
                  <a:gd name="T25" fmla="*/ 765 h 767"/>
                  <a:gd name="T26" fmla="*/ 583 w 890"/>
                  <a:gd name="T27" fmla="*/ 767 h 767"/>
                  <a:gd name="T28" fmla="*/ 17 w 890"/>
                  <a:gd name="T29" fmla="*/ 597 h 767"/>
                  <a:gd name="T30" fmla="*/ 11 w 890"/>
                  <a:gd name="T31" fmla="*/ 599 h 767"/>
                  <a:gd name="T32" fmla="*/ 6 w 890"/>
                  <a:gd name="T33" fmla="*/ 601 h 767"/>
                  <a:gd name="T34" fmla="*/ 2 w 890"/>
                  <a:gd name="T35" fmla="*/ 613 h 767"/>
                  <a:gd name="T36" fmla="*/ 0 w 890"/>
                  <a:gd name="T37" fmla="*/ 613 h 767"/>
                  <a:gd name="T38" fmla="*/ 2 w 890"/>
                  <a:gd name="T39" fmla="*/ 613 h 767"/>
                  <a:gd name="T40" fmla="*/ 6 w 890"/>
                  <a:gd name="T41" fmla="*/ 615 h 767"/>
                  <a:gd name="T42" fmla="*/ 13 w 890"/>
                  <a:gd name="T43" fmla="*/ 609 h 767"/>
                  <a:gd name="T44" fmla="*/ 15 w 890"/>
                  <a:gd name="T45" fmla="*/ 601 h 767"/>
                  <a:gd name="T46" fmla="*/ 19 w 890"/>
                  <a:gd name="T47" fmla="*/ 601 h 767"/>
                  <a:gd name="T48" fmla="*/ 25 w 890"/>
                  <a:gd name="T49" fmla="*/ 597 h 767"/>
                  <a:gd name="T50" fmla="*/ 890 w 890"/>
                  <a:gd name="T51" fmla="*/ 6 h 767"/>
                  <a:gd name="T52" fmla="*/ 888 w 890"/>
                  <a:gd name="T53" fmla="*/ 2 h 767"/>
                  <a:gd name="T54" fmla="*/ 885 w 890"/>
                  <a:gd name="T55" fmla="*/ 6 h 767"/>
                  <a:gd name="T56" fmla="*/ 881 w 890"/>
                  <a:gd name="T57" fmla="*/ 0 h 767"/>
                  <a:gd name="T58" fmla="*/ 877 w 890"/>
                  <a:gd name="T59" fmla="*/ 4 h 767"/>
                  <a:gd name="T60" fmla="*/ 877 w 890"/>
                  <a:gd name="T61" fmla="*/ 6 h 767"/>
                  <a:gd name="T62" fmla="*/ 885 w 890"/>
                  <a:gd name="T63" fmla="*/ 10 h 767"/>
                  <a:gd name="T64" fmla="*/ 887 w 890"/>
                  <a:gd name="T65" fmla="*/ 6 h 767"/>
                  <a:gd name="T66" fmla="*/ 583 w 890"/>
                  <a:gd name="T67" fmla="*/ 620 h 767"/>
                  <a:gd name="T68" fmla="*/ 578 w 890"/>
                  <a:gd name="T69" fmla="*/ 622 h 767"/>
                  <a:gd name="T70" fmla="*/ 574 w 890"/>
                  <a:gd name="T71" fmla="*/ 624 h 767"/>
                  <a:gd name="T72" fmla="*/ 570 w 890"/>
                  <a:gd name="T73" fmla="*/ 622 h 767"/>
                  <a:gd name="T74" fmla="*/ 574 w 890"/>
                  <a:gd name="T75" fmla="*/ 618 h 767"/>
                  <a:gd name="T76" fmla="*/ 568 w 890"/>
                  <a:gd name="T77" fmla="*/ 618 h 767"/>
                  <a:gd name="T78" fmla="*/ 564 w 890"/>
                  <a:gd name="T79" fmla="*/ 615 h 767"/>
                  <a:gd name="T80" fmla="*/ 562 w 890"/>
                  <a:gd name="T81" fmla="*/ 615 h 767"/>
                  <a:gd name="T82" fmla="*/ 560 w 890"/>
                  <a:gd name="T83" fmla="*/ 618 h 767"/>
                  <a:gd name="T84" fmla="*/ 562 w 890"/>
                  <a:gd name="T85" fmla="*/ 622 h 767"/>
                  <a:gd name="T86" fmla="*/ 564 w 890"/>
                  <a:gd name="T87" fmla="*/ 626 h 767"/>
                  <a:gd name="T88" fmla="*/ 564 w 890"/>
                  <a:gd name="T89" fmla="*/ 630 h 767"/>
                  <a:gd name="T90" fmla="*/ 564 w 890"/>
                  <a:gd name="T91" fmla="*/ 634 h 767"/>
                  <a:gd name="T92" fmla="*/ 568 w 890"/>
                  <a:gd name="T93" fmla="*/ 636 h 767"/>
                  <a:gd name="T94" fmla="*/ 570 w 890"/>
                  <a:gd name="T95" fmla="*/ 636 h 767"/>
                  <a:gd name="T96" fmla="*/ 578 w 890"/>
                  <a:gd name="T97" fmla="*/ 636 h 767"/>
                  <a:gd name="T98" fmla="*/ 581 w 890"/>
                  <a:gd name="T99" fmla="*/ 624 h 767"/>
                  <a:gd name="T100" fmla="*/ 585 w 890"/>
                  <a:gd name="T101" fmla="*/ 618 h 7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90" h="767">
                    <a:moveTo>
                      <a:pt x="581" y="750"/>
                    </a:moveTo>
                    <a:lnTo>
                      <a:pt x="583" y="746"/>
                    </a:lnTo>
                    <a:lnTo>
                      <a:pt x="583" y="746"/>
                    </a:lnTo>
                    <a:lnTo>
                      <a:pt x="583" y="746"/>
                    </a:lnTo>
                    <a:lnTo>
                      <a:pt x="580" y="744"/>
                    </a:lnTo>
                    <a:lnTo>
                      <a:pt x="578" y="744"/>
                    </a:lnTo>
                    <a:lnTo>
                      <a:pt x="576" y="746"/>
                    </a:lnTo>
                    <a:lnTo>
                      <a:pt x="574" y="746"/>
                    </a:lnTo>
                    <a:lnTo>
                      <a:pt x="574" y="746"/>
                    </a:lnTo>
                    <a:lnTo>
                      <a:pt x="572" y="746"/>
                    </a:lnTo>
                    <a:lnTo>
                      <a:pt x="568" y="744"/>
                    </a:lnTo>
                    <a:lnTo>
                      <a:pt x="568" y="744"/>
                    </a:lnTo>
                    <a:lnTo>
                      <a:pt x="568" y="746"/>
                    </a:lnTo>
                    <a:lnTo>
                      <a:pt x="568" y="746"/>
                    </a:lnTo>
                    <a:lnTo>
                      <a:pt x="568" y="746"/>
                    </a:lnTo>
                    <a:lnTo>
                      <a:pt x="570" y="748"/>
                    </a:lnTo>
                    <a:lnTo>
                      <a:pt x="570" y="750"/>
                    </a:lnTo>
                    <a:lnTo>
                      <a:pt x="570" y="750"/>
                    </a:lnTo>
                    <a:lnTo>
                      <a:pt x="568" y="750"/>
                    </a:lnTo>
                    <a:lnTo>
                      <a:pt x="568" y="750"/>
                    </a:lnTo>
                    <a:lnTo>
                      <a:pt x="566" y="750"/>
                    </a:lnTo>
                    <a:lnTo>
                      <a:pt x="564" y="750"/>
                    </a:lnTo>
                    <a:lnTo>
                      <a:pt x="564" y="750"/>
                    </a:lnTo>
                    <a:lnTo>
                      <a:pt x="566" y="752"/>
                    </a:lnTo>
                    <a:lnTo>
                      <a:pt x="566" y="752"/>
                    </a:lnTo>
                    <a:lnTo>
                      <a:pt x="566" y="752"/>
                    </a:lnTo>
                    <a:lnTo>
                      <a:pt x="564" y="753"/>
                    </a:lnTo>
                    <a:lnTo>
                      <a:pt x="564" y="753"/>
                    </a:lnTo>
                    <a:lnTo>
                      <a:pt x="566" y="755"/>
                    </a:lnTo>
                    <a:lnTo>
                      <a:pt x="566" y="755"/>
                    </a:lnTo>
                    <a:lnTo>
                      <a:pt x="568" y="755"/>
                    </a:lnTo>
                    <a:lnTo>
                      <a:pt x="568" y="755"/>
                    </a:lnTo>
                    <a:lnTo>
                      <a:pt x="570" y="757"/>
                    </a:lnTo>
                    <a:lnTo>
                      <a:pt x="570" y="757"/>
                    </a:lnTo>
                    <a:lnTo>
                      <a:pt x="572" y="757"/>
                    </a:lnTo>
                    <a:lnTo>
                      <a:pt x="572" y="757"/>
                    </a:lnTo>
                    <a:lnTo>
                      <a:pt x="574" y="757"/>
                    </a:lnTo>
                    <a:lnTo>
                      <a:pt x="574" y="757"/>
                    </a:lnTo>
                    <a:lnTo>
                      <a:pt x="574" y="759"/>
                    </a:lnTo>
                    <a:lnTo>
                      <a:pt x="574" y="759"/>
                    </a:lnTo>
                    <a:lnTo>
                      <a:pt x="574" y="759"/>
                    </a:lnTo>
                    <a:lnTo>
                      <a:pt x="576" y="759"/>
                    </a:lnTo>
                    <a:lnTo>
                      <a:pt x="576" y="759"/>
                    </a:lnTo>
                    <a:lnTo>
                      <a:pt x="578" y="759"/>
                    </a:lnTo>
                    <a:lnTo>
                      <a:pt x="578" y="759"/>
                    </a:lnTo>
                    <a:lnTo>
                      <a:pt x="576" y="761"/>
                    </a:lnTo>
                    <a:lnTo>
                      <a:pt x="576" y="761"/>
                    </a:lnTo>
                    <a:lnTo>
                      <a:pt x="576" y="761"/>
                    </a:lnTo>
                    <a:lnTo>
                      <a:pt x="576" y="763"/>
                    </a:lnTo>
                    <a:lnTo>
                      <a:pt x="576" y="763"/>
                    </a:lnTo>
                    <a:lnTo>
                      <a:pt x="578" y="765"/>
                    </a:lnTo>
                    <a:lnTo>
                      <a:pt x="578" y="765"/>
                    </a:lnTo>
                    <a:lnTo>
                      <a:pt x="578" y="765"/>
                    </a:lnTo>
                    <a:lnTo>
                      <a:pt x="581" y="767"/>
                    </a:lnTo>
                    <a:lnTo>
                      <a:pt x="583" y="767"/>
                    </a:lnTo>
                    <a:lnTo>
                      <a:pt x="583" y="767"/>
                    </a:lnTo>
                    <a:lnTo>
                      <a:pt x="581" y="750"/>
                    </a:lnTo>
                    <a:close/>
                    <a:moveTo>
                      <a:pt x="21" y="597"/>
                    </a:moveTo>
                    <a:lnTo>
                      <a:pt x="19" y="597"/>
                    </a:lnTo>
                    <a:lnTo>
                      <a:pt x="17" y="597"/>
                    </a:lnTo>
                    <a:lnTo>
                      <a:pt x="15" y="597"/>
                    </a:lnTo>
                    <a:lnTo>
                      <a:pt x="13" y="597"/>
                    </a:lnTo>
                    <a:lnTo>
                      <a:pt x="13" y="599"/>
                    </a:lnTo>
                    <a:lnTo>
                      <a:pt x="11" y="599"/>
                    </a:lnTo>
                    <a:lnTo>
                      <a:pt x="9" y="601"/>
                    </a:lnTo>
                    <a:lnTo>
                      <a:pt x="9" y="601"/>
                    </a:lnTo>
                    <a:lnTo>
                      <a:pt x="7" y="601"/>
                    </a:lnTo>
                    <a:lnTo>
                      <a:pt x="6" y="601"/>
                    </a:lnTo>
                    <a:lnTo>
                      <a:pt x="2" y="601"/>
                    </a:lnTo>
                    <a:lnTo>
                      <a:pt x="2" y="611"/>
                    </a:lnTo>
                    <a:lnTo>
                      <a:pt x="2" y="613"/>
                    </a:lnTo>
                    <a:lnTo>
                      <a:pt x="2" y="613"/>
                    </a:lnTo>
                    <a:lnTo>
                      <a:pt x="2" y="613"/>
                    </a:lnTo>
                    <a:lnTo>
                      <a:pt x="0" y="613"/>
                    </a:lnTo>
                    <a:lnTo>
                      <a:pt x="0" y="615"/>
                    </a:lnTo>
                    <a:lnTo>
                      <a:pt x="0" y="613"/>
                    </a:lnTo>
                    <a:lnTo>
                      <a:pt x="2" y="613"/>
                    </a:lnTo>
                    <a:lnTo>
                      <a:pt x="2" y="613"/>
                    </a:lnTo>
                    <a:lnTo>
                      <a:pt x="2" y="613"/>
                    </a:lnTo>
                    <a:lnTo>
                      <a:pt x="2" y="613"/>
                    </a:lnTo>
                    <a:lnTo>
                      <a:pt x="4" y="613"/>
                    </a:lnTo>
                    <a:lnTo>
                      <a:pt x="4" y="613"/>
                    </a:lnTo>
                    <a:lnTo>
                      <a:pt x="4" y="615"/>
                    </a:lnTo>
                    <a:lnTo>
                      <a:pt x="6" y="615"/>
                    </a:lnTo>
                    <a:lnTo>
                      <a:pt x="9" y="618"/>
                    </a:lnTo>
                    <a:lnTo>
                      <a:pt x="7" y="615"/>
                    </a:lnTo>
                    <a:lnTo>
                      <a:pt x="7" y="613"/>
                    </a:lnTo>
                    <a:lnTo>
                      <a:pt x="13" y="609"/>
                    </a:lnTo>
                    <a:lnTo>
                      <a:pt x="13" y="607"/>
                    </a:lnTo>
                    <a:lnTo>
                      <a:pt x="13" y="605"/>
                    </a:lnTo>
                    <a:lnTo>
                      <a:pt x="13" y="603"/>
                    </a:lnTo>
                    <a:lnTo>
                      <a:pt x="15" y="601"/>
                    </a:lnTo>
                    <a:lnTo>
                      <a:pt x="15" y="601"/>
                    </a:lnTo>
                    <a:lnTo>
                      <a:pt x="17" y="603"/>
                    </a:lnTo>
                    <a:lnTo>
                      <a:pt x="19" y="601"/>
                    </a:lnTo>
                    <a:lnTo>
                      <a:pt x="19" y="601"/>
                    </a:lnTo>
                    <a:lnTo>
                      <a:pt x="21" y="599"/>
                    </a:lnTo>
                    <a:lnTo>
                      <a:pt x="23" y="597"/>
                    </a:lnTo>
                    <a:lnTo>
                      <a:pt x="25" y="599"/>
                    </a:lnTo>
                    <a:lnTo>
                      <a:pt x="25" y="597"/>
                    </a:lnTo>
                    <a:lnTo>
                      <a:pt x="23" y="596"/>
                    </a:lnTo>
                    <a:lnTo>
                      <a:pt x="21" y="597"/>
                    </a:lnTo>
                    <a:close/>
                    <a:moveTo>
                      <a:pt x="890" y="6"/>
                    </a:moveTo>
                    <a:lnTo>
                      <a:pt x="890" y="6"/>
                    </a:lnTo>
                    <a:lnTo>
                      <a:pt x="890" y="4"/>
                    </a:lnTo>
                    <a:lnTo>
                      <a:pt x="890" y="2"/>
                    </a:lnTo>
                    <a:lnTo>
                      <a:pt x="890" y="2"/>
                    </a:lnTo>
                    <a:lnTo>
                      <a:pt x="888" y="2"/>
                    </a:lnTo>
                    <a:lnTo>
                      <a:pt x="888" y="2"/>
                    </a:lnTo>
                    <a:lnTo>
                      <a:pt x="888" y="4"/>
                    </a:lnTo>
                    <a:lnTo>
                      <a:pt x="887" y="4"/>
                    </a:lnTo>
                    <a:lnTo>
                      <a:pt x="885" y="6"/>
                    </a:lnTo>
                    <a:lnTo>
                      <a:pt x="881" y="6"/>
                    </a:lnTo>
                    <a:lnTo>
                      <a:pt x="879" y="4"/>
                    </a:lnTo>
                    <a:lnTo>
                      <a:pt x="879" y="4"/>
                    </a:lnTo>
                    <a:lnTo>
                      <a:pt x="881" y="0"/>
                    </a:lnTo>
                    <a:lnTo>
                      <a:pt x="879" y="2"/>
                    </a:lnTo>
                    <a:lnTo>
                      <a:pt x="879" y="2"/>
                    </a:lnTo>
                    <a:lnTo>
                      <a:pt x="877" y="2"/>
                    </a:lnTo>
                    <a:lnTo>
                      <a:pt x="877" y="4"/>
                    </a:lnTo>
                    <a:lnTo>
                      <a:pt x="875" y="4"/>
                    </a:lnTo>
                    <a:lnTo>
                      <a:pt x="875" y="4"/>
                    </a:lnTo>
                    <a:lnTo>
                      <a:pt x="875" y="6"/>
                    </a:lnTo>
                    <a:lnTo>
                      <a:pt x="877" y="6"/>
                    </a:lnTo>
                    <a:lnTo>
                      <a:pt x="877" y="6"/>
                    </a:lnTo>
                    <a:lnTo>
                      <a:pt x="881" y="8"/>
                    </a:lnTo>
                    <a:lnTo>
                      <a:pt x="885" y="8"/>
                    </a:lnTo>
                    <a:lnTo>
                      <a:pt x="885" y="10"/>
                    </a:lnTo>
                    <a:lnTo>
                      <a:pt x="887" y="8"/>
                    </a:lnTo>
                    <a:lnTo>
                      <a:pt x="888" y="8"/>
                    </a:lnTo>
                    <a:lnTo>
                      <a:pt x="887" y="8"/>
                    </a:lnTo>
                    <a:lnTo>
                      <a:pt x="887" y="6"/>
                    </a:lnTo>
                    <a:lnTo>
                      <a:pt x="887" y="6"/>
                    </a:lnTo>
                    <a:lnTo>
                      <a:pt x="888" y="6"/>
                    </a:lnTo>
                    <a:lnTo>
                      <a:pt x="890" y="6"/>
                    </a:lnTo>
                    <a:close/>
                    <a:moveTo>
                      <a:pt x="583" y="620"/>
                    </a:moveTo>
                    <a:lnTo>
                      <a:pt x="583" y="620"/>
                    </a:lnTo>
                    <a:lnTo>
                      <a:pt x="583" y="620"/>
                    </a:lnTo>
                    <a:lnTo>
                      <a:pt x="580" y="622"/>
                    </a:lnTo>
                    <a:lnTo>
                      <a:pt x="578" y="622"/>
                    </a:lnTo>
                    <a:lnTo>
                      <a:pt x="576" y="626"/>
                    </a:lnTo>
                    <a:lnTo>
                      <a:pt x="574" y="626"/>
                    </a:lnTo>
                    <a:lnTo>
                      <a:pt x="574" y="626"/>
                    </a:lnTo>
                    <a:lnTo>
                      <a:pt x="574" y="624"/>
                    </a:lnTo>
                    <a:lnTo>
                      <a:pt x="572" y="624"/>
                    </a:lnTo>
                    <a:lnTo>
                      <a:pt x="572" y="624"/>
                    </a:lnTo>
                    <a:lnTo>
                      <a:pt x="570" y="624"/>
                    </a:lnTo>
                    <a:lnTo>
                      <a:pt x="570" y="622"/>
                    </a:lnTo>
                    <a:lnTo>
                      <a:pt x="570" y="622"/>
                    </a:lnTo>
                    <a:lnTo>
                      <a:pt x="572" y="620"/>
                    </a:lnTo>
                    <a:lnTo>
                      <a:pt x="574" y="620"/>
                    </a:lnTo>
                    <a:lnTo>
                      <a:pt x="574" y="618"/>
                    </a:lnTo>
                    <a:lnTo>
                      <a:pt x="574" y="618"/>
                    </a:lnTo>
                    <a:lnTo>
                      <a:pt x="572" y="618"/>
                    </a:lnTo>
                    <a:lnTo>
                      <a:pt x="572" y="618"/>
                    </a:lnTo>
                    <a:lnTo>
                      <a:pt x="568" y="618"/>
                    </a:lnTo>
                    <a:lnTo>
                      <a:pt x="566" y="618"/>
                    </a:lnTo>
                    <a:lnTo>
                      <a:pt x="566" y="617"/>
                    </a:lnTo>
                    <a:lnTo>
                      <a:pt x="564" y="617"/>
                    </a:lnTo>
                    <a:lnTo>
                      <a:pt x="564" y="615"/>
                    </a:lnTo>
                    <a:lnTo>
                      <a:pt x="562" y="615"/>
                    </a:lnTo>
                    <a:lnTo>
                      <a:pt x="562" y="615"/>
                    </a:lnTo>
                    <a:lnTo>
                      <a:pt x="562" y="615"/>
                    </a:lnTo>
                    <a:lnTo>
                      <a:pt x="562" y="615"/>
                    </a:lnTo>
                    <a:lnTo>
                      <a:pt x="560" y="617"/>
                    </a:lnTo>
                    <a:lnTo>
                      <a:pt x="560" y="617"/>
                    </a:lnTo>
                    <a:lnTo>
                      <a:pt x="560" y="618"/>
                    </a:lnTo>
                    <a:lnTo>
                      <a:pt x="560" y="618"/>
                    </a:lnTo>
                    <a:lnTo>
                      <a:pt x="562" y="620"/>
                    </a:lnTo>
                    <a:lnTo>
                      <a:pt x="562" y="622"/>
                    </a:lnTo>
                    <a:lnTo>
                      <a:pt x="562" y="622"/>
                    </a:lnTo>
                    <a:lnTo>
                      <a:pt x="562" y="622"/>
                    </a:lnTo>
                    <a:lnTo>
                      <a:pt x="562" y="624"/>
                    </a:lnTo>
                    <a:lnTo>
                      <a:pt x="564" y="624"/>
                    </a:lnTo>
                    <a:lnTo>
                      <a:pt x="564" y="624"/>
                    </a:lnTo>
                    <a:lnTo>
                      <a:pt x="564" y="626"/>
                    </a:lnTo>
                    <a:lnTo>
                      <a:pt x="564" y="626"/>
                    </a:lnTo>
                    <a:lnTo>
                      <a:pt x="566" y="628"/>
                    </a:lnTo>
                    <a:lnTo>
                      <a:pt x="566" y="628"/>
                    </a:lnTo>
                    <a:lnTo>
                      <a:pt x="564" y="630"/>
                    </a:lnTo>
                    <a:lnTo>
                      <a:pt x="564" y="630"/>
                    </a:lnTo>
                    <a:lnTo>
                      <a:pt x="564" y="632"/>
                    </a:lnTo>
                    <a:lnTo>
                      <a:pt x="564" y="632"/>
                    </a:lnTo>
                    <a:lnTo>
                      <a:pt x="564" y="634"/>
                    </a:lnTo>
                    <a:lnTo>
                      <a:pt x="564" y="634"/>
                    </a:lnTo>
                    <a:lnTo>
                      <a:pt x="566" y="634"/>
                    </a:lnTo>
                    <a:lnTo>
                      <a:pt x="566" y="634"/>
                    </a:lnTo>
                    <a:lnTo>
                      <a:pt x="568" y="636"/>
                    </a:lnTo>
                    <a:lnTo>
                      <a:pt x="568" y="636"/>
                    </a:lnTo>
                    <a:lnTo>
                      <a:pt x="568" y="636"/>
                    </a:lnTo>
                    <a:lnTo>
                      <a:pt x="570" y="636"/>
                    </a:lnTo>
                    <a:lnTo>
                      <a:pt x="570" y="636"/>
                    </a:lnTo>
                    <a:lnTo>
                      <a:pt x="570" y="636"/>
                    </a:lnTo>
                    <a:lnTo>
                      <a:pt x="572" y="636"/>
                    </a:lnTo>
                    <a:lnTo>
                      <a:pt x="574" y="636"/>
                    </a:lnTo>
                    <a:lnTo>
                      <a:pt x="578" y="636"/>
                    </a:lnTo>
                    <a:lnTo>
                      <a:pt x="578" y="636"/>
                    </a:lnTo>
                    <a:lnTo>
                      <a:pt x="578" y="636"/>
                    </a:lnTo>
                    <a:lnTo>
                      <a:pt x="580" y="630"/>
                    </a:lnTo>
                    <a:lnTo>
                      <a:pt x="581" y="624"/>
                    </a:lnTo>
                    <a:lnTo>
                      <a:pt x="583" y="620"/>
                    </a:lnTo>
                    <a:lnTo>
                      <a:pt x="583" y="620"/>
                    </a:lnTo>
                    <a:lnTo>
                      <a:pt x="583" y="618"/>
                    </a:lnTo>
                    <a:lnTo>
                      <a:pt x="585" y="618"/>
                    </a:lnTo>
                    <a:lnTo>
                      <a:pt x="583" y="618"/>
                    </a:lnTo>
                    <a:lnTo>
                      <a:pt x="583" y="62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3" name="Freeform 15">
                <a:extLst>
                  <a:ext uri="{FF2B5EF4-FFF2-40B4-BE49-F238E27FC236}">
                    <a16:creationId xmlns:a16="http://schemas.microsoft.com/office/drawing/2014/main" id="{4D138507-573F-46AC-BD25-A68FFB5E4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9507" y="4777261"/>
                <a:ext cx="1211263" cy="1009650"/>
              </a:xfrm>
              <a:custGeom>
                <a:avLst/>
                <a:gdLst>
                  <a:gd name="T0" fmla="*/ 717 w 763"/>
                  <a:gd name="T1" fmla="*/ 80 h 636"/>
                  <a:gd name="T2" fmla="*/ 690 w 763"/>
                  <a:gd name="T3" fmla="*/ 59 h 636"/>
                  <a:gd name="T4" fmla="*/ 622 w 763"/>
                  <a:gd name="T5" fmla="*/ 29 h 636"/>
                  <a:gd name="T6" fmla="*/ 570 w 763"/>
                  <a:gd name="T7" fmla="*/ 8 h 636"/>
                  <a:gd name="T8" fmla="*/ 574 w 763"/>
                  <a:gd name="T9" fmla="*/ 63 h 636"/>
                  <a:gd name="T10" fmla="*/ 542 w 763"/>
                  <a:gd name="T11" fmla="*/ 63 h 636"/>
                  <a:gd name="T12" fmla="*/ 465 w 763"/>
                  <a:gd name="T13" fmla="*/ 59 h 636"/>
                  <a:gd name="T14" fmla="*/ 450 w 763"/>
                  <a:gd name="T15" fmla="*/ 14 h 636"/>
                  <a:gd name="T16" fmla="*/ 391 w 763"/>
                  <a:gd name="T17" fmla="*/ 23 h 636"/>
                  <a:gd name="T18" fmla="*/ 326 w 763"/>
                  <a:gd name="T19" fmla="*/ 10 h 636"/>
                  <a:gd name="T20" fmla="*/ 271 w 763"/>
                  <a:gd name="T21" fmla="*/ 61 h 636"/>
                  <a:gd name="T22" fmla="*/ 273 w 763"/>
                  <a:gd name="T23" fmla="*/ 90 h 636"/>
                  <a:gd name="T24" fmla="*/ 246 w 763"/>
                  <a:gd name="T25" fmla="*/ 132 h 636"/>
                  <a:gd name="T26" fmla="*/ 236 w 763"/>
                  <a:gd name="T27" fmla="*/ 162 h 636"/>
                  <a:gd name="T28" fmla="*/ 208 w 763"/>
                  <a:gd name="T29" fmla="*/ 191 h 636"/>
                  <a:gd name="T30" fmla="*/ 158 w 763"/>
                  <a:gd name="T31" fmla="*/ 191 h 636"/>
                  <a:gd name="T32" fmla="*/ 128 w 763"/>
                  <a:gd name="T33" fmla="*/ 231 h 636"/>
                  <a:gd name="T34" fmla="*/ 122 w 763"/>
                  <a:gd name="T35" fmla="*/ 259 h 636"/>
                  <a:gd name="T36" fmla="*/ 130 w 763"/>
                  <a:gd name="T37" fmla="*/ 286 h 636"/>
                  <a:gd name="T38" fmla="*/ 149 w 763"/>
                  <a:gd name="T39" fmla="*/ 341 h 636"/>
                  <a:gd name="T40" fmla="*/ 162 w 763"/>
                  <a:gd name="T41" fmla="*/ 356 h 636"/>
                  <a:gd name="T42" fmla="*/ 149 w 763"/>
                  <a:gd name="T43" fmla="*/ 366 h 636"/>
                  <a:gd name="T44" fmla="*/ 103 w 763"/>
                  <a:gd name="T45" fmla="*/ 347 h 636"/>
                  <a:gd name="T46" fmla="*/ 82 w 763"/>
                  <a:gd name="T47" fmla="*/ 341 h 636"/>
                  <a:gd name="T48" fmla="*/ 55 w 763"/>
                  <a:gd name="T49" fmla="*/ 354 h 636"/>
                  <a:gd name="T50" fmla="*/ 80 w 763"/>
                  <a:gd name="T51" fmla="*/ 410 h 636"/>
                  <a:gd name="T52" fmla="*/ 97 w 763"/>
                  <a:gd name="T53" fmla="*/ 432 h 636"/>
                  <a:gd name="T54" fmla="*/ 105 w 763"/>
                  <a:gd name="T55" fmla="*/ 476 h 636"/>
                  <a:gd name="T56" fmla="*/ 90 w 763"/>
                  <a:gd name="T57" fmla="*/ 507 h 636"/>
                  <a:gd name="T58" fmla="*/ 67 w 763"/>
                  <a:gd name="T59" fmla="*/ 528 h 636"/>
                  <a:gd name="T60" fmla="*/ 34 w 763"/>
                  <a:gd name="T61" fmla="*/ 567 h 636"/>
                  <a:gd name="T62" fmla="*/ 13 w 763"/>
                  <a:gd name="T63" fmla="*/ 598 h 636"/>
                  <a:gd name="T64" fmla="*/ 4 w 763"/>
                  <a:gd name="T65" fmla="*/ 625 h 636"/>
                  <a:gd name="T66" fmla="*/ 23 w 763"/>
                  <a:gd name="T67" fmla="*/ 634 h 636"/>
                  <a:gd name="T68" fmla="*/ 103 w 763"/>
                  <a:gd name="T69" fmla="*/ 607 h 636"/>
                  <a:gd name="T70" fmla="*/ 120 w 763"/>
                  <a:gd name="T71" fmla="*/ 588 h 636"/>
                  <a:gd name="T72" fmla="*/ 133 w 763"/>
                  <a:gd name="T73" fmla="*/ 539 h 636"/>
                  <a:gd name="T74" fmla="*/ 151 w 763"/>
                  <a:gd name="T75" fmla="*/ 566 h 636"/>
                  <a:gd name="T76" fmla="*/ 175 w 763"/>
                  <a:gd name="T77" fmla="*/ 562 h 636"/>
                  <a:gd name="T78" fmla="*/ 202 w 763"/>
                  <a:gd name="T79" fmla="*/ 558 h 636"/>
                  <a:gd name="T80" fmla="*/ 204 w 763"/>
                  <a:gd name="T81" fmla="*/ 529 h 636"/>
                  <a:gd name="T82" fmla="*/ 246 w 763"/>
                  <a:gd name="T83" fmla="*/ 499 h 636"/>
                  <a:gd name="T84" fmla="*/ 240 w 763"/>
                  <a:gd name="T85" fmla="*/ 480 h 636"/>
                  <a:gd name="T86" fmla="*/ 261 w 763"/>
                  <a:gd name="T87" fmla="*/ 474 h 636"/>
                  <a:gd name="T88" fmla="*/ 276 w 763"/>
                  <a:gd name="T89" fmla="*/ 459 h 636"/>
                  <a:gd name="T90" fmla="*/ 297 w 763"/>
                  <a:gd name="T91" fmla="*/ 476 h 636"/>
                  <a:gd name="T92" fmla="*/ 334 w 763"/>
                  <a:gd name="T93" fmla="*/ 501 h 636"/>
                  <a:gd name="T94" fmla="*/ 385 w 763"/>
                  <a:gd name="T95" fmla="*/ 482 h 636"/>
                  <a:gd name="T96" fmla="*/ 410 w 763"/>
                  <a:gd name="T97" fmla="*/ 465 h 636"/>
                  <a:gd name="T98" fmla="*/ 482 w 763"/>
                  <a:gd name="T99" fmla="*/ 408 h 636"/>
                  <a:gd name="T100" fmla="*/ 501 w 763"/>
                  <a:gd name="T101" fmla="*/ 394 h 636"/>
                  <a:gd name="T102" fmla="*/ 484 w 763"/>
                  <a:gd name="T103" fmla="*/ 394 h 636"/>
                  <a:gd name="T104" fmla="*/ 469 w 763"/>
                  <a:gd name="T105" fmla="*/ 411 h 636"/>
                  <a:gd name="T106" fmla="*/ 480 w 763"/>
                  <a:gd name="T107" fmla="*/ 379 h 636"/>
                  <a:gd name="T108" fmla="*/ 519 w 763"/>
                  <a:gd name="T109" fmla="*/ 381 h 636"/>
                  <a:gd name="T110" fmla="*/ 532 w 763"/>
                  <a:gd name="T111" fmla="*/ 381 h 636"/>
                  <a:gd name="T112" fmla="*/ 622 w 763"/>
                  <a:gd name="T113" fmla="*/ 347 h 636"/>
                  <a:gd name="T114" fmla="*/ 599 w 763"/>
                  <a:gd name="T115" fmla="*/ 328 h 636"/>
                  <a:gd name="T116" fmla="*/ 658 w 763"/>
                  <a:gd name="T117" fmla="*/ 313 h 636"/>
                  <a:gd name="T118" fmla="*/ 673 w 763"/>
                  <a:gd name="T119" fmla="*/ 278 h 636"/>
                  <a:gd name="T120" fmla="*/ 704 w 763"/>
                  <a:gd name="T121" fmla="*/ 248 h 636"/>
                  <a:gd name="T122" fmla="*/ 734 w 763"/>
                  <a:gd name="T123" fmla="*/ 136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63" h="636">
                    <a:moveTo>
                      <a:pt x="763" y="124"/>
                    </a:moveTo>
                    <a:lnTo>
                      <a:pt x="759" y="118"/>
                    </a:lnTo>
                    <a:lnTo>
                      <a:pt x="757" y="117"/>
                    </a:lnTo>
                    <a:lnTo>
                      <a:pt x="757" y="115"/>
                    </a:lnTo>
                    <a:lnTo>
                      <a:pt x="757" y="113"/>
                    </a:lnTo>
                    <a:lnTo>
                      <a:pt x="757" y="109"/>
                    </a:lnTo>
                    <a:lnTo>
                      <a:pt x="757" y="107"/>
                    </a:lnTo>
                    <a:lnTo>
                      <a:pt x="757" y="105"/>
                    </a:lnTo>
                    <a:lnTo>
                      <a:pt x="755" y="103"/>
                    </a:lnTo>
                    <a:lnTo>
                      <a:pt x="738" y="99"/>
                    </a:lnTo>
                    <a:lnTo>
                      <a:pt x="736" y="99"/>
                    </a:lnTo>
                    <a:lnTo>
                      <a:pt x="734" y="98"/>
                    </a:lnTo>
                    <a:lnTo>
                      <a:pt x="732" y="96"/>
                    </a:lnTo>
                    <a:lnTo>
                      <a:pt x="732" y="94"/>
                    </a:lnTo>
                    <a:lnTo>
                      <a:pt x="732" y="90"/>
                    </a:lnTo>
                    <a:lnTo>
                      <a:pt x="730" y="86"/>
                    </a:lnTo>
                    <a:lnTo>
                      <a:pt x="730" y="82"/>
                    </a:lnTo>
                    <a:lnTo>
                      <a:pt x="728" y="80"/>
                    </a:lnTo>
                    <a:lnTo>
                      <a:pt x="723" y="78"/>
                    </a:lnTo>
                    <a:lnTo>
                      <a:pt x="721" y="78"/>
                    </a:lnTo>
                    <a:lnTo>
                      <a:pt x="719" y="78"/>
                    </a:lnTo>
                    <a:lnTo>
                      <a:pt x="719" y="78"/>
                    </a:lnTo>
                    <a:lnTo>
                      <a:pt x="717" y="80"/>
                    </a:lnTo>
                    <a:lnTo>
                      <a:pt x="717" y="82"/>
                    </a:lnTo>
                    <a:lnTo>
                      <a:pt x="715" y="82"/>
                    </a:lnTo>
                    <a:lnTo>
                      <a:pt x="715" y="84"/>
                    </a:lnTo>
                    <a:lnTo>
                      <a:pt x="713" y="84"/>
                    </a:lnTo>
                    <a:lnTo>
                      <a:pt x="713" y="84"/>
                    </a:lnTo>
                    <a:lnTo>
                      <a:pt x="711" y="86"/>
                    </a:lnTo>
                    <a:lnTo>
                      <a:pt x="711" y="88"/>
                    </a:lnTo>
                    <a:lnTo>
                      <a:pt x="709" y="88"/>
                    </a:lnTo>
                    <a:lnTo>
                      <a:pt x="707" y="88"/>
                    </a:lnTo>
                    <a:lnTo>
                      <a:pt x="704" y="84"/>
                    </a:lnTo>
                    <a:lnTo>
                      <a:pt x="704" y="80"/>
                    </a:lnTo>
                    <a:lnTo>
                      <a:pt x="704" y="78"/>
                    </a:lnTo>
                    <a:lnTo>
                      <a:pt x="704" y="75"/>
                    </a:lnTo>
                    <a:lnTo>
                      <a:pt x="704" y="75"/>
                    </a:lnTo>
                    <a:lnTo>
                      <a:pt x="704" y="73"/>
                    </a:lnTo>
                    <a:lnTo>
                      <a:pt x="704" y="71"/>
                    </a:lnTo>
                    <a:lnTo>
                      <a:pt x="704" y="69"/>
                    </a:lnTo>
                    <a:lnTo>
                      <a:pt x="704" y="69"/>
                    </a:lnTo>
                    <a:lnTo>
                      <a:pt x="704" y="67"/>
                    </a:lnTo>
                    <a:lnTo>
                      <a:pt x="702" y="65"/>
                    </a:lnTo>
                    <a:lnTo>
                      <a:pt x="700" y="65"/>
                    </a:lnTo>
                    <a:lnTo>
                      <a:pt x="696" y="61"/>
                    </a:lnTo>
                    <a:lnTo>
                      <a:pt x="690" y="59"/>
                    </a:lnTo>
                    <a:lnTo>
                      <a:pt x="688" y="59"/>
                    </a:lnTo>
                    <a:lnTo>
                      <a:pt x="686" y="59"/>
                    </a:lnTo>
                    <a:lnTo>
                      <a:pt x="685" y="59"/>
                    </a:lnTo>
                    <a:lnTo>
                      <a:pt x="683" y="59"/>
                    </a:lnTo>
                    <a:lnTo>
                      <a:pt x="677" y="54"/>
                    </a:lnTo>
                    <a:lnTo>
                      <a:pt x="675" y="52"/>
                    </a:lnTo>
                    <a:lnTo>
                      <a:pt x="673" y="52"/>
                    </a:lnTo>
                    <a:lnTo>
                      <a:pt x="669" y="52"/>
                    </a:lnTo>
                    <a:lnTo>
                      <a:pt x="667" y="50"/>
                    </a:lnTo>
                    <a:lnTo>
                      <a:pt x="667" y="50"/>
                    </a:lnTo>
                    <a:lnTo>
                      <a:pt x="664" y="46"/>
                    </a:lnTo>
                    <a:lnTo>
                      <a:pt x="660" y="44"/>
                    </a:lnTo>
                    <a:lnTo>
                      <a:pt x="654" y="39"/>
                    </a:lnTo>
                    <a:lnTo>
                      <a:pt x="643" y="31"/>
                    </a:lnTo>
                    <a:lnTo>
                      <a:pt x="641" y="29"/>
                    </a:lnTo>
                    <a:lnTo>
                      <a:pt x="639" y="29"/>
                    </a:lnTo>
                    <a:lnTo>
                      <a:pt x="637" y="29"/>
                    </a:lnTo>
                    <a:lnTo>
                      <a:pt x="633" y="31"/>
                    </a:lnTo>
                    <a:lnTo>
                      <a:pt x="631" y="31"/>
                    </a:lnTo>
                    <a:lnTo>
                      <a:pt x="629" y="31"/>
                    </a:lnTo>
                    <a:lnTo>
                      <a:pt x="627" y="31"/>
                    </a:lnTo>
                    <a:lnTo>
                      <a:pt x="624" y="31"/>
                    </a:lnTo>
                    <a:lnTo>
                      <a:pt x="622" y="29"/>
                    </a:lnTo>
                    <a:lnTo>
                      <a:pt x="620" y="27"/>
                    </a:lnTo>
                    <a:lnTo>
                      <a:pt x="620" y="25"/>
                    </a:lnTo>
                    <a:lnTo>
                      <a:pt x="616" y="21"/>
                    </a:lnTo>
                    <a:lnTo>
                      <a:pt x="614" y="20"/>
                    </a:lnTo>
                    <a:lnTo>
                      <a:pt x="612" y="18"/>
                    </a:lnTo>
                    <a:lnTo>
                      <a:pt x="591" y="8"/>
                    </a:lnTo>
                    <a:lnTo>
                      <a:pt x="587" y="0"/>
                    </a:lnTo>
                    <a:lnTo>
                      <a:pt x="585" y="0"/>
                    </a:lnTo>
                    <a:lnTo>
                      <a:pt x="585" y="0"/>
                    </a:lnTo>
                    <a:lnTo>
                      <a:pt x="583" y="0"/>
                    </a:lnTo>
                    <a:lnTo>
                      <a:pt x="582" y="0"/>
                    </a:lnTo>
                    <a:lnTo>
                      <a:pt x="582" y="0"/>
                    </a:lnTo>
                    <a:lnTo>
                      <a:pt x="580" y="4"/>
                    </a:lnTo>
                    <a:lnTo>
                      <a:pt x="578" y="4"/>
                    </a:lnTo>
                    <a:lnTo>
                      <a:pt x="578" y="4"/>
                    </a:lnTo>
                    <a:lnTo>
                      <a:pt x="578" y="6"/>
                    </a:lnTo>
                    <a:lnTo>
                      <a:pt x="576" y="6"/>
                    </a:lnTo>
                    <a:lnTo>
                      <a:pt x="574" y="6"/>
                    </a:lnTo>
                    <a:lnTo>
                      <a:pt x="572" y="6"/>
                    </a:lnTo>
                    <a:lnTo>
                      <a:pt x="570" y="8"/>
                    </a:lnTo>
                    <a:lnTo>
                      <a:pt x="570" y="8"/>
                    </a:lnTo>
                    <a:lnTo>
                      <a:pt x="570" y="8"/>
                    </a:lnTo>
                    <a:lnTo>
                      <a:pt x="570" y="8"/>
                    </a:lnTo>
                    <a:lnTo>
                      <a:pt x="570" y="10"/>
                    </a:lnTo>
                    <a:lnTo>
                      <a:pt x="570" y="12"/>
                    </a:lnTo>
                    <a:lnTo>
                      <a:pt x="572" y="14"/>
                    </a:lnTo>
                    <a:lnTo>
                      <a:pt x="576" y="18"/>
                    </a:lnTo>
                    <a:lnTo>
                      <a:pt x="576" y="20"/>
                    </a:lnTo>
                    <a:lnTo>
                      <a:pt x="576" y="21"/>
                    </a:lnTo>
                    <a:lnTo>
                      <a:pt x="578" y="29"/>
                    </a:lnTo>
                    <a:lnTo>
                      <a:pt x="578" y="33"/>
                    </a:lnTo>
                    <a:lnTo>
                      <a:pt x="578" y="35"/>
                    </a:lnTo>
                    <a:lnTo>
                      <a:pt x="574" y="39"/>
                    </a:lnTo>
                    <a:lnTo>
                      <a:pt x="574" y="40"/>
                    </a:lnTo>
                    <a:lnTo>
                      <a:pt x="574" y="42"/>
                    </a:lnTo>
                    <a:lnTo>
                      <a:pt x="574" y="44"/>
                    </a:lnTo>
                    <a:lnTo>
                      <a:pt x="576" y="48"/>
                    </a:lnTo>
                    <a:lnTo>
                      <a:pt x="578" y="50"/>
                    </a:lnTo>
                    <a:lnTo>
                      <a:pt x="576" y="52"/>
                    </a:lnTo>
                    <a:lnTo>
                      <a:pt x="576" y="56"/>
                    </a:lnTo>
                    <a:lnTo>
                      <a:pt x="576" y="58"/>
                    </a:lnTo>
                    <a:lnTo>
                      <a:pt x="576" y="59"/>
                    </a:lnTo>
                    <a:lnTo>
                      <a:pt x="576" y="59"/>
                    </a:lnTo>
                    <a:lnTo>
                      <a:pt x="576" y="61"/>
                    </a:lnTo>
                    <a:lnTo>
                      <a:pt x="574" y="61"/>
                    </a:lnTo>
                    <a:lnTo>
                      <a:pt x="574" y="63"/>
                    </a:lnTo>
                    <a:lnTo>
                      <a:pt x="568" y="73"/>
                    </a:lnTo>
                    <a:lnTo>
                      <a:pt x="566" y="75"/>
                    </a:lnTo>
                    <a:lnTo>
                      <a:pt x="562" y="77"/>
                    </a:lnTo>
                    <a:lnTo>
                      <a:pt x="557" y="77"/>
                    </a:lnTo>
                    <a:lnTo>
                      <a:pt x="551" y="73"/>
                    </a:lnTo>
                    <a:lnTo>
                      <a:pt x="551" y="73"/>
                    </a:lnTo>
                    <a:lnTo>
                      <a:pt x="551" y="69"/>
                    </a:lnTo>
                    <a:lnTo>
                      <a:pt x="551" y="67"/>
                    </a:lnTo>
                    <a:lnTo>
                      <a:pt x="551" y="67"/>
                    </a:lnTo>
                    <a:lnTo>
                      <a:pt x="551" y="65"/>
                    </a:lnTo>
                    <a:lnTo>
                      <a:pt x="551" y="65"/>
                    </a:lnTo>
                    <a:lnTo>
                      <a:pt x="553" y="61"/>
                    </a:lnTo>
                    <a:lnTo>
                      <a:pt x="553" y="61"/>
                    </a:lnTo>
                    <a:lnTo>
                      <a:pt x="553" y="59"/>
                    </a:lnTo>
                    <a:lnTo>
                      <a:pt x="553" y="58"/>
                    </a:lnTo>
                    <a:lnTo>
                      <a:pt x="553" y="58"/>
                    </a:lnTo>
                    <a:lnTo>
                      <a:pt x="551" y="58"/>
                    </a:lnTo>
                    <a:lnTo>
                      <a:pt x="549" y="59"/>
                    </a:lnTo>
                    <a:lnTo>
                      <a:pt x="547" y="61"/>
                    </a:lnTo>
                    <a:lnTo>
                      <a:pt x="547" y="61"/>
                    </a:lnTo>
                    <a:lnTo>
                      <a:pt x="545" y="61"/>
                    </a:lnTo>
                    <a:lnTo>
                      <a:pt x="543" y="63"/>
                    </a:lnTo>
                    <a:lnTo>
                      <a:pt x="542" y="63"/>
                    </a:lnTo>
                    <a:lnTo>
                      <a:pt x="540" y="65"/>
                    </a:lnTo>
                    <a:lnTo>
                      <a:pt x="538" y="65"/>
                    </a:lnTo>
                    <a:lnTo>
                      <a:pt x="536" y="63"/>
                    </a:lnTo>
                    <a:lnTo>
                      <a:pt x="530" y="63"/>
                    </a:lnTo>
                    <a:lnTo>
                      <a:pt x="522" y="61"/>
                    </a:lnTo>
                    <a:lnTo>
                      <a:pt x="511" y="54"/>
                    </a:lnTo>
                    <a:lnTo>
                      <a:pt x="509" y="54"/>
                    </a:lnTo>
                    <a:lnTo>
                      <a:pt x="507" y="54"/>
                    </a:lnTo>
                    <a:lnTo>
                      <a:pt x="505" y="54"/>
                    </a:lnTo>
                    <a:lnTo>
                      <a:pt x="503" y="54"/>
                    </a:lnTo>
                    <a:lnTo>
                      <a:pt x="503" y="54"/>
                    </a:lnTo>
                    <a:lnTo>
                      <a:pt x="500" y="56"/>
                    </a:lnTo>
                    <a:lnTo>
                      <a:pt x="496" y="58"/>
                    </a:lnTo>
                    <a:lnTo>
                      <a:pt x="494" y="58"/>
                    </a:lnTo>
                    <a:lnTo>
                      <a:pt x="488" y="63"/>
                    </a:lnTo>
                    <a:lnTo>
                      <a:pt x="482" y="71"/>
                    </a:lnTo>
                    <a:lnTo>
                      <a:pt x="480" y="71"/>
                    </a:lnTo>
                    <a:lnTo>
                      <a:pt x="480" y="71"/>
                    </a:lnTo>
                    <a:lnTo>
                      <a:pt x="480" y="71"/>
                    </a:lnTo>
                    <a:lnTo>
                      <a:pt x="479" y="71"/>
                    </a:lnTo>
                    <a:lnTo>
                      <a:pt x="477" y="67"/>
                    </a:lnTo>
                    <a:lnTo>
                      <a:pt x="467" y="61"/>
                    </a:lnTo>
                    <a:lnTo>
                      <a:pt x="465" y="59"/>
                    </a:lnTo>
                    <a:lnTo>
                      <a:pt x="463" y="59"/>
                    </a:lnTo>
                    <a:lnTo>
                      <a:pt x="461" y="59"/>
                    </a:lnTo>
                    <a:lnTo>
                      <a:pt x="460" y="59"/>
                    </a:lnTo>
                    <a:lnTo>
                      <a:pt x="458" y="59"/>
                    </a:lnTo>
                    <a:lnTo>
                      <a:pt x="454" y="61"/>
                    </a:lnTo>
                    <a:lnTo>
                      <a:pt x="452" y="61"/>
                    </a:lnTo>
                    <a:lnTo>
                      <a:pt x="452" y="61"/>
                    </a:lnTo>
                    <a:lnTo>
                      <a:pt x="452" y="59"/>
                    </a:lnTo>
                    <a:lnTo>
                      <a:pt x="452" y="58"/>
                    </a:lnTo>
                    <a:lnTo>
                      <a:pt x="452" y="58"/>
                    </a:lnTo>
                    <a:lnTo>
                      <a:pt x="454" y="54"/>
                    </a:lnTo>
                    <a:lnTo>
                      <a:pt x="458" y="46"/>
                    </a:lnTo>
                    <a:lnTo>
                      <a:pt x="463" y="37"/>
                    </a:lnTo>
                    <a:lnTo>
                      <a:pt x="465" y="37"/>
                    </a:lnTo>
                    <a:lnTo>
                      <a:pt x="465" y="35"/>
                    </a:lnTo>
                    <a:lnTo>
                      <a:pt x="465" y="31"/>
                    </a:lnTo>
                    <a:lnTo>
                      <a:pt x="465" y="27"/>
                    </a:lnTo>
                    <a:lnTo>
                      <a:pt x="465" y="21"/>
                    </a:lnTo>
                    <a:lnTo>
                      <a:pt x="463" y="14"/>
                    </a:lnTo>
                    <a:lnTo>
                      <a:pt x="461" y="6"/>
                    </a:lnTo>
                    <a:lnTo>
                      <a:pt x="458" y="10"/>
                    </a:lnTo>
                    <a:lnTo>
                      <a:pt x="452" y="14"/>
                    </a:lnTo>
                    <a:lnTo>
                      <a:pt x="450" y="14"/>
                    </a:lnTo>
                    <a:lnTo>
                      <a:pt x="446" y="14"/>
                    </a:lnTo>
                    <a:lnTo>
                      <a:pt x="446" y="16"/>
                    </a:lnTo>
                    <a:lnTo>
                      <a:pt x="444" y="16"/>
                    </a:lnTo>
                    <a:lnTo>
                      <a:pt x="442" y="18"/>
                    </a:lnTo>
                    <a:lnTo>
                      <a:pt x="442" y="18"/>
                    </a:lnTo>
                    <a:lnTo>
                      <a:pt x="440" y="18"/>
                    </a:lnTo>
                    <a:lnTo>
                      <a:pt x="439" y="16"/>
                    </a:lnTo>
                    <a:lnTo>
                      <a:pt x="431" y="14"/>
                    </a:lnTo>
                    <a:lnTo>
                      <a:pt x="427" y="14"/>
                    </a:lnTo>
                    <a:lnTo>
                      <a:pt x="425" y="14"/>
                    </a:lnTo>
                    <a:lnTo>
                      <a:pt x="423" y="16"/>
                    </a:lnTo>
                    <a:lnTo>
                      <a:pt x="423" y="16"/>
                    </a:lnTo>
                    <a:lnTo>
                      <a:pt x="423" y="16"/>
                    </a:lnTo>
                    <a:lnTo>
                      <a:pt x="421" y="18"/>
                    </a:lnTo>
                    <a:lnTo>
                      <a:pt x="419" y="18"/>
                    </a:lnTo>
                    <a:lnTo>
                      <a:pt x="395" y="18"/>
                    </a:lnTo>
                    <a:lnTo>
                      <a:pt x="393" y="18"/>
                    </a:lnTo>
                    <a:lnTo>
                      <a:pt x="391" y="20"/>
                    </a:lnTo>
                    <a:lnTo>
                      <a:pt x="391" y="20"/>
                    </a:lnTo>
                    <a:lnTo>
                      <a:pt x="391" y="21"/>
                    </a:lnTo>
                    <a:lnTo>
                      <a:pt x="391" y="21"/>
                    </a:lnTo>
                    <a:lnTo>
                      <a:pt x="391" y="23"/>
                    </a:lnTo>
                    <a:lnTo>
                      <a:pt x="391" y="23"/>
                    </a:lnTo>
                    <a:lnTo>
                      <a:pt x="389" y="25"/>
                    </a:lnTo>
                    <a:lnTo>
                      <a:pt x="389" y="25"/>
                    </a:lnTo>
                    <a:lnTo>
                      <a:pt x="389" y="25"/>
                    </a:lnTo>
                    <a:lnTo>
                      <a:pt x="379" y="31"/>
                    </a:lnTo>
                    <a:lnTo>
                      <a:pt x="379" y="31"/>
                    </a:lnTo>
                    <a:lnTo>
                      <a:pt x="366" y="31"/>
                    </a:lnTo>
                    <a:lnTo>
                      <a:pt x="364" y="31"/>
                    </a:lnTo>
                    <a:lnTo>
                      <a:pt x="357" y="27"/>
                    </a:lnTo>
                    <a:lnTo>
                      <a:pt x="355" y="27"/>
                    </a:lnTo>
                    <a:lnTo>
                      <a:pt x="353" y="27"/>
                    </a:lnTo>
                    <a:lnTo>
                      <a:pt x="351" y="27"/>
                    </a:lnTo>
                    <a:lnTo>
                      <a:pt x="349" y="25"/>
                    </a:lnTo>
                    <a:lnTo>
                      <a:pt x="345" y="23"/>
                    </a:lnTo>
                    <a:lnTo>
                      <a:pt x="345" y="21"/>
                    </a:lnTo>
                    <a:lnTo>
                      <a:pt x="343" y="20"/>
                    </a:lnTo>
                    <a:lnTo>
                      <a:pt x="343" y="18"/>
                    </a:lnTo>
                    <a:lnTo>
                      <a:pt x="336" y="8"/>
                    </a:lnTo>
                    <a:lnTo>
                      <a:pt x="332" y="4"/>
                    </a:lnTo>
                    <a:lnTo>
                      <a:pt x="328" y="2"/>
                    </a:lnTo>
                    <a:lnTo>
                      <a:pt x="324" y="2"/>
                    </a:lnTo>
                    <a:lnTo>
                      <a:pt x="324" y="4"/>
                    </a:lnTo>
                    <a:lnTo>
                      <a:pt x="324" y="6"/>
                    </a:lnTo>
                    <a:lnTo>
                      <a:pt x="326" y="10"/>
                    </a:lnTo>
                    <a:lnTo>
                      <a:pt x="326" y="12"/>
                    </a:lnTo>
                    <a:lnTo>
                      <a:pt x="328" y="14"/>
                    </a:lnTo>
                    <a:lnTo>
                      <a:pt x="328" y="16"/>
                    </a:lnTo>
                    <a:lnTo>
                      <a:pt x="326" y="18"/>
                    </a:lnTo>
                    <a:lnTo>
                      <a:pt x="326" y="18"/>
                    </a:lnTo>
                    <a:lnTo>
                      <a:pt x="326" y="20"/>
                    </a:lnTo>
                    <a:lnTo>
                      <a:pt x="326" y="20"/>
                    </a:lnTo>
                    <a:lnTo>
                      <a:pt x="322" y="23"/>
                    </a:lnTo>
                    <a:lnTo>
                      <a:pt x="320" y="25"/>
                    </a:lnTo>
                    <a:lnTo>
                      <a:pt x="318" y="25"/>
                    </a:lnTo>
                    <a:lnTo>
                      <a:pt x="316" y="25"/>
                    </a:lnTo>
                    <a:lnTo>
                      <a:pt x="313" y="27"/>
                    </a:lnTo>
                    <a:lnTo>
                      <a:pt x="307" y="27"/>
                    </a:lnTo>
                    <a:lnTo>
                      <a:pt x="305" y="31"/>
                    </a:lnTo>
                    <a:lnTo>
                      <a:pt x="294" y="40"/>
                    </a:lnTo>
                    <a:lnTo>
                      <a:pt x="292" y="40"/>
                    </a:lnTo>
                    <a:lnTo>
                      <a:pt x="286" y="44"/>
                    </a:lnTo>
                    <a:lnTo>
                      <a:pt x="282" y="44"/>
                    </a:lnTo>
                    <a:lnTo>
                      <a:pt x="280" y="46"/>
                    </a:lnTo>
                    <a:lnTo>
                      <a:pt x="278" y="48"/>
                    </a:lnTo>
                    <a:lnTo>
                      <a:pt x="273" y="58"/>
                    </a:lnTo>
                    <a:lnTo>
                      <a:pt x="271" y="59"/>
                    </a:lnTo>
                    <a:lnTo>
                      <a:pt x="271" y="61"/>
                    </a:lnTo>
                    <a:lnTo>
                      <a:pt x="271" y="61"/>
                    </a:lnTo>
                    <a:lnTo>
                      <a:pt x="273" y="63"/>
                    </a:lnTo>
                    <a:lnTo>
                      <a:pt x="273" y="65"/>
                    </a:lnTo>
                    <a:lnTo>
                      <a:pt x="273" y="65"/>
                    </a:lnTo>
                    <a:lnTo>
                      <a:pt x="275" y="65"/>
                    </a:lnTo>
                    <a:lnTo>
                      <a:pt x="275" y="67"/>
                    </a:lnTo>
                    <a:lnTo>
                      <a:pt x="273" y="69"/>
                    </a:lnTo>
                    <a:lnTo>
                      <a:pt x="273" y="69"/>
                    </a:lnTo>
                    <a:lnTo>
                      <a:pt x="271" y="69"/>
                    </a:lnTo>
                    <a:lnTo>
                      <a:pt x="269" y="71"/>
                    </a:lnTo>
                    <a:lnTo>
                      <a:pt x="267" y="71"/>
                    </a:lnTo>
                    <a:lnTo>
                      <a:pt x="267" y="73"/>
                    </a:lnTo>
                    <a:lnTo>
                      <a:pt x="267" y="77"/>
                    </a:lnTo>
                    <a:lnTo>
                      <a:pt x="267" y="78"/>
                    </a:lnTo>
                    <a:lnTo>
                      <a:pt x="267" y="80"/>
                    </a:lnTo>
                    <a:lnTo>
                      <a:pt x="267" y="80"/>
                    </a:lnTo>
                    <a:lnTo>
                      <a:pt x="269" y="82"/>
                    </a:lnTo>
                    <a:lnTo>
                      <a:pt x="273" y="84"/>
                    </a:lnTo>
                    <a:lnTo>
                      <a:pt x="273" y="84"/>
                    </a:lnTo>
                    <a:lnTo>
                      <a:pt x="273" y="86"/>
                    </a:lnTo>
                    <a:lnTo>
                      <a:pt x="275" y="86"/>
                    </a:lnTo>
                    <a:lnTo>
                      <a:pt x="273" y="88"/>
                    </a:lnTo>
                    <a:lnTo>
                      <a:pt x="273" y="90"/>
                    </a:lnTo>
                    <a:lnTo>
                      <a:pt x="273" y="92"/>
                    </a:lnTo>
                    <a:lnTo>
                      <a:pt x="273" y="92"/>
                    </a:lnTo>
                    <a:lnTo>
                      <a:pt x="273" y="96"/>
                    </a:lnTo>
                    <a:lnTo>
                      <a:pt x="273" y="98"/>
                    </a:lnTo>
                    <a:lnTo>
                      <a:pt x="271" y="98"/>
                    </a:lnTo>
                    <a:lnTo>
                      <a:pt x="271" y="98"/>
                    </a:lnTo>
                    <a:lnTo>
                      <a:pt x="269" y="98"/>
                    </a:lnTo>
                    <a:lnTo>
                      <a:pt x="267" y="98"/>
                    </a:lnTo>
                    <a:lnTo>
                      <a:pt x="267" y="99"/>
                    </a:lnTo>
                    <a:lnTo>
                      <a:pt x="267" y="101"/>
                    </a:lnTo>
                    <a:lnTo>
                      <a:pt x="267" y="101"/>
                    </a:lnTo>
                    <a:lnTo>
                      <a:pt x="267" y="103"/>
                    </a:lnTo>
                    <a:lnTo>
                      <a:pt x="265" y="103"/>
                    </a:lnTo>
                    <a:lnTo>
                      <a:pt x="265" y="101"/>
                    </a:lnTo>
                    <a:lnTo>
                      <a:pt x="263" y="101"/>
                    </a:lnTo>
                    <a:lnTo>
                      <a:pt x="263" y="101"/>
                    </a:lnTo>
                    <a:lnTo>
                      <a:pt x="261" y="101"/>
                    </a:lnTo>
                    <a:lnTo>
                      <a:pt x="261" y="101"/>
                    </a:lnTo>
                    <a:lnTo>
                      <a:pt x="259" y="103"/>
                    </a:lnTo>
                    <a:lnTo>
                      <a:pt x="259" y="107"/>
                    </a:lnTo>
                    <a:lnTo>
                      <a:pt x="259" y="109"/>
                    </a:lnTo>
                    <a:lnTo>
                      <a:pt x="257" y="113"/>
                    </a:lnTo>
                    <a:lnTo>
                      <a:pt x="246" y="132"/>
                    </a:lnTo>
                    <a:lnTo>
                      <a:pt x="246" y="134"/>
                    </a:lnTo>
                    <a:lnTo>
                      <a:pt x="244" y="136"/>
                    </a:lnTo>
                    <a:lnTo>
                      <a:pt x="244" y="139"/>
                    </a:lnTo>
                    <a:lnTo>
                      <a:pt x="244" y="143"/>
                    </a:lnTo>
                    <a:lnTo>
                      <a:pt x="242" y="143"/>
                    </a:lnTo>
                    <a:lnTo>
                      <a:pt x="242" y="147"/>
                    </a:lnTo>
                    <a:lnTo>
                      <a:pt x="244" y="149"/>
                    </a:lnTo>
                    <a:lnTo>
                      <a:pt x="244" y="151"/>
                    </a:lnTo>
                    <a:lnTo>
                      <a:pt x="244" y="151"/>
                    </a:lnTo>
                    <a:lnTo>
                      <a:pt x="250" y="155"/>
                    </a:lnTo>
                    <a:lnTo>
                      <a:pt x="250" y="157"/>
                    </a:lnTo>
                    <a:lnTo>
                      <a:pt x="250" y="157"/>
                    </a:lnTo>
                    <a:lnTo>
                      <a:pt x="250" y="158"/>
                    </a:lnTo>
                    <a:lnTo>
                      <a:pt x="252" y="162"/>
                    </a:lnTo>
                    <a:lnTo>
                      <a:pt x="250" y="162"/>
                    </a:lnTo>
                    <a:lnTo>
                      <a:pt x="250" y="164"/>
                    </a:lnTo>
                    <a:lnTo>
                      <a:pt x="248" y="164"/>
                    </a:lnTo>
                    <a:lnTo>
                      <a:pt x="248" y="164"/>
                    </a:lnTo>
                    <a:lnTo>
                      <a:pt x="246" y="164"/>
                    </a:lnTo>
                    <a:lnTo>
                      <a:pt x="246" y="164"/>
                    </a:lnTo>
                    <a:lnTo>
                      <a:pt x="240" y="162"/>
                    </a:lnTo>
                    <a:lnTo>
                      <a:pt x="238" y="162"/>
                    </a:lnTo>
                    <a:lnTo>
                      <a:pt x="236" y="162"/>
                    </a:lnTo>
                    <a:lnTo>
                      <a:pt x="236" y="162"/>
                    </a:lnTo>
                    <a:lnTo>
                      <a:pt x="234" y="164"/>
                    </a:lnTo>
                    <a:lnTo>
                      <a:pt x="234" y="164"/>
                    </a:lnTo>
                    <a:lnTo>
                      <a:pt x="234" y="166"/>
                    </a:lnTo>
                    <a:lnTo>
                      <a:pt x="234" y="168"/>
                    </a:lnTo>
                    <a:lnTo>
                      <a:pt x="234" y="168"/>
                    </a:lnTo>
                    <a:lnTo>
                      <a:pt x="234" y="168"/>
                    </a:lnTo>
                    <a:lnTo>
                      <a:pt x="234" y="168"/>
                    </a:lnTo>
                    <a:lnTo>
                      <a:pt x="234" y="170"/>
                    </a:lnTo>
                    <a:lnTo>
                      <a:pt x="234" y="170"/>
                    </a:lnTo>
                    <a:lnTo>
                      <a:pt x="231" y="174"/>
                    </a:lnTo>
                    <a:lnTo>
                      <a:pt x="231" y="176"/>
                    </a:lnTo>
                    <a:lnTo>
                      <a:pt x="227" y="187"/>
                    </a:lnTo>
                    <a:lnTo>
                      <a:pt x="225" y="189"/>
                    </a:lnTo>
                    <a:lnTo>
                      <a:pt x="223" y="191"/>
                    </a:lnTo>
                    <a:lnTo>
                      <a:pt x="221" y="193"/>
                    </a:lnTo>
                    <a:lnTo>
                      <a:pt x="219" y="193"/>
                    </a:lnTo>
                    <a:lnTo>
                      <a:pt x="217" y="195"/>
                    </a:lnTo>
                    <a:lnTo>
                      <a:pt x="212" y="195"/>
                    </a:lnTo>
                    <a:lnTo>
                      <a:pt x="212" y="195"/>
                    </a:lnTo>
                    <a:lnTo>
                      <a:pt x="210" y="193"/>
                    </a:lnTo>
                    <a:lnTo>
                      <a:pt x="208" y="191"/>
                    </a:lnTo>
                    <a:lnTo>
                      <a:pt x="208" y="191"/>
                    </a:lnTo>
                    <a:lnTo>
                      <a:pt x="206" y="191"/>
                    </a:lnTo>
                    <a:lnTo>
                      <a:pt x="204" y="191"/>
                    </a:lnTo>
                    <a:lnTo>
                      <a:pt x="204" y="189"/>
                    </a:lnTo>
                    <a:lnTo>
                      <a:pt x="202" y="189"/>
                    </a:lnTo>
                    <a:lnTo>
                      <a:pt x="202" y="189"/>
                    </a:lnTo>
                    <a:lnTo>
                      <a:pt x="200" y="187"/>
                    </a:lnTo>
                    <a:lnTo>
                      <a:pt x="198" y="187"/>
                    </a:lnTo>
                    <a:lnTo>
                      <a:pt x="198" y="185"/>
                    </a:lnTo>
                    <a:lnTo>
                      <a:pt x="185" y="189"/>
                    </a:lnTo>
                    <a:lnTo>
                      <a:pt x="183" y="189"/>
                    </a:lnTo>
                    <a:lnTo>
                      <a:pt x="179" y="189"/>
                    </a:lnTo>
                    <a:lnTo>
                      <a:pt x="177" y="189"/>
                    </a:lnTo>
                    <a:lnTo>
                      <a:pt x="177" y="191"/>
                    </a:lnTo>
                    <a:lnTo>
                      <a:pt x="175" y="191"/>
                    </a:lnTo>
                    <a:lnTo>
                      <a:pt x="175" y="191"/>
                    </a:lnTo>
                    <a:lnTo>
                      <a:pt x="173" y="189"/>
                    </a:lnTo>
                    <a:lnTo>
                      <a:pt x="173" y="189"/>
                    </a:lnTo>
                    <a:lnTo>
                      <a:pt x="172" y="189"/>
                    </a:lnTo>
                    <a:lnTo>
                      <a:pt x="172" y="189"/>
                    </a:lnTo>
                    <a:lnTo>
                      <a:pt x="160" y="189"/>
                    </a:lnTo>
                    <a:lnTo>
                      <a:pt x="158" y="189"/>
                    </a:lnTo>
                    <a:lnTo>
                      <a:pt x="158" y="189"/>
                    </a:lnTo>
                    <a:lnTo>
                      <a:pt x="158" y="191"/>
                    </a:lnTo>
                    <a:lnTo>
                      <a:pt x="156" y="191"/>
                    </a:lnTo>
                    <a:lnTo>
                      <a:pt x="156" y="191"/>
                    </a:lnTo>
                    <a:lnTo>
                      <a:pt x="158" y="193"/>
                    </a:lnTo>
                    <a:lnTo>
                      <a:pt x="158" y="196"/>
                    </a:lnTo>
                    <a:lnTo>
                      <a:pt x="154" y="198"/>
                    </a:lnTo>
                    <a:lnTo>
                      <a:pt x="152" y="206"/>
                    </a:lnTo>
                    <a:lnTo>
                      <a:pt x="147" y="215"/>
                    </a:lnTo>
                    <a:lnTo>
                      <a:pt x="145" y="217"/>
                    </a:lnTo>
                    <a:lnTo>
                      <a:pt x="145" y="219"/>
                    </a:lnTo>
                    <a:lnTo>
                      <a:pt x="143" y="219"/>
                    </a:lnTo>
                    <a:lnTo>
                      <a:pt x="143" y="219"/>
                    </a:lnTo>
                    <a:lnTo>
                      <a:pt x="141" y="219"/>
                    </a:lnTo>
                    <a:lnTo>
                      <a:pt x="139" y="221"/>
                    </a:lnTo>
                    <a:lnTo>
                      <a:pt x="137" y="225"/>
                    </a:lnTo>
                    <a:lnTo>
                      <a:pt x="135" y="227"/>
                    </a:lnTo>
                    <a:lnTo>
                      <a:pt x="135" y="229"/>
                    </a:lnTo>
                    <a:lnTo>
                      <a:pt x="133" y="231"/>
                    </a:lnTo>
                    <a:lnTo>
                      <a:pt x="132" y="231"/>
                    </a:lnTo>
                    <a:lnTo>
                      <a:pt x="130" y="233"/>
                    </a:lnTo>
                    <a:lnTo>
                      <a:pt x="130" y="233"/>
                    </a:lnTo>
                    <a:lnTo>
                      <a:pt x="128" y="233"/>
                    </a:lnTo>
                    <a:lnTo>
                      <a:pt x="128" y="231"/>
                    </a:lnTo>
                    <a:lnTo>
                      <a:pt x="128" y="231"/>
                    </a:lnTo>
                    <a:lnTo>
                      <a:pt x="128" y="231"/>
                    </a:lnTo>
                    <a:lnTo>
                      <a:pt x="128" y="229"/>
                    </a:lnTo>
                    <a:lnTo>
                      <a:pt x="128" y="227"/>
                    </a:lnTo>
                    <a:lnTo>
                      <a:pt x="128" y="227"/>
                    </a:lnTo>
                    <a:lnTo>
                      <a:pt x="128" y="227"/>
                    </a:lnTo>
                    <a:lnTo>
                      <a:pt x="126" y="227"/>
                    </a:lnTo>
                    <a:lnTo>
                      <a:pt x="122" y="225"/>
                    </a:lnTo>
                    <a:lnTo>
                      <a:pt x="122" y="225"/>
                    </a:lnTo>
                    <a:lnTo>
                      <a:pt x="120" y="225"/>
                    </a:lnTo>
                    <a:lnTo>
                      <a:pt x="120" y="227"/>
                    </a:lnTo>
                    <a:lnTo>
                      <a:pt x="120" y="227"/>
                    </a:lnTo>
                    <a:lnTo>
                      <a:pt x="120" y="227"/>
                    </a:lnTo>
                    <a:lnTo>
                      <a:pt x="120" y="229"/>
                    </a:lnTo>
                    <a:lnTo>
                      <a:pt x="120" y="244"/>
                    </a:lnTo>
                    <a:lnTo>
                      <a:pt x="120" y="244"/>
                    </a:lnTo>
                    <a:lnTo>
                      <a:pt x="120" y="246"/>
                    </a:lnTo>
                    <a:lnTo>
                      <a:pt x="122" y="250"/>
                    </a:lnTo>
                    <a:lnTo>
                      <a:pt x="122" y="250"/>
                    </a:lnTo>
                    <a:lnTo>
                      <a:pt x="122" y="252"/>
                    </a:lnTo>
                    <a:lnTo>
                      <a:pt x="122" y="254"/>
                    </a:lnTo>
                    <a:lnTo>
                      <a:pt x="122" y="255"/>
                    </a:lnTo>
                    <a:lnTo>
                      <a:pt x="122" y="257"/>
                    </a:lnTo>
                    <a:lnTo>
                      <a:pt x="122" y="259"/>
                    </a:lnTo>
                    <a:lnTo>
                      <a:pt x="120" y="269"/>
                    </a:lnTo>
                    <a:lnTo>
                      <a:pt x="120" y="271"/>
                    </a:lnTo>
                    <a:lnTo>
                      <a:pt x="120" y="273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4" y="276"/>
                    </a:lnTo>
                    <a:lnTo>
                      <a:pt x="124" y="276"/>
                    </a:lnTo>
                    <a:lnTo>
                      <a:pt x="124" y="276"/>
                    </a:lnTo>
                    <a:lnTo>
                      <a:pt x="124" y="276"/>
                    </a:lnTo>
                    <a:lnTo>
                      <a:pt x="124" y="278"/>
                    </a:lnTo>
                    <a:lnTo>
                      <a:pt x="126" y="280"/>
                    </a:lnTo>
                    <a:lnTo>
                      <a:pt x="126" y="282"/>
                    </a:lnTo>
                    <a:lnTo>
                      <a:pt x="126" y="282"/>
                    </a:lnTo>
                    <a:lnTo>
                      <a:pt x="128" y="282"/>
                    </a:lnTo>
                    <a:lnTo>
                      <a:pt x="128" y="282"/>
                    </a:lnTo>
                    <a:lnTo>
                      <a:pt x="128" y="282"/>
                    </a:lnTo>
                    <a:lnTo>
                      <a:pt x="130" y="282"/>
                    </a:lnTo>
                    <a:lnTo>
                      <a:pt x="130" y="284"/>
                    </a:lnTo>
                    <a:lnTo>
                      <a:pt x="130" y="286"/>
                    </a:lnTo>
                    <a:lnTo>
                      <a:pt x="128" y="297"/>
                    </a:lnTo>
                    <a:lnTo>
                      <a:pt x="128" y="299"/>
                    </a:lnTo>
                    <a:lnTo>
                      <a:pt x="128" y="301"/>
                    </a:lnTo>
                    <a:lnTo>
                      <a:pt x="130" y="301"/>
                    </a:lnTo>
                    <a:lnTo>
                      <a:pt x="130" y="303"/>
                    </a:lnTo>
                    <a:lnTo>
                      <a:pt x="130" y="305"/>
                    </a:lnTo>
                    <a:lnTo>
                      <a:pt x="130" y="311"/>
                    </a:lnTo>
                    <a:lnTo>
                      <a:pt x="132" y="316"/>
                    </a:lnTo>
                    <a:lnTo>
                      <a:pt x="132" y="320"/>
                    </a:lnTo>
                    <a:lnTo>
                      <a:pt x="132" y="322"/>
                    </a:lnTo>
                    <a:lnTo>
                      <a:pt x="128" y="332"/>
                    </a:lnTo>
                    <a:lnTo>
                      <a:pt x="128" y="333"/>
                    </a:lnTo>
                    <a:lnTo>
                      <a:pt x="130" y="333"/>
                    </a:lnTo>
                    <a:lnTo>
                      <a:pt x="135" y="337"/>
                    </a:lnTo>
                    <a:lnTo>
                      <a:pt x="135" y="337"/>
                    </a:lnTo>
                    <a:lnTo>
                      <a:pt x="137" y="339"/>
                    </a:lnTo>
                    <a:lnTo>
                      <a:pt x="137" y="339"/>
                    </a:lnTo>
                    <a:lnTo>
                      <a:pt x="139" y="341"/>
                    </a:lnTo>
                    <a:lnTo>
                      <a:pt x="141" y="341"/>
                    </a:lnTo>
                    <a:lnTo>
                      <a:pt x="145" y="339"/>
                    </a:lnTo>
                    <a:lnTo>
                      <a:pt x="147" y="339"/>
                    </a:lnTo>
                    <a:lnTo>
                      <a:pt x="147" y="341"/>
                    </a:lnTo>
                    <a:lnTo>
                      <a:pt x="149" y="341"/>
                    </a:lnTo>
                    <a:lnTo>
                      <a:pt x="149" y="341"/>
                    </a:lnTo>
                    <a:lnTo>
                      <a:pt x="151" y="343"/>
                    </a:lnTo>
                    <a:lnTo>
                      <a:pt x="151" y="343"/>
                    </a:lnTo>
                    <a:lnTo>
                      <a:pt x="152" y="345"/>
                    </a:lnTo>
                    <a:lnTo>
                      <a:pt x="152" y="345"/>
                    </a:lnTo>
                    <a:lnTo>
                      <a:pt x="152" y="345"/>
                    </a:lnTo>
                    <a:lnTo>
                      <a:pt x="154" y="345"/>
                    </a:lnTo>
                    <a:lnTo>
                      <a:pt x="154" y="345"/>
                    </a:lnTo>
                    <a:lnTo>
                      <a:pt x="156" y="343"/>
                    </a:lnTo>
                    <a:lnTo>
                      <a:pt x="156" y="343"/>
                    </a:lnTo>
                    <a:lnTo>
                      <a:pt x="156" y="343"/>
                    </a:lnTo>
                    <a:lnTo>
                      <a:pt x="158" y="343"/>
                    </a:lnTo>
                    <a:lnTo>
                      <a:pt x="158" y="343"/>
                    </a:lnTo>
                    <a:lnTo>
                      <a:pt x="160" y="343"/>
                    </a:lnTo>
                    <a:lnTo>
                      <a:pt x="162" y="343"/>
                    </a:lnTo>
                    <a:lnTo>
                      <a:pt x="164" y="343"/>
                    </a:lnTo>
                    <a:lnTo>
                      <a:pt x="164" y="343"/>
                    </a:lnTo>
                    <a:lnTo>
                      <a:pt x="164" y="343"/>
                    </a:lnTo>
                    <a:lnTo>
                      <a:pt x="164" y="347"/>
                    </a:lnTo>
                    <a:lnTo>
                      <a:pt x="164" y="347"/>
                    </a:lnTo>
                    <a:lnTo>
                      <a:pt x="164" y="349"/>
                    </a:lnTo>
                    <a:lnTo>
                      <a:pt x="162" y="356"/>
                    </a:lnTo>
                    <a:lnTo>
                      <a:pt x="162" y="356"/>
                    </a:lnTo>
                    <a:lnTo>
                      <a:pt x="162" y="358"/>
                    </a:lnTo>
                    <a:lnTo>
                      <a:pt x="162" y="358"/>
                    </a:lnTo>
                    <a:lnTo>
                      <a:pt x="164" y="360"/>
                    </a:lnTo>
                    <a:lnTo>
                      <a:pt x="166" y="362"/>
                    </a:lnTo>
                    <a:lnTo>
                      <a:pt x="166" y="362"/>
                    </a:lnTo>
                    <a:lnTo>
                      <a:pt x="166" y="364"/>
                    </a:lnTo>
                    <a:lnTo>
                      <a:pt x="166" y="364"/>
                    </a:lnTo>
                    <a:lnTo>
                      <a:pt x="164" y="366"/>
                    </a:lnTo>
                    <a:lnTo>
                      <a:pt x="162" y="368"/>
                    </a:lnTo>
                    <a:lnTo>
                      <a:pt x="160" y="368"/>
                    </a:lnTo>
                    <a:lnTo>
                      <a:pt x="158" y="368"/>
                    </a:lnTo>
                    <a:lnTo>
                      <a:pt x="156" y="370"/>
                    </a:lnTo>
                    <a:lnTo>
                      <a:pt x="152" y="373"/>
                    </a:lnTo>
                    <a:lnTo>
                      <a:pt x="151" y="373"/>
                    </a:lnTo>
                    <a:lnTo>
                      <a:pt x="149" y="373"/>
                    </a:lnTo>
                    <a:lnTo>
                      <a:pt x="149" y="373"/>
                    </a:lnTo>
                    <a:lnTo>
                      <a:pt x="149" y="373"/>
                    </a:lnTo>
                    <a:lnTo>
                      <a:pt x="149" y="372"/>
                    </a:lnTo>
                    <a:lnTo>
                      <a:pt x="149" y="372"/>
                    </a:lnTo>
                    <a:lnTo>
                      <a:pt x="149" y="370"/>
                    </a:lnTo>
                    <a:lnTo>
                      <a:pt x="149" y="368"/>
                    </a:lnTo>
                    <a:lnTo>
                      <a:pt x="149" y="366"/>
                    </a:lnTo>
                    <a:lnTo>
                      <a:pt x="149" y="366"/>
                    </a:lnTo>
                    <a:lnTo>
                      <a:pt x="149" y="364"/>
                    </a:lnTo>
                    <a:lnTo>
                      <a:pt x="149" y="364"/>
                    </a:lnTo>
                    <a:lnTo>
                      <a:pt x="147" y="364"/>
                    </a:lnTo>
                    <a:lnTo>
                      <a:pt x="143" y="364"/>
                    </a:lnTo>
                    <a:lnTo>
                      <a:pt x="141" y="362"/>
                    </a:lnTo>
                    <a:lnTo>
                      <a:pt x="137" y="360"/>
                    </a:lnTo>
                    <a:lnTo>
                      <a:pt x="135" y="360"/>
                    </a:lnTo>
                    <a:lnTo>
                      <a:pt x="124" y="358"/>
                    </a:lnTo>
                    <a:lnTo>
                      <a:pt x="124" y="358"/>
                    </a:lnTo>
                    <a:lnTo>
                      <a:pt x="122" y="358"/>
                    </a:lnTo>
                    <a:lnTo>
                      <a:pt x="120" y="360"/>
                    </a:lnTo>
                    <a:lnTo>
                      <a:pt x="120" y="360"/>
                    </a:lnTo>
                    <a:lnTo>
                      <a:pt x="120" y="360"/>
                    </a:lnTo>
                    <a:lnTo>
                      <a:pt x="118" y="360"/>
                    </a:lnTo>
                    <a:lnTo>
                      <a:pt x="118" y="362"/>
                    </a:lnTo>
                    <a:lnTo>
                      <a:pt x="116" y="366"/>
                    </a:lnTo>
                    <a:lnTo>
                      <a:pt x="116" y="366"/>
                    </a:lnTo>
                    <a:lnTo>
                      <a:pt x="114" y="368"/>
                    </a:lnTo>
                    <a:lnTo>
                      <a:pt x="114" y="366"/>
                    </a:lnTo>
                    <a:lnTo>
                      <a:pt x="112" y="366"/>
                    </a:lnTo>
                    <a:lnTo>
                      <a:pt x="105" y="349"/>
                    </a:lnTo>
                    <a:lnTo>
                      <a:pt x="105" y="347"/>
                    </a:lnTo>
                    <a:lnTo>
                      <a:pt x="103" y="347"/>
                    </a:lnTo>
                    <a:lnTo>
                      <a:pt x="103" y="347"/>
                    </a:lnTo>
                    <a:lnTo>
                      <a:pt x="99" y="347"/>
                    </a:lnTo>
                    <a:lnTo>
                      <a:pt x="97" y="347"/>
                    </a:lnTo>
                    <a:lnTo>
                      <a:pt x="97" y="347"/>
                    </a:lnTo>
                    <a:lnTo>
                      <a:pt x="97" y="345"/>
                    </a:lnTo>
                    <a:lnTo>
                      <a:pt x="97" y="345"/>
                    </a:lnTo>
                    <a:lnTo>
                      <a:pt x="95" y="345"/>
                    </a:lnTo>
                    <a:lnTo>
                      <a:pt x="95" y="343"/>
                    </a:lnTo>
                    <a:lnTo>
                      <a:pt x="95" y="343"/>
                    </a:lnTo>
                    <a:lnTo>
                      <a:pt x="95" y="343"/>
                    </a:lnTo>
                    <a:lnTo>
                      <a:pt x="93" y="341"/>
                    </a:lnTo>
                    <a:lnTo>
                      <a:pt x="93" y="341"/>
                    </a:lnTo>
                    <a:lnTo>
                      <a:pt x="88" y="337"/>
                    </a:lnTo>
                    <a:lnTo>
                      <a:pt x="88" y="335"/>
                    </a:lnTo>
                    <a:lnTo>
                      <a:pt x="88" y="335"/>
                    </a:lnTo>
                    <a:lnTo>
                      <a:pt x="88" y="335"/>
                    </a:lnTo>
                    <a:lnTo>
                      <a:pt x="86" y="335"/>
                    </a:lnTo>
                    <a:lnTo>
                      <a:pt x="86" y="335"/>
                    </a:lnTo>
                    <a:lnTo>
                      <a:pt x="86" y="335"/>
                    </a:lnTo>
                    <a:lnTo>
                      <a:pt x="84" y="337"/>
                    </a:lnTo>
                    <a:lnTo>
                      <a:pt x="84" y="337"/>
                    </a:lnTo>
                    <a:lnTo>
                      <a:pt x="82" y="341"/>
                    </a:lnTo>
                    <a:lnTo>
                      <a:pt x="82" y="341"/>
                    </a:lnTo>
                    <a:lnTo>
                      <a:pt x="82" y="341"/>
                    </a:lnTo>
                    <a:lnTo>
                      <a:pt x="80" y="341"/>
                    </a:lnTo>
                    <a:lnTo>
                      <a:pt x="80" y="341"/>
                    </a:lnTo>
                    <a:lnTo>
                      <a:pt x="78" y="341"/>
                    </a:lnTo>
                    <a:lnTo>
                      <a:pt x="78" y="341"/>
                    </a:lnTo>
                    <a:lnTo>
                      <a:pt x="78" y="339"/>
                    </a:lnTo>
                    <a:lnTo>
                      <a:pt x="78" y="339"/>
                    </a:lnTo>
                    <a:lnTo>
                      <a:pt x="78" y="337"/>
                    </a:lnTo>
                    <a:lnTo>
                      <a:pt x="72" y="330"/>
                    </a:lnTo>
                    <a:lnTo>
                      <a:pt x="70" y="330"/>
                    </a:lnTo>
                    <a:lnTo>
                      <a:pt x="70" y="330"/>
                    </a:lnTo>
                    <a:lnTo>
                      <a:pt x="69" y="330"/>
                    </a:lnTo>
                    <a:lnTo>
                      <a:pt x="69" y="330"/>
                    </a:lnTo>
                    <a:lnTo>
                      <a:pt x="63" y="335"/>
                    </a:lnTo>
                    <a:lnTo>
                      <a:pt x="61" y="337"/>
                    </a:lnTo>
                    <a:lnTo>
                      <a:pt x="59" y="337"/>
                    </a:lnTo>
                    <a:lnTo>
                      <a:pt x="59" y="339"/>
                    </a:lnTo>
                    <a:lnTo>
                      <a:pt x="53" y="349"/>
                    </a:lnTo>
                    <a:lnTo>
                      <a:pt x="53" y="349"/>
                    </a:lnTo>
                    <a:lnTo>
                      <a:pt x="53" y="351"/>
                    </a:lnTo>
                    <a:lnTo>
                      <a:pt x="53" y="352"/>
                    </a:lnTo>
                    <a:lnTo>
                      <a:pt x="53" y="352"/>
                    </a:lnTo>
                    <a:lnTo>
                      <a:pt x="55" y="354"/>
                    </a:lnTo>
                    <a:lnTo>
                      <a:pt x="55" y="356"/>
                    </a:lnTo>
                    <a:lnTo>
                      <a:pt x="57" y="358"/>
                    </a:lnTo>
                    <a:lnTo>
                      <a:pt x="69" y="364"/>
                    </a:lnTo>
                    <a:lnTo>
                      <a:pt x="69" y="364"/>
                    </a:lnTo>
                    <a:lnTo>
                      <a:pt x="69" y="366"/>
                    </a:lnTo>
                    <a:lnTo>
                      <a:pt x="70" y="370"/>
                    </a:lnTo>
                    <a:lnTo>
                      <a:pt x="72" y="370"/>
                    </a:lnTo>
                    <a:lnTo>
                      <a:pt x="72" y="372"/>
                    </a:lnTo>
                    <a:lnTo>
                      <a:pt x="74" y="372"/>
                    </a:lnTo>
                    <a:lnTo>
                      <a:pt x="78" y="372"/>
                    </a:lnTo>
                    <a:lnTo>
                      <a:pt x="78" y="372"/>
                    </a:lnTo>
                    <a:lnTo>
                      <a:pt x="80" y="373"/>
                    </a:lnTo>
                    <a:lnTo>
                      <a:pt x="82" y="373"/>
                    </a:lnTo>
                    <a:lnTo>
                      <a:pt x="82" y="375"/>
                    </a:lnTo>
                    <a:lnTo>
                      <a:pt x="80" y="381"/>
                    </a:lnTo>
                    <a:lnTo>
                      <a:pt x="80" y="383"/>
                    </a:lnTo>
                    <a:lnTo>
                      <a:pt x="80" y="387"/>
                    </a:lnTo>
                    <a:lnTo>
                      <a:pt x="82" y="391"/>
                    </a:lnTo>
                    <a:lnTo>
                      <a:pt x="82" y="392"/>
                    </a:lnTo>
                    <a:lnTo>
                      <a:pt x="82" y="392"/>
                    </a:lnTo>
                    <a:lnTo>
                      <a:pt x="80" y="396"/>
                    </a:lnTo>
                    <a:lnTo>
                      <a:pt x="80" y="408"/>
                    </a:lnTo>
                    <a:lnTo>
                      <a:pt x="80" y="410"/>
                    </a:lnTo>
                    <a:lnTo>
                      <a:pt x="82" y="410"/>
                    </a:lnTo>
                    <a:lnTo>
                      <a:pt x="86" y="410"/>
                    </a:lnTo>
                    <a:lnTo>
                      <a:pt x="86" y="411"/>
                    </a:lnTo>
                    <a:lnTo>
                      <a:pt x="86" y="411"/>
                    </a:lnTo>
                    <a:lnTo>
                      <a:pt x="88" y="411"/>
                    </a:lnTo>
                    <a:lnTo>
                      <a:pt x="90" y="417"/>
                    </a:lnTo>
                    <a:lnTo>
                      <a:pt x="90" y="417"/>
                    </a:lnTo>
                    <a:lnTo>
                      <a:pt x="90" y="419"/>
                    </a:lnTo>
                    <a:lnTo>
                      <a:pt x="91" y="419"/>
                    </a:lnTo>
                    <a:lnTo>
                      <a:pt x="95" y="419"/>
                    </a:lnTo>
                    <a:lnTo>
                      <a:pt x="95" y="419"/>
                    </a:lnTo>
                    <a:lnTo>
                      <a:pt x="97" y="421"/>
                    </a:lnTo>
                    <a:lnTo>
                      <a:pt x="97" y="423"/>
                    </a:lnTo>
                    <a:lnTo>
                      <a:pt x="97" y="423"/>
                    </a:lnTo>
                    <a:lnTo>
                      <a:pt x="97" y="425"/>
                    </a:lnTo>
                    <a:lnTo>
                      <a:pt x="97" y="425"/>
                    </a:lnTo>
                    <a:lnTo>
                      <a:pt x="95" y="427"/>
                    </a:lnTo>
                    <a:lnTo>
                      <a:pt x="93" y="429"/>
                    </a:lnTo>
                    <a:lnTo>
                      <a:pt x="93" y="429"/>
                    </a:lnTo>
                    <a:lnTo>
                      <a:pt x="93" y="430"/>
                    </a:lnTo>
                    <a:lnTo>
                      <a:pt x="93" y="430"/>
                    </a:lnTo>
                    <a:lnTo>
                      <a:pt x="97" y="432"/>
                    </a:lnTo>
                    <a:lnTo>
                      <a:pt x="97" y="432"/>
                    </a:lnTo>
                    <a:lnTo>
                      <a:pt x="97" y="434"/>
                    </a:lnTo>
                    <a:lnTo>
                      <a:pt x="97" y="436"/>
                    </a:lnTo>
                    <a:lnTo>
                      <a:pt x="95" y="440"/>
                    </a:lnTo>
                    <a:lnTo>
                      <a:pt x="95" y="442"/>
                    </a:lnTo>
                    <a:lnTo>
                      <a:pt x="95" y="444"/>
                    </a:lnTo>
                    <a:lnTo>
                      <a:pt x="95" y="446"/>
                    </a:lnTo>
                    <a:lnTo>
                      <a:pt x="95" y="448"/>
                    </a:lnTo>
                    <a:lnTo>
                      <a:pt x="95" y="450"/>
                    </a:lnTo>
                    <a:lnTo>
                      <a:pt x="97" y="451"/>
                    </a:lnTo>
                    <a:lnTo>
                      <a:pt x="97" y="453"/>
                    </a:lnTo>
                    <a:lnTo>
                      <a:pt x="97" y="455"/>
                    </a:lnTo>
                    <a:lnTo>
                      <a:pt x="97" y="459"/>
                    </a:lnTo>
                    <a:lnTo>
                      <a:pt x="97" y="459"/>
                    </a:lnTo>
                    <a:lnTo>
                      <a:pt x="97" y="461"/>
                    </a:lnTo>
                    <a:lnTo>
                      <a:pt x="101" y="463"/>
                    </a:lnTo>
                    <a:lnTo>
                      <a:pt x="101" y="465"/>
                    </a:lnTo>
                    <a:lnTo>
                      <a:pt x="101" y="465"/>
                    </a:lnTo>
                    <a:lnTo>
                      <a:pt x="101" y="469"/>
                    </a:lnTo>
                    <a:lnTo>
                      <a:pt x="103" y="470"/>
                    </a:lnTo>
                    <a:lnTo>
                      <a:pt x="105" y="472"/>
                    </a:lnTo>
                    <a:lnTo>
                      <a:pt x="105" y="474"/>
                    </a:lnTo>
                    <a:lnTo>
                      <a:pt x="105" y="476"/>
                    </a:lnTo>
                    <a:lnTo>
                      <a:pt x="105" y="476"/>
                    </a:lnTo>
                    <a:lnTo>
                      <a:pt x="105" y="486"/>
                    </a:lnTo>
                    <a:lnTo>
                      <a:pt x="105" y="486"/>
                    </a:lnTo>
                    <a:lnTo>
                      <a:pt x="105" y="488"/>
                    </a:lnTo>
                    <a:lnTo>
                      <a:pt x="103" y="488"/>
                    </a:lnTo>
                    <a:lnTo>
                      <a:pt x="101" y="489"/>
                    </a:lnTo>
                    <a:lnTo>
                      <a:pt x="99" y="489"/>
                    </a:lnTo>
                    <a:lnTo>
                      <a:pt x="99" y="489"/>
                    </a:lnTo>
                    <a:lnTo>
                      <a:pt x="99" y="491"/>
                    </a:lnTo>
                    <a:lnTo>
                      <a:pt x="99" y="491"/>
                    </a:lnTo>
                    <a:lnTo>
                      <a:pt x="97" y="491"/>
                    </a:lnTo>
                    <a:lnTo>
                      <a:pt x="97" y="493"/>
                    </a:lnTo>
                    <a:lnTo>
                      <a:pt x="97" y="493"/>
                    </a:lnTo>
                    <a:lnTo>
                      <a:pt x="97" y="497"/>
                    </a:lnTo>
                    <a:lnTo>
                      <a:pt x="95" y="503"/>
                    </a:lnTo>
                    <a:lnTo>
                      <a:pt x="95" y="505"/>
                    </a:lnTo>
                    <a:lnTo>
                      <a:pt x="95" y="505"/>
                    </a:lnTo>
                    <a:lnTo>
                      <a:pt x="95" y="507"/>
                    </a:lnTo>
                    <a:lnTo>
                      <a:pt x="93" y="510"/>
                    </a:lnTo>
                    <a:lnTo>
                      <a:pt x="93" y="508"/>
                    </a:lnTo>
                    <a:lnTo>
                      <a:pt x="91" y="508"/>
                    </a:lnTo>
                    <a:lnTo>
                      <a:pt x="90" y="507"/>
                    </a:lnTo>
                    <a:lnTo>
                      <a:pt x="90" y="507"/>
                    </a:lnTo>
                    <a:lnTo>
                      <a:pt x="90" y="507"/>
                    </a:lnTo>
                    <a:lnTo>
                      <a:pt x="88" y="507"/>
                    </a:lnTo>
                    <a:lnTo>
                      <a:pt x="88" y="507"/>
                    </a:lnTo>
                    <a:lnTo>
                      <a:pt x="86" y="512"/>
                    </a:lnTo>
                    <a:lnTo>
                      <a:pt x="86" y="512"/>
                    </a:lnTo>
                    <a:lnTo>
                      <a:pt x="84" y="514"/>
                    </a:lnTo>
                    <a:lnTo>
                      <a:pt x="82" y="514"/>
                    </a:lnTo>
                    <a:lnTo>
                      <a:pt x="78" y="514"/>
                    </a:lnTo>
                    <a:lnTo>
                      <a:pt x="76" y="516"/>
                    </a:lnTo>
                    <a:lnTo>
                      <a:pt x="74" y="516"/>
                    </a:lnTo>
                    <a:lnTo>
                      <a:pt x="74" y="516"/>
                    </a:lnTo>
                    <a:lnTo>
                      <a:pt x="72" y="518"/>
                    </a:lnTo>
                    <a:lnTo>
                      <a:pt x="72" y="518"/>
                    </a:lnTo>
                    <a:lnTo>
                      <a:pt x="70" y="522"/>
                    </a:lnTo>
                    <a:lnTo>
                      <a:pt x="69" y="522"/>
                    </a:lnTo>
                    <a:lnTo>
                      <a:pt x="69" y="524"/>
                    </a:lnTo>
                    <a:lnTo>
                      <a:pt x="67" y="524"/>
                    </a:lnTo>
                    <a:lnTo>
                      <a:pt x="67" y="524"/>
                    </a:lnTo>
                    <a:lnTo>
                      <a:pt x="65" y="524"/>
                    </a:lnTo>
                    <a:lnTo>
                      <a:pt x="65" y="524"/>
                    </a:lnTo>
                    <a:lnTo>
                      <a:pt x="65" y="526"/>
                    </a:lnTo>
                    <a:lnTo>
                      <a:pt x="65" y="526"/>
                    </a:lnTo>
                    <a:lnTo>
                      <a:pt x="65" y="528"/>
                    </a:lnTo>
                    <a:lnTo>
                      <a:pt x="67" y="528"/>
                    </a:lnTo>
                    <a:lnTo>
                      <a:pt x="69" y="529"/>
                    </a:lnTo>
                    <a:lnTo>
                      <a:pt x="69" y="529"/>
                    </a:lnTo>
                    <a:lnTo>
                      <a:pt x="70" y="531"/>
                    </a:lnTo>
                    <a:lnTo>
                      <a:pt x="70" y="533"/>
                    </a:lnTo>
                    <a:lnTo>
                      <a:pt x="69" y="535"/>
                    </a:lnTo>
                    <a:lnTo>
                      <a:pt x="69" y="535"/>
                    </a:lnTo>
                    <a:lnTo>
                      <a:pt x="67" y="535"/>
                    </a:lnTo>
                    <a:lnTo>
                      <a:pt x="65" y="537"/>
                    </a:lnTo>
                    <a:lnTo>
                      <a:pt x="63" y="539"/>
                    </a:lnTo>
                    <a:lnTo>
                      <a:pt x="61" y="541"/>
                    </a:lnTo>
                    <a:lnTo>
                      <a:pt x="57" y="545"/>
                    </a:lnTo>
                    <a:lnTo>
                      <a:pt x="51" y="548"/>
                    </a:lnTo>
                    <a:lnTo>
                      <a:pt x="51" y="550"/>
                    </a:lnTo>
                    <a:lnTo>
                      <a:pt x="48" y="554"/>
                    </a:lnTo>
                    <a:lnTo>
                      <a:pt x="44" y="562"/>
                    </a:lnTo>
                    <a:lnTo>
                      <a:pt x="44" y="562"/>
                    </a:lnTo>
                    <a:lnTo>
                      <a:pt x="42" y="562"/>
                    </a:lnTo>
                    <a:lnTo>
                      <a:pt x="42" y="564"/>
                    </a:lnTo>
                    <a:lnTo>
                      <a:pt x="38" y="564"/>
                    </a:lnTo>
                    <a:lnTo>
                      <a:pt x="36" y="564"/>
                    </a:lnTo>
                    <a:lnTo>
                      <a:pt x="36" y="564"/>
                    </a:lnTo>
                    <a:lnTo>
                      <a:pt x="34" y="566"/>
                    </a:lnTo>
                    <a:lnTo>
                      <a:pt x="34" y="567"/>
                    </a:lnTo>
                    <a:lnTo>
                      <a:pt x="32" y="569"/>
                    </a:lnTo>
                    <a:lnTo>
                      <a:pt x="32" y="569"/>
                    </a:lnTo>
                    <a:lnTo>
                      <a:pt x="25" y="571"/>
                    </a:lnTo>
                    <a:lnTo>
                      <a:pt x="23" y="573"/>
                    </a:lnTo>
                    <a:lnTo>
                      <a:pt x="23" y="573"/>
                    </a:lnTo>
                    <a:lnTo>
                      <a:pt x="21" y="573"/>
                    </a:lnTo>
                    <a:lnTo>
                      <a:pt x="21" y="573"/>
                    </a:lnTo>
                    <a:lnTo>
                      <a:pt x="19" y="573"/>
                    </a:lnTo>
                    <a:lnTo>
                      <a:pt x="19" y="573"/>
                    </a:lnTo>
                    <a:lnTo>
                      <a:pt x="17" y="577"/>
                    </a:lnTo>
                    <a:lnTo>
                      <a:pt x="17" y="579"/>
                    </a:lnTo>
                    <a:lnTo>
                      <a:pt x="15" y="581"/>
                    </a:lnTo>
                    <a:lnTo>
                      <a:pt x="15" y="581"/>
                    </a:lnTo>
                    <a:lnTo>
                      <a:pt x="15" y="583"/>
                    </a:lnTo>
                    <a:lnTo>
                      <a:pt x="15" y="583"/>
                    </a:lnTo>
                    <a:lnTo>
                      <a:pt x="15" y="585"/>
                    </a:lnTo>
                    <a:lnTo>
                      <a:pt x="17" y="586"/>
                    </a:lnTo>
                    <a:lnTo>
                      <a:pt x="17" y="586"/>
                    </a:lnTo>
                    <a:lnTo>
                      <a:pt x="17" y="588"/>
                    </a:lnTo>
                    <a:lnTo>
                      <a:pt x="15" y="590"/>
                    </a:lnTo>
                    <a:lnTo>
                      <a:pt x="15" y="592"/>
                    </a:lnTo>
                    <a:lnTo>
                      <a:pt x="15" y="596"/>
                    </a:lnTo>
                    <a:lnTo>
                      <a:pt x="13" y="598"/>
                    </a:lnTo>
                    <a:lnTo>
                      <a:pt x="13" y="598"/>
                    </a:lnTo>
                    <a:lnTo>
                      <a:pt x="13" y="598"/>
                    </a:lnTo>
                    <a:lnTo>
                      <a:pt x="13" y="600"/>
                    </a:lnTo>
                    <a:lnTo>
                      <a:pt x="11" y="602"/>
                    </a:lnTo>
                    <a:lnTo>
                      <a:pt x="11" y="602"/>
                    </a:lnTo>
                    <a:lnTo>
                      <a:pt x="11" y="604"/>
                    </a:lnTo>
                    <a:lnTo>
                      <a:pt x="11" y="604"/>
                    </a:lnTo>
                    <a:lnTo>
                      <a:pt x="11" y="609"/>
                    </a:lnTo>
                    <a:lnTo>
                      <a:pt x="11" y="611"/>
                    </a:lnTo>
                    <a:lnTo>
                      <a:pt x="11" y="613"/>
                    </a:lnTo>
                    <a:lnTo>
                      <a:pt x="9" y="615"/>
                    </a:lnTo>
                    <a:lnTo>
                      <a:pt x="9" y="615"/>
                    </a:lnTo>
                    <a:lnTo>
                      <a:pt x="9" y="617"/>
                    </a:lnTo>
                    <a:lnTo>
                      <a:pt x="8" y="619"/>
                    </a:lnTo>
                    <a:lnTo>
                      <a:pt x="8" y="619"/>
                    </a:lnTo>
                    <a:lnTo>
                      <a:pt x="8" y="621"/>
                    </a:lnTo>
                    <a:lnTo>
                      <a:pt x="8" y="623"/>
                    </a:lnTo>
                    <a:lnTo>
                      <a:pt x="8" y="623"/>
                    </a:lnTo>
                    <a:lnTo>
                      <a:pt x="8" y="625"/>
                    </a:lnTo>
                    <a:lnTo>
                      <a:pt x="6" y="625"/>
                    </a:lnTo>
                    <a:lnTo>
                      <a:pt x="6" y="625"/>
                    </a:lnTo>
                    <a:lnTo>
                      <a:pt x="6" y="625"/>
                    </a:lnTo>
                    <a:lnTo>
                      <a:pt x="4" y="625"/>
                    </a:lnTo>
                    <a:lnTo>
                      <a:pt x="4" y="623"/>
                    </a:lnTo>
                    <a:lnTo>
                      <a:pt x="4" y="623"/>
                    </a:lnTo>
                    <a:lnTo>
                      <a:pt x="2" y="623"/>
                    </a:lnTo>
                    <a:lnTo>
                      <a:pt x="2" y="623"/>
                    </a:lnTo>
                    <a:lnTo>
                      <a:pt x="2" y="623"/>
                    </a:lnTo>
                    <a:lnTo>
                      <a:pt x="0" y="625"/>
                    </a:lnTo>
                    <a:lnTo>
                      <a:pt x="0" y="625"/>
                    </a:lnTo>
                    <a:lnTo>
                      <a:pt x="0" y="626"/>
                    </a:lnTo>
                    <a:lnTo>
                      <a:pt x="0" y="630"/>
                    </a:lnTo>
                    <a:lnTo>
                      <a:pt x="0" y="632"/>
                    </a:lnTo>
                    <a:lnTo>
                      <a:pt x="0" y="634"/>
                    </a:lnTo>
                    <a:lnTo>
                      <a:pt x="8" y="636"/>
                    </a:lnTo>
                    <a:lnTo>
                      <a:pt x="9" y="636"/>
                    </a:lnTo>
                    <a:lnTo>
                      <a:pt x="9" y="636"/>
                    </a:lnTo>
                    <a:lnTo>
                      <a:pt x="11" y="636"/>
                    </a:lnTo>
                    <a:lnTo>
                      <a:pt x="11" y="636"/>
                    </a:lnTo>
                    <a:lnTo>
                      <a:pt x="13" y="634"/>
                    </a:lnTo>
                    <a:lnTo>
                      <a:pt x="13" y="632"/>
                    </a:lnTo>
                    <a:lnTo>
                      <a:pt x="13" y="630"/>
                    </a:lnTo>
                    <a:lnTo>
                      <a:pt x="15" y="630"/>
                    </a:lnTo>
                    <a:lnTo>
                      <a:pt x="17" y="632"/>
                    </a:lnTo>
                    <a:lnTo>
                      <a:pt x="21" y="634"/>
                    </a:lnTo>
                    <a:lnTo>
                      <a:pt x="23" y="634"/>
                    </a:lnTo>
                    <a:lnTo>
                      <a:pt x="27" y="632"/>
                    </a:lnTo>
                    <a:lnTo>
                      <a:pt x="29" y="630"/>
                    </a:lnTo>
                    <a:lnTo>
                      <a:pt x="32" y="628"/>
                    </a:lnTo>
                    <a:lnTo>
                      <a:pt x="34" y="628"/>
                    </a:lnTo>
                    <a:lnTo>
                      <a:pt x="38" y="626"/>
                    </a:lnTo>
                    <a:lnTo>
                      <a:pt x="40" y="626"/>
                    </a:lnTo>
                    <a:lnTo>
                      <a:pt x="42" y="625"/>
                    </a:lnTo>
                    <a:lnTo>
                      <a:pt x="42" y="623"/>
                    </a:lnTo>
                    <a:lnTo>
                      <a:pt x="44" y="621"/>
                    </a:lnTo>
                    <a:lnTo>
                      <a:pt x="46" y="621"/>
                    </a:lnTo>
                    <a:lnTo>
                      <a:pt x="55" y="617"/>
                    </a:lnTo>
                    <a:lnTo>
                      <a:pt x="67" y="607"/>
                    </a:lnTo>
                    <a:lnTo>
                      <a:pt x="70" y="607"/>
                    </a:lnTo>
                    <a:lnTo>
                      <a:pt x="76" y="607"/>
                    </a:lnTo>
                    <a:lnTo>
                      <a:pt x="82" y="602"/>
                    </a:lnTo>
                    <a:lnTo>
                      <a:pt x="88" y="602"/>
                    </a:lnTo>
                    <a:lnTo>
                      <a:pt x="93" y="604"/>
                    </a:lnTo>
                    <a:lnTo>
                      <a:pt x="95" y="604"/>
                    </a:lnTo>
                    <a:lnTo>
                      <a:pt x="97" y="606"/>
                    </a:lnTo>
                    <a:lnTo>
                      <a:pt x="99" y="607"/>
                    </a:lnTo>
                    <a:lnTo>
                      <a:pt x="99" y="607"/>
                    </a:lnTo>
                    <a:lnTo>
                      <a:pt x="101" y="607"/>
                    </a:lnTo>
                    <a:lnTo>
                      <a:pt x="103" y="607"/>
                    </a:lnTo>
                    <a:lnTo>
                      <a:pt x="103" y="607"/>
                    </a:lnTo>
                    <a:lnTo>
                      <a:pt x="105" y="607"/>
                    </a:lnTo>
                    <a:lnTo>
                      <a:pt x="105" y="609"/>
                    </a:lnTo>
                    <a:lnTo>
                      <a:pt x="107" y="609"/>
                    </a:lnTo>
                    <a:lnTo>
                      <a:pt x="109" y="607"/>
                    </a:lnTo>
                    <a:lnTo>
                      <a:pt x="109" y="607"/>
                    </a:lnTo>
                    <a:lnTo>
                      <a:pt x="109" y="606"/>
                    </a:lnTo>
                    <a:lnTo>
                      <a:pt x="111" y="604"/>
                    </a:lnTo>
                    <a:lnTo>
                      <a:pt x="111" y="604"/>
                    </a:lnTo>
                    <a:lnTo>
                      <a:pt x="112" y="602"/>
                    </a:lnTo>
                    <a:lnTo>
                      <a:pt x="116" y="602"/>
                    </a:lnTo>
                    <a:lnTo>
                      <a:pt x="118" y="602"/>
                    </a:lnTo>
                    <a:lnTo>
                      <a:pt x="118" y="602"/>
                    </a:lnTo>
                    <a:lnTo>
                      <a:pt x="118" y="600"/>
                    </a:lnTo>
                    <a:lnTo>
                      <a:pt x="118" y="598"/>
                    </a:lnTo>
                    <a:lnTo>
                      <a:pt x="118" y="594"/>
                    </a:lnTo>
                    <a:lnTo>
                      <a:pt x="118" y="594"/>
                    </a:lnTo>
                    <a:lnTo>
                      <a:pt x="118" y="592"/>
                    </a:lnTo>
                    <a:lnTo>
                      <a:pt x="120" y="592"/>
                    </a:lnTo>
                    <a:lnTo>
                      <a:pt x="122" y="590"/>
                    </a:lnTo>
                    <a:lnTo>
                      <a:pt x="122" y="590"/>
                    </a:lnTo>
                    <a:lnTo>
                      <a:pt x="122" y="588"/>
                    </a:lnTo>
                    <a:lnTo>
                      <a:pt x="120" y="588"/>
                    </a:lnTo>
                    <a:lnTo>
                      <a:pt x="116" y="585"/>
                    </a:lnTo>
                    <a:lnTo>
                      <a:pt x="116" y="583"/>
                    </a:lnTo>
                    <a:lnTo>
                      <a:pt x="116" y="583"/>
                    </a:lnTo>
                    <a:lnTo>
                      <a:pt x="116" y="581"/>
                    </a:lnTo>
                    <a:lnTo>
                      <a:pt x="116" y="579"/>
                    </a:lnTo>
                    <a:lnTo>
                      <a:pt x="120" y="573"/>
                    </a:lnTo>
                    <a:lnTo>
                      <a:pt x="122" y="571"/>
                    </a:lnTo>
                    <a:lnTo>
                      <a:pt x="122" y="569"/>
                    </a:lnTo>
                    <a:lnTo>
                      <a:pt x="122" y="567"/>
                    </a:lnTo>
                    <a:lnTo>
                      <a:pt x="120" y="566"/>
                    </a:lnTo>
                    <a:lnTo>
                      <a:pt x="120" y="566"/>
                    </a:lnTo>
                    <a:lnTo>
                      <a:pt x="120" y="564"/>
                    </a:lnTo>
                    <a:lnTo>
                      <a:pt x="122" y="560"/>
                    </a:lnTo>
                    <a:lnTo>
                      <a:pt x="124" y="558"/>
                    </a:lnTo>
                    <a:lnTo>
                      <a:pt x="124" y="556"/>
                    </a:lnTo>
                    <a:lnTo>
                      <a:pt x="122" y="554"/>
                    </a:lnTo>
                    <a:lnTo>
                      <a:pt x="124" y="552"/>
                    </a:lnTo>
                    <a:lnTo>
                      <a:pt x="124" y="552"/>
                    </a:lnTo>
                    <a:lnTo>
                      <a:pt x="128" y="547"/>
                    </a:lnTo>
                    <a:lnTo>
                      <a:pt x="130" y="545"/>
                    </a:lnTo>
                    <a:lnTo>
                      <a:pt x="130" y="541"/>
                    </a:lnTo>
                    <a:lnTo>
                      <a:pt x="132" y="539"/>
                    </a:lnTo>
                    <a:lnTo>
                      <a:pt x="133" y="539"/>
                    </a:lnTo>
                    <a:lnTo>
                      <a:pt x="135" y="539"/>
                    </a:lnTo>
                    <a:lnTo>
                      <a:pt x="137" y="541"/>
                    </a:lnTo>
                    <a:lnTo>
                      <a:pt x="137" y="541"/>
                    </a:lnTo>
                    <a:lnTo>
                      <a:pt x="139" y="541"/>
                    </a:lnTo>
                    <a:lnTo>
                      <a:pt x="139" y="541"/>
                    </a:lnTo>
                    <a:lnTo>
                      <a:pt x="141" y="543"/>
                    </a:lnTo>
                    <a:lnTo>
                      <a:pt x="141" y="543"/>
                    </a:lnTo>
                    <a:lnTo>
                      <a:pt x="139" y="545"/>
                    </a:lnTo>
                    <a:lnTo>
                      <a:pt x="139" y="545"/>
                    </a:lnTo>
                    <a:lnTo>
                      <a:pt x="141" y="545"/>
                    </a:lnTo>
                    <a:lnTo>
                      <a:pt x="141" y="547"/>
                    </a:lnTo>
                    <a:lnTo>
                      <a:pt x="141" y="547"/>
                    </a:lnTo>
                    <a:lnTo>
                      <a:pt x="141" y="548"/>
                    </a:lnTo>
                    <a:lnTo>
                      <a:pt x="141" y="550"/>
                    </a:lnTo>
                    <a:lnTo>
                      <a:pt x="141" y="552"/>
                    </a:lnTo>
                    <a:lnTo>
                      <a:pt x="141" y="554"/>
                    </a:lnTo>
                    <a:lnTo>
                      <a:pt x="143" y="556"/>
                    </a:lnTo>
                    <a:lnTo>
                      <a:pt x="149" y="562"/>
                    </a:lnTo>
                    <a:lnTo>
                      <a:pt x="151" y="562"/>
                    </a:lnTo>
                    <a:lnTo>
                      <a:pt x="151" y="564"/>
                    </a:lnTo>
                    <a:lnTo>
                      <a:pt x="151" y="564"/>
                    </a:lnTo>
                    <a:lnTo>
                      <a:pt x="151" y="566"/>
                    </a:lnTo>
                    <a:lnTo>
                      <a:pt x="151" y="566"/>
                    </a:lnTo>
                    <a:lnTo>
                      <a:pt x="151" y="567"/>
                    </a:lnTo>
                    <a:lnTo>
                      <a:pt x="149" y="571"/>
                    </a:lnTo>
                    <a:lnTo>
                      <a:pt x="149" y="573"/>
                    </a:lnTo>
                    <a:lnTo>
                      <a:pt x="149" y="573"/>
                    </a:lnTo>
                    <a:lnTo>
                      <a:pt x="149" y="575"/>
                    </a:lnTo>
                    <a:lnTo>
                      <a:pt x="151" y="575"/>
                    </a:lnTo>
                    <a:lnTo>
                      <a:pt x="151" y="577"/>
                    </a:lnTo>
                    <a:lnTo>
                      <a:pt x="152" y="577"/>
                    </a:lnTo>
                    <a:lnTo>
                      <a:pt x="154" y="577"/>
                    </a:lnTo>
                    <a:lnTo>
                      <a:pt x="154" y="577"/>
                    </a:lnTo>
                    <a:lnTo>
                      <a:pt x="156" y="577"/>
                    </a:lnTo>
                    <a:lnTo>
                      <a:pt x="156" y="577"/>
                    </a:lnTo>
                    <a:lnTo>
                      <a:pt x="158" y="577"/>
                    </a:lnTo>
                    <a:lnTo>
                      <a:pt x="158" y="575"/>
                    </a:lnTo>
                    <a:lnTo>
                      <a:pt x="160" y="571"/>
                    </a:lnTo>
                    <a:lnTo>
                      <a:pt x="160" y="571"/>
                    </a:lnTo>
                    <a:lnTo>
                      <a:pt x="160" y="569"/>
                    </a:lnTo>
                    <a:lnTo>
                      <a:pt x="162" y="569"/>
                    </a:lnTo>
                    <a:lnTo>
                      <a:pt x="164" y="567"/>
                    </a:lnTo>
                    <a:lnTo>
                      <a:pt x="168" y="566"/>
                    </a:lnTo>
                    <a:lnTo>
                      <a:pt x="172" y="564"/>
                    </a:lnTo>
                    <a:lnTo>
                      <a:pt x="173" y="562"/>
                    </a:lnTo>
                    <a:lnTo>
                      <a:pt x="175" y="562"/>
                    </a:lnTo>
                    <a:lnTo>
                      <a:pt x="175" y="560"/>
                    </a:lnTo>
                    <a:lnTo>
                      <a:pt x="175" y="558"/>
                    </a:lnTo>
                    <a:lnTo>
                      <a:pt x="175" y="554"/>
                    </a:lnTo>
                    <a:lnTo>
                      <a:pt x="173" y="552"/>
                    </a:lnTo>
                    <a:lnTo>
                      <a:pt x="175" y="552"/>
                    </a:lnTo>
                    <a:lnTo>
                      <a:pt x="175" y="552"/>
                    </a:lnTo>
                    <a:lnTo>
                      <a:pt x="179" y="550"/>
                    </a:lnTo>
                    <a:lnTo>
                      <a:pt x="181" y="552"/>
                    </a:lnTo>
                    <a:lnTo>
                      <a:pt x="181" y="552"/>
                    </a:lnTo>
                    <a:lnTo>
                      <a:pt x="183" y="554"/>
                    </a:lnTo>
                    <a:lnTo>
                      <a:pt x="185" y="554"/>
                    </a:lnTo>
                    <a:lnTo>
                      <a:pt x="187" y="554"/>
                    </a:lnTo>
                    <a:lnTo>
                      <a:pt x="187" y="554"/>
                    </a:lnTo>
                    <a:lnTo>
                      <a:pt x="189" y="556"/>
                    </a:lnTo>
                    <a:lnTo>
                      <a:pt x="187" y="558"/>
                    </a:lnTo>
                    <a:lnTo>
                      <a:pt x="187" y="560"/>
                    </a:lnTo>
                    <a:lnTo>
                      <a:pt x="189" y="560"/>
                    </a:lnTo>
                    <a:lnTo>
                      <a:pt x="189" y="562"/>
                    </a:lnTo>
                    <a:lnTo>
                      <a:pt x="191" y="562"/>
                    </a:lnTo>
                    <a:lnTo>
                      <a:pt x="194" y="562"/>
                    </a:lnTo>
                    <a:lnTo>
                      <a:pt x="196" y="562"/>
                    </a:lnTo>
                    <a:lnTo>
                      <a:pt x="200" y="558"/>
                    </a:lnTo>
                    <a:lnTo>
                      <a:pt x="202" y="558"/>
                    </a:lnTo>
                    <a:lnTo>
                      <a:pt x="202" y="558"/>
                    </a:lnTo>
                    <a:lnTo>
                      <a:pt x="204" y="558"/>
                    </a:lnTo>
                    <a:lnTo>
                      <a:pt x="206" y="558"/>
                    </a:lnTo>
                    <a:lnTo>
                      <a:pt x="208" y="556"/>
                    </a:lnTo>
                    <a:lnTo>
                      <a:pt x="208" y="552"/>
                    </a:lnTo>
                    <a:lnTo>
                      <a:pt x="208" y="552"/>
                    </a:lnTo>
                    <a:lnTo>
                      <a:pt x="208" y="550"/>
                    </a:lnTo>
                    <a:lnTo>
                      <a:pt x="206" y="550"/>
                    </a:lnTo>
                    <a:lnTo>
                      <a:pt x="206" y="548"/>
                    </a:lnTo>
                    <a:lnTo>
                      <a:pt x="206" y="547"/>
                    </a:lnTo>
                    <a:lnTo>
                      <a:pt x="206" y="547"/>
                    </a:lnTo>
                    <a:lnTo>
                      <a:pt x="212" y="539"/>
                    </a:lnTo>
                    <a:lnTo>
                      <a:pt x="212" y="537"/>
                    </a:lnTo>
                    <a:lnTo>
                      <a:pt x="212" y="537"/>
                    </a:lnTo>
                    <a:lnTo>
                      <a:pt x="212" y="537"/>
                    </a:lnTo>
                    <a:lnTo>
                      <a:pt x="212" y="537"/>
                    </a:lnTo>
                    <a:lnTo>
                      <a:pt x="208" y="537"/>
                    </a:lnTo>
                    <a:lnTo>
                      <a:pt x="208" y="537"/>
                    </a:lnTo>
                    <a:lnTo>
                      <a:pt x="208" y="535"/>
                    </a:lnTo>
                    <a:lnTo>
                      <a:pt x="206" y="533"/>
                    </a:lnTo>
                    <a:lnTo>
                      <a:pt x="204" y="531"/>
                    </a:lnTo>
                    <a:lnTo>
                      <a:pt x="204" y="529"/>
                    </a:lnTo>
                    <a:lnTo>
                      <a:pt x="204" y="529"/>
                    </a:lnTo>
                    <a:lnTo>
                      <a:pt x="206" y="528"/>
                    </a:lnTo>
                    <a:lnTo>
                      <a:pt x="206" y="526"/>
                    </a:lnTo>
                    <a:lnTo>
                      <a:pt x="206" y="526"/>
                    </a:lnTo>
                    <a:lnTo>
                      <a:pt x="206" y="524"/>
                    </a:lnTo>
                    <a:lnTo>
                      <a:pt x="206" y="524"/>
                    </a:lnTo>
                    <a:lnTo>
                      <a:pt x="208" y="520"/>
                    </a:lnTo>
                    <a:lnTo>
                      <a:pt x="210" y="518"/>
                    </a:lnTo>
                    <a:lnTo>
                      <a:pt x="212" y="516"/>
                    </a:lnTo>
                    <a:lnTo>
                      <a:pt x="214" y="512"/>
                    </a:lnTo>
                    <a:lnTo>
                      <a:pt x="215" y="510"/>
                    </a:lnTo>
                    <a:lnTo>
                      <a:pt x="217" y="508"/>
                    </a:lnTo>
                    <a:lnTo>
                      <a:pt x="219" y="507"/>
                    </a:lnTo>
                    <a:lnTo>
                      <a:pt x="221" y="507"/>
                    </a:lnTo>
                    <a:lnTo>
                      <a:pt x="223" y="507"/>
                    </a:lnTo>
                    <a:lnTo>
                      <a:pt x="223" y="508"/>
                    </a:lnTo>
                    <a:lnTo>
                      <a:pt x="225" y="508"/>
                    </a:lnTo>
                    <a:lnTo>
                      <a:pt x="227" y="510"/>
                    </a:lnTo>
                    <a:lnTo>
                      <a:pt x="227" y="510"/>
                    </a:lnTo>
                    <a:lnTo>
                      <a:pt x="234" y="507"/>
                    </a:lnTo>
                    <a:lnTo>
                      <a:pt x="236" y="505"/>
                    </a:lnTo>
                    <a:lnTo>
                      <a:pt x="240" y="503"/>
                    </a:lnTo>
                    <a:lnTo>
                      <a:pt x="244" y="499"/>
                    </a:lnTo>
                    <a:lnTo>
                      <a:pt x="246" y="499"/>
                    </a:lnTo>
                    <a:lnTo>
                      <a:pt x="248" y="497"/>
                    </a:lnTo>
                    <a:lnTo>
                      <a:pt x="250" y="497"/>
                    </a:lnTo>
                    <a:lnTo>
                      <a:pt x="252" y="495"/>
                    </a:lnTo>
                    <a:lnTo>
                      <a:pt x="252" y="493"/>
                    </a:lnTo>
                    <a:lnTo>
                      <a:pt x="252" y="493"/>
                    </a:lnTo>
                    <a:lnTo>
                      <a:pt x="252" y="493"/>
                    </a:lnTo>
                    <a:lnTo>
                      <a:pt x="250" y="493"/>
                    </a:lnTo>
                    <a:lnTo>
                      <a:pt x="250" y="491"/>
                    </a:lnTo>
                    <a:lnTo>
                      <a:pt x="250" y="491"/>
                    </a:lnTo>
                    <a:lnTo>
                      <a:pt x="250" y="489"/>
                    </a:lnTo>
                    <a:lnTo>
                      <a:pt x="248" y="489"/>
                    </a:lnTo>
                    <a:lnTo>
                      <a:pt x="248" y="489"/>
                    </a:lnTo>
                    <a:lnTo>
                      <a:pt x="248" y="489"/>
                    </a:lnTo>
                    <a:lnTo>
                      <a:pt x="246" y="489"/>
                    </a:lnTo>
                    <a:lnTo>
                      <a:pt x="246" y="489"/>
                    </a:lnTo>
                    <a:lnTo>
                      <a:pt x="246" y="489"/>
                    </a:lnTo>
                    <a:lnTo>
                      <a:pt x="242" y="486"/>
                    </a:lnTo>
                    <a:lnTo>
                      <a:pt x="242" y="484"/>
                    </a:lnTo>
                    <a:lnTo>
                      <a:pt x="242" y="482"/>
                    </a:lnTo>
                    <a:lnTo>
                      <a:pt x="242" y="482"/>
                    </a:lnTo>
                    <a:lnTo>
                      <a:pt x="240" y="480"/>
                    </a:lnTo>
                    <a:lnTo>
                      <a:pt x="240" y="480"/>
                    </a:lnTo>
                    <a:lnTo>
                      <a:pt x="240" y="480"/>
                    </a:lnTo>
                    <a:lnTo>
                      <a:pt x="240" y="478"/>
                    </a:lnTo>
                    <a:lnTo>
                      <a:pt x="240" y="478"/>
                    </a:lnTo>
                    <a:lnTo>
                      <a:pt x="242" y="476"/>
                    </a:lnTo>
                    <a:lnTo>
                      <a:pt x="242" y="476"/>
                    </a:lnTo>
                    <a:lnTo>
                      <a:pt x="244" y="476"/>
                    </a:lnTo>
                    <a:lnTo>
                      <a:pt x="244" y="476"/>
                    </a:lnTo>
                    <a:lnTo>
                      <a:pt x="246" y="476"/>
                    </a:lnTo>
                    <a:lnTo>
                      <a:pt x="246" y="476"/>
                    </a:lnTo>
                    <a:lnTo>
                      <a:pt x="248" y="476"/>
                    </a:lnTo>
                    <a:lnTo>
                      <a:pt x="252" y="478"/>
                    </a:lnTo>
                    <a:lnTo>
                      <a:pt x="252" y="478"/>
                    </a:lnTo>
                    <a:lnTo>
                      <a:pt x="255" y="480"/>
                    </a:lnTo>
                    <a:lnTo>
                      <a:pt x="257" y="482"/>
                    </a:lnTo>
                    <a:lnTo>
                      <a:pt x="259" y="480"/>
                    </a:lnTo>
                    <a:lnTo>
                      <a:pt x="259" y="480"/>
                    </a:lnTo>
                    <a:lnTo>
                      <a:pt x="259" y="478"/>
                    </a:lnTo>
                    <a:lnTo>
                      <a:pt x="259" y="476"/>
                    </a:lnTo>
                    <a:lnTo>
                      <a:pt x="257" y="476"/>
                    </a:lnTo>
                    <a:lnTo>
                      <a:pt x="257" y="476"/>
                    </a:lnTo>
                    <a:lnTo>
                      <a:pt x="259" y="476"/>
                    </a:lnTo>
                    <a:lnTo>
                      <a:pt x="259" y="476"/>
                    </a:lnTo>
                    <a:lnTo>
                      <a:pt x="259" y="474"/>
                    </a:lnTo>
                    <a:lnTo>
                      <a:pt x="261" y="474"/>
                    </a:lnTo>
                    <a:lnTo>
                      <a:pt x="261" y="472"/>
                    </a:lnTo>
                    <a:lnTo>
                      <a:pt x="259" y="469"/>
                    </a:lnTo>
                    <a:lnTo>
                      <a:pt x="259" y="467"/>
                    </a:lnTo>
                    <a:lnTo>
                      <a:pt x="259" y="467"/>
                    </a:lnTo>
                    <a:lnTo>
                      <a:pt x="261" y="467"/>
                    </a:lnTo>
                    <a:lnTo>
                      <a:pt x="263" y="469"/>
                    </a:lnTo>
                    <a:lnTo>
                      <a:pt x="263" y="469"/>
                    </a:lnTo>
                    <a:lnTo>
                      <a:pt x="263" y="470"/>
                    </a:lnTo>
                    <a:lnTo>
                      <a:pt x="265" y="474"/>
                    </a:lnTo>
                    <a:lnTo>
                      <a:pt x="265" y="474"/>
                    </a:lnTo>
                    <a:lnTo>
                      <a:pt x="265" y="474"/>
                    </a:lnTo>
                    <a:lnTo>
                      <a:pt x="267" y="474"/>
                    </a:lnTo>
                    <a:lnTo>
                      <a:pt x="267" y="474"/>
                    </a:lnTo>
                    <a:lnTo>
                      <a:pt x="269" y="472"/>
                    </a:lnTo>
                    <a:lnTo>
                      <a:pt x="269" y="469"/>
                    </a:lnTo>
                    <a:lnTo>
                      <a:pt x="271" y="469"/>
                    </a:lnTo>
                    <a:lnTo>
                      <a:pt x="271" y="467"/>
                    </a:lnTo>
                    <a:lnTo>
                      <a:pt x="275" y="467"/>
                    </a:lnTo>
                    <a:lnTo>
                      <a:pt x="275" y="465"/>
                    </a:lnTo>
                    <a:lnTo>
                      <a:pt x="276" y="465"/>
                    </a:lnTo>
                    <a:lnTo>
                      <a:pt x="276" y="463"/>
                    </a:lnTo>
                    <a:lnTo>
                      <a:pt x="276" y="461"/>
                    </a:lnTo>
                    <a:lnTo>
                      <a:pt x="276" y="459"/>
                    </a:lnTo>
                    <a:lnTo>
                      <a:pt x="278" y="459"/>
                    </a:lnTo>
                    <a:lnTo>
                      <a:pt x="278" y="459"/>
                    </a:lnTo>
                    <a:lnTo>
                      <a:pt x="280" y="461"/>
                    </a:lnTo>
                    <a:lnTo>
                      <a:pt x="282" y="465"/>
                    </a:lnTo>
                    <a:lnTo>
                      <a:pt x="282" y="467"/>
                    </a:lnTo>
                    <a:lnTo>
                      <a:pt x="288" y="472"/>
                    </a:lnTo>
                    <a:lnTo>
                      <a:pt x="290" y="474"/>
                    </a:lnTo>
                    <a:lnTo>
                      <a:pt x="290" y="476"/>
                    </a:lnTo>
                    <a:lnTo>
                      <a:pt x="294" y="484"/>
                    </a:lnTo>
                    <a:lnTo>
                      <a:pt x="294" y="486"/>
                    </a:lnTo>
                    <a:lnTo>
                      <a:pt x="296" y="486"/>
                    </a:lnTo>
                    <a:lnTo>
                      <a:pt x="296" y="486"/>
                    </a:lnTo>
                    <a:lnTo>
                      <a:pt x="296" y="484"/>
                    </a:lnTo>
                    <a:lnTo>
                      <a:pt x="296" y="484"/>
                    </a:lnTo>
                    <a:lnTo>
                      <a:pt x="296" y="482"/>
                    </a:lnTo>
                    <a:lnTo>
                      <a:pt x="296" y="480"/>
                    </a:lnTo>
                    <a:lnTo>
                      <a:pt x="296" y="480"/>
                    </a:lnTo>
                    <a:lnTo>
                      <a:pt x="296" y="478"/>
                    </a:lnTo>
                    <a:lnTo>
                      <a:pt x="296" y="478"/>
                    </a:lnTo>
                    <a:lnTo>
                      <a:pt x="296" y="476"/>
                    </a:lnTo>
                    <a:lnTo>
                      <a:pt x="296" y="476"/>
                    </a:lnTo>
                    <a:lnTo>
                      <a:pt x="296" y="476"/>
                    </a:lnTo>
                    <a:lnTo>
                      <a:pt x="297" y="476"/>
                    </a:lnTo>
                    <a:lnTo>
                      <a:pt x="297" y="474"/>
                    </a:lnTo>
                    <a:lnTo>
                      <a:pt x="299" y="474"/>
                    </a:lnTo>
                    <a:lnTo>
                      <a:pt x="299" y="474"/>
                    </a:lnTo>
                    <a:lnTo>
                      <a:pt x="303" y="476"/>
                    </a:lnTo>
                    <a:lnTo>
                      <a:pt x="305" y="482"/>
                    </a:lnTo>
                    <a:lnTo>
                      <a:pt x="305" y="486"/>
                    </a:lnTo>
                    <a:lnTo>
                      <a:pt x="305" y="488"/>
                    </a:lnTo>
                    <a:lnTo>
                      <a:pt x="307" y="489"/>
                    </a:lnTo>
                    <a:lnTo>
                      <a:pt x="309" y="493"/>
                    </a:lnTo>
                    <a:lnTo>
                      <a:pt x="309" y="495"/>
                    </a:lnTo>
                    <a:lnTo>
                      <a:pt x="309" y="495"/>
                    </a:lnTo>
                    <a:lnTo>
                      <a:pt x="311" y="495"/>
                    </a:lnTo>
                    <a:lnTo>
                      <a:pt x="311" y="497"/>
                    </a:lnTo>
                    <a:lnTo>
                      <a:pt x="311" y="497"/>
                    </a:lnTo>
                    <a:lnTo>
                      <a:pt x="313" y="499"/>
                    </a:lnTo>
                    <a:lnTo>
                      <a:pt x="313" y="499"/>
                    </a:lnTo>
                    <a:lnTo>
                      <a:pt x="313" y="501"/>
                    </a:lnTo>
                    <a:lnTo>
                      <a:pt x="313" y="501"/>
                    </a:lnTo>
                    <a:lnTo>
                      <a:pt x="315" y="501"/>
                    </a:lnTo>
                    <a:lnTo>
                      <a:pt x="315" y="501"/>
                    </a:lnTo>
                    <a:lnTo>
                      <a:pt x="320" y="501"/>
                    </a:lnTo>
                    <a:lnTo>
                      <a:pt x="328" y="501"/>
                    </a:lnTo>
                    <a:lnTo>
                      <a:pt x="334" y="501"/>
                    </a:lnTo>
                    <a:lnTo>
                      <a:pt x="336" y="501"/>
                    </a:lnTo>
                    <a:lnTo>
                      <a:pt x="337" y="501"/>
                    </a:lnTo>
                    <a:lnTo>
                      <a:pt x="339" y="501"/>
                    </a:lnTo>
                    <a:lnTo>
                      <a:pt x="341" y="503"/>
                    </a:lnTo>
                    <a:lnTo>
                      <a:pt x="343" y="503"/>
                    </a:lnTo>
                    <a:lnTo>
                      <a:pt x="345" y="503"/>
                    </a:lnTo>
                    <a:lnTo>
                      <a:pt x="347" y="505"/>
                    </a:lnTo>
                    <a:lnTo>
                      <a:pt x="347" y="505"/>
                    </a:lnTo>
                    <a:lnTo>
                      <a:pt x="351" y="505"/>
                    </a:lnTo>
                    <a:lnTo>
                      <a:pt x="358" y="501"/>
                    </a:lnTo>
                    <a:lnTo>
                      <a:pt x="368" y="501"/>
                    </a:lnTo>
                    <a:lnTo>
                      <a:pt x="370" y="501"/>
                    </a:lnTo>
                    <a:lnTo>
                      <a:pt x="372" y="499"/>
                    </a:lnTo>
                    <a:lnTo>
                      <a:pt x="374" y="495"/>
                    </a:lnTo>
                    <a:lnTo>
                      <a:pt x="376" y="493"/>
                    </a:lnTo>
                    <a:lnTo>
                      <a:pt x="376" y="489"/>
                    </a:lnTo>
                    <a:lnTo>
                      <a:pt x="376" y="489"/>
                    </a:lnTo>
                    <a:lnTo>
                      <a:pt x="378" y="489"/>
                    </a:lnTo>
                    <a:lnTo>
                      <a:pt x="379" y="489"/>
                    </a:lnTo>
                    <a:lnTo>
                      <a:pt x="379" y="489"/>
                    </a:lnTo>
                    <a:lnTo>
                      <a:pt x="381" y="489"/>
                    </a:lnTo>
                    <a:lnTo>
                      <a:pt x="385" y="484"/>
                    </a:lnTo>
                    <a:lnTo>
                      <a:pt x="385" y="482"/>
                    </a:lnTo>
                    <a:lnTo>
                      <a:pt x="387" y="482"/>
                    </a:lnTo>
                    <a:lnTo>
                      <a:pt x="385" y="480"/>
                    </a:lnTo>
                    <a:lnTo>
                      <a:pt x="385" y="480"/>
                    </a:lnTo>
                    <a:lnTo>
                      <a:pt x="385" y="480"/>
                    </a:lnTo>
                    <a:lnTo>
                      <a:pt x="385" y="478"/>
                    </a:lnTo>
                    <a:lnTo>
                      <a:pt x="385" y="478"/>
                    </a:lnTo>
                    <a:lnTo>
                      <a:pt x="387" y="476"/>
                    </a:lnTo>
                    <a:lnTo>
                      <a:pt x="387" y="476"/>
                    </a:lnTo>
                    <a:lnTo>
                      <a:pt x="387" y="474"/>
                    </a:lnTo>
                    <a:lnTo>
                      <a:pt x="387" y="474"/>
                    </a:lnTo>
                    <a:lnTo>
                      <a:pt x="385" y="472"/>
                    </a:lnTo>
                    <a:lnTo>
                      <a:pt x="387" y="472"/>
                    </a:lnTo>
                    <a:lnTo>
                      <a:pt x="387" y="472"/>
                    </a:lnTo>
                    <a:lnTo>
                      <a:pt x="389" y="472"/>
                    </a:lnTo>
                    <a:lnTo>
                      <a:pt x="391" y="472"/>
                    </a:lnTo>
                    <a:lnTo>
                      <a:pt x="393" y="472"/>
                    </a:lnTo>
                    <a:lnTo>
                      <a:pt x="393" y="472"/>
                    </a:lnTo>
                    <a:lnTo>
                      <a:pt x="397" y="469"/>
                    </a:lnTo>
                    <a:lnTo>
                      <a:pt x="398" y="467"/>
                    </a:lnTo>
                    <a:lnTo>
                      <a:pt x="408" y="463"/>
                    </a:lnTo>
                    <a:lnTo>
                      <a:pt x="410" y="463"/>
                    </a:lnTo>
                    <a:lnTo>
                      <a:pt x="410" y="463"/>
                    </a:lnTo>
                    <a:lnTo>
                      <a:pt x="410" y="465"/>
                    </a:lnTo>
                    <a:lnTo>
                      <a:pt x="412" y="465"/>
                    </a:lnTo>
                    <a:lnTo>
                      <a:pt x="414" y="463"/>
                    </a:lnTo>
                    <a:lnTo>
                      <a:pt x="414" y="461"/>
                    </a:lnTo>
                    <a:lnTo>
                      <a:pt x="414" y="459"/>
                    </a:lnTo>
                    <a:lnTo>
                      <a:pt x="414" y="459"/>
                    </a:lnTo>
                    <a:lnTo>
                      <a:pt x="414" y="457"/>
                    </a:lnTo>
                    <a:lnTo>
                      <a:pt x="414" y="457"/>
                    </a:lnTo>
                    <a:lnTo>
                      <a:pt x="414" y="455"/>
                    </a:lnTo>
                    <a:lnTo>
                      <a:pt x="414" y="455"/>
                    </a:lnTo>
                    <a:lnTo>
                      <a:pt x="414" y="455"/>
                    </a:lnTo>
                    <a:lnTo>
                      <a:pt x="416" y="455"/>
                    </a:lnTo>
                    <a:lnTo>
                      <a:pt x="421" y="455"/>
                    </a:lnTo>
                    <a:lnTo>
                      <a:pt x="421" y="455"/>
                    </a:lnTo>
                    <a:lnTo>
                      <a:pt x="423" y="455"/>
                    </a:lnTo>
                    <a:lnTo>
                      <a:pt x="423" y="457"/>
                    </a:lnTo>
                    <a:lnTo>
                      <a:pt x="425" y="457"/>
                    </a:lnTo>
                    <a:lnTo>
                      <a:pt x="425" y="461"/>
                    </a:lnTo>
                    <a:lnTo>
                      <a:pt x="427" y="461"/>
                    </a:lnTo>
                    <a:lnTo>
                      <a:pt x="437" y="448"/>
                    </a:lnTo>
                    <a:lnTo>
                      <a:pt x="452" y="432"/>
                    </a:lnTo>
                    <a:lnTo>
                      <a:pt x="461" y="427"/>
                    </a:lnTo>
                    <a:lnTo>
                      <a:pt x="475" y="413"/>
                    </a:lnTo>
                    <a:lnTo>
                      <a:pt x="482" y="408"/>
                    </a:lnTo>
                    <a:lnTo>
                      <a:pt x="488" y="406"/>
                    </a:lnTo>
                    <a:lnTo>
                      <a:pt x="496" y="400"/>
                    </a:lnTo>
                    <a:lnTo>
                      <a:pt x="501" y="398"/>
                    </a:lnTo>
                    <a:lnTo>
                      <a:pt x="511" y="392"/>
                    </a:lnTo>
                    <a:lnTo>
                      <a:pt x="521" y="387"/>
                    </a:lnTo>
                    <a:lnTo>
                      <a:pt x="524" y="385"/>
                    </a:lnTo>
                    <a:lnTo>
                      <a:pt x="494" y="400"/>
                    </a:lnTo>
                    <a:lnTo>
                      <a:pt x="490" y="400"/>
                    </a:lnTo>
                    <a:lnTo>
                      <a:pt x="492" y="400"/>
                    </a:lnTo>
                    <a:lnTo>
                      <a:pt x="490" y="398"/>
                    </a:lnTo>
                    <a:lnTo>
                      <a:pt x="488" y="396"/>
                    </a:lnTo>
                    <a:lnTo>
                      <a:pt x="490" y="396"/>
                    </a:lnTo>
                    <a:lnTo>
                      <a:pt x="490" y="396"/>
                    </a:lnTo>
                    <a:lnTo>
                      <a:pt x="492" y="396"/>
                    </a:lnTo>
                    <a:lnTo>
                      <a:pt x="492" y="394"/>
                    </a:lnTo>
                    <a:lnTo>
                      <a:pt x="492" y="394"/>
                    </a:lnTo>
                    <a:lnTo>
                      <a:pt x="494" y="394"/>
                    </a:lnTo>
                    <a:lnTo>
                      <a:pt x="494" y="396"/>
                    </a:lnTo>
                    <a:lnTo>
                      <a:pt x="496" y="396"/>
                    </a:lnTo>
                    <a:lnTo>
                      <a:pt x="498" y="396"/>
                    </a:lnTo>
                    <a:lnTo>
                      <a:pt x="500" y="396"/>
                    </a:lnTo>
                    <a:lnTo>
                      <a:pt x="500" y="394"/>
                    </a:lnTo>
                    <a:lnTo>
                      <a:pt x="501" y="394"/>
                    </a:lnTo>
                    <a:lnTo>
                      <a:pt x="501" y="392"/>
                    </a:lnTo>
                    <a:lnTo>
                      <a:pt x="501" y="392"/>
                    </a:lnTo>
                    <a:lnTo>
                      <a:pt x="501" y="391"/>
                    </a:lnTo>
                    <a:lnTo>
                      <a:pt x="503" y="391"/>
                    </a:lnTo>
                    <a:lnTo>
                      <a:pt x="503" y="391"/>
                    </a:lnTo>
                    <a:lnTo>
                      <a:pt x="503" y="389"/>
                    </a:lnTo>
                    <a:lnTo>
                      <a:pt x="503" y="387"/>
                    </a:lnTo>
                    <a:lnTo>
                      <a:pt x="503" y="387"/>
                    </a:lnTo>
                    <a:lnTo>
                      <a:pt x="501" y="385"/>
                    </a:lnTo>
                    <a:lnTo>
                      <a:pt x="501" y="387"/>
                    </a:lnTo>
                    <a:lnTo>
                      <a:pt x="500" y="387"/>
                    </a:lnTo>
                    <a:lnTo>
                      <a:pt x="498" y="387"/>
                    </a:lnTo>
                    <a:lnTo>
                      <a:pt x="498" y="387"/>
                    </a:lnTo>
                    <a:lnTo>
                      <a:pt x="492" y="391"/>
                    </a:lnTo>
                    <a:lnTo>
                      <a:pt x="486" y="389"/>
                    </a:lnTo>
                    <a:lnTo>
                      <a:pt x="484" y="389"/>
                    </a:lnTo>
                    <a:lnTo>
                      <a:pt x="484" y="389"/>
                    </a:lnTo>
                    <a:lnTo>
                      <a:pt x="482" y="392"/>
                    </a:lnTo>
                    <a:lnTo>
                      <a:pt x="482" y="392"/>
                    </a:lnTo>
                    <a:lnTo>
                      <a:pt x="482" y="392"/>
                    </a:lnTo>
                    <a:lnTo>
                      <a:pt x="482" y="394"/>
                    </a:lnTo>
                    <a:lnTo>
                      <a:pt x="482" y="394"/>
                    </a:lnTo>
                    <a:lnTo>
                      <a:pt x="484" y="394"/>
                    </a:lnTo>
                    <a:lnTo>
                      <a:pt x="484" y="396"/>
                    </a:lnTo>
                    <a:lnTo>
                      <a:pt x="482" y="396"/>
                    </a:lnTo>
                    <a:lnTo>
                      <a:pt x="480" y="398"/>
                    </a:lnTo>
                    <a:lnTo>
                      <a:pt x="480" y="398"/>
                    </a:lnTo>
                    <a:lnTo>
                      <a:pt x="477" y="398"/>
                    </a:lnTo>
                    <a:lnTo>
                      <a:pt x="477" y="400"/>
                    </a:lnTo>
                    <a:lnTo>
                      <a:pt x="479" y="400"/>
                    </a:lnTo>
                    <a:lnTo>
                      <a:pt x="482" y="402"/>
                    </a:lnTo>
                    <a:lnTo>
                      <a:pt x="480" y="404"/>
                    </a:lnTo>
                    <a:lnTo>
                      <a:pt x="480" y="404"/>
                    </a:lnTo>
                    <a:lnTo>
                      <a:pt x="479" y="404"/>
                    </a:lnTo>
                    <a:lnTo>
                      <a:pt x="479" y="402"/>
                    </a:lnTo>
                    <a:lnTo>
                      <a:pt x="477" y="404"/>
                    </a:lnTo>
                    <a:lnTo>
                      <a:pt x="479" y="406"/>
                    </a:lnTo>
                    <a:lnTo>
                      <a:pt x="479" y="408"/>
                    </a:lnTo>
                    <a:lnTo>
                      <a:pt x="477" y="410"/>
                    </a:lnTo>
                    <a:lnTo>
                      <a:pt x="475" y="410"/>
                    </a:lnTo>
                    <a:lnTo>
                      <a:pt x="475" y="410"/>
                    </a:lnTo>
                    <a:lnTo>
                      <a:pt x="473" y="410"/>
                    </a:lnTo>
                    <a:lnTo>
                      <a:pt x="471" y="410"/>
                    </a:lnTo>
                    <a:lnTo>
                      <a:pt x="471" y="411"/>
                    </a:lnTo>
                    <a:lnTo>
                      <a:pt x="471" y="411"/>
                    </a:lnTo>
                    <a:lnTo>
                      <a:pt x="469" y="411"/>
                    </a:lnTo>
                    <a:lnTo>
                      <a:pt x="469" y="413"/>
                    </a:lnTo>
                    <a:lnTo>
                      <a:pt x="469" y="411"/>
                    </a:lnTo>
                    <a:lnTo>
                      <a:pt x="469" y="410"/>
                    </a:lnTo>
                    <a:lnTo>
                      <a:pt x="469" y="408"/>
                    </a:lnTo>
                    <a:lnTo>
                      <a:pt x="469" y="408"/>
                    </a:lnTo>
                    <a:lnTo>
                      <a:pt x="467" y="410"/>
                    </a:lnTo>
                    <a:lnTo>
                      <a:pt x="467" y="410"/>
                    </a:lnTo>
                    <a:lnTo>
                      <a:pt x="465" y="408"/>
                    </a:lnTo>
                    <a:lnTo>
                      <a:pt x="465" y="406"/>
                    </a:lnTo>
                    <a:lnTo>
                      <a:pt x="467" y="404"/>
                    </a:lnTo>
                    <a:lnTo>
                      <a:pt x="469" y="404"/>
                    </a:lnTo>
                    <a:lnTo>
                      <a:pt x="471" y="402"/>
                    </a:lnTo>
                    <a:lnTo>
                      <a:pt x="471" y="402"/>
                    </a:lnTo>
                    <a:lnTo>
                      <a:pt x="471" y="400"/>
                    </a:lnTo>
                    <a:lnTo>
                      <a:pt x="471" y="400"/>
                    </a:lnTo>
                    <a:lnTo>
                      <a:pt x="471" y="396"/>
                    </a:lnTo>
                    <a:lnTo>
                      <a:pt x="471" y="394"/>
                    </a:lnTo>
                    <a:lnTo>
                      <a:pt x="473" y="392"/>
                    </a:lnTo>
                    <a:lnTo>
                      <a:pt x="475" y="392"/>
                    </a:lnTo>
                    <a:lnTo>
                      <a:pt x="477" y="387"/>
                    </a:lnTo>
                    <a:lnTo>
                      <a:pt x="479" y="385"/>
                    </a:lnTo>
                    <a:lnTo>
                      <a:pt x="479" y="383"/>
                    </a:lnTo>
                    <a:lnTo>
                      <a:pt x="480" y="379"/>
                    </a:lnTo>
                    <a:lnTo>
                      <a:pt x="484" y="375"/>
                    </a:lnTo>
                    <a:lnTo>
                      <a:pt x="486" y="373"/>
                    </a:lnTo>
                    <a:lnTo>
                      <a:pt x="488" y="372"/>
                    </a:lnTo>
                    <a:lnTo>
                      <a:pt x="490" y="372"/>
                    </a:lnTo>
                    <a:lnTo>
                      <a:pt x="492" y="372"/>
                    </a:lnTo>
                    <a:lnTo>
                      <a:pt x="494" y="372"/>
                    </a:lnTo>
                    <a:lnTo>
                      <a:pt x="500" y="366"/>
                    </a:lnTo>
                    <a:lnTo>
                      <a:pt x="505" y="360"/>
                    </a:lnTo>
                    <a:lnTo>
                      <a:pt x="507" y="356"/>
                    </a:lnTo>
                    <a:lnTo>
                      <a:pt x="511" y="356"/>
                    </a:lnTo>
                    <a:lnTo>
                      <a:pt x="513" y="356"/>
                    </a:lnTo>
                    <a:lnTo>
                      <a:pt x="517" y="358"/>
                    </a:lnTo>
                    <a:lnTo>
                      <a:pt x="522" y="358"/>
                    </a:lnTo>
                    <a:lnTo>
                      <a:pt x="524" y="360"/>
                    </a:lnTo>
                    <a:lnTo>
                      <a:pt x="524" y="372"/>
                    </a:lnTo>
                    <a:lnTo>
                      <a:pt x="524" y="373"/>
                    </a:lnTo>
                    <a:lnTo>
                      <a:pt x="524" y="375"/>
                    </a:lnTo>
                    <a:lnTo>
                      <a:pt x="524" y="375"/>
                    </a:lnTo>
                    <a:lnTo>
                      <a:pt x="524" y="377"/>
                    </a:lnTo>
                    <a:lnTo>
                      <a:pt x="524" y="377"/>
                    </a:lnTo>
                    <a:lnTo>
                      <a:pt x="522" y="377"/>
                    </a:lnTo>
                    <a:lnTo>
                      <a:pt x="517" y="381"/>
                    </a:lnTo>
                    <a:lnTo>
                      <a:pt x="519" y="381"/>
                    </a:lnTo>
                    <a:lnTo>
                      <a:pt x="519" y="379"/>
                    </a:lnTo>
                    <a:lnTo>
                      <a:pt x="519" y="379"/>
                    </a:lnTo>
                    <a:lnTo>
                      <a:pt x="519" y="377"/>
                    </a:lnTo>
                    <a:lnTo>
                      <a:pt x="513" y="379"/>
                    </a:lnTo>
                    <a:lnTo>
                      <a:pt x="509" y="381"/>
                    </a:lnTo>
                    <a:lnTo>
                      <a:pt x="507" y="383"/>
                    </a:lnTo>
                    <a:lnTo>
                      <a:pt x="507" y="383"/>
                    </a:lnTo>
                    <a:lnTo>
                      <a:pt x="507" y="383"/>
                    </a:lnTo>
                    <a:lnTo>
                      <a:pt x="507" y="383"/>
                    </a:lnTo>
                    <a:lnTo>
                      <a:pt x="507" y="383"/>
                    </a:lnTo>
                    <a:lnTo>
                      <a:pt x="507" y="385"/>
                    </a:lnTo>
                    <a:lnTo>
                      <a:pt x="507" y="385"/>
                    </a:lnTo>
                    <a:lnTo>
                      <a:pt x="509" y="385"/>
                    </a:lnTo>
                    <a:lnTo>
                      <a:pt x="509" y="385"/>
                    </a:lnTo>
                    <a:lnTo>
                      <a:pt x="509" y="387"/>
                    </a:lnTo>
                    <a:lnTo>
                      <a:pt x="509" y="387"/>
                    </a:lnTo>
                    <a:lnTo>
                      <a:pt x="511" y="389"/>
                    </a:lnTo>
                    <a:lnTo>
                      <a:pt x="513" y="387"/>
                    </a:lnTo>
                    <a:lnTo>
                      <a:pt x="522" y="385"/>
                    </a:lnTo>
                    <a:lnTo>
                      <a:pt x="530" y="379"/>
                    </a:lnTo>
                    <a:lnTo>
                      <a:pt x="532" y="379"/>
                    </a:lnTo>
                    <a:lnTo>
                      <a:pt x="532" y="379"/>
                    </a:lnTo>
                    <a:lnTo>
                      <a:pt x="532" y="381"/>
                    </a:lnTo>
                    <a:lnTo>
                      <a:pt x="532" y="381"/>
                    </a:lnTo>
                    <a:lnTo>
                      <a:pt x="540" y="377"/>
                    </a:lnTo>
                    <a:lnTo>
                      <a:pt x="543" y="375"/>
                    </a:lnTo>
                    <a:lnTo>
                      <a:pt x="545" y="375"/>
                    </a:lnTo>
                    <a:lnTo>
                      <a:pt x="545" y="375"/>
                    </a:lnTo>
                    <a:lnTo>
                      <a:pt x="551" y="375"/>
                    </a:lnTo>
                    <a:lnTo>
                      <a:pt x="551" y="375"/>
                    </a:lnTo>
                    <a:lnTo>
                      <a:pt x="555" y="373"/>
                    </a:lnTo>
                    <a:lnTo>
                      <a:pt x="559" y="370"/>
                    </a:lnTo>
                    <a:lnTo>
                      <a:pt x="564" y="370"/>
                    </a:lnTo>
                    <a:lnTo>
                      <a:pt x="580" y="364"/>
                    </a:lnTo>
                    <a:lnTo>
                      <a:pt x="582" y="364"/>
                    </a:lnTo>
                    <a:lnTo>
                      <a:pt x="583" y="364"/>
                    </a:lnTo>
                    <a:lnTo>
                      <a:pt x="583" y="362"/>
                    </a:lnTo>
                    <a:lnTo>
                      <a:pt x="585" y="362"/>
                    </a:lnTo>
                    <a:lnTo>
                      <a:pt x="587" y="364"/>
                    </a:lnTo>
                    <a:lnTo>
                      <a:pt x="587" y="364"/>
                    </a:lnTo>
                    <a:lnTo>
                      <a:pt x="589" y="364"/>
                    </a:lnTo>
                    <a:lnTo>
                      <a:pt x="593" y="362"/>
                    </a:lnTo>
                    <a:lnTo>
                      <a:pt x="612" y="354"/>
                    </a:lnTo>
                    <a:lnTo>
                      <a:pt x="625" y="349"/>
                    </a:lnTo>
                    <a:lnTo>
                      <a:pt x="624" y="347"/>
                    </a:lnTo>
                    <a:lnTo>
                      <a:pt x="622" y="347"/>
                    </a:lnTo>
                    <a:lnTo>
                      <a:pt x="620" y="345"/>
                    </a:lnTo>
                    <a:lnTo>
                      <a:pt x="618" y="345"/>
                    </a:lnTo>
                    <a:lnTo>
                      <a:pt x="618" y="345"/>
                    </a:lnTo>
                    <a:lnTo>
                      <a:pt x="616" y="343"/>
                    </a:lnTo>
                    <a:lnTo>
                      <a:pt x="616" y="343"/>
                    </a:lnTo>
                    <a:lnTo>
                      <a:pt x="616" y="341"/>
                    </a:lnTo>
                    <a:lnTo>
                      <a:pt x="616" y="341"/>
                    </a:lnTo>
                    <a:lnTo>
                      <a:pt x="616" y="341"/>
                    </a:lnTo>
                    <a:lnTo>
                      <a:pt x="614" y="339"/>
                    </a:lnTo>
                    <a:lnTo>
                      <a:pt x="614" y="339"/>
                    </a:lnTo>
                    <a:lnTo>
                      <a:pt x="612" y="339"/>
                    </a:lnTo>
                    <a:lnTo>
                      <a:pt x="612" y="339"/>
                    </a:lnTo>
                    <a:lnTo>
                      <a:pt x="606" y="339"/>
                    </a:lnTo>
                    <a:lnTo>
                      <a:pt x="604" y="337"/>
                    </a:lnTo>
                    <a:lnTo>
                      <a:pt x="603" y="335"/>
                    </a:lnTo>
                    <a:lnTo>
                      <a:pt x="599" y="333"/>
                    </a:lnTo>
                    <a:lnTo>
                      <a:pt x="599" y="332"/>
                    </a:lnTo>
                    <a:lnTo>
                      <a:pt x="597" y="332"/>
                    </a:lnTo>
                    <a:lnTo>
                      <a:pt x="597" y="328"/>
                    </a:lnTo>
                    <a:lnTo>
                      <a:pt x="597" y="324"/>
                    </a:lnTo>
                    <a:lnTo>
                      <a:pt x="599" y="324"/>
                    </a:lnTo>
                    <a:lnTo>
                      <a:pt x="599" y="326"/>
                    </a:lnTo>
                    <a:lnTo>
                      <a:pt x="599" y="328"/>
                    </a:lnTo>
                    <a:lnTo>
                      <a:pt x="601" y="330"/>
                    </a:lnTo>
                    <a:lnTo>
                      <a:pt x="603" y="333"/>
                    </a:lnTo>
                    <a:lnTo>
                      <a:pt x="603" y="333"/>
                    </a:lnTo>
                    <a:lnTo>
                      <a:pt x="604" y="333"/>
                    </a:lnTo>
                    <a:lnTo>
                      <a:pt x="608" y="335"/>
                    </a:lnTo>
                    <a:lnTo>
                      <a:pt x="612" y="333"/>
                    </a:lnTo>
                    <a:lnTo>
                      <a:pt x="622" y="343"/>
                    </a:lnTo>
                    <a:lnTo>
                      <a:pt x="627" y="345"/>
                    </a:lnTo>
                    <a:lnTo>
                      <a:pt x="631" y="343"/>
                    </a:lnTo>
                    <a:lnTo>
                      <a:pt x="631" y="343"/>
                    </a:lnTo>
                    <a:lnTo>
                      <a:pt x="629" y="343"/>
                    </a:lnTo>
                    <a:lnTo>
                      <a:pt x="627" y="341"/>
                    </a:lnTo>
                    <a:lnTo>
                      <a:pt x="627" y="341"/>
                    </a:lnTo>
                    <a:lnTo>
                      <a:pt x="631" y="339"/>
                    </a:lnTo>
                    <a:lnTo>
                      <a:pt x="637" y="332"/>
                    </a:lnTo>
                    <a:lnTo>
                      <a:pt x="637" y="330"/>
                    </a:lnTo>
                    <a:lnTo>
                      <a:pt x="639" y="326"/>
                    </a:lnTo>
                    <a:lnTo>
                      <a:pt x="641" y="320"/>
                    </a:lnTo>
                    <a:lnTo>
                      <a:pt x="641" y="318"/>
                    </a:lnTo>
                    <a:lnTo>
                      <a:pt x="643" y="316"/>
                    </a:lnTo>
                    <a:lnTo>
                      <a:pt x="644" y="316"/>
                    </a:lnTo>
                    <a:lnTo>
                      <a:pt x="652" y="314"/>
                    </a:lnTo>
                    <a:lnTo>
                      <a:pt x="658" y="313"/>
                    </a:lnTo>
                    <a:lnTo>
                      <a:pt x="669" y="305"/>
                    </a:lnTo>
                    <a:lnTo>
                      <a:pt x="673" y="301"/>
                    </a:lnTo>
                    <a:lnTo>
                      <a:pt x="669" y="305"/>
                    </a:lnTo>
                    <a:lnTo>
                      <a:pt x="665" y="305"/>
                    </a:lnTo>
                    <a:lnTo>
                      <a:pt x="665" y="305"/>
                    </a:lnTo>
                    <a:lnTo>
                      <a:pt x="665" y="303"/>
                    </a:lnTo>
                    <a:lnTo>
                      <a:pt x="669" y="301"/>
                    </a:lnTo>
                    <a:lnTo>
                      <a:pt x="671" y="299"/>
                    </a:lnTo>
                    <a:lnTo>
                      <a:pt x="673" y="299"/>
                    </a:lnTo>
                    <a:lnTo>
                      <a:pt x="675" y="297"/>
                    </a:lnTo>
                    <a:lnTo>
                      <a:pt x="679" y="293"/>
                    </a:lnTo>
                    <a:lnTo>
                      <a:pt x="681" y="288"/>
                    </a:lnTo>
                    <a:lnTo>
                      <a:pt x="679" y="286"/>
                    </a:lnTo>
                    <a:lnTo>
                      <a:pt x="677" y="288"/>
                    </a:lnTo>
                    <a:lnTo>
                      <a:pt x="677" y="290"/>
                    </a:lnTo>
                    <a:lnTo>
                      <a:pt x="677" y="292"/>
                    </a:lnTo>
                    <a:lnTo>
                      <a:pt x="675" y="290"/>
                    </a:lnTo>
                    <a:lnTo>
                      <a:pt x="673" y="292"/>
                    </a:lnTo>
                    <a:lnTo>
                      <a:pt x="671" y="293"/>
                    </a:lnTo>
                    <a:lnTo>
                      <a:pt x="669" y="293"/>
                    </a:lnTo>
                    <a:lnTo>
                      <a:pt x="669" y="286"/>
                    </a:lnTo>
                    <a:lnTo>
                      <a:pt x="671" y="282"/>
                    </a:lnTo>
                    <a:lnTo>
                      <a:pt x="673" y="278"/>
                    </a:lnTo>
                    <a:lnTo>
                      <a:pt x="675" y="274"/>
                    </a:lnTo>
                    <a:lnTo>
                      <a:pt x="694" y="261"/>
                    </a:lnTo>
                    <a:lnTo>
                      <a:pt x="702" y="257"/>
                    </a:lnTo>
                    <a:lnTo>
                      <a:pt x="704" y="255"/>
                    </a:lnTo>
                    <a:lnTo>
                      <a:pt x="707" y="252"/>
                    </a:lnTo>
                    <a:lnTo>
                      <a:pt x="709" y="250"/>
                    </a:lnTo>
                    <a:lnTo>
                      <a:pt x="707" y="252"/>
                    </a:lnTo>
                    <a:lnTo>
                      <a:pt x="706" y="252"/>
                    </a:lnTo>
                    <a:lnTo>
                      <a:pt x="704" y="254"/>
                    </a:lnTo>
                    <a:lnTo>
                      <a:pt x="702" y="252"/>
                    </a:lnTo>
                    <a:lnTo>
                      <a:pt x="702" y="252"/>
                    </a:lnTo>
                    <a:lnTo>
                      <a:pt x="702" y="252"/>
                    </a:lnTo>
                    <a:lnTo>
                      <a:pt x="700" y="252"/>
                    </a:lnTo>
                    <a:lnTo>
                      <a:pt x="700" y="252"/>
                    </a:lnTo>
                    <a:lnTo>
                      <a:pt x="700" y="250"/>
                    </a:lnTo>
                    <a:lnTo>
                      <a:pt x="698" y="250"/>
                    </a:lnTo>
                    <a:lnTo>
                      <a:pt x="696" y="250"/>
                    </a:lnTo>
                    <a:lnTo>
                      <a:pt x="698" y="248"/>
                    </a:lnTo>
                    <a:lnTo>
                      <a:pt x="700" y="248"/>
                    </a:lnTo>
                    <a:lnTo>
                      <a:pt x="700" y="248"/>
                    </a:lnTo>
                    <a:lnTo>
                      <a:pt x="702" y="250"/>
                    </a:lnTo>
                    <a:lnTo>
                      <a:pt x="704" y="248"/>
                    </a:lnTo>
                    <a:lnTo>
                      <a:pt x="704" y="248"/>
                    </a:lnTo>
                    <a:lnTo>
                      <a:pt x="704" y="246"/>
                    </a:lnTo>
                    <a:lnTo>
                      <a:pt x="704" y="244"/>
                    </a:lnTo>
                    <a:lnTo>
                      <a:pt x="702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2" y="242"/>
                    </a:lnTo>
                    <a:lnTo>
                      <a:pt x="690" y="242"/>
                    </a:lnTo>
                    <a:lnTo>
                      <a:pt x="688" y="238"/>
                    </a:lnTo>
                    <a:lnTo>
                      <a:pt x="694" y="238"/>
                    </a:lnTo>
                    <a:lnTo>
                      <a:pt x="696" y="238"/>
                    </a:lnTo>
                    <a:lnTo>
                      <a:pt x="698" y="238"/>
                    </a:lnTo>
                    <a:lnTo>
                      <a:pt x="700" y="236"/>
                    </a:lnTo>
                    <a:lnTo>
                      <a:pt x="698" y="231"/>
                    </a:lnTo>
                    <a:lnTo>
                      <a:pt x="685" y="198"/>
                    </a:lnTo>
                    <a:lnTo>
                      <a:pt x="683" y="187"/>
                    </a:lnTo>
                    <a:lnTo>
                      <a:pt x="686" y="176"/>
                    </a:lnTo>
                    <a:lnTo>
                      <a:pt x="694" y="166"/>
                    </a:lnTo>
                    <a:lnTo>
                      <a:pt x="711" y="145"/>
                    </a:lnTo>
                    <a:lnTo>
                      <a:pt x="719" y="141"/>
                    </a:lnTo>
                    <a:lnTo>
                      <a:pt x="728" y="136"/>
                    </a:lnTo>
                    <a:lnTo>
                      <a:pt x="730" y="136"/>
                    </a:lnTo>
                    <a:lnTo>
                      <a:pt x="734" y="136"/>
                    </a:lnTo>
                    <a:lnTo>
                      <a:pt x="734" y="136"/>
                    </a:lnTo>
                    <a:lnTo>
                      <a:pt x="736" y="134"/>
                    </a:lnTo>
                    <a:lnTo>
                      <a:pt x="740" y="136"/>
                    </a:lnTo>
                    <a:lnTo>
                      <a:pt x="747" y="134"/>
                    </a:lnTo>
                    <a:lnTo>
                      <a:pt x="755" y="132"/>
                    </a:lnTo>
                    <a:lnTo>
                      <a:pt x="763" y="128"/>
                    </a:lnTo>
                    <a:lnTo>
                      <a:pt x="763" y="128"/>
                    </a:lnTo>
                    <a:lnTo>
                      <a:pt x="763" y="124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4" name="Freeform 16">
                <a:extLst>
                  <a:ext uri="{FF2B5EF4-FFF2-40B4-BE49-F238E27FC236}">
                    <a16:creationId xmlns:a16="http://schemas.microsoft.com/office/drawing/2014/main" id="{8822777D-176E-4C47-B7CD-E351C02481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9169" y="3796186"/>
                <a:ext cx="381000" cy="404813"/>
              </a:xfrm>
              <a:custGeom>
                <a:avLst/>
                <a:gdLst>
                  <a:gd name="T0" fmla="*/ 238 w 240"/>
                  <a:gd name="T1" fmla="*/ 34 h 255"/>
                  <a:gd name="T2" fmla="*/ 232 w 240"/>
                  <a:gd name="T3" fmla="*/ 25 h 255"/>
                  <a:gd name="T4" fmla="*/ 236 w 240"/>
                  <a:gd name="T5" fmla="*/ 19 h 255"/>
                  <a:gd name="T6" fmla="*/ 232 w 240"/>
                  <a:gd name="T7" fmla="*/ 6 h 255"/>
                  <a:gd name="T8" fmla="*/ 227 w 240"/>
                  <a:gd name="T9" fmla="*/ 4 h 255"/>
                  <a:gd name="T10" fmla="*/ 208 w 240"/>
                  <a:gd name="T11" fmla="*/ 15 h 255"/>
                  <a:gd name="T12" fmla="*/ 198 w 240"/>
                  <a:gd name="T13" fmla="*/ 12 h 255"/>
                  <a:gd name="T14" fmla="*/ 183 w 240"/>
                  <a:gd name="T15" fmla="*/ 31 h 255"/>
                  <a:gd name="T16" fmla="*/ 152 w 240"/>
                  <a:gd name="T17" fmla="*/ 48 h 255"/>
                  <a:gd name="T18" fmla="*/ 145 w 240"/>
                  <a:gd name="T19" fmla="*/ 50 h 255"/>
                  <a:gd name="T20" fmla="*/ 135 w 240"/>
                  <a:gd name="T21" fmla="*/ 63 h 255"/>
                  <a:gd name="T22" fmla="*/ 128 w 240"/>
                  <a:gd name="T23" fmla="*/ 76 h 255"/>
                  <a:gd name="T24" fmla="*/ 120 w 240"/>
                  <a:gd name="T25" fmla="*/ 74 h 255"/>
                  <a:gd name="T26" fmla="*/ 114 w 240"/>
                  <a:gd name="T27" fmla="*/ 72 h 255"/>
                  <a:gd name="T28" fmla="*/ 105 w 240"/>
                  <a:gd name="T29" fmla="*/ 95 h 255"/>
                  <a:gd name="T30" fmla="*/ 84 w 240"/>
                  <a:gd name="T31" fmla="*/ 122 h 255"/>
                  <a:gd name="T32" fmla="*/ 80 w 240"/>
                  <a:gd name="T33" fmla="*/ 137 h 255"/>
                  <a:gd name="T34" fmla="*/ 80 w 240"/>
                  <a:gd name="T35" fmla="*/ 149 h 255"/>
                  <a:gd name="T36" fmla="*/ 76 w 240"/>
                  <a:gd name="T37" fmla="*/ 160 h 255"/>
                  <a:gd name="T38" fmla="*/ 57 w 240"/>
                  <a:gd name="T39" fmla="*/ 168 h 255"/>
                  <a:gd name="T40" fmla="*/ 57 w 240"/>
                  <a:gd name="T41" fmla="*/ 164 h 255"/>
                  <a:gd name="T42" fmla="*/ 59 w 240"/>
                  <a:gd name="T43" fmla="*/ 152 h 255"/>
                  <a:gd name="T44" fmla="*/ 51 w 240"/>
                  <a:gd name="T45" fmla="*/ 150 h 255"/>
                  <a:gd name="T46" fmla="*/ 44 w 240"/>
                  <a:gd name="T47" fmla="*/ 158 h 255"/>
                  <a:gd name="T48" fmla="*/ 46 w 240"/>
                  <a:gd name="T49" fmla="*/ 166 h 255"/>
                  <a:gd name="T50" fmla="*/ 6 w 240"/>
                  <a:gd name="T51" fmla="*/ 204 h 255"/>
                  <a:gd name="T52" fmla="*/ 4 w 240"/>
                  <a:gd name="T53" fmla="*/ 213 h 255"/>
                  <a:gd name="T54" fmla="*/ 6 w 240"/>
                  <a:gd name="T55" fmla="*/ 217 h 255"/>
                  <a:gd name="T56" fmla="*/ 13 w 240"/>
                  <a:gd name="T57" fmla="*/ 225 h 255"/>
                  <a:gd name="T58" fmla="*/ 15 w 240"/>
                  <a:gd name="T59" fmla="*/ 236 h 255"/>
                  <a:gd name="T60" fmla="*/ 17 w 240"/>
                  <a:gd name="T61" fmla="*/ 244 h 255"/>
                  <a:gd name="T62" fmla="*/ 21 w 240"/>
                  <a:gd name="T63" fmla="*/ 247 h 255"/>
                  <a:gd name="T64" fmla="*/ 30 w 240"/>
                  <a:gd name="T65" fmla="*/ 251 h 255"/>
                  <a:gd name="T66" fmla="*/ 40 w 240"/>
                  <a:gd name="T67" fmla="*/ 247 h 255"/>
                  <a:gd name="T68" fmla="*/ 59 w 240"/>
                  <a:gd name="T69" fmla="*/ 223 h 255"/>
                  <a:gd name="T70" fmla="*/ 57 w 240"/>
                  <a:gd name="T71" fmla="*/ 215 h 255"/>
                  <a:gd name="T72" fmla="*/ 53 w 240"/>
                  <a:gd name="T73" fmla="*/ 213 h 255"/>
                  <a:gd name="T74" fmla="*/ 74 w 240"/>
                  <a:gd name="T75" fmla="*/ 208 h 255"/>
                  <a:gd name="T76" fmla="*/ 91 w 240"/>
                  <a:gd name="T77" fmla="*/ 211 h 255"/>
                  <a:gd name="T78" fmla="*/ 103 w 240"/>
                  <a:gd name="T79" fmla="*/ 211 h 255"/>
                  <a:gd name="T80" fmla="*/ 107 w 240"/>
                  <a:gd name="T81" fmla="*/ 215 h 255"/>
                  <a:gd name="T82" fmla="*/ 133 w 240"/>
                  <a:gd name="T83" fmla="*/ 208 h 255"/>
                  <a:gd name="T84" fmla="*/ 154 w 240"/>
                  <a:gd name="T85" fmla="*/ 188 h 255"/>
                  <a:gd name="T86" fmla="*/ 154 w 240"/>
                  <a:gd name="T87" fmla="*/ 202 h 255"/>
                  <a:gd name="T88" fmla="*/ 158 w 240"/>
                  <a:gd name="T89" fmla="*/ 219 h 255"/>
                  <a:gd name="T90" fmla="*/ 171 w 240"/>
                  <a:gd name="T91" fmla="*/ 217 h 255"/>
                  <a:gd name="T92" fmla="*/ 187 w 240"/>
                  <a:gd name="T93" fmla="*/ 206 h 255"/>
                  <a:gd name="T94" fmla="*/ 190 w 240"/>
                  <a:gd name="T95" fmla="*/ 202 h 255"/>
                  <a:gd name="T96" fmla="*/ 208 w 240"/>
                  <a:gd name="T97" fmla="*/ 183 h 255"/>
                  <a:gd name="T98" fmla="*/ 208 w 240"/>
                  <a:gd name="T99" fmla="*/ 156 h 255"/>
                  <a:gd name="T100" fmla="*/ 227 w 240"/>
                  <a:gd name="T101" fmla="*/ 137 h 255"/>
                  <a:gd name="T102" fmla="*/ 219 w 240"/>
                  <a:gd name="T103" fmla="*/ 120 h 255"/>
                  <a:gd name="T104" fmla="*/ 217 w 240"/>
                  <a:gd name="T105" fmla="*/ 116 h 255"/>
                  <a:gd name="T106" fmla="*/ 217 w 240"/>
                  <a:gd name="T107" fmla="*/ 90 h 255"/>
                  <a:gd name="T108" fmla="*/ 215 w 240"/>
                  <a:gd name="T109" fmla="*/ 76 h 255"/>
                  <a:gd name="T110" fmla="*/ 223 w 240"/>
                  <a:gd name="T111" fmla="*/ 65 h 255"/>
                  <a:gd name="T112" fmla="*/ 231 w 240"/>
                  <a:gd name="T113" fmla="*/ 57 h 255"/>
                  <a:gd name="T114" fmla="*/ 240 w 240"/>
                  <a:gd name="T115" fmla="*/ 53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40" h="255">
                    <a:moveTo>
                      <a:pt x="240" y="50"/>
                    </a:moveTo>
                    <a:lnTo>
                      <a:pt x="236" y="44"/>
                    </a:lnTo>
                    <a:lnTo>
                      <a:pt x="236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4"/>
                    </a:lnTo>
                    <a:lnTo>
                      <a:pt x="238" y="32"/>
                    </a:lnTo>
                    <a:lnTo>
                      <a:pt x="236" y="32"/>
                    </a:lnTo>
                    <a:lnTo>
                      <a:pt x="234" y="31"/>
                    </a:lnTo>
                    <a:lnTo>
                      <a:pt x="234" y="29"/>
                    </a:lnTo>
                    <a:lnTo>
                      <a:pt x="232" y="27"/>
                    </a:lnTo>
                    <a:lnTo>
                      <a:pt x="232" y="25"/>
                    </a:lnTo>
                    <a:lnTo>
                      <a:pt x="234" y="23"/>
                    </a:lnTo>
                    <a:lnTo>
                      <a:pt x="234" y="23"/>
                    </a:lnTo>
                    <a:lnTo>
                      <a:pt x="234" y="23"/>
                    </a:lnTo>
                    <a:lnTo>
                      <a:pt x="236" y="21"/>
                    </a:lnTo>
                    <a:lnTo>
                      <a:pt x="236" y="21"/>
                    </a:lnTo>
                    <a:lnTo>
                      <a:pt x="236" y="19"/>
                    </a:lnTo>
                    <a:lnTo>
                      <a:pt x="238" y="17"/>
                    </a:lnTo>
                    <a:lnTo>
                      <a:pt x="238" y="13"/>
                    </a:lnTo>
                    <a:lnTo>
                      <a:pt x="238" y="12"/>
                    </a:lnTo>
                    <a:lnTo>
                      <a:pt x="236" y="8"/>
                    </a:lnTo>
                    <a:lnTo>
                      <a:pt x="234" y="6"/>
                    </a:lnTo>
                    <a:lnTo>
                      <a:pt x="232" y="6"/>
                    </a:lnTo>
                    <a:lnTo>
                      <a:pt x="232" y="6"/>
                    </a:lnTo>
                    <a:lnTo>
                      <a:pt x="231" y="4"/>
                    </a:lnTo>
                    <a:lnTo>
                      <a:pt x="231" y="0"/>
                    </a:lnTo>
                    <a:lnTo>
                      <a:pt x="229" y="2"/>
                    </a:lnTo>
                    <a:lnTo>
                      <a:pt x="229" y="4"/>
                    </a:lnTo>
                    <a:lnTo>
                      <a:pt x="227" y="4"/>
                    </a:lnTo>
                    <a:lnTo>
                      <a:pt x="227" y="6"/>
                    </a:lnTo>
                    <a:lnTo>
                      <a:pt x="227" y="6"/>
                    </a:lnTo>
                    <a:lnTo>
                      <a:pt x="227" y="6"/>
                    </a:lnTo>
                    <a:lnTo>
                      <a:pt x="211" y="15"/>
                    </a:lnTo>
                    <a:lnTo>
                      <a:pt x="211" y="15"/>
                    </a:lnTo>
                    <a:lnTo>
                      <a:pt x="208" y="15"/>
                    </a:lnTo>
                    <a:lnTo>
                      <a:pt x="206" y="15"/>
                    </a:lnTo>
                    <a:lnTo>
                      <a:pt x="204" y="15"/>
                    </a:lnTo>
                    <a:lnTo>
                      <a:pt x="202" y="15"/>
                    </a:lnTo>
                    <a:lnTo>
                      <a:pt x="200" y="12"/>
                    </a:lnTo>
                    <a:lnTo>
                      <a:pt x="198" y="12"/>
                    </a:lnTo>
                    <a:lnTo>
                      <a:pt x="198" y="12"/>
                    </a:lnTo>
                    <a:lnTo>
                      <a:pt x="196" y="13"/>
                    </a:lnTo>
                    <a:lnTo>
                      <a:pt x="196" y="13"/>
                    </a:lnTo>
                    <a:lnTo>
                      <a:pt x="192" y="17"/>
                    </a:lnTo>
                    <a:lnTo>
                      <a:pt x="190" y="19"/>
                    </a:lnTo>
                    <a:lnTo>
                      <a:pt x="187" y="25"/>
                    </a:lnTo>
                    <a:lnTo>
                      <a:pt x="183" y="31"/>
                    </a:lnTo>
                    <a:lnTo>
                      <a:pt x="179" y="34"/>
                    </a:lnTo>
                    <a:lnTo>
                      <a:pt x="170" y="42"/>
                    </a:lnTo>
                    <a:lnTo>
                      <a:pt x="168" y="42"/>
                    </a:lnTo>
                    <a:lnTo>
                      <a:pt x="156" y="48"/>
                    </a:lnTo>
                    <a:lnTo>
                      <a:pt x="152" y="48"/>
                    </a:lnTo>
                    <a:lnTo>
                      <a:pt x="152" y="48"/>
                    </a:lnTo>
                    <a:lnTo>
                      <a:pt x="150" y="48"/>
                    </a:lnTo>
                    <a:lnTo>
                      <a:pt x="150" y="50"/>
                    </a:lnTo>
                    <a:lnTo>
                      <a:pt x="149" y="50"/>
                    </a:lnTo>
                    <a:lnTo>
                      <a:pt x="147" y="50"/>
                    </a:lnTo>
                    <a:lnTo>
                      <a:pt x="145" y="50"/>
                    </a:lnTo>
                    <a:lnTo>
                      <a:pt x="145" y="50"/>
                    </a:lnTo>
                    <a:lnTo>
                      <a:pt x="143" y="52"/>
                    </a:lnTo>
                    <a:lnTo>
                      <a:pt x="141" y="53"/>
                    </a:lnTo>
                    <a:lnTo>
                      <a:pt x="141" y="55"/>
                    </a:lnTo>
                    <a:lnTo>
                      <a:pt x="137" y="59"/>
                    </a:lnTo>
                    <a:lnTo>
                      <a:pt x="135" y="61"/>
                    </a:lnTo>
                    <a:lnTo>
                      <a:pt x="135" y="63"/>
                    </a:lnTo>
                    <a:lnTo>
                      <a:pt x="135" y="63"/>
                    </a:lnTo>
                    <a:lnTo>
                      <a:pt x="135" y="65"/>
                    </a:lnTo>
                    <a:lnTo>
                      <a:pt x="133" y="71"/>
                    </a:lnTo>
                    <a:lnTo>
                      <a:pt x="131" y="72"/>
                    </a:lnTo>
                    <a:lnTo>
                      <a:pt x="129" y="74"/>
                    </a:lnTo>
                    <a:lnTo>
                      <a:pt x="128" y="76"/>
                    </a:lnTo>
                    <a:lnTo>
                      <a:pt x="126" y="76"/>
                    </a:lnTo>
                    <a:lnTo>
                      <a:pt x="124" y="78"/>
                    </a:lnTo>
                    <a:lnTo>
                      <a:pt x="122" y="78"/>
                    </a:lnTo>
                    <a:lnTo>
                      <a:pt x="122" y="78"/>
                    </a:lnTo>
                    <a:lnTo>
                      <a:pt x="120" y="76"/>
                    </a:lnTo>
                    <a:lnTo>
                      <a:pt x="120" y="74"/>
                    </a:lnTo>
                    <a:lnTo>
                      <a:pt x="120" y="74"/>
                    </a:lnTo>
                    <a:lnTo>
                      <a:pt x="120" y="74"/>
                    </a:lnTo>
                    <a:lnTo>
                      <a:pt x="120" y="71"/>
                    </a:lnTo>
                    <a:lnTo>
                      <a:pt x="120" y="69"/>
                    </a:lnTo>
                    <a:lnTo>
                      <a:pt x="116" y="67"/>
                    </a:lnTo>
                    <a:lnTo>
                      <a:pt x="114" y="72"/>
                    </a:lnTo>
                    <a:lnTo>
                      <a:pt x="108" y="78"/>
                    </a:lnTo>
                    <a:lnTo>
                      <a:pt x="107" y="80"/>
                    </a:lnTo>
                    <a:lnTo>
                      <a:pt x="107" y="82"/>
                    </a:lnTo>
                    <a:lnTo>
                      <a:pt x="107" y="90"/>
                    </a:lnTo>
                    <a:lnTo>
                      <a:pt x="105" y="93"/>
                    </a:lnTo>
                    <a:lnTo>
                      <a:pt x="105" y="95"/>
                    </a:lnTo>
                    <a:lnTo>
                      <a:pt x="103" y="95"/>
                    </a:lnTo>
                    <a:lnTo>
                      <a:pt x="99" y="99"/>
                    </a:lnTo>
                    <a:lnTo>
                      <a:pt x="95" y="103"/>
                    </a:lnTo>
                    <a:lnTo>
                      <a:pt x="84" y="120"/>
                    </a:lnTo>
                    <a:lnTo>
                      <a:pt x="84" y="120"/>
                    </a:lnTo>
                    <a:lnTo>
                      <a:pt x="84" y="122"/>
                    </a:lnTo>
                    <a:lnTo>
                      <a:pt x="84" y="126"/>
                    </a:lnTo>
                    <a:lnTo>
                      <a:pt x="84" y="126"/>
                    </a:lnTo>
                    <a:lnTo>
                      <a:pt x="84" y="133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80" y="137"/>
                    </a:lnTo>
                    <a:lnTo>
                      <a:pt x="80" y="139"/>
                    </a:lnTo>
                    <a:lnTo>
                      <a:pt x="80" y="141"/>
                    </a:lnTo>
                    <a:lnTo>
                      <a:pt x="80" y="145"/>
                    </a:lnTo>
                    <a:lnTo>
                      <a:pt x="80" y="147"/>
                    </a:lnTo>
                    <a:lnTo>
                      <a:pt x="80" y="147"/>
                    </a:lnTo>
                    <a:lnTo>
                      <a:pt x="80" y="149"/>
                    </a:lnTo>
                    <a:lnTo>
                      <a:pt x="80" y="150"/>
                    </a:lnTo>
                    <a:lnTo>
                      <a:pt x="82" y="152"/>
                    </a:lnTo>
                    <a:lnTo>
                      <a:pt x="82" y="154"/>
                    </a:lnTo>
                    <a:lnTo>
                      <a:pt x="80" y="154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4" y="162"/>
                    </a:lnTo>
                    <a:lnTo>
                      <a:pt x="70" y="166"/>
                    </a:lnTo>
                    <a:lnTo>
                      <a:pt x="68" y="166"/>
                    </a:lnTo>
                    <a:lnTo>
                      <a:pt x="63" y="166"/>
                    </a:lnTo>
                    <a:lnTo>
                      <a:pt x="59" y="168"/>
                    </a:lnTo>
                    <a:lnTo>
                      <a:pt x="57" y="168"/>
                    </a:lnTo>
                    <a:lnTo>
                      <a:pt x="55" y="168"/>
                    </a:lnTo>
                    <a:lnTo>
                      <a:pt x="55" y="168"/>
                    </a:lnTo>
                    <a:lnTo>
                      <a:pt x="55" y="168"/>
                    </a:lnTo>
                    <a:lnTo>
                      <a:pt x="55" y="166"/>
                    </a:lnTo>
                    <a:lnTo>
                      <a:pt x="55" y="166"/>
                    </a:lnTo>
                    <a:lnTo>
                      <a:pt x="57" y="164"/>
                    </a:lnTo>
                    <a:lnTo>
                      <a:pt x="59" y="162"/>
                    </a:lnTo>
                    <a:lnTo>
                      <a:pt x="59" y="160"/>
                    </a:lnTo>
                    <a:lnTo>
                      <a:pt x="59" y="158"/>
                    </a:lnTo>
                    <a:lnTo>
                      <a:pt x="59" y="156"/>
                    </a:lnTo>
                    <a:lnTo>
                      <a:pt x="59" y="154"/>
                    </a:lnTo>
                    <a:lnTo>
                      <a:pt x="59" y="152"/>
                    </a:lnTo>
                    <a:lnTo>
                      <a:pt x="57" y="152"/>
                    </a:lnTo>
                    <a:lnTo>
                      <a:pt x="57" y="150"/>
                    </a:lnTo>
                    <a:lnTo>
                      <a:pt x="53" y="150"/>
                    </a:lnTo>
                    <a:lnTo>
                      <a:pt x="53" y="150"/>
                    </a:lnTo>
                    <a:lnTo>
                      <a:pt x="51" y="150"/>
                    </a:lnTo>
                    <a:lnTo>
                      <a:pt x="51" y="150"/>
                    </a:lnTo>
                    <a:lnTo>
                      <a:pt x="47" y="152"/>
                    </a:lnTo>
                    <a:lnTo>
                      <a:pt x="46" y="154"/>
                    </a:lnTo>
                    <a:lnTo>
                      <a:pt x="44" y="154"/>
                    </a:lnTo>
                    <a:lnTo>
                      <a:pt x="42" y="156"/>
                    </a:lnTo>
                    <a:lnTo>
                      <a:pt x="42" y="158"/>
                    </a:lnTo>
                    <a:lnTo>
                      <a:pt x="44" y="158"/>
                    </a:lnTo>
                    <a:lnTo>
                      <a:pt x="44" y="160"/>
                    </a:lnTo>
                    <a:lnTo>
                      <a:pt x="46" y="162"/>
                    </a:lnTo>
                    <a:lnTo>
                      <a:pt x="46" y="162"/>
                    </a:lnTo>
                    <a:lnTo>
                      <a:pt x="46" y="164"/>
                    </a:lnTo>
                    <a:lnTo>
                      <a:pt x="46" y="164"/>
                    </a:lnTo>
                    <a:lnTo>
                      <a:pt x="46" y="166"/>
                    </a:lnTo>
                    <a:lnTo>
                      <a:pt x="32" y="175"/>
                    </a:lnTo>
                    <a:lnTo>
                      <a:pt x="30" y="177"/>
                    </a:lnTo>
                    <a:lnTo>
                      <a:pt x="23" y="188"/>
                    </a:lnTo>
                    <a:lnTo>
                      <a:pt x="17" y="192"/>
                    </a:lnTo>
                    <a:lnTo>
                      <a:pt x="9" y="198"/>
                    </a:lnTo>
                    <a:lnTo>
                      <a:pt x="6" y="204"/>
                    </a:lnTo>
                    <a:lnTo>
                      <a:pt x="2" y="206"/>
                    </a:lnTo>
                    <a:lnTo>
                      <a:pt x="0" y="208"/>
                    </a:lnTo>
                    <a:lnTo>
                      <a:pt x="0" y="209"/>
                    </a:lnTo>
                    <a:lnTo>
                      <a:pt x="0" y="209"/>
                    </a:lnTo>
                    <a:lnTo>
                      <a:pt x="2" y="213"/>
                    </a:lnTo>
                    <a:lnTo>
                      <a:pt x="4" y="213"/>
                    </a:lnTo>
                    <a:lnTo>
                      <a:pt x="4" y="215"/>
                    </a:lnTo>
                    <a:lnTo>
                      <a:pt x="4" y="215"/>
                    </a:lnTo>
                    <a:lnTo>
                      <a:pt x="4" y="215"/>
                    </a:lnTo>
                    <a:lnTo>
                      <a:pt x="4" y="215"/>
                    </a:lnTo>
                    <a:lnTo>
                      <a:pt x="6" y="215"/>
                    </a:lnTo>
                    <a:lnTo>
                      <a:pt x="6" y="217"/>
                    </a:lnTo>
                    <a:lnTo>
                      <a:pt x="6" y="219"/>
                    </a:lnTo>
                    <a:lnTo>
                      <a:pt x="7" y="219"/>
                    </a:lnTo>
                    <a:lnTo>
                      <a:pt x="9" y="221"/>
                    </a:lnTo>
                    <a:lnTo>
                      <a:pt x="9" y="221"/>
                    </a:lnTo>
                    <a:lnTo>
                      <a:pt x="11" y="223"/>
                    </a:lnTo>
                    <a:lnTo>
                      <a:pt x="13" y="225"/>
                    </a:lnTo>
                    <a:lnTo>
                      <a:pt x="13" y="225"/>
                    </a:lnTo>
                    <a:lnTo>
                      <a:pt x="13" y="228"/>
                    </a:lnTo>
                    <a:lnTo>
                      <a:pt x="15" y="228"/>
                    </a:lnTo>
                    <a:lnTo>
                      <a:pt x="15" y="230"/>
                    </a:lnTo>
                    <a:lnTo>
                      <a:pt x="15" y="234"/>
                    </a:lnTo>
                    <a:lnTo>
                      <a:pt x="15" y="236"/>
                    </a:lnTo>
                    <a:lnTo>
                      <a:pt x="15" y="240"/>
                    </a:lnTo>
                    <a:lnTo>
                      <a:pt x="13" y="242"/>
                    </a:lnTo>
                    <a:lnTo>
                      <a:pt x="13" y="242"/>
                    </a:lnTo>
                    <a:lnTo>
                      <a:pt x="15" y="244"/>
                    </a:lnTo>
                    <a:lnTo>
                      <a:pt x="15" y="244"/>
                    </a:lnTo>
                    <a:lnTo>
                      <a:pt x="17" y="244"/>
                    </a:lnTo>
                    <a:lnTo>
                      <a:pt x="17" y="246"/>
                    </a:lnTo>
                    <a:lnTo>
                      <a:pt x="19" y="246"/>
                    </a:lnTo>
                    <a:lnTo>
                      <a:pt x="19" y="246"/>
                    </a:lnTo>
                    <a:lnTo>
                      <a:pt x="21" y="246"/>
                    </a:lnTo>
                    <a:lnTo>
                      <a:pt x="21" y="246"/>
                    </a:lnTo>
                    <a:lnTo>
                      <a:pt x="21" y="247"/>
                    </a:lnTo>
                    <a:lnTo>
                      <a:pt x="23" y="247"/>
                    </a:lnTo>
                    <a:lnTo>
                      <a:pt x="23" y="247"/>
                    </a:lnTo>
                    <a:lnTo>
                      <a:pt x="26" y="249"/>
                    </a:lnTo>
                    <a:lnTo>
                      <a:pt x="26" y="249"/>
                    </a:lnTo>
                    <a:lnTo>
                      <a:pt x="28" y="249"/>
                    </a:lnTo>
                    <a:lnTo>
                      <a:pt x="30" y="251"/>
                    </a:lnTo>
                    <a:lnTo>
                      <a:pt x="30" y="255"/>
                    </a:lnTo>
                    <a:lnTo>
                      <a:pt x="32" y="255"/>
                    </a:lnTo>
                    <a:lnTo>
                      <a:pt x="34" y="255"/>
                    </a:lnTo>
                    <a:lnTo>
                      <a:pt x="34" y="255"/>
                    </a:lnTo>
                    <a:lnTo>
                      <a:pt x="34" y="253"/>
                    </a:lnTo>
                    <a:lnTo>
                      <a:pt x="40" y="247"/>
                    </a:lnTo>
                    <a:lnTo>
                      <a:pt x="42" y="240"/>
                    </a:lnTo>
                    <a:lnTo>
                      <a:pt x="44" y="238"/>
                    </a:lnTo>
                    <a:lnTo>
                      <a:pt x="42" y="238"/>
                    </a:lnTo>
                    <a:lnTo>
                      <a:pt x="46" y="236"/>
                    </a:lnTo>
                    <a:lnTo>
                      <a:pt x="47" y="234"/>
                    </a:lnTo>
                    <a:lnTo>
                      <a:pt x="59" y="223"/>
                    </a:lnTo>
                    <a:lnTo>
                      <a:pt x="59" y="221"/>
                    </a:lnTo>
                    <a:lnTo>
                      <a:pt x="59" y="219"/>
                    </a:lnTo>
                    <a:lnTo>
                      <a:pt x="59" y="219"/>
                    </a:lnTo>
                    <a:lnTo>
                      <a:pt x="59" y="217"/>
                    </a:lnTo>
                    <a:lnTo>
                      <a:pt x="59" y="217"/>
                    </a:lnTo>
                    <a:lnTo>
                      <a:pt x="57" y="215"/>
                    </a:lnTo>
                    <a:lnTo>
                      <a:pt x="53" y="215"/>
                    </a:lnTo>
                    <a:lnTo>
                      <a:pt x="53" y="215"/>
                    </a:lnTo>
                    <a:lnTo>
                      <a:pt x="53" y="215"/>
                    </a:lnTo>
                    <a:lnTo>
                      <a:pt x="53" y="215"/>
                    </a:lnTo>
                    <a:lnTo>
                      <a:pt x="53" y="215"/>
                    </a:lnTo>
                    <a:lnTo>
                      <a:pt x="53" y="213"/>
                    </a:lnTo>
                    <a:lnTo>
                      <a:pt x="53" y="211"/>
                    </a:lnTo>
                    <a:lnTo>
                      <a:pt x="53" y="211"/>
                    </a:lnTo>
                    <a:lnTo>
                      <a:pt x="53" y="209"/>
                    </a:lnTo>
                    <a:lnTo>
                      <a:pt x="55" y="209"/>
                    </a:lnTo>
                    <a:lnTo>
                      <a:pt x="59" y="208"/>
                    </a:lnTo>
                    <a:lnTo>
                      <a:pt x="74" y="208"/>
                    </a:lnTo>
                    <a:lnTo>
                      <a:pt x="80" y="208"/>
                    </a:lnTo>
                    <a:lnTo>
                      <a:pt x="82" y="208"/>
                    </a:lnTo>
                    <a:lnTo>
                      <a:pt x="86" y="208"/>
                    </a:lnTo>
                    <a:lnTo>
                      <a:pt x="88" y="208"/>
                    </a:lnTo>
                    <a:lnTo>
                      <a:pt x="89" y="209"/>
                    </a:lnTo>
                    <a:lnTo>
                      <a:pt x="91" y="211"/>
                    </a:lnTo>
                    <a:lnTo>
                      <a:pt x="93" y="211"/>
                    </a:lnTo>
                    <a:lnTo>
                      <a:pt x="95" y="211"/>
                    </a:lnTo>
                    <a:lnTo>
                      <a:pt x="97" y="213"/>
                    </a:lnTo>
                    <a:lnTo>
                      <a:pt x="99" y="211"/>
                    </a:lnTo>
                    <a:lnTo>
                      <a:pt x="103" y="211"/>
                    </a:lnTo>
                    <a:lnTo>
                      <a:pt x="103" y="211"/>
                    </a:lnTo>
                    <a:lnTo>
                      <a:pt x="105" y="213"/>
                    </a:lnTo>
                    <a:lnTo>
                      <a:pt x="105" y="213"/>
                    </a:lnTo>
                    <a:lnTo>
                      <a:pt x="107" y="215"/>
                    </a:lnTo>
                    <a:lnTo>
                      <a:pt x="107" y="215"/>
                    </a:lnTo>
                    <a:lnTo>
                      <a:pt x="107" y="215"/>
                    </a:lnTo>
                    <a:lnTo>
                      <a:pt x="107" y="215"/>
                    </a:lnTo>
                    <a:lnTo>
                      <a:pt x="108" y="215"/>
                    </a:lnTo>
                    <a:lnTo>
                      <a:pt x="114" y="215"/>
                    </a:lnTo>
                    <a:lnTo>
                      <a:pt x="124" y="213"/>
                    </a:lnTo>
                    <a:lnTo>
                      <a:pt x="129" y="211"/>
                    </a:lnTo>
                    <a:lnTo>
                      <a:pt x="131" y="209"/>
                    </a:lnTo>
                    <a:lnTo>
                      <a:pt x="133" y="208"/>
                    </a:lnTo>
                    <a:lnTo>
                      <a:pt x="135" y="204"/>
                    </a:lnTo>
                    <a:lnTo>
                      <a:pt x="137" y="202"/>
                    </a:lnTo>
                    <a:lnTo>
                      <a:pt x="143" y="198"/>
                    </a:lnTo>
                    <a:lnTo>
                      <a:pt x="145" y="198"/>
                    </a:lnTo>
                    <a:lnTo>
                      <a:pt x="154" y="188"/>
                    </a:lnTo>
                    <a:lnTo>
                      <a:pt x="154" y="188"/>
                    </a:lnTo>
                    <a:lnTo>
                      <a:pt x="154" y="188"/>
                    </a:lnTo>
                    <a:lnTo>
                      <a:pt x="154" y="190"/>
                    </a:lnTo>
                    <a:lnTo>
                      <a:pt x="154" y="190"/>
                    </a:lnTo>
                    <a:lnTo>
                      <a:pt x="154" y="192"/>
                    </a:lnTo>
                    <a:lnTo>
                      <a:pt x="154" y="198"/>
                    </a:lnTo>
                    <a:lnTo>
                      <a:pt x="154" y="202"/>
                    </a:lnTo>
                    <a:lnTo>
                      <a:pt x="152" y="204"/>
                    </a:lnTo>
                    <a:lnTo>
                      <a:pt x="150" y="211"/>
                    </a:lnTo>
                    <a:lnTo>
                      <a:pt x="150" y="213"/>
                    </a:lnTo>
                    <a:lnTo>
                      <a:pt x="150" y="213"/>
                    </a:lnTo>
                    <a:lnTo>
                      <a:pt x="152" y="215"/>
                    </a:lnTo>
                    <a:lnTo>
                      <a:pt x="158" y="219"/>
                    </a:lnTo>
                    <a:lnTo>
                      <a:pt x="160" y="221"/>
                    </a:lnTo>
                    <a:lnTo>
                      <a:pt x="164" y="223"/>
                    </a:lnTo>
                    <a:lnTo>
                      <a:pt x="164" y="223"/>
                    </a:lnTo>
                    <a:lnTo>
                      <a:pt x="166" y="221"/>
                    </a:lnTo>
                    <a:lnTo>
                      <a:pt x="170" y="217"/>
                    </a:lnTo>
                    <a:lnTo>
                      <a:pt x="171" y="217"/>
                    </a:lnTo>
                    <a:lnTo>
                      <a:pt x="177" y="217"/>
                    </a:lnTo>
                    <a:lnTo>
                      <a:pt x="179" y="215"/>
                    </a:lnTo>
                    <a:lnTo>
                      <a:pt x="181" y="213"/>
                    </a:lnTo>
                    <a:lnTo>
                      <a:pt x="185" y="209"/>
                    </a:lnTo>
                    <a:lnTo>
                      <a:pt x="187" y="206"/>
                    </a:lnTo>
                    <a:lnTo>
                      <a:pt x="187" y="206"/>
                    </a:lnTo>
                    <a:lnTo>
                      <a:pt x="190" y="206"/>
                    </a:lnTo>
                    <a:lnTo>
                      <a:pt x="190" y="206"/>
                    </a:lnTo>
                    <a:lnTo>
                      <a:pt x="190" y="204"/>
                    </a:lnTo>
                    <a:lnTo>
                      <a:pt x="190" y="204"/>
                    </a:lnTo>
                    <a:lnTo>
                      <a:pt x="190" y="202"/>
                    </a:lnTo>
                    <a:lnTo>
                      <a:pt x="190" y="202"/>
                    </a:lnTo>
                    <a:lnTo>
                      <a:pt x="192" y="202"/>
                    </a:lnTo>
                    <a:lnTo>
                      <a:pt x="192" y="200"/>
                    </a:lnTo>
                    <a:lnTo>
                      <a:pt x="204" y="185"/>
                    </a:lnTo>
                    <a:lnTo>
                      <a:pt x="204" y="183"/>
                    </a:lnTo>
                    <a:lnTo>
                      <a:pt x="206" y="183"/>
                    </a:lnTo>
                    <a:lnTo>
                      <a:pt x="208" y="183"/>
                    </a:lnTo>
                    <a:lnTo>
                      <a:pt x="210" y="181"/>
                    </a:lnTo>
                    <a:lnTo>
                      <a:pt x="210" y="179"/>
                    </a:lnTo>
                    <a:lnTo>
                      <a:pt x="210" y="175"/>
                    </a:lnTo>
                    <a:lnTo>
                      <a:pt x="208" y="162"/>
                    </a:lnTo>
                    <a:lnTo>
                      <a:pt x="208" y="158"/>
                    </a:lnTo>
                    <a:lnTo>
                      <a:pt x="208" y="156"/>
                    </a:lnTo>
                    <a:lnTo>
                      <a:pt x="210" y="154"/>
                    </a:lnTo>
                    <a:lnTo>
                      <a:pt x="215" y="152"/>
                    </a:lnTo>
                    <a:lnTo>
                      <a:pt x="217" y="150"/>
                    </a:lnTo>
                    <a:lnTo>
                      <a:pt x="221" y="145"/>
                    </a:lnTo>
                    <a:lnTo>
                      <a:pt x="227" y="141"/>
                    </a:lnTo>
                    <a:lnTo>
                      <a:pt x="227" y="137"/>
                    </a:lnTo>
                    <a:lnTo>
                      <a:pt x="227" y="135"/>
                    </a:lnTo>
                    <a:lnTo>
                      <a:pt x="225" y="133"/>
                    </a:lnTo>
                    <a:lnTo>
                      <a:pt x="221" y="131"/>
                    </a:lnTo>
                    <a:lnTo>
                      <a:pt x="219" y="130"/>
                    </a:lnTo>
                    <a:lnTo>
                      <a:pt x="219" y="122"/>
                    </a:lnTo>
                    <a:lnTo>
                      <a:pt x="219" y="120"/>
                    </a:lnTo>
                    <a:lnTo>
                      <a:pt x="219" y="118"/>
                    </a:lnTo>
                    <a:lnTo>
                      <a:pt x="221" y="118"/>
                    </a:lnTo>
                    <a:lnTo>
                      <a:pt x="219" y="116"/>
                    </a:lnTo>
                    <a:lnTo>
                      <a:pt x="219" y="116"/>
                    </a:lnTo>
                    <a:lnTo>
                      <a:pt x="217" y="116"/>
                    </a:lnTo>
                    <a:lnTo>
                      <a:pt x="217" y="116"/>
                    </a:lnTo>
                    <a:lnTo>
                      <a:pt x="215" y="114"/>
                    </a:lnTo>
                    <a:lnTo>
                      <a:pt x="213" y="110"/>
                    </a:lnTo>
                    <a:lnTo>
                      <a:pt x="213" y="105"/>
                    </a:lnTo>
                    <a:lnTo>
                      <a:pt x="213" y="99"/>
                    </a:lnTo>
                    <a:lnTo>
                      <a:pt x="215" y="95"/>
                    </a:lnTo>
                    <a:lnTo>
                      <a:pt x="217" y="90"/>
                    </a:lnTo>
                    <a:lnTo>
                      <a:pt x="217" y="88"/>
                    </a:lnTo>
                    <a:lnTo>
                      <a:pt x="215" y="86"/>
                    </a:lnTo>
                    <a:lnTo>
                      <a:pt x="213" y="80"/>
                    </a:lnTo>
                    <a:lnTo>
                      <a:pt x="213" y="78"/>
                    </a:lnTo>
                    <a:lnTo>
                      <a:pt x="215" y="76"/>
                    </a:lnTo>
                    <a:lnTo>
                      <a:pt x="215" y="76"/>
                    </a:lnTo>
                    <a:lnTo>
                      <a:pt x="217" y="74"/>
                    </a:lnTo>
                    <a:lnTo>
                      <a:pt x="221" y="71"/>
                    </a:lnTo>
                    <a:lnTo>
                      <a:pt x="223" y="69"/>
                    </a:lnTo>
                    <a:lnTo>
                      <a:pt x="223" y="67"/>
                    </a:lnTo>
                    <a:lnTo>
                      <a:pt x="223" y="65"/>
                    </a:lnTo>
                    <a:lnTo>
                      <a:pt x="223" y="65"/>
                    </a:lnTo>
                    <a:lnTo>
                      <a:pt x="223" y="61"/>
                    </a:lnTo>
                    <a:lnTo>
                      <a:pt x="223" y="59"/>
                    </a:lnTo>
                    <a:lnTo>
                      <a:pt x="225" y="59"/>
                    </a:lnTo>
                    <a:lnTo>
                      <a:pt x="227" y="57"/>
                    </a:lnTo>
                    <a:lnTo>
                      <a:pt x="229" y="57"/>
                    </a:lnTo>
                    <a:lnTo>
                      <a:pt x="231" y="57"/>
                    </a:lnTo>
                    <a:lnTo>
                      <a:pt x="231" y="55"/>
                    </a:lnTo>
                    <a:lnTo>
                      <a:pt x="232" y="53"/>
                    </a:lnTo>
                    <a:lnTo>
                      <a:pt x="234" y="52"/>
                    </a:lnTo>
                    <a:lnTo>
                      <a:pt x="236" y="52"/>
                    </a:lnTo>
                    <a:lnTo>
                      <a:pt x="238" y="53"/>
                    </a:lnTo>
                    <a:lnTo>
                      <a:pt x="240" y="53"/>
                    </a:lnTo>
                    <a:lnTo>
                      <a:pt x="240" y="53"/>
                    </a:lnTo>
                    <a:lnTo>
                      <a:pt x="240" y="5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5" name="Freeform 17">
                <a:extLst>
                  <a:ext uri="{FF2B5EF4-FFF2-40B4-BE49-F238E27FC236}">
                    <a16:creationId xmlns:a16="http://schemas.microsoft.com/office/drawing/2014/main" id="{A169E627-4DC2-480C-88B4-BD74F5D703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0094" y="4358161"/>
                <a:ext cx="236538" cy="546100"/>
              </a:xfrm>
              <a:custGeom>
                <a:avLst/>
                <a:gdLst>
                  <a:gd name="T0" fmla="*/ 147 w 149"/>
                  <a:gd name="T1" fmla="*/ 107 h 344"/>
                  <a:gd name="T2" fmla="*/ 140 w 149"/>
                  <a:gd name="T3" fmla="*/ 78 h 344"/>
                  <a:gd name="T4" fmla="*/ 134 w 149"/>
                  <a:gd name="T5" fmla="*/ 65 h 344"/>
                  <a:gd name="T6" fmla="*/ 126 w 149"/>
                  <a:gd name="T7" fmla="*/ 65 h 344"/>
                  <a:gd name="T8" fmla="*/ 124 w 149"/>
                  <a:gd name="T9" fmla="*/ 59 h 344"/>
                  <a:gd name="T10" fmla="*/ 121 w 149"/>
                  <a:gd name="T11" fmla="*/ 61 h 344"/>
                  <a:gd name="T12" fmla="*/ 117 w 149"/>
                  <a:gd name="T13" fmla="*/ 61 h 344"/>
                  <a:gd name="T14" fmla="*/ 111 w 149"/>
                  <a:gd name="T15" fmla="*/ 61 h 344"/>
                  <a:gd name="T16" fmla="*/ 103 w 149"/>
                  <a:gd name="T17" fmla="*/ 57 h 344"/>
                  <a:gd name="T18" fmla="*/ 94 w 149"/>
                  <a:gd name="T19" fmla="*/ 51 h 344"/>
                  <a:gd name="T20" fmla="*/ 96 w 149"/>
                  <a:gd name="T21" fmla="*/ 42 h 344"/>
                  <a:gd name="T22" fmla="*/ 98 w 149"/>
                  <a:gd name="T23" fmla="*/ 30 h 344"/>
                  <a:gd name="T24" fmla="*/ 102 w 149"/>
                  <a:gd name="T25" fmla="*/ 21 h 344"/>
                  <a:gd name="T26" fmla="*/ 92 w 149"/>
                  <a:gd name="T27" fmla="*/ 15 h 344"/>
                  <a:gd name="T28" fmla="*/ 75 w 149"/>
                  <a:gd name="T29" fmla="*/ 15 h 344"/>
                  <a:gd name="T30" fmla="*/ 63 w 149"/>
                  <a:gd name="T31" fmla="*/ 2 h 344"/>
                  <a:gd name="T32" fmla="*/ 50 w 149"/>
                  <a:gd name="T33" fmla="*/ 27 h 344"/>
                  <a:gd name="T34" fmla="*/ 48 w 149"/>
                  <a:gd name="T35" fmla="*/ 34 h 344"/>
                  <a:gd name="T36" fmla="*/ 35 w 149"/>
                  <a:gd name="T37" fmla="*/ 48 h 344"/>
                  <a:gd name="T38" fmla="*/ 27 w 149"/>
                  <a:gd name="T39" fmla="*/ 49 h 344"/>
                  <a:gd name="T40" fmla="*/ 21 w 149"/>
                  <a:gd name="T41" fmla="*/ 40 h 344"/>
                  <a:gd name="T42" fmla="*/ 23 w 149"/>
                  <a:gd name="T43" fmla="*/ 34 h 344"/>
                  <a:gd name="T44" fmla="*/ 8 w 149"/>
                  <a:gd name="T45" fmla="*/ 38 h 344"/>
                  <a:gd name="T46" fmla="*/ 12 w 149"/>
                  <a:gd name="T47" fmla="*/ 53 h 344"/>
                  <a:gd name="T48" fmla="*/ 10 w 149"/>
                  <a:gd name="T49" fmla="*/ 65 h 344"/>
                  <a:gd name="T50" fmla="*/ 10 w 149"/>
                  <a:gd name="T51" fmla="*/ 74 h 344"/>
                  <a:gd name="T52" fmla="*/ 10 w 149"/>
                  <a:gd name="T53" fmla="*/ 82 h 344"/>
                  <a:gd name="T54" fmla="*/ 10 w 149"/>
                  <a:gd name="T55" fmla="*/ 88 h 344"/>
                  <a:gd name="T56" fmla="*/ 8 w 149"/>
                  <a:gd name="T57" fmla="*/ 88 h 344"/>
                  <a:gd name="T58" fmla="*/ 4 w 149"/>
                  <a:gd name="T59" fmla="*/ 89 h 344"/>
                  <a:gd name="T60" fmla="*/ 4 w 149"/>
                  <a:gd name="T61" fmla="*/ 95 h 344"/>
                  <a:gd name="T62" fmla="*/ 2 w 149"/>
                  <a:gd name="T63" fmla="*/ 120 h 344"/>
                  <a:gd name="T64" fmla="*/ 10 w 149"/>
                  <a:gd name="T65" fmla="*/ 148 h 344"/>
                  <a:gd name="T66" fmla="*/ 14 w 149"/>
                  <a:gd name="T67" fmla="*/ 156 h 344"/>
                  <a:gd name="T68" fmla="*/ 16 w 149"/>
                  <a:gd name="T69" fmla="*/ 166 h 344"/>
                  <a:gd name="T70" fmla="*/ 14 w 149"/>
                  <a:gd name="T71" fmla="*/ 209 h 344"/>
                  <a:gd name="T72" fmla="*/ 25 w 149"/>
                  <a:gd name="T73" fmla="*/ 236 h 344"/>
                  <a:gd name="T74" fmla="*/ 33 w 149"/>
                  <a:gd name="T75" fmla="*/ 263 h 344"/>
                  <a:gd name="T76" fmla="*/ 41 w 149"/>
                  <a:gd name="T77" fmla="*/ 320 h 344"/>
                  <a:gd name="T78" fmla="*/ 42 w 149"/>
                  <a:gd name="T79" fmla="*/ 342 h 344"/>
                  <a:gd name="T80" fmla="*/ 48 w 149"/>
                  <a:gd name="T81" fmla="*/ 337 h 344"/>
                  <a:gd name="T82" fmla="*/ 52 w 149"/>
                  <a:gd name="T83" fmla="*/ 329 h 344"/>
                  <a:gd name="T84" fmla="*/ 54 w 149"/>
                  <a:gd name="T85" fmla="*/ 322 h 344"/>
                  <a:gd name="T86" fmla="*/ 77 w 149"/>
                  <a:gd name="T87" fmla="*/ 337 h 344"/>
                  <a:gd name="T88" fmla="*/ 84 w 149"/>
                  <a:gd name="T89" fmla="*/ 337 h 344"/>
                  <a:gd name="T90" fmla="*/ 92 w 149"/>
                  <a:gd name="T91" fmla="*/ 341 h 344"/>
                  <a:gd name="T92" fmla="*/ 92 w 149"/>
                  <a:gd name="T93" fmla="*/ 337 h 344"/>
                  <a:gd name="T94" fmla="*/ 94 w 149"/>
                  <a:gd name="T95" fmla="*/ 325 h 344"/>
                  <a:gd name="T96" fmla="*/ 98 w 149"/>
                  <a:gd name="T97" fmla="*/ 312 h 344"/>
                  <a:gd name="T98" fmla="*/ 111 w 149"/>
                  <a:gd name="T99" fmla="*/ 314 h 344"/>
                  <a:gd name="T100" fmla="*/ 115 w 149"/>
                  <a:gd name="T101" fmla="*/ 306 h 344"/>
                  <a:gd name="T102" fmla="*/ 115 w 149"/>
                  <a:gd name="T103" fmla="*/ 282 h 344"/>
                  <a:gd name="T104" fmla="*/ 109 w 149"/>
                  <a:gd name="T105" fmla="*/ 259 h 344"/>
                  <a:gd name="T106" fmla="*/ 109 w 149"/>
                  <a:gd name="T107" fmla="*/ 230 h 344"/>
                  <a:gd name="T108" fmla="*/ 117 w 149"/>
                  <a:gd name="T109" fmla="*/ 215 h 344"/>
                  <a:gd name="T110" fmla="*/ 117 w 149"/>
                  <a:gd name="T111" fmla="*/ 196 h 344"/>
                  <a:gd name="T112" fmla="*/ 132 w 149"/>
                  <a:gd name="T113" fmla="*/ 202 h 344"/>
                  <a:gd name="T114" fmla="*/ 142 w 149"/>
                  <a:gd name="T115" fmla="*/ 181 h 344"/>
                  <a:gd name="T116" fmla="*/ 147 w 149"/>
                  <a:gd name="T117" fmla="*/ 15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9" h="344">
                    <a:moveTo>
                      <a:pt x="145" y="147"/>
                    </a:moveTo>
                    <a:lnTo>
                      <a:pt x="145" y="143"/>
                    </a:lnTo>
                    <a:lnTo>
                      <a:pt x="149" y="116"/>
                    </a:lnTo>
                    <a:lnTo>
                      <a:pt x="149" y="110"/>
                    </a:lnTo>
                    <a:lnTo>
                      <a:pt x="149" y="110"/>
                    </a:lnTo>
                    <a:lnTo>
                      <a:pt x="147" y="107"/>
                    </a:lnTo>
                    <a:lnTo>
                      <a:pt x="147" y="105"/>
                    </a:lnTo>
                    <a:lnTo>
                      <a:pt x="142" y="103"/>
                    </a:lnTo>
                    <a:lnTo>
                      <a:pt x="140" y="88"/>
                    </a:lnTo>
                    <a:lnTo>
                      <a:pt x="140" y="82"/>
                    </a:lnTo>
                    <a:lnTo>
                      <a:pt x="140" y="80"/>
                    </a:lnTo>
                    <a:lnTo>
                      <a:pt x="140" y="78"/>
                    </a:lnTo>
                    <a:lnTo>
                      <a:pt x="140" y="78"/>
                    </a:lnTo>
                    <a:lnTo>
                      <a:pt x="138" y="76"/>
                    </a:lnTo>
                    <a:lnTo>
                      <a:pt x="136" y="72"/>
                    </a:lnTo>
                    <a:lnTo>
                      <a:pt x="134" y="70"/>
                    </a:lnTo>
                    <a:lnTo>
                      <a:pt x="134" y="69"/>
                    </a:lnTo>
                    <a:lnTo>
                      <a:pt x="134" y="65"/>
                    </a:lnTo>
                    <a:lnTo>
                      <a:pt x="134" y="63"/>
                    </a:lnTo>
                    <a:lnTo>
                      <a:pt x="134" y="63"/>
                    </a:lnTo>
                    <a:lnTo>
                      <a:pt x="132" y="63"/>
                    </a:lnTo>
                    <a:lnTo>
                      <a:pt x="128" y="65"/>
                    </a:lnTo>
                    <a:lnTo>
                      <a:pt x="126" y="65"/>
                    </a:lnTo>
                    <a:lnTo>
                      <a:pt x="126" y="65"/>
                    </a:lnTo>
                    <a:lnTo>
                      <a:pt x="126" y="63"/>
                    </a:lnTo>
                    <a:lnTo>
                      <a:pt x="126" y="63"/>
                    </a:lnTo>
                    <a:lnTo>
                      <a:pt x="126" y="61"/>
                    </a:lnTo>
                    <a:lnTo>
                      <a:pt x="126" y="61"/>
                    </a:lnTo>
                    <a:lnTo>
                      <a:pt x="126" y="59"/>
                    </a:lnTo>
                    <a:lnTo>
                      <a:pt x="124" y="59"/>
                    </a:lnTo>
                    <a:lnTo>
                      <a:pt x="124" y="57"/>
                    </a:lnTo>
                    <a:lnTo>
                      <a:pt x="124" y="57"/>
                    </a:lnTo>
                    <a:lnTo>
                      <a:pt x="123" y="59"/>
                    </a:lnTo>
                    <a:lnTo>
                      <a:pt x="123" y="59"/>
                    </a:lnTo>
                    <a:lnTo>
                      <a:pt x="123" y="61"/>
                    </a:lnTo>
                    <a:lnTo>
                      <a:pt x="121" y="61"/>
                    </a:lnTo>
                    <a:lnTo>
                      <a:pt x="119" y="61"/>
                    </a:lnTo>
                    <a:lnTo>
                      <a:pt x="119" y="61"/>
                    </a:lnTo>
                    <a:lnTo>
                      <a:pt x="117" y="61"/>
                    </a:lnTo>
                    <a:lnTo>
                      <a:pt x="117" y="61"/>
                    </a:lnTo>
                    <a:lnTo>
                      <a:pt x="117" y="61"/>
                    </a:lnTo>
                    <a:lnTo>
                      <a:pt x="117" y="61"/>
                    </a:lnTo>
                    <a:lnTo>
                      <a:pt x="117" y="59"/>
                    </a:lnTo>
                    <a:lnTo>
                      <a:pt x="115" y="59"/>
                    </a:lnTo>
                    <a:lnTo>
                      <a:pt x="115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1" y="61"/>
                    </a:lnTo>
                    <a:lnTo>
                      <a:pt x="109" y="61"/>
                    </a:lnTo>
                    <a:lnTo>
                      <a:pt x="109" y="61"/>
                    </a:lnTo>
                    <a:lnTo>
                      <a:pt x="107" y="61"/>
                    </a:lnTo>
                    <a:lnTo>
                      <a:pt x="107" y="59"/>
                    </a:lnTo>
                    <a:lnTo>
                      <a:pt x="105" y="59"/>
                    </a:lnTo>
                    <a:lnTo>
                      <a:pt x="103" y="57"/>
                    </a:lnTo>
                    <a:lnTo>
                      <a:pt x="96" y="53"/>
                    </a:lnTo>
                    <a:lnTo>
                      <a:pt x="94" y="53"/>
                    </a:lnTo>
                    <a:lnTo>
                      <a:pt x="92" y="53"/>
                    </a:lnTo>
                    <a:lnTo>
                      <a:pt x="92" y="51"/>
                    </a:lnTo>
                    <a:lnTo>
                      <a:pt x="94" y="51"/>
                    </a:lnTo>
                    <a:lnTo>
                      <a:pt x="94" y="51"/>
                    </a:lnTo>
                    <a:lnTo>
                      <a:pt x="94" y="51"/>
                    </a:lnTo>
                    <a:lnTo>
                      <a:pt x="96" y="49"/>
                    </a:lnTo>
                    <a:lnTo>
                      <a:pt x="96" y="49"/>
                    </a:lnTo>
                    <a:lnTo>
                      <a:pt x="96" y="48"/>
                    </a:lnTo>
                    <a:lnTo>
                      <a:pt x="96" y="46"/>
                    </a:lnTo>
                    <a:lnTo>
                      <a:pt x="96" y="42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38"/>
                    </a:lnTo>
                    <a:lnTo>
                      <a:pt x="98" y="34"/>
                    </a:lnTo>
                    <a:lnTo>
                      <a:pt x="98" y="34"/>
                    </a:lnTo>
                    <a:lnTo>
                      <a:pt x="98" y="30"/>
                    </a:lnTo>
                    <a:lnTo>
                      <a:pt x="98" y="29"/>
                    </a:lnTo>
                    <a:lnTo>
                      <a:pt x="98" y="27"/>
                    </a:lnTo>
                    <a:lnTo>
                      <a:pt x="100" y="27"/>
                    </a:lnTo>
                    <a:lnTo>
                      <a:pt x="102" y="25"/>
                    </a:lnTo>
                    <a:lnTo>
                      <a:pt x="102" y="23"/>
                    </a:lnTo>
                    <a:lnTo>
                      <a:pt x="102" y="21"/>
                    </a:lnTo>
                    <a:lnTo>
                      <a:pt x="98" y="19"/>
                    </a:lnTo>
                    <a:lnTo>
                      <a:pt x="98" y="17"/>
                    </a:lnTo>
                    <a:lnTo>
                      <a:pt x="98" y="13"/>
                    </a:lnTo>
                    <a:lnTo>
                      <a:pt x="98" y="11"/>
                    </a:lnTo>
                    <a:lnTo>
                      <a:pt x="94" y="15"/>
                    </a:lnTo>
                    <a:lnTo>
                      <a:pt x="92" y="15"/>
                    </a:lnTo>
                    <a:lnTo>
                      <a:pt x="88" y="13"/>
                    </a:lnTo>
                    <a:lnTo>
                      <a:pt x="86" y="13"/>
                    </a:lnTo>
                    <a:lnTo>
                      <a:pt x="79" y="17"/>
                    </a:lnTo>
                    <a:lnTo>
                      <a:pt x="77" y="17"/>
                    </a:lnTo>
                    <a:lnTo>
                      <a:pt x="75" y="17"/>
                    </a:lnTo>
                    <a:lnTo>
                      <a:pt x="75" y="15"/>
                    </a:lnTo>
                    <a:lnTo>
                      <a:pt x="69" y="4"/>
                    </a:lnTo>
                    <a:lnTo>
                      <a:pt x="67" y="2"/>
                    </a:lnTo>
                    <a:lnTo>
                      <a:pt x="65" y="2"/>
                    </a:lnTo>
                    <a:lnTo>
                      <a:pt x="65" y="0"/>
                    </a:lnTo>
                    <a:lnTo>
                      <a:pt x="63" y="2"/>
                    </a:lnTo>
                    <a:lnTo>
                      <a:pt x="63" y="2"/>
                    </a:lnTo>
                    <a:lnTo>
                      <a:pt x="60" y="13"/>
                    </a:lnTo>
                    <a:lnTo>
                      <a:pt x="60" y="15"/>
                    </a:lnTo>
                    <a:lnTo>
                      <a:pt x="60" y="17"/>
                    </a:lnTo>
                    <a:lnTo>
                      <a:pt x="58" y="17"/>
                    </a:lnTo>
                    <a:lnTo>
                      <a:pt x="56" y="21"/>
                    </a:lnTo>
                    <a:lnTo>
                      <a:pt x="50" y="27"/>
                    </a:lnTo>
                    <a:lnTo>
                      <a:pt x="48" y="29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6" y="34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1" y="40"/>
                    </a:lnTo>
                    <a:lnTo>
                      <a:pt x="37" y="44"/>
                    </a:lnTo>
                    <a:lnTo>
                      <a:pt x="35" y="48"/>
                    </a:lnTo>
                    <a:lnTo>
                      <a:pt x="33" y="48"/>
                    </a:lnTo>
                    <a:lnTo>
                      <a:pt x="31" y="49"/>
                    </a:lnTo>
                    <a:lnTo>
                      <a:pt x="31" y="49"/>
                    </a:lnTo>
                    <a:lnTo>
                      <a:pt x="29" y="49"/>
                    </a:lnTo>
                    <a:lnTo>
                      <a:pt x="29" y="49"/>
                    </a:lnTo>
                    <a:lnTo>
                      <a:pt x="27" y="49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23" y="46"/>
                    </a:lnTo>
                    <a:lnTo>
                      <a:pt x="23" y="44"/>
                    </a:lnTo>
                    <a:lnTo>
                      <a:pt x="21" y="40"/>
                    </a:lnTo>
                    <a:lnTo>
                      <a:pt x="21" y="40"/>
                    </a:lnTo>
                    <a:lnTo>
                      <a:pt x="21" y="38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4"/>
                    </a:lnTo>
                    <a:lnTo>
                      <a:pt x="23" y="34"/>
                    </a:lnTo>
                    <a:lnTo>
                      <a:pt x="21" y="34"/>
                    </a:lnTo>
                    <a:lnTo>
                      <a:pt x="16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2" y="53"/>
                    </a:lnTo>
                    <a:lnTo>
                      <a:pt x="12" y="53"/>
                    </a:lnTo>
                    <a:lnTo>
                      <a:pt x="10" y="59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0" y="65"/>
                    </a:lnTo>
                    <a:lnTo>
                      <a:pt x="10" y="65"/>
                    </a:lnTo>
                    <a:lnTo>
                      <a:pt x="12" y="67"/>
                    </a:lnTo>
                    <a:lnTo>
                      <a:pt x="12" y="67"/>
                    </a:lnTo>
                    <a:lnTo>
                      <a:pt x="12" y="69"/>
                    </a:lnTo>
                    <a:lnTo>
                      <a:pt x="12" y="70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6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10" y="84"/>
                    </a:lnTo>
                    <a:lnTo>
                      <a:pt x="10" y="84"/>
                    </a:lnTo>
                    <a:lnTo>
                      <a:pt x="10" y="86"/>
                    </a:lnTo>
                    <a:lnTo>
                      <a:pt x="10" y="88"/>
                    </a:lnTo>
                    <a:lnTo>
                      <a:pt x="10" y="88"/>
                    </a:lnTo>
                    <a:lnTo>
                      <a:pt x="10" y="88"/>
                    </a:lnTo>
                    <a:lnTo>
                      <a:pt x="10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4" y="89"/>
                    </a:lnTo>
                    <a:lnTo>
                      <a:pt x="4" y="89"/>
                    </a:lnTo>
                    <a:lnTo>
                      <a:pt x="4" y="91"/>
                    </a:lnTo>
                    <a:lnTo>
                      <a:pt x="4" y="91"/>
                    </a:lnTo>
                    <a:lnTo>
                      <a:pt x="4" y="93"/>
                    </a:lnTo>
                    <a:lnTo>
                      <a:pt x="4" y="93"/>
                    </a:lnTo>
                    <a:lnTo>
                      <a:pt x="4" y="93"/>
                    </a:lnTo>
                    <a:lnTo>
                      <a:pt x="4" y="95"/>
                    </a:lnTo>
                    <a:lnTo>
                      <a:pt x="2" y="97"/>
                    </a:lnTo>
                    <a:lnTo>
                      <a:pt x="4" y="105"/>
                    </a:lnTo>
                    <a:lnTo>
                      <a:pt x="2" y="108"/>
                    </a:lnTo>
                    <a:lnTo>
                      <a:pt x="2" y="110"/>
                    </a:lnTo>
                    <a:lnTo>
                      <a:pt x="0" y="116"/>
                    </a:lnTo>
                    <a:lnTo>
                      <a:pt x="2" y="120"/>
                    </a:lnTo>
                    <a:lnTo>
                      <a:pt x="6" y="137"/>
                    </a:lnTo>
                    <a:lnTo>
                      <a:pt x="8" y="143"/>
                    </a:lnTo>
                    <a:lnTo>
                      <a:pt x="8" y="145"/>
                    </a:lnTo>
                    <a:lnTo>
                      <a:pt x="8" y="147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2" y="150"/>
                    </a:lnTo>
                    <a:lnTo>
                      <a:pt x="10" y="152"/>
                    </a:lnTo>
                    <a:lnTo>
                      <a:pt x="12" y="152"/>
                    </a:lnTo>
                    <a:lnTo>
                      <a:pt x="12" y="154"/>
                    </a:lnTo>
                    <a:lnTo>
                      <a:pt x="14" y="154"/>
                    </a:lnTo>
                    <a:lnTo>
                      <a:pt x="14" y="156"/>
                    </a:lnTo>
                    <a:lnTo>
                      <a:pt x="14" y="156"/>
                    </a:lnTo>
                    <a:lnTo>
                      <a:pt x="14" y="160"/>
                    </a:lnTo>
                    <a:lnTo>
                      <a:pt x="14" y="160"/>
                    </a:lnTo>
                    <a:lnTo>
                      <a:pt x="14" y="164"/>
                    </a:lnTo>
                    <a:lnTo>
                      <a:pt x="14" y="164"/>
                    </a:lnTo>
                    <a:lnTo>
                      <a:pt x="16" y="166"/>
                    </a:lnTo>
                    <a:lnTo>
                      <a:pt x="14" y="167"/>
                    </a:lnTo>
                    <a:lnTo>
                      <a:pt x="12" y="173"/>
                    </a:lnTo>
                    <a:lnTo>
                      <a:pt x="12" y="175"/>
                    </a:lnTo>
                    <a:lnTo>
                      <a:pt x="12" y="181"/>
                    </a:lnTo>
                    <a:lnTo>
                      <a:pt x="14" y="200"/>
                    </a:lnTo>
                    <a:lnTo>
                      <a:pt x="14" y="209"/>
                    </a:lnTo>
                    <a:lnTo>
                      <a:pt x="16" y="213"/>
                    </a:lnTo>
                    <a:lnTo>
                      <a:pt x="18" y="217"/>
                    </a:lnTo>
                    <a:lnTo>
                      <a:pt x="21" y="219"/>
                    </a:lnTo>
                    <a:lnTo>
                      <a:pt x="23" y="221"/>
                    </a:lnTo>
                    <a:lnTo>
                      <a:pt x="25" y="232"/>
                    </a:lnTo>
                    <a:lnTo>
                      <a:pt x="25" y="236"/>
                    </a:lnTo>
                    <a:lnTo>
                      <a:pt x="27" y="238"/>
                    </a:lnTo>
                    <a:lnTo>
                      <a:pt x="31" y="242"/>
                    </a:lnTo>
                    <a:lnTo>
                      <a:pt x="31" y="244"/>
                    </a:lnTo>
                    <a:lnTo>
                      <a:pt x="33" y="245"/>
                    </a:lnTo>
                    <a:lnTo>
                      <a:pt x="33" y="255"/>
                    </a:lnTo>
                    <a:lnTo>
                      <a:pt x="33" y="263"/>
                    </a:lnTo>
                    <a:lnTo>
                      <a:pt x="33" y="266"/>
                    </a:lnTo>
                    <a:lnTo>
                      <a:pt x="35" y="270"/>
                    </a:lnTo>
                    <a:lnTo>
                      <a:pt x="35" y="272"/>
                    </a:lnTo>
                    <a:lnTo>
                      <a:pt x="42" y="316"/>
                    </a:lnTo>
                    <a:lnTo>
                      <a:pt x="42" y="320"/>
                    </a:lnTo>
                    <a:lnTo>
                      <a:pt x="41" y="320"/>
                    </a:lnTo>
                    <a:lnTo>
                      <a:pt x="39" y="320"/>
                    </a:lnTo>
                    <a:lnTo>
                      <a:pt x="37" y="322"/>
                    </a:lnTo>
                    <a:lnTo>
                      <a:pt x="41" y="331"/>
                    </a:lnTo>
                    <a:lnTo>
                      <a:pt x="42" y="341"/>
                    </a:lnTo>
                    <a:lnTo>
                      <a:pt x="42" y="341"/>
                    </a:lnTo>
                    <a:lnTo>
                      <a:pt x="42" y="342"/>
                    </a:lnTo>
                    <a:lnTo>
                      <a:pt x="42" y="342"/>
                    </a:lnTo>
                    <a:lnTo>
                      <a:pt x="44" y="341"/>
                    </a:lnTo>
                    <a:lnTo>
                      <a:pt x="44" y="341"/>
                    </a:lnTo>
                    <a:lnTo>
                      <a:pt x="46" y="341"/>
                    </a:lnTo>
                    <a:lnTo>
                      <a:pt x="46" y="339"/>
                    </a:lnTo>
                    <a:lnTo>
                      <a:pt x="48" y="337"/>
                    </a:lnTo>
                    <a:lnTo>
                      <a:pt x="50" y="337"/>
                    </a:lnTo>
                    <a:lnTo>
                      <a:pt x="52" y="337"/>
                    </a:lnTo>
                    <a:lnTo>
                      <a:pt x="52" y="335"/>
                    </a:lnTo>
                    <a:lnTo>
                      <a:pt x="52" y="333"/>
                    </a:lnTo>
                    <a:lnTo>
                      <a:pt x="52" y="331"/>
                    </a:lnTo>
                    <a:lnTo>
                      <a:pt x="52" y="329"/>
                    </a:lnTo>
                    <a:lnTo>
                      <a:pt x="54" y="325"/>
                    </a:lnTo>
                    <a:lnTo>
                      <a:pt x="54" y="327"/>
                    </a:lnTo>
                    <a:lnTo>
                      <a:pt x="54" y="327"/>
                    </a:lnTo>
                    <a:lnTo>
                      <a:pt x="54" y="325"/>
                    </a:lnTo>
                    <a:lnTo>
                      <a:pt x="54" y="325"/>
                    </a:lnTo>
                    <a:lnTo>
                      <a:pt x="54" y="322"/>
                    </a:lnTo>
                    <a:lnTo>
                      <a:pt x="54" y="320"/>
                    </a:lnTo>
                    <a:lnTo>
                      <a:pt x="56" y="318"/>
                    </a:lnTo>
                    <a:lnTo>
                      <a:pt x="60" y="320"/>
                    </a:lnTo>
                    <a:lnTo>
                      <a:pt x="67" y="325"/>
                    </a:lnTo>
                    <a:lnTo>
                      <a:pt x="75" y="333"/>
                    </a:lnTo>
                    <a:lnTo>
                      <a:pt x="77" y="337"/>
                    </a:lnTo>
                    <a:lnTo>
                      <a:pt x="79" y="341"/>
                    </a:lnTo>
                    <a:lnTo>
                      <a:pt x="79" y="344"/>
                    </a:lnTo>
                    <a:lnTo>
                      <a:pt x="81" y="344"/>
                    </a:lnTo>
                    <a:lnTo>
                      <a:pt x="82" y="344"/>
                    </a:lnTo>
                    <a:lnTo>
                      <a:pt x="82" y="341"/>
                    </a:lnTo>
                    <a:lnTo>
                      <a:pt x="84" y="337"/>
                    </a:lnTo>
                    <a:lnTo>
                      <a:pt x="86" y="337"/>
                    </a:lnTo>
                    <a:lnTo>
                      <a:pt x="88" y="337"/>
                    </a:lnTo>
                    <a:lnTo>
                      <a:pt x="90" y="341"/>
                    </a:lnTo>
                    <a:lnTo>
                      <a:pt x="90" y="341"/>
                    </a:lnTo>
                    <a:lnTo>
                      <a:pt x="90" y="341"/>
                    </a:lnTo>
                    <a:lnTo>
                      <a:pt x="92" y="341"/>
                    </a:lnTo>
                    <a:lnTo>
                      <a:pt x="92" y="341"/>
                    </a:lnTo>
                    <a:lnTo>
                      <a:pt x="92" y="341"/>
                    </a:lnTo>
                    <a:lnTo>
                      <a:pt x="92" y="341"/>
                    </a:lnTo>
                    <a:lnTo>
                      <a:pt x="92" y="339"/>
                    </a:lnTo>
                    <a:lnTo>
                      <a:pt x="92" y="339"/>
                    </a:lnTo>
                    <a:lnTo>
                      <a:pt x="92" y="337"/>
                    </a:lnTo>
                    <a:lnTo>
                      <a:pt x="92" y="337"/>
                    </a:lnTo>
                    <a:lnTo>
                      <a:pt x="92" y="335"/>
                    </a:lnTo>
                    <a:lnTo>
                      <a:pt x="92" y="333"/>
                    </a:lnTo>
                    <a:lnTo>
                      <a:pt x="92" y="331"/>
                    </a:lnTo>
                    <a:lnTo>
                      <a:pt x="94" y="325"/>
                    </a:lnTo>
                    <a:lnTo>
                      <a:pt x="94" y="325"/>
                    </a:lnTo>
                    <a:lnTo>
                      <a:pt x="96" y="325"/>
                    </a:lnTo>
                    <a:lnTo>
                      <a:pt x="98" y="323"/>
                    </a:lnTo>
                    <a:lnTo>
                      <a:pt x="98" y="323"/>
                    </a:lnTo>
                    <a:lnTo>
                      <a:pt x="98" y="314"/>
                    </a:lnTo>
                    <a:lnTo>
                      <a:pt x="98" y="312"/>
                    </a:lnTo>
                    <a:lnTo>
                      <a:pt x="98" y="312"/>
                    </a:lnTo>
                    <a:lnTo>
                      <a:pt x="100" y="312"/>
                    </a:lnTo>
                    <a:lnTo>
                      <a:pt x="102" y="312"/>
                    </a:lnTo>
                    <a:lnTo>
                      <a:pt x="105" y="312"/>
                    </a:lnTo>
                    <a:lnTo>
                      <a:pt x="107" y="312"/>
                    </a:lnTo>
                    <a:lnTo>
                      <a:pt x="109" y="314"/>
                    </a:lnTo>
                    <a:lnTo>
                      <a:pt x="111" y="314"/>
                    </a:lnTo>
                    <a:lnTo>
                      <a:pt x="113" y="314"/>
                    </a:lnTo>
                    <a:lnTo>
                      <a:pt x="111" y="310"/>
                    </a:lnTo>
                    <a:lnTo>
                      <a:pt x="111" y="308"/>
                    </a:lnTo>
                    <a:lnTo>
                      <a:pt x="111" y="308"/>
                    </a:lnTo>
                    <a:lnTo>
                      <a:pt x="111" y="308"/>
                    </a:lnTo>
                    <a:lnTo>
                      <a:pt x="115" y="306"/>
                    </a:lnTo>
                    <a:lnTo>
                      <a:pt x="115" y="306"/>
                    </a:lnTo>
                    <a:lnTo>
                      <a:pt x="117" y="306"/>
                    </a:lnTo>
                    <a:lnTo>
                      <a:pt x="117" y="304"/>
                    </a:lnTo>
                    <a:lnTo>
                      <a:pt x="117" y="303"/>
                    </a:lnTo>
                    <a:lnTo>
                      <a:pt x="117" y="287"/>
                    </a:lnTo>
                    <a:lnTo>
                      <a:pt x="115" y="282"/>
                    </a:lnTo>
                    <a:lnTo>
                      <a:pt x="111" y="276"/>
                    </a:lnTo>
                    <a:lnTo>
                      <a:pt x="109" y="274"/>
                    </a:lnTo>
                    <a:lnTo>
                      <a:pt x="107" y="270"/>
                    </a:lnTo>
                    <a:lnTo>
                      <a:pt x="107" y="266"/>
                    </a:lnTo>
                    <a:lnTo>
                      <a:pt x="109" y="261"/>
                    </a:lnTo>
                    <a:lnTo>
                      <a:pt x="109" y="259"/>
                    </a:lnTo>
                    <a:lnTo>
                      <a:pt x="109" y="255"/>
                    </a:lnTo>
                    <a:lnTo>
                      <a:pt x="105" y="251"/>
                    </a:lnTo>
                    <a:lnTo>
                      <a:pt x="105" y="247"/>
                    </a:lnTo>
                    <a:lnTo>
                      <a:pt x="103" y="245"/>
                    </a:lnTo>
                    <a:lnTo>
                      <a:pt x="105" y="234"/>
                    </a:lnTo>
                    <a:lnTo>
                      <a:pt x="109" y="230"/>
                    </a:lnTo>
                    <a:lnTo>
                      <a:pt x="109" y="230"/>
                    </a:lnTo>
                    <a:lnTo>
                      <a:pt x="111" y="228"/>
                    </a:lnTo>
                    <a:lnTo>
                      <a:pt x="115" y="223"/>
                    </a:lnTo>
                    <a:lnTo>
                      <a:pt x="117" y="219"/>
                    </a:lnTo>
                    <a:lnTo>
                      <a:pt x="117" y="217"/>
                    </a:lnTo>
                    <a:lnTo>
                      <a:pt x="117" y="215"/>
                    </a:lnTo>
                    <a:lnTo>
                      <a:pt x="115" y="209"/>
                    </a:lnTo>
                    <a:lnTo>
                      <a:pt x="113" y="207"/>
                    </a:lnTo>
                    <a:lnTo>
                      <a:pt x="113" y="204"/>
                    </a:lnTo>
                    <a:lnTo>
                      <a:pt x="113" y="200"/>
                    </a:lnTo>
                    <a:lnTo>
                      <a:pt x="115" y="196"/>
                    </a:lnTo>
                    <a:lnTo>
                      <a:pt x="117" y="196"/>
                    </a:lnTo>
                    <a:lnTo>
                      <a:pt x="121" y="196"/>
                    </a:lnTo>
                    <a:lnTo>
                      <a:pt x="123" y="198"/>
                    </a:lnTo>
                    <a:lnTo>
                      <a:pt x="124" y="202"/>
                    </a:lnTo>
                    <a:lnTo>
                      <a:pt x="126" y="204"/>
                    </a:lnTo>
                    <a:lnTo>
                      <a:pt x="130" y="204"/>
                    </a:lnTo>
                    <a:lnTo>
                      <a:pt x="132" y="202"/>
                    </a:lnTo>
                    <a:lnTo>
                      <a:pt x="136" y="200"/>
                    </a:lnTo>
                    <a:lnTo>
                      <a:pt x="138" y="196"/>
                    </a:lnTo>
                    <a:lnTo>
                      <a:pt x="142" y="186"/>
                    </a:lnTo>
                    <a:lnTo>
                      <a:pt x="142" y="185"/>
                    </a:lnTo>
                    <a:lnTo>
                      <a:pt x="142" y="183"/>
                    </a:lnTo>
                    <a:lnTo>
                      <a:pt x="142" y="181"/>
                    </a:lnTo>
                    <a:lnTo>
                      <a:pt x="144" y="171"/>
                    </a:lnTo>
                    <a:lnTo>
                      <a:pt x="144" y="166"/>
                    </a:lnTo>
                    <a:lnTo>
                      <a:pt x="144" y="164"/>
                    </a:lnTo>
                    <a:lnTo>
                      <a:pt x="144" y="162"/>
                    </a:lnTo>
                    <a:lnTo>
                      <a:pt x="145" y="158"/>
                    </a:lnTo>
                    <a:lnTo>
                      <a:pt x="147" y="156"/>
                    </a:lnTo>
                    <a:lnTo>
                      <a:pt x="147" y="156"/>
                    </a:lnTo>
                    <a:lnTo>
                      <a:pt x="147" y="154"/>
                    </a:lnTo>
                    <a:lnTo>
                      <a:pt x="145" y="147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6" name="Freeform 18">
                <a:extLst>
                  <a:ext uri="{FF2B5EF4-FFF2-40B4-BE49-F238E27FC236}">
                    <a16:creationId xmlns:a16="http://schemas.microsoft.com/office/drawing/2014/main" id="{E7849598-A87E-4B22-B063-AE87F7CBB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2732" y="4007324"/>
                <a:ext cx="600075" cy="239713"/>
              </a:xfrm>
              <a:custGeom>
                <a:avLst/>
                <a:gdLst>
                  <a:gd name="T0" fmla="*/ 376 w 378"/>
                  <a:gd name="T1" fmla="*/ 111 h 151"/>
                  <a:gd name="T2" fmla="*/ 374 w 378"/>
                  <a:gd name="T3" fmla="*/ 101 h 151"/>
                  <a:gd name="T4" fmla="*/ 361 w 378"/>
                  <a:gd name="T5" fmla="*/ 90 h 151"/>
                  <a:gd name="T6" fmla="*/ 349 w 378"/>
                  <a:gd name="T7" fmla="*/ 82 h 151"/>
                  <a:gd name="T8" fmla="*/ 359 w 378"/>
                  <a:gd name="T9" fmla="*/ 73 h 151"/>
                  <a:gd name="T10" fmla="*/ 363 w 378"/>
                  <a:gd name="T11" fmla="*/ 67 h 151"/>
                  <a:gd name="T12" fmla="*/ 353 w 378"/>
                  <a:gd name="T13" fmla="*/ 69 h 151"/>
                  <a:gd name="T14" fmla="*/ 332 w 378"/>
                  <a:gd name="T15" fmla="*/ 50 h 151"/>
                  <a:gd name="T16" fmla="*/ 319 w 378"/>
                  <a:gd name="T17" fmla="*/ 48 h 151"/>
                  <a:gd name="T18" fmla="*/ 298 w 378"/>
                  <a:gd name="T19" fmla="*/ 55 h 151"/>
                  <a:gd name="T20" fmla="*/ 298 w 378"/>
                  <a:gd name="T21" fmla="*/ 38 h 151"/>
                  <a:gd name="T22" fmla="*/ 300 w 378"/>
                  <a:gd name="T23" fmla="*/ 19 h 151"/>
                  <a:gd name="T24" fmla="*/ 309 w 378"/>
                  <a:gd name="T25" fmla="*/ 4 h 151"/>
                  <a:gd name="T26" fmla="*/ 292 w 378"/>
                  <a:gd name="T27" fmla="*/ 2 h 151"/>
                  <a:gd name="T28" fmla="*/ 266 w 378"/>
                  <a:gd name="T29" fmla="*/ 6 h 151"/>
                  <a:gd name="T30" fmla="*/ 246 w 378"/>
                  <a:gd name="T31" fmla="*/ 6 h 151"/>
                  <a:gd name="T32" fmla="*/ 239 w 378"/>
                  <a:gd name="T33" fmla="*/ 19 h 151"/>
                  <a:gd name="T34" fmla="*/ 231 w 378"/>
                  <a:gd name="T35" fmla="*/ 16 h 151"/>
                  <a:gd name="T36" fmla="*/ 227 w 378"/>
                  <a:gd name="T37" fmla="*/ 6 h 151"/>
                  <a:gd name="T38" fmla="*/ 218 w 378"/>
                  <a:gd name="T39" fmla="*/ 19 h 151"/>
                  <a:gd name="T40" fmla="*/ 214 w 378"/>
                  <a:gd name="T41" fmla="*/ 29 h 151"/>
                  <a:gd name="T42" fmla="*/ 205 w 378"/>
                  <a:gd name="T43" fmla="*/ 31 h 151"/>
                  <a:gd name="T44" fmla="*/ 182 w 378"/>
                  <a:gd name="T45" fmla="*/ 50 h 151"/>
                  <a:gd name="T46" fmla="*/ 176 w 378"/>
                  <a:gd name="T47" fmla="*/ 33 h 151"/>
                  <a:gd name="T48" fmla="*/ 159 w 378"/>
                  <a:gd name="T49" fmla="*/ 33 h 151"/>
                  <a:gd name="T50" fmla="*/ 155 w 378"/>
                  <a:gd name="T51" fmla="*/ 27 h 151"/>
                  <a:gd name="T52" fmla="*/ 149 w 378"/>
                  <a:gd name="T53" fmla="*/ 21 h 151"/>
                  <a:gd name="T54" fmla="*/ 128 w 378"/>
                  <a:gd name="T55" fmla="*/ 19 h 151"/>
                  <a:gd name="T56" fmla="*/ 123 w 378"/>
                  <a:gd name="T57" fmla="*/ 17 h 151"/>
                  <a:gd name="T58" fmla="*/ 105 w 378"/>
                  <a:gd name="T59" fmla="*/ 19 h 151"/>
                  <a:gd name="T60" fmla="*/ 100 w 378"/>
                  <a:gd name="T61" fmla="*/ 19 h 151"/>
                  <a:gd name="T62" fmla="*/ 94 w 378"/>
                  <a:gd name="T63" fmla="*/ 21 h 151"/>
                  <a:gd name="T64" fmla="*/ 86 w 378"/>
                  <a:gd name="T65" fmla="*/ 10 h 151"/>
                  <a:gd name="T66" fmla="*/ 71 w 378"/>
                  <a:gd name="T67" fmla="*/ 12 h 151"/>
                  <a:gd name="T68" fmla="*/ 42 w 378"/>
                  <a:gd name="T69" fmla="*/ 17 h 151"/>
                  <a:gd name="T70" fmla="*/ 29 w 378"/>
                  <a:gd name="T71" fmla="*/ 31 h 151"/>
                  <a:gd name="T72" fmla="*/ 21 w 378"/>
                  <a:gd name="T73" fmla="*/ 44 h 151"/>
                  <a:gd name="T74" fmla="*/ 20 w 378"/>
                  <a:gd name="T75" fmla="*/ 59 h 151"/>
                  <a:gd name="T76" fmla="*/ 27 w 378"/>
                  <a:gd name="T77" fmla="*/ 67 h 151"/>
                  <a:gd name="T78" fmla="*/ 16 w 378"/>
                  <a:gd name="T79" fmla="*/ 73 h 151"/>
                  <a:gd name="T80" fmla="*/ 12 w 378"/>
                  <a:gd name="T81" fmla="*/ 86 h 151"/>
                  <a:gd name="T82" fmla="*/ 0 w 378"/>
                  <a:gd name="T83" fmla="*/ 103 h 151"/>
                  <a:gd name="T84" fmla="*/ 61 w 378"/>
                  <a:gd name="T85" fmla="*/ 126 h 151"/>
                  <a:gd name="T86" fmla="*/ 107 w 378"/>
                  <a:gd name="T87" fmla="*/ 128 h 151"/>
                  <a:gd name="T88" fmla="*/ 121 w 378"/>
                  <a:gd name="T89" fmla="*/ 128 h 151"/>
                  <a:gd name="T90" fmla="*/ 149 w 378"/>
                  <a:gd name="T91" fmla="*/ 128 h 151"/>
                  <a:gd name="T92" fmla="*/ 206 w 378"/>
                  <a:gd name="T93" fmla="*/ 132 h 151"/>
                  <a:gd name="T94" fmla="*/ 220 w 378"/>
                  <a:gd name="T95" fmla="*/ 128 h 151"/>
                  <a:gd name="T96" fmla="*/ 235 w 378"/>
                  <a:gd name="T97" fmla="*/ 134 h 151"/>
                  <a:gd name="T98" fmla="*/ 243 w 378"/>
                  <a:gd name="T99" fmla="*/ 128 h 151"/>
                  <a:gd name="T100" fmla="*/ 277 w 378"/>
                  <a:gd name="T101" fmla="*/ 126 h 151"/>
                  <a:gd name="T102" fmla="*/ 292 w 378"/>
                  <a:gd name="T103" fmla="*/ 132 h 151"/>
                  <a:gd name="T104" fmla="*/ 302 w 378"/>
                  <a:gd name="T105" fmla="*/ 135 h 151"/>
                  <a:gd name="T106" fmla="*/ 319 w 378"/>
                  <a:gd name="T107" fmla="*/ 145 h 151"/>
                  <a:gd name="T108" fmla="*/ 342 w 378"/>
                  <a:gd name="T109" fmla="*/ 135 h 151"/>
                  <a:gd name="T110" fmla="*/ 348 w 378"/>
                  <a:gd name="T111" fmla="*/ 130 h 151"/>
                  <a:gd name="T112" fmla="*/ 378 w 378"/>
                  <a:gd name="T113" fmla="*/ 118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78" h="151">
                    <a:moveTo>
                      <a:pt x="378" y="118"/>
                    </a:moveTo>
                    <a:lnTo>
                      <a:pt x="378" y="116"/>
                    </a:lnTo>
                    <a:lnTo>
                      <a:pt x="376" y="114"/>
                    </a:lnTo>
                    <a:lnTo>
                      <a:pt x="376" y="114"/>
                    </a:lnTo>
                    <a:lnTo>
                      <a:pt x="376" y="113"/>
                    </a:lnTo>
                    <a:lnTo>
                      <a:pt x="376" y="113"/>
                    </a:lnTo>
                    <a:lnTo>
                      <a:pt x="376" y="111"/>
                    </a:lnTo>
                    <a:lnTo>
                      <a:pt x="376" y="111"/>
                    </a:lnTo>
                    <a:lnTo>
                      <a:pt x="376" y="109"/>
                    </a:lnTo>
                    <a:lnTo>
                      <a:pt x="376" y="107"/>
                    </a:lnTo>
                    <a:lnTo>
                      <a:pt x="378" y="105"/>
                    </a:lnTo>
                    <a:lnTo>
                      <a:pt x="376" y="103"/>
                    </a:lnTo>
                    <a:lnTo>
                      <a:pt x="376" y="103"/>
                    </a:lnTo>
                    <a:lnTo>
                      <a:pt x="374" y="101"/>
                    </a:lnTo>
                    <a:lnTo>
                      <a:pt x="372" y="99"/>
                    </a:lnTo>
                    <a:lnTo>
                      <a:pt x="372" y="99"/>
                    </a:lnTo>
                    <a:lnTo>
                      <a:pt x="370" y="95"/>
                    </a:lnTo>
                    <a:lnTo>
                      <a:pt x="365" y="92"/>
                    </a:lnTo>
                    <a:lnTo>
                      <a:pt x="363" y="92"/>
                    </a:lnTo>
                    <a:lnTo>
                      <a:pt x="363" y="90"/>
                    </a:lnTo>
                    <a:lnTo>
                      <a:pt x="361" y="90"/>
                    </a:lnTo>
                    <a:lnTo>
                      <a:pt x="357" y="88"/>
                    </a:lnTo>
                    <a:lnTo>
                      <a:pt x="357" y="88"/>
                    </a:lnTo>
                    <a:lnTo>
                      <a:pt x="355" y="88"/>
                    </a:lnTo>
                    <a:lnTo>
                      <a:pt x="355" y="86"/>
                    </a:lnTo>
                    <a:lnTo>
                      <a:pt x="353" y="84"/>
                    </a:lnTo>
                    <a:lnTo>
                      <a:pt x="351" y="84"/>
                    </a:lnTo>
                    <a:lnTo>
                      <a:pt x="349" y="82"/>
                    </a:lnTo>
                    <a:lnTo>
                      <a:pt x="351" y="82"/>
                    </a:lnTo>
                    <a:lnTo>
                      <a:pt x="351" y="82"/>
                    </a:lnTo>
                    <a:lnTo>
                      <a:pt x="353" y="80"/>
                    </a:lnTo>
                    <a:lnTo>
                      <a:pt x="355" y="78"/>
                    </a:lnTo>
                    <a:lnTo>
                      <a:pt x="357" y="76"/>
                    </a:lnTo>
                    <a:lnTo>
                      <a:pt x="357" y="75"/>
                    </a:lnTo>
                    <a:lnTo>
                      <a:pt x="359" y="73"/>
                    </a:lnTo>
                    <a:lnTo>
                      <a:pt x="359" y="73"/>
                    </a:lnTo>
                    <a:lnTo>
                      <a:pt x="361" y="71"/>
                    </a:lnTo>
                    <a:lnTo>
                      <a:pt x="361" y="71"/>
                    </a:lnTo>
                    <a:lnTo>
                      <a:pt x="363" y="69"/>
                    </a:lnTo>
                    <a:lnTo>
                      <a:pt x="363" y="69"/>
                    </a:lnTo>
                    <a:lnTo>
                      <a:pt x="363" y="67"/>
                    </a:lnTo>
                    <a:lnTo>
                      <a:pt x="363" y="67"/>
                    </a:lnTo>
                    <a:lnTo>
                      <a:pt x="361" y="65"/>
                    </a:lnTo>
                    <a:lnTo>
                      <a:pt x="361" y="65"/>
                    </a:lnTo>
                    <a:lnTo>
                      <a:pt x="359" y="65"/>
                    </a:lnTo>
                    <a:lnTo>
                      <a:pt x="357" y="67"/>
                    </a:lnTo>
                    <a:lnTo>
                      <a:pt x="355" y="69"/>
                    </a:lnTo>
                    <a:lnTo>
                      <a:pt x="355" y="69"/>
                    </a:lnTo>
                    <a:lnTo>
                      <a:pt x="353" y="69"/>
                    </a:lnTo>
                    <a:lnTo>
                      <a:pt x="351" y="71"/>
                    </a:lnTo>
                    <a:lnTo>
                      <a:pt x="351" y="69"/>
                    </a:lnTo>
                    <a:lnTo>
                      <a:pt x="351" y="69"/>
                    </a:lnTo>
                    <a:lnTo>
                      <a:pt x="351" y="69"/>
                    </a:lnTo>
                    <a:lnTo>
                      <a:pt x="342" y="59"/>
                    </a:lnTo>
                    <a:lnTo>
                      <a:pt x="336" y="54"/>
                    </a:lnTo>
                    <a:lnTo>
                      <a:pt x="332" y="50"/>
                    </a:lnTo>
                    <a:lnTo>
                      <a:pt x="328" y="46"/>
                    </a:lnTo>
                    <a:lnTo>
                      <a:pt x="327" y="46"/>
                    </a:lnTo>
                    <a:lnTo>
                      <a:pt x="325" y="44"/>
                    </a:lnTo>
                    <a:lnTo>
                      <a:pt x="323" y="46"/>
                    </a:lnTo>
                    <a:lnTo>
                      <a:pt x="321" y="46"/>
                    </a:lnTo>
                    <a:lnTo>
                      <a:pt x="319" y="48"/>
                    </a:lnTo>
                    <a:lnTo>
                      <a:pt x="319" y="48"/>
                    </a:lnTo>
                    <a:lnTo>
                      <a:pt x="317" y="50"/>
                    </a:lnTo>
                    <a:lnTo>
                      <a:pt x="311" y="50"/>
                    </a:lnTo>
                    <a:lnTo>
                      <a:pt x="306" y="52"/>
                    </a:lnTo>
                    <a:lnTo>
                      <a:pt x="302" y="54"/>
                    </a:lnTo>
                    <a:lnTo>
                      <a:pt x="300" y="55"/>
                    </a:lnTo>
                    <a:lnTo>
                      <a:pt x="300" y="55"/>
                    </a:lnTo>
                    <a:lnTo>
                      <a:pt x="298" y="55"/>
                    </a:lnTo>
                    <a:lnTo>
                      <a:pt x="298" y="55"/>
                    </a:lnTo>
                    <a:lnTo>
                      <a:pt x="298" y="54"/>
                    </a:lnTo>
                    <a:lnTo>
                      <a:pt x="298" y="46"/>
                    </a:lnTo>
                    <a:lnTo>
                      <a:pt x="298" y="44"/>
                    </a:lnTo>
                    <a:lnTo>
                      <a:pt x="298" y="42"/>
                    </a:lnTo>
                    <a:lnTo>
                      <a:pt x="298" y="40"/>
                    </a:lnTo>
                    <a:lnTo>
                      <a:pt x="298" y="38"/>
                    </a:lnTo>
                    <a:lnTo>
                      <a:pt x="298" y="36"/>
                    </a:lnTo>
                    <a:lnTo>
                      <a:pt x="300" y="33"/>
                    </a:lnTo>
                    <a:lnTo>
                      <a:pt x="302" y="29"/>
                    </a:lnTo>
                    <a:lnTo>
                      <a:pt x="304" y="23"/>
                    </a:lnTo>
                    <a:lnTo>
                      <a:pt x="304" y="21"/>
                    </a:lnTo>
                    <a:lnTo>
                      <a:pt x="304" y="21"/>
                    </a:lnTo>
                    <a:lnTo>
                      <a:pt x="300" y="19"/>
                    </a:lnTo>
                    <a:lnTo>
                      <a:pt x="300" y="19"/>
                    </a:lnTo>
                    <a:lnTo>
                      <a:pt x="300" y="17"/>
                    </a:lnTo>
                    <a:lnTo>
                      <a:pt x="298" y="16"/>
                    </a:lnTo>
                    <a:lnTo>
                      <a:pt x="300" y="16"/>
                    </a:lnTo>
                    <a:lnTo>
                      <a:pt x="300" y="14"/>
                    </a:lnTo>
                    <a:lnTo>
                      <a:pt x="300" y="14"/>
                    </a:lnTo>
                    <a:lnTo>
                      <a:pt x="309" y="4"/>
                    </a:lnTo>
                    <a:lnTo>
                      <a:pt x="311" y="2"/>
                    </a:lnTo>
                    <a:lnTo>
                      <a:pt x="311" y="0"/>
                    </a:lnTo>
                    <a:lnTo>
                      <a:pt x="309" y="0"/>
                    </a:lnTo>
                    <a:lnTo>
                      <a:pt x="309" y="0"/>
                    </a:lnTo>
                    <a:lnTo>
                      <a:pt x="298" y="0"/>
                    </a:lnTo>
                    <a:lnTo>
                      <a:pt x="296" y="0"/>
                    </a:lnTo>
                    <a:lnTo>
                      <a:pt x="292" y="2"/>
                    </a:lnTo>
                    <a:lnTo>
                      <a:pt x="285" y="4"/>
                    </a:lnTo>
                    <a:lnTo>
                      <a:pt x="283" y="4"/>
                    </a:lnTo>
                    <a:lnTo>
                      <a:pt x="281" y="4"/>
                    </a:lnTo>
                    <a:lnTo>
                      <a:pt x="279" y="4"/>
                    </a:lnTo>
                    <a:lnTo>
                      <a:pt x="271" y="6"/>
                    </a:lnTo>
                    <a:lnTo>
                      <a:pt x="267" y="6"/>
                    </a:lnTo>
                    <a:lnTo>
                      <a:pt x="266" y="6"/>
                    </a:lnTo>
                    <a:lnTo>
                      <a:pt x="264" y="6"/>
                    </a:lnTo>
                    <a:lnTo>
                      <a:pt x="262" y="4"/>
                    </a:lnTo>
                    <a:lnTo>
                      <a:pt x="258" y="0"/>
                    </a:lnTo>
                    <a:lnTo>
                      <a:pt x="256" y="0"/>
                    </a:lnTo>
                    <a:lnTo>
                      <a:pt x="252" y="0"/>
                    </a:lnTo>
                    <a:lnTo>
                      <a:pt x="250" y="0"/>
                    </a:lnTo>
                    <a:lnTo>
                      <a:pt x="246" y="6"/>
                    </a:lnTo>
                    <a:lnTo>
                      <a:pt x="245" y="6"/>
                    </a:lnTo>
                    <a:lnTo>
                      <a:pt x="245" y="8"/>
                    </a:lnTo>
                    <a:lnTo>
                      <a:pt x="245" y="12"/>
                    </a:lnTo>
                    <a:lnTo>
                      <a:pt x="243" y="14"/>
                    </a:lnTo>
                    <a:lnTo>
                      <a:pt x="241" y="16"/>
                    </a:lnTo>
                    <a:lnTo>
                      <a:pt x="241" y="17"/>
                    </a:lnTo>
                    <a:lnTo>
                      <a:pt x="239" y="19"/>
                    </a:lnTo>
                    <a:lnTo>
                      <a:pt x="235" y="21"/>
                    </a:lnTo>
                    <a:lnTo>
                      <a:pt x="233" y="21"/>
                    </a:lnTo>
                    <a:lnTo>
                      <a:pt x="231" y="21"/>
                    </a:lnTo>
                    <a:lnTo>
                      <a:pt x="231" y="21"/>
                    </a:lnTo>
                    <a:lnTo>
                      <a:pt x="231" y="19"/>
                    </a:lnTo>
                    <a:lnTo>
                      <a:pt x="231" y="17"/>
                    </a:lnTo>
                    <a:lnTo>
                      <a:pt x="231" y="16"/>
                    </a:lnTo>
                    <a:lnTo>
                      <a:pt x="233" y="14"/>
                    </a:lnTo>
                    <a:lnTo>
                      <a:pt x="233" y="12"/>
                    </a:lnTo>
                    <a:lnTo>
                      <a:pt x="233" y="12"/>
                    </a:lnTo>
                    <a:lnTo>
                      <a:pt x="233" y="10"/>
                    </a:lnTo>
                    <a:lnTo>
                      <a:pt x="231" y="8"/>
                    </a:lnTo>
                    <a:lnTo>
                      <a:pt x="229" y="8"/>
                    </a:lnTo>
                    <a:lnTo>
                      <a:pt x="227" y="6"/>
                    </a:lnTo>
                    <a:lnTo>
                      <a:pt x="225" y="8"/>
                    </a:lnTo>
                    <a:lnTo>
                      <a:pt x="225" y="8"/>
                    </a:lnTo>
                    <a:lnTo>
                      <a:pt x="224" y="12"/>
                    </a:lnTo>
                    <a:lnTo>
                      <a:pt x="224" y="12"/>
                    </a:lnTo>
                    <a:lnTo>
                      <a:pt x="222" y="14"/>
                    </a:lnTo>
                    <a:lnTo>
                      <a:pt x="220" y="17"/>
                    </a:lnTo>
                    <a:lnTo>
                      <a:pt x="218" y="19"/>
                    </a:lnTo>
                    <a:lnTo>
                      <a:pt x="214" y="23"/>
                    </a:lnTo>
                    <a:lnTo>
                      <a:pt x="214" y="25"/>
                    </a:lnTo>
                    <a:lnTo>
                      <a:pt x="210" y="27"/>
                    </a:lnTo>
                    <a:lnTo>
                      <a:pt x="210" y="27"/>
                    </a:lnTo>
                    <a:lnTo>
                      <a:pt x="210" y="29"/>
                    </a:lnTo>
                    <a:lnTo>
                      <a:pt x="212" y="29"/>
                    </a:lnTo>
                    <a:lnTo>
                      <a:pt x="214" y="29"/>
                    </a:lnTo>
                    <a:lnTo>
                      <a:pt x="214" y="29"/>
                    </a:lnTo>
                    <a:lnTo>
                      <a:pt x="218" y="25"/>
                    </a:lnTo>
                    <a:lnTo>
                      <a:pt x="218" y="25"/>
                    </a:lnTo>
                    <a:lnTo>
                      <a:pt x="218" y="27"/>
                    </a:lnTo>
                    <a:lnTo>
                      <a:pt x="218" y="27"/>
                    </a:lnTo>
                    <a:lnTo>
                      <a:pt x="210" y="31"/>
                    </a:lnTo>
                    <a:lnTo>
                      <a:pt x="205" y="31"/>
                    </a:lnTo>
                    <a:lnTo>
                      <a:pt x="197" y="35"/>
                    </a:lnTo>
                    <a:lnTo>
                      <a:pt x="195" y="35"/>
                    </a:lnTo>
                    <a:lnTo>
                      <a:pt x="193" y="36"/>
                    </a:lnTo>
                    <a:lnTo>
                      <a:pt x="191" y="40"/>
                    </a:lnTo>
                    <a:lnTo>
                      <a:pt x="185" y="46"/>
                    </a:lnTo>
                    <a:lnTo>
                      <a:pt x="184" y="48"/>
                    </a:lnTo>
                    <a:lnTo>
                      <a:pt x="182" y="50"/>
                    </a:lnTo>
                    <a:lnTo>
                      <a:pt x="180" y="50"/>
                    </a:lnTo>
                    <a:lnTo>
                      <a:pt x="178" y="48"/>
                    </a:lnTo>
                    <a:lnTo>
                      <a:pt x="176" y="46"/>
                    </a:lnTo>
                    <a:lnTo>
                      <a:pt x="176" y="40"/>
                    </a:lnTo>
                    <a:lnTo>
                      <a:pt x="176" y="38"/>
                    </a:lnTo>
                    <a:lnTo>
                      <a:pt x="176" y="36"/>
                    </a:lnTo>
                    <a:lnTo>
                      <a:pt x="176" y="33"/>
                    </a:lnTo>
                    <a:lnTo>
                      <a:pt x="176" y="31"/>
                    </a:lnTo>
                    <a:lnTo>
                      <a:pt x="174" y="31"/>
                    </a:lnTo>
                    <a:lnTo>
                      <a:pt x="164" y="35"/>
                    </a:lnTo>
                    <a:lnTo>
                      <a:pt x="163" y="35"/>
                    </a:lnTo>
                    <a:lnTo>
                      <a:pt x="161" y="35"/>
                    </a:lnTo>
                    <a:lnTo>
                      <a:pt x="161" y="33"/>
                    </a:lnTo>
                    <a:lnTo>
                      <a:pt x="159" y="33"/>
                    </a:lnTo>
                    <a:lnTo>
                      <a:pt x="159" y="33"/>
                    </a:lnTo>
                    <a:lnTo>
                      <a:pt x="157" y="35"/>
                    </a:lnTo>
                    <a:lnTo>
                      <a:pt x="155" y="35"/>
                    </a:lnTo>
                    <a:lnTo>
                      <a:pt x="155" y="35"/>
                    </a:lnTo>
                    <a:lnTo>
                      <a:pt x="155" y="33"/>
                    </a:lnTo>
                    <a:lnTo>
                      <a:pt x="155" y="29"/>
                    </a:lnTo>
                    <a:lnTo>
                      <a:pt x="155" y="27"/>
                    </a:lnTo>
                    <a:lnTo>
                      <a:pt x="155" y="25"/>
                    </a:lnTo>
                    <a:lnTo>
                      <a:pt x="155" y="25"/>
                    </a:lnTo>
                    <a:lnTo>
                      <a:pt x="153" y="23"/>
                    </a:lnTo>
                    <a:lnTo>
                      <a:pt x="153" y="23"/>
                    </a:lnTo>
                    <a:lnTo>
                      <a:pt x="151" y="23"/>
                    </a:lnTo>
                    <a:lnTo>
                      <a:pt x="149" y="23"/>
                    </a:lnTo>
                    <a:lnTo>
                      <a:pt x="149" y="21"/>
                    </a:lnTo>
                    <a:lnTo>
                      <a:pt x="149" y="19"/>
                    </a:lnTo>
                    <a:lnTo>
                      <a:pt x="147" y="19"/>
                    </a:lnTo>
                    <a:lnTo>
                      <a:pt x="142" y="19"/>
                    </a:lnTo>
                    <a:lnTo>
                      <a:pt x="140" y="19"/>
                    </a:lnTo>
                    <a:lnTo>
                      <a:pt x="136" y="19"/>
                    </a:lnTo>
                    <a:lnTo>
                      <a:pt x="130" y="19"/>
                    </a:lnTo>
                    <a:lnTo>
                      <a:pt x="128" y="19"/>
                    </a:lnTo>
                    <a:lnTo>
                      <a:pt x="124" y="21"/>
                    </a:lnTo>
                    <a:lnTo>
                      <a:pt x="124" y="23"/>
                    </a:lnTo>
                    <a:lnTo>
                      <a:pt x="123" y="21"/>
                    </a:lnTo>
                    <a:lnTo>
                      <a:pt x="123" y="21"/>
                    </a:lnTo>
                    <a:lnTo>
                      <a:pt x="123" y="17"/>
                    </a:lnTo>
                    <a:lnTo>
                      <a:pt x="123" y="17"/>
                    </a:lnTo>
                    <a:lnTo>
                      <a:pt x="123" y="17"/>
                    </a:lnTo>
                    <a:lnTo>
                      <a:pt x="121" y="17"/>
                    </a:lnTo>
                    <a:lnTo>
                      <a:pt x="113" y="19"/>
                    </a:lnTo>
                    <a:lnTo>
                      <a:pt x="109" y="19"/>
                    </a:lnTo>
                    <a:lnTo>
                      <a:pt x="107" y="21"/>
                    </a:lnTo>
                    <a:lnTo>
                      <a:pt x="105" y="21"/>
                    </a:lnTo>
                    <a:lnTo>
                      <a:pt x="105" y="21"/>
                    </a:lnTo>
                    <a:lnTo>
                      <a:pt x="105" y="19"/>
                    </a:lnTo>
                    <a:lnTo>
                      <a:pt x="105" y="17"/>
                    </a:lnTo>
                    <a:lnTo>
                      <a:pt x="105" y="17"/>
                    </a:lnTo>
                    <a:lnTo>
                      <a:pt x="103" y="16"/>
                    </a:lnTo>
                    <a:lnTo>
                      <a:pt x="103" y="16"/>
                    </a:lnTo>
                    <a:lnTo>
                      <a:pt x="102" y="17"/>
                    </a:lnTo>
                    <a:lnTo>
                      <a:pt x="102" y="19"/>
                    </a:lnTo>
                    <a:lnTo>
                      <a:pt x="100" y="19"/>
                    </a:lnTo>
                    <a:lnTo>
                      <a:pt x="100" y="21"/>
                    </a:lnTo>
                    <a:lnTo>
                      <a:pt x="94" y="25"/>
                    </a:lnTo>
                    <a:lnTo>
                      <a:pt x="94" y="25"/>
                    </a:lnTo>
                    <a:lnTo>
                      <a:pt x="92" y="25"/>
                    </a:lnTo>
                    <a:lnTo>
                      <a:pt x="92" y="23"/>
                    </a:lnTo>
                    <a:lnTo>
                      <a:pt x="94" y="23"/>
                    </a:lnTo>
                    <a:lnTo>
                      <a:pt x="94" y="21"/>
                    </a:lnTo>
                    <a:lnTo>
                      <a:pt x="96" y="19"/>
                    </a:lnTo>
                    <a:lnTo>
                      <a:pt x="96" y="17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0" y="12"/>
                    </a:lnTo>
                    <a:lnTo>
                      <a:pt x="88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4" y="10"/>
                    </a:lnTo>
                    <a:lnTo>
                      <a:pt x="82" y="10"/>
                    </a:lnTo>
                    <a:lnTo>
                      <a:pt x="77" y="10"/>
                    </a:lnTo>
                    <a:lnTo>
                      <a:pt x="75" y="10"/>
                    </a:lnTo>
                    <a:lnTo>
                      <a:pt x="73" y="10"/>
                    </a:lnTo>
                    <a:lnTo>
                      <a:pt x="71" y="12"/>
                    </a:lnTo>
                    <a:lnTo>
                      <a:pt x="69" y="14"/>
                    </a:lnTo>
                    <a:lnTo>
                      <a:pt x="67" y="14"/>
                    </a:lnTo>
                    <a:lnTo>
                      <a:pt x="67" y="14"/>
                    </a:lnTo>
                    <a:lnTo>
                      <a:pt x="63" y="16"/>
                    </a:lnTo>
                    <a:lnTo>
                      <a:pt x="61" y="16"/>
                    </a:lnTo>
                    <a:lnTo>
                      <a:pt x="54" y="16"/>
                    </a:lnTo>
                    <a:lnTo>
                      <a:pt x="42" y="17"/>
                    </a:lnTo>
                    <a:lnTo>
                      <a:pt x="41" y="19"/>
                    </a:lnTo>
                    <a:lnTo>
                      <a:pt x="41" y="19"/>
                    </a:lnTo>
                    <a:lnTo>
                      <a:pt x="37" y="23"/>
                    </a:lnTo>
                    <a:lnTo>
                      <a:pt x="33" y="25"/>
                    </a:lnTo>
                    <a:lnTo>
                      <a:pt x="31" y="27"/>
                    </a:lnTo>
                    <a:lnTo>
                      <a:pt x="31" y="29"/>
                    </a:lnTo>
                    <a:lnTo>
                      <a:pt x="29" y="31"/>
                    </a:lnTo>
                    <a:lnTo>
                      <a:pt x="29" y="33"/>
                    </a:lnTo>
                    <a:lnTo>
                      <a:pt x="25" y="36"/>
                    </a:lnTo>
                    <a:lnTo>
                      <a:pt x="23" y="38"/>
                    </a:lnTo>
                    <a:lnTo>
                      <a:pt x="23" y="40"/>
                    </a:lnTo>
                    <a:lnTo>
                      <a:pt x="23" y="42"/>
                    </a:lnTo>
                    <a:lnTo>
                      <a:pt x="23" y="44"/>
                    </a:lnTo>
                    <a:lnTo>
                      <a:pt x="21" y="44"/>
                    </a:lnTo>
                    <a:lnTo>
                      <a:pt x="21" y="46"/>
                    </a:lnTo>
                    <a:lnTo>
                      <a:pt x="20" y="48"/>
                    </a:lnTo>
                    <a:lnTo>
                      <a:pt x="20" y="50"/>
                    </a:lnTo>
                    <a:lnTo>
                      <a:pt x="20" y="52"/>
                    </a:lnTo>
                    <a:lnTo>
                      <a:pt x="20" y="54"/>
                    </a:lnTo>
                    <a:lnTo>
                      <a:pt x="20" y="55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1" y="61"/>
                    </a:lnTo>
                    <a:lnTo>
                      <a:pt x="21" y="63"/>
                    </a:lnTo>
                    <a:lnTo>
                      <a:pt x="25" y="65"/>
                    </a:lnTo>
                    <a:lnTo>
                      <a:pt x="25" y="67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5" y="71"/>
                    </a:lnTo>
                    <a:lnTo>
                      <a:pt x="25" y="71"/>
                    </a:lnTo>
                    <a:lnTo>
                      <a:pt x="23" y="73"/>
                    </a:lnTo>
                    <a:lnTo>
                      <a:pt x="21" y="73"/>
                    </a:lnTo>
                    <a:lnTo>
                      <a:pt x="20" y="73"/>
                    </a:lnTo>
                    <a:lnTo>
                      <a:pt x="16" y="73"/>
                    </a:lnTo>
                    <a:lnTo>
                      <a:pt x="14" y="75"/>
                    </a:lnTo>
                    <a:lnTo>
                      <a:pt x="14" y="76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2" y="84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0" y="88"/>
                    </a:lnTo>
                    <a:lnTo>
                      <a:pt x="6" y="88"/>
                    </a:lnTo>
                    <a:lnTo>
                      <a:pt x="2" y="90"/>
                    </a:lnTo>
                    <a:lnTo>
                      <a:pt x="0" y="94"/>
                    </a:lnTo>
                    <a:lnTo>
                      <a:pt x="0" y="95"/>
                    </a:lnTo>
                    <a:lnTo>
                      <a:pt x="0" y="99"/>
                    </a:lnTo>
                    <a:lnTo>
                      <a:pt x="0" y="103"/>
                    </a:lnTo>
                    <a:lnTo>
                      <a:pt x="2" y="109"/>
                    </a:lnTo>
                    <a:lnTo>
                      <a:pt x="4" y="111"/>
                    </a:lnTo>
                    <a:lnTo>
                      <a:pt x="6" y="111"/>
                    </a:lnTo>
                    <a:lnTo>
                      <a:pt x="10" y="111"/>
                    </a:lnTo>
                    <a:lnTo>
                      <a:pt x="14" y="109"/>
                    </a:lnTo>
                    <a:lnTo>
                      <a:pt x="42" y="122"/>
                    </a:lnTo>
                    <a:lnTo>
                      <a:pt x="61" y="126"/>
                    </a:lnTo>
                    <a:lnTo>
                      <a:pt x="71" y="130"/>
                    </a:lnTo>
                    <a:lnTo>
                      <a:pt x="77" y="130"/>
                    </a:lnTo>
                    <a:lnTo>
                      <a:pt x="88" y="128"/>
                    </a:lnTo>
                    <a:lnTo>
                      <a:pt x="100" y="128"/>
                    </a:lnTo>
                    <a:lnTo>
                      <a:pt x="103" y="128"/>
                    </a:lnTo>
                    <a:lnTo>
                      <a:pt x="105" y="128"/>
                    </a:lnTo>
                    <a:lnTo>
                      <a:pt x="107" y="128"/>
                    </a:lnTo>
                    <a:lnTo>
                      <a:pt x="111" y="128"/>
                    </a:lnTo>
                    <a:lnTo>
                      <a:pt x="115" y="130"/>
                    </a:lnTo>
                    <a:lnTo>
                      <a:pt x="117" y="130"/>
                    </a:lnTo>
                    <a:lnTo>
                      <a:pt x="117" y="130"/>
                    </a:lnTo>
                    <a:lnTo>
                      <a:pt x="119" y="128"/>
                    </a:lnTo>
                    <a:lnTo>
                      <a:pt x="119" y="128"/>
                    </a:lnTo>
                    <a:lnTo>
                      <a:pt x="121" y="128"/>
                    </a:lnTo>
                    <a:lnTo>
                      <a:pt x="123" y="128"/>
                    </a:lnTo>
                    <a:lnTo>
                      <a:pt x="124" y="130"/>
                    </a:lnTo>
                    <a:lnTo>
                      <a:pt x="126" y="130"/>
                    </a:lnTo>
                    <a:lnTo>
                      <a:pt x="130" y="132"/>
                    </a:lnTo>
                    <a:lnTo>
                      <a:pt x="143" y="130"/>
                    </a:lnTo>
                    <a:lnTo>
                      <a:pt x="145" y="130"/>
                    </a:lnTo>
                    <a:lnTo>
                      <a:pt x="149" y="128"/>
                    </a:lnTo>
                    <a:lnTo>
                      <a:pt x="168" y="124"/>
                    </a:lnTo>
                    <a:lnTo>
                      <a:pt x="176" y="124"/>
                    </a:lnTo>
                    <a:lnTo>
                      <a:pt x="178" y="124"/>
                    </a:lnTo>
                    <a:lnTo>
                      <a:pt x="180" y="122"/>
                    </a:lnTo>
                    <a:lnTo>
                      <a:pt x="182" y="122"/>
                    </a:lnTo>
                    <a:lnTo>
                      <a:pt x="187" y="126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2" y="132"/>
                    </a:lnTo>
                    <a:lnTo>
                      <a:pt x="214" y="132"/>
                    </a:lnTo>
                    <a:lnTo>
                      <a:pt x="216" y="132"/>
                    </a:lnTo>
                    <a:lnTo>
                      <a:pt x="218" y="130"/>
                    </a:lnTo>
                    <a:lnTo>
                      <a:pt x="220" y="130"/>
                    </a:lnTo>
                    <a:lnTo>
                      <a:pt x="220" y="128"/>
                    </a:lnTo>
                    <a:lnTo>
                      <a:pt x="222" y="128"/>
                    </a:lnTo>
                    <a:lnTo>
                      <a:pt x="224" y="130"/>
                    </a:lnTo>
                    <a:lnTo>
                      <a:pt x="224" y="132"/>
                    </a:lnTo>
                    <a:lnTo>
                      <a:pt x="225" y="134"/>
                    </a:lnTo>
                    <a:lnTo>
                      <a:pt x="229" y="134"/>
                    </a:lnTo>
                    <a:lnTo>
                      <a:pt x="231" y="134"/>
                    </a:lnTo>
                    <a:lnTo>
                      <a:pt x="235" y="134"/>
                    </a:lnTo>
                    <a:lnTo>
                      <a:pt x="235" y="132"/>
                    </a:lnTo>
                    <a:lnTo>
                      <a:pt x="237" y="130"/>
                    </a:lnTo>
                    <a:lnTo>
                      <a:pt x="239" y="130"/>
                    </a:lnTo>
                    <a:lnTo>
                      <a:pt x="239" y="130"/>
                    </a:lnTo>
                    <a:lnTo>
                      <a:pt x="241" y="130"/>
                    </a:lnTo>
                    <a:lnTo>
                      <a:pt x="241" y="130"/>
                    </a:lnTo>
                    <a:lnTo>
                      <a:pt x="243" y="128"/>
                    </a:lnTo>
                    <a:lnTo>
                      <a:pt x="243" y="128"/>
                    </a:lnTo>
                    <a:lnTo>
                      <a:pt x="245" y="128"/>
                    </a:lnTo>
                    <a:lnTo>
                      <a:pt x="250" y="128"/>
                    </a:lnTo>
                    <a:lnTo>
                      <a:pt x="264" y="126"/>
                    </a:lnTo>
                    <a:lnTo>
                      <a:pt x="271" y="128"/>
                    </a:lnTo>
                    <a:lnTo>
                      <a:pt x="273" y="126"/>
                    </a:lnTo>
                    <a:lnTo>
                      <a:pt x="277" y="126"/>
                    </a:lnTo>
                    <a:lnTo>
                      <a:pt x="281" y="126"/>
                    </a:lnTo>
                    <a:lnTo>
                      <a:pt x="285" y="126"/>
                    </a:lnTo>
                    <a:lnTo>
                      <a:pt x="288" y="128"/>
                    </a:lnTo>
                    <a:lnTo>
                      <a:pt x="290" y="128"/>
                    </a:lnTo>
                    <a:lnTo>
                      <a:pt x="290" y="130"/>
                    </a:lnTo>
                    <a:lnTo>
                      <a:pt x="292" y="132"/>
                    </a:lnTo>
                    <a:lnTo>
                      <a:pt x="292" y="132"/>
                    </a:lnTo>
                    <a:lnTo>
                      <a:pt x="294" y="132"/>
                    </a:lnTo>
                    <a:lnTo>
                      <a:pt x="296" y="132"/>
                    </a:lnTo>
                    <a:lnTo>
                      <a:pt x="296" y="134"/>
                    </a:lnTo>
                    <a:lnTo>
                      <a:pt x="298" y="132"/>
                    </a:lnTo>
                    <a:lnTo>
                      <a:pt x="298" y="132"/>
                    </a:lnTo>
                    <a:lnTo>
                      <a:pt x="300" y="134"/>
                    </a:lnTo>
                    <a:lnTo>
                      <a:pt x="302" y="135"/>
                    </a:lnTo>
                    <a:lnTo>
                      <a:pt x="304" y="137"/>
                    </a:lnTo>
                    <a:lnTo>
                      <a:pt x="304" y="137"/>
                    </a:lnTo>
                    <a:lnTo>
                      <a:pt x="306" y="139"/>
                    </a:lnTo>
                    <a:lnTo>
                      <a:pt x="309" y="139"/>
                    </a:lnTo>
                    <a:lnTo>
                      <a:pt x="315" y="141"/>
                    </a:lnTo>
                    <a:lnTo>
                      <a:pt x="317" y="141"/>
                    </a:lnTo>
                    <a:lnTo>
                      <a:pt x="319" y="145"/>
                    </a:lnTo>
                    <a:lnTo>
                      <a:pt x="321" y="145"/>
                    </a:lnTo>
                    <a:lnTo>
                      <a:pt x="325" y="147"/>
                    </a:lnTo>
                    <a:lnTo>
                      <a:pt x="325" y="151"/>
                    </a:lnTo>
                    <a:lnTo>
                      <a:pt x="328" y="147"/>
                    </a:lnTo>
                    <a:lnTo>
                      <a:pt x="334" y="141"/>
                    </a:lnTo>
                    <a:lnTo>
                      <a:pt x="338" y="137"/>
                    </a:lnTo>
                    <a:lnTo>
                      <a:pt x="342" y="135"/>
                    </a:lnTo>
                    <a:lnTo>
                      <a:pt x="342" y="134"/>
                    </a:lnTo>
                    <a:lnTo>
                      <a:pt x="344" y="134"/>
                    </a:lnTo>
                    <a:lnTo>
                      <a:pt x="346" y="134"/>
                    </a:lnTo>
                    <a:lnTo>
                      <a:pt x="348" y="134"/>
                    </a:lnTo>
                    <a:lnTo>
                      <a:pt x="348" y="132"/>
                    </a:lnTo>
                    <a:lnTo>
                      <a:pt x="348" y="132"/>
                    </a:lnTo>
                    <a:lnTo>
                      <a:pt x="348" y="130"/>
                    </a:lnTo>
                    <a:lnTo>
                      <a:pt x="348" y="130"/>
                    </a:lnTo>
                    <a:lnTo>
                      <a:pt x="351" y="130"/>
                    </a:lnTo>
                    <a:lnTo>
                      <a:pt x="353" y="130"/>
                    </a:lnTo>
                    <a:lnTo>
                      <a:pt x="357" y="130"/>
                    </a:lnTo>
                    <a:lnTo>
                      <a:pt x="359" y="130"/>
                    </a:lnTo>
                    <a:lnTo>
                      <a:pt x="363" y="124"/>
                    </a:lnTo>
                    <a:lnTo>
                      <a:pt x="378" y="118"/>
                    </a:lnTo>
                    <a:lnTo>
                      <a:pt x="378" y="118"/>
                    </a:lnTo>
                    <a:lnTo>
                      <a:pt x="378" y="118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7" name="Freeform 19">
                <a:extLst>
                  <a:ext uri="{FF2B5EF4-FFF2-40B4-BE49-F238E27FC236}">
                    <a16:creationId xmlns:a16="http://schemas.microsoft.com/office/drawing/2014/main" id="{F6D7CA8E-A518-4BFD-835C-0B01F1B304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6144" y="4094636"/>
                <a:ext cx="347663" cy="404813"/>
              </a:xfrm>
              <a:custGeom>
                <a:avLst/>
                <a:gdLst>
                  <a:gd name="T0" fmla="*/ 198 w 219"/>
                  <a:gd name="T1" fmla="*/ 67 h 255"/>
                  <a:gd name="T2" fmla="*/ 206 w 219"/>
                  <a:gd name="T3" fmla="*/ 33 h 255"/>
                  <a:gd name="T4" fmla="*/ 198 w 219"/>
                  <a:gd name="T5" fmla="*/ 16 h 255"/>
                  <a:gd name="T6" fmla="*/ 200 w 219"/>
                  <a:gd name="T7" fmla="*/ 0 h 255"/>
                  <a:gd name="T8" fmla="*/ 181 w 219"/>
                  <a:gd name="T9" fmla="*/ 16 h 255"/>
                  <a:gd name="T10" fmla="*/ 154 w 219"/>
                  <a:gd name="T11" fmla="*/ 27 h 255"/>
                  <a:gd name="T12" fmla="*/ 151 w 219"/>
                  <a:gd name="T13" fmla="*/ 25 h 255"/>
                  <a:gd name="T14" fmla="*/ 139 w 219"/>
                  <a:gd name="T15" fmla="*/ 23 h 255"/>
                  <a:gd name="T16" fmla="*/ 126 w 219"/>
                  <a:gd name="T17" fmla="*/ 20 h 255"/>
                  <a:gd name="T18" fmla="*/ 99 w 219"/>
                  <a:gd name="T19" fmla="*/ 23 h 255"/>
                  <a:gd name="T20" fmla="*/ 99 w 219"/>
                  <a:gd name="T21" fmla="*/ 27 h 255"/>
                  <a:gd name="T22" fmla="*/ 105 w 219"/>
                  <a:gd name="T23" fmla="*/ 33 h 255"/>
                  <a:gd name="T24" fmla="*/ 88 w 219"/>
                  <a:gd name="T25" fmla="*/ 52 h 255"/>
                  <a:gd name="T26" fmla="*/ 76 w 219"/>
                  <a:gd name="T27" fmla="*/ 67 h 255"/>
                  <a:gd name="T28" fmla="*/ 69 w 219"/>
                  <a:gd name="T29" fmla="*/ 59 h 255"/>
                  <a:gd name="T30" fmla="*/ 63 w 219"/>
                  <a:gd name="T31" fmla="*/ 58 h 255"/>
                  <a:gd name="T32" fmla="*/ 59 w 219"/>
                  <a:gd name="T33" fmla="*/ 54 h 255"/>
                  <a:gd name="T34" fmla="*/ 46 w 219"/>
                  <a:gd name="T35" fmla="*/ 80 h 255"/>
                  <a:gd name="T36" fmla="*/ 40 w 219"/>
                  <a:gd name="T37" fmla="*/ 88 h 255"/>
                  <a:gd name="T38" fmla="*/ 36 w 219"/>
                  <a:gd name="T39" fmla="*/ 94 h 255"/>
                  <a:gd name="T40" fmla="*/ 34 w 219"/>
                  <a:gd name="T41" fmla="*/ 101 h 255"/>
                  <a:gd name="T42" fmla="*/ 34 w 219"/>
                  <a:gd name="T43" fmla="*/ 105 h 255"/>
                  <a:gd name="T44" fmla="*/ 29 w 219"/>
                  <a:gd name="T45" fmla="*/ 120 h 255"/>
                  <a:gd name="T46" fmla="*/ 23 w 219"/>
                  <a:gd name="T47" fmla="*/ 120 h 255"/>
                  <a:gd name="T48" fmla="*/ 19 w 219"/>
                  <a:gd name="T49" fmla="*/ 122 h 255"/>
                  <a:gd name="T50" fmla="*/ 15 w 219"/>
                  <a:gd name="T51" fmla="*/ 136 h 255"/>
                  <a:gd name="T52" fmla="*/ 15 w 219"/>
                  <a:gd name="T53" fmla="*/ 143 h 255"/>
                  <a:gd name="T54" fmla="*/ 11 w 219"/>
                  <a:gd name="T55" fmla="*/ 157 h 255"/>
                  <a:gd name="T56" fmla="*/ 6 w 219"/>
                  <a:gd name="T57" fmla="*/ 179 h 255"/>
                  <a:gd name="T58" fmla="*/ 8 w 219"/>
                  <a:gd name="T59" fmla="*/ 193 h 255"/>
                  <a:gd name="T60" fmla="*/ 4 w 219"/>
                  <a:gd name="T61" fmla="*/ 204 h 255"/>
                  <a:gd name="T62" fmla="*/ 4 w 219"/>
                  <a:gd name="T63" fmla="*/ 215 h 255"/>
                  <a:gd name="T64" fmla="*/ 0 w 219"/>
                  <a:gd name="T65" fmla="*/ 219 h 255"/>
                  <a:gd name="T66" fmla="*/ 15 w 219"/>
                  <a:gd name="T67" fmla="*/ 227 h 255"/>
                  <a:gd name="T68" fmla="*/ 23 w 219"/>
                  <a:gd name="T69" fmla="*/ 225 h 255"/>
                  <a:gd name="T70" fmla="*/ 25 w 219"/>
                  <a:gd name="T71" fmla="*/ 227 h 255"/>
                  <a:gd name="T72" fmla="*/ 31 w 219"/>
                  <a:gd name="T73" fmla="*/ 225 h 255"/>
                  <a:gd name="T74" fmla="*/ 34 w 219"/>
                  <a:gd name="T75" fmla="*/ 227 h 255"/>
                  <a:gd name="T76" fmla="*/ 40 w 219"/>
                  <a:gd name="T77" fmla="*/ 229 h 255"/>
                  <a:gd name="T78" fmla="*/ 48 w 219"/>
                  <a:gd name="T79" fmla="*/ 221 h 255"/>
                  <a:gd name="T80" fmla="*/ 59 w 219"/>
                  <a:gd name="T81" fmla="*/ 238 h 255"/>
                  <a:gd name="T82" fmla="*/ 72 w 219"/>
                  <a:gd name="T83" fmla="*/ 236 h 255"/>
                  <a:gd name="T84" fmla="*/ 76 w 219"/>
                  <a:gd name="T85" fmla="*/ 235 h 255"/>
                  <a:gd name="T86" fmla="*/ 101 w 219"/>
                  <a:gd name="T87" fmla="*/ 240 h 255"/>
                  <a:gd name="T88" fmla="*/ 128 w 219"/>
                  <a:gd name="T89" fmla="*/ 244 h 255"/>
                  <a:gd name="T90" fmla="*/ 145 w 219"/>
                  <a:gd name="T91" fmla="*/ 254 h 255"/>
                  <a:gd name="T92" fmla="*/ 153 w 219"/>
                  <a:gd name="T93" fmla="*/ 235 h 255"/>
                  <a:gd name="T94" fmla="*/ 156 w 219"/>
                  <a:gd name="T95" fmla="*/ 215 h 255"/>
                  <a:gd name="T96" fmla="*/ 168 w 219"/>
                  <a:gd name="T97" fmla="*/ 187 h 255"/>
                  <a:gd name="T98" fmla="*/ 172 w 219"/>
                  <a:gd name="T99" fmla="*/ 177 h 255"/>
                  <a:gd name="T100" fmla="*/ 179 w 219"/>
                  <a:gd name="T101" fmla="*/ 166 h 255"/>
                  <a:gd name="T102" fmla="*/ 193 w 219"/>
                  <a:gd name="T103" fmla="*/ 139 h 255"/>
                  <a:gd name="T104" fmla="*/ 202 w 219"/>
                  <a:gd name="T105" fmla="*/ 134 h 255"/>
                  <a:gd name="T106" fmla="*/ 212 w 219"/>
                  <a:gd name="T107" fmla="*/ 111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19" h="255">
                    <a:moveTo>
                      <a:pt x="217" y="80"/>
                    </a:moveTo>
                    <a:lnTo>
                      <a:pt x="216" y="77"/>
                    </a:lnTo>
                    <a:lnTo>
                      <a:pt x="212" y="75"/>
                    </a:lnTo>
                    <a:lnTo>
                      <a:pt x="206" y="73"/>
                    </a:lnTo>
                    <a:lnTo>
                      <a:pt x="202" y="71"/>
                    </a:lnTo>
                    <a:lnTo>
                      <a:pt x="198" y="67"/>
                    </a:lnTo>
                    <a:lnTo>
                      <a:pt x="198" y="61"/>
                    </a:lnTo>
                    <a:lnTo>
                      <a:pt x="206" y="40"/>
                    </a:lnTo>
                    <a:lnTo>
                      <a:pt x="208" y="37"/>
                    </a:lnTo>
                    <a:lnTo>
                      <a:pt x="210" y="35"/>
                    </a:lnTo>
                    <a:lnTo>
                      <a:pt x="210" y="35"/>
                    </a:lnTo>
                    <a:lnTo>
                      <a:pt x="206" y="33"/>
                    </a:lnTo>
                    <a:lnTo>
                      <a:pt x="204" y="31"/>
                    </a:lnTo>
                    <a:lnTo>
                      <a:pt x="198" y="27"/>
                    </a:lnTo>
                    <a:lnTo>
                      <a:pt x="196" y="25"/>
                    </a:lnTo>
                    <a:lnTo>
                      <a:pt x="196" y="25"/>
                    </a:lnTo>
                    <a:lnTo>
                      <a:pt x="196" y="23"/>
                    </a:lnTo>
                    <a:lnTo>
                      <a:pt x="198" y="16"/>
                    </a:lnTo>
                    <a:lnTo>
                      <a:pt x="200" y="14"/>
                    </a:lnTo>
                    <a:lnTo>
                      <a:pt x="200" y="10"/>
                    </a:lnTo>
                    <a:lnTo>
                      <a:pt x="200" y="4"/>
                    </a:lnTo>
                    <a:lnTo>
                      <a:pt x="200" y="2"/>
                    </a:lnTo>
                    <a:lnTo>
                      <a:pt x="200" y="2"/>
                    </a:lnTo>
                    <a:lnTo>
                      <a:pt x="200" y="0"/>
                    </a:lnTo>
                    <a:lnTo>
                      <a:pt x="200" y="0"/>
                    </a:lnTo>
                    <a:lnTo>
                      <a:pt x="200" y="0"/>
                    </a:lnTo>
                    <a:lnTo>
                      <a:pt x="191" y="10"/>
                    </a:lnTo>
                    <a:lnTo>
                      <a:pt x="189" y="10"/>
                    </a:lnTo>
                    <a:lnTo>
                      <a:pt x="183" y="14"/>
                    </a:lnTo>
                    <a:lnTo>
                      <a:pt x="181" y="16"/>
                    </a:lnTo>
                    <a:lnTo>
                      <a:pt x="179" y="20"/>
                    </a:lnTo>
                    <a:lnTo>
                      <a:pt x="177" y="21"/>
                    </a:lnTo>
                    <a:lnTo>
                      <a:pt x="175" y="23"/>
                    </a:lnTo>
                    <a:lnTo>
                      <a:pt x="170" y="25"/>
                    </a:lnTo>
                    <a:lnTo>
                      <a:pt x="160" y="27"/>
                    </a:lnTo>
                    <a:lnTo>
                      <a:pt x="154" y="27"/>
                    </a:lnTo>
                    <a:lnTo>
                      <a:pt x="153" y="27"/>
                    </a:lnTo>
                    <a:lnTo>
                      <a:pt x="153" y="27"/>
                    </a:lnTo>
                    <a:lnTo>
                      <a:pt x="153" y="27"/>
                    </a:lnTo>
                    <a:lnTo>
                      <a:pt x="153" y="27"/>
                    </a:lnTo>
                    <a:lnTo>
                      <a:pt x="151" y="25"/>
                    </a:lnTo>
                    <a:lnTo>
                      <a:pt x="151" y="25"/>
                    </a:lnTo>
                    <a:lnTo>
                      <a:pt x="149" y="23"/>
                    </a:lnTo>
                    <a:lnTo>
                      <a:pt x="149" y="23"/>
                    </a:lnTo>
                    <a:lnTo>
                      <a:pt x="145" y="23"/>
                    </a:lnTo>
                    <a:lnTo>
                      <a:pt x="143" y="25"/>
                    </a:lnTo>
                    <a:lnTo>
                      <a:pt x="141" y="23"/>
                    </a:lnTo>
                    <a:lnTo>
                      <a:pt x="139" y="23"/>
                    </a:lnTo>
                    <a:lnTo>
                      <a:pt x="137" y="23"/>
                    </a:lnTo>
                    <a:lnTo>
                      <a:pt x="135" y="21"/>
                    </a:lnTo>
                    <a:lnTo>
                      <a:pt x="134" y="20"/>
                    </a:lnTo>
                    <a:lnTo>
                      <a:pt x="132" y="20"/>
                    </a:lnTo>
                    <a:lnTo>
                      <a:pt x="128" y="20"/>
                    </a:lnTo>
                    <a:lnTo>
                      <a:pt x="126" y="20"/>
                    </a:lnTo>
                    <a:lnTo>
                      <a:pt x="120" y="20"/>
                    </a:lnTo>
                    <a:lnTo>
                      <a:pt x="105" y="20"/>
                    </a:lnTo>
                    <a:lnTo>
                      <a:pt x="101" y="21"/>
                    </a:lnTo>
                    <a:lnTo>
                      <a:pt x="99" y="21"/>
                    </a:lnTo>
                    <a:lnTo>
                      <a:pt x="99" y="23"/>
                    </a:lnTo>
                    <a:lnTo>
                      <a:pt x="99" y="23"/>
                    </a:lnTo>
                    <a:lnTo>
                      <a:pt x="99" y="25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103" y="27"/>
                    </a:lnTo>
                    <a:lnTo>
                      <a:pt x="105" y="29"/>
                    </a:lnTo>
                    <a:lnTo>
                      <a:pt x="105" y="29"/>
                    </a:lnTo>
                    <a:lnTo>
                      <a:pt x="105" y="31"/>
                    </a:lnTo>
                    <a:lnTo>
                      <a:pt x="105" y="31"/>
                    </a:lnTo>
                    <a:lnTo>
                      <a:pt x="105" y="33"/>
                    </a:lnTo>
                    <a:lnTo>
                      <a:pt x="105" y="35"/>
                    </a:lnTo>
                    <a:lnTo>
                      <a:pt x="93" y="46"/>
                    </a:lnTo>
                    <a:lnTo>
                      <a:pt x="92" y="48"/>
                    </a:lnTo>
                    <a:lnTo>
                      <a:pt x="88" y="50"/>
                    </a:lnTo>
                    <a:lnTo>
                      <a:pt x="90" y="50"/>
                    </a:lnTo>
                    <a:lnTo>
                      <a:pt x="88" y="52"/>
                    </a:lnTo>
                    <a:lnTo>
                      <a:pt x="86" y="59"/>
                    </a:lnTo>
                    <a:lnTo>
                      <a:pt x="80" y="65"/>
                    </a:lnTo>
                    <a:lnTo>
                      <a:pt x="80" y="67"/>
                    </a:lnTo>
                    <a:lnTo>
                      <a:pt x="80" y="67"/>
                    </a:lnTo>
                    <a:lnTo>
                      <a:pt x="78" y="67"/>
                    </a:lnTo>
                    <a:lnTo>
                      <a:pt x="76" y="67"/>
                    </a:lnTo>
                    <a:lnTo>
                      <a:pt x="76" y="63"/>
                    </a:lnTo>
                    <a:lnTo>
                      <a:pt x="74" y="61"/>
                    </a:lnTo>
                    <a:lnTo>
                      <a:pt x="72" y="61"/>
                    </a:lnTo>
                    <a:lnTo>
                      <a:pt x="72" y="61"/>
                    </a:lnTo>
                    <a:lnTo>
                      <a:pt x="69" y="59"/>
                    </a:lnTo>
                    <a:lnTo>
                      <a:pt x="69" y="59"/>
                    </a:lnTo>
                    <a:lnTo>
                      <a:pt x="67" y="59"/>
                    </a:lnTo>
                    <a:lnTo>
                      <a:pt x="67" y="58"/>
                    </a:lnTo>
                    <a:lnTo>
                      <a:pt x="67" y="58"/>
                    </a:lnTo>
                    <a:lnTo>
                      <a:pt x="65" y="58"/>
                    </a:lnTo>
                    <a:lnTo>
                      <a:pt x="65" y="58"/>
                    </a:lnTo>
                    <a:lnTo>
                      <a:pt x="63" y="58"/>
                    </a:lnTo>
                    <a:lnTo>
                      <a:pt x="63" y="56"/>
                    </a:lnTo>
                    <a:lnTo>
                      <a:pt x="61" y="56"/>
                    </a:lnTo>
                    <a:lnTo>
                      <a:pt x="61" y="56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57" y="58"/>
                    </a:lnTo>
                    <a:lnTo>
                      <a:pt x="55" y="59"/>
                    </a:lnTo>
                    <a:lnTo>
                      <a:pt x="53" y="63"/>
                    </a:lnTo>
                    <a:lnTo>
                      <a:pt x="50" y="71"/>
                    </a:lnTo>
                    <a:lnTo>
                      <a:pt x="48" y="79"/>
                    </a:lnTo>
                    <a:lnTo>
                      <a:pt x="46" y="80"/>
                    </a:lnTo>
                    <a:lnTo>
                      <a:pt x="44" y="82"/>
                    </a:lnTo>
                    <a:lnTo>
                      <a:pt x="44" y="84"/>
                    </a:lnTo>
                    <a:lnTo>
                      <a:pt x="44" y="86"/>
                    </a:lnTo>
                    <a:lnTo>
                      <a:pt x="42" y="86"/>
                    </a:lnTo>
                    <a:lnTo>
                      <a:pt x="42" y="88"/>
                    </a:lnTo>
                    <a:lnTo>
                      <a:pt x="40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4"/>
                    </a:lnTo>
                    <a:lnTo>
                      <a:pt x="38" y="98"/>
                    </a:lnTo>
                    <a:lnTo>
                      <a:pt x="38" y="99"/>
                    </a:lnTo>
                    <a:lnTo>
                      <a:pt x="38" y="99"/>
                    </a:lnTo>
                    <a:lnTo>
                      <a:pt x="36" y="101"/>
                    </a:lnTo>
                    <a:lnTo>
                      <a:pt x="36" y="101"/>
                    </a:lnTo>
                    <a:lnTo>
                      <a:pt x="34" y="101"/>
                    </a:lnTo>
                    <a:lnTo>
                      <a:pt x="34" y="101"/>
                    </a:lnTo>
                    <a:lnTo>
                      <a:pt x="34" y="103"/>
                    </a:lnTo>
                    <a:lnTo>
                      <a:pt x="34" y="103"/>
                    </a:lnTo>
                    <a:lnTo>
                      <a:pt x="34" y="103"/>
                    </a:lnTo>
                    <a:lnTo>
                      <a:pt x="34" y="105"/>
                    </a:lnTo>
                    <a:lnTo>
                      <a:pt x="34" y="105"/>
                    </a:lnTo>
                    <a:lnTo>
                      <a:pt x="34" y="107"/>
                    </a:lnTo>
                    <a:lnTo>
                      <a:pt x="32" y="113"/>
                    </a:lnTo>
                    <a:lnTo>
                      <a:pt x="29" y="117"/>
                    </a:lnTo>
                    <a:lnTo>
                      <a:pt x="29" y="118"/>
                    </a:lnTo>
                    <a:lnTo>
                      <a:pt x="29" y="120"/>
                    </a:lnTo>
                    <a:lnTo>
                      <a:pt x="29" y="120"/>
                    </a:lnTo>
                    <a:lnTo>
                      <a:pt x="27" y="122"/>
                    </a:lnTo>
                    <a:lnTo>
                      <a:pt x="27" y="122"/>
                    </a:lnTo>
                    <a:lnTo>
                      <a:pt x="25" y="122"/>
                    </a:lnTo>
                    <a:lnTo>
                      <a:pt x="25" y="122"/>
                    </a:lnTo>
                    <a:lnTo>
                      <a:pt x="23" y="120"/>
                    </a:lnTo>
                    <a:lnTo>
                      <a:pt x="23" y="120"/>
                    </a:lnTo>
                    <a:lnTo>
                      <a:pt x="23" y="120"/>
                    </a:lnTo>
                    <a:lnTo>
                      <a:pt x="23" y="120"/>
                    </a:lnTo>
                    <a:lnTo>
                      <a:pt x="21" y="120"/>
                    </a:lnTo>
                    <a:lnTo>
                      <a:pt x="21" y="120"/>
                    </a:lnTo>
                    <a:lnTo>
                      <a:pt x="19" y="120"/>
                    </a:lnTo>
                    <a:lnTo>
                      <a:pt x="19" y="122"/>
                    </a:lnTo>
                    <a:lnTo>
                      <a:pt x="19" y="124"/>
                    </a:lnTo>
                    <a:lnTo>
                      <a:pt x="17" y="126"/>
                    </a:lnTo>
                    <a:lnTo>
                      <a:pt x="17" y="132"/>
                    </a:lnTo>
                    <a:lnTo>
                      <a:pt x="15" y="134"/>
                    </a:lnTo>
                    <a:lnTo>
                      <a:pt x="15" y="136"/>
                    </a:lnTo>
                    <a:lnTo>
                      <a:pt x="15" y="136"/>
                    </a:lnTo>
                    <a:lnTo>
                      <a:pt x="15" y="136"/>
                    </a:lnTo>
                    <a:lnTo>
                      <a:pt x="15" y="137"/>
                    </a:lnTo>
                    <a:lnTo>
                      <a:pt x="15" y="139"/>
                    </a:lnTo>
                    <a:lnTo>
                      <a:pt x="15" y="139"/>
                    </a:lnTo>
                    <a:lnTo>
                      <a:pt x="17" y="141"/>
                    </a:lnTo>
                    <a:lnTo>
                      <a:pt x="15" y="143"/>
                    </a:lnTo>
                    <a:lnTo>
                      <a:pt x="13" y="147"/>
                    </a:lnTo>
                    <a:lnTo>
                      <a:pt x="15" y="151"/>
                    </a:lnTo>
                    <a:lnTo>
                      <a:pt x="15" y="155"/>
                    </a:lnTo>
                    <a:lnTo>
                      <a:pt x="15" y="155"/>
                    </a:lnTo>
                    <a:lnTo>
                      <a:pt x="13" y="155"/>
                    </a:lnTo>
                    <a:lnTo>
                      <a:pt x="11" y="157"/>
                    </a:lnTo>
                    <a:lnTo>
                      <a:pt x="10" y="162"/>
                    </a:lnTo>
                    <a:lnTo>
                      <a:pt x="10" y="172"/>
                    </a:lnTo>
                    <a:lnTo>
                      <a:pt x="8" y="176"/>
                    </a:lnTo>
                    <a:lnTo>
                      <a:pt x="6" y="177"/>
                    </a:lnTo>
                    <a:lnTo>
                      <a:pt x="6" y="177"/>
                    </a:lnTo>
                    <a:lnTo>
                      <a:pt x="6" y="179"/>
                    </a:lnTo>
                    <a:lnTo>
                      <a:pt x="6" y="183"/>
                    </a:lnTo>
                    <a:lnTo>
                      <a:pt x="6" y="185"/>
                    </a:lnTo>
                    <a:lnTo>
                      <a:pt x="10" y="187"/>
                    </a:lnTo>
                    <a:lnTo>
                      <a:pt x="10" y="189"/>
                    </a:lnTo>
                    <a:lnTo>
                      <a:pt x="10" y="191"/>
                    </a:lnTo>
                    <a:lnTo>
                      <a:pt x="8" y="193"/>
                    </a:lnTo>
                    <a:lnTo>
                      <a:pt x="6" y="193"/>
                    </a:lnTo>
                    <a:lnTo>
                      <a:pt x="6" y="195"/>
                    </a:lnTo>
                    <a:lnTo>
                      <a:pt x="6" y="196"/>
                    </a:lnTo>
                    <a:lnTo>
                      <a:pt x="6" y="200"/>
                    </a:lnTo>
                    <a:lnTo>
                      <a:pt x="6" y="200"/>
                    </a:lnTo>
                    <a:lnTo>
                      <a:pt x="4" y="204"/>
                    </a:lnTo>
                    <a:lnTo>
                      <a:pt x="4" y="206"/>
                    </a:lnTo>
                    <a:lnTo>
                      <a:pt x="4" y="206"/>
                    </a:lnTo>
                    <a:lnTo>
                      <a:pt x="4" y="208"/>
                    </a:lnTo>
                    <a:lnTo>
                      <a:pt x="4" y="212"/>
                    </a:lnTo>
                    <a:lnTo>
                      <a:pt x="4" y="214"/>
                    </a:lnTo>
                    <a:lnTo>
                      <a:pt x="4" y="215"/>
                    </a:lnTo>
                    <a:lnTo>
                      <a:pt x="4" y="215"/>
                    </a:lnTo>
                    <a:lnTo>
                      <a:pt x="2" y="217"/>
                    </a:lnTo>
                    <a:lnTo>
                      <a:pt x="2" y="217"/>
                    </a:lnTo>
                    <a:lnTo>
                      <a:pt x="2" y="217"/>
                    </a:lnTo>
                    <a:lnTo>
                      <a:pt x="0" y="217"/>
                    </a:lnTo>
                    <a:lnTo>
                      <a:pt x="0" y="219"/>
                    </a:lnTo>
                    <a:lnTo>
                      <a:pt x="2" y="219"/>
                    </a:lnTo>
                    <a:lnTo>
                      <a:pt x="4" y="219"/>
                    </a:lnTo>
                    <a:lnTo>
                      <a:pt x="11" y="223"/>
                    </a:lnTo>
                    <a:lnTo>
                      <a:pt x="13" y="225"/>
                    </a:lnTo>
                    <a:lnTo>
                      <a:pt x="15" y="225"/>
                    </a:lnTo>
                    <a:lnTo>
                      <a:pt x="15" y="227"/>
                    </a:lnTo>
                    <a:lnTo>
                      <a:pt x="17" y="227"/>
                    </a:lnTo>
                    <a:lnTo>
                      <a:pt x="17" y="227"/>
                    </a:lnTo>
                    <a:lnTo>
                      <a:pt x="19" y="227"/>
                    </a:lnTo>
                    <a:lnTo>
                      <a:pt x="21" y="225"/>
                    </a:lnTo>
                    <a:lnTo>
                      <a:pt x="21" y="225"/>
                    </a:lnTo>
                    <a:lnTo>
                      <a:pt x="23" y="225"/>
                    </a:lnTo>
                    <a:lnTo>
                      <a:pt x="23" y="225"/>
                    </a:lnTo>
                    <a:lnTo>
                      <a:pt x="25" y="225"/>
                    </a:lnTo>
                    <a:lnTo>
                      <a:pt x="25" y="227"/>
                    </a:lnTo>
                    <a:lnTo>
                      <a:pt x="25" y="227"/>
                    </a:lnTo>
                    <a:lnTo>
                      <a:pt x="25" y="227"/>
                    </a:lnTo>
                    <a:lnTo>
                      <a:pt x="25" y="227"/>
                    </a:lnTo>
                    <a:lnTo>
                      <a:pt x="27" y="227"/>
                    </a:lnTo>
                    <a:lnTo>
                      <a:pt x="27" y="227"/>
                    </a:lnTo>
                    <a:lnTo>
                      <a:pt x="29" y="227"/>
                    </a:lnTo>
                    <a:lnTo>
                      <a:pt x="31" y="227"/>
                    </a:lnTo>
                    <a:lnTo>
                      <a:pt x="31" y="225"/>
                    </a:lnTo>
                    <a:lnTo>
                      <a:pt x="31" y="225"/>
                    </a:lnTo>
                    <a:lnTo>
                      <a:pt x="32" y="223"/>
                    </a:lnTo>
                    <a:lnTo>
                      <a:pt x="32" y="223"/>
                    </a:lnTo>
                    <a:lnTo>
                      <a:pt x="32" y="225"/>
                    </a:lnTo>
                    <a:lnTo>
                      <a:pt x="34" y="225"/>
                    </a:lnTo>
                    <a:lnTo>
                      <a:pt x="34" y="227"/>
                    </a:lnTo>
                    <a:lnTo>
                      <a:pt x="34" y="227"/>
                    </a:lnTo>
                    <a:lnTo>
                      <a:pt x="34" y="229"/>
                    </a:lnTo>
                    <a:lnTo>
                      <a:pt x="34" y="229"/>
                    </a:lnTo>
                    <a:lnTo>
                      <a:pt x="34" y="231"/>
                    </a:lnTo>
                    <a:lnTo>
                      <a:pt x="34" y="231"/>
                    </a:lnTo>
                    <a:lnTo>
                      <a:pt x="36" y="231"/>
                    </a:lnTo>
                    <a:lnTo>
                      <a:pt x="40" y="229"/>
                    </a:lnTo>
                    <a:lnTo>
                      <a:pt x="42" y="229"/>
                    </a:lnTo>
                    <a:lnTo>
                      <a:pt x="42" y="229"/>
                    </a:lnTo>
                    <a:lnTo>
                      <a:pt x="42" y="227"/>
                    </a:lnTo>
                    <a:lnTo>
                      <a:pt x="42" y="225"/>
                    </a:lnTo>
                    <a:lnTo>
                      <a:pt x="44" y="223"/>
                    </a:lnTo>
                    <a:lnTo>
                      <a:pt x="48" y="221"/>
                    </a:lnTo>
                    <a:lnTo>
                      <a:pt x="50" y="223"/>
                    </a:lnTo>
                    <a:lnTo>
                      <a:pt x="53" y="229"/>
                    </a:lnTo>
                    <a:lnTo>
                      <a:pt x="55" y="229"/>
                    </a:lnTo>
                    <a:lnTo>
                      <a:pt x="59" y="235"/>
                    </a:lnTo>
                    <a:lnTo>
                      <a:pt x="59" y="236"/>
                    </a:lnTo>
                    <a:lnTo>
                      <a:pt x="59" y="238"/>
                    </a:lnTo>
                    <a:lnTo>
                      <a:pt x="61" y="238"/>
                    </a:lnTo>
                    <a:lnTo>
                      <a:pt x="63" y="238"/>
                    </a:lnTo>
                    <a:lnTo>
                      <a:pt x="65" y="238"/>
                    </a:lnTo>
                    <a:lnTo>
                      <a:pt x="69" y="236"/>
                    </a:lnTo>
                    <a:lnTo>
                      <a:pt x="72" y="236"/>
                    </a:lnTo>
                    <a:lnTo>
                      <a:pt x="72" y="236"/>
                    </a:lnTo>
                    <a:lnTo>
                      <a:pt x="72" y="236"/>
                    </a:lnTo>
                    <a:lnTo>
                      <a:pt x="74" y="238"/>
                    </a:lnTo>
                    <a:lnTo>
                      <a:pt x="74" y="238"/>
                    </a:lnTo>
                    <a:lnTo>
                      <a:pt x="76" y="236"/>
                    </a:lnTo>
                    <a:lnTo>
                      <a:pt x="76" y="236"/>
                    </a:lnTo>
                    <a:lnTo>
                      <a:pt x="76" y="235"/>
                    </a:lnTo>
                    <a:lnTo>
                      <a:pt x="76" y="235"/>
                    </a:lnTo>
                    <a:lnTo>
                      <a:pt x="80" y="233"/>
                    </a:lnTo>
                    <a:lnTo>
                      <a:pt x="86" y="231"/>
                    </a:lnTo>
                    <a:lnTo>
                      <a:pt x="93" y="233"/>
                    </a:lnTo>
                    <a:lnTo>
                      <a:pt x="97" y="235"/>
                    </a:lnTo>
                    <a:lnTo>
                      <a:pt x="101" y="240"/>
                    </a:lnTo>
                    <a:lnTo>
                      <a:pt x="105" y="242"/>
                    </a:lnTo>
                    <a:lnTo>
                      <a:pt x="114" y="240"/>
                    </a:lnTo>
                    <a:lnTo>
                      <a:pt x="118" y="242"/>
                    </a:lnTo>
                    <a:lnTo>
                      <a:pt x="122" y="242"/>
                    </a:lnTo>
                    <a:lnTo>
                      <a:pt x="126" y="244"/>
                    </a:lnTo>
                    <a:lnTo>
                      <a:pt x="128" y="244"/>
                    </a:lnTo>
                    <a:lnTo>
                      <a:pt x="135" y="248"/>
                    </a:lnTo>
                    <a:lnTo>
                      <a:pt x="137" y="250"/>
                    </a:lnTo>
                    <a:lnTo>
                      <a:pt x="139" y="254"/>
                    </a:lnTo>
                    <a:lnTo>
                      <a:pt x="141" y="255"/>
                    </a:lnTo>
                    <a:lnTo>
                      <a:pt x="143" y="255"/>
                    </a:lnTo>
                    <a:lnTo>
                      <a:pt x="145" y="254"/>
                    </a:lnTo>
                    <a:lnTo>
                      <a:pt x="145" y="254"/>
                    </a:lnTo>
                    <a:lnTo>
                      <a:pt x="145" y="250"/>
                    </a:lnTo>
                    <a:lnTo>
                      <a:pt x="145" y="248"/>
                    </a:lnTo>
                    <a:lnTo>
                      <a:pt x="145" y="244"/>
                    </a:lnTo>
                    <a:lnTo>
                      <a:pt x="147" y="242"/>
                    </a:lnTo>
                    <a:lnTo>
                      <a:pt x="153" y="235"/>
                    </a:lnTo>
                    <a:lnTo>
                      <a:pt x="153" y="233"/>
                    </a:lnTo>
                    <a:lnTo>
                      <a:pt x="154" y="227"/>
                    </a:lnTo>
                    <a:lnTo>
                      <a:pt x="154" y="225"/>
                    </a:lnTo>
                    <a:lnTo>
                      <a:pt x="156" y="223"/>
                    </a:lnTo>
                    <a:lnTo>
                      <a:pt x="156" y="221"/>
                    </a:lnTo>
                    <a:lnTo>
                      <a:pt x="156" y="215"/>
                    </a:lnTo>
                    <a:lnTo>
                      <a:pt x="158" y="212"/>
                    </a:lnTo>
                    <a:lnTo>
                      <a:pt x="164" y="196"/>
                    </a:lnTo>
                    <a:lnTo>
                      <a:pt x="164" y="195"/>
                    </a:lnTo>
                    <a:lnTo>
                      <a:pt x="166" y="189"/>
                    </a:lnTo>
                    <a:lnTo>
                      <a:pt x="166" y="187"/>
                    </a:lnTo>
                    <a:lnTo>
                      <a:pt x="168" y="187"/>
                    </a:lnTo>
                    <a:lnTo>
                      <a:pt x="170" y="185"/>
                    </a:lnTo>
                    <a:lnTo>
                      <a:pt x="170" y="183"/>
                    </a:lnTo>
                    <a:lnTo>
                      <a:pt x="170" y="183"/>
                    </a:lnTo>
                    <a:lnTo>
                      <a:pt x="170" y="179"/>
                    </a:lnTo>
                    <a:lnTo>
                      <a:pt x="170" y="179"/>
                    </a:lnTo>
                    <a:lnTo>
                      <a:pt x="172" y="177"/>
                    </a:lnTo>
                    <a:lnTo>
                      <a:pt x="174" y="176"/>
                    </a:lnTo>
                    <a:lnTo>
                      <a:pt x="174" y="176"/>
                    </a:lnTo>
                    <a:lnTo>
                      <a:pt x="175" y="170"/>
                    </a:lnTo>
                    <a:lnTo>
                      <a:pt x="175" y="168"/>
                    </a:lnTo>
                    <a:lnTo>
                      <a:pt x="177" y="166"/>
                    </a:lnTo>
                    <a:lnTo>
                      <a:pt x="179" y="166"/>
                    </a:lnTo>
                    <a:lnTo>
                      <a:pt x="181" y="158"/>
                    </a:lnTo>
                    <a:lnTo>
                      <a:pt x="181" y="157"/>
                    </a:lnTo>
                    <a:lnTo>
                      <a:pt x="183" y="155"/>
                    </a:lnTo>
                    <a:lnTo>
                      <a:pt x="189" y="151"/>
                    </a:lnTo>
                    <a:lnTo>
                      <a:pt x="191" y="147"/>
                    </a:lnTo>
                    <a:lnTo>
                      <a:pt x="193" y="139"/>
                    </a:lnTo>
                    <a:lnTo>
                      <a:pt x="195" y="136"/>
                    </a:lnTo>
                    <a:lnTo>
                      <a:pt x="196" y="136"/>
                    </a:lnTo>
                    <a:lnTo>
                      <a:pt x="196" y="136"/>
                    </a:lnTo>
                    <a:lnTo>
                      <a:pt x="198" y="136"/>
                    </a:lnTo>
                    <a:lnTo>
                      <a:pt x="200" y="136"/>
                    </a:lnTo>
                    <a:lnTo>
                      <a:pt x="202" y="134"/>
                    </a:lnTo>
                    <a:lnTo>
                      <a:pt x="202" y="130"/>
                    </a:lnTo>
                    <a:lnTo>
                      <a:pt x="204" y="128"/>
                    </a:lnTo>
                    <a:lnTo>
                      <a:pt x="204" y="126"/>
                    </a:lnTo>
                    <a:lnTo>
                      <a:pt x="204" y="122"/>
                    </a:lnTo>
                    <a:lnTo>
                      <a:pt x="210" y="115"/>
                    </a:lnTo>
                    <a:lnTo>
                      <a:pt x="212" y="111"/>
                    </a:lnTo>
                    <a:lnTo>
                      <a:pt x="214" y="99"/>
                    </a:lnTo>
                    <a:lnTo>
                      <a:pt x="216" y="96"/>
                    </a:lnTo>
                    <a:lnTo>
                      <a:pt x="217" y="92"/>
                    </a:lnTo>
                    <a:lnTo>
                      <a:pt x="219" y="86"/>
                    </a:lnTo>
                    <a:lnTo>
                      <a:pt x="217" y="8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8" name="Freeform 20">
                <a:extLst>
                  <a:ext uri="{FF2B5EF4-FFF2-40B4-BE49-F238E27FC236}">
                    <a16:creationId xmlns:a16="http://schemas.microsoft.com/office/drawing/2014/main" id="{B3F6067D-3C06-489F-A928-4A75B64306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8019" y="4893149"/>
                <a:ext cx="1644650" cy="1343025"/>
              </a:xfrm>
              <a:custGeom>
                <a:avLst/>
                <a:gdLst>
                  <a:gd name="T0" fmla="*/ 984 w 1036"/>
                  <a:gd name="T1" fmla="*/ 300 h 846"/>
                  <a:gd name="T2" fmla="*/ 988 w 1036"/>
                  <a:gd name="T3" fmla="*/ 281 h 846"/>
                  <a:gd name="T4" fmla="*/ 1000 w 1036"/>
                  <a:gd name="T5" fmla="*/ 222 h 846"/>
                  <a:gd name="T6" fmla="*/ 992 w 1036"/>
                  <a:gd name="T7" fmla="*/ 181 h 846"/>
                  <a:gd name="T8" fmla="*/ 1007 w 1036"/>
                  <a:gd name="T9" fmla="*/ 89 h 846"/>
                  <a:gd name="T10" fmla="*/ 946 w 1036"/>
                  <a:gd name="T11" fmla="*/ 51 h 846"/>
                  <a:gd name="T12" fmla="*/ 872 w 1036"/>
                  <a:gd name="T13" fmla="*/ 63 h 846"/>
                  <a:gd name="T14" fmla="*/ 788 w 1036"/>
                  <a:gd name="T15" fmla="*/ 61 h 846"/>
                  <a:gd name="T16" fmla="*/ 723 w 1036"/>
                  <a:gd name="T17" fmla="*/ 53 h 846"/>
                  <a:gd name="T18" fmla="*/ 622 w 1036"/>
                  <a:gd name="T19" fmla="*/ 85 h 846"/>
                  <a:gd name="T20" fmla="*/ 616 w 1036"/>
                  <a:gd name="T21" fmla="*/ 44 h 846"/>
                  <a:gd name="T22" fmla="*/ 527 w 1036"/>
                  <a:gd name="T23" fmla="*/ 55 h 846"/>
                  <a:gd name="T24" fmla="*/ 471 w 1036"/>
                  <a:gd name="T25" fmla="*/ 123 h 846"/>
                  <a:gd name="T26" fmla="*/ 372 w 1036"/>
                  <a:gd name="T27" fmla="*/ 85 h 846"/>
                  <a:gd name="T28" fmla="*/ 252 w 1036"/>
                  <a:gd name="T29" fmla="*/ 49 h 846"/>
                  <a:gd name="T30" fmla="*/ 166 w 1036"/>
                  <a:gd name="T31" fmla="*/ 15 h 846"/>
                  <a:gd name="T32" fmla="*/ 170 w 1036"/>
                  <a:gd name="T33" fmla="*/ 63 h 846"/>
                  <a:gd name="T34" fmla="*/ 178 w 1036"/>
                  <a:gd name="T35" fmla="*/ 74 h 846"/>
                  <a:gd name="T36" fmla="*/ 117 w 1036"/>
                  <a:gd name="T37" fmla="*/ 110 h 846"/>
                  <a:gd name="T38" fmla="*/ 149 w 1036"/>
                  <a:gd name="T39" fmla="*/ 177 h 846"/>
                  <a:gd name="T40" fmla="*/ 90 w 1036"/>
                  <a:gd name="T41" fmla="*/ 184 h 846"/>
                  <a:gd name="T42" fmla="*/ 92 w 1036"/>
                  <a:gd name="T43" fmla="*/ 241 h 846"/>
                  <a:gd name="T44" fmla="*/ 54 w 1036"/>
                  <a:gd name="T45" fmla="*/ 264 h 846"/>
                  <a:gd name="T46" fmla="*/ 2 w 1036"/>
                  <a:gd name="T47" fmla="*/ 276 h 846"/>
                  <a:gd name="T48" fmla="*/ 12 w 1036"/>
                  <a:gd name="T49" fmla="*/ 331 h 846"/>
                  <a:gd name="T50" fmla="*/ 48 w 1036"/>
                  <a:gd name="T51" fmla="*/ 371 h 846"/>
                  <a:gd name="T52" fmla="*/ 21 w 1036"/>
                  <a:gd name="T53" fmla="*/ 388 h 846"/>
                  <a:gd name="T54" fmla="*/ 37 w 1036"/>
                  <a:gd name="T55" fmla="*/ 388 h 846"/>
                  <a:gd name="T56" fmla="*/ 42 w 1036"/>
                  <a:gd name="T57" fmla="*/ 420 h 846"/>
                  <a:gd name="T58" fmla="*/ 44 w 1036"/>
                  <a:gd name="T59" fmla="*/ 472 h 846"/>
                  <a:gd name="T60" fmla="*/ 52 w 1036"/>
                  <a:gd name="T61" fmla="*/ 510 h 846"/>
                  <a:gd name="T62" fmla="*/ 50 w 1036"/>
                  <a:gd name="T63" fmla="*/ 527 h 846"/>
                  <a:gd name="T64" fmla="*/ 61 w 1036"/>
                  <a:gd name="T65" fmla="*/ 592 h 846"/>
                  <a:gd name="T66" fmla="*/ 77 w 1036"/>
                  <a:gd name="T67" fmla="*/ 666 h 846"/>
                  <a:gd name="T68" fmla="*/ 84 w 1036"/>
                  <a:gd name="T69" fmla="*/ 719 h 846"/>
                  <a:gd name="T70" fmla="*/ 96 w 1036"/>
                  <a:gd name="T71" fmla="*/ 765 h 846"/>
                  <a:gd name="T72" fmla="*/ 124 w 1036"/>
                  <a:gd name="T73" fmla="*/ 820 h 846"/>
                  <a:gd name="T74" fmla="*/ 182 w 1036"/>
                  <a:gd name="T75" fmla="*/ 841 h 846"/>
                  <a:gd name="T76" fmla="*/ 220 w 1036"/>
                  <a:gd name="T77" fmla="*/ 805 h 846"/>
                  <a:gd name="T78" fmla="*/ 210 w 1036"/>
                  <a:gd name="T79" fmla="*/ 761 h 846"/>
                  <a:gd name="T80" fmla="*/ 204 w 1036"/>
                  <a:gd name="T81" fmla="*/ 736 h 846"/>
                  <a:gd name="T82" fmla="*/ 214 w 1036"/>
                  <a:gd name="T83" fmla="*/ 727 h 846"/>
                  <a:gd name="T84" fmla="*/ 248 w 1036"/>
                  <a:gd name="T85" fmla="*/ 719 h 846"/>
                  <a:gd name="T86" fmla="*/ 277 w 1036"/>
                  <a:gd name="T87" fmla="*/ 687 h 846"/>
                  <a:gd name="T88" fmla="*/ 327 w 1036"/>
                  <a:gd name="T89" fmla="*/ 673 h 846"/>
                  <a:gd name="T90" fmla="*/ 376 w 1036"/>
                  <a:gd name="T91" fmla="*/ 656 h 846"/>
                  <a:gd name="T92" fmla="*/ 380 w 1036"/>
                  <a:gd name="T93" fmla="*/ 609 h 846"/>
                  <a:gd name="T94" fmla="*/ 441 w 1036"/>
                  <a:gd name="T95" fmla="*/ 618 h 846"/>
                  <a:gd name="T96" fmla="*/ 460 w 1036"/>
                  <a:gd name="T97" fmla="*/ 586 h 846"/>
                  <a:gd name="T98" fmla="*/ 513 w 1036"/>
                  <a:gd name="T99" fmla="*/ 561 h 846"/>
                  <a:gd name="T100" fmla="*/ 557 w 1036"/>
                  <a:gd name="T101" fmla="*/ 510 h 846"/>
                  <a:gd name="T102" fmla="*/ 605 w 1036"/>
                  <a:gd name="T103" fmla="*/ 498 h 846"/>
                  <a:gd name="T104" fmla="*/ 634 w 1036"/>
                  <a:gd name="T105" fmla="*/ 456 h 846"/>
                  <a:gd name="T106" fmla="*/ 649 w 1036"/>
                  <a:gd name="T107" fmla="*/ 409 h 846"/>
                  <a:gd name="T108" fmla="*/ 655 w 1036"/>
                  <a:gd name="T109" fmla="*/ 371 h 846"/>
                  <a:gd name="T110" fmla="*/ 693 w 1036"/>
                  <a:gd name="T111" fmla="*/ 356 h 846"/>
                  <a:gd name="T112" fmla="*/ 714 w 1036"/>
                  <a:gd name="T113" fmla="*/ 285 h 846"/>
                  <a:gd name="T114" fmla="*/ 777 w 1036"/>
                  <a:gd name="T115" fmla="*/ 306 h 846"/>
                  <a:gd name="T116" fmla="*/ 828 w 1036"/>
                  <a:gd name="T117" fmla="*/ 325 h 846"/>
                  <a:gd name="T118" fmla="*/ 899 w 1036"/>
                  <a:gd name="T119" fmla="*/ 327 h 846"/>
                  <a:gd name="T120" fmla="*/ 912 w 1036"/>
                  <a:gd name="T121" fmla="*/ 382 h 846"/>
                  <a:gd name="T122" fmla="*/ 960 w 1036"/>
                  <a:gd name="T123" fmla="*/ 401 h 846"/>
                  <a:gd name="T124" fmla="*/ 1026 w 1036"/>
                  <a:gd name="T125" fmla="*/ 357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36" h="846">
                    <a:moveTo>
                      <a:pt x="1034" y="338"/>
                    </a:moveTo>
                    <a:lnTo>
                      <a:pt x="1032" y="337"/>
                    </a:lnTo>
                    <a:lnTo>
                      <a:pt x="1030" y="333"/>
                    </a:lnTo>
                    <a:lnTo>
                      <a:pt x="1028" y="331"/>
                    </a:lnTo>
                    <a:lnTo>
                      <a:pt x="1026" y="331"/>
                    </a:lnTo>
                    <a:lnTo>
                      <a:pt x="1026" y="331"/>
                    </a:lnTo>
                    <a:lnTo>
                      <a:pt x="1024" y="331"/>
                    </a:lnTo>
                    <a:lnTo>
                      <a:pt x="1024" y="331"/>
                    </a:lnTo>
                    <a:lnTo>
                      <a:pt x="1021" y="327"/>
                    </a:lnTo>
                    <a:lnTo>
                      <a:pt x="1019" y="327"/>
                    </a:lnTo>
                    <a:lnTo>
                      <a:pt x="1013" y="325"/>
                    </a:lnTo>
                    <a:lnTo>
                      <a:pt x="1011" y="323"/>
                    </a:lnTo>
                    <a:lnTo>
                      <a:pt x="1009" y="323"/>
                    </a:lnTo>
                    <a:lnTo>
                      <a:pt x="1009" y="321"/>
                    </a:lnTo>
                    <a:lnTo>
                      <a:pt x="1007" y="314"/>
                    </a:lnTo>
                    <a:lnTo>
                      <a:pt x="1007" y="312"/>
                    </a:lnTo>
                    <a:lnTo>
                      <a:pt x="1005" y="310"/>
                    </a:lnTo>
                    <a:lnTo>
                      <a:pt x="1003" y="310"/>
                    </a:lnTo>
                    <a:lnTo>
                      <a:pt x="1003" y="310"/>
                    </a:lnTo>
                    <a:lnTo>
                      <a:pt x="998" y="308"/>
                    </a:lnTo>
                    <a:lnTo>
                      <a:pt x="996" y="308"/>
                    </a:lnTo>
                    <a:lnTo>
                      <a:pt x="994" y="306"/>
                    </a:lnTo>
                    <a:lnTo>
                      <a:pt x="994" y="304"/>
                    </a:lnTo>
                    <a:lnTo>
                      <a:pt x="992" y="302"/>
                    </a:lnTo>
                    <a:lnTo>
                      <a:pt x="992" y="299"/>
                    </a:lnTo>
                    <a:lnTo>
                      <a:pt x="990" y="297"/>
                    </a:lnTo>
                    <a:lnTo>
                      <a:pt x="990" y="295"/>
                    </a:lnTo>
                    <a:lnTo>
                      <a:pt x="988" y="295"/>
                    </a:lnTo>
                    <a:lnTo>
                      <a:pt x="988" y="295"/>
                    </a:lnTo>
                    <a:lnTo>
                      <a:pt x="986" y="295"/>
                    </a:lnTo>
                    <a:lnTo>
                      <a:pt x="986" y="295"/>
                    </a:lnTo>
                    <a:lnTo>
                      <a:pt x="984" y="297"/>
                    </a:lnTo>
                    <a:lnTo>
                      <a:pt x="984" y="297"/>
                    </a:lnTo>
                    <a:lnTo>
                      <a:pt x="984" y="299"/>
                    </a:lnTo>
                    <a:lnTo>
                      <a:pt x="984" y="299"/>
                    </a:lnTo>
                    <a:lnTo>
                      <a:pt x="984" y="299"/>
                    </a:lnTo>
                    <a:lnTo>
                      <a:pt x="984" y="300"/>
                    </a:lnTo>
                    <a:lnTo>
                      <a:pt x="984" y="300"/>
                    </a:lnTo>
                    <a:lnTo>
                      <a:pt x="984" y="300"/>
                    </a:lnTo>
                    <a:lnTo>
                      <a:pt x="983" y="300"/>
                    </a:lnTo>
                    <a:lnTo>
                      <a:pt x="983" y="300"/>
                    </a:lnTo>
                    <a:lnTo>
                      <a:pt x="981" y="302"/>
                    </a:lnTo>
                    <a:lnTo>
                      <a:pt x="981" y="300"/>
                    </a:lnTo>
                    <a:lnTo>
                      <a:pt x="977" y="300"/>
                    </a:lnTo>
                    <a:lnTo>
                      <a:pt x="975" y="300"/>
                    </a:lnTo>
                    <a:lnTo>
                      <a:pt x="975" y="299"/>
                    </a:lnTo>
                    <a:lnTo>
                      <a:pt x="975" y="299"/>
                    </a:lnTo>
                    <a:lnTo>
                      <a:pt x="975" y="297"/>
                    </a:lnTo>
                    <a:lnTo>
                      <a:pt x="975" y="297"/>
                    </a:lnTo>
                    <a:lnTo>
                      <a:pt x="977" y="295"/>
                    </a:lnTo>
                    <a:lnTo>
                      <a:pt x="979" y="295"/>
                    </a:lnTo>
                    <a:lnTo>
                      <a:pt x="981" y="293"/>
                    </a:lnTo>
                    <a:lnTo>
                      <a:pt x="983" y="293"/>
                    </a:lnTo>
                    <a:lnTo>
                      <a:pt x="983" y="293"/>
                    </a:lnTo>
                    <a:lnTo>
                      <a:pt x="983" y="291"/>
                    </a:lnTo>
                    <a:lnTo>
                      <a:pt x="983" y="291"/>
                    </a:lnTo>
                    <a:lnTo>
                      <a:pt x="984" y="289"/>
                    </a:lnTo>
                    <a:lnTo>
                      <a:pt x="984" y="289"/>
                    </a:lnTo>
                    <a:lnTo>
                      <a:pt x="983" y="287"/>
                    </a:lnTo>
                    <a:lnTo>
                      <a:pt x="983" y="287"/>
                    </a:lnTo>
                    <a:lnTo>
                      <a:pt x="979" y="287"/>
                    </a:lnTo>
                    <a:lnTo>
                      <a:pt x="977" y="285"/>
                    </a:lnTo>
                    <a:lnTo>
                      <a:pt x="977" y="285"/>
                    </a:lnTo>
                    <a:lnTo>
                      <a:pt x="977" y="285"/>
                    </a:lnTo>
                    <a:lnTo>
                      <a:pt x="977" y="285"/>
                    </a:lnTo>
                    <a:lnTo>
                      <a:pt x="977" y="283"/>
                    </a:lnTo>
                    <a:lnTo>
                      <a:pt x="977" y="281"/>
                    </a:lnTo>
                    <a:lnTo>
                      <a:pt x="979" y="279"/>
                    </a:lnTo>
                    <a:lnTo>
                      <a:pt x="979" y="278"/>
                    </a:lnTo>
                    <a:lnTo>
                      <a:pt x="981" y="278"/>
                    </a:lnTo>
                    <a:lnTo>
                      <a:pt x="981" y="278"/>
                    </a:lnTo>
                    <a:lnTo>
                      <a:pt x="984" y="281"/>
                    </a:lnTo>
                    <a:lnTo>
                      <a:pt x="986" y="281"/>
                    </a:lnTo>
                    <a:lnTo>
                      <a:pt x="988" y="281"/>
                    </a:lnTo>
                    <a:lnTo>
                      <a:pt x="988" y="281"/>
                    </a:lnTo>
                    <a:lnTo>
                      <a:pt x="990" y="281"/>
                    </a:lnTo>
                    <a:lnTo>
                      <a:pt x="990" y="279"/>
                    </a:lnTo>
                    <a:lnTo>
                      <a:pt x="990" y="278"/>
                    </a:lnTo>
                    <a:lnTo>
                      <a:pt x="990" y="270"/>
                    </a:lnTo>
                    <a:lnTo>
                      <a:pt x="992" y="266"/>
                    </a:lnTo>
                    <a:lnTo>
                      <a:pt x="992" y="266"/>
                    </a:lnTo>
                    <a:lnTo>
                      <a:pt x="992" y="266"/>
                    </a:lnTo>
                    <a:lnTo>
                      <a:pt x="992" y="264"/>
                    </a:lnTo>
                    <a:lnTo>
                      <a:pt x="992" y="260"/>
                    </a:lnTo>
                    <a:lnTo>
                      <a:pt x="990" y="253"/>
                    </a:lnTo>
                    <a:lnTo>
                      <a:pt x="988" y="251"/>
                    </a:lnTo>
                    <a:lnTo>
                      <a:pt x="986" y="251"/>
                    </a:lnTo>
                    <a:lnTo>
                      <a:pt x="986" y="251"/>
                    </a:lnTo>
                    <a:lnTo>
                      <a:pt x="977" y="251"/>
                    </a:lnTo>
                    <a:lnTo>
                      <a:pt x="975" y="251"/>
                    </a:lnTo>
                    <a:lnTo>
                      <a:pt x="975" y="249"/>
                    </a:lnTo>
                    <a:lnTo>
                      <a:pt x="975" y="249"/>
                    </a:lnTo>
                    <a:lnTo>
                      <a:pt x="975" y="243"/>
                    </a:lnTo>
                    <a:lnTo>
                      <a:pt x="977" y="241"/>
                    </a:lnTo>
                    <a:lnTo>
                      <a:pt x="975" y="241"/>
                    </a:lnTo>
                    <a:lnTo>
                      <a:pt x="977" y="240"/>
                    </a:lnTo>
                    <a:lnTo>
                      <a:pt x="977" y="238"/>
                    </a:lnTo>
                    <a:lnTo>
                      <a:pt x="979" y="236"/>
                    </a:lnTo>
                    <a:lnTo>
                      <a:pt x="979" y="236"/>
                    </a:lnTo>
                    <a:lnTo>
                      <a:pt x="986" y="236"/>
                    </a:lnTo>
                    <a:lnTo>
                      <a:pt x="988" y="236"/>
                    </a:lnTo>
                    <a:lnTo>
                      <a:pt x="990" y="234"/>
                    </a:lnTo>
                    <a:lnTo>
                      <a:pt x="992" y="234"/>
                    </a:lnTo>
                    <a:lnTo>
                      <a:pt x="994" y="230"/>
                    </a:lnTo>
                    <a:lnTo>
                      <a:pt x="996" y="228"/>
                    </a:lnTo>
                    <a:lnTo>
                      <a:pt x="998" y="228"/>
                    </a:lnTo>
                    <a:lnTo>
                      <a:pt x="1000" y="228"/>
                    </a:lnTo>
                    <a:lnTo>
                      <a:pt x="1002" y="226"/>
                    </a:lnTo>
                    <a:lnTo>
                      <a:pt x="1002" y="226"/>
                    </a:lnTo>
                    <a:lnTo>
                      <a:pt x="1002" y="224"/>
                    </a:lnTo>
                    <a:lnTo>
                      <a:pt x="1000" y="222"/>
                    </a:lnTo>
                    <a:lnTo>
                      <a:pt x="1000" y="220"/>
                    </a:lnTo>
                    <a:lnTo>
                      <a:pt x="1000" y="219"/>
                    </a:lnTo>
                    <a:lnTo>
                      <a:pt x="1000" y="217"/>
                    </a:lnTo>
                    <a:lnTo>
                      <a:pt x="1000" y="209"/>
                    </a:lnTo>
                    <a:lnTo>
                      <a:pt x="1000" y="207"/>
                    </a:lnTo>
                    <a:lnTo>
                      <a:pt x="1002" y="205"/>
                    </a:lnTo>
                    <a:lnTo>
                      <a:pt x="1002" y="203"/>
                    </a:lnTo>
                    <a:lnTo>
                      <a:pt x="1002" y="201"/>
                    </a:lnTo>
                    <a:lnTo>
                      <a:pt x="1002" y="200"/>
                    </a:lnTo>
                    <a:lnTo>
                      <a:pt x="1002" y="200"/>
                    </a:lnTo>
                    <a:lnTo>
                      <a:pt x="1002" y="200"/>
                    </a:lnTo>
                    <a:lnTo>
                      <a:pt x="1000" y="198"/>
                    </a:lnTo>
                    <a:lnTo>
                      <a:pt x="1002" y="192"/>
                    </a:lnTo>
                    <a:lnTo>
                      <a:pt x="1002" y="192"/>
                    </a:lnTo>
                    <a:lnTo>
                      <a:pt x="1002" y="190"/>
                    </a:lnTo>
                    <a:lnTo>
                      <a:pt x="1002" y="190"/>
                    </a:lnTo>
                    <a:lnTo>
                      <a:pt x="1000" y="190"/>
                    </a:lnTo>
                    <a:lnTo>
                      <a:pt x="1000" y="188"/>
                    </a:lnTo>
                    <a:lnTo>
                      <a:pt x="998" y="188"/>
                    </a:lnTo>
                    <a:lnTo>
                      <a:pt x="996" y="188"/>
                    </a:lnTo>
                    <a:lnTo>
                      <a:pt x="996" y="188"/>
                    </a:lnTo>
                    <a:lnTo>
                      <a:pt x="994" y="188"/>
                    </a:lnTo>
                    <a:lnTo>
                      <a:pt x="994" y="188"/>
                    </a:lnTo>
                    <a:lnTo>
                      <a:pt x="992" y="190"/>
                    </a:lnTo>
                    <a:lnTo>
                      <a:pt x="990" y="192"/>
                    </a:lnTo>
                    <a:lnTo>
                      <a:pt x="988" y="192"/>
                    </a:lnTo>
                    <a:lnTo>
                      <a:pt x="986" y="192"/>
                    </a:lnTo>
                    <a:lnTo>
                      <a:pt x="986" y="192"/>
                    </a:lnTo>
                    <a:lnTo>
                      <a:pt x="986" y="192"/>
                    </a:lnTo>
                    <a:lnTo>
                      <a:pt x="984" y="190"/>
                    </a:lnTo>
                    <a:lnTo>
                      <a:pt x="984" y="190"/>
                    </a:lnTo>
                    <a:lnTo>
                      <a:pt x="984" y="188"/>
                    </a:lnTo>
                    <a:lnTo>
                      <a:pt x="984" y="188"/>
                    </a:lnTo>
                    <a:lnTo>
                      <a:pt x="986" y="186"/>
                    </a:lnTo>
                    <a:lnTo>
                      <a:pt x="986" y="184"/>
                    </a:lnTo>
                    <a:lnTo>
                      <a:pt x="988" y="184"/>
                    </a:lnTo>
                    <a:lnTo>
                      <a:pt x="992" y="181"/>
                    </a:lnTo>
                    <a:lnTo>
                      <a:pt x="994" y="181"/>
                    </a:lnTo>
                    <a:lnTo>
                      <a:pt x="994" y="179"/>
                    </a:lnTo>
                    <a:lnTo>
                      <a:pt x="994" y="177"/>
                    </a:lnTo>
                    <a:lnTo>
                      <a:pt x="992" y="165"/>
                    </a:lnTo>
                    <a:lnTo>
                      <a:pt x="992" y="154"/>
                    </a:lnTo>
                    <a:lnTo>
                      <a:pt x="992" y="150"/>
                    </a:lnTo>
                    <a:lnTo>
                      <a:pt x="992" y="148"/>
                    </a:lnTo>
                    <a:lnTo>
                      <a:pt x="992" y="148"/>
                    </a:lnTo>
                    <a:lnTo>
                      <a:pt x="992" y="146"/>
                    </a:lnTo>
                    <a:lnTo>
                      <a:pt x="990" y="146"/>
                    </a:lnTo>
                    <a:lnTo>
                      <a:pt x="990" y="144"/>
                    </a:lnTo>
                    <a:lnTo>
                      <a:pt x="988" y="144"/>
                    </a:lnTo>
                    <a:lnTo>
                      <a:pt x="988" y="144"/>
                    </a:lnTo>
                    <a:lnTo>
                      <a:pt x="986" y="146"/>
                    </a:lnTo>
                    <a:lnTo>
                      <a:pt x="984" y="146"/>
                    </a:lnTo>
                    <a:lnTo>
                      <a:pt x="984" y="146"/>
                    </a:lnTo>
                    <a:lnTo>
                      <a:pt x="983" y="146"/>
                    </a:lnTo>
                    <a:lnTo>
                      <a:pt x="983" y="144"/>
                    </a:lnTo>
                    <a:lnTo>
                      <a:pt x="981" y="144"/>
                    </a:lnTo>
                    <a:lnTo>
                      <a:pt x="981" y="142"/>
                    </a:lnTo>
                    <a:lnTo>
                      <a:pt x="979" y="142"/>
                    </a:lnTo>
                    <a:lnTo>
                      <a:pt x="979" y="139"/>
                    </a:lnTo>
                    <a:lnTo>
                      <a:pt x="977" y="137"/>
                    </a:lnTo>
                    <a:lnTo>
                      <a:pt x="977" y="135"/>
                    </a:lnTo>
                    <a:lnTo>
                      <a:pt x="977" y="133"/>
                    </a:lnTo>
                    <a:lnTo>
                      <a:pt x="979" y="129"/>
                    </a:lnTo>
                    <a:lnTo>
                      <a:pt x="981" y="120"/>
                    </a:lnTo>
                    <a:lnTo>
                      <a:pt x="981" y="118"/>
                    </a:lnTo>
                    <a:lnTo>
                      <a:pt x="981" y="116"/>
                    </a:lnTo>
                    <a:lnTo>
                      <a:pt x="983" y="116"/>
                    </a:lnTo>
                    <a:lnTo>
                      <a:pt x="983" y="114"/>
                    </a:lnTo>
                    <a:lnTo>
                      <a:pt x="992" y="108"/>
                    </a:lnTo>
                    <a:lnTo>
                      <a:pt x="1002" y="104"/>
                    </a:lnTo>
                    <a:lnTo>
                      <a:pt x="1003" y="103"/>
                    </a:lnTo>
                    <a:lnTo>
                      <a:pt x="1005" y="99"/>
                    </a:lnTo>
                    <a:lnTo>
                      <a:pt x="1007" y="97"/>
                    </a:lnTo>
                    <a:lnTo>
                      <a:pt x="1007" y="89"/>
                    </a:lnTo>
                    <a:lnTo>
                      <a:pt x="1005" y="89"/>
                    </a:lnTo>
                    <a:lnTo>
                      <a:pt x="1003" y="91"/>
                    </a:lnTo>
                    <a:lnTo>
                      <a:pt x="1003" y="93"/>
                    </a:lnTo>
                    <a:lnTo>
                      <a:pt x="1002" y="93"/>
                    </a:lnTo>
                    <a:lnTo>
                      <a:pt x="1002" y="93"/>
                    </a:lnTo>
                    <a:lnTo>
                      <a:pt x="1000" y="93"/>
                    </a:lnTo>
                    <a:lnTo>
                      <a:pt x="986" y="84"/>
                    </a:lnTo>
                    <a:lnTo>
                      <a:pt x="983" y="84"/>
                    </a:lnTo>
                    <a:lnTo>
                      <a:pt x="983" y="82"/>
                    </a:lnTo>
                    <a:lnTo>
                      <a:pt x="981" y="82"/>
                    </a:lnTo>
                    <a:lnTo>
                      <a:pt x="981" y="84"/>
                    </a:lnTo>
                    <a:lnTo>
                      <a:pt x="977" y="84"/>
                    </a:lnTo>
                    <a:lnTo>
                      <a:pt x="975" y="84"/>
                    </a:lnTo>
                    <a:lnTo>
                      <a:pt x="975" y="84"/>
                    </a:lnTo>
                    <a:lnTo>
                      <a:pt x="973" y="84"/>
                    </a:lnTo>
                    <a:lnTo>
                      <a:pt x="973" y="84"/>
                    </a:lnTo>
                    <a:lnTo>
                      <a:pt x="971" y="82"/>
                    </a:lnTo>
                    <a:lnTo>
                      <a:pt x="973" y="82"/>
                    </a:lnTo>
                    <a:lnTo>
                      <a:pt x="975" y="78"/>
                    </a:lnTo>
                    <a:lnTo>
                      <a:pt x="975" y="78"/>
                    </a:lnTo>
                    <a:lnTo>
                      <a:pt x="975" y="78"/>
                    </a:lnTo>
                    <a:lnTo>
                      <a:pt x="975" y="76"/>
                    </a:lnTo>
                    <a:lnTo>
                      <a:pt x="975" y="74"/>
                    </a:lnTo>
                    <a:lnTo>
                      <a:pt x="975" y="74"/>
                    </a:lnTo>
                    <a:lnTo>
                      <a:pt x="973" y="72"/>
                    </a:lnTo>
                    <a:lnTo>
                      <a:pt x="971" y="70"/>
                    </a:lnTo>
                    <a:lnTo>
                      <a:pt x="965" y="66"/>
                    </a:lnTo>
                    <a:lnTo>
                      <a:pt x="963" y="64"/>
                    </a:lnTo>
                    <a:lnTo>
                      <a:pt x="963" y="63"/>
                    </a:lnTo>
                    <a:lnTo>
                      <a:pt x="963" y="61"/>
                    </a:lnTo>
                    <a:lnTo>
                      <a:pt x="963" y="61"/>
                    </a:lnTo>
                    <a:lnTo>
                      <a:pt x="962" y="59"/>
                    </a:lnTo>
                    <a:lnTo>
                      <a:pt x="962" y="59"/>
                    </a:lnTo>
                    <a:lnTo>
                      <a:pt x="958" y="59"/>
                    </a:lnTo>
                    <a:lnTo>
                      <a:pt x="954" y="57"/>
                    </a:lnTo>
                    <a:lnTo>
                      <a:pt x="948" y="53"/>
                    </a:lnTo>
                    <a:lnTo>
                      <a:pt x="946" y="51"/>
                    </a:lnTo>
                    <a:lnTo>
                      <a:pt x="946" y="51"/>
                    </a:lnTo>
                    <a:lnTo>
                      <a:pt x="944" y="53"/>
                    </a:lnTo>
                    <a:lnTo>
                      <a:pt x="942" y="53"/>
                    </a:lnTo>
                    <a:lnTo>
                      <a:pt x="937" y="55"/>
                    </a:lnTo>
                    <a:lnTo>
                      <a:pt x="933" y="57"/>
                    </a:lnTo>
                    <a:lnTo>
                      <a:pt x="933" y="61"/>
                    </a:lnTo>
                    <a:lnTo>
                      <a:pt x="923" y="63"/>
                    </a:lnTo>
                    <a:lnTo>
                      <a:pt x="921" y="63"/>
                    </a:lnTo>
                    <a:lnTo>
                      <a:pt x="921" y="63"/>
                    </a:lnTo>
                    <a:lnTo>
                      <a:pt x="920" y="63"/>
                    </a:lnTo>
                    <a:lnTo>
                      <a:pt x="920" y="63"/>
                    </a:lnTo>
                    <a:lnTo>
                      <a:pt x="920" y="61"/>
                    </a:lnTo>
                    <a:lnTo>
                      <a:pt x="920" y="61"/>
                    </a:lnTo>
                    <a:lnTo>
                      <a:pt x="918" y="61"/>
                    </a:lnTo>
                    <a:lnTo>
                      <a:pt x="916" y="63"/>
                    </a:lnTo>
                    <a:lnTo>
                      <a:pt x="914" y="63"/>
                    </a:lnTo>
                    <a:lnTo>
                      <a:pt x="912" y="64"/>
                    </a:lnTo>
                    <a:lnTo>
                      <a:pt x="912" y="64"/>
                    </a:lnTo>
                    <a:lnTo>
                      <a:pt x="910" y="64"/>
                    </a:lnTo>
                    <a:lnTo>
                      <a:pt x="908" y="66"/>
                    </a:lnTo>
                    <a:lnTo>
                      <a:pt x="906" y="66"/>
                    </a:lnTo>
                    <a:lnTo>
                      <a:pt x="904" y="66"/>
                    </a:lnTo>
                    <a:lnTo>
                      <a:pt x="902" y="64"/>
                    </a:lnTo>
                    <a:lnTo>
                      <a:pt x="902" y="64"/>
                    </a:lnTo>
                    <a:lnTo>
                      <a:pt x="901" y="63"/>
                    </a:lnTo>
                    <a:lnTo>
                      <a:pt x="901" y="61"/>
                    </a:lnTo>
                    <a:lnTo>
                      <a:pt x="899" y="59"/>
                    </a:lnTo>
                    <a:lnTo>
                      <a:pt x="897" y="57"/>
                    </a:lnTo>
                    <a:lnTo>
                      <a:pt x="895" y="57"/>
                    </a:lnTo>
                    <a:lnTo>
                      <a:pt x="893" y="57"/>
                    </a:lnTo>
                    <a:lnTo>
                      <a:pt x="885" y="59"/>
                    </a:lnTo>
                    <a:lnTo>
                      <a:pt x="881" y="57"/>
                    </a:lnTo>
                    <a:lnTo>
                      <a:pt x="880" y="59"/>
                    </a:lnTo>
                    <a:lnTo>
                      <a:pt x="880" y="59"/>
                    </a:lnTo>
                    <a:lnTo>
                      <a:pt x="876" y="61"/>
                    </a:lnTo>
                    <a:lnTo>
                      <a:pt x="874" y="63"/>
                    </a:lnTo>
                    <a:lnTo>
                      <a:pt x="872" y="63"/>
                    </a:lnTo>
                    <a:lnTo>
                      <a:pt x="870" y="64"/>
                    </a:lnTo>
                    <a:lnTo>
                      <a:pt x="868" y="64"/>
                    </a:lnTo>
                    <a:lnTo>
                      <a:pt x="866" y="64"/>
                    </a:lnTo>
                    <a:lnTo>
                      <a:pt x="866" y="63"/>
                    </a:lnTo>
                    <a:lnTo>
                      <a:pt x="866" y="61"/>
                    </a:lnTo>
                    <a:lnTo>
                      <a:pt x="866" y="59"/>
                    </a:lnTo>
                    <a:lnTo>
                      <a:pt x="866" y="59"/>
                    </a:lnTo>
                    <a:lnTo>
                      <a:pt x="864" y="57"/>
                    </a:lnTo>
                    <a:lnTo>
                      <a:pt x="864" y="57"/>
                    </a:lnTo>
                    <a:lnTo>
                      <a:pt x="864" y="53"/>
                    </a:lnTo>
                    <a:lnTo>
                      <a:pt x="860" y="51"/>
                    </a:lnTo>
                    <a:lnTo>
                      <a:pt x="859" y="47"/>
                    </a:lnTo>
                    <a:lnTo>
                      <a:pt x="857" y="45"/>
                    </a:lnTo>
                    <a:lnTo>
                      <a:pt x="851" y="44"/>
                    </a:lnTo>
                    <a:lnTo>
                      <a:pt x="849" y="44"/>
                    </a:lnTo>
                    <a:lnTo>
                      <a:pt x="847" y="44"/>
                    </a:lnTo>
                    <a:lnTo>
                      <a:pt x="845" y="44"/>
                    </a:lnTo>
                    <a:lnTo>
                      <a:pt x="843" y="44"/>
                    </a:lnTo>
                    <a:lnTo>
                      <a:pt x="840" y="44"/>
                    </a:lnTo>
                    <a:lnTo>
                      <a:pt x="836" y="44"/>
                    </a:lnTo>
                    <a:lnTo>
                      <a:pt x="834" y="44"/>
                    </a:lnTo>
                    <a:lnTo>
                      <a:pt x="830" y="40"/>
                    </a:lnTo>
                    <a:lnTo>
                      <a:pt x="828" y="42"/>
                    </a:lnTo>
                    <a:lnTo>
                      <a:pt x="826" y="42"/>
                    </a:lnTo>
                    <a:lnTo>
                      <a:pt x="826" y="42"/>
                    </a:lnTo>
                    <a:lnTo>
                      <a:pt x="826" y="44"/>
                    </a:lnTo>
                    <a:lnTo>
                      <a:pt x="826" y="45"/>
                    </a:lnTo>
                    <a:lnTo>
                      <a:pt x="826" y="47"/>
                    </a:lnTo>
                    <a:lnTo>
                      <a:pt x="824" y="49"/>
                    </a:lnTo>
                    <a:lnTo>
                      <a:pt x="822" y="49"/>
                    </a:lnTo>
                    <a:lnTo>
                      <a:pt x="819" y="51"/>
                    </a:lnTo>
                    <a:lnTo>
                      <a:pt x="811" y="53"/>
                    </a:lnTo>
                    <a:lnTo>
                      <a:pt x="807" y="55"/>
                    </a:lnTo>
                    <a:lnTo>
                      <a:pt x="798" y="55"/>
                    </a:lnTo>
                    <a:lnTo>
                      <a:pt x="792" y="57"/>
                    </a:lnTo>
                    <a:lnTo>
                      <a:pt x="788" y="59"/>
                    </a:lnTo>
                    <a:lnTo>
                      <a:pt x="788" y="61"/>
                    </a:lnTo>
                    <a:lnTo>
                      <a:pt x="788" y="61"/>
                    </a:lnTo>
                    <a:lnTo>
                      <a:pt x="788" y="63"/>
                    </a:lnTo>
                    <a:lnTo>
                      <a:pt x="788" y="64"/>
                    </a:lnTo>
                    <a:lnTo>
                      <a:pt x="788" y="64"/>
                    </a:lnTo>
                    <a:lnTo>
                      <a:pt x="788" y="66"/>
                    </a:lnTo>
                    <a:lnTo>
                      <a:pt x="786" y="68"/>
                    </a:lnTo>
                    <a:lnTo>
                      <a:pt x="786" y="68"/>
                    </a:lnTo>
                    <a:lnTo>
                      <a:pt x="780" y="68"/>
                    </a:lnTo>
                    <a:lnTo>
                      <a:pt x="777" y="70"/>
                    </a:lnTo>
                    <a:lnTo>
                      <a:pt x="773" y="70"/>
                    </a:lnTo>
                    <a:lnTo>
                      <a:pt x="765" y="72"/>
                    </a:lnTo>
                    <a:lnTo>
                      <a:pt x="761" y="72"/>
                    </a:lnTo>
                    <a:lnTo>
                      <a:pt x="759" y="72"/>
                    </a:lnTo>
                    <a:lnTo>
                      <a:pt x="750" y="72"/>
                    </a:lnTo>
                    <a:lnTo>
                      <a:pt x="742" y="70"/>
                    </a:lnTo>
                    <a:lnTo>
                      <a:pt x="742" y="70"/>
                    </a:lnTo>
                    <a:lnTo>
                      <a:pt x="738" y="68"/>
                    </a:lnTo>
                    <a:lnTo>
                      <a:pt x="738" y="66"/>
                    </a:lnTo>
                    <a:lnTo>
                      <a:pt x="737" y="66"/>
                    </a:lnTo>
                    <a:lnTo>
                      <a:pt x="735" y="66"/>
                    </a:lnTo>
                    <a:lnTo>
                      <a:pt x="733" y="66"/>
                    </a:lnTo>
                    <a:lnTo>
                      <a:pt x="731" y="66"/>
                    </a:lnTo>
                    <a:lnTo>
                      <a:pt x="731" y="68"/>
                    </a:lnTo>
                    <a:lnTo>
                      <a:pt x="729" y="68"/>
                    </a:lnTo>
                    <a:lnTo>
                      <a:pt x="727" y="68"/>
                    </a:lnTo>
                    <a:lnTo>
                      <a:pt x="727" y="68"/>
                    </a:lnTo>
                    <a:lnTo>
                      <a:pt x="725" y="68"/>
                    </a:lnTo>
                    <a:lnTo>
                      <a:pt x="725" y="68"/>
                    </a:lnTo>
                    <a:lnTo>
                      <a:pt x="725" y="68"/>
                    </a:lnTo>
                    <a:lnTo>
                      <a:pt x="725" y="68"/>
                    </a:lnTo>
                    <a:lnTo>
                      <a:pt x="725" y="68"/>
                    </a:lnTo>
                    <a:lnTo>
                      <a:pt x="725" y="66"/>
                    </a:lnTo>
                    <a:lnTo>
                      <a:pt x="725" y="63"/>
                    </a:lnTo>
                    <a:lnTo>
                      <a:pt x="725" y="61"/>
                    </a:lnTo>
                    <a:lnTo>
                      <a:pt x="723" y="59"/>
                    </a:lnTo>
                    <a:lnTo>
                      <a:pt x="723" y="55"/>
                    </a:lnTo>
                    <a:lnTo>
                      <a:pt x="723" y="53"/>
                    </a:lnTo>
                    <a:lnTo>
                      <a:pt x="721" y="53"/>
                    </a:lnTo>
                    <a:lnTo>
                      <a:pt x="721" y="53"/>
                    </a:lnTo>
                    <a:lnTo>
                      <a:pt x="717" y="53"/>
                    </a:lnTo>
                    <a:lnTo>
                      <a:pt x="717" y="53"/>
                    </a:lnTo>
                    <a:lnTo>
                      <a:pt x="716" y="53"/>
                    </a:lnTo>
                    <a:lnTo>
                      <a:pt x="714" y="53"/>
                    </a:lnTo>
                    <a:lnTo>
                      <a:pt x="714" y="55"/>
                    </a:lnTo>
                    <a:lnTo>
                      <a:pt x="710" y="59"/>
                    </a:lnTo>
                    <a:lnTo>
                      <a:pt x="704" y="61"/>
                    </a:lnTo>
                    <a:lnTo>
                      <a:pt x="698" y="61"/>
                    </a:lnTo>
                    <a:lnTo>
                      <a:pt x="696" y="63"/>
                    </a:lnTo>
                    <a:lnTo>
                      <a:pt x="695" y="64"/>
                    </a:lnTo>
                    <a:lnTo>
                      <a:pt x="693" y="66"/>
                    </a:lnTo>
                    <a:lnTo>
                      <a:pt x="691" y="70"/>
                    </a:lnTo>
                    <a:lnTo>
                      <a:pt x="687" y="72"/>
                    </a:lnTo>
                    <a:lnTo>
                      <a:pt x="683" y="74"/>
                    </a:lnTo>
                    <a:lnTo>
                      <a:pt x="676" y="78"/>
                    </a:lnTo>
                    <a:lnTo>
                      <a:pt x="660" y="84"/>
                    </a:lnTo>
                    <a:lnTo>
                      <a:pt x="658" y="84"/>
                    </a:lnTo>
                    <a:lnTo>
                      <a:pt x="656" y="84"/>
                    </a:lnTo>
                    <a:lnTo>
                      <a:pt x="653" y="82"/>
                    </a:lnTo>
                    <a:lnTo>
                      <a:pt x="647" y="80"/>
                    </a:lnTo>
                    <a:lnTo>
                      <a:pt x="647" y="80"/>
                    </a:lnTo>
                    <a:lnTo>
                      <a:pt x="645" y="80"/>
                    </a:lnTo>
                    <a:lnTo>
                      <a:pt x="641" y="82"/>
                    </a:lnTo>
                    <a:lnTo>
                      <a:pt x="639" y="84"/>
                    </a:lnTo>
                    <a:lnTo>
                      <a:pt x="635" y="85"/>
                    </a:lnTo>
                    <a:lnTo>
                      <a:pt x="634" y="85"/>
                    </a:lnTo>
                    <a:lnTo>
                      <a:pt x="634" y="85"/>
                    </a:lnTo>
                    <a:lnTo>
                      <a:pt x="634" y="85"/>
                    </a:lnTo>
                    <a:lnTo>
                      <a:pt x="632" y="84"/>
                    </a:lnTo>
                    <a:lnTo>
                      <a:pt x="632" y="84"/>
                    </a:lnTo>
                    <a:lnTo>
                      <a:pt x="628" y="84"/>
                    </a:lnTo>
                    <a:lnTo>
                      <a:pt x="626" y="84"/>
                    </a:lnTo>
                    <a:lnTo>
                      <a:pt x="624" y="84"/>
                    </a:lnTo>
                    <a:lnTo>
                      <a:pt x="624" y="84"/>
                    </a:lnTo>
                    <a:lnTo>
                      <a:pt x="622" y="85"/>
                    </a:lnTo>
                    <a:lnTo>
                      <a:pt x="620" y="85"/>
                    </a:lnTo>
                    <a:lnTo>
                      <a:pt x="618" y="85"/>
                    </a:lnTo>
                    <a:lnTo>
                      <a:pt x="618" y="85"/>
                    </a:lnTo>
                    <a:lnTo>
                      <a:pt x="616" y="84"/>
                    </a:lnTo>
                    <a:lnTo>
                      <a:pt x="616" y="84"/>
                    </a:lnTo>
                    <a:lnTo>
                      <a:pt x="614" y="82"/>
                    </a:lnTo>
                    <a:lnTo>
                      <a:pt x="614" y="82"/>
                    </a:lnTo>
                    <a:lnTo>
                      <a:pt x="613" y="82"/>
                    </a:lnTo>
                    <a:lnTo>
                      <a:pt x="611" y="80"/>
                    </a:lnTo>
                    <a:lnTo>
                      <a:pt x="611" y="82"/>
                    </a:lnTo>
                    <a:lnTo>
                      <a:pt x="611" y="82"/>
                    </a:lnTo>
                    <a:lnTo>
                      <a:pt x="609" y="84"/>
                    </a:lnTo>
                    <a:lnTo>
                      <a:pt x="609" y="84"/>
                    </a:lnTo>
                    <a:lnTo>
                      <a:pt x="607" y="84"/>
                    </a:lnTo>
                    <a:lnTo>
                      <a:pt x="607" y="84"/>
                    </a:lnTo>
                    <a:lnTo>
                      <a:pt x="607" y="82"/>
                    </a:lnTo>
                    <a:lnTo>
                      <a:pt x="607" y="80"/>
                    </a:lnTo>
                    <a:lnTo>
                      <a:pt x="603" y="74"/>
                    </a:lnTo>
                    <a:lnTo>
                      <a:pt x="601" y="70"/>
                    </a:lnTo>
                    <a:lnTo>
                      <a:pt x="601" y="70"/>
                    </a:lnTo>
                    <a:lnTo>
                      <a:pt x="601" y="68"/>
                    </a:lnTo>
                    <a:lnTo>
                      <a:pt x="601" y="66"/>
                    </a:lnTo>
                    <a:lnTo>
                      <a:pt x="601" y="64"/>
                    </a:lnTo>
                    <a:lnTo>
                      <a:pt x="601" y="64"/>
                    </a:lnTo>
                    <a:lnTo>
                      <a:pt x="601" y="63"/>
                    </a:lnTo>
                    <a:lnTo>
                      <a:pt x="603" y="63"/>
                    </a:lnTo>
                    <a:lnTo>
                      <a:pt x="616" y="64"/>
                    </a:lnTo>
                    <a:lnTo>
                      <a:pt x="618" y="64"/>
                    </a:lnTo>
                    <a:lnTo>
                      <a:pt x="618" y="63"/>
                    </a:lnTo>
                    <a:lnTo>
                      <a:pt x="618" y="63"/>
                    </a:lnTo>
                    <a:lnTo>
                      <a:pt x="618" y="61"/>
                    </a:lnTo>
                    <a:lnTo>
                      <a:pt x="616" y="59"/>
                    </a:lnTo>
                    <a:lnTo>
                      <a:pt x="616" y="59"/>
                    </a:lnTo>
                    <a:lnTo>
                      <a:pt x="616" y="57"/>
                    </a:lnTo>
                    <a:lnTo>
                      <a:pt x="616" y="55"/>
                    </a:lnTo>
                    <a:lnTo>
                      <a:pt x="616" y="53"/>
                    </a:lnTo>
                    <a:lnTo>
                      <a:pt x="616" y="44"/>
                    </a:lnTo>
                    <a:lnTo>
                      <a:pt x="614" y="42"/>
                    </a:lnTo>
                    <a:lnTo>
                      <a:pt x="614" y="40"/>
                    </a:lnTo>
                    <a:lnTo>
                      <a:pt x="613" y="40"/>
                    </a:lnTo>
                    <a:lnTo>
                      <a:pt x="611" y="38"/>
                    </a:lnTo>
                    <a:lnTo>
                      <a:pt x="609" y="38"/>
                    </a:lnTo>
                    <a:lnTo>
                      <a:pt x="609" y="38"/>
                    </a:lnTo>
                    <a:lnTo>
                      <a:pt x="609" y="38"/>
                    </a:lnTo>
                    <a:lnTo>
                      <a:pt x="609" y="36"/>
                    </a:lnTo>
                    <a:lnTo>
                      <a:pt x="609" y="36"/>
                    </a:lnTo>
                    <a:lnTo>
                      <a:pt x="607" y="34"/>
                    </a:lnTo>
                    <a:lnTo>
                      <a:pt x="605" y="34"/>
                    </a:lnTo>
                    <a:lnTo>
                      <a:pt x="605" y="34"/>
                    </a:lnTo>
                    <a:lnTo>
                      <a:pt x="588" y="32"/>
                    </a:lnTo>
                    <a:lnTo>
                      <a:pt x="586" y="34"/>
                    </a:lnTo>
                    <a:lnTo>
                      <a:pt x="584" y="34"/>
                    </a:lnTo>
                    <a:lnTo>
                      <a:pt x="584" y="36"/>
                    </a:lnTo>
                    <a:lnTo>
                      <a:pt x="582" y="38"/>
                    </a:lnTo>
                    <a:lnTo>
                      <a:pt x="578" y="38"/>
                    </a:lnTo>
                    <a:lnTo>
                      <a:pt x="578" y="38"/>
                    </a:lnTo>
                    <a:lnTo>
                      <a:pt x="576" y="40"/>
                    </a:lnTo>
                    <a:lnTo>
                      <a:pt x="576" y="42"/>
                    </a:lnTo>
                    <a:lnTo>
                      <a:pt x="574" y="42"/>
                    </a:lnTo>
                    <a:lnTo>
                      <a:pt x="574" y="42"/>
                    </a:lnTo>
                    <a:lnTo>
                      <a:pt x="573" y="42"/>
                    </a:lnTo>
                    <a:lnTo>
                      <a:pt x="573" y="42"/>
                    </a:lnTo>
                    <a:lnTo>
                      <a:pt x="571" y="42"/>
                    </a:lnTo>
                    <a:lnTo>
                      <a:pt x="571" y="42"/>
                    </a:lnTo>
                    <a:lnTo>
                      <a:pt x="571" y="40"/>
                    </a:lnTo>
                    <a:lnTo>
                      <a:pt x="571" y="40"/>
                    </a:lnTo>
                    <a:lnTo>
                      <a:pt x="569" y="40"/>
                    </a:lnTo>
                    <a:lnTo>
                      <a:pt x="567" y="38"/>
                    </a:lnTo>
                    <a:lnTo>
                      <a:pt x="561" y="40"/>
                    </a:lnTo>
                    <a:lnTo>
                      <a:pt x="555" y="42"/>
                    </a:lnTo>
                    <a:lnTo>
                      <a:pt x="550" y="44"/>
                    </a:lnTo>
                    <a:lnTo>
                      <a:pt x="536" y="53"/>
                    </a:lnTo>
                    <a:lnTo>
                      <a:pt x="534" y="55"/>
                    </a:lnTo>
                    <a:lnTo>
                      <a:pt x="527" y="55"/>
                    </a:lnTo>
                    <a:lnTo>
                      <a:pt x="523" y="57"/>
                    </a:lnTo>
                    <a:lnTo>
                      <a:pt x="521" y="59"/>
                    </a:lnTo>
                    <a:lnTo>
                      <a:pt x="519" y="63"/>
                    </a:lnTo>
                    <a:lnTo>
                      <a:pt x="519" y="64"/>
                    </a:lnTo>
                    <a:lnTo>
                      <a:pt x="519" y="64"/>
                    </a:lnTo>
                    <a:lnTo>
                      <a:pt x="519" y="68"/>
                    </a:lnTo>
                    <a:lnTo>
                      <a:pt x="519" y="68"/>
                    </a:lnTo>
                    <a:lnTo>
                      <a:pt x="519" y="70"/>
                    </a:lnTo>
                    <a:lnTo>
                      <a:pt x="519" y="70"/>
                    </a:lnTo>
                    <a:lnTo>
                      <a:pt x="519" y="70"/>
                    </a:lnTo>
                    <a:lnTo>
                      <a:pt x="519" y="72"/>
                    </a:lnTo>
                    <a:lnTo>
                      <a:pt x="517" y="74"/>
                    </a:lnTo>
                    <a:lnTo>
                      <a:pt x="515" y="74"/>
                    </a:lnTo>
                    <a:lnTo>
                      <a:pt x="515" y="76"/>
                    </a:lnTo>
                    <a:lnTo>
                      <a:pt x="512" y="82"/>
                    </a:lnTo>
                    <a:lnTo>
                      <a:pt x="512" y="82"/>
                    </a:lnTo>
                    <a:lnTo>
                      <a:pt x="510" y="84"/>
                    </a:lnTo>
                    <a:lnTo>
                      <a:pt x="506" y="85"/>
                    </a:lnTo>
                    <a:lnTo>
                      <a:pt x="502" y="89"/>
                    </a:lnTo>
                    <a:lnTo>
                      <a:pt x="500" y="89"/>
                    </a:lnTo>
                    <a:lnTo>
                      <a:pt x="500" y="91"/>
                    </a:lnTo>
                    <a:lnTo>
                      <a:pt x="500" y="93"/>
                    </a:lnTo>
                    <a:lnTo>
                      <a:pt x="502" y="93"/>
                    </a:lnTo>
                    <a:lnTo>
                      <a:pt x="502" y="97"/>
                    </a:lnTo>
                    <a:lnTo>
                      <a:pt x="502" y="103"/>
                    </a:lnTo>
                    <a:lnTo>
                      <a:pt x="502" y="104"/>
                    </a:lnTo>
                    <a:lnTo>
                      <a:pt x="500" y="106"/>
                    </a:lnTo>
                    <a:lnTo>
                      <a:pt x="500" y="108"/>
                    </a:lnTo>
                    <a:lnTo>
                      <a:pt x="498" y="110"/>
                    </a:lnTo>
                    <a:lnTo>
                      <a:pt x="489" y="110"/>
                    </a:lnTo>
                    <a:lnTo>
                      <a:pt x="487" y="110"/>
                    </a:lnTo>
                    <a:lnTo>
                      <a:pt x="483" y="112"/>
                    </a:lnTo>
                    <a:lnTo>
                      <a:pt x="481" y="114"/>
                    </a:lnTo>
                    <a:lnTo>
                      <a:pt x="479" y="116"/>
                    </a:lnTo>
                    <a:lnTo>
                      <a:pt x="477" y="120"/>
                    </a:lnTo>
                    <a:lnTo>
                      <a:pt x="475" y="122"/>
                    </a:lnTo>
                    <a:lnTo>
                      <a:pt x="471" y="123"/>
                    </a:lnTo>
                    <a:lnTo>
                      <a:pt x="468" y="125"/>
                    </a:lnTo>
                    <a:lnTo>
                      <a:pt x="460" y="125"/>
                    </a:lnTo>
                    <a:lnTo>
                      <a:pt x="456" y="127"/>
                    </a:lnTo>
                    <a:lnTo>
                      <a:pt x="445" y="125"/>
                    </a:lnTo>
                    <a:lnTo>
                      <a:pt x="441" y="123"/>
                    </a:lnTo>
                    <a:lnTo>
                      <a:pt x="439" y="122"/>
                    </a:lnTo>
                    <a:lnTo>
                      <a:pt x="435" y="116"/>
                    </a:lnTo>
                    <a:lnTo>
                      <a:pt x="433" y="116"/>
                    </a:lnTo>
                    <a:lnTo>
                      <a:pt x="433" y="114"/>
                    </a:lnTo>
                    <a:lnTo>
                      <a:pt x="433" y="114"/>
                    </a:lnTo>
                    <a:lnTo>
                      <a:pt x="433" y="114"/>
                    </a:lnTo>
                    <a:lnTo>
                      <a:pt x="433" y="114"/>
                    </a:lnTo>
                    <a:lnTo>
                      <a:pt x="435" y="114"/>
                    </a:lnTo>
                    <a:lnTo>
                      <a:pt x="435" y="114"/>
                    </a:lnTo>
                    <a:lnTo>
                      <a:pt x="435" y="114"/>
                    </a:lnTo>
                    <a:lnTo>
                      <a:pt x="437" y="114"/>
                    </a:lnTo>
                    <a:lnTo>
                      <a:pt x="439" y="112"/>
                    </a:lnTo>
                    <a:lnTo>
                      <a:pt x="439" y="110"/>
                    </a:lnTo>
                    <a:lnTo>
                      <a:pt x="437" y="104"/>
                    </a:lnTo>
                    <a:lnTo>
                      <a:pt x="437" y="99"/>
                    </a:lnTo>
                    <a:lnTo>
                      <a:pt x="435" y="91"/>
                    </a:lnTo>
                    <a:lnTo>
                      <a:pt x="433" y="89"/>
                    </a:lnTo>
                    <a:lnTo>
                      <a:pt x="431" y="87"/>
                    </a:lnTo>
                    <a:lnTo>
                      <a:pt x="430" y="87"/>
                    </a:lnTo>
                    <a:lnTo>
                      <a:pt x="428" y="87"/>
                    </a:lnTo>
                    <a:lnTo>
                      <a:pt x="428" y="87"/>
                    </a:lnTo>
                    <a:lnTo>
                      <a:pt x="426" y="87"/>
                    </a:lnTo>
                    <a:lnTo>
                      <a:pt x="420" y="85"/>
                    </a:lnTo>
                    <a:lnTo>
                      <a:pt x="414" y="84"/>
                    </a:lnTo>
                    <a:lnTo>
                      <a:pt x="412" y="84"/>
                    </a:lnTo>
                    <a:lnTo>
                      <a:pt x="409" y="84"/>
                    </a:lnTo>
                    <a:lnTo>
                      <a:pt x="405" y="84"/>
                    </a:lnTo>
                    <a:lnTo>
                      <a:pt x="397" y="85"/>
                    </a:lnTo>
                    <a:lnTo>
                      <a:pt x="384" y="85"/>
                    </a:lnTo>
                    <a:lnTo>
                      <a:pt x="378" y="85"/>
                    </a:lnTo>
                    <a:lnTo>
                      <a:pt x="374" y="85"/>
                    </a:lnTo>
                    <a:lnTo>
                      <a:pt x="372" y="85"/>
                    </a:lnTo>
                    <a:lnTo>
                      <a:pt x="370" y="85"/>
                    </a:lnTo>
                    <a:lnTo>
                      <a:pt x="367" y="85"/>
                    </a:lnTo>
                    <a:lnTo>
                      <a:pt x="363" y="87"/>
                    </a:lnTo>
                    <a:lnTo>
                      <a:pt x="361" y="87"/>
                    </a:lnTo>
                    <a:lnTo>
                      <a:pt x="355" y="85"/>
                    </a:lnTo>
                    <a:lnTo>
                      <a:pt x="344" y="85"/>
                    </a:lnTo>
                    <a:lnTo>
                      <a:pt x="342" y="85"/>
                    </a:lnTo>
                    <a:lnTo>
                      <a:pt x="340" y="85"/>
                    </a:lnTo>
                    <a:lnTo>
                      <a:pt x="340" y="85"/>
                    </a:lnTo>
                    <a:lnTo>
                      <a:pt x="334" y="85"/>
                    </a:lnTo>
                    <a:lnTo>
                      <a:pt x="321" y="84"/>
                    </a:lnTo>
                    <a:lnTo>
                      <a:pt x="315" y="80"/>
                    </a:lnTo>
                    <a:lnTo>
                      <a:pt x="313" y="80"/>
                    </a:lnTo>
                    <a:lnTo>
                      <a:pt x="311" y="78"/>
                    </a:lnTo>
                    <a:lnTo>
                      <a:pt x="311" y="76"/>
                    </a:lnTo>
                    <a:lnTo>
                      <a:pt x="309" y="76"/>
                    </a:lnTo>
                    <a:lnTo>
                      <a:pt x="309" y="72"/>
                    </a:lnTo>
                    <a:lnTo>
                      <a:pt x="304" y="64"/>
                    </a:lnTo>
                    <a:lnTo>
                      <a:pt x="302" y="63"/>
                    </a:lnTo>
                    <a:lnTo>
                      <a:pt x="300" y="61"/>
                    </a:lnTo>
                    <a:lnTo>
                      <a:pt x="296" y="59"/>
                    </a:lnTo>
                    <a:lnTo>
                      <a:pt x="296" y="59"/>
                    </a:lnTo>
                    <a:lnTo>
                      <a:pt x="290" y="59"/>
                    </a:lnTo>
                    <a:lnTo>
                      <a:pt x="288" y="59"/>
                    </a:lnTo>
                    <a:lnTo>
                      <a:pt x="286" y="57"/>
                    </a:lnTo>
                    <a:lnTo>
                      <a:pt x="285" y="55"/>
                    </a:lnTo>
                    <a:lnTo>
                      <a:pt x="283" y="55"/>
                    </a:lnTo>
                    <a:lnTo>
                      <a:pt x="283" y="55"/>
                    </a:lnTo>
                    <a:lnTo>
                      <a:pt x="279" y="53"/>
                    </a:lnTo>
                    <a:lnTo>
                      <a:pt x="277" y="53"/>
                    </a:lnTo>
                    <a:lnTo>
                      <a:pt x="266" y="55"/>
                    </a:lnTo>
                    <a:lnTo>
                      <a:pt x="262" y="55"/>
                    </a:lnTo>
                    <a:lnTo>
                      <a:pt x="258" y="55"/>
                    </a:lnTo>
                    <a:lnTo>
                      <a:pt x="258" y="53"/>
                    </a:lnTo>
                    <a:lnTo>
                      <a:pt x="256" y="53"/>
                    </a:lnTo>
                    <a:lnTo>
                      <a:pt x="254" y="51"/>
                    </a:lnTo>
                    <a:lnTo>
                      <a:pt x="252" y="49"/>
                    </a:lnTo>
                    <a:lnTo>
                      <a:pt x="246" y="47"/>
                    </a:lnTo>
                    <a:lnTo>
                      <a:pt x="245" y="47"/>
                    </a:lnTo>
                    <a:lnTo>
                      <a:pt x="241" y="44"/>
                    </a:lnTo>
                    <a:lnTo>
                      <a:pt x="237" y="42"/>
                    </a:lnTo>
                    <a:lnTo>
                      <a:pt x="235" y="40"/>
                    </a:lnTo>
                    <a:lnTo>
                      <a:pt x="235" y="40"/>
                    </a:lnTo>
                    <a:lnTo>
                      <a:pt x="233" y="38"/>
                    </a:lnTo>
                    <a:lnTo>
                      <a:pt x="233" y="34"/>
                    </a:lnTo>
                    <a:lnTo>
                      <a:pt x="233" y="32"/>
                    </a:lnTo>
                    <a:lnTo>
                      <a:pt x="231" y="30"/>
                    </a:lnTo>
                    <a:lnTo>
                      <a:pt x="231" y="28"/>
                    </a:lnTo>
                    <a:lnTo>
                      <a:pt x="231" y="26"/>
                    </a:lnTo>
                    <a:lnTo>
                      <a:pt x="231" y="15"/>
                    </a:lnTo>
                    <a:lnTo>
                      <a:pt x="231" y="13"/>
                    </a:lnTo>
                    <a:lnTo>
                      <a:pt x="231" y="9"/>
                    </a:lnTo>
                    <a:lnTo>
                      <a:pt x="224" y="2"/>
                    </a:lnTo>
                    <a:lnTo>
                      <a:pt x="222" y="0"/>
                    </a:lnTo>
                    <a:lnTo>
                      <a:pt x="220" y="0"/>
                    </a:lnTo>
                    <a:lnTo>
                      <a:pt x="214" y="4"/>
                    </a:lnTo>
                    <a:lnTo>
                      <a:pt x="212" y="4"/>
                    </a:lnTo>
                    <a:lnTo>
                      <a:pt x="210" y="5"/>
                    </a:lnTo>
                    <a:lnTo>
                      <a:pt x="208" y="5"/>
                    </a:lnTo>
                    <a:lnTo>
                      <a:pt x="206" y="7"/>
                    </a:lnTo>
                    <a:lnTo>
                      <a:pt x="206" y="7"/>
                    </a:lnTo>
                    <a:lnTo>
                      <a:pt x="206" y="7"/>
                    </a:lnTo>
                    <a:lnTo>
                      <a:pt x="206" y="7"/>
                    </a:lnTo>
                    <a:lnTo>
                      <a:pt x="206" y="9"/>
                    </a:lnTo>
                    <a:lnTo>
                      <a:pt x="206" y="9"/>
                    </a:lnTo>
                    <a:lnTo>
                      <a:pt x="204" y="11"/>
                    </a:lnTo>
                    <a:lnTo>
                      <a:pt x="201" y="11"/>
                    </a:lnTo>
                    <a:lnTo>
                      <a:pt x="199" y="11"/>
                    </a:lnTo>
                    <a:lnTo>
                      <a:pt x="195" y="13"/>
                    </a:lnTo>
                    <a:lnTo>
                      <a:pt x="193" y="11"/>
                    </a:lnTo>
                    <a:lnTo>
                      <a:pt x="189" y="9"/>
                    </a:lnTo>
                    <a:lnTo>
                      <a:pt x="185" y="9"/>
                    </a:lnTo>
                    <a:lnTo>
                      <a:pt x="178" y="9"/>
                    </a:lnTo>
                    <a:lnTo>
                      <a:pt x="166" y="15"/>
                    </a:lnTo>
                    <a:lnTo>
                      <a:pt x="166" y="17"/>
                    </a:lnTo>
                    <a:lnTo>
                      <a:pt x="163" y="19"/>
                    </a:lnTo>
                    <a:lnTo>
                      <a:pt x="159" y="21"/>
                    </a:lnTo>
                    <a:lnTo>
                      <a:pt x="157" y="19"/>
                    </a:lnTo>
                    <a:lnTo>
                      <a:pt x="153" y="23"/>
                    </a:lnTo>
                    <a:lnTo>
                      <a:pt x="149" y="23"/>
                    </a:lnTo>
                    <a:lnTo>
                      <a:pt x="147" y="23"/>
                    </a:lnTo>
                    <a:lnTo>
                      <a:pt x="145" y="25"/>
                    </a:lnTo>
                    <a:lnTo>
                      <a:pt x="145" y="26"/>
                    </a:lnTo>
                    <a:lnTo>
                      <a:pt x="143" y="28"/>
                    </a:lnTo>
                    <a:lnTo>
                      <a:pt x="145" y="30"/>
                    </a:lnTo>
                    <a:lnTo>
                      <a:pt x="145" y="34"/>
                    </a:lnTo>
                    <a:lnTo>
                      <a:pt x="145" y="36"/>
                    </a:lnTo>
                    <a:lnTo>
                      <a:pt x="145" y="38"/>
                    </a:lnTo>
                    <a:lnTo>
                      <a:pt x="145" y="40"/>
                    </a:lnTo>
                    <a:lnTo>
                      <a:pt x="147" y="40"/>
                    </a:lnTo>
                    <a:lnTo>
                      <a:pt x="149" y="42"/>
                    </a:lnTo>
                    <a:lnTo>
                      <a:pt x="149" y="44"/>
                    </a:lnTo>
                    <a:lnTo>
                      <a:pt x="149" y="45"/>
                    </a:lnTo>
                    <a:lnTo>
                      <a:pt x="149" y="49"/>
                    </a:lnTo>
                    <a:lnTo>
                      <a:pt x="145" y="51"/>
                    </a:lnTo>
                    <a:lnTo>
                      <a:pt x="143" y="53"/>
                    </a:lnTo>
                    <a:lnTo>
                      <a:pt x="140" y="53"/>
                    </a:lnTo>
                    <a:lnTo>
                      <a:pt x="140" y="53"/>
                    </a:lnTo>
                    <a:lnTo>
                      <a:pt x="140" y="55"/>
                    </a:lnTo>
                    <a:lnTo>
                      <a:pt x="140" y="57"/>
                    </a:lnTo>
                    <a:lnTo>
                      <a:pt x="140" y="59"/>
                    </a:lnTo>
                    <a:lnTo>
                      <a:pt x="143" y="63"/>
                    </a:lnTo>
                    <a:lnTo>
                      <a:pt x="145" y="64"/>
                    </a:lnTo>
                    <a:lnTo>
                      <a:pt x="145" y="66"/>
                    </a:lnTo>
                    <a:lnTo>
                      <a:pt x="147" y="68"/>
                    </a:lnTo>
                    <a:lnTo>
                      <a:pt x="147" y="68"/>
                    </a:lnTo>
                    <a:lnTo>
                      <a:pt x="149" y="68"/>
                    </a:lnTo>
                    <a:lnTo>
                      <a:pt x="151" y="66"/>
                    </a:lnTo>
                    <a:lnTo>
                      <a:pt x="161" y="64"/>
                    </a:lnTo>
                    <a:lnTo>
                      <a:pt x="164" y="64"/>
                    </a:lnTo>
                    <a:lnTo>
                      <a:pt x="170" y="63"/>
                    </a:lnTo>
                    <a:lnTo>
                      <a:pt x="172" y="61"/>
                    </a:lnTo>
                    <a:lnTo>
                      <a:pt x="174" y="61"/>
                    </a:lnTo>
                    <a:lnTo>
                      <a:pt x="184" y="63"/>
                    </a:lnTo>
                    <a:lnTo>
                      <a:pt x="185" y="63"/>
                    </a:lnTo>
                    <a:lnTo>
                      <a:pt x="185" y="61"/>
                    </a:lnTo>
                    <a:lnTo>
                      <a:pt x="185" y="61"/>
                    </a:lnTo>
                    <a:lnTo>
                      <a:pt x="187" y="61"/>
                    </a:lnTo>
                    <a:lnTo>
                      <a:pt x="187" y="61"/>
                    </a:lnTo>
                    <a:lnTo>
                      <a:pt x="189" y="61"/>
                    </a:lnTo>
                    <a:lnTo>
                      <a:pt x="189" y="61"/>
                    </a:lnTo>
                    <a:lnTo>
                      <a:pt x="191" y="61"/>
                    </a:lnTo>
                    <a:lnTo>
                      <a:pt x="191" y="61"/>
                    </a:lnTo>
                    <a:lnTo>
                      <a:pt x="191" y="63"/>
                    </a:lnTo>
                    <a:lnTo>
                      <a:pt x="193" y="63"/>
                    </a:lnTo>
                    <a:lnTo>
                      <a:pt x="193" y="63"/>
                    </a:lnTo>
                    <a:lnTo>
                      <a:pt x="199" y="63"/>
                    </a:lnTo>
                    <a:lnTo>
                      <a:pt x="201" y="63"/>
                    </a:lnTo>
                    <a:lnTo>
                      <a:pt x="201" y="61"/>
                    </a:lnTo>
                    <a:lnTo>
                      <a:pt x="203" y="61"/>
                    </a:lnTo>
                    <a:lnTo>
                      <a:pt x="204" y="59"/>
                    </a:lnTo>
                    <a:lnTo>
                      <a:pt x="204" y="59"/>
                    </a:lnTo>
                    <a:lnTo>
                      <a:pt x="206" y="59"/>
                    </a:lnTo>
                    <a:lnTo>
                      <a:pt x="206" y="61"/>
                    </a:lnTo>
                    <a:lnTo>
                      <a:pt x="206" y="61"/>
                    </a:lnTo>
                    <a:lnTo>
                      <a:pt x="206" y="63"/>
                    </a:lnTo>
                    <a:lnTo>
                      <a:pt x="208" y="63"/>
                    </a:lnTo>
                    <a:lnTo>
                      <a:pt x="208" y="64"/>
                    </a:lnTo>
                    <a:lnTo>
                      <a:pt x="208" y="66"/>
                    </a:lnTo>
                    <a:lnTo>
                      <a:pt x="206" y="66"/>
                    </a:lnTo>
                    <a:lnTo>
                      <a:pt x="206" y="68"/>
                    </a:lnTo>
                    <a:lnTo>
                      <a:pt x="204" y="68"/>
                    </a:lnTo>
                    <a:lnTo>
                      <a:pt x="203" y="70"/>
                    </a:lnTo>
                    <a:lnTo>
                      <a:pt x="201" y="72"/>
                    </a:lnTo>
                    <a:lnTo>
                      <a:pt x="184" y="76"/>
                    </a:lnTo>
                    <a:lnTo>
                      <a:pt x="182" y="76"/>
                    </a:lnTo>
                    <a:lnTo>
                      <a:pt x="182" y="76"/>
                    </a:lnTo>
                    <a:lnTo>
                      <a:pt x="178" y="74"/>
                    </a:lnTo>
                    <a:lnTo>
                      <a:pt x="176" y="74"/>
                    </a:lnTo>
                    <a:lnTo>
                      <a:pt x="176" y="74"/>
                    </a:lnTo>
                    <a:lnTo>
                      <a:pt x="174" y="76"/>
                    </a:lnTo>
                    <a:lnTo>
                      <a:pt x="170" y="80"/>
                    </a:lnTo>
                    <a:lnTo>
                      <a:pt x="168" y="82"/>
                    </a:lnTo>
                    <a:lnTo>
                      <a:pt x="166" y="82"/>
                    </a:lnTo>
                    <a:lnTo>
                      <a:pt x="164" y="84"/>
                    </a:lnTo>
                    <a:lnTo>
                      <a:pt x="163" y="87"/>
                    </a:lnTo>
                    <a:lnTo>
                      <a:pt x="161" y="95"/>
                    </a:lnTo>
                    <a:lnTo>
                      <a:pt x="161" y="97"/>
                    </a:lnTo>
                    <a:lnTo>
                      <a:pt x="159" y="99"/>
                    </a:lnTo>
                    <a:lnTo>
                      <a:pt x="151" y="101"/>
                    </a:lnTo>
                    <a:lnTo>
                      <a:pt x="149" y="101"/>
                    </a:lnTo>
                    <a:lnTo>
                      <a:pt x="149" y="101"/>
                    </a:lnTo>
                    <a:lnTo>
                      <a:pt x="147" y="99"/>
                    </a:lnTo>
                    <a:lnTo>
                      <a:pt x="145" y="99"/>
                    </a:lnTo>
                    <a:lnTo>
                      <a:pt x="145" y="99"/>
                    </a:lnTo>
                    <a:lnTo>
                      <a:pt x="143" y="101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0" y="110"/>
                    </a:lnTo>
                    <a:lnTo>
                      <a:pt x="138" y="110"/>
                    </a:lnTo>
                    <a:lnTo>
                      <a:pt x="136" y="110"/>
                    </a:lnTo>
                    <a:lnTo>
                      <a:pt x="136" y="112"/>
                    </a:lnTo>
                    <a:lnTo>
                      <a:pt x="134" y="112"/>
                    </a:lnTo>
                    <a:lnTo>
                      <a:pt x="132" y="114"/>
                    </a:lnTo>
                    <a:lnTo>
                      <a:pt x="132" y="114"/>
                    </a:lnTo>
                    <a:lnTo>
                      <a:pt x="132" y="114"/>
                    </a:lnTo>
                    <a:lnTo>
                      <a:pt x="130" y="114"/>
                    </a:lnTo>
                    <a:lnTo>
                      <a:pt x="130" y="114"/>
                    </a:lnTo>
                    <a:lnTo>
                      <a:pt x="128" y="114"/>
                    </a:lnTo>
                    <a:lnTo>
                      <a:pt x="128" y="114"/>
                    </a:lnTo>
                    <a:lnTo>
                      <a:pt x="126" y="114"/>
                    </a:lnTo>
                    <a:lnTo>
                      <a:pt x="126" y="114"/>
                    </a:lnTo>
                    <a:lnTo>
                      <a:pt x="124" y="114"/>
                    </a:lnTo>
                    <a:lnTo>
                      <a:pt x="124" y="114"/>
                    </a:lnTo>
                    <a:lnTo>
                      <a:pt x="117" y="110"/>
                    </a:lnTo>
                    <a:lnTo>
                      <a:pt x="115" y="110"/>
                    </a:lnTo>
                    <a:lnTo>
                      <a:pt x="115" y="110"/>
                    </a:lnTo>
                    <a:lnTo>
                      <a:pt x="115" y="110"/>
                    </a:lnTo>
                    <a:lnTo>
                      <a:pt x="113" y="110"/>
                    </a:lnTo>
                    <a:lnTo>
                      <a:pt x="113" y="112"/>
                    </a:lnTo>
                    <a:lnTo>
                      <a:pt x="115" y="114"/>
                    </a:lnTo>
                    <a:lnTo>
                      <a:pt x="119" y="118"/>
                    </a:lnTo>
                    <a:lnTo>
                      <a:pt x="124" y="122"/>
                    </a:lnTo>
                    <a:lnTo>
                      <a:pt x="126" y="122"/>
                    </a:lnTo>
                    <a:lnTo>
                      <a:pt x="128" y="122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2" y="120"/>
                    </a:lnTo>
                    <a:lnTo>
                      <a:pt x="132" y="122"/>
                    </a:lnTo>
                    <a:lnTo>
                      <a:pt x="134" y="122"/>
                    </a:lnTo>
                    <a:lnTo>
                      <a:pt x="136" y="123"/>
                    </a:lnTo>
                    <a:lnTo>
                      <a:pt x="136" y="125"/>
                    </a:lnTo>
                    <a:lnTo>
                      <a:pt x="138" y="127"/>
                    </a:lnTo>
                    <a:lnTo>
                      <a:pt x="142" y="129"/>
                    </a:lnTo>
                    <a:lnTo>
                      <a:pt x="143" y="129"/>
                    </a:lnTo>
                    <a:lnTo>
                      <a:pt x="145" y="131"/>
                    </a:lnTo>
                    <a:lnTo>
                      <a:pt x="147" y="133"/>
                    </a:lnTo>
                    <a:lnTo>
                      <a:pt x="149" y="137"/>
                    </a:lnTo>
                    <a:lnTo>
                      <a:pt x="151" y="139"/>
                    </a:lnTo>
                    <a:lnTo>
                      <a:pt x="153" y="139"/>
                    </a:lnTo>
                    <a:lnTo>
                      <a:pt x="153" y="141"/>
                    </a:lnTo>
                    <a:lnTo>
                      <a:pt x="155" y="142"/>
                    </a:lnTo>
                    <a:lnTo>
                      <a:pt x="155" y="146"/>
                    </a:lnTo>
                    <a:lnTo>
                      <a:pt x="157" y="148"/>
                    </a:lnTo>
                    <a:lnTo>
                      <a:pt x="159" y="152"/>
                    </a:lnTo>
                    <a:lnTo>
                      <a:pt x="159" y="163"/>
                    </a:lnTo>
                    <a:lnTo>
                      <a:pt x="159" y="165"/>
                    </a:lnTo>
                    <a:lnTo>
                      <a:pt x="159" y="167"/>
                    </a:lnTo>
                    <a:lnTo>
                      <a:pt x="159" y="169"/>
                    </a:lnTo>
                    <a:lnTo>
                      <a:pt x="157" y="169"/>
                    </a:lnTo>
                    <a:lnTo>
                      <a:pt x="157" y="171"/>
                    </a:lnTo>
                    <a:lnTo>
                      <a:pt x="149" y="177"/>
                    </a:lnTo>
                    <a:lnTo>
                      <a:pt x="145" y="181"/>
                    </a:lnTo>
                    <a:lnTo>
                      <a:pt x="145" y="181"/>
                    </a:lnTo>
                    <a:lnTo>
                      <a:pt x="147" y="182"/>
                    </a:lnTo>
                    <a:lnTo>
                      <a:pt x="145" y="184"/>
                    </a:lnTo>
                    <a:lnTo>
                      <a:pt x="145" y="186"/>
                    </a:lnTo>
                    <a:lnTo>
                      <a:pt x="145" y="188"/>
                    </a:lnTo>
                    <a:lnTo>
                      <a:pt x="143" y="190"/>
                    </a:lnTo>
                    <a:lnTo>
                      <a:pt x="142" y="190"/>
                    </a:lnTo>
                    <a:lnTo>
                      <a:pt x="140" y="192"/>
                    </a:lnTo>
                    <a:lnTo>
                      <a:pt x="138" y="192"/>
                    </a:lnTo>
                    <a:lnTo>
                      <a:pt x="134" y="194"/>
                    </a:lnTo>
                    <a:lnTo>
                      <a:pt x="132" y="196"/>
                    </a:lnTo>
                    <a:lnTo>
                      <a:pt x="126" y="196"/>
                    </a:lnTo>
                    <a:lnTo>
                      <a:pt x="124" y="196"/>
                    </a:lnTo>
                    <a:lnTo>
                      <a:pt x="124" y="196"/>
                    </a:lnTo>
                    <a:lnTo>
                      <a:pt x="122" y="194"/>
                    </a:lnTo>
                    <a:lnTo>
                      <a:pt x="121" y="190"/>
                    </a:lnTo>
                    <a:lnTo>
                      <a:pt x="119" y="188"/>
                    </a:lnTo>
                    <a:lnTo>
                      <a:pt x="117" y="186"/>
                    </a:lnTo>
                    <a:lnTo>
                      <a:pt x="113" y="184"/>
                    </a:lnTo>
                    <a:lnTo>
                      <a:pt x="107" y="182"/>
                    </a:lnTo>
                    <a:lnTo>
                      <a:pt x="107" y="181"/>
                    </a:lnTo>
                    <a:lnTo>
                      <a:pt x="105" y="181"/>
                    </a:lnTo>
                    <a:lnTo>
                      <a:pt x="105" y="181"/>
                    </a:lnTo>
                    <a:lnTo>
                      <a:pt x="103" y="181"/>
                    </a:lnTo>
                    <a:lnTo>
                      <a:pt x="103" y="177"/>
                    </a:lnTo>
                    <a:lnTo>
                      <a:pt x="102" y="175"/>
                    </a:lnTo>
                    <a:lnTo>
                      <a:pt x="102" y="175"/>
                    </a:lnTo>
                    <a:lnTo>
                      <a:pt x="102" y="175"/>
                    </a:lnTo>
                    <a:lnTo>
                      <a:pt x="100" y="175"/>
                    </a:lnTo>
                    <a:lnTo>
                      <a:pt x="100" y="175"/>
                    </a:lnTo>
                    <a:lnTo>
                      <a:pt x="98" y="175"/>
                    </a:lnTo>
                    <a:lnTo>
                      <a:pt x="98" y="179"/>
                    </a:lnTo>
                    <a:lnTo>
                      <a:pt x="96" y="181"/>
                    </a:lnTo>
                    <a:lnTo>
                      <a:pt x="92" y="182"/>
                    </a:lnTo>
                    <a:lnTo>
                      <a:pt x="90" y="182"/>
                    </a:lnTo>
                    <a:lnTo>
                      <a:pt x="90" y="184"/>
                    </a:lnTo>
                    <a:lnTo>
                      <a:pt x="90" y="184"/>
                    </a:lnTo>
                    <a:lnTo>
                      <a:pt x="92" y="184"/>
                    </a:lnTo>
                    <a:lnTo>
                      <a:pt x="92" y="184"/>
                    </a:lnTo>
                    <a:lnTo>
                      <a:pt x="94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6" y="190"/>
                    </a:lnTo>
                    <a:lnTo>
                      <a:pt x="98" y="192"/>
                    </a:lnTo>
                    <a:lnTo>
                      <a:pt x="98" y="192"/>
                    </a:lnTo>
                    <a:lnTo>
                      <a:pt x="98" y="192"/>
                    </a:lnTo>
                    <a:lnTo>
                      <a:pt x="100" y="192"/>
                    </a:lnTo>
                    <a:lnTo>
                      <a:pt x="100" y="192"/>
                    </a:lnTo>
                    <a:lnTo>
                      <a:pt x="100" y="192"/>
                    </a:lnTo>
                    <a:lnTo>
                      <a:pt x="102" y="192"/>
                    </a:lnTo>
                    <a:lnTo>
                      <a:pt x="102" y="194"/>
                    </a:lnTo>
                    <a:lnTo>
                      <a:pt x="102" y="198"/>
                    </a:lnTo>
                    <a:lnTo>
                      <a:pt x="102" y="201"/>
                    </a:lnTo>
                    <a:lnTo>
                      <a:pt x="100" y="203"/>
                    </a:lnTo>
                    <a:lnTo>
                      <a:pt x="94" y="215"/>
                    </a:lnTo>
                    <a:lnTo>
                      <a:pt x="90" y="219"/>
                    </a:lnTo>
                    <a:lnTo>
                      <a:pt x="90" y="220"/>
                    </a:lnTo>
                    <a:lnTo>
                      <a:pt x="90" y="222"/>
                    </a:lnTo>
                    <a:lnTo>
                      <a:pt x="90" y="222"/>
                    </a:lnTo>
                    <a:lnTo>
                      <a:pt x="92" y="222"/>
                    </a:lnTo>
                    <a:lnTo>
                      <a:pt x="92" y="222"/>
                    </a:lnTo>
                    <a:lnTo>
                      <a:pt x="92" y="224"/>
                    </a:lnTo>
                    <a:lnTo>
                      <a:pt x="92" y="224"/>
                    </a:lnTo>
                    <a:lnTo>
                      <a:pt x="94" y="226"/>
                    </a:lnTo>
                    <a:lnTo>
                      <a:pt x="94" y="228"/>
                    </a:lnTo>
                    <a:lnTo>
                      <a:pt x="94" y="234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2" y="240"/>
                    </a:lnTo>
                    <a:lnTo>
                      <a:pt x="92" y="241"/>
                    </a:lnTo>
                    <a:lnTo>
                      <a:pt x="92" y="241"/>
                    </a:lnTo>
                    <a:lnTo>
                      <a:pt x="92" y="245"/>
                    </a:lnTo>
                    <a:lnTo>
                      <a:pt x="92" y="245"/>
                    </a:lnTo>
                    <a:lnTo>
                      <a:pt x="92" y="247"/>
                    </a:lnTo>
                    <a:lnTo>
                      <a:pt x="90" y="247"/>
                    </a:lnTo>
                    <a:lnTo>
                      <a:pt x="88" y="247"/>
                    </a:lnTo>
                    <a:lnTo>
                      <a:pt x="86" y="245"/>
                    </a:lnTo>
                    <a:lnTo>
                      <a:pt x="79" y="245"/>
                    </a:lnTo>
                    <a:lnTo>
                      <a:pt x="77" y="245"/>
                    </a:lnTo>
                    <a:lnTo>
                      <a:pt x="77" y="245"/>
                    </a:lnTo>
                    <a:lnTo>
                      <a:pt x="75" y="247"/>
                    </a:lnTo>
                    <a:lnTo>
                      <a:pt x="75" y="247"/>
                    </a:lnTo>
                    <a:lnTo>
                      <a:pt x="75" y="249"/>
                    </a:lnTo>
                    <a:lnTo>
                      <a:pt x="75" y="249"/>
                    </a:lnTo>
                    <a:lnTo>
                      <a:pt x="75" y="251"/>
                    </a:lnTo>
                    <a:lnTo>
                      <a:pt x="75" y="251"/>
                    </a:lnTo>
                    <a:lnTo>
                      <a:pt x="75" y="253"/>
                    </a:lnTo>
                    <a:lnTo>
                      <a:pt x="73" y="253"/>
                    </a:lnTo>
                    <a:lnTo>
                      <a:pt x="71" y="255"/>
                    </a:lnTo>
                    <a:lnTo>
                      <a:pt x="69" y="255"/>
                    </a:lnTo>
                    <a:lnTo>
                      <a:pt x="69" y="255"/>
                    </a:lnTo>
                    <a:lnTo>
                      <a:pt x="65" y="255"/>
                    </a:lnTo>
                    <a:lnTo>
                      <a:pt x="65" y="260"/>
                    </a:lnTo>
                    <a:lnTo>
                      <a:pt x="65" y="262"/>
                    </a:lnTo>
                    <a:lnTo>
                      <a:pt x="65" y="264"/>
                    </a:lnTo>
                    <a:lnTo>
                      <a:pt x="63" y="266"/>
                    </a:lnTo>
                    <a:lnTo>
                      <a:pt x="63" y="266"/>
                    </a:lnTo>
                    <a:lnTo>
                      <a:pt x="63" y="266"/>
                    </a:lnTo>
                    <a:lnTo>
                      <a:pt x="61" y="266"/>
                    </a:lnTo>
                    <a:lnTo>
                      <a:pt x="60" y="264"/>
                    </a:lnTo>
                    <a:lnTo>
                      <a:pt x="60" y="264"/>
                    </a:lnTo>
                    <a:lnTo>
                      <a:pt x="58" y="262"/>
                    </a:lnTo>
                    <a:lnTo>
                      <a:pt x="58" y="262"/>
                    </a:lnTo>
                    <a:lnTo>
                      <a:pt x="56" y="262"/>
                    </a:lnTo>
                    <a:lnTo>
                      <a:pt x="56" y="262"/>
                    </a:lnTo>
                    <a:lnTo>
                      <a:pt x="54" y="264"/>
                    </a:lnTo>
                    <a:lnTo>
                      <a:pt x="54" y="264"/>
                    </a:lnTo>
                    <a:lnTo>
                      <a:pt x="52" y="264"/>
                    </a:lnTo>
                    <a:lnTo>
                      <a:pt x="52" y="264"/>
                    </a:lnTo>
                    <a:lnTo>
                      <a:pt x="52" y="264"/>
                    </a:lnTo>
                    <a:lnTo>
                      <a:pt x="50" y="262"/>
                    </a:lnTo>
                    <a:lnTo>
                      <a:pt x="50" y="262"/>
                    </a:lnTo>
                    <a:lnTo>
                      <a:pt x="48" y="262"/>
                    </a:lnTo>
                    <a:lnTo>
                      <a:pt x="46" y="264"/>
                    </a:lnTo>
                    <a:lnTo>
                      <a:pt x="46" y="264"/>
                    </a:lnTo>
                    <a:lnTo>
                      <a:pt x="44" y="264"/>
                    </a:lnTo>
                    <a:lnTo>
                      <a:pt x="44" y="264"/>
                    </a:lnTo>
                    <a:lnTo>
                      <a:pt x="42" y="264"/>
                    </a:lnTo>
                    <a:lnTo>
                      <a:pt x="42" y="262"/>
                    </a:lnTo>
                    <a:lnTo>
                      <a:pt x="40" y="259"/>
                    </a:lnTo>
                    <a:lnTo>
                      <a:pt x="39" y="253"/>
                    </a:lnTo>
                    <a:lnTo>
                      <a:pt x="31" y="257"/>
                    </a:lnTo>
                    <a:lnTo>
                      <a:pt x="29" y="257"/>
                    </a:lnTo>
                    <a:lnTo>
                      <a:pt x="27" y="257"/>
                    </a:lnTo>
                    <a:lnTo>
                      <a:pt x="23" y="257"/>
                    </a:lnTo>
                    <a:lnTo>
                      <a:pt x="21" y="257"/>
                    </a:lnTo>
                    <a:lnTo>
                      <a:pt x="21" y="257"/>
                    </a:lnTo>
                    <a:lnTo>
                      <a:pt x="21" y="259"/>
                    </a:lnTo>
                    <a:lnTo>
                      <a:pt x="20" y="259"/>
                    </a:lnTo>
                    <a:lnTo>
                      <a:pt x="18" y="257"/>
                    </a:lnTo>
                    <a:lnTo>
                      <a:pt x="16" y="257"/>
                    </a:lnTo>
                    <a:lnTo>
                      <a:pt x="16" y="257"/>
                    </a:lnTo>
                    <a:lnTo>
                      <a:pt x="14" y="259"/>
                    </a:lnTo>
                    <a:lnTo>
                      <a:pt x="14" y="259"/>
                    </a:lnTo>
                    <a:lnTo>
                      <a:pt x="10" y="260"/>
                    </a:lnTo>
                    <a:lnTo>
                      <a:pt x="8" y="260"/>
                    </a:lnTo>
                    <a:lnTo>
                      <a:pt x="8" y="260"/>
                    </a:lnTo>
                    <a:lnTo>
                      <a:pt x="8" y="260"/>
                    </a:lnTo>
                    <a:lnTo>
                      <a:pt x="8" y="268"/>
                    </a:lnTo>
                    <a:lnTo>
                      <a:pt x="8" y="270"/>
                    </a:lnTo>
                    <a:lnTo>
                      <a:pt x="6" y="274"/>
                    </a:lnTo>
                    <a:lnTo>
                      <a:pt x="4" y="276"/>
                    </a:lnTo>
                    <a:lnTo>
                      <a:pt x="4" y="276"/>
                    </a:lnTo>
                    <a:lnTo>
                      <a:pt x="2" y="276"/>
                    </a:lnTo>
                    <a:lnTo>
                      <a:pt x="2" y="278"/>
                    </a:lnTo>
                    <a:lnTo>
                      <a:pt x="2" y="281"/>
                    </a:lnTo>
                    <a:lnTo>
                      <a:pt x="2" y="285"/>
                    </a:lnTo>
                    <a:lnTo>
                      <a:pt x="2" y="289"/>
                    </a:lnTo>
                    <a:lnTo>
                      <a:pt x="0" y="291"/>
                    </a:lnTo>
                    <a:lnTo>
                      <a:pt x="0" y="291"/>
                    </a:lnTo>
                    <a:lnTo>
                      <a:pt x="4" y="295"/>
                    </a:lnTo>
                    <a:lnTo>
                      <a:pt x="4" y="297"/>
                    </a:lnTo>
                    <a:lnTo>
                      <a:pt x="4" y="302"/>
                    </a:lnTo>
                    <a:lnTo>
                      <a:pt x="4" y="304"/>
                    </a:lnTo>
                    <a:lnTo>
                      <a:pt x="6" y="304"/>
                    </a:lnTo>
                    <a:lnTo>
                      <a:pt x="10" y="299"/>
                    </a:lnTo>
                    <a:lnTo>
                      <a:pt x="12" y="300"/>
                    </a:lnTo>
                    <a:lnTo>
                      <a:pt x="12" y="300"/>
                    </a:lnTo>
                    <a:lnTo>
                      <a:pt x="12" y="302"/>
                    </a:lnTo>
                    <a:lnTo>
                      <a:pt x="10" y="302"/>
                    </a:lnTo>
                    <a:lnTo>
                      <a:pt x="10" y="302"/>
                    </a:lnTo>
                    <a:lnTo>
                      <a:pt x="10" y="304"/>
                    </a:lnTo>
                    <a:lnTo>
                      <a:pt x="8" y="304"/>
                    </a:lnTo>
                    <a:lnTo>
                      <a:pt x="10" y="306"/>
                    </a:lnTo>
                    <a:lnTo>
                      <a:pt x="10" y="308"/>
                    </a:lnTo>
                    <a:lnTo>
                      <a:pt x="10" y="310"/>
                    </a:lnTo>
                    <a:lnTo>
                      <a:pt x="8" y="310"/>
                    </a:lnTo>
                    <a:lnTo>
                      <a:pt x="8" y="310"/>
                    </a:lnTo>
                    <a:lnTo>
                      <a:pt x="6" y="308"/>
                    </a:lnTo>
                    <a:lnTo>
                      <a:pt x="6" y="308"/>
                    </a:lnTo>
                    <a:lnTo>
                      <a:pt x="6" y="306"/>
                    </a:lnTo>
                    <a:lnTo>
                      <a:pt x="8" y="318"/>
                    </a:lnTo>
                    <a:lnTo>
                      <a:pt x="10" y="323"/>
                    </a:lnTo>
                    <a:lnTo>
                      <a:pt x="8" y="325"/>
                    </a:lnTo>
                    <a:lnTo>
                      <a:pt x="10" y="333"/>
                    </a:lnTo>
                    <a:lnTo>
                      <a:pt x="12" y="335"/>
                    </a:lnTo>
                    <a:lnTo>
                      <a:pt x="14" y="335"/>
                    </a:lnTo>
                    <a:lnTo>
                      <a:pt x="14" y="335"/>
                    </a:lnTo>
                    <a:lnTo>
                      <a:pt x="14" y="333"/>
                    </a:lnTo>
                    <a:lnTo>
                      <a:pt x="14" y="333"/>
                    </a:lnTo>
                    <a:lnTo>
                      <a:pt x="12" y="331"/>
                    </a:lnTo>
                    <a:lnTo>
                      <a:pt x="12" y="329"/>
                    </a:lnTo>
                    <a:lnTo>
                      <a:pt x="12" y="329"/>
                    </a:lnTo>
                    <a:lnTo>
                      <a:pt x="12" y="327"/>
                    </a:lnTo>
                    <a:lnTo>
                      <a:pt x="12" y="325"/>
                    </a:lnTo>
                    <a:lnTo>
                      <a:pt x="12" y="325"/>
                    </a:lnTo>
                    <a:lnTo>
                      <a:pt x="14" y="327"/>
                    </a:lnTo>
                    <a:lnTo>
                      <a:pt x="16" y="327"/>
                    </a:lnTo>
                    <a:lnTo>
                      <a:pt x="16" y="329"/>
                    </a:lnTo>
                    <a:lnTo>
                      <a:pt x="16" y="331"/>
                    </a:lnTo>
                    <a:lnTo>
                      <a:pt x="18" y="333"/>
                    </a:lnTo>
                    <a:lnTo>
                      <a:pt x="18" y="333"/>
                    </a:lnTo>
                    <a:lnTo>
                      <a:pt x="20" y="333"/>
                    </a:lnTo>
                    <a:lnTo>
                      <a:pt x="21" y="333"/>
                    </a:lnTo>
                    <a:lnTo>
                      <a:pt x="23" y="333"/>
                    </a:lnTo>
                    <a:lnTo>
                      <a:pt x="27" y="331"/>
                    </a:lnTo>
                    <a:lnTo>
                      <a:pt x="29" y="333"/>
                    </a:lnTo>
                    <a:lnTo>
                      <a:pt x="16" y="338"/>
                    </a:lnTo>
                    <a:lnTo>
                      <a:pt x="14" y="338"/>
                    </a:lnTo>
                    <a:lnTo>
                      <a:pt x="12" y="340"/>
                    </a:lnTo>
                    <a:lnTo>
                      <a:pt x="14" y="344"/>
                    </a:lnTo>
                    <a:lnTo>
                      <a:pt x="14" y="352"/>
                    </a:lnTo>
                    <a:lnTo>
                      <a:pt x="16" y="352"/>
                    </a:lnTo>
                    <a:lnTo>
                      <a:pt x="18" y="357"/>
                    </a:lnTo>
                    <a:lnTo>
                      <a:pt x="20" y="359"/>
                    </a:lnTo>
                    <a:lnTo>
                      <a:pt x="21" y="359"/>
                    </a:lnTo>
                    <a:lnTo>
                      <a:pt x="23" y="357"/>
                    </a:lnTo>
                    <a:lnTo>
                      <a:pt x="27" y="357"/>
                    </a:lnTo>
                    <a:lnTo>
                      <a:pt x="29" y="361"/>
                    </a:lnTo>
                    <a:lnTo>
                      <a:pt x="31" y="363"/>
                    </a:lnTo>
                    <a:lnTo>
                      <a:pt x="35" y="363"/>
                    </a:lnTo>
                    <a:lnTo>
                      <a:pt x="40" y="363"/>
                    </a:lnTo>
                    <a:lnTo>
                      <a:pt x="42" y="363"/>
                    </a:lnTo>
                    <a:lnTo>
                      <a:pt x="44" y="365"/>
                    </a:lnTo>
                    <a:lnTo>
                      <a:pt x="46" y="367"/>
                    </a:lnTo>
                    <a:lnTo>
                      <a:pt x="46" y="367"/>
                    </a:lnTo>
                    <a:lnTo>
                      <a:pt x="48" y="369"/>
                    </a:lnTo>
                    <a:lnTo>
                      <a:pt x="48" y="371"/>
                    </a:lnTo>
                    <a:lnTo>
                      <a:pt x="48" y="373"/>
                    </a:lnTo>
                    <a:lnTo>
                      <a:pt x="50" y="375"/>
                    </a:lnTo>
                    <a:lnTo>
                      <a:pt x="48" y="377"/>
                    </a:lnTo>
                    <a:lnTo>
                      <a:pt x="46" y="373"/>
                    </a:lnTo>
                    <a:lnTo>
                      <a:pt x="42" y="367"/>
                    </a:lnTo>
                    <a:lnTo>
                      <a:pt x="40" y="363"/>
                    </a:lnTo>
                    <a:lnTo>
                      <a:pt x="39" y="363"/>
                    </a:lnTo>
                    <a:lnTo>
                      <a:pt x="39" y="365"/>
                    </a:lnTo>
                    <a:lnTo>
                      <a:pt x="37" y="365"/>
                    </a:lnTo>
                    <a:lnTo>
                      <a:pt x="33" y="365"/>
                    </a:lnTo>
                    <a:lnTo>
                      <a:pt x="31" y="363"/>
                    </a:lnTo>
                    <a:lnTo>
                      <a:pt x="27" y="361"/>
                    </a:lnTo>
                    <a:lnTo>
                      <a:pt x="25" y="361"/>
                    </a:lnTo>
                    <a:lnTo>
                      <a:pt x="18" y="361"/>
                    </a:lnTo>
                    <a:lnTo>
                      <a:pt x="16" y="363"/>
                    </a:lnTo>
                    <a:lnTo>
                      <a:pt x="16" y="367"/>
                    </a:lnTo>
                    <a:lnTo>
                      <a:pt x="16" y="377"/>
                    </a:lnTo>
                    <a:lnTo>
                      <a:pt x="18" y="375"/>
                    </a:lnTo>
                    <a:lnTo>
                      <a:pt x="20" y="371"/>
                    </a:lnTo>
                    <a:lnTo>
                      <a:pt x="21" y="369"/>
                    </a:lnTo>
                    <a:lnTo>
                      <a:pt x="23" y="369"/>
                    </a:lnTo>
                    <a:lnTo>
                      <a:pt x="21" y="371"/>
                    </a:lnTo>
                    <a:lnTo>
                      <a:pt x="20" y="375"/>
                    </a:lnTo>
                    <a:lnTo>
                      <a:pt x="18" y="380"/>
                    </a:lnTo>
                    <a:lnTo>
                      <a:pt x="18" y="382"/>
                    </a:lnTo>
                    <a:lnTo>
                      <a:pt x="18" y="382"/>
                    </a:lnTo>
                    <a:lnTo>
                      <a:pt x="18" y="382"/>
                    </a:lnTo>
                    <a:lnTo>
                      <a:pt x="20" y="382"/>
                    </a:lnTo>
                    <a:lnTo>
                      <a:pt x="20" y="380"/>
                    </a:lnTo>
                    <a:lnTo>
                      <a:pt x="21" y="380"/>
                    </a:lnTo>
                    <a:lnTo>
                      <a:pt x="21" y="380"/>
                    </a:lnTo>
                    <a:lnTo>
                      <a:pt x="21" y="380"/>
                    </a:lnTo>
                    <a:lnTo>
                      <a:pt x="21" y="382"/>
                    </a:lnTo>
                    <a:lnTo>
                      <a:pt x="21" y="382"/>
                    </a:lnTo>
                    <a:lnTo>
                      <a:pt x="21" y="384"/>
                    </a:lnTo>
                    <a:lnTo>
                      <a:pt x="21" y="384"/>
                    </a:lnTo>
                    <a:lnTo>
                      <a:pt x="21" y="388"/>
                    </a:lnTo>
                    <a:lnTo>
                      <a:pt x="21" y="388"/>
                    </a:lnTo>
                    <a:lnTo>
                      <a:pt x="21" y="390"/>
                    </a:lnTo>
                    <a:lnTo>
                      <a:pt x="21" y="394"/>
                    </a:lnTo>
                    <a:lnTo>
                      <a:pt x="21" y="396"/>
                    </a:lnTo>
                    <a:lnTo>
                      <a:pt x="23" y="396"/>
                    </a:lnTo>
                    <a:lnTo>
                      <a:pt x="21" y="397"/>
                    </a:lnTo>
                    <a:lnTo>
                      <a:pt x="21" y="399"/>
                    </a:lnTo>
                    <a:lnTo>
                      <a:pt x="21" y="397"/>
                    </a:lnTo>
                    <a:lnTo>
                      <a:pt x="20" y="397"/>
                    </a:lnTo>
                    <a:lnTo>
                      <a:pt x="20" y="401"/>
                    </a:lnTo>
                    <a:lnTo>
                      <a:pt x="20" y="403"/>
                    </a:lnTo>
                    <a:lnTo>
                      <a:pt x="20" y="405"/>
                    </a:lnTo>
                    <a:lnTo>
                      <a:pt x="16" y="409"/>
                    </a:lnTo>
                    <a:lnTo>
                      <a:pt x="16" y="411"/>
                    </a:lnTo>
                    <a:lnTo>
                      <a:pt x="16" y="411"/>
                    </a:lnTo>
                    <a:lnTo>
                      <a:pt x="18" y="411"/>
                    </a:lnTo>
                    <a:lnTo>
                      <a:pt x="18" y="409"/>
                    </a:lnTo>
                    <a:lnTo>
                      <a:pt x="20" y="409"/>
                    </a:lnTo>
                    <a:lnTo>
                      <a:pt x="20" y="409"/>
                    </a:lnTo>
                    <a:lnTo>
                      <a:pt x="20" y="411"/>
                    </a:lnTo>
                    <a:lnTo>
                      <a:pt x="20" y="413"/>
                    </a:lnTo>
                    <a:lnTo>
                      <a:pt x="20" y="413"/>
                    </a:lnTo>
                    <a:lnTo>
                      <a:pt x="20" y="415"/>
                    </a:lnTo>
                    <a:lnTo>
                      <a:pt x="21" y="416"/>
                    </a:lnTo>
                    <a:lnTo>
                      <a:pt x="21" y="416"/>
                    </a:lnTo>
                    <a:lnTo>
                      <a:pt x="23" y="415"/>
                    </a:lnTo>
                    <a:lnTo>
                      <a:pt x="23" y="409"/>
                    </a:lnTo>
                    <a:lnTo>
                      <a:pt x="25" y="405"/>
                    </a:lnTo>
                    <a:lnTo>
                      <a:pt x="29" y="401"/>
                    </a:lnTo>
                    <a:lnTo>
                      <a:pt x="31" y="399"/>
                    </a:lnTo>
                    <a:lnTo>
                      <a:pt x="31" y="403"/>
                    </a:lnTo>
                    <a:lnTo>
                      <a:pt x="31" y="405"/>
                    </a:lnTo>
                    <a:lnTo>
                      <a:pt x="37" y="399"/>
                    </a:lnTo>
                    <a:lnTo>
                      <a:pt x="37" y="396"/>
                    </a:lnTo>
                    <a:lnTo>
                      <a:pt x="35" y="394"/>
                    </a:lnTo>
                    <a:lnTo>
                      <a:pt x="37" y="392"/>
                    </a:lnTo>
                    <a:lnTo>
                      <a:pt x="37" y="388"/>
                    </a:lnTo>
                    <a:lnTo>
                      <a:pt x="39" y="386"/>
                    </a:lnTo>
                    <a:lnTo>
                      <a:pt x="40" y="382"/>
                    </a:lnTo>
                    <a:lnTo>
                      <a:pt x="40" y="382"/>
                    </a:lnTo>
                    <a:lnTo>
                      <a:pt x="40" y="392"/>
                    </a:lnTo>
                    <a:lnTo>
                      <a:pt x="40" y="392"/>
                    </a:lnTo>
                    <a:lnTo>
                      <a:pt x="42" y="394"/>
                    </a:lnTo>
                    <a:lnTo>
                      <a:pt x="44" y="394"/>
                    </a:lnTo>
                    <a:lnTo>
                      <a:pt x="42" y="397"/>
                    </a:lnTo>
                    <a:lnTo>
                      <a:pt x="42" y="397"/>
                    </a:lnTo>
                    <a:lnTo>
                      <a:pt x="42" y="401"/>
                    </a:lnTo>
                    <a:lnTo>
                      <a:pt x="42" y="403"/>
                    </a:lnTo>
                    <a:lnTo>
                      <a:pt x="46" y="401"/>
                    </a:lnTo>
                    <a:lnTo>
                      <a:pt x="50" y="401"/>
                    </a:lnTo>
                    <a:lnTo>
                      <a:pt x="52" y="401"/>
                    </a:lnTo>
                    <a:lnTo>
                      <a:pt x="50" y="403"/>
                    </a:lnTo>
                    <a:lnTo>
                      <a:pt x="50" y="403"/>
                    </a:lnTo>
                    <a:lnTo>
                      <a:pt x="44" y="405"/>
                    </a:lnTo>
                    <a:lnTo>
                      <a:pt x="40" y="407"/>
                    </a:lnTo>
                    <a:lnTo>
                      <a:pt x="39" y="407"/>
                    </a:lnTo>
                    <a:lnTo>
                      <a:pt x="39" y="407"/>
                    </a:lnTo>
                    <a:lnTo>
                      <a:pt x="42" y="407"/>
                    </a:lnTo>
                    <a:lnTo>
                      <a:pt x="42" y="411"/>
                    </a:lnTo>
                    <a:lnTo>
                      <a:pt x="40" y="411"/>
                    </a:lnTo>
                    <a:lnTo>
                      <a:pt x="39" y="409"/>
                    </a:lnTo>
                    <a:lnTo>
                      <a:pt x="37" y="411"/>
                    </a:lnTo>
                    <a:lnTo>
                      <a:pt x="37" y="413"/>
                    </a:lnTo>
                    <a:lnTo>
                      <a:pt x="35" y="415"/>
                    </a:lnTo>
                    <a:lnTo>
                      <a:pt x="33" y="413"/>
                    </a:lnTo>
                    <a:lnTo>
                      <a:pt x="31" y="416"/>
                    </a:lnTo>
                    <a:lnTo>
                      <a:pt x="35" y="420"/>
                    </a:lnTo>
                    <a:lnTo>
                      <a:pt x="39" y="422"/>
                    </a:lnTo>
                    <a:lnTo>
                      <a:pt x="40" y="420"/>
                    </a:lnTo>
                    <a:lnTo>
                      <a:pt x="40" y="420"/>
                    </a:lnTo>
                    <a:lnTo>
                      <a:pt x="40" y="420"/>
                    </a:lnTo>
                    <a:lnTo>
                      <a:pt x="40" y="420"/>
                    </a:lnTo>
                    <a:lnTo>
                      <a:pt x="42" y="420"/>
                    </a:lnTo>
                    <a:lnTo>
                      <a:pt x="42" y="420"/>
                    </a:lnTo>
                    <a:lnTo>
                      <a:pt x="42" y="420"/>
                    </a:lnTo>
                    <a:lnTo>
                      <a:pt x="42" y="422"/>
                    </a:lnTo>
                    <a:lnTo>
                      <a:pt x="40" y="422"/>
                    </a:lnTo>
                    <a:lnTo>
                      <a:pt x="42" y="426"/>
                    </a:lnTo>
                    <a:lnTo>
                      <a:pt x="42" y="426"/>
                    </a:lnTo>
                    <a:lnTo>
                      <a:pt x="46" y="428"/>
                    </a:lnTo>
                    <a:lnTo>
                      <a:pt x="44" y="430"/>
                    </a:lnTo>
                    <a:lnTo>
                      <a:pt x="44" y="432"/>
                    </a:lnTo>
                    <a:lnTo>
                      <a:pt x="42" y="435"/>
                    </a:lnTo>
                    <a:lnTo>
                      <a:pt x="44" y="439"/>
                    </a:lnTo>
                    <a:lnTo>
                      <a:pt x="42" y="437"/>
                    </a:lnTo>
                    <a:lnTo>
                      <a:pt x="40" y="437"/>
                    </a:lnTo>
                    <a:lnTo>
                      <a:pt x="40" y="435"/>
                    </a:lnTo>
                    <a:lnTo>
                      <a:pt x="40" y="432"/>
                    </a:lnTo>
                    <a:lnTo>
                      <a:pt x="37" y="428"/>
                    </a:lnTo>
                    <a:lnTo>
                      <a:pt x="35" y="426"/>
                    </a:lnTo>
                    <a:lnTo>
                      <a:pt x="33" y="430"/>
                    </a:lnTo>
                    <a:lnTo>
                      <a:pt x="33" y="430"/>
                    </a:lnTo>
                    <a:lnTo>
                      <a:pt x="31" y="428"/>
                    </a:lnTo>
                    <a:lnTo>
                      <a:pt x="29" y="428"/>
                    </a:lnTo>
                    <a:lnTo>
                      <a:pt x="27" y="430"/>
                    </a:lnTo>
                    <a:lnTo>
                      <a:pt x="27" y="432"/>
                    </a:lnTo>
                    <a:lnTo>
                      <a:pt x="25" y="434"/>
                    </a:lnTo>
                    <a:lnTo>
                      <a:pt x="25" y="439"/>
                    </a:lnTo>
                    <a:lnTo>
                      <a:pt x="27" y="445"/>
                    </a:lnTo>
                    <a:lnTo>
                      <a:pt x="27" y="449"/>
                    </a:lnTo>
                    <a:lnTo>
                      <a:pt x="29" y="451"/>
                    </a:lnTo>
                    <a:lnTo>
                      <a:pt x="33" y="458"/>
                    </a:lnTo>
                    <a:lnTo>
                      <a:pt x="33" y="462"/>
                    </a:lnTo>
                    <a:lnTo>
                      <a:pt x="35" y="462"/>
                    </a:lnTo>
                    <a:lnTo>
                      <a:pt x="39" y="460"/>
                    </a:lnTo>
                    <a:lnTo>
                      <a:pt x="39" y="462"/>
                    </a:lnTo>
                    <a:lnTo>
                      <a:pt x="40" y="464"/>
                    </a:lnTo>
                    <a:lnTo>
                      <a:pt x="42" y="466"/>
                    </a:lnTo>
                    <a:lnTo>
                      <a:pt x="42" y="468"/>
                    </a:lnTo>
                    <a:lnTo>
                      <a:pt x="42" y="470"/>
                    </a:lnTo>
                    <a:lnTo>
                      <a:pt x="44" y="472"/>
                    </a:lnTo>
                    <a:lnTo>
                      <a:pt x="46" y="474"/>
                    </a:lnTo>
                    <a:lnTo>
                      <a:pt x="46" y="475"/>
                    </a:lnTo>
                    <a:lnTo>
                      <a:pt x="42" y="474"/>
                    </a:lnTo>
                    <a:lnTo>
                      <a:pt x="40" y="466"/>
                    </a:lnTo>
                    <a:lnTo>
                      <a:pt x="39" y="464"/>
                    </a:lnTo>
                    <a:lnTo>
                      <a:pt x="35" y="464"/>
                    </a:lnTo>
                    <a:lnTo>
                      <a:pt x="33" y="466"/>
                    </a:lnTo>
                    <a:lnTo>
                      <a:pt x="31" y="468"/>
                    </a:lnTo>
                    <a:lnTo>
                      <a:pt x="31" y="472"/>
                    </a:lnTo>
                    <a:lnTo>
                      <a:pt x="31" y="477"/>
                    </a:lnTo>
                    <a:lnTo>
                      <a:pt x="31" y="479"/>
                    </a:lnTo>
                    <a:lnTo>
                      <a:pt x="31" y="479"/>
                    </a:lnTo>
                    <a:lnTo>
                      <a:pt x="33" y="481"/>
                    </a:lnTo>
                    <a:lnTo>
                      <a:pt x="33" y="483"/>
                    </a:lnTo>
                    <a:lnTo>
                      <a:pt x="33" y="485"/>
                    </a:lnTo>
                    <a:lnTo>
                      <a:pt x="33" y="485"/>
                    </a:lnTo>
                    <a:lnTo>
                      <a:pt x="33" y="487"/>
                    </a:lnTo>
                    <a:lnTo>
                      <a:pt x="33" y="487"/>
                    </a:lnTo>
                    <a:lnTo>
                      <a:pt x="33" y="487"/>
                    </a:lnTo>
                    <a:lnTo>
                      <a:pt x="35" y="489"/>
                    </a:lnTo>
                    <a:lnTo>
                      <a:pt x="35" y="489"/>
                    </a:lnTo>
                    <a:lnTo>
                      <a:pt x="35" y="489"/>
                    </a:lnTo>
                    <a:lnTo>
                      <a:pt x="37" y="489"/>
                    </a:lnTo>
                    <a:lnTo>
                      <a:pt x="39" y="491"/>
                    </a:lnTo>
                    <a:lnTo>
                      <a:pt x="39" y="493"/>
                    </a:lnTo>
                    <a:lnTo>
                      <a:pt x="40" y="493"/>
                    </a:lnTo>
                    <a:lnTo>
                      <a:pt x="40" y="494"/>
                    </a:lnTo>
                    <a:lnTo>
                      <a:pt x="42" y="496"/>
                    </a:lnTo>
                    <a:lnTo>
                      <a:pt x="44" y="498"/>
                    </a:lnTo>
                    <a:lnTo>
                      <a:pt x="46" y="498"/>
                    </a:lnTo>
                    <a:lnTo>
                      <a:pt x="50" y="498"/>
                    </a:lnTo>
                    <a:lnTo>
                      <a:pt x="52" y="498"/>
                    </a:lnTo>
                    <a:lnTo>
                      <a:pt x="54" y="498"/>
                    </a:lnTo>
                    <a:lnTo>
                      <a:pt x="52" y="500"/>
                    </a:lnTo>
                    <a:lnTo>
                      <a:pt x="54" y="506"/>
                    </a:lnTo>
                    <a:lnTo>
                      <a:pt x="54" y="508"/>
                    </a:lnTo>
                    <a:lnTo>
                      <a:pt x="52" y="510"/>
                    </a:lnTo>
                    <a:lnTo>
                      <a:pt x="50" y="510"/>
                    </a:lnTo>
                    <a:lnTo>
                      <a:pt x="50" y="508"/>
                    </a:lnTo>
                    <a:lnTo>
                      <a:pt x="52" y="508"/>
                    </a:lnTo>
                    <a:lnTo>
                      <a:pt x="50" y="506"/>
                    </a:lnTo>
                    <a:lnTo>
                      <a:pt x="48" y="504"/>
                    </a:lnTo>
                    <a:lnTo>
                      <a:pt x="46" y="502"/>
                    </a:lnTo>
                    <a:lnTo>
                      <a:pt x="44" y="502"/>
                    </a:lnTo>
                    <a:lnTo>
                      <a:pt x="42" y="502"/>
                    </a:lnTo>
                    <a:lnTo>
                      <a:pt x="42" y="504"/>
                    </a:lnTo>
                    <a:lnTo>
                      <a:pt x="40" y="502"/>
                    </a:lnTo>
                    <a:lnTo>
                      <a:pt x="40" y="502"/>
                    </a:lnTo>
                    <a:lnTo>
                      <a:pt x="39" y="500"/>
                    </a:lnTo>
                    <a:lnTo>
                      <a:pt x="39" y="498"/>
                    </a:lnTo>
                    <a:lnTo>
                      <a:pt x="39" y="498"/>
                    </a:lnTo>
                    <a:lnTo>
                      <a:pt x="37" y="498"/>
                    </a:lnTo>
                    <a:lnTo>
                      <a:pt x="37" y="498"/>
                    </a:lnTo>
                    <a:lnTo>
                      <a:pt x="37" y="500"/>
                    </a:lnTo>
                    <a:lnTo>
                      <a:pt x="37" y="500"/>
                    </a:lnTo>
                    <a:lnTo>
                      <a:pt x="37" y="502"/>
                    </a:lnTo>
                    <a:lnTo>
                      <a:pt x="37" y="502"/>
                    </a:lnTo>
                    <a:lnTo>
                      <a:pt x="35" y="506"/>
                    </a:lnTo>
                    <a:lnTo>
                      <a:pt x="39" y="506"/>
                    </a:lnTo>
                    <a:lnTo>
                      <a:pt x="40" y="510"/>
                    </a:lnTo>
                    <a:lnTo>
                      <a:pt x="42" y="519"/>
                    </a:lnTo>
                    <a:lnTo>
                      <a:pt x="42" y="521"/>
                    </a:lnTo>
                    <a:lnTo>
                      <a:pt x="42" y="521"/>
                    </a:lnTo>
                    <a:lnTo>
                      <a:pt x="42" y="523"/>
                    </a:lnTo>
                    <a:lnTo>
                      <a:pt x="42" y="523"/>
                    </a:lnTo>
                    <a:lnTo>
                      <a:pt x="42" y="525"/>
                    </a:lnTo>
                    <a:lnTo>
                      <a:pt x="42" y="525"/>
                    </a:lnTo>
                    <a:lnTo>
                      <a:pt x="42" y="527"/>
                    </a:lnTo>
                    <a:lnTo>
                      <a:pt x="44" y="529"/>
                    </a:lnTo>
                    <a:lnTo>
                      <a:pt x="46" y="531"/>
                    </a:lnTo>
                    <a:lnTo>
                      <a:pt x="46" y="529"/>
                    </a:lnTo>
                    <a:lnTo>
                      <a:pt x="48" y="527"/>
                    </a:lnTo>
                    <a:lnTo>
                      <a:pt x="48" y="527"/>
                    </a:lnTo>
                    <a:lnTo>
                      <a:pt x="50" y="527"/>
                    </a:lnTo>
                    <a:lnTo>
                      <a:pt x="50" y="529"/>
                    </a:lnTo>
                    <a:lnTo>
                      <a:pt x="48" y="529"/>
                    </a:lnTo>
                    <a:lnTo>
                      <a:pt x="46" y="531"/>
                    </a:lnTo>
                    <a:lnTo>
                      <a:pt x="46" y="533"/>
                    </a:lnTo>
                    <a:lnTo>
                      <a:pt x="44" y="533"/>
                    </a:lnTo>
                    <a:lnTo>
                      <a:pt x="46" y="534"/>
                    </a:lnTo>
                    <a:lnTo>
                      <a:pt x="46" y="536"/>
                    </a:lnTo>
                    <a:lnTo>
                      <a:pt x="48" y="536"/>
                    </a:lnTo>
                    <a:lnTo>
                      <a:pt x="46" y="538"/>
                    </a:lnTo>
                    <a:lnTo>
                      <a:pt x="46" y="542"/>
                    </a:lnTo>
                    <a:lnTo>
                      <a:pt x="52" y="552"/>
                    </a:lnTo>
                    <a:lnTo>
                      <a:pt x="54" y="553"/>
                    </a:lnTo>
                    <a:lnTo>
                      <a:pt x="54" y="557"/>
                    </a:lnTo>
                    <a:lnTo>
                      <a:pt x="56" y="559"/>
                    </a:lnTo>
                    <a:lnTo>
                      <a:pt x="58" y="561"/>
                    </a:lnTo>
                    <a:lnTo>
                      <a:pt x="58" y="563"/>
                    </a:lnTo>
                    <a:lnTo>
                      <a:pt x="58" y="567"/>
                    </a:lnTo>
                    <a:lnTo>
                      <a:pt x="60" y="569"/>
                    </a:lnTo>
                    <a:lnTo>
                      <a:pt x="60" y="571"/>
                    </a:lnTo>
                    <a:lnTo>
                      <a:pt x="60" y="571"/>
                    </a:lnTo>
                    <a:lnTo>
                      <a:pt x="60" y="572"/>
                    </a:lnTo>
                    <a:lnTo>
                      <a:pt x="58" y="574"/>
                    </a:lnTo>
                    <a:lnTo>
                      <a:pt x="58" y="576"/>
                    </a:lnTo>
                    <a:lnTo>
                      <a:pt x="58" y="578"/>
                    </a:lnTo>
                    <a:lnTo>
                      <a:pt x="60" y="580"/>
                    </a:lnTo>
                    <a:lnTo>
                      <a:pt x="60" y="580"/>
                    </a:lnTo>
                    <a:lnTo>
                      <a:pt x="60" y="582"/>
                    </a:lnTo>
                    <a:lnTo>
                      <a:pt x="60" y="584"/>
                    </a:lnTo>
                    <a:lnTo>
                      <a:pt x="61" y="586"/>
                    </a:lnTo>
                    <a:lnTo>
                      <a:pt x="61" y="588"/>
                    </a:lnTo>
                    <a:lnTo>
                      <a:pt x="63" y="588"/>
                    </a:lnTo>
                    <a:lnTo>
                      <a:pt x="67" y="588"/>
                    </a:lnTo>
                    <a:lnTo>
                      <a:pt x="69" y="590"/>
                    </a:lnTo>
                    <a:lnTo>
                      <a:pt x="65" y="592"/>
                    </a:lnTo>
                    <a:lnTo>
                      <a:pt x="63" y="592"/>
                    </a:lnTo>
                    <a:lnTo>
                      <a:pt x="61" y="592"/>
                    </a:lnTo>
                    <a:lnTo>
                      <a:pt x="61" y="592"/>
                    </a:lnTo>
                    <a:lnTo>
                      <a:pt x="60" y="593"/>
                    </a:lnTo>
                    <a:lnTo>
                      <a:pt x="61" y="595"/>
                    </a:lnTo>
                    <a:lnTo>
                      <a:pt x="65" y="601"/>
                    </a:lnTo>
                    <a:lnTo>
                      <a:pt x="67" y="603"/>
                    </a:lnTo>
                    <a:lnTo>
                      <a:pt x="67" y="607"/>
                    </a:lnTo>
                    <a:lnTo>
                      <a:pt x="67" y="609"/>
                    </a:lnTo>
                    <a:lnTo>
                      <a:pt x="67" y="611"/>
                    </a:lnTo>
                    <a:lnTo>
                      <a:pt x="65" y="612"/>
                    </a:lnTo>
                    <a:lnTo>
                      <a:pt x="65" y="614"/>
                    </a:lnTo>
                    <a:lnTo>
                      <a:pt x="65" y="614"/>
                    </a:lnTo>
                    <a:lnTo>
                      <a:pt x="69" y="618"/>
                    </a:lnTo>
                    <a:lnTo>
                      <a:pt x="71" y="620"/>
                    </a:lnTo>
                    <a:lnTo>
                      <a:pt x="75" y="626"/>
                    </a:lnTo>
                    <a:lnTo>
                      <a:pt x="75" y="630"/>
                    </a:lnTo>
                    <a:lnTo>
                      <a:pt x="73" y="630"/>
                    </a:lnTo>
                    <a:lnTo>
                      <a:pt x="71" y="630"/>
                    </a:lnTo>
                    <a:lnTo>
                      <a:pt x="69" y="628"/>
                    </a:lnTo>
                    <a:lnTo>
                      <a:pt x="67" y="626"/>
                    </a:lnTo>
                    <a:lnTo>
                      <a:pt x="69" y="628"/>
                    </a:lnTo>
                    <a:lnTo>
                      <a:pt x="71" y="630"/>
                    </a:lnTo>
                    <a:lnTo>
                      <a:pt x="71" y="631"/>
                    </a:lnTo>
                    <a:lnTo>
                      <a:pt x="71" y="633"/>
                    </a:lnTo>
                    <a:lnTo>
                      <a:pt x="75" y="637"/>
                    </a:lnTo>
                    <a:lnTo>
                      <a:pt x="75" y="641"/>
                    </a:lnTo>
                    <a:lnTo>
                      <a:pt x="77" y="645"/>
                    </a:lnTo>
                    <a:lnTo>
                      <a:pt x="77" y="647"/>
                    </a:lnTo>
                    <a:lnTo>
                      <a:pt x="77" y="649"/>
                    </a:lnTo>
                    <a:lnTo>
                      <a:pt x="77" y="650"/>
                    </a:lnTo>
                    <a:lnTo>
                      <a:pt x="79" y="652"/>
                    </a:lnTo>
                    <a:lnTo>
                      <a:pt x="79" y="656"/>
                    </a:lnTo>
                    <a:lnTo>
                      <a:pt x="79" y="660"/>
                    </a:lnTo>
                    <a:lnTo>
                      <a:pt x="79" y="662"/>
                    </a:lnTo>
                    <a:lnTo>
                      <a:pt x="77" y="660"/>
                    </a:lnTo>
                    <a:lnTo>
                      <a:pt x="77" y="660"/>
                    </a:lnTo>
                    <a:lnTo>
                      <a:pt x="77" y="662"/>
                    </a:lnTo>
                    <a:lnTo>
                      <a:pt x="77" y="664"/>
                    </a:lnTo>
                    <a:lnTo>
                      <a:pt x="77" y="666"/>
                    </a:lnTo>
                    <a:lnTo>
                      <a:pt x="77" y="668"/>
                    </a:lnTo>
                    <a:lnTo>
                      <a:pt x="81" y="668"/>
                    </a:lnTo>
                    <a:lnTo>
                      <a:pt x="79" y="671"/>
                    </a:lnTo>
                    <a:lnTo>
                      <a:pt x="79" y="673"/>
                    </a:lnTo>
                    <a:lnTo>
                      <a:pt x="79" y="675"/>
                    </a:lnTo>
                    <a:lnTo>
                      <a:pt x="79" y="681"/>
                    </a:lnTo>
                    <a:lnTo>
                      <a:pt x="81" y="681"/>
                    </a:lnTo>
                    <a:lnTo>
                      <a:pt x="79" y="683"/>
                    </a:lnTo>
                    <a:lnTo>
                      <a:pt x="79" y="687"/>
                    </a:lnTo>
                    <a:lnTo>
                      <a:pt x="81" y="690"/>
                    </a:lnTo>
                    <a:lnTo>
                      <a:pt x="82" y="692"/>
                    </a:lnTo>
                    <a:lnTo>
                      <a:pt x="82" y="690"/>
                    </a:lnTo>
                    <a:lnTo>
                      <a:pt x="82" y="692"/>
                    </a:lnTo>
                    <a:lnTo>
                      <a:pt x="82" y="696"/>
                    </a:lnTo>
                    <a:lnTo>
                      <a:pt x="81" y="700"/>
                    </a:lnTo>
                    <a:lnTo>
                      <a:pt x="82" y="704"/>
                    </a:lnTo>
                    <a:lnTo>
                      <a:pt x="84" y="706"/>
                    </a:lnTo>
                    <a:lnTo>
                      <a:pt x="84" y="706"/>
                    </a:lnTo>
                    <a:lnTo>
                      <a:pt x="84" y="708"/>
                    </a:lnTo>
                    <a:lnTo>
                      <a:pt x="84" y="709"/>
                    </a:lnTo>
                    <a:lnTo>
                      <a:pt x="84" y="711"/>
                    </a:lnTo>
                    <a:lnTo>
                      <a:pt x="84" y="711"/>
                    </a:lnTo>
                    <a:lnTo>
                      <a:pt x="84" y="713"/>
                    </a:lnTo>
                    <a:lnTo>
                      <a:pt x="84" y="715"/>
                    </a:lnTo>
                    <a:lnTo>
                      <a:pt x="86" y="715"/>
                    </a:lnTo>
                    <a:lnTo>
                      <a:pt x="88" y="713"/>
                    </a:lnTo>
                    <a:lnTo>
                      <a:pt x="90" y="715"/>
                    </a:lnTo>
                    <a:lnTo>
                      <a:pt x="92" y="717"/>
                    </a:lnTo>
                    <a:lnTo>
                      <a:pt x="90" y="719"/>
                    </a:lnTo>
                    <a:lnTo>
                      <a:pt x="90" y="719"/>
                    </a:lnTo>
                    <a:lnTo>
                      <a:pt x="90" y="719"/>
                    </a:lnTo>
                    <a:lnTo>
                      <a:pt x="90" y="715"/>
                    </a:lnTo>
                    <a:lnTo>
                      <a:pt x="86" y="717"/>
                    </a:lnTo>
                    <a:lnTo>
                      <a:pt x="84" y="717"/>
                    </a:lnTo>
                    <a:lnTo>
                      <a:pt x="84" y="719"/>
                    </a:lnTo>
                    <a:lnTo>
                      <a:pt x="84" y="719"/>
                    </a:lnTo>
                    <a:lnTo>
                      <a:pt x="84" y="719"/>
                    </a:lnTo>
                    <a:lnTo>
                      <a:pt x="84" y="719"/>
                    </a:lnTo>
                    <a:lnTo>
                      <a:pt x="84" y="721"/>
                    </a:lnTo>
                    <a:lnTo>
                      <a:pt x="86" y="723"/>
                    </a:lnTo>
                    <a:lnTo>
                      <a:pt x="88" y="725"/>
                    </a:lnTo>
                    <a:lnTo>
                      <a:pt x="92" y="725"/>
                    </a:lnTo>
                    <a:lnTo>
                      <a:pt x="90" y="725"/>
                    </a:lnTo>
                    <a:lnTo>
                      <a:pt x="88" y="727"/>
                    </a:lnTo>
                    <a:lnTo>
                      <a:pt x="88" y="727"/>
                    </a:lnTo>
                    <a:lnTo>
                      <a:pt x="90" y="728"/>
                    </a:lnTo>
                    <a:lnTo>
                      <a:pt x="90" y="728"/>
                    </a:lnTo>
                    <a:lnTo>
                      <a:pt x="90" y="728"/>
                    </a:lnTo>
                    <a:lnTo>
                      <a:pt x="92" y="728"/>
                    </a:lnTo>
                    <a:lnTo>
                      <a:pt x="90" y="728"/>
                    </a:lnTo>
                    <a:lnTo>
                      <a:pt x="88" y="728"/>
                    </a:lnTo>
                    <a:lnTo>
                      <a:pt x="84" y="727"/>
                    </a:lnTo>
                    <a:lnTo>
                      <a:pt x="84" y="725"/>
                    </a:lnTo>
                    <a:lnTo>
                      <a:pt x="84" y="725"/>
                    </a:lnTo>
                    <a:lnTo>
                      <a:pt x="82" y="723"/>
                    </a:lnTo>
                    <a:lnTo>
                      <a:pt x="82" y="725"/>
                    </a:lnTo>
                    <a:lnTo>
                      <a:pt x="82" y="727"/>
                    </a:lnTo>
                    <a:lnTo>
                      <a:pt x="82" y="728"/>
                    </a:lnTo>
                    <a:lnTo>
                      <a:pt x="84" y="728"/>
                    </a:lnTo>
                    <a:lnTo>
                      <a:pt x="84" y="730"/>
                    </a:lnTo>
                    <a:lnTo>
                      <a:pt x="86" y="736"/>
                    </a:lnTo>
                    <a:lnTo>
                      <a:pt x="88" y="740"/>
                    </a:lnTo>
                    <a:lnTo>
                      <a:pt x="88" y="742"/>
                    </a:lnTo>
                    <a:lnTo>
                      <a:pt x="90" y="744"/>
                    </a:lnTo>
                    <a:lnTo>
                      <a:pt x="92" y="744"/>
                    </a:lnTo>
                    <a:lnTo>
                      <a:pt x="92" y="746"/>
                    </a:lnTo>
                    <a:lnTo>
                      <a:pt x="90" y="746"/>
                    </a:lnTo>
                    <a:lnTo>
                      <a:pt x="90" y="748"/>
                    </a:lnTo>
                    <a:lnTo>
                      <a:pt x="90" y="749"/>
                    </a:lnTo>
                    <a:lnTo>
                      <a:pt x="92" y="749"/>
                    </a:lnTo>
                    <a:lnTo>
                      <a:pt x="92" y="749"/>
                    </a:lnTo>
                    <a:lnTo>
                      <a:pt x="92" y="753"/>
                    </a:lnTo>
                    <a:lnTo>
                      <a:pt x="92" y="753"/>
                    </a:lnTo>
                    <a:lnTo>
                      <a:pt x="96" y="765"/>
                    </a:lnTo>
                    <a:lnTo>
                      <a:pt x="96" y="767"/>
                    </a:lnTo>
                    <a:lnTo>
                      <a:pt x="96" y="768"/>
                    </a:lnTo>
                    <a:lnTo>
                      <a:pt x="98" y="768"/>
                    </a:lnTo>
                    <a:lnTo>
                      <a:pt x="98" y="768"/>
                    </a:lnTo>
                    <a:lnTo>
                      <a:pt x="98" y="768"/>
                    </a:lnTo>
                    <a:lnTo>
                      <a:pt x="100" y="768"/>
                    </a:lnTo>
                    <a:lnTo>
                      <a:pt x="100" y="770"/>
                    </a:lnTo>
                    <a:lnTo>
                      <a:pt x="100" y="776"/>
                    </a:lnTo>
                    <a:lnTo>
                      <a:pt x="102" y="782"/>
                    </a:lnTo>
                    <a:lnTo>
                      <a:pt x="102" y="778"/>
                    </a:lnTo>
                    <a:lnTo>
                      <a:pt x="102" y="776"/>
                    </a:lnTo>
                    <a:lnTo>
                      <a:pt x="103" y="772"/>
                    </a:lnTo>
                    <a:lnTo>
                      <a:pt x="105" y="772"/>
                    </a:lnTo>
                    <a:lnTo>
                      <a:pt x="105" y="774"/>
                    </a:lnTo>
                    <a:lnTo>
                      <a:pt x="103" y="774"/>
                    </a:lnTo>
                    <a:lnTo>
                      <a:pt x="103" y="776"/>
                    </a:lnTo>
                    <a:lnTo>
                      <a:pt x="102" y="778"/>
                    </a:lnTo>
                    <a:lnTo>
                      <a:pt x="102" y="786"/>
                    </a:lnTo>
                    <a:lnTo>
                      <a:pt x="102" y="786"/>
                    </a:lnTo>
                    <a:lnTo>
                      <a:pt x="102" y="787"/>
                    </a:lnTo>
                    <a:lnTo>
                      <a:pt x="102" y="787"/>
                    </a:lnTo>
                    <a:lnTo>
                      <a:pt x="102" y="789"/>
                    </a:lnTo>
                    <a:lnTo>
                      <a:pt x="102" y="789"/>
                    </a:lnTo>
                    <a:lnTo>
                      <a:pt x="103" y="789"/>
                    </a:lnTo>
                    <a:lnTo>
                      <a:pt x="103" y="791"/>
                    </a:lnTo>
                    <a:lnTo>
                      <a:pt x="103" y="791"/>
                    </a:lnTo>
                    <a:lnTo>
                      <a:pt x="105" y="793"/>
                    </a:lnTo>
                    <a:lnTo>
                      <a:pt x="107" y="793"/>
                    </a:lnTo>
                    <a:lnTo>
                      <a:pt x="109" y="793"/>
                    </a:lnTo>
                    <a:lnTo>
                      <a:pt x="109" y="795"/>
                    </a:lnTo>
                    <a:lnTo>
                      <a:pt x="105" y="795"/>
                    </a:lnTo>
                    <a:lnTo>
                      <a:pt x="105" y="797"/>
                    </a:lnTo>
                    <a:lnTo>
                      <a:pt x="109" y="801"/>
                    </a:lnTo>
                    <a:lnTo>
                      <a:pt x="111" y="803"/>
                    </a:lnTo>
                    <a:lnTo>
                      <a:pt x="119" y="810"/>
                    </a:lnTo>
                    <a:lnTo>
                      <a:pt x="121" y="812"/>
                    </a:lnTo>
                    <a:lnTo>
                      <a:pt x="124" y="820"/>
                    </a:lnTo>
                    <a:lnTo>
                      <a:pt x="126" y="824"/>
                    </a:lnTo>
                    <a:lnTo>
                      <a:pt x="124" y="829"/>
                    </a:lnTo>
                    <a:lnTo>
                      <a:pt x="126" y="831"/>
                    </a:lnTo>
                    <a:lnTo>
                      <a:pt x="126" y="831"/>
                    </a:lnTo>
                    <a:lnTo>
                      <a:pt x="128" y="833"/>
                    </a:lnTo>
                    <a:lnTo>
                      <a:pt x="130" y="833"/>
                    </a:lnTo>
                    <a:lnTo>
                      <a:pt x="132" y="833"/>
                    </a:lnTo>
                    <a:lnTo>
                      <a:pt x="136" y="831"/>
                    </a:lnTo>
                    <a:lnTo>
                      <a:pt x="142" y="831"/>
                    </a:lnTo>
                    <a:lnTo>
                      <a:pt x="143" y="831"/>
                    </a:lnTo>
                    <a:lnTo>
                      <a:pt x="143" y="831"/>
                    </a:lnTo>
                    <a:lnTo>
                      <a:pt x="145" y="829"/>
                    </a:lnTo>
                    <a:lnTo>
                      <a:pt x="147" y="827"/>
                    </a:lnTo>
                    <a:lnTo>
                      <a:pt x="147" y="826"/>
                    </a:lnTo>
                    <a:lnTo>
                      <a:pt x="147" y="826"/>
                    </a:lnTo>
                    <a:lnTo>
                      <a:pt x="149" y="826"/>
                    </a:lnTo>
                    <a:lnTo>
                      <a:pt x="149" y="826"/>
                    </a:lnTo>
                    <a:lnTo>
                      <a:pt x="149" y="827"/>
                    </a:lnTo>
                    <a:lnTo>
                      <a:pt x="149" y="829"/>
                    </a:lnTo>
                    <a:lnTo>
                      <a:pt x="151" y="829"/>
                    </a:lnTo>
                    <a:lnTo>
                      <a:pt x="151" y="829"/>
                    </a:lnTo>
                    <a:lnTo>
                      <a:pt x="153" y="829"/>
                    </a:lnTo>
                    <a:lnTo>
                      <a:pt x="155" y="831"/>
                    </a:lnTo>
                    <a:lnTo>
                      <a:pt x="157" y="831"/>
                    </a:lnTo>
                    <a:lnTo>
                      <a:pt x="157" y="831"/>
                    </a:lnTo>
                    <a:lnTo>
                      <a:pt x="159" y="833"/>
                    </a:lnTo>
                    <a:lnTo>
                      <a:pt x="159" y="835"/>
                    </a:lnTo>
                    <a:lnTo>
                      <a:pt x="161" y="841"/>
                    </a:lnTo>
                    <a:lnTo>
                      <a:pt x="161" y="843"/>
                    </a:lnTo>
                    <a:lnTo>
                      <a:pt x="163" y="845"/>
                    </a:lnTo>
                    <a:lnTo>
                      <a:pt x="166" y="846"/>
                    </a:lnTo>
                    <a:lnTo>
                      <a:pt x="168" y="846"/>
                    </a:lnTo>
                    <a:lnTo>
                      <a:pt x="168" y="846"/>
                    </a:lnTo>
                    <a:lnTo>
                      <a:pt x="170" y="846"/>
                    </a:lnTo>
                    <a:lnTo>
                      <a:pt x="178" y="845"/>
                    </a:lnTo>
                    <a:lnTo>
                      <a:pt x="184" y="845"/>
                    </a:lnTo>
                    <a:lnTo>
                      <a:pt x="182" y="841"/>
                    </a:lnTo>
                    <a:lnTo>
                      <a:pt x="182" y="841"/>
                    </a:lnTo>
                    <a:lnTo>
                      <a:pt x="182" y="841"/>
                    </a:lnTo>
                    <a:lnTo>
                      <a:pt x="182" y="839"/>
                    </a:lnTo>
                    <a:lnTo>
                      <a:pt x="184" y="839"/>
                    </a:lnTo>
                    <a:lnTo>
                      <a:pt x="184" y="839"/>
                    </a:lnTo>
                    <a:lnTo>
                      <a:pt x="185" y="837"/>
                    </a:lnTo>
                    <a:lnTo>
                      <a:pt x="185" y="833"/>
                    </a:lnTo>
                    <a:lnTo>
                      <a:pt x="187" y="831"/>
                    </a:lnTo>
                    <a:lnTo>
                      <a:pt x="193" y="827"/>
                    </a:lnTo>
                    <a:lnTo>
                      <a:pt x="195" y="827"/>
                    </a:lnTo>
                    <a:lnTo>
                      <a:pt x="195" y="827"/>
                    </a:lnTo>
                    <a:lnTo>
                      <a:pt x="197" y="827"/>
                    </a:lnTo>
                    <a:lnTo>
                      <a:pt x="197" y="827"/>
                    </a:lnTo>
                    <a:lnTo>
                      <a:pt x="197" y="827"/>
                    </a:lnTo>
                    <a:lnTo>
                      <a:pt x="197" y="829"/>
                    </a:lnTo>
                    <a:lnTo>
                      <a:pt x="197" y="831"/>
                    </a:lnTo>
                    <a:lnTo>
                      <a:pt x="197" y="831"/>
                    </a:lnTo>
                    <a:lnTo>
                      <a:pt x="197" y="831"/>
                    </a:lnTo>
                    <a:lnTo>
                      <a:pt x="197" y="831"/>
                    </a:lnTo>
                    <a:lnTo>
                      <a:pt x="197" y="833"/>
                    </a:lnTo>
                    <a:lnTo>
                      <a:pt x="199" y="833"/>
                    </a:lnTo>
                    <a:lnTo>
                      <a:pt x="203" y="833"/>
                    </a:lnTo>
                    <a:lnTo>
                      <a:pt x="204" y="831"/>
                    </a:lnTo>
                    <a:lnTo>
                      <a:pt x="206" y="831"/>
                    </a:lnTo>
                    <a:lnTo>
                      <a:pt x="208" y="831"/>
                    </a:lnTo>
                    <a:lnTo>
                      <a:pt x="210" y="829"/>
                    </a:lnTo>
                    <a:lnTo>
                      <a:pt x="212" y="827"/>
                    </a:lnTo>
                    <a:lnTo>
                      <a:pt x="214" y="824"/>
                    </a:lnTo>
                    <a:lnTo>
                      <a:pt x="216" y="820"/>
                    </a:lnTo>
                    <a:lnTo>
                      <a:pt x="216" y="818"/>
                    </a:lnTo>
                    <a:lnTo>
                      <a:pt x="216" y="818"/>
                    </a:lnTo>
                    <a:lnTo>
                      <a:pt x="216" y="816"/>
                    </a:lnTo>
                    <a:lnTo>
                      <a:pt x="214" y="814"/>
                    </a:lnTo>
                    <a:lnTo>
                      <a:pt x="214" y="814"/>
                    </a:lnTo>
                    <a:lnTo>
                      <a:pt x="214" y="814"/>
                    </a:lnTo>
                    <a:lnTo>
                      <a:pt x="218" y="808"/>
                    </a:lnTo>
                    <a:lnTo>
                      <a:pt x="220" y="805"/>
                    </a:lnTo>
                    <a:lnTo>
                      <a:pt x="222" y="801"/>
                    </a:lnTo>
                    <a:lnTo>
                      <a:pt x="224" y="801"/>
                    </a:lnTo>
                    <a:lnTo>
                      <a:pt x="224" y="797"/>
                    </a:lnTo>
                    <a:lnTo>
                      <a:pt x="224" y="795"/>
                    </a:lnTo>
                    <a:lnTo>
                      <a:pt x="224" y="793"/>
                    </a:lnTo>
                    <a:lnTo>
                      <a:pt x="224" y="791"/>
                    </a:lnTo>
                    <a:lnTo>
                      <a:pt x="224" y="791"/>
                    </a:lnTo>
                    <a:lnTo>
                      <a:pt x="224" y="791"/>
                    </a:lnTo>
                    <a:lnTo>
                      <a:pt x="222" y="791"/>
                    </a:lnTo>
                    <a:lnTo>
                      <a:pt x="220" y="789"/>
                    </a:lnTo>
                    <a:lnTo>
                      <a:pt x="220" y="789"/>
                    </a:lnTo>
                    <a:lnTo>
                      <a:pt x="218" y="789"/>
                    </a:lnTo>
                    <a:lnTo>
                      <a:pt x="218" y="787"/>
                    </a:lnTo>
                    <a:lnTo>
                      <a:pt x="218" y="787"/>
                    </a:lnTo>
                    <a:lnTo>
                      <a:pt x="220" y="786"/>
                    </a:lnTo>
                    <a:lnTo>
                      <a:pt x="222" y="786"/>
                    </a:lnTo>
                    <a:lnTo>
                      <a:pt x="222" y="784"/>
                    </a:lnTo>
                    <a:lnTo>
                      <a:pt x="227" y="784"/>
                    </a:lnTo>
                    <a:lnTo>
                      <a:pt x="227" y="784"/>
                    </a:lnTo>
                    <a:lnTo>
                      <a:pt x="229" y="782"/>
                    </a:lnTo>
                    <a:lnTo>
                      <a:pt x="229" y="780"/>
                    </a:lnTo>
                    <a:lnTo>
                      <a:pt x="229" y="776"/>
                    </a:lnTo>
                    <a:lnTo>
                      <a:pt x="229" y="770"/>
                    </a:lnTo>
                    <a:lnTo>
                      <a:pt x="229" y="768"/>
                    </a:lnTo>
                    <a:lnTo>
                      <a:pt x="229" y="767"/>
                    </a:lnTo>
                    <a:lnTo>
                      <a:pt x="229" y="767"/>
                    </a:lnTo>
                    <a:lnTo>
                      <a:pt x="229" y="765"/>
                    </a:lnTo>
                    <a:lnTo>
                      <a:pt x="227" y="765"/>
                    </a:lnTo>
                    <a:lnTo>
                      <a:pt x="227" y="765"/>
                    </a:lnTo>
                    <a:lnTo>
                      <a:pt x="216" y="759"/>
                    </a:lnTo>
                    <a:lnTo>
                      <a:pt x="216" y="759"/>
                    </a:lnTo>
                    <a:lnTo>
                      <a:pt x="214" y="759"/>
                    </a:lnTo>
                    <a:lnTo>
                      <a:pt x="214" y="759"/>
                    </a:lnTo>
                    <a:lnTo>
                      <a:pt x="212" y="759"/>
                    </a:lnTo>
                    <a:lnTo>
                      <a:pt x="212" y="761"/>
                    </a:lnTo>
                    <a:lnTo>
                      <a:pt x="212" y="761"/>
                    </a:lnTo>
                    <a:lnTo>
                      <a:pt x="210" y="761"/>
                    </a:lnTo>
                    <a:lnTo>
                      <a:pt x="210" y="761"/>
                    </a:lnTo>
                    <a:lnTo>
                      <a:pt x="210" y="759"/>
                    </a:lnTo>
                    <a:lnTo>
                      <a:pt x="210" y="759"/>
                    </a:lnTo>
                    <a:lnTo>
                      <a:pt x="210" y="755"/>
                    </a:lnTo>
                    <a:lnTo>
                      <a:pt x="210" y="755"/>
                    </a:lnTo>
                    <a:lnTo>
                      <a:pt x="210" y="755"/>
                    </a:lnTo>
                    <a:lnTo>
                      <a:pt x="208" y="753"/>
                    </a:lnTo>
                    <a:lnTo>
                      <a:pt x="208" y="751"/>
                    </a:lnTo>
                    <a:lnTo>
                      <a:pt x="208" y="751"/>
                    </a:lnTo>
                    <a:lnTo>
                      <a:pt x="208" y="749"/>
                    </a:lnTo>
                    <a:lnTo>
                      <a:pt x="208" y="748"/>
                    </a:lnTo>
                    <a:lnTo>
                      <a:pt x="208" y="748"/>
                    </a:lnTo>
                    <a:lnTo>
                      <a:pt x="210" y="748"/>
                    </a:lnTo>
                    <a:lnTo>
                      <a:pt x="212" y="746"/>
                    </a:lnTo>
                    <a:lnTo>
                      <a:pt x="214" y="746"/>
                    </a:lnTo>
                    <a:lnTo>
                      <a:pt x="214" y="746"/>
                    </a:lnTo>
                    <a:lnTo>
                      <a:pt x="214" y="746"/>
                    </a:lnTo>
                    <a:lnTo>
                      <a:pt x="214" y="744"/>
                    </a:lnTo>
                    <a:lnTo>
                      <a:pt x="214" y="744"/>
                    </a:lnTo>
                    <a:lnTo>
                      <a:pt x="214" y="744"/>
                    </a:lnTo>
                    <a:lnTo>
                      <a:pt x="212" y="744"/>
                    </a:lnTo>
                    <a:lnTo>
                      <a:pt x="212" y="742"/>
                    </a:lnTo>
                    <a:lnTo>
                      <a:pt x="210" y="742"/>
                    </a:lnTo>
                    <a:lnTo>
                      <a:pt x="210" y="742"/>
                    </a:lnTo>
                    <a:lnTo>
                      <a:pt x="210" y="740"/>
                    </a:lnTo>
                    <a:lnTo>
                      <a:pt x="210" y="740"/>
                    </a:lnTo>
                    <a:lnTo>
                      <a:pt x="210" y="738"/>
                    </a:lnTo>
                    <a:lnTo>
                      <a:pt x="210" y="738"/>
                    </a:lnTo>
                    <a:lnTo>
                      <a:pt x="210" y="738"/>
                    </a:lnTo>
                    <a:lnTo>
                      <a:pt x="208" y="736"/>
                    </a:lnTo>
                    <a:lnTo>
                      <a:pt x="208" y="736"/>
                    </a:lnTo>
                    <a:lnTo>
                      <a:pt x="206" y="738"/>
                    </a:lnTo>
                    <a:lnTo>
                      <a:pt x="206" y="738"/>
                    </a:lnTo>
                    <a:lnTo>
                      <a:pt x="206" y="736"/>
                    </a:lnTo>
                    <a:lnTo>
                      <a:pt x="204" y="736"/>
                    </a:lnTo>
                    <a:lnTo>
                      <a:pt x="204" y="736"/>
                    </a:lnTo>
                    <a:lnTo>
                      <a:pt x="204" y="736"/>
                    </a:lnTo>
                    <a:lnTo>
                      <a:pt x="204" y="734"/>
                    </a:lnTo>
                    <a:lnTo>
                      <a:pt x="204" y="734"/>
                    </a:lnTo>
                    <a:lnTo>
                      <a:pt x="204" y="732"/>
                    </a:lnTo>
                    <a:lnTo>
                      <a:pt x="204" y="732"/>
                    </a:lnTo>
                    <a:lnTo>
                      <a:pt x="203" y="732"/>
                    </a:lnTo>
                    <a:lnTo>
                      <a:pt x="203" y="732"/>
                    </a:lnTo>
                    <a:lnTo>
                      <a:pt x="203" y="732"/>
                    </a:lnTo>
                    <a:lnTo>
                      <a:pt x="201" y="732"/>
                    </a:lnTo>
                    <a:lnTo>
                      <a:pt x="201" y="734"/>
                    </a:lnTo>
                    <a:lnTo>
                      <a:pt x="201" y="734"/>
                    </a:lnTo>
                    <a:lnTo>
                      <a:pt x="199" y="734"/>
                    </a:lnTo>
                    <a:lnTo>
                      <a:pt x="199" y="734"/>
                    </a:lnTo>
                    <a:lnTo>
                      <a:pt x="199" y="734"/>
                    </a:lnTo>
                    <a:lnTo>
                      <a:pt x="199" y="734"/>
                    </a:lnTo>
                    <a:lnTo>
                      <a:pt x="199" y="732"/>
                    </a:lnTo>
                    <a:lnTo>
                      <a:pt x="199" y="732"/>
                    </a:lnTo>
                    <a:lnTo>
                      <a:pt x="201" y="728"/>
                    </a:lnTo>
                    <a:lnTo>
                      <a:pt x="201" y="727"/>
                    </a:lnTo>
                    <a:lnTo>
                      <a:pt x="201" y="727"/>
                    </a:lnTo>
                    <a:lnTo>
                      <a:pt x="203" y="727"/>
                    </a:lnTo>
                    <a:lnTo>
                      <a:pt x="203" y="727"/>
                    </a:lnTo>
                    <a:lnTo>
                      <a:pt x="204" y="727"/>
                    </a:lnTo>
                    <a:lnTo>
                      <a:pt x="204" y="728"/>
                    </a:lnTo>
                    <a:lnTo>
                      <a:pt x="206" y="728"/>
                    </a:lnTo>
                    <a:lnTo>
                      <a:pt x="206" y="728"/>
                    </a:lnTo>
                    <a:lnTo>
                      <a:pt x="208" y="727"/>
                    </a:lnTo>
                    <a:lnTo>
                      <a:pt x="208" y="727"/>
                    </a:lnTo>
                    <a:lnTo>
                      <a:pt x="208" y="725"/>
                    </a:lnTo>
                    <a:lnTo>
                      <a:pt x="208" y="723"/>
                    </a:lnTo>
                    <a:lnTo>
                      <a:pt x="210" y="723"/>
                    </a:lnTo>
                    <a:lnTo>
                      <a:pt x="210" y="723"/>
                    </a:lnTo>
                    <a:lnTo>
                      <a:pt x="210" y="725"/>
                    </a:lnTo>
                    <a:lnTo>
                      <a:pt x="212" y="725"/>
                    </a:lnTo>
                    <a:lnTo>
                      <a:pt x="212" y="725"/>
                    </a:lnTo>
                    <a:lnTo>
                      <a:pt x="212" y="727"/>
                    </a:lnTo>
                    <a:lnTo>
                      <a:pt x="214" y="727"/>
                    </a:lnTo>
                    <a:lnTo>
                      <a:pt x="214" y="727"/>
                    </a:lnTo>
                    <a:lnTo>
                      <a:pt x="216" y="725"/>
                    </a:lnTo>
                    <a:lnTo>
                      <a:pt x="218" y="723"/>
                    </a:lnTo>
                    <a:lnTo>
                      <a:pt x="218" y="723"/>
                    </a:lnTo>
                    <a:lnTo>
                      <a:pt x="218" y="721"/>
                    </a:lnTo>
                    <a:lnTo>
                      <a:pt x="220" y="721"/>
                    </a:lnTo>
                    <a:lnTo>
                      <a:pt x="222" y="721"/>
                    </a:lnTo>
                    <a:lnTo>
                      <a:pt x="222" y="719"/>
                    </a:lnTo>
                    <a:lnTo>
                      <a:pt x="222" y="719"/>
                    </a:lnTo>
                    <a:lnTo>
                      <a:pt x="222" y="717"/>
                    </a:lnTo>
                    <a:lnTo>
                      <a:pt x="224" y="713"/>
                    </a:lnTo>
                    <a:lnTo>
                      <a:pt x="224" y="713"/>
                    </a:lnTo>
                    <a:lnTo>
                      <a:pt x="225" y="713"/>
                    </a:lnTo>
                    <a:lnTo>
                      <a:pt x="225" y="713"/>
                    </a:lnTo>
                    <a:lnTo>
                      <a:pt x="227" y="713"/>
                    </a:lnTo>
                    <a:lnTo>
                      <a:pt x="229" y="713"/>
                    </a:lnTo>
                    <a:lnTo>
                      <a:pt x="229" y="715"/>
                    </a:lnTo>
                    <a:lnTo>
                      <a:pt x="235" y="715"/>
                    </a:lnTo>
                    <a:lnTo>
                      <a:pt x="235" y="715"/>
                    </a:lnTo>
                    <a:lnTo>
                      <a:pt x="235" y="715"/>
                    </a:lnTo>
                    <a:lnTo>
                      <a:pt x="237" y="717"/>
                    </a:lnTo>
                    <a:lnTo>
                      <a:pt x="237" y="719"/>
                    </a:lnTo>
                    <a:lnTo>
                      <a:pt x="237" y="719"/>
                    </a:lnTo>
                    <a:lnTo>
                      <a:pt x="237" y="721"/>
                    </a:lnTo>
                    <a:lnTo>
                      <a:pt x="239" y="721"/>
                    </a:lnTo>
                    <a:lnTo>
                      <a:pt x="239" y="723"/>
                    </a:lnTo>
                    <a:lnTo>
                      <a:pt x="239" y="723"/>
                    </a:lnTo>
                    <a:lnTo>
                      <a:pt x="239" y="723"/>
                    </a:lnTo>
                    <a:lnTo>
                      <a:pt x="239" y="725"/>
                    </a:lnTo>
                    <a:lnTo>
                      <a:pt x="239" y="725"/>
                    </a:lnTo>
                    <a:lnTo>
                      <a:pt x="239" y="725"/>
                    </a:lnTo>
                    <a:lnTo>
                      <a:pt x="239" y="725"/>
                    </a:lnTo>
                    <a:lnTo>
                      <a:pt x="241" y="725"/>
                    </a:lnTo>
                    <a:lnTo>
                      <a:pt x="241" y="725"/>
                    </a:lnTo>
                    <a:lnTo>
                      <a:pt x="243" y="725"/>
                    </a:lnTo>
                    <a:lnTo>
                      <a:pt x="243" y="723"/>
                    </a:lnTo>
                    <a:lnTo>
                      <a:pt x="246" y="719"/>
                    </a:lnTo>
                    <a:lnTo>
                      <a:pt x="248" y="719"/>
                    </a:lnTo>
                    <a:lnTo>
                      <a:pt x="248" y="719"/>
                    </a:lnTo>
                    <a:lnTo>
                      <a:pt x="250" y="719"/>
                    </a:lnTo>
                    <a:lnTo>
                      <a:pt x="252" y="719"/>
                    </a:lnTo>
                    <a:lnTo>
                      <a:pt x="254" y="717"/>
                    </a:lnTo>
                    <a:lnTo>
                      <a:pt x="254" y="717"/>
                    </a:lnTo>
                    <a:lnTo>
                      <a:pt x="254" y="715"/>
                    </a:lnTo>
                    <a:lnTo>
                      <a:pt x="250" y="711"/>
                    </a:lnTo>
                    <a:lnTo>
                      <a:pt x="252" y="709"/>
                    </a:lnTo>
                    <a:lnTo>
                      <a:pt x="254" y="709"/>
                    </a:lnTo>
                    <a:lnTo>
                      <a:pt x="254" y="709"/>
                    </a:lnTo>
                    <a:lnTo>
                      <a:pt x="254" y="708"/>
                    </a:lnTo>
                    <a:lnTo>
                      <a:pt x="256" y="704"/>
                    </a:lnTo>
                    <a:lnTo>
                      <a:pt x="256" y="704"/>
                    </a:lnTo>
                    <a:lnTo>
                      <a:pt x="258" y="704"/>
                    </a:lnTo>
                    <a:lnTo>
                      <a:pt x="258" y="704"/>
                    </a:lnTo>
                    <a:lnTo>
                      <a:pt x="260" y="704"/>
                    </a:lnTo>
                    <a:lnTo>
                      <a:pt x="260" y="704"/>
                    </a:lnTo>
                    <a:lnTo>
                      <a:pt x="262" y="702"/>
                    </a:lnTo>
                    <a:lnTo>
                      <a:pt x="262" y="700"/>
                    </a:lnTo>
                    <a:lnTo>
                      <a:pt x="264" y="700"/>
                    </a:lnTo>
                    <a:lnTo>
                      <a:pt x="264" y="700"/>
                    </a:lnTo>
                    <a:lnTo>
                      <a:pt x="266" y="700"/>
                    </a:lnTo>
                    <a:lnTo>
                      <a:pt x="267" y="698"/>
                    </a:lnTo>
                    <a:lnTo>
                      <a:pt x="269" y="698"/>
                    </a:lnTo>
                    <a:lnTo>
                      <a:pt x="269" y="696"/>
                    </a:lnTo>
                    <a:lnTo>
                      <a:pt x="271" y="696"/>
                    </a:lnTo>
                    <a:lnTo>
                      <a:pt x="273" y="696"/>
                    </a:lnTo>
                    <a:lnTo>
                      <a:pt x="275" y="698"/>
                    </a:lnTo>
                    <a:lnTo>
                      <a:pt x="277" y="698"/>
                    </a:lnTo>
                    <a:lnTo>
                      <a:pt x="277" y="698"/>
                    </a:lnTo>
                    <a:lnTo>
                      <a:pt x="279" y="698"/>
                    </a:lnTo>
                    <a:lnTo>
                      <a:pt x="279" y="696"/>
                    </a:lnTo>
                    <a:lnTo>
                      <a:pt x="279" y="696"/>
                    </a:lnTo>
                    <a:lnTo>
                      <a:pt x="279" y="696"/>
                    </a:lnTo>
                    <a:lnTo>
                      <a:pt x="277" y="690"/>
                    </a:lnTo>
                    <a:lnTo>
                      <a:pt x="277" y="689"/>
                    </a:lnTo>
                    <a:lnTo>
                      <a:pt x="277" y="687"/>
                    </a:lnTo>
                    <a:lnTo>
                      <a:pt x="275" y="685"/>
                    </a:lnTo>
                    <a:lnTo>
                      <a:pt x="275" y="685"/>
                    </a:lnTo>
                    <a:lnTo>
                      <a:pt x="275" y="685"/>
                    </a:lnTo>
                    <a:lnTo>
                      <a:pt x="277" y="685"/>
                    </a:lnTo>
                    <a:lnTo>
                      <a:pt x="277" y="685"/>
                    </a:lnTo>
                    <a:lnTo>
                      <a:pt x="283" y="683"/>
                    </a:lnTo>
                    <a:lnTo>
                      <a:pt x="285" y="681"/>
                    </a:lnTo>
                    <a:lnTo>
                      <a:pt x="286" y="681"/>
                    </a:lnTo>
                    <a:lnTo>
                      <a:pt x="286" y="679"/>
                    </a:lnTo>
                    <a:lnTo>
                      <a:pt x="286" y="679"/>
                    </a:lnTo>
                    <a:lnTo>
                      <a:pt x="288" y="677"/>
                    </a:lnTo>
                    <a:lnTo>
                      <a:pt x="288" y="677"/>
                    </a:lnTo>
                    <a:lnTo>
                      <a:pt x="290" y="673"/>
                    </a:lnTo>
                    <a:lnTo>
                      <a:pt x="290" y="671"/>
                    </a:lnTo>
                    <a:lnTo>
                      <a:pt x="292" y="671"/>
                    </a:lnTo>
                    <a:lnTo>
                      <a:pt x="296" y="673"/>
                    </a:lnTo>
                    <a:lnTo>
                      <a:pt x="302" y="673"/>
                    </a:lnTo>
                    <a:lnTo>
                      <a:pt x="302" y="673"/>
                    </a:lnTo>
                    <a:lnTo>
                      <a:pt x="302" y="673"/>
                    </a:lnTo>
                    <a:lnTo>
                      <a:pt x="302" y="673"/>
                    </a:lnTo>
                    <a:lnTo>
                      <a:pt x="304" y="675"/>
                    </a:lnTo>
                    <a:lnTo>
                      <a:pt x="304" y="677"/>
                    </a:lnTo>
                    <a:lnTo>
                      <a:pt x="306" y="677"/>
                    </a:lnTo>
                    <a:lnTo>
                      <a:pt x="307" y="679"/>
                    </a:lnTo>
                    <a:lnTo>
                      <a:pt x="307" y="679"/>
                    </a:lnTo>
                    <a:lnTo>
                      <a:pt x="307" y="679"/>
                    </a:lnTo>
                    <a:lnTo>
                      <a:pt x="309" y="681"/>
                    </a:lnTo>
                    <a:lnTo>
                      <a:pt x="309" y="681"/>
                    </a:lnTo>
                    <a:lnTo>
                      <a:pt x="311" y="683"/>
                    </a:lnTo>
                    <a:lnTo>
                      <a:pt x="313" y="683"/>
                    </a:lnTo>
                    <a:lnTo>
                      <a:pt x="315" y="683"/>
                    </a:lnTo>
                    <a:lnTo>
                      <a:pt x="317" y="683"/>
                    </a:lnTo>
                    <a:lnTo>
                      <a:pt x="321" y="683"/>
                    </a:lnTo>
                    <a:lnTo>
                      <a:pt x="327" y="679"/>
                    </a:lnTo>
                    <a:lnTo>
                      <a:pt x="327" y="677"/>
                    </a:lnTo>
                    <a:lnTo>
                      <a:pt x="327" y="675"/>
                    </a:lnTo>
                    <a:lnTo>
                      <a:pt x="327" y="673"/>
                    </a:lnTo>
                    <a:lnTo>
                      <a:pt x="327" y="671"/>
                    </a:lnTo>
                    <a:lnTo>
                      <a:pt x="328" y="671"/>
                    </a:lnTo>
                    <a:lnTo>
                      <a:pt x="334" y="671"/>
                    </a:lnTo>
                    <a:lnTo>
                      <a:pt x="336" y="671"/>
                    </a:lnTo>
                    <a:lnTo>
                      <a:pt x="338" y="670"/>
                    </a:lnTo>
                    <a:lnTo>
                      <a:pt x="340" y="670"/>
                    </a:lnTo>
                    <a:lnTo>
                      <a:pt x="342" y="668"/>
                    </a:lnTo>
                    <a:lnTo>
                      <a:pt x="349" y="668"/>
                    </a:lnTo>
                    <a:lnTo>
                      <a:pt x="349" y="670"/>
                    </a:lnTo>
                    <a:lnTo>
                      <a:pt x="351" y="670"/>
                    </a:lnTo>
                    <a:lnTo>
                      <a:pt x="351" y="670"/>
                    </a:lnTo>
                    <a:lnTo>
                      <a:pt x="353" y="671"/>
                    </a:lnTo>
                    <a:lnTo>
                      <a:pt x="353" y="671"/>
                    </a:lnTo>
                    <a:lnTo>
                      <a:pt x="355" y="671"/>
                    </a:lnTo>
                    <a:lnTo>
                      <a:pt x="359" y="670"/>
                    </a:lnTo>
                    <a:lnTo>
                      <a:pt x="361" y="670"/>
                    </a:lnTo>
                    <a:lnTo>
                      <a:pt x="361" y="668"/>
                    </a:lnTo>
                    <a:lnTo>
                      <a:pt x="363" y="668"/>
                    </a:lnTo>
                    <a:lnTo>
                      <a:pt x="363" y="664"/>
                    </a:lnTo>
                    <a:lnTo>
                      <a:pt x="365" y="664"/>
                    </a:lnTo>
                    <a:lnTo>
                      <a:pt x="365" y="664"/>
                    </a:lnTo>
                    <a:lnTo>
                      <a:pt x="367" y="666"/>
                    </a:lnTo>
                    <a:lnTo>
                      <a:pt x="368" y="668"/>
                    </a:lnTo>
                    <a:lnTo>
                      <a:pt x="370" y="670"/>
                    </a:lnTo>
                    <a:lnTo>
                      <a:pt x="372" y="670"/>
                    </a:lnTo>
                    <a:lnTo>
                      <a:pt x="374" y="670"/>
                    </a:lnTo>
                    <a:lnTo>
                      <a:pt x="374" y="668"/>
                    </a:lnTo>
                    <a:lnTo>
                      <a:pt x="376" y="668"/>
                    </a:lnTo>
                    <a:lnTo>
                      <a:pt x="376" y="666"/>
                    </a:lnTo>
                    <a:lnTo>
                      <a:pt x="376" y="666"/>
                    </a:lnTo>
                    <a:lnTo>
                      <a:pt x="376" y="664"/>
                    </a:lnTo>
                    <a:lnTo>
                      <a:pt x="376" y="662"/>
                    </a:lnTo>
                    <a:lnTo>
                      <a:pt x="374" y="660"/>
                    </a:lnTo>
                    <a:lnTo>
                      <a:pt x="374" y="660"/>
                    </a:lnTo>
                    <a:lnTo>
                      <a:pt x="374" y="658"/>
                    </a:lnTo>
                    <a:lnTo>
                      <a:pt x="374" y="658"/>
                    </a:lnTo>
                    <a:lnTo>
                      <a:pt x="376" y="656"/>
                    </a:lnTo>
                    <a:lnTo>
                      <a:pt x="376" y="656"/>
                    </a:lnTo>
                    <a:lnTo>
                      <a:pt x="376" y="654"/>
                    </a:lnTo>
                    <a:lnTo>
                      <a:pt x="376" y="652"/>
                    </a:lnTo>
                    <a:lnTo>
                      <a:pt x="374" y="650"/>
                    </a:lnTo>
                    <a:lnTo>
                      <a:pt x="374" y="649"/>
                    </a:lnTo>
                    <a:lnTo>
                      <a:pt x="372" y="649"/>
                    </a:lnTo>
                    <a:lnTo>
                      <a:pt x="372" y="647"/>
                    </a:lnTo>
                    <a:lnTo>
                      <a:pt x="370" y="645"/>
                    </a:lnTo>
                    <a:lnTo>
                      <a:pt x="370" y="643"/>
                    </a:lnTo>
                    <a:lnTo>
                      <a:pt x="372" y="641"/>
                    </a:lnTo>
                    <a:lnTo>
                      <a:pt x="372" y="639"/>
                    </a:lnTo>
                    <a:lnTo>
                      <a:pt x="372" y="639"/>
                    </a:lnTo>
                    <a:lnTo>
                      <a:pt x="374" y="637"/>
                    </a:lnTo>
                    <a:lnTo>
                      <a:pt x="374" y="635"/>
                    </a:lnTo>
                    <a:lnTo>
                      <a:pt x="374" y="635"/>
                    </a:lnTo>
                    <a:lnTo>
                      <a:pt x="372" y="631"/>
                    </a:lnTo>
                    <a:lnTo>
                      <a:pt x="372" y="631"/>
                    </a:lnTo>
                    <a:lnTo>
                      <a:pt x="370" y="630"/>
                    </a:lnTo>
                    <a:lnTo>
                      <a:pt x="368" y="630"/>
                    </a:lnTo>
                    <a:lnTo>
                      <a:pt x="368" y="628"/>
                    </a:lnTo>
                    <a:lnTo>
                      <a:pt x="368" y="628"/>
                    </a:lnTo>
                    <a:lnTo>
                      <a:pt x="368" y="624"/>
                    </a:lnTo>
                    <a:lnTo>
                      <a:pt x="367" y="622"/>
                    </a:lnTo>
                    <a:lnTo>
                      <a:pt x="365" y="618"/>
                    </a:lnTo>
                    <a:lnTo>
                      <a:pt x="365" y="614"/>
                    </a:lnTo>
                    <a:lnTo>
                      <a:pt x="367" y="614"/>
                    </a:lnTo>
                    <a:lnTo>
                      <a:pt x="367" y="612"/>
                    </a:lnTo>
                    <a:lnTo>
                      <a:pt x="368" y="612"/>
                    </a:lnTo>
                    <a:lnTo>
                      <a:pt x="368" y="611"/>
                    </a:lnTo>
                    <a:lnTo>
                      <a:pt x="370" y="607"/>
                    </a:lnTo>
                    <a:lnTo>
                      <a:pt x="372" y="605"/>
                    </a:lnTo>
                    <a:lnTo>
                      <a:pt x="372" y="605"/>
                    </a:lnTo>
                    <a:lnTo>
                      <a:pt x="374" y="603"/>
                    </a:lnTo>
                    <a:lnTo>
                      <a:pt x="374" y="603"/>
                    </a:lnTo>
                    <a:lnTo>
                      <a:pt x="376" y="603"/>
                    </a:lnTo>
                    <a:lnTo>
                      <a:pt x="378" y="605"/>
                    </a:lnTo>
                    <a:lnTo>
                      <a:pt x="380" y="609"/>
                    </a:lnTo>
                    <a:lnTo>
                      <a:pt x="380" y="611"/>
                    </a:lnTo>
                    <a:lnTo>
                      <a:pt x="384" y="612"/>
                    </a:lnTo>
                    <a:lnTo>
                      <a:pt x="388" y="611"/>
                    </a:lnTo>
                    <a:lnTo>
                      <a:pt x="388" y="612"/>
                    </a:lnTo>
                    <a:lnTo>
                      <a:pt x="389" y="612"/>
                    </a:lnTo>
                    <a:lnTo>
                      <a:pt x="391" y="614"/>
                    </a:lnTo>
                    <a:lnTo>
                      <a:pt x="391" y="616"/>
                    </a:lnTo>
                    <a:lnTo>
                      <a:pt x="391" y="616"/>
                    </a:lnTo>
                    <a:lnTo>
                      <a:pt x="393" y="616"/>
                    </a:lnTo>
                    <a:lnTo>
                      <a:pt x="395" y="616"/>
                    </a:lnTo>
                    <a:lnTo>
                      <a:pt x="397" y="612"/>
                    </a:lnTo>
                    <a:lnTo>
                      <a:pt x="399" y="612"/>
                    </a:lnTo>
                    <a:lnTo>
                      <a:pt x="401" y="614"/>
                    </a:lnTo>
                    <a:lnTo>
                      <a:pt x="405" y="612"/>
                    </a:lnTo>
                    <a:lnTo>
                      <a:pt x="405" y="612"/>
                    </a:lnTo>
                    <a:lnTo>
                      <a:pt x="407" y="614"/>
                    </a:lnTo>
                    <a:lnTo>
                      <a:pt x="407" y="616"/>
                    </a:lnTo>
                    <a:lnTo>
                      <a:pt x="407" y="618"/>
                    </a:lnTo>
                    <a:lnTo>
                      <a:pt x="409" y="620"/>
                    </a:lnTo>
                    <a:lnTo>
                      <a:pt x="410" y="620"/>
                    </a:lnTo>
                    <a:lnTo>
                      <a:pt x="410" y="622"/>
                    </a:lnTo>
                    <a:lnTo>
                      <a:pt x="412" y="624"/>
                    </a:lnTo>
                    <a:lnTo>
                      <a:pt x="412" y="624"/>
                    </a:lnTo>
                    <a:lnTo>
                      <a:pt x="414" y="622"/>
                    </a:lnTo>
                    <a:lnTo>
                      <a:pt x="416" y="622"/>
                    </a:lnTo>
                    <a:lnTo>
                      <a:pt x="420" y="620"/>
                    </a:lnTo>
                    <a:lnTo>
                      <a:pt x="422" y="620"/>
                    </a:lnTo>
                    <a:lnTo>
                      <a:pt x="424" y="620"/>
                    </a:lnTo>
                    <a:lnTo>
                      <a:pt x="424" y="620"/>
                    </a:lnTo>
                    <a:lnTo>
                      <a:pt x="426" y="620"/>
                    </a:lnTo>
                    <a:lnTo>
                      <a:pt x="428" y="620"/>
                    </a:lnTo>
                    <a:lnTo>
                      <a:pt x="433" y="616"/>
                    </a:lnTo>
                    <a:lnTo>
                      <a:pt x="435" y="616"/>
                    </a:lnTo>
                    <a:lnTo>
                      <a:pt x="437" y="616"/>
                    </a:lnTo>
                    <a:lnTo>
                      <a:pt x="439" y="618"/>
                    </a:lnTo>
                    <a:lnTo>
                      <a:pt x="441" y="618"/>
                    </a:lnTo>
                    <a:lnTo>
                      <a:pt x="441" y="618"/>
                    </a:lnTo>
                    <a:lnTo>
                      <a:pt x="445" y="616"/>
                    </a:lnTo>
                    <a:lnTo>
                      <a:pt x="447" y="616"/>
                    </a:lnTo>
                    <a:lnTo>
                      <a:pt x="447" y="616"/>
                    </a:lnTo>
                    <a:lnTo>
                      <a:pt x="449" y="616"/>
                    </a:lnTo>
                    <a:lnTo>
                      <a:pt x="449" y="616"/>
                    </a:lnTo>
                    <a:lnTo>
                      <a:pt x="452" y="618"/>
                    </a:lnTo>
                    <a:lnTo>
                      <a:pt x="452" y="618"/>
                    </a:lnTo>
                    <a:lnTo>
                      <a:pt x="454" y="620"/>
                    </a:lnTo>
                    <a:lnTo>
                      <a:pt x="458" y="620"/>
                    </a:lnTo>
                    <a:lnTo>
                      <a:pt x="458" y="620"/>
                    </a:lnTo>
                    <a:lnTo>
                      <a:pt x="462" y="620"/>
                    </a:lnTo>
                    <a:lnTo>
                      <a:pt x="464" y="620"/>
                    </a:lnTo>
                    <a:lnTo>
                      <a:pt x="466" y="620"/>
                    </a:lnTo>
                    <a:lnTo>
                      <a:pt x="468" y="618"/>
                    </a:lnTo>
                    <a:lnTo>
                      <a:pt x="468" y="616"/>
                    </a:lnTo>
                    <a:lnTo>
                      <a:pt x="468" y="614"/>
                    </a:lnTo>
                    <a:lnTo>
                      <a:pt x="468" y="614"/>
                    </a:lnTo>
                    <a:lnTo>
                      <a:pt x="464" y="612"/>
                    </a:lnTo>
                    <a:lnTo>
                      <a:pt x="464" y="611"/>
                    </a:lnTo>
                    <a:lnTo>
                      <a:pt x="464" y="609"/>
                    </a:lnTo>
                    <a:lnTo>
                      <a:pt x="462" y="607"/>
                    </a:lnTo>
                    <a:lnTo>
                      <a:pt x="462" y="605"/>
                    </a:lnTo>
                    <a:lnTo>
                      <a:pt x="460" y="605"/>
                    </a:lnTo>
                    <a:lnTo>
                      <a:pt x="460" y="603"/>
                    </a:lnTo>
                    <a:lnTo>
                      <a:pt x="462" y="601"/>
                    </a:lnTo>
                    <a:lnTo>
                      <a:pt x="464" y="599"/>
                    </a:lnTo>
                    <a:lnTo>
                      <a:pt x="464" y="599"/>
                    </a:lnTo>
                    <a:lnTo>
                      <a:pt x="464" y="597"/>
                    </a:lnTo>
                    <a:lnTo>
                      <a:pt x="462" y="597"/>
                    </a:lnTo>
                    <a:lnTo>
                      <a:pt x="462" y="595"/>
                    </a:lnTo>
                    <a:lnTo>
                      <a:pt x="464" y="593"/>
                    </a:lnTo>
                    <a:lnTo>
                      <a:pt x="464" y="593"/>
                    </a:lnTo>
                    <a:lnTo>
                      <a:pt x="464" y="592"/>
                    </a:lnTo>
                    <a:lnTo>
                      <a:pt x="462" y="592"/>
                    </a:lnTo>
                    <a:lnTo>
                      <a:pt x="460" y="588"/>
                    </a:lnTo>
                    <a:lnTo>
                      <a:pt x="460" y="588"/>
                    </a:lnTo>
                    <a:lnTo>
                      <a:pt x="460" y="586"/>
                    </a:lnTo>
                    <a:lnTo>
                      <a:pt x="462" y="586"/>
                    </a:lnTo>
                    <a:lnTo>
                      <a:pt x="470" y="582"/>
                    </a:lnTo>
                    <a:lnTo>
                      <a:pt x="471" y="580"/>
                    </a:lnTo>
                    <a:lnTo>
                      <a:pt x="473" y="578"/>
                    </a:lnTo>
                    <a:lnTo>
                      <a:pt x="473" y="578"/>
                    </a:lnTo>
                    <a:lnTo>
                      <a:pt x="473" y="578"/>
                    </a:lnTo>
                    <a:lnTo>
                      <a:pt x="475" y="576"/>
                    </a:lnTo>
                    <a:lnTo>
                      <a:pt x="477" y="576"/>
                    </a:lnTo>
                    <a:lnTo>
                      <a:pt x="479" y="574"/>
                    </a:lnTo>
                    <a:lnTo>
                      <a:pt x="479" y="574"/>
                    </a:lnTo>
                    <a:lnTo>
                      <a:pt x="479" y="572"/>
                    </a:lnTo>
                    <a:lnTo>
                      <a:pt x="479" y="572"/>
                    </a:lnTo>
                    <a:lnTo>
                      <a:pt x="479" y="571"/>
                    </a:lnTo>
                    <a:lnTo>
                      <a:pt x="479" y="571"/>
                    </a:lnTo>
                    <a:lnTo>
                      <a:pt x="481" y="571"/>
                    </a:lnTo>
                    <a:lnTo>
                      <a:pt x="483" y="569"/>
                    </a:lnTo>
                    <a:lnTo>
                      <a:pt x="483" y="569"/>
                    </a:lnTo>
                    <a:lnTo>
                      <a:pt x="483" y="569"/>
                    </a:lnTo>
                    <a:lnTo>
                      <a:pt x="485" y="565"/>
                    </a:lnTo>
                    <a:lnTo>
                      <a:pt x="485" y="565"/>
                    </a:lnTo>
                    <a:lnTo>
                      <a:pt x="487" y="565"/>
                    </a:lnTo>
                    <a:lnTo>
                      <a:pt x="489" y="565"/>
                    </a:lnTo>
                    <a:lnTo>
                      <a:pt x="491" y="565"/>
                    </a:lnTo>
                    <a:lnTo>
                      <a:pt x="492" y="565"/>
                    </a:lnTo>
                    <a:lnTo>
                      <a:pt x="494" y="565"/>
                    </a:lnTo>
                    <a:lnTo>
                      <a:pt x="494" y="565"/>
                    </a:lnTo>
                    <a:lnTo>
                      <a:pt x="496" y="567"/>
                    </a:lnTo>
                    <a:lnTo>
                      <a:pt x="498" y="569"/>
                    </a:lnTo>
                    <a:lnTo>
                      <a:pt x="500" y="571"/>
                    </a:lnTo>
                    <a:lnTo>
                      <a:pt x="500" y="571"/>
                    </a:lnTo>
                    <a:lnTo>
                      <a:pt x="504" y="572"/>
                    </a:lnTo>
                    <a:lnTo>
                      <a:pt x="506" y="574"/>
                    </a:lnTo>
                    <a:lnTo>
                      <a:pt x="508" y="567"/>
                    </a:lnTo>
                    <a:lnTo>
                      <a:pt x="508" y="565"/>
                    </a:lnTo>
                    <a:lnTo>
                      <a:pt x="510" y="563"/>
                    </a:lnTo>
                    <a:lnTo>
                      <a:pt x="510" y="561"/>
                    </a:lnTo>
                    <a:lnTo>
                      <a:pt x="513" y="561"/>
                    </a:lnTo>
                    <a:lnTo>
                      <a:pt x="513" y="559"/>
                    </a:lnTo>
                    <a:lnTo>
                      <a:pt x="515" y="559"/>
                    </a:lnTo>
                    <a:lnTo>
                      <a:pt x="515" y="557"/>
                    </a:lnTo>
                    <a:lnTo>
                      <a:pt x="515" y="557"/>
                    </a:lnTo>
                    <a:lnTo>
                      <a:pt x="515" y="555"/>
                    </a:lnTo>
                    <a:lnTo>
                      <a:pt x="513" y="552"/>
                    </a:lnTo>
                    <a:lnTo>
                      <a:pt x="513" y="548"/>
                    </a:lnTo>
                    <a:lnTo>
                      <a:pt x="515" y="548"/>
                    </a:lnTo>
                    <a:lnTo>
                      <a:pt x="517" y="548"/>
                    </a:lnTo>
                    <a:lnTo>
                      <a:pt x="517" y="548"/>
                    </a:lnTo>
                    <a:lnTo>
                      <a:pt x="525" y="550"/>
                    </a:lnTo>
                    <a:lnTo>
                      <a:pt x="527" y="550"/>
                    </a:lnTo>
                    <a:lnTo>
                      <a:pt x="527" y="550"/>
                    </a:lnTo>
                    <a:lnTo>
                      <a:pt x="529" y="548"/>
                    </a:lnTo>
                    <a:lnTo>
                      <a:pt x="531" y="544"/>
                    </a:lnTo>
                    <a:lnTo>
                      <a:pt x="532" y="540"/>
                    </a:lnTo>
                    <a:lnTo>
                      <a:pt x="532" y="538"/>
                    </a:lnTo>
                    <a:lnTo>
                      <a:pt x="531" y="534"/>
                    </a:lnTo>
                    <a:lnTo>
                      <a:pt x="531" y="533"/>
                    </a:lnTo>
                    <a:lnTo>
                      <a:pt x="532" y="531"/>
                    </a:lnTo>
                    <a:lnTo>
                      <a:pt x="532" y="525"/>
                    </a:lnTo>
                    <a:lnTo>
                      <a:pt x="534" y="523"/>
                    </a:lnTo>
                    <a:lnTo>
                      <a:pt x="534" y="521"/>
                    </a:lnTo>
                    <a:lnTo>
                      <a:pt x="532" y="515"/>
                    </a:lnTo>
                    <a:lnTo>
                      <a:pt x="534" y="513"/>
                    </a:lnTo>
                    <a:lnTo>
                      <a:pt x="536" y="513"/>
                    </a:lnTo>
                    <a:lnTo>
                      <a:pt x="540" y="512"/>
                    </a:lnTo>
                    <a:lnTo>
                      <a:pt x="542" y="512"/>
                    </a:lnTo>
                    <a:lnTo>
                      <a:pt x="546" y="512"/>
                    </a:lnTo>
                    <a:lnTo>
                      <a:pt x="548" y="512"/>
                    </a:lnTo>
                    <a:lnTo>
                      <a:pt x="548" y="512"/>
                    </a:lnTo>
                    <a:lnTo>
                      <a:pt x="550" y="510"/>
                    </a:lnTo>
                    <a:lnTo>
                      <a:pt x="552" y="510"/>
                    </a:lnTo>
                    <a:lnTo>
                      <a:pt x="553" y="510"/>
                    </a:lnTo>
                    <a:lnTo>
                      <a:pt x="555" y="510"/>
                    </a:lnTo>
                    <a:lnTo>
                      <a:pt x="557" y="510"/>
                    </a:lnTo>
                    <a:lnTo>
                      <a:pt x="557" y="510"/>
                    </a:lnTo>
                    <a:lnTo>
                      <a:pt x="557" y="508"/>
                    </a:lnTo>
                    <a:lnTo>
                      <a:pt x="557" y="506"/>
                    </a:lnTo>
                    <a:lnTo>
                      <a:pt x="559" y="504"/>
                    </a:lnTo>
                    <a:lnTo>
                      <a:pt x="559" y="504"/>
                    </a:lnTo>
                    <a:lnTo>
                      <a:pt x="561" y="502"/>
                    </a:lnTo>
                    <a:lnTo>
                      <a:pt x="569" y="496"/>
                    </a:lnTo>
                    <a:lnTo>
                      <a:pt x="573" y="494"/>
                    </a:lnTo>
                    <a:lnTo>
                      <a:pt x="573" y="494"/>
                    </a:lnTo>
                    <a:lnTo>
                      <a:pt x="574" y="494"/>
                    </a:lnTo>
                    <a:lnTo>
                      <a:pt x="574" y="493"/>
                    </a:lnTo>
                    <a:lnTo>
                      <a:pt x="574" y="491"/>
                    </a:lnTo>
                    <a:lnTo>
                      <a:pt x="574" y="489"/>
                    </a:lnTo>
                    <a:lnTo>
                      <a:pt x="574" y="485"/>
                    </a:lnTo>
                    <a:lnTo>
                      <a:pt x="574" y="483"/>
                    </a:lnTo>
                    <a:lnTo>
                      <a:pt x="576" y="481"/>
                    </a:lnTo>
                    <a:lnTo>
                      <a:pt x="580" y="475"/>
                    </a:lnTo>
                    <a:lnTo>
                      <a:pt x="582" y="474"/>
                    </a:lnTo>
                    <a:lnTo>
                      <a:pt x="582" y="474"/>
                    </a:lnTo>
                    <a:lnTo>
                      <a:pt x="584" y="474"/>
                    </a:lnTo>
                    <a:lnTo>
                      <a:pt x="586" y="475"/>
                    </a:lnTo>
                    <a:lnTo>
                      <a:pt x="588" y="475"/>
                    </a:lnTo>
                    <a:lnTo>
                      <a:pt x="588" y="477"/>
                    </a:lnTo>
                    <a:lnTo>
                      <a:pt x="590" y="479"/>
                    </a:lnTo>
                    <a:lnTo>
                      <a:pt x="590" y="479"/>
                    </a:lnTo>
                    <a:lnTo>
                      <a:pt x="590" y="487"/>
                    </a:lnTo>
                    <a:lnTo>
                      <a:pt x="590" y="487"/>
                    </a:lnTo>
                    <a:lnTo>
                      <a:pt x="590" y="489"/>
                    </a:lnTo>
                    <a:lnTo>
                      <a:pt x="592" y="489"/>
                    </a:lnTo>
                    <a:lnTo>
                      <a:pt x="594" y="491"/>
                    </a:lnTo>
                    <a:lnTo>
                      <a:pt x="597" y="493"/>
                    </a:lnTo>
                    <a:lnTo>
                      <a:pt x="599" y="493"/>
                    </a:lnTo>
                    <a:lnTo>
                      <a:pt x="599" y="493"/>
                    </a:lnTo>
                    <a:lnTo>
                      <a:pt x="599" y="496"/>
                    </a:lnTo>
                    <a:lnTo>
                      <a:pt x="601" y="496"/>
                    </a:lnTo>
                    <a:lnTo>
                      <a:pt x="601" y="498"/>
                    </a:lnTo>
                    <a:lnTo>
                      <a:pt x="603" y="498"/>
                    </a:lnTo>
                    <a:lnTo>
                      <a:pt x="605" y="498"/>
                    </a:lnTo>
                    <a:lnTo>
                      <a:pt x="607" y="496"/>
                    </a:lnTo>
                    <a:lnTo>
                      <a:pt x="609" y="494"/>
                    </a:lnTo>
                    <a:lnTo>
                      <a:pt x="609" y="494"/>
                    </a:lnTo>
                    <a:lnTo>
                      <a:pt x="611" y="494"/>
                    </a:lnTo>
                    <a:lnTo>
                      <a:pt x="616" y="494"/>
                    </a:lnTo>
                    <a:lnTo>
                      <a:pt x="616" y="491"/>
                    </a:lnTo>
                    <a:lnTo>
                      <a:pt x="616" y="491"/>
                    </a:lnTo>
                    <a:lnTo>
                      <a:pt x="616" y="489"/>
                    </a:lnTo>
                    <a:lnTo>
                      <a:pt x="614" y="489"/>
                    </a:lnTo>
                    <a:lnTo>
                      <a:pt x="609" y="485"/>
                    </a:lnTo>
                    <a:lnTo>
                      <a:pt x="609" y="483"/>
                    </a:lnTo>
                    <a:lnTo>
                      <a:pt x="611" y="483"/>
                    </a:lnTo>
                    <a:lnTo>
                      <a:pt x="611" y="481"/>
                    </a:lnTo>
                    <a:lnTo>
                      <a:pt x="613" y="481"/>
                    </a:lnTo>
                    <a:lnTo>
                      <a:pt x="614" y="479"/>
                    </a:lnTo>
                    <a:lnTo>
                      <a:pt x="614" y="479"/>
                    </a:lnTo>
                    <a:lnTo>
                      <a:pt x="614" y="477"/>
                    </a:lnTo>
                    <a:lnTo>
                      <a:pt x="614" y="474"/>
                    </a:lnTo>
                    <a:lnTo>
                      <a:pt x="616" y="474"/>
                    </a:lnTo>
                    <a:lnTo>
                      <a:pt x="616" y="472"/>
                    </a:lnTo>
                    <a:lnTo>
                      <a:pt x="616" y="472"/>
                    </a:lnTo>
                    <a:lnTo>
                      <a:pt x="616" y="470"/>
                    </a:lnTo>
                    <a:lnTo>
                      <a:pt x="616" y="470"/>
                    </a:lnTo>
                    <a:lnTo>
                      <a:pt x="616" y="468"/>
                    </a:lnTo>
                    <a:lnTo>
                      <a:pt x="618" y="466"/>
                    </a:lnTo>
                    <a:lnTo>
                      <a:pt x="618" y="466"/>
                    </a:lnTo>
                    <a:lnTo>
                      <a:pt x="620" y="464"/>
                    </a:lnTo>
                    <a:lnTo>
                      <a:pt x="620" y="462"/>
                    </a:lnTo>
                    <a:lnTo>
                      <a:pt x="622" y="462"/>
                    </a:lnTo>
                    <a:lnTo>
                      <a:pt x="622" y="460"/>
                    </a:lnTo>
                    <a:lnTo>
                      <a:pt x="624" y="460"/>
                    </a:lnTo>
                    <a:lnTo>
                      <a:pt x="630" y="460"/>
                    </a:lnTo>
                    <a:lnTo>
                      <a:pt x="630" y="460"/>
                    </a:lnTo>
                    <a:lnTo>
                      <a:pt x="632" y="460"/>
                    </a:lnTo>
                    <a:lnTo>
                      <a:pt x="634" y="460"/>
                    </a:lnTo>
                    <a:lnTo>
                      <a:pt x="634" y="458"/>
                    </a:lnTo>
                    <a:lnTo>
                      <a:pt x="634" y="456"/>
                    </a:lnTo>
                    <a:lnTo>
                      <a:pt x="635" y="453"/>
                    </a:lnTo>
                    <a:lnTo>
                      <a:pt x="635" y="451"/>
                    </a:lnTo>
                    <a:lnTo>
                      <a:pt x="635" y="449"/>
                    </a:lnTo>
                    <a:lnTo>
                      <a:pt x="635" y="449"/>
                    </a:lnTo>
                    <a:lnTo>
                      <a:pt x="635" y="447"/>
                    </a:lnTo>
                    <a:lnTo>
                      <a:pt x="635" y="445"/>
                    </a:lnTo>
                    <a:lnTo>
                      <a:pt x="635" y="445"/>
                    </a:lnTo>
                    <a:lnTo>
                      <a:pt x="637" y="443"/>
                    </a:lnTo>
                    <a:lnTo>
                      <a:pt x="639" y="443"/>
                    </a:lnTo>
                    <a:lnTo>
                      <a:pt x="639" y="441"/>
                    </a:lnTo>
                    <a:lnTo>
                      <a:pt x="643" y="443"/>
                    </a:lnTo>
                    <a:lnTo>
                      <a:pt x="643" y="443"/>
                    </a:lnTo>
                    <a:lnTo>
                      <a:pt x="645" y="443"/>
                    </a:lnTo>
                    <a:lnTo>
                      <a:pt x="645" y="441"/>
                    </a:lnTo>
                    <a:lnTo>
                      <a:pt x="649" y="432"/>
                    </a:lnTo>
                    <a:lnTo>
                      <a:pt x="651" y="430"/>
                    </a:lnTo>
                    <a:lnTo>
                      <a:pt x="651" y="428"/>
                    </a:lnTo>
                    <a:lnTo>
                      <a:pt x="653" y="428"/>
                    </a:lnTo>
                    <a:lnTo>
                      <a:pt x="655" y="426"/>
                    </a:lnTo>
                    <a:lnTo>
                      <a:pt x="656" y="426"/>
                    </a:lnTo>
                    <a:lnTo>
                      <a:pt x="658" y="426"/>
                    </a:lnTo>
                    <a:lnTo>
                      <a:pt x="660" y="426"/>
                    </a:lnTo>
                    <a:lnTo>
                      <a:pt x="660" y="424"/>
                    </a:lnTo>
                    <a:lnTo>
                      <a:pt x="660" y="424"/>
                    </a:lnTo>
                    <a:lnTo>
                      <a:pt x="660" y="422"/>
                    </a:lnTo>
                    <a:lnTo>
                      <a:pt x="660" y="422"/>
                    </a:lnTo>
                    <a:lnTo>
                      <a:pt x="658" y="420"/>
                    </a:lnTo>
                    <a:lnTo>
                      <a:pt x="653" y="416"/>
                    </a:lnTo>
                    <a:lnTo>
                      <a:pt x="653" y="415"/>
                    </a:lnTo>
                    <a:lnTo>
                      <a:pt x="653" y="415"/>
                    </a:lnTo>
                    <a:lnTo>
                      <a:pt x="651" y="413"/>
                    </a:lnTo>
                    <a:lnTo>
                      <a:pt x="653" y="411"/>
                    </a:lnTo>
                    <a:lnTo>
                      <a:pt x="651" y="411"/>
                    </a:lnTo>
                    <a:lnTo>
                      <a:pt x="651" y="409"/>
                    </a:lnTo>
                    <a:lnTo>
                      <a:pt x="651" y="409"/>
                    </a:lnTo>
                    <a:lnTo>
                      <a:pt x="649" y="409"/>
                    </a:lnTo>
                    <a:lnTo>
                      <a:pt x="649" y="409"/>
                    </a:lnTo>
                    <a:lnTo>
                      <a:pt x="647" y="409"/>
                    </a:lnTo>
                    <a:lnTo>
                      <a:pt x="647" y="409"/>
                    </a:lnTo>
                    <a:lnTo>
                      <a:pt x="647" y="407"/>
                    </a:lnTo>
                    <a:lnTo>
                      <a:pt x="647" y="407"/>
                    </a:lnTo>
                    <a:lnTo>
                      <a:pt x="647" y="405"/>
                    </a:lnTo>
                    <a:lnTo>
                      <a:pt x="647" y="405"/>
                    </a:lnTo>
                    <a:lnTo>
                      <a:pt x="647" y="405"/>
                    </a:lnTo>
                    <a:lnTo>
                      <a:pt x="645" y="405"/>
                    </a:lnTo>
                    <a:lnTo>
                      <a:pt x="643" y="405"/>
                    </a:lnTo>
                    <a:lnTo>
                      <a:pt x="643" y="405"/>
                    </a:lnTo>
                    <a:lnTo>
                      <a:pt x="643" y="405"/>
                    </a:lnTo>
                    <a:lnTo>
                      <a:pt x="643" y="403"/>
                    </a:lnTo>
                    <a:lnTo>
                      <a:pt x="641" y="403"/>
                    </a:lnTo>
                    <a:lnTo>
                      <a:pt x="641" y="401"/>
                    </a:lnTo>
                    <a:lnTo>
                      <a:pt x="641" y="401"/>
                    </a:lnTo>
                    <a:lnTo>
                      <a:pt x="641" y="399"/>
                    </a:lnTo>
                    <a:lnTo>
                      <a:pt x="641" y="397"/>
                    </a:lnTo>
                    <a:lnTo>
                      <a:pt x="641" y="396"/>
                    </a:lnTo>
                    <a:lnTo>
                      <a:pt x="641" y="396"/>
                    </a:lnTo>
                    <a:lnTo>
                      <a:pt x="643" y="394"/>
                    </a:lnTo>
                    <a:lnTo>
                      <a:pt x="643" y="394"/>
                    </a:lnTo>
                    <a:lnTo>
                      <a:pt x="645" y="392"/>
                    </a:lnTo>
                    <a:lnTo>
                      <a:pt x="647" y="390"/>
                    </a:lnTo>
                    <a:lnTo>
                      <a:pt x="649" y="388"/>
                    </a:lnTo>
                    <a:lnTo>
                      <a:pt x="649" y="388"/>
                    </a:lnTo>
                    <a:lnTo>
                      <a:pt x="651" y="388"/>
                    </a:lnTo>
                    <a:lnTo>
                      <a:pt x="651" y="386"/>
                    </a:lnTo>
                    <a:lnTo>
                      <a:pt x="651" y="386"/>
                    </a:lnTo>
                    <a:lnTo>
                      <a:pt x="651" y="386"/>
                    </a:lnTo>
                    <a:lnTo>
                      <a:pt x="651" y="384"/>
                    </a:lnTo>
                    <a:lnTo>
                      <a:pt x="651" y="384"/>
                    </a:lnTo>
                    <a:lnTo>
                      <a:pt x="651" y="382"/>
                    </a:lnTo>
                    <a:lnTo>
                      <a:pt x="651" y="380"/>
                    </a:lnTo>
                    <a:lnTo>
                      <a:pt x="653" y="377"/>
                    </a:lnTo>
                    <a:lnTo>
                      <a:pt x="653" y="373"/>
                    </a:lnTo>
                    <a:lnTo>
                      <a:pt x="655" y="371"/>
                    </a:lnTo>
                    <a:lnTo>
                      <a:pt x="655" y="371"/>
                    </a:lnTo>
                    <a:lnTo>
                      <a:pt x="658" y="367"/>
                    </a:lnTo>
                    <a:lnTo>
                      <a:pt x="658" y="365"/>
                    </a:lnTo>
                    <a:lnTo>
                      <a:pt x="658" y="365"/>
                    </a:lnTo>
                    <a:lnTo>
                      <a:pt x="655" y="365"/>
                    </a:lnTo>
                    <a:lnTo>
                      <a:pt x="655" y="365"/>
                    </a:lnTo>
                    <a:lnTo>
                      <a:pt x="655" y="363"/>
                    </a:lnTo>
                    <a:lnTo>
                      <a:pt x="655" y="363"/>
                    </a:lnTo>
                    <a:lnTo>
                      <a:pt x="656" y="361"/>
                    </a:lnTo>
                    <a:lnTo>
                      <a:pt x="658" y="359"/>
                    </a:lnTo>
                    <a:lnTo>
                      <a:pt x="660" y="359"/>
                    </a:lnTo>
                    <a:lnTo>
                      <a:pt x="660" y="359"/>
                    </a:lnTo>
                    <a:lnTo>
                      <a:pt x="662" y="359"/>
                    </a:lnTo>
                    <a:lnTo>
                      <a:pt x="662" y="359"/>
                    </a:lnTo>
                    <a:lnTo>
                      <a:pt x="664" y="359"/>
                    </a:lnTo>
                    <a:lnTo>
                      <a:pt x="666" y="359"/>
                    </a:lnTo>
                    <a:lnTo>
                      <a:pt x="668" y="359"/>
                    </a:lnTo>
                    <a:lnTo>
                      <a:pt x="670" y="359"/>
                    </a:lnTo>
                    <a:lnTo>
                      <a:pt x="670" y="359"/>
                    </a:lnTo>
                    <a:lnTo>
                      <a:pt x="672" y="359"/>
                    </a:lnTo>
                    <a:lnTo>
                      <a:pt x="674" y="365"/>
                    </a:lnTo>
                    <a:lnTo>
                      <a:pt x="676" y="367"/>
                    </a:lnTo>
                    <a:lnTo>
                      <a:pt x="676" y="367"/>
                    </a:lnTo>
                    <a:lnTo>
                      <a:pt x="677" y="367"/>
                    </a:lnTo>
                    <a:lnTo>
                      <a:pt x="679" y="369"/>
                    </a:lnTo>
                    <a:lnTo>
                      <a:pt x="681" y="367"/>
                    </a:lnTo>
                    <a:lnTo>
                      <a:pt x="683" y="367"/>
                    </a:lnTo>
                    <a:lnTo>
                      <a:pt x="685" y="367"/>
                    </a:lnTo>
                    <a:lnTo>
                      <a:pt x="685" y="367"/>
                    </a:lnTo>
                    <a:lnTo>
                      <a:pt x="687" y="367"/>
                    </a:lnTo>
                    <a:lnTo>
                      <a:pt x="689" y="369"/>
                    </a:lnTo>
                    <a:lnTo>
                      <a:pt x="691" y="369"/>
                    </a:lnTo>
                    <a:lnTo>
                      <a:pt x="693" y="369"/>
                    </a:lnTo>
                    <a:lnTo>
                      <a:pt x="695" y="367"/>
                    </a:lnTo>
                    <a:lnTo>
                      <a:pt x="695" y="367"/>
                    </a:lnTo>
                    <a:lnTo>
                      <a:pt x="695" y="363"/>
                    </a:lnTo>
                    <a:lnTo>
                      <a:pt x="695" y="361"/>
                    </a:lnTo>
                    <a:lnTo>
                      <a:pt x="693" y="356"/>
                    </a:lnTo>
                    <a:lnTo>
                      <a:pt x="693" y="356"/>
                    </a:lnTo>
                    <a:lnTo>
                      <a:pt x="695" y="354"/>
                    </a:lnTo>
                    <a:lnTo>
                      <a:pt x="695" y="352"/>
                    </a:lnTo>
                    <a:lnTo>
                      <a:pt x="695" y="352"/>
                    </a:lnTo>
                    <a:lnTo>
                      <a:pt x="696" y="350"/>
                    </a:lnTo>
                    <a:lnTo>
                      <a:pt x="698" y="346"/>
                    </a:lnTo>
                    <a:lnTo>
                      <a:pt x="698" y="344"/>
                    </a:lnTo>
                    <a:lnTo>
                      <a:pt x="700" y="344"/>
                    </a:lnTo>
                    <a:lnTo>
                      <a:pt x="700" y="342"/>
                    </a:lnTo>
                    <a:lnTo>
                      <a:pt x="702" y="342"/>
                    </a:lnTo>
                    <a:lnTo>
                      <a:pt x="708" y="340"/>
                    </a:lnTo>
                    <a:lnTo>
                      <a:pt x="708" y="340"/>
                    </a:lnTo>
                    <a:lnTo>
                      <a:pt x="710" y="340"/>
                    </a:lnTo>
                    <a:lnTo>
                      <a:pt x="710" y="338"/>
                    </a:lnTo>
                    <a:lnTo>
                      <a:pt x="710" y="338"/>
                    </a:lnTo>
                    <a:lnTo>
                      <a:pt x="710" y="337"/>
                    </a:lnTo>
                    <a:lnTo>
                      <a:pt x="710" y="331"/>
                    </a:lnTo>
                    <a:lnTo>
                      <a:pt x="710" y="327"/>
                    </a:lnTo>
                    <a:lnTo>
                      <a:pt x="710" y="325"/>
                    </a:lnTo>
                    <a:lnTo>
                      <a:pt x="714" y="321"/>
                    </a:lnTo>
                    <a:lnTo>
                      <a:pt x="714" y="318"/>
                    </a:lnTo>
                    <a:lnTo>
                      <a:pt x="714" y="316"/>
                    </a:lnTo>
                    <a:lnTo>
                      <a:pt x="716" y="314"/>
                    </a:lnTo>
                    <a:lnTo>
                      <a:pt x="719" y="312"/>
                    </a:lnTo>
                    <a:lnTo>
                      <a:pt x="721" y="312"/>
                    </a:lnTo>
                    <a:lnTo>
                      <a:pt x="721" y="310"/>
                    </a:lnTo>
                    <a:lnTo>
                      <a:pt x="721" y="310"/>
                    </a:lnTo>
                    <a:lnTo>
                      <a:pt x="723" y="308"/>
                    </a:lnTo>
                    <a:lnTo>
                      <a:pt x="723" y="306"/>
                    </a:lnTo>
                    <a:lnTo>
                      <a:pt x="721" y="306"/>
                    </a:lnTo>
                    <a:lnTo>
                      <a:pt x="721" y="304"/>
                    </a:lnTo>
                    <a:lnTo>
                      <a:pt x="719" y="304"/>
                    </a:lnTo>
                    <a:lnTo>
                      <a:pt x="717" y="304"/>
                    </a:lnTo>
                    <a:lnTo>
                      <a:pt x="717" y="302"/>
                    </a:lnTo>
                    <a:lnTo>
                      <a:pt x="714" y="291"/>
                    </a:lnTo>
                    <a:lnTo>
                      <a:pt x="712" y="289"/>
                    </a:lnTo>
                    <a:lnTo>
                      <a:pt x="714" y="285"/>
                    </a:lnTo>
                    <a:lnTo>
                      <a:pt x="717" y="287"/>
                    </a:lnTo>
                    <a:lnTo>
                      <a:pt x="719" y="289"/>
                    </a:lnTo>
                    <a:lnTo>
                      <a:pt x="719" y="289"/>
                    </a:lnTo>
                    <a:lnTo>
                      <a:pt x="721" y="289"/>
                    </a:lnTo>
                    <a:lnTo>
                      <a:pt x="723" y="293"/>
                    </a:lnTo>
                    <a:lnTo>
                      <a:pt x="723" y="293"/>
                    </a:lnTo>
                    <a:lnTo>
                      <a:pt x="723" y="293"/>
                    </a:lnTo>
                    <a:lnTo>
                      <a:pt x="723" y="295"/>
                    </a:lnTo>
                    <a:lnTo>
                      <a:pt x="731" y="297"/>
                    </a:lnTo>
                    <a:lnTo>
                      <a:pt x="733" y="297"/>
                    </a:lnTo>
                    <a:lnTo>
                      <a:pt x="733" y="297"/>
                    </a:lnTo>
                    <a:lnTo>
                      <a:pt x="735" y="297"/>
                    </a:lnTo>
                    <a:lnTo>
                      <a:pt x="735" y="295"/>
                    </a:lnTo>
                    <a:lnTo>
                      <a:pt x="735" y="295"/>
                    </a:lnTo>
                    <a:lnTo>
                      <a:pt x="735" y="295"/>
                    </a:lnTo>
                    <a:lnTo>
                      <a:pt x="735" y="295"/>
                    </a:lnTo>
                    <a:lnTo>
                      <a:pt x="737" y="295"/>
                    </a:lnTo>
                    <a:lnTo>
                      <a:pt x="737" y="295"/>
                    </a:lnTo>
                    <a:lnTo>
                      <a:pt x="738" y="293"/>
                    </a:lnTo>
                    <a:lnTo>
                      <a:pt x="738" y="293"/>
                    </a:lnTo>
                    <a:lnTo>
                      <a:pt x="740" y="293"/>
                    </a:lnTo>
                    <a:lnTo>
                      <a:pt x="740" y="295"/>
                    </a:lnTo>
                    <a:lnTo>
                      <a:pt x="742" y="295"/>
                    </a:lnTo>
                    <a:lnTo>
                      <a:pt x="744" y="295"/>
                    </a:lnTo>
                    <a:lnTo>
                      <a:pt x="744" y="295"/>
                    </a:lnTo>
                    <a:lnTo>
                      <a:pt x="748" y="295"/>
                    </a:lnTo>
                    <a:lnTo>
                      <a:pt x="750" y="295"/>
                    </a:lnTo>
                    <a:lnTo>
                      <a:pt x="758" y="299"/>
                    </a:lnTo>
                    <a:lnTo>
                      <a:pt x="761" y="300"/>
                    </a:lnTo>
                    <a:lnTo>
                      <a:pt x="761" y="300"/>
                    </a:lnTo>
                    <a:lnTo>
                      <a:pt x="765" y="300"/>
                    </a:lnTo>
                    <a:lnTo>
                      <a:pt x="769" y="300"/>
                    </a:lnTo>
                    <a:lnTo>
                      <a:pt x="773" y="302"/>
                    </a:lnTo>
                    <a:lnTo>
                      <a:pt x="775" y="302"/>
                    </a:lnTo>
                    <a:lnTo>
                      <a:pt x="775" y="304"/>
                    </a:lnTo>
                    <a:lnTo>
                      <a:pt x="777" y="304"/>
                    </a:lnTo>
                    <a:lnTo>
                      <a:pt x="777" y="306"/>
                    </a:lnTo>
                    <a:lnTo>
                      <a:pt x="778" y="306"/>
                    </a:lnTo>
                    <a:lnTo>
                      <a:pt x="778" y="306"/>
                    </a:lnTo>
                    <a:lnTo>
                      <a:pt x="778" y="306"/>
                    </a:lnTo>
                    <a:lnTo>
                      <a:pt x="780" y="318"/>
                    </a:lnTo>
                    <a:lnTo>
                      <a:pt x="782" y="318"/>
                    </a:lnTo>
                    <a:lnTo>
                      <a:pt x="782" y="318"/>
                    </a:lnTo>
                    <a:lnTo>
                      <a:pt x="782" y="319"/>
                    </a:lnTo>
                    <a:lnTo>
                      <a:pt x="786" y="319"/>
                    </a:lnTo>
                    <a:lnTo>
                      <a:pt x="788" y="319"/>
                    </a:lnTo>
                    <a:lnTo>
                      <a:pt x="788" y="321"/>
                    </a:lnTo>
                    <a:lnTo>
                      <a:pt x="788" y="321"/>
                    </a:lnTo>
                    <a:lnTo>
                      <a:pt x="788" y="323"/>
                    </a:lnTo>
                    <a:lnTo>
                      <a:pt x="790" y="323"/>
                    </a:lnTo>
                    <a:lnTo>
                      <a:pt x="790" y="325"/>
                    </a:lnTo>
                    <a:lnTo>
                      <a:pt x="792" y="325"/>
                    </a:lnTo>
                    <a:lnTo>
                      <a:pt x="794" y="325"/>
                    </a:lnTo>
                    <a:lnTo>
                      <a:pt x="794" y="325"/>
                    </a:lnTo>
                    <a:lnTo>
                      <a:pt x="794" y="327"/>
                    </a:lnTo>
                    <a:lnTo>
                      <a:pt x="796" y="327"/>
                    </a:lnTo>
                    <a:lnTo>
                      <a:pt x="796" y="327"/>
                    </a:lnTo>
                    <a:lnTo>
                      <a:pt x="798" y="327"/>
                    </a:lnTo>
                    <a:lnTo>
                      <a:pt x="799" y="327"/>
                    </a:lnTo>
                    <a:lnTo>
                      <a:pt x="801" y="325"/>
                    </a:lnTo>
                    <a:lnTo>
                      <a:pt x="803" y="325"/>
                    </a:lnTo>
                    <a:lnTo>
                      <a:pt x="805" y="321"/>
                    </a:lnTo>
                    <a:lnTo>
                      <a:pt x="805" y="321"/>
                    </a:lnTo>
                    <a:lnTo>
                      <a:pt x="805" y="321"/>
                    </a:lnTo>
                    <a:lnTo>
                      <a:pt x="811" y="319"/>
                    </a:lnTo>
                    <a:lnTo>
                      <a:pt x="819" y="318"/>
                    </a:lnTo>
                    <a:lnTo>
                      <a:pt x="820" y="318"/>
                    </a:lnTo>
                    <a:lnTo>
                      <a:pt x="822" y="318"/>
                    </a:lnTo>
                    <a:lnTo>
                      <a:pt x="824" y="318"/>
                    </a:lnTo>
                    <a:lnTo>
                      <a:pt x="824" y="319"/>
                    </a:lnTo>
                    <a:lnTo>
                      <a:pt x="826" y="319"/>
                    </a:lnTo>
                    <a:lnTo>
                      <a:pt x="828" y="323"/>
                    </a:lnTo>
                    <a:lnTo>
                      <a:pt x="828" y="323"/>
                    </a:lnTo>
                    <a:lnTo>
                      <a:pt x="828" y="325"/>
                    </a:lnTo>
                    <a:lnTo>
                      <a:pt x="830" y="325"/>
                    </a:lnTo>
                    <a:lnTo>
                      <a:pt x="841" y="327"/>
                    </a:lnTo>
                    <a:lnTo>
                      <a:pt x="843" y="327"/>
                    </a:lnTo>
                    <a:lnTo>
                      <a:pt x="843" y="327"/>
                    </a:lnTo>
                    <a:lnTo>
                      <a:pt x="845" y="331"/>
                    </a:lnTo>
                    <a:lnTo>
                      <a:pt x="845" y="331"/>
                    </a:lnTo>
                    <a:lnTo>
                      <a:pt x="847" y="331"/>
                    </a:lnTo>
                    <a:lnTo>
                      <a:pt x="847" y="331"/>
                    </a:lnTo>
                    <a:lnTo>
                      <a:pt x="849" y="333"/>
                    </a:lnTo>
                    <a:lnTo>
                      <a:pt x="860" y="333"/>
                    </a:lnTo>
                    <a:lnTo>
                      <a:pt x="860" y="333"/>
                    </a:lnTo>
                    <a:lnTo>
                      <a:pt x="860" y="333"/>
                    </a:lnTo>
                    <a:lnTo>
                      <a:pt x="864" y="333"/>
                    </a:lnTo>
                    <a:lnTo>
                      <a:pt x="866" y="333"/>
                    </a:lnTo>
                    <a:lnTo>
                      <a:pt x="866" y="333"/>
                    </a:lnTo>
                    <a:lnTo>
                      <a:pt x="866" y="335"/>
                    </a:lnTo>
                    <a:lnTo>
                      <a:pt x="868" y="335"/>
                    </a:lnTo>
                    <a:lnTo>
                      <a:pt x="868" y="335"/>
                    </a:lnTo>
                    <a:lnTo>
                      <a:pt x="868" y="335"/>
                    </a:lnTo>
                    <a:lnTo>
                      <a:pt x="870" y="337"/>
                    </a:lnTo>
                    <a:lnTo>
                      <a:pt x="870" y="337"/>
                    </a:lnTo>
                    <a:lnTo>
                      <a:pt x="872" y="335"/>
                    </a:lnTo>
                    <a:lnTo>
                      <a:pt x="872" y="335"/>
                    </a:lnTo>
                    <a:lnTo>
                      <a:pt x="874" y="333"/>
                    </a:lnTo>
                    <a:lnTo>
                      <a:pt x="874" y="333"/>
                    </a:lnTo>
                    <a:lnTo>
                      <a:pt x="874" y="331"/>
                    </a:lnTo>
                    <a:lnTo>
                      <a:pt x="874" y="329"/>
                    </a:lnTo>
                    <a:lnTo>
                      <a:pt x="874" y="329"/>
                    </a:lnTo>
                    <a:lnTo>
                      <a:pt x="876" y="329"/>
                    </a:lnTo>
                    <a:lnTo>
                      <a:pt x="878" y="327"/>
                    </a:lnTo>
                    <a:lnTo>
                      <a:pt x="885" y="325"/>
                    </a:lnTo>
                    <a:lnTo>
                      <a:pt x="887" y="323"/>
                    </a:lnTo>
                    <a:lnTo>
                      <a:pt x="887" y="323"/>
                    </a:lnTo>
                    <a:lnTo>
                      <a:pt x="889" y="323"/>
                    </a:lnTo>
                    <a:lnTo>
                      <a:pt x="897" y="325"/>
                    </a:lnTo>
                    <a:lnTo>
                      <a:pt x="899" y="325"/>
                    </a:lnTo>
                    <a:lnTo>
                      <a:pt x="899" y="327"/>
                    </a:lnTo>
                    <a:lnTo>
                      <a:pt x="902" y="329"/>
                    </a:lnTo>
                    <a:lnTo>
                      <a:pt x="902" y="331"/>
                    </a:lnTo>
                    <a:lnTo>
                      <a:pt x="904" y="335"/>
                    </a:lnTo>
                    <a:lnTo>
                      <a:pt x="904" y="335"/>
                    </a:lnTo>
                    <a:lnTo>
                      <a:pt x="906" y="335"/>
                    </a:lnTo>
                    <a:lnTo>
                      <a:pt x="906" y="337"/>
                    </a:lnTo>
                    <a:lnTo>
                      <a:pt x="906" y="337"/>
                    </a:lnTo>
                    <a:lnTo>
                      <a:pt x="910" y="337"/>
                    </a:lnTo>
                    <a:lnTo>
                      <a:pt x="912" y="338"/>
                    </a:lnTo>
                    <a:lnTo>
                      <a:pt x="912" y="338"/>
                    </a:lnTo>
                    <a:lnTo>
                      <a:pt x="914" y="338"/>
                    </a:lnTo>
                    <a:lnTo>
                      <a:pt x="914" y="338"/>
                    </a:lnTo>
                    <a:lnTo>
                      <a:pt x="914" y="338"/>
                    </a:lnTo>
                    <a:lnTo>
                      <a:pt x="916" y="342"/>
                    </a:lnTo>
                    <a:lnTo>
                      <a:pt x="916" y="342"/>
                    </a:lnTo>
                    <a:lnTo>
                      <a:pt x="918" y="342"/>
                    </a:lnTo>
                    <a:lnTo>
                      <a:pt x="918" y="344"/>
                    </a:lnTo>
                    <a:lnTo>
                      <a:pt x="918" y="346"/>
                    </a:lnTo>
                    <a:lnTo>
                      <a:pt x="918" y="348"/>
                    </a:lnTo>
                    <a:lnTo>
                      <a:pt x="918" y="350"/>
                    </a:lnTo>
                    <a:lnTo>
                      <a:pt x="918" y="356"/>
                    </a:lnTo>
                    <a:lnTo>
                      <a:pt x="918" y="356"/>
                    </a:lnTo>
                    <a:lnTo>
                      <a:pt x="918" y="359"/>
                    </a:lnTo>
                    <a:lnTo>
                      <a:pt x="918" y="361"/>
                    </a:lnTo>
                    <a:lnTo>
                      <a:pt x="918" y="363"/>
                    </a:lnTo>
                    <a:lnTo>
                      <a:pt x="916" y="365"/>
                    </a:lnTo>
                    <a:lnTo>
                      <a:pt x="916" y="365"/>
                    </a:lnTo>
                    <a:lnTo>
                      <a:pt x="914" y="367"/>
                    </a:lnTo>
                    <a:lnTo>
                      <a:pt x="914" y="367"/>
                    </a:lnTo>
                    <a:lnTo>
                      <a:pt x="914" y="369"/>
                    </a:lnTo>
                    <a:lnTo>
                      <a:pt x="914" y="369"/>
                    </a:lnTo>
                    <a:lnTo>
                      <a:pt x="914" y="371"/>
                    </a:lnTo>
                    <a:lnTo>
                      <a:pt x="914" y="373"/>
                    </a:lnTo>
                    <a:lnTo>
                      <a:pt x="914" y="375"/>
                    </a:lnTo>
                    <a:lnTo>
                      <a:pt x="914" y="378"/>
                    </a:lnTo>
                    <a:lnTo>
                      <a:pt x="916" y="380"/>
                    </a:lnTo>
                    <a:lnTo>
                      <a:pt x="912" y="382"/>
                    </a:lnTo>
                    <a:lnTo>
                      <a:pt x="910" y="384"/>
                    </a:lnTo>
                    <a:lnTo>
                      <a:pt x="906" y="388"/>
                    </a:lnTo>
                    <a:lnTo>
                      <a:pt x="906" y="392"/>
                    </a:lnTo>
                    <a:lnTo>
                      <a:pt x="906" y="397"/>
                    </a:lnTo>
                    <a:lnTo>
                      <a:pt x="908" y="397"/>
                    </a:lnTo>
                    <a:lnTo>
                      <a:pt x="914" y="396"/>
                    </a:lnTo>
                    <a:lnTo>
                      <a:pt x="916" y="397"/>
                    </a:lnTo>
                    <a:lnTo>
                      <a:pt x="918" y="407"/>
                    </a:lnTo>
                    <a:lnTo>
                      <a:pt x="918" y="411"/>
                    </a:lnTo>
                    <a:lnTo>
                      <a:pt x="918" y="418"/>
                    </a:lnTo>
                    <a:lnTo>
                      <a:pt x="918" y="420"/>
                    </a:lnTo>
                    <a:lnTo>
                      <a:pt x="916" y="422"/>
                    </a:lnTo>
                    <a:lnTo>
                      <a:pt x="912" y="426"/>
                    </a:lnTo>
                    <a:lnTo>
                      <a:pt x="912" y="426"/>
                    </a:lnTo>
                    <a:lnTo>
                      <a:pt x="918" y="430"/>
                    </a:lnTo>
                    <a:lnTo>
                      <a:pt x="923" y="432"/>
                    </a:lnTo>
                    <a:lnTo>
                      <a:pt x="927" y="435"/>
                    </a:lnTo>
                    <a:lnTo>
                      <a:pt x="931" y="437"/>
                    </a:lnTo>
                    <a:lnTo>
                      <a:pt x="931" y="439"/>
                    </a:lnTo>
                    <a:lnTo>
                      <a:pt x="933" y="443"/>
                    </a:lnTo>
                    <a:lnTo>
                      <a:pt x="935" y="443"/>
                    </a:lnTo>
                    <a:lnTo>
                      <a:pt x="944" y="443"/>
                    </a:lnTo>
                    <a:lnTo>
                      <a:pt x="954" y="443"/>
                    </a:lnTo>
                    <a:lnTo>
                      <a:pt x="954" y="443"/>
                    </a:lnTo>
                    <a:lnTo>
                      <a:pt x="956" y="441"/>
                    </a:lnTo>
                    <a:lnTo>
                      <a:pt x="956" y="439"/>
                    </a:lnTo>
                    <a:lnTo>
                      <a:pt x="956" y="437"/>
                    </a:lnTo>
                    <a:lnTo>
                      <a:pt x="956" y="435"/>
                    </a:lnTo>
                    <a:lnTo>
                      <a:pt x="956" y="434"/>
                    </a:lnTo>
                    <a:lnTo>
                      <a:pt x="958" y="432"/>
                    </a:lnTo>
                    <a:lnTo>
                      <a:pt x="965" y="428"/>
                    </a:lnTo>
                    <a:lnTo>
                      <a:pt x="967" y="426"/>
                    </a:lnTo>
                    <a:lnTo>
                      <a:pt x="965" y="422"/>
                    </a:lnTo>
                    <a:lnTo>
                      <a:pt x="958" y="413"/>
                    </a:lnTo>
                    <a:lnTo>
                      <a:pt x="956" y="411"/>
                    </a:lnTo>
                    <a:lnTo>
                      <a:pt x="956" y="405"/>
                    </a:lnTo>
                    <a:lnTo>
                      <a:pt x="960" y="401"/>
                    </a:lnTo>
                    <a:lnTo>
                      <a:pt x="965" y="392"/>
                    </a:lnTo>
                    <a:lnTo>
                      <a:pt x="969" y="388"/>
                    </a:lnTo>
                    <a:lnTo>
                      <a:pt x="969" y="384"/>
                    </a:lnTo>
                    <a:lnTo>
                      <a:pt x="969" y="382"/>
                    </a:lnTo>
                    <a:lnTo>
                      <a:pt x="973" y="373"/>
                    </a:lnTo>
                    <a:lnTo>
                      <a:pt x="973" y="371"/>
                    </a:lnTo>
                    <a:lnTo>
                      <a:pt x="975" y="369"/>
                    </a:lnTo>
                    <a:lnTo>
                      <a:pt x="977" y="367"/>
                    </a:lnTo>
                    <a:lnTo>
                      <a:pt x="979" y="367"/>
                    </a:lnTo>
                    <a:lnTo>
                      <a:pt x="981" y="365"/>
                    </a:lnTo>
                    <a:lnTo>
                      <a:pt x="983" y="361"/>
                    </a:lnTo>
                    <a:lnTo>
                      <a:pt x="983" y="359"/>
                    </a:lnTo>
                    <a:lnTo>
                      <a:pt x="984" y="359"/>
                    </a:lnTo>
                    <a:lnTo>
                      <a:pt x="986" y="357"/>
                    </a:lnTo>
                    <a:lnTo>
                      <a:pt x="988" y="357"/>
                    </a:lnTo>
                    <a:lnTo>
                      <a:pt x="988" y="356"/>
                    </a:lnTo>
                    <a:lnTo>
                      <a:pt x="990" y="354"/>
                    </a:lnTo>
                    <a:lnTo>
                      <a:pt x="992" y="352"/>
                    </a:lnTo>
                    <a:lnTo>
                      <a:pt x="994" y="352"/>
                    </a:lnTo>
                    <a:lnTo>
                      <a:pt x="996" y="352"/>
                    </a:lnTo>
                    <a:lnTo>
                      <a:pt x="998" y="357"/>
                    </a:lnTo>
                    <a:lnTo>
                      <a:pt x="1000" y="361"/>
                    </a:lnTo>
                    <a:lnTo>
                      <a:pt x="1002" y="361"/>
                    </a:lnTo>
                    <a:lnTo>
                      <a:pt x="1005" y="359"/>
                    </a:lnTo>
                    <a:lnTo>
                      <a:pt x="1007" y="361"/>
                    </a:lnTo>
                    <a:lnTo>
                      <a:pt x="1009" y="361"/>
                    </a:lnTo>
                    <a:lnTo>
                      <a:pt x="1011" y="367"/>
                    </a:lnTo>
                    <a:lnTo>
                      <a:pt x="1013" y="369"/>
                    </a:lnTo>
                    <a:lnTo>
                      <a:pt x="1013" y="369"/>
                    </a:lnTo>
                    <a:lnTo>
                      <a:pt x="1013" y="369"/>
                    </a:lnTo>
                    <a:lnTo>
                      <a:pt x="1015" y="367"/>
                    </a:lnTo>
                    <a:lnTo>
                      <a:pt x="1017" y="365"/>
                    </a:lnTo>
                    <a:lnTo>
                      <a:pt x="1019" y="363"/>
                    </a:lnTo>
                    <a:lnTo>
                      <a:pt x="1021" y="361"/>
                    </a:lnTo>
                    <a:lnTo>
                      <a:pt x="1026" y="359"/>
                    </a:lnTo>
                    <a:lnTo>
                      <a:pt x="1026" y="359"/>
                    </a:lnTo>
                    <a:lnTo>
                      <a:pt x="1026" y="357"/>
                    </a:lnTo>
                    <a:lnTo>
                      <a:pt x="1026" y="356"/>
                    </a:lnTo>
                    <a:lnTo>
                      <a:pt x="1024" y="352"/>
                    </a:lnTo>
                    <a:lnTo>
                      <a:pt x="1023" y="350"/>
                    </a:lnTo>
                    <a:lnTo>
                      <a:pt x="1024" y="350"/>
                    </a:lnTo>
                    <a:lnTo>
                      <a:pt x="1024" y="348"/>
                    </a:lnTo>
                    <a:lnTo>
                      <a:pt x="1026" y="348"/>
                    </a:lnTo>
                    <a:lnTo>
                      <a:pt x="1030" y="348"/>
                    </a:lnTo>
                    <a:lnTo>
                      <a:pt x="1032" y="348"/>
                    </a:lnTo>
                    <a:lnTo>
                      <a:pt x="1034" y="346"/>
                    </a:lnTo>
                    <a:lnTo>
                      <a:pt x="1034" y="344"/>
                    </a:lnTo>
                    <a:lnTo>
                      <a:pt x="1036" y="342"/>
                    </a:lnTo>
                    <a:lnTo>
                      <a:pt x="1036" y="340"/>
                    </a:lnTo>
                    <a:lnTo>
                      <a:pt x="1034" y="338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19" name="Freeform 21">
                <a:extLst>
                  <a:ext uri="{FF2B5EF4-FFF2-40B4-BE49-F238E27FC236}">
                    <a16:creationId xmlns:a16="http://schemas.microsoft.com/office/drawing/2014/main" id="{137BC29D-939A-4E46-9A72-6621C8F5E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4244" y="3835874"/>
                <a:ext cx="1749425" cy="1258888"/>
              </a:xfrm>
              <a:custGeom>
                <a:avLst/>
                <a:gdLst>
                  <a:gd name="T0" fmla="*/ 1039 w 1102"/>
                  <a:gd name="T1" fmla="*/ 300 h 793"/>
                  <a:gd name="T2" fmla="*/ 1013 w 1102"/>
                  <a:gd name="T3" fmla="*/ 285 h 793"/>
                  <a:gd name="T4" fmla="*/ 946 w 1102"/>
                  <a:gd name="T5" fmla="*/ 247 h 793"/>
                  <a:gd name="T6" fmla="*/ 906 w 1102"/>
                  <a:gd name="T7" fmla="*/ 236 h 793"/>
                  <a:gd name="T8" fmla="*/ 864 w 1102"/>
                  <a:gd name="T9" fmla="*/ 262 h 793"/>
                  <a:gd name="T10" fmla="*/ 849 w 1102"/>
                  <a:gd name="T11" fmla="*/ 232 h 793"/>
                  <a:gd name="T12" fmla="*/ 816 w 1102"/>
                  <a:gd name="T13" fmla="*/ 243 h 793"/>
                  <a:gd name="T14" fmla="*/ 786 w 1102"/>
                  <a:gd name="T15" fmla="*/ 257 h 793"/>
                  <a:gd name="T16" fmla="*/ 795 w 1102"/>
                  <a:gd name="T17" fmla="*/ 224 h 793"/>
                  <a:gd name="T18" fmla="*/ 728 w 1102"/>
                  <a:gd name="T19" fmla="*/ 226 h 793"/>
                  <a:gd name="T20" fmla="*/ 679 w 1102"/>
                  <a:gd name="T21" fmla="*/ 242 h 793"/>
                  <a:gd name="T22" fmla="*/ 666 w 1102"/>
                  <a:gd name="T23" fmla="*/ 222 h 793"/>
                  <a:gd name="T24" fmla="*/ 643 w 1102"/>
                  <a:gd name="T25" fmla="*/ 236 h 793"/>
                  <a:gd name="T26" fmla="*/ 612 w 1102"/>
                  <a:gd name="T27" fmla="*/ 232 h 793"/>
                  <a:gd name="T28" fmla="*/ 610 w 1102"/>
                  <a:gd name="T29" fmla="*/ 184 h 793"/>
                  <a:gd name="T30" fmla="*/ 589 w 1102"/>
                  <a:gd name="T31" fmla="*/ 211 h 793"/>
                  <a:gd name="T32" fmla="*/ 580 w 1102"/>
                  <a:gd name="T33" fmla="*/ 268 h 793"/>
                  <a:gd name="T34" fmla="*/ 614 w 1102"/>
                  <a:gd name="T35" fmla="*/ 331 h 793"/>
                  <a:gd name="T36" fmla="*/ 555 w 1102"/>
                  <a:gd name="T37" fmla="*/ 344 h 793"/>
                  <a:gd name="T38" fmla="*/ 530 w 1102"/>
                  <a:gd name="T39" fmla="*/ 308 h 793"/>
                  <a:gd name="T40" fmla="*/ 530 w 1102"/>
                  <a:gd name="T41" fmla="*/ 203 h 793"/>
                  <a:gd name="T42" fmla="*/ 610 w 1102"/>
                  <a:gd name="T43" fmla="*/ 124 h 793"/>
                  <a:gd name="T44" fmla="*/ 627 w 1102"/>
                  <a:gd name="T45" fmla="*/ 51 h 793"/>
                  <a:gd name="T46" fmla="*/ 553 w 1102"/>
                  <a:gd name="T47" fmla="*/ 7 h 793"/>
                  <a:gd name="T48" fmla="*/ 496 w 1102"/>
                  <a:gd name="T49" fmla="*/ 25 h 793"/>
                  <a:gd name="T50" fmla="*/ 410 w 1102"/>
                  <a:gd name="T51" fmla="*/ 78 h 793"/>
                  <a:gd name="T52" fmla="*/ 345 w 1102"/>
                  <a:gd name="T53" fmla="*/ 125 h 793"/>
                  <a:gd name="T54" fmla="*/ 326 w 1102"/>
                  <a:gd name="T55" fmla="*/ 203 h 793"/>
                  <a:gd name="T56" fmla="*/ 410 w 1102"/>
                  <a:gd name="T57" fmla="*/ 198 h 793"/>
                  <a:gd name="T58" fmla="*/ 418 w 1102"/>
                  <a:gd name="T59" fmla="*/ 240 h 793"/>
                  <a:gd name="T60" fmla="*/ 347 w 1102"/>
                  <a:gd name="T61" fmla="*/ 280 h 793"/>
                  <a:gd name="T62" fmla="*/ 355 w 1102"/>
                  <a:gd name="T63" fmla="*/ 318 h 793"/>
                  <a:gd name="T64" fmla="*/ 330 w 1102"/>
                  <a:gd name="T65" fmla="*/ 363 h 793"/>
                  <a:gd name="T66" fmla="*/ 271 w 1102"/>
                  <a:gd name="T67" fmla="*/ 350 h 793"/>
                  <a:gd name="T68" fmla="*/ 214 w 1102"/>
                  <a:gd name="T69" fmla="*/ 407 h 793"/>
                  <a:gd name="T70" fmla="*/ 200 w 1102"/>
                  <a:gd name="T71" fmla="*/ 398 h 793"/>
                  <a:gd name="T72" fmla="*/ 217 w 1102"/>
                  <a:gd name="T73" fmla="*/ 329 h 793"/>
                  <a:gd name="T74" fmla="*/ 143 w 1102"/>
                  <a:gd name="T75" fmla="*/ 291 h 793"/>
                  <a:gd name="T76" fmla="*/ 153 w 1102"/>
                  <a:gd name="T77" fmla="*/ 268 h 793"/>
                  <a:gd name="T78" fmla="*/ 133 w 1102"/>
                  <a:gd name="T79" fmla="*/ 272 h 793"/>
                  <a:gd name="T80" fmla="*/ 116 w 1102"/>
                  <a:gd name="T81" fmla="*/ 287 h 793"/>
                  <a:gd name="T82" fmla="*/ 86 w 1102"/>
                  <a:gd name="T83" fmla="*/ 327 h 793"/>
                  <a:gd name="T84" fmla="*/ 109 w 1102"/>
                  <a:gd name="T85" fmla="*/ 420 h 793"/>
                  <a:gd name="T86" fmla="*/ 80 w 1102"/>
                  <a:gd name="T87" fmla="*/ 502 h 793"/>
                  <a:gd name="T88" fmla="*/ 38 w 1102"/>
                  <a:gd name="T89" fmla="*/ 584 h 793"/>
                  <a:gd name="T90" fmla="*/ 10 w 1102"/>
                  <a:gd name="T91" fmla="*/ 622 h 793"/>
                  <a:gd name="T92" fmla="*/ 36 w 1102"/>
                  <a:gd name="T93" fmla="*/ 671 h 793"/>
                  <a:gd name="T94" fmla="*/ 130 w 1102"/>
                  <a:gd name="T95" fmla="*/ 730 h 793"/>
                  <a:gd name="T96" fmla="*/ 261 w 1102"/>
                  <a:gd name="T97" fmla="*/ 780 h 793"/>
                  <a:gd name="T98" fmla="*/ 343 w 1102"/>
                  <a:gd name="T99" fmla="*/ 740 h 793"/>
                  <a:gd name="T100" fmla="*/ 435 w 1102"/>
                  <a:gd name="T101" fmla="*/ 702 h 793"/>
                  <a:gd name="T102" fmla="*/ 440 w 1102"/>
                  <a:gd name="T103" fmla="*/ 748 h 793"/>
                  <a:gd name="T104" fmla="*/ 543 w 1102"/>
                  <a:gd name="T105" fmla="*/ 719 h 793"/>
                  <a:gd name="T106" fmla="*/ 614 w 1102"/>
                  <a:gd name="T107" fmla="*/ 727 h 793"/>
                  <a:gd name="T108" fmla="*/ 706 w 1102"/>
                  <a:gd name="T109" fmla="*/ 725 h 793"/>
                  <a:gd name="T110" fmla="*/ 789 w 1102"/>
                  <a:gd name="T111" fmla="*/ 727 h 793"/>
                  <a:gd name="T112" fmla="*/ 841 w 1102"/>
                  <a:gd name="T113" fmla="*/ 704 h 793"/>
                  <a:gd name="T114" fmla="*/ 900 w 1102"/>
                  <a:gd name="T115" fmla="*/ 603 h 793"/>
                  <a:gd name="T116" fmla="*/ 971 w 1102"/>
                  <a:gd name="T117" fmla="*/ 557 h 793"/>
                  <a:gd name="T118" fmla="*/ 982 w 1102"/>
                  <a:gd name="T119" fmla="*/ 464 h 793"/>
                  <a:gd name="T120" fmla="*/ 973 w 1102"/>
                  <a:gd name="T121" fmla="*/ 424 h 793"/>
                  <a:gd name="T122" fmla="*/ 1091 w 1102"/>
                  <a:gd name="T123" fmla="*/ 386 h 793"/>
                  <a:gd name="T124" fmla="*/ 1102 w 1102"/>
                  <a:gd name="T125" fmla="*/ 316 h 7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02" h="793">
                    <a:moveTo>
                      <a:pt x="1102" y="314"/>
                    </a:moveTo>
                    <a:lnTo>
                      <a:pt x="1100" y="312"/>
                    </a:lnTo>
                    <a:lnTo>
                      <a:pt x="1098" y="312"/>
                    </a:lnTo>
                    <a:lnTo>
                      <a:pt x="1098" y="310"/>
                    </a:lnTo>
                    <a:lnTo>
                      <a:pt x="1098" y="306"/>
                    </a:lnTo>
                    <a:lnTo>
                      <a:pt x="1096" y="306"/>
                    </a:lnTo>
                    <a:lnTo>
                      <a:pt x="1096" y="304"/>
                    </a:lnTo>
                    <a:lnTo>
                      <a:pt x="1095" y="304"/>
                    </a:lnTo>
                    <a:lnTo>
                      <a:pt x="1091" y="304"/>
                    </a:lnTo>
                    <a:lnTo>
                      <a:pt x="1091" y="304"/>
                    </a:lnTo>
                    <a:lnTo>
                      <a:pt x="1089" y="302"/>
                    </a:lnTo>
                    <a:lnTo>
                      <a:pt x="1089" y="302"/>
                    </a:lnTo>
                    <a:lnTo>
                      <a:pt x="1089" y="299"/>
                    </a:lnTo>
                    <a:lnTo>
                      <a:pt x="1089" y="297"/>
                    </a:lnTo>
                    <a:lnTo>
                      <a:pt x="1089" y="297"/>
                    </a:lnTo>
                    <a:lnTo>
                      <a:pt x="1087" y="297"/>
                    </a:lnTo>
                    <a:lnTo>
                      <a:pt x="1087" y="297"/>
                    </a:lnTo>
                    <a:lnTo>
                      <a:pt x="1077" y="300"/>
                    </a:lnTo>
                    <a:lnTo>
                      <a:pt x="1075" y="302"/>
                    </a:lnTo>
                    <a:lnTo>
                      <a:pt x="1074" y="302"/>
                    </a:lnTo>
                    <a:lnTo>
                      <a:pt x="1068" y="300"/>
                    </a:lnTo>
                    <a:lnTo>
                      <a:pt x="1056" y="297"/>
                    </a:lnTo>
                    <a:lnTo>
                      <a:pt x="1055" y="297"/>
                    </a:lnTo>
                    <a:lnTo>
                      <a:pt x="1053" y="297"/>
                    </a:lnTo>
                    <a:lnTo>
                      <a:pt x="1053" y="299"/>
                    </a:lnTo>
                    <a:lnTo>
                      <a:pt x="1053" y="300"/>
                    </a:lnTo>
                    <a:lnTo>
                      <a:pt x="1053" y="300"/>
                    </a:lnTo>
                    <a:lnTo>
                      <a:pt x="1053" y="302"/>
                    </a:lnTo>
                    <a:lnTo>
                      <a:pt x="1053" y="304"/>
                    </a:lnTo>
                    <a:lnTo>
                      <a:pt x="1053" y="306"/>
                    </a:lnTo>
                    <a:lnTo>
                      <a:pt x="1053" y="308"/>
                    </a:lnTo>
                    <a:lnTo>
                      <a:pt x="1051" y="308"/>
                    </a:lnTo>
                    <a:lnTo>
                      <a:pt x="1049" y="310"/>
                    </a:lnTo>
                    <a:lnTo>
                      <a:pt x="1045" y="308"/>
                    </a:lnTo>
                    <a:lnTo>
                      <a:pt x="1037" y="310"/>
                    </a:lnTo>
                    <a:lnTo>
                      <a:pt x="1037" y="308"/>
                    </a:lnTo>
                    <a:lnTo>
                      <a:pt x="1037" y="308"/>
                    </a:lnTo>
                    <a:lnTo>
                      <a:pt x="1041" y="302"/>
                    </a:lnTo>
                    <a:lnTo>
                      <a:pt x="1039" y="300"/>
                    </a:lnTo>
                    <a:lnTo>
                      <a:pt x="1039" y="300"/>
                    </a:lnTo>
                    <a:lnTo>
                      <a:pt x="1039" y="299"/>
                    </a:lnTo>
                    <a:lnTo>
                      <a:pt x="1037" y="299"/>
                    </a:lnTo>
                    <a:lnTo>
                      <a:pt x="1037" y="299"/>
                    </a:lnTo>
                    <a:lnTo>
                      <a:pt x="1035" y="299"/>
                    </a:lnTo>
                    <a:lnTo>
                      <a:pt x="1035" y="299"/>
                    </a:lnTo>
                    <a:lnTo>
                      <a:pt x="1035" y="299"/>
                    </a:lnTo>
                    <a:lnTo>
                      <a:pt x="1034" y="299"/>
                    </a:lnTo>
                    <a:lnTo>
                      <a:pt x="1034" y="299"/>
                    </a:lnTo>
                    <a:lnTo>
                      <a:pt x="1034" y="299"/>
                    </a:lnTo>
                    <a:lnTo>
                      <a:pt x="1034" y="297"/>
                    </a:lnTo>
                    <a:lnTo>
                      <a:pt x="1034" y="291"/>
                    </a:lnTo>
                    <a:lnTo>
                      <a:pt x="1034" y="289"/>
                    </a:lnTo>
                    <a:lnTo>
                      <a:pt x="1032" y="287"/>
                    </a:lnTo>
                    <a:lnTo>
                      <a:pt x="1032" y="287"/>
                    </a:lnTo>
                    <a:lnTo>
                      <a:pt x="1032" y="287"/>
                    </a:lnTo>
                    <a:lnTo>
                      <a:pt x="1032" y="289"/>
                    </a:lnTo>
                    <a:lnTo>
                      <a:pt x="1030" y="291"/>
                    </a:lnTo>
                    <a:lnTo>
                      <a:pt x="1030" y="291"/>
                    </a:lnTo>
                    <a:lnTo>
                      <a:pt x="1030" y="291"/>
                    </a:lnTo>
                    <a:lnTo>
                      <a:pt x="1028" y="293"/>
                    </a:lnTo>
                    <a:lnTo>
                      <a:pt x="1028" y="293"/>
                    </a:lnTo>
                    <a:lnTo>
                      <a:pt x="1026" y="291"/>
                    </a:lnTo>
                    <a:lnTo>
                      <a:pt x="1026" y="291"/>
                    </a:lnTo>
                    <a:lnTo>
                      <a:pt x="1026" y="289"/>
                    </a:lnTo>
                    <a:lnTo>
                      <a:pt x="1026" y="289"/>
                    </a:lnTo>
                    <a:lnTo>
                      <a:pt x="1026" y="287"/>
                    </a:lnTo>
                    <a:lnTo>
                      <a:pt x="1026" y="285"/>
                    </a:lnTo>
                    <a:lnTo>
                      <a:pt x="1026" y="283"/>
                    </a:lnTo>
                    <a:lnTo>
                      <a:pt x="1026" y="281"/>
                    </a:lnTo>
                    <a:lnTo>
                      <a:pt x="1026" y="280"/>
                    </a:lnTo>
                    <a:lnTo>
                      <a:pt x="1026" y="280"/>
                    </a:lnTo>
                    <a:lnTo>
                      <a:pt x="1024" y="280"/>
                    </a:lnTo>
                    <a:lnTo>
                      <a:pt x="1024" y="280"/>
                    </a:lnTo>
                    <a:lnTo>
                      <a:pt x="1018" y="283"/>
                    </a:lnTo>
                    <a:lnTo>
                      <a:pt x="1018" y="285"/>
                    </a:lnTo>
                    <a:lnTo>
                      <a:pt x="1016" y="285"/>
                    </a:lnTo>
                    <a:lnTo>
                      <a:pt x="1016" y="285"/>
                    </a:lnTo>
                    <a:lnTo>
                      <a:pt x="1014" y="285"/>
                    </a:lnTo>
                    <a:lnTo>
                      <a:pt x="1014" y="285"/>
                    </a:lnTo>
                    <a:lnTo>
                      <a:pt x="1013" y="285"/>
                    </a:lnTo>
                    <a:lnTo>
                      <a:pt x="1007" y="280"/>
                    </a:lnTo>
                    <a:lnTo>
                      <a:pt x="1003" y="278"/>
                    </a:lnTo>
                    <a:lnTo>
                      <a:pt x="1003" y="278"/>
                    </a:lnTo>
                    <a:lnTo>
                      <a:pt x="999" y="278"/>
                    </a:lnTo>
                    <a:lnTo>
                      <a:pt x="997" y="278"/>
                    </a:lnTo>
                    <a:lnTo>
                      <a:pt x="995" y="278"/>
                    </a:lnTo>
                    <a:lnTo>
                      <a:pt x="993" y="276"/>
                    </a:lnTo>
                    <a:lnTo>
                      <a:pt x="984" y="270"/>
                    </a:lnTo>
                    <a:lnTo>
                      <a:pt x="984" y="268"/>
                    </a:lnTo>
                    <a:lnTo>
                      <a:pt x="984" y="268"/>
                    </a:lnTo>
                    <a:lnTo>
                      <a:pt x="982" y="266"/>
                    </a:lnTo>
                    <a:lnTo>
                      <a:pt x="982" y="266"/>
                    </a:lnTo>
                    <a:lnTo>
                      <a:pt x="984" y="264"/>
                    </a:lnTo>
                    <a:lnTo>
                      <a:pt x="984" y="264"/>
                    </a:lnTo>
                    <a:lnTo>
                      <a:pt x="984" y="262"/>
                    </a:lnTo>
                    <a:lnTo>
                      <a:pt x="984" y="261"/>
                    </a:lnTo>
                    <a:lnTo>
                      <a:pt x="982" y="259"/>
                    </a:lnTo>
                    <a:lnTo>
                      <a:pt x="982" y="259"/>
                    </a:lnTo>
                    <a:lnTo>
                      <a:pt x="982" y="259"/>
                    </a:lnTo>
                    <a:lnTo>
                      <a:pt x="982" y="257"/>
                    </a:lnTo>
                    <a:lnTo>
                      <a:pt x="980" y="255"/>
                    </a:lnTo>
                    <a:lnTo>
                      <a:pt x="978" y="255"/>
                    </a:lnTo>
                    <a:lnTo>
                      <a:pt x="976" y="253"/>
                    </a:lnTo>
                    <a:lnTo>
                      <a:pt x="976" y="253"/>
                    </a:lnTo>
                    <a:lnTo>
                      <a:pt x="974" y="253"/>
                    </a:lnTo>
                    <a:lnTo>
                      <a:pt x="974" y="255"/>
                    </a:lnTo>
                    <a:lnTo>
                      <a:pt x="973" y="255"/>
                    </a:lnTo>
                    <a:lnTo>
                      <a:pt x="971" y="255"/>
                    </a:lnTo>
                    <a:lnTo>
                      <a:pt x="969" y="257"/>
                    </a:lnTo>
                    <a:lnTo>
                      <a:pt x="967" y="255"/>
                    </a:lnTo>
                    <a:lnTo>
                      <a:pt x="965" y="255"/>
                    </a:lnTo>
                    <a:lnTo>
                      <a:pt x="965" y="253"/>
                    </a:lnTo>
                    <a:lnTo>
                      <a:pt x="965" y="251"/>
                    </a:lnTo>
                    <a:lnTo>
                      <a:pt x="963" y="251"/>
                    </a:lnTo>
                    <a:lnTo>
                      <a:pt x="963" y="249"/>
                    </a:lnTo>
                    <a:lnTo>
                      <a:pt x="957" y="249"/>
                    </a:lnTo>
                    <a:lnTo>
                      <a:pt x="952" y="249"/>
                    </a:lnTo>
                    <a:lnTo>
                      <a:pt x="950" y="247"/>
                    </a:lnTo>
                    <a:lnTo>
                      <a:pt x="948" y="247"/>
                    </a:lnTo>
                    <a:lnTo>
                      <a:pt x="946" y="247"/>
                    </a:lnTo>
                    <a:lnTo>
                      <a:pt x="946" y="245"/>
                    </a:lnTo>
                    <a:lnTo>
                      <a:pt x="946" y="245"/>
                    </a:lnTo>
                    <a:lnTo>
                      <a:pt x="946" y="243"/>
                    </a:lnTo>
                    <a:lnTo>
                      <a:pt x="946" y="243"/>
                    </a:lnTo>
                    <a:lnTo>
                      <a:pt x="948" y="243"/>
                    </a:lnTo>
                    <a:lnTo>
                      <a:pt x="948" y="243"/>
                    </a:lnTo>
                    <a:lnTo>
                      <a:pt x="946" y="242"/>
                    </a:lnTo>
                    <a:lnTo>
                      <a:pt x="946" y="240"/>
                    </a:lnTo>
                    <a:lnTo>
                      <a:pt x="944" y="240"/>
                    </a:lnTo>
                    <a:lnTo>
                      <a:pt x="944" y="236"/>
                    </a:lnTo>
                    <a:lnTo>
                      <a:pt x="942" y="230"/>
                    </a:lnTo>
                    <a:lnTo>
                      <a:pt x="931" y="234"/>
                    </a:lnTo>
                    <a:lnTo>
                      <a:pt x="927" y="236"/>
                    </a:lnTo>
                    <a:lnTo>
                      <a:pt x="929" y="236"/>
                    </a:lnTo>
                    <a:lnTo>
                      <a:pt x="929" y="238"/>
                    </a:lnTo>
                    <a:lnTo>
                      <a:pt x="932" y="240"/>
                    </a:lnTo>
                    <a:lnTo>
                      <a:pt x="932" y="240"/>
                    </a:lnTo>
                    <a:lnTo>
                      <a:pt x="932" y="242"/>
                    </a:lnTo>
                    <a:lnTo>
                      <a:pt x="932" y="242"/>
                    </a:lnTo>
                    <a:lnTo>
                      <a:pt x="931" y="243"/>
                    </a:lnTo>
                    <a:lnTo>
                      <a:pt x="931" y="243"/>
                    </a:lnTo>
                    <a:lnTo>
                      <a:pt x="927" y="243"/>
                    </a:lnTo>
                    <a:lnTo>
                      <a:pt x="923" y="243"/>
                    </a:lnTo>
                    <a:lnTo>
                      <a:pt x="921" y="243"/>
                    </a:lnTo>
                    <a:lnTo>
                      <a:pt x="921" y="243"/>
                    </a:lnTo>
                    <a:lnTo>
                      <a:pt x="919" y="243"/>
                    </a:lnTo>
                    <a:lnTo>
                      <a:pt x="919" y="242"/>
                    </a:lnTo>
                    <a:lnTo>
                      <a:pt x="919" y="242"/>
                    </a:lnTo>
                    <a:lnTo>
                      <a:pt x="921" y="240"/>
                    </a:lnTo>
                    <a:lnTo>
                      <a:pt x="921" y="238"/>
                    </a:lnTo>
                    <a:lnTo>
                      <a:pt x="921" y="238"/>
                    </a:lnTo>
                    <a:lnTo>
                      <a:pt x="921" y="238"/>
                    </a:lnTo>
                    <a:lnTo>
                      <a:pt x="919" y="238"/>
                    </a:lnTo>
                    <a:lnTo>
                      <a:pt x="917" y="236"/>
                    </a:lnTo>
                    <a:lnTo>
                      <a:pt x="915" y="236"/>
                    </a:lnTo>
                    <a:lnTo>
                      <a:pt x="913" y="236"/>
                    </a:lnTo>
                    <a:lnTo>
                      <a:pt x="911" y="236"/>
                    </a:lnTo>
                    <a:lnTo>
                      <a:pt x="910" y="236"/>
                    </a:lnTo>
                    <a:lnTo>
                      <a:pt x="908" y="236"/>
                    </a:lnTo>
                    <a:lnTo>
                      <a:pt x="906" y="236"/>
                    </a:lnTo>
                    <a:lnTo>
                      <a:pt x="904" y="236"/>
                    </a:lnTo>
                    <a:lnTo>
                      <a:pt x="904" y="236"/>
                    </a:lnTo>
                    <a:lnTo>
                      <a:pt x="904" y="238"/>
                    </a:lnTo>
                    <a:lnTo>
                      <a:pt x="904" y="242"/>
                    </a:lnTo>
                    <a:lnTo>
                      <a:pt x="904" y="243"/>
                    </a:lnTo>
                    <a:lnTo>
                      <a:pt x="904" y="243"/>
                    </a:lnTo>
                    <a:lnTo>
                      <a:pt x="904" y="245"/>
                    </a:lnTo>
                    <a:lnTo>
                      <a:pt x="904" y="247"/>
                    </a:lnTo>
                    <a:lnTo>
                      <a:pt x="902" y="249"/>
                    </a:lnTo>
                    <a:lnTo>
                      <a:pt x="900" y="251"/>
                    </a:lnTo>
                    <a:lnTo>
                      <a:pt x="896" y="255"/>
                    </a:lnTo>
                    <a:lnTo>
                      <a:pt x="896" y="257"/>
                    </a:lnTo>
                    <a:lnTo>
                      <a:pt x="896" y="257"/>
                    </a:lnTo>
                    <a:lnTo>
                      <a:pt x="896" y="259"/>
                    </a:lnTo>
                    <a:lnTo>
                      <a:pt x="896" y="259"/>
                    </a:lnTo>
                    <a:lnTo>
                      <a:pt x="896" y="259"/>
                    </a:lnTo>
                    <a:lnTo>
                      <a:pt x="896" y="259"/>
                    </a:lnTo>
                    <a:lnTo>
                      <a:pt x="896" y="261"/>
                    </a:lnTo>
                    <a:lnTo>
                      <a:pt x="896" y="261"/>
                    </a:lnTo>
                    <a:lnTo>
                      <a:pt x="898" y="262"/>
                    </a:lnTo>
                    <a:lnTo>
                      <a:pt x="898" y="262"/>
                    </a:lnTo>
                    <a:lnTo>
                      <a:pt x="896" y="264"/>
                    </a:lnTo>
                    <a:lnTo>
                      <a:pt x="896" y="264"/>
                    </a:lnTo>
                    <a:lnTo>
                      <a:pt x="896" y="264"/>
                    </a:lnTo>
                    <a:lnTo>
                      <a:pt x="892" y="266"/>
                    </a:lnTo>
                    <a:lnTo>
                      <a:pt x="891" y="266"/>
                    </a:lnTo>
                    <a:lnTo>
                      <a:pt x="891" y="266"/>
                    </a:lnTo>
                    <a:lnTo>
                      <a:pt x="891" y="266"/>
                    </a:lnTo>
                    <a:lnTo>
                      <a:pt x="887" y="272"/>
                    </a:lnTo>
                    <a:lnTo>
                      <a:pt x="883" y="270"/>
                    </a:lnTo>
                    <a:lnTo>
                      <a:pt x="877" y="264"/>
                    </a:lnTo>
                    <a:lnTo>
                      <a:pt x="875" y="264"/>
                    </a:lnTo>
                    <a:lnTo>
                      <a:pt x="875" y="262"/>
                    </a:lnTo>
                    <a:lnTo>
                      <a:pt x="873" y="262"/>
                    </a:lnTo>
                    <a:lnTo>
                      <a:pt x="871" y="264"/>
                    </a:lnTo>
                    <a:lnTo>
                      <a:pt x="870" y="264"/>
                    </a:lnTo>
                    <a:lnTo>
                      <a:pt x="868" y="264"/>
                    </a:lnTo>
                    <a:lnTo>
                      <a:pt x="866" y="264"/>
                    </a:lnTo>
                    <a:lnTo>
                      <a:pt x="864" y="264"/>
                    </a:lnTo>
                    <a:lnTo>
                      <a:pt x="864" y="262"/>
                    </a:lnTo>
                    <a:lnTo>
                      <a:pt x="862" y="261"/>
                    </a:lnTo>
                    <a:lnTo>
                      <a:pt x="862" y="261"/>
                    </a:lnTo>
                    <a:lnTo>
                      <a:pt x="860" y="261"/>
                    </a:lnTo>
                    <a:lnTo>
                      <a:pt x="854" y="262"/>
                    </a:lnTo>
                    <a:lnTo>
                      <a:pt x="852" y="262"/>
                    </a:lnTo>
                    <a:lnTo>
                      <a:pt x="850" y="262"/>
                    </a:lnTo>
                    <a:lnTo>
                      <a:pt x="847" y="262"/>
                    </a:lnTo>
                    <a:lnTo>
                      <a:pt x="845" y="262"/>
                    </a:lnTo>
                    <a:lnTo>
                      <a:pt x="845" y="261"/>
                    </a:lnTo>
                    <a:lnTo>
                      <a:pt x="845" y="261"/>
                    </a:lnTo>
                    <a:lnTo>
                      <a:pt x="845" y="259"/>
                    </a:lnTo>
                    <a:lnTo>
                      <a:pt x="845" y="259"/>
                    </a:lnTo>
                    <a:lnTo>
                      <a:pt x="847" y="257"/>
                    </a:lnTo>
                    <a:lnTo>
                      <a:pt x="847" y="257"/>
                    </a:lnTo>
                    <a:lnTo>
                      <a:pt x="847" y="255"/>
                    </a:lnTo>
                    <a:lnTo>
                      <a:pt x="849" y="255"/>
                    </a:lnTo>
                    <a:lnTo>
                      <a:pt x="849" y="253"/>
                    </a:lnTo>
                    <a:lnTo>
                      <a:pt x="849" y="251"/>
                    </a:lnTo>
                    <a:lnTo>
                      <a:pt x="849" y="251"/>
                    </a:lnTo>
                    <a:lnTo>
                      <a:pt x="849" y="251"/>
                    </a:lnTo>
                    <a:lnTo>
                      <a:pt x="849" y="249"/>
                    </a:lnTo>
                    <a:lnTo>
                      <a:pt x="849" y="249"/>
                    </a:lnTo>
                    <a:lnTo>
                      <a:pt x="852" y="247"/>
                    </a:lnTo>
                    <a:lnTo>
                      <a:pt x="852" y="247"/>
                    </a:lnTo>
                    <a:lnTo>
                      <a:pt x="852" y="243"/>
                    </a:lnTo>
                    <a:lnTo>
                      <a:pt x="852" y="242"/>
                    </a:lnTo>
                    <a:lnTo>
                      <a:pt x="856" y="232"/>
                    </a:lnTo>
                    <a:lnTo>
                      <a:pt x="856" y="230"/>
                    </a:lnTo>
                    <a:lnTo>
                      <a:pt x="856" y="230"/>
                    </a:lnTo>
                    <a:lnTo>
                      <a:pt x="854" y="228"/>
                    </a:lnTo>
                    <a:lnTo>
                      <a:pt x="854" y="228"/>
                    </a:lnTo>
                    <a:lnTo>
                      <a:pt x="854" y="228"/>
                    </a:lnTo>
                    <a:lnTo>
                      <a:pt x="852" y="228"/>
                    </a:lnTo>
                    <a:lnTo>
                      <a:pt x="852" y="228"/>
                    </a:lnTo>
                    <a:lnTo>
                      <a:pt x="850" y="228"/>
                    </a:lnTo>
                    <a:lnTo>
                      <a:pt x="850" y="230"/>
                    </a:lnTo>
                    <a:lnTo>
                      <a:pt x="849" y="230"/>
                    </a:lnTo>
                    <a:lnTo>
                      <a:pt x="849" y="230"/>
                    </a:lnTo>
                    <a:lnTo>
                      <a:pt x="849" y="230"/>
                    </a:lnTo>
                    <a:lnTo>
                      <a:pt x="849" y="232"/>
                    </a:lnTo>
                    <a:lnTo>
                      <a:pt x="847" y="234"/>
                    </a:lnTo>
                    <a:lnTo>
                      <a:pt x="847" y="236"/>
                    </a:lnTo>
                    <a:lnTo>
                      <a:pt x="847" y="236"/>
                    </a:lnTo>
                    <a:lnTo>
                      <a:pt x="845" y="236"/>
                    </a:lnTo>
                    <a:lnTo>
                      <a:pt x="845" y="236"/>
                    </a:lnTo>
                    <a:lnTo>
                      <a:pt x="835" y="238"/>
                    </a:lnTo>
                    <a:lnTo>
                      <a:pt x="833" y="238"/>
                    </a:lnTo>
                    <a:lnTo>
                      <a:pt x="833" y="238"/>
                    </a:lnTo>
                    <a:lnTo>
                      <a:pt x="831" y="238"/>
                    </a:lnTo>
                    <a:lnTo>
                      <a:pt x="831" y="238"/>
                    </a:lnTo>
                    <a:lnTo>
                      <a:pt x="833" y="240"/>
                    </a:lnTo>
                    <a:lnTo>
                      <a:pt x="833" y="240"/>
                    </a:lnTo>
                    <a:lnTo>
                      <a:pt x="839" y="243"/>
                    </a:lnTo>
                    <a:lnTo>
                      <a:pt x="839" y="243"/>
                    </a:lnTo>
                    <a:lnTo>
                      <a:pt x="841" y="245"/>
                    </a:lnTo>
                    <a:lnTo>
                      <a:pt x="839" y="247"/>
                    </a:lnTo>
                    <a:lnTo>
                      <a:pt x="839" y="247"/>
                    </a:lnTo>
                    <a:lnTo>
                      <a:pt x="837" y="247"/>
                    </a:lnTo>
                    <a:lnTo>
                      <a:pt x="835" y="247"/>
                    </a:lnTo>
                    <a:lnTo>
                      <a:pt x="833" y="247"/>
                    </a:lnTo>
                    <a:lnTo>
                      <a:pt x="831" y="249"/>
                    </a:lnTo>
                    <a:lnTo>
                      <a:pt x="829" y="249"/>
                    </a:lnTo>
                    <a:lnTo>
                      <a:pt x="829" y="249"/>
                    </a:lnTo>
                    <a:lnTo>
                      <a:pt x="828" y="247"/>
                    </a:lnTo>
                    <a:lnTo>
                      <a:pt x="824" y="245"/>
                    </a:lnTo>
                    <a:lnTo>
                      <a:pt x="824" y="243"/>
                    </a:lnTo>
                    <a:lnTo>
                      <a:pt x="824" y="242"/>
                    </a:lnTo>
                    <a:lnTo>
                      <a:pt x="822" y="240"/>
                    </a:lnTo>
                    <a:lnTo>
                      <a:pt x="822" y="238"/>
                    </a:lnTo>
                    <a:lnTo>
                      <a:pt x="820" y="238"/>
                    </a:lnTo>
                    <a:lnTo>
                      <a:pt x="820" y="238"/>
                    </a:lnTo>
                    <a:lnTo>
                      <a:pt x="818" y="238"/>
                    </a:lnTo>
                    <a:lnTo>
                      <a:pt x="818" y="238"/>
                    </a:lnTo>
                    <a:lnTo>
                      <a:pt x="818" y="240"/>
                    </a:lnTo>
                    <a:lnTo>
                      <a:pt x="818" y="240"/>
                    </a:lnTo>
                    <a:lnTo>
                      <a:pt x="818" y="242"/>
                    </a:lnTo>
                    <a:lnTo>
                      <a:pt x="818" y="242"/>
                    </a:lnTo>
                    <a:lnTo>
                      <a:pt x="818" y="243"/>
                    </a:lnTo>
                    <a:lnTo>
                      <a:pt x="818" y="243"/>
                    </a:lnTo>
                    <a:lnTo>
                      <a:pt x="816" y="243"/>
                    </a:lnTo>
                    <a:lnTo>
                      <a:pt x="814" y="243"/>
                    </a:lnTo>
                    <a:lnTo>
                      <a:pt x="814" y="243"/>
                    </a:lnTo>
                    <a:lnTo>
                      <a:pt x="810" y="243"/>
                    </a:lnTo>
                    <a:lnTo>
                      <a:pt x="809" y="243"/>
                    </a:lnTo>
                    <a:lnTo>
                      <a:pt x="807" y="242"/>
                    </a:lnTo>
                    <a:lnTo>
                      <a:pt x="807" y="242"/>
                    </a:lnTo>
                    <a:lnTo>
                      <a:pt x="807" y="243"/>
                    </a:lnTo>
                    <a:lnTo>
                      <a:pt x="807" y="243"/>
                    </a:lnTo>
                    <a:lnTo>
                      <a:pt x="807" y="245"/>
                    </a:lnTo>
                    <a:lnTo>
                      <a:pt x="807" y="245"/>
                    </a:lnTo>
                    <a:lnTo>
                      <a:pt x="807" y="247"/>
                    </a:lnTo>
                    <a:lnTo>
                      <a:pt x="809" y="249"/>
                    </a:lnTo>
                    <a:lnTo>
                      <a:pt x="809" y="249"/>
                    </a:lnTo>
                    <a:lnTo>
                      <a:pt x="812" y="251"/>
                    </a:lnTo>
                    <a:lnTo>
                      <a:pt x="812" y="251"/>
                    </a:lnTo>
                    <a:lnTo>
                      <a:pt x="812" y="251"/>
                    </a:lnTo>
                    <a:lnTo>
                      <a:pt x="812" y="253"/>
                    </a:lnTo>
                    <a:lnTo>
                      <a:pt x="809" y="257"/>
                    </a:lnTo>
                    <a:lnTo>
                      <a:pt x="807" y="257"/>
                    </a:lnTo>
                    <a:lnTo>
                      <a:pt x="807" y="257"/>
                    </a:lnTo>
                    <a:lnTo>
                      <a:pt x="805" y="257"/>
                    </a:lnTo>
                    <a:lnTo>
                      <a:pt x="805" y="255"/>
                    </a:lnTo>
                    <a:lnTo>
                      <a:pt x="803" y="253"/>
                    </a:lnTo>
                    <a:lnTo>
                      <a:pt x="801" y="249"/>
                    </a:lnTo>
                    <a:lnTo>
                      <a:pt x="799" y="249"/>
                    </a:lnTo>
                    <a:lnTo>
                      <a:pt x="799" y="251"/>
                    </a:lnTo>
                    <a:lnTo>
                      <a:pt x="799" y="251"/>
                    </a:lnTo>
                    <a:lnTo>
                      <a:pt x="799" y="251"/>
                    </a:lnTo>
                    <a:lnTo>
                      <a:pt x="801" y="255"/>
                    </a:lnTo>
                    <a:lnTo>
                      <a:pt x="801" y="257"/>
                    </a:lnTo>
                    <a:lnTo>
                      <a:pt x="799" y="257"/>
                    </a:lnTo>
                    <a:lnTo>
                      <a:pt x="799" y="257"/>
                    </a:lnTo>
                    <a:lnTo>
                      <a:pt x="797" y="257"/>
                    </a:lnTo>
                    <a:lnTo>
                      <a:pt x="797" y="257"/>
                    </a:lnTo>
                    <a:lnTo>
                      <a:pt x="795" y="257"/>
                    </a:lnTo>
                    <a:lnTo>
                      <a:pt x="795" y="255"/>
                    </a:lnTo>
                    <a:lnTo>
                      <a:pt x="793" y="255"/>
                    </a:lnTo>
                    <a:lnTo>
                      <a:pt x="791" y="255"/>
                    </a:lnTo>
                    <a:lnTo>
                      <a:pt x="788" y="257"/>
                    </a:lnTo>
                    <a:lnTo>
                      <a:pt x="786" y="257"/>
                    </a:lnTo>
                    <a:lnTo>
                      <a:pt x="786" y="257"/>
                    </a:lnTo>
                    <a:lnTo>
                      <a:pt x="784" y="255"/>
                    </a:lnTo>
                    <a:lnTo>
                      <a:pt x="782" y="253"/>
                    </a:lnTo>
                    <a:lnTo>
                      <a:pt x="782" y="249"/>
                    </a:lnTo>
                    <a:lnTo>
                      <a:pt x="782" y="249"/>
                    </a:lnTo>
                    <a:lnTo>
                      <a:pt x="782" y="247"/>
                    </a:lnTo>
                    <a:lnTo>
                      <a:pt x="782" y="247"/>
                    </a:lnTo>
                    <a:lnTo>
                      <a:pt x="784" y="245"/>
                    </a:lnTo>
                    <a:lnTo>
                      <a:pt x="784" y="247"/>
                    </a:lnTo>
                    <a:lnTo>
                      <a:pt x="784" y="247"/>
                    </a:lnTo>
                    <a:lnTo>
                      <a:pt x="786" y="247"/>
                    </a:lnTo>
                    <a:lnTo>
                      <a:pt x="788" y="247"/>
                    </a:lnTo>
                    <a:lnTo>
                      <a:pt x="788" y="245"/>
                    </a:lnTo>
                    <a:lnTo>
                      <a:pt x="789" y="243"/>
                    </a:lnTo>
                    <a:lnTo>
                      <a:pt x="791" y="242"/>
                    </a:lnTo>
                    <a:lnTo>
                      <a:pt x="791" y="240"/>
                    </a:lnTo>
                    <a:lnTo>
                      <a:pt x="793" y="240"/>
                    </a:lnTo>
                    <a:lnTo>
                      <a:pt x="793" y="240"/>
                    </a:lnTo>
                    <a:lnTo>
                      <a:pt x="793" y="238"/>
                    </a:lnTo>
                    <a:lnTo>
                      <a:pt x="795" y="238"/>
                    </a:lnTo>
                    <a:lnTo>
                      <a:pt x="795" y="238"/>
                    </a:lnTo>
                    <a:lnTo>
                      <a:pt x="797" y="236"/>
                    </a:lnTo>
                    <a:lnTo>
                      <a:pt x="799" y="236"/>
                    </a:lnTo>
                    <a:lnTo>
                      <a:pt x="801" y="236"/>
                    </a:lnTo>
                    <a:lnTo>
                      <a:pt x="801" y="234"/>
                    </a:lnTo>
                    <a:lnTo>
                      <a:pt x="801" y="234"/>
                    </a:lnTo>
                    <a:lnTo>
                      <a:pt x="801" y="232"/>
                    </a:lnTo>
                    <a:lnTo>
                      <a:pt x="801" y="232"/>
                    </a:lnTo>
                    <a:lnTo>
                      <a:pt x="801" y="230"/>
                    </a:lnTo>
                    <a:lnTo>
                      <a:pt x="801" y="230"/>
                    </a:lnTo>
                    <a:lnTo>
                      <a:pt x="799" y="226"/>
                    </a:lnTo>
                    <a:lnTo>
                      <a:pt x="799" y="226"/>
                    </a:lnTo>
                    <a:lnTo>
                      <a:pt x="799" y="226"/>
                    </a:lnTo>
                    <a:lnTo>
                      <a:pt x="799" y="224"/>
                    </a:lnTo>
                    <a:lnTo>
                      <a:pt x="799" y="224"/>
                    </a:lnTo>
                    <a:lnTo>
                      <a:pt x="797" y="224"/>
                    </a:lnTo>
                    <a:lnTo>
                      <a:pt x="797" y="224"/>
                    </a:lnTo>
                    <a:lnTo>
                      <a:pt x="797" y="224"/>
                    </a:lnTo>
                    <a:lnTo>
                      <a:pt x="795" y="224"/>
                    </a:lnTo>
                    <a:lnTo>
                      <a:pt x="795" y="224"/>
                    </a:lnTo>
                    <a:lnTo>
                      <a:pt x="795" y="222"/>
                    </a:lnTo>
                    <a:lnTo>
                      <a:pt x="793" y="222"/>
                    </a:lnTo>
                    <a:lnTo>
                      <a:pt x="793" y="221"/>
                    </a:lnTo>
                    <a:lnTo>
                      <a:pt x="791" y="221"/>
                    </a:lnTo>
                    <a:lnTo>
                      <a:pt x="789" y="219"/>
                    </a:lnTo>
                    <a:lnTo>
                      <a:pt x="789" y="219"/>
                    </a:lnTo>
                    <a:lnTo>
                      <a:pt x="789" y="217"/>
                    </a:lnTo>
                    <a:lnTo>
                      <a:pt x="788" y="211"/>
                    </a:lnTo>
                    <a:lnTo>
                      <a:pt x="788" y="207"/>
                    </a:lnTo>
                    <a:lnTo>
                      <a:pt x="788" y="207"/>
                    </a:lnTo>
                    <a:lnTo>
                      <a:pt x="788" y="205"/>
                    </a:lnTo>
                    <a:lnTo>
                      <a:pt x="786" y="203"/>
                    </a:lnTo>
                    <a:lnTo>
                      <a:pt x="784" y="202"/>
                    </a:lnTo>
                    <a:lnTo>
                      <a:pt x="784" y="202"/>
                    </a:lnTo>
                    <a:lnTo>
                      <a:pt x="782" y="202"/>
                    </a:lnTo>
                    <a:lnTo>
                      <a:pt x="780" y="202"/>
                    </a:lnTo>
                    <a:lnTo>
                      <a:pt x="778" y="202"/>
                    </a:lnTo>
                    <a:lnTo>
                      <a:pt x="778" y="202"/>
                    </a:lnTo>
                    <a:lnTo>
                      <a:pt x="776" y="202"/>
                    </a:lnTo>
                    <a:lnTo>
                      <a:pt x="774" y="202"/>
                    </a:lnTo>
                    <a:lnTo>
                      <a:pt x="774" y="202"/>
                    </a:lnTo>
                    <a:lnTo>
                      <a:pt x="772" y="202"/>
                    </a:lnTo>
                    <a:lnTo>
                      <a:pt x="772" y="202"/>
                    </a:lnTo>
                    <a:lnTo>
                      <a:pt x="772" y="203"/>
                    </a:lnTo>
                    <a:lnTo>
                      <a:pt x="770" y="205"/>
                    </a:lnTo>
                    <a:lnTo>
                      <a:pt x="770" y="205"/>
                    </a:lnTo>
                    <a:lnTo>
                      <a:pt x="765" y="209"/>
                    </a:lnTo>
                    <a:lnTo>
                      <a:pt x="765" y="211"/>
                    </a:lnTo>
                    <a:lnTo>
                      <a:pt x="763" y="211"/>
                    </a:lnTo>
                    <a:lnTo>
                      <a:pt x="763" y="209"/>
                    </a:lnTo>
                    <a:lnTo>
                      <a:pt x="759" y="209"/>
                    </a:lnTo>
                    <a:lnTo>
                      <a:pt x="751" y="213"/>
                    </a:lnTo>
                    <a:lnTo>
                      <a:pt x="749" y="215"/>
                    </a:lnTo>
                    <a:lnTo>
                      <a:pt x="746" y="217"/>
                    </a:lnTo>
                    <a:lnTo>
                      <a:pt x="740" y="221"/>
                    </a:lnTo>
                    <a:lnTo>
                      <a:pt x="738" y="222"/>
                    </a:lnTo>
                    <a:lnTo>
                      <a:pt x="736" y="222"/>
                    </a:lnTo>
                    <a:lnTo>
                      <a:pt x="732" y="222"/>
                    </a:lnTo>
                    <a:lnTo>
                      <a:pt x="730" y="224"/>
                    </a:lnTo>
                    <a:lnTo>
                      <a:pt x="728" y="226"/>
                    </a:lnTo>
                    <a:lnTo>
                      <a:pt x="728" y="226"/>
                    </a:lnTo>
                    <a:lnTo>
                      <a:pt x="728" y="226"/>
                    </a:lnTo>
                    <a:lnTo>
                      <a:pt x="728" y="228"/>
                    </a:lnTo>
                    <a:lnTo>
                      <a:pt x="728" y="228"/>
                    </a:lnTo>
                    <a:lnTo>
                      <a:pt x="728" y="230"/>
                    </a:lnTo>
                    <a:lnTo>
                      <a:pt x="728" y="230"/>
                    </a:lnTo>
                    <a:lnTo>
                      <a:pt x="730" y="232"/>
                    </a:lnTo>
                    <a:lnTo>
                      <a:pt x="732" y="234"/>
                    </a:lnTo>
                    <a:lnTo>
                      <a:pt x="732" y="236"/>
                    </a:lnTo>
                    <a:lnTo>
                      <a:pt x="732" y="236"/>
                    </a:lnTo>
                    <a:lnTo>
                      <a:pt x="732" y="238"/>
                    </a:lnTo>
                    <a:lnTo>
                      <a:pt x="732" y="238"/>
                    </a:lnTo>
                    <a:lnTo>
                      <a:pt x="730" y="238"/>
                    </a:lnTo>
                    <a:lnTo>
                      <a:pt x="728" y="238"/>
                    </a:lnTo>
                    <a:lnTo>
                      <a:pt x="725" y="240"/>
                    </a:lnTo>
                    <a:lnTo>
                      <a:pt x="725" y="240"/>
                    </a:lnTo>
                    <a:lnTo>
                      <a:pt x="723" y="240"/>
                    </a:lnTo>
                    <a:lnTo>
                      <a:pt x="721" y="238"/>
                    </a:lnTo>
                    <a:lnTo>
                      <a:pt x="721" y="238"/>
                    </a:lnTo>
                    <a:lnTo>
                      <a:pt x="719" y="238"/>
                    </a:lnTo>
                    <a:lnTo>
                      <a:pt x="719" y="238"/>
                    </a:lnTo>
                    <a:lnTo>
                      <a:pt x="715" y="238"/>
                    </a:lnTo>
                    <a:lnTo>
                      <a:pt x="706" y="238"/>
                    </a:lnTo>
                    <a:lnTo>
                      <a:pt x="704" y="238"/>
                    </a:lnTo>
                    <a:lnTo>
                      <a:pt x="700" y="238"/>
                    </a:lnTo>
                    <a:lnTo>
                      <a:pt x="696" y="234"/>
                    </a:lnTo>
                    <a:lnTo>
                      <a:pt x="694" y="234"/>
                    </a:lnTo>
                    <a:lnTo>
                      <a:pt x="694" y="234"/>
                    </a:lnTo>
                    <a:lnTo>
                      <a:pt x="692" y="234"/>
                    </a:lnTo>
                    <a:lnTo>
                      <a:pt x="690" y="234"/>
                    </a:lnTo>
                    <a:lnTo>
                      <a:pt x="690" y="236"/>
                    </a:lnTo>
                    <a:lnTo>
                      <a:pt x="688" y="236"/>
                    </a:lnTo>
                    <a:lnTo>
                      <a:pt x="686" y="242"/>
                    </a:lnTo>
                    <a:lnTo>
                      <a:pt x="686" y="242"/>
                    </a:lnTo>
                    <a:lnTo>
                      <a:pt x="685" y="243"/>
                    </a:lnTo>
                    <a:lnTo>
                      <a:pt x="683" y="243"/>
                    </a:lnTo>
                    <a:lnTo>
                      <a:pt x="683" y="243"/>
                    </a:lnTo>
                    <a:lnTo>
                      <a:pt x="681" y="243"/>
                    </a:lnTo>
                    <a:lnTo>
                      <a:pt x="681" y="243"/>
                    </a:lnTo>
                    <a:lnTo>
                      <a:pt x="679" y="242"/>
                    </a:lnTo>
                    <a:lnTo>
                      <a:pt x="679" y="242"/>
                    </a:lnTo>
                    <a:lnTo>
                      <a:pt x="679" y="242"/>
                    </a:lnTo>
                    <a:lnTo>
                      <a:pt x="679" y="240"/>
                    </a:lnTo>
                    <a:lnTo>
                      <a:pt x="679" y="240"/>
                    </a:lnTo>
                    <a:lnTo>
                      <a:pt x="677" y="238"/>
                    </a:lnTo>
                    <a:lnTo>
                      <a:pt x="675" y="238"/>
                    </a:lnTo>
                    <a:lnTo>
                      <a:pt x="673" y="240"/>
                    </a:lnTo>
                    <a:lnTo>
                      <a:pt x="673" y="240"/>
                    </a:lnTo>
                    <a:lnTo>
                      <a:pt x="673" y="240"/>
                    </a:lnTo>
                    <a:lnTo>
                      <a:pt x="673" y="243"/>
                    </a:lnTo>
                    <a:lnTo>
                      <a:pt x="673" y="245"/>
                    </a:lnTo>
                    <a:lnTo>
                      <a:pt x="673" y="247"/>
                    </a:lnTo>
                    <a:lnTo>
                      <a:pt x="673" y="249"/>
                    </a:lnTo>
                    <a:lnTo>
                      <a:pt x="667" y="249"/>
                    </a:lnTo>
                    <a:lnTo>
                      <a:pt x="667" y="249"/>
                    </a:lnTo>
                    <a:lnTo>
                      <a:pt x="666" y="247"/>
                    </a:lnTo>
                    <a:lnTo>
                      <a:pt x="666" y="247"/>
                    </a:lnTo>
                    <a:lnTo>
                      <a:pt x="666" y="245"/>
                    </a:lnTo>
                    <a:lnTo>
                      <a:pt x="666" y="243"/>
                    </a:lnTo>
                    <a:lnTo>
                      <a:pt x="666" y="242"/>
                    </a:lnTo>
                    <a:lnTo>
                      <a:pt x="666" y="240"/>
                    </a:lnTo>
                    <a:lnTo>
                      <a:pt x="666" y="238"/>
                    </a:lnTo>
                    <a:lnTo>
                      <a:pt x="666" y="238"/>
                    </a:lnTo>
                    <a:lnTo>
                      <a:pt x="669" y="234"/>
                    </a:lnTo>
                    <a:lnTo>
                      <a:pt x="671" y="232"/>
                    </a:lnTo>
                    <a:lnTo>
                      <a:pt x="671" y="228"/>
                    </a:lnTo>
                    <a:lnTo>
                      <a:pt x="677" y="222"/>
                    </a:lnTo>
                    <a:lnTo>
                      <a:pt x="679" y="219"/>
                    </a:lnTo>
                    <a:lnTo>
                      <a:pt x="679" y="217"/>
                    </a:lnTo>
                    <a:lnTo>
                      <a:pt x="679" y="217"/>
                    </a:lnTo>
                    <a:lnTo>
                      <a:pt x="677" y="217"/>
                    </a:lnTo>
                    <a:lnTo>
                      <a:pt x="677" y="219"/>
                    </a:lnTo>
                    <a:lnTo>
                      <a:pt x="673" y="221"/>
                    </a:lnTo>
                    <a:lnTo>
                      <a:pt x="673" y="221"/>
                    </a:lnTo>
                    <a:lnTo>
                      <a:pt x="671" y="221"/>
                    </a:lnTo>
                    <a:lnTo>
                      <a:pt x="671" y="221"/>
                    </a:lnTo>
                    <a:lnTo>
                      <a:pt x="669" y="221"/>
                    </a:lnTo>
                    <a:lnTo>
                      <a:pt x="667" y="221"/>
                    </a:lnTo>
                    <a:lnTo>
                      <a:pt x="667" y="221"/>
                    </a:lnTo>
                    <a:lnTo>
                      <a:pt x="666" y="222"/>
                    </a:lnTo>
                    <a:lnTo>
                      <a:pt x="666" y="222"/>
                    </a:lnTo>
                    <a:lnTo>
                      <a:pt x="666" y="224"/>
                    </a:lnTo>
                    <a:lnTo>
                      <a:pt x="664" y="224"/>
                    </a:lnTo>
                    <a:lnTo>
                      <a:pt x="664" y="224"/>
                    </a:lnTo>
                    <a:lnTo>
                      <a:pt x="664" y="224"/>
                    </a:lnTo>
                    <a:lnTo>
                      <a:pt x="662" y="224"/>
                    </a:lnTo>
                    <a:lnTo>
                      <a:pt x="662" y="224"/>
                    </a:lnTo>
                    <a:lnTo>
                      <a:pt x="660" y="222"/>
                    </a:lnTo>
                    <a:lnTo>
                      <a:pt x="660" y="221"/>
                    </a:lnTo>
                    <a:lnTo>
                      <a:pt x="660" y="221"/>
                    </a:lnTo>
                    <a:lnTo>
                      <a:pt x="660" y="219"/>
                    </a:lnTo>
                    <a:lnTo>
                      <a:pt x="660" y="219"/>
                    </a:lnTo>
                    <a:lnTo>
                      <a:pt x="660" y="217"/>
                    </a:lnTo>
                    <a:lnTo>
                      <a:pt x="664" y="211"/>
                    </a:lnTo>
                    <a:lnTo>
                      <a:pt x="664" y="211"/>
                    </a:lnTo>
                    <a:lnTo>
                      <a:pt x="664" y="209"/>
                    </a:lnTo>
                    <a:lnTo>
                      <a:pt x="664" y="209"/>
                    </a:lnTo>
                    <a:lnTo>
                      <a:pt x="662" y="207"/>
                    </a:lnTo>
                    <a:lnTo>
                      <a:pt x="662" y="207"/>
                    </a:lnTo>
                    <a:lnTo>
                      <a:pt x="658" y="213"/>
                    </a:lnTo>
                    <a:lnTo>
                      <a:pt x="656" y="217"/>
                    </a:lnTo>
                    <a:lnTo>
                      <a:pt x="656" y="217"/>
                    </a:lnTo>
                    <a:lnTo>
                      <a:pt x="656" y="219"/>
                    </a:lnTo>
                    <a:lnTo>
                      <a:pt x="656" y="221"/>
                    </a:lnTo>
                    <a:lnTo>
                      <a:pt x="660" y="230"/>
                    </a:lnTo>
                    <a:lnTo>
                      <a:pt x="660" y="232"/>
                    </a:lnTo>
                    <a:lnTo>
                      <a:pt x="660" y="234"/>
                    </a:lnTo>
                    <a:lnTo>
                      <a:pt x="660" y="236"/>
                    </a:lnTo>
                    <a:lnTo>
                      <a:pt x="658" y="236"/>
                    </a:lnTo>
                    <a:lnTo>
                      <a:pt x="658" y="236"/>
                    </a:lnTo>
                    <a:lnTo>
                      <a:pt x="654" y="234"/>
                    </a:lnTo>
                    <a:lnTo>
                      <a:pt x="652" y="234"/>
                    </a:lnTo>
                    <a:lnTo>
                      <a:pt x="652" y="234"/>
                    </a:lnTo>
                    <a:lnTo>
                      <a:pt x="650" y="234"/>
                    </a:lnTo>
                    <a:lnTo>
                      <a:pt x="650" y="234"/>
                    </a:lnTo>
                    <a:lnTo>
                      <a:pt x="646" y="234"/>
                    </a:lnTo>
                    <a:lnTo>
                      <a:pt x="646" y="234"/>
                    </a:lnTo>
                    <a:lnTo>
                      <a:pt x="645" y="234"/>
                    </a:lnTo>
                    <a:lnTo>
                      <a:pt x="643" y="234"/>
                    </a:lnTo>
                    <a:lnTo>
                      <a:pt x="643" y="236"/>
                    </a:lnTo>
                    <a:lnTo>
                      <a:pt x="641" y="238"/>
                    </a:lnTo>
                    <a:lnTo>
                      <a:pt x="641" y="238"/>
                    </a:lnTo>
                    <a:lnTo>
                      <a:pt x="639" y="240"/>
                    </a:lnTo>
                    <a:lnTo>
                      <a:pt x="639" y="238"/>
                    </a:lnTo>
                    <a:lnTo>
                      <a:pt x="637" y="238"/>
                    </a:lnTo>
                    <a:lnTo>
                      <a:pt x="637" y="232"/>
                    </a:lnTo>
                    <a:lnTo>
                      <a:pt x="637" y="232"/>
                    </a:lnTo>
                    <a:lnTo>
                      <a:pt x="635" y="232"/>
                    </a:lnTo>
                    <a:lnTo>
                      <a:pt x="633" y="232"/>
                    </a:lnTo>
                    <a:lnTo>
                      <a:pt x="629" y="234"/>
                    </a:lnTo>
                    <a:lnTo>
                      <a:pt x="627" y="234"/>
                    </a:lnTo>
                    <a:lnTo>
                      <a:pt x="625" y="234"/>
                    </a:lnTo>
                    <a:lnTo>
                      <a:pt x="625" y="234"/>
                    </a:lnTo>
                    <a:lnTo>
                      <a:pt x="625" y="234"/>
                    </a:lnTo>
                    <a:lnTo>
                      <a:pt x="624" y="232"/>
                    </a:lnTo>
                    <a:lnTo>
                      <a:pt x="624" y="230"/>
                    </a:lnTo>
                    <a:lnTo>
                      <a:pt x="625" y="228"/>
                    </a:lnTo>
                    <a:lnTo>
                      <a:pt x="625" y="228"/>
                    </a:lnTo>
                    <a:lnTo>
                      <a:pt x="629" y="224"/>
                    </a:lnTo>
                    <a:lnTo>
                      <a:pt x="629" y="222"/>
                    </a:lnTo>
                    <a:lnTo>
                      <a:pt x="629" y="222"/>
                    </a:lnTo>
                    <a:lnTo>
                      <a:pt x="629" y="222"/>
                    </a:lnTo>
                    <a:lnTo>
                      <a:pt x="627" y="222"/>
                    </a:lnTo>
                    <a:lnTo>
                      <a:pt x="627" y="221"/>
                    </a:lnTo>
                    <a:lnTo>
                      <a:pt x="627" y="221"/>
                    </a:lnTo>
                    <a:lnTo>
                      <a:pt x="625" y="221"/>
                    </a:lnTo>
                    <a:lnTo>
                      <a:pt x="625" y="221"/>
                    </a:lnTo>
                    <a:lnTo>
                      <a:pt x="624" y="219"/>
                    </a:lnTo>
                    <a:lnTo>
                      <a:pt x="622" y="221"/>
                    </a:lnTo>
                    <a:lnTo>
                      <a:pt x="622" y="221"/>
                    </a:lnTo>
                    <a:lnTo>
                      <a:pt x="622" y="221"/>
                    </a:lnTo>
                    <a:lnTo>
                      <a:pt x="622" y="222"/>
                    </a:lnTo>
                    <a:lnTo>
                      <a:pt x="622" y="224"/>
                    </a:lnTo>
                    <a:lnTo>
                      <a:pt x="622" y="226"/>
                    </a:lnTo>
                    <a:lnTo>
                      <a:pt x="620" y="226"/>
                    </a:lnTo>
                    <a:lnTo>
                      <a:pt x="618" y="228"/>
                    </a:lnTo>
                    <a:lnTo>
                      <a:pt x="616" y="228"/>
                    </a:lnTo>
                    <a:lnTo>
                      <a:pt x="616" y="228"/>
                    </a:lnTo>
                    <a:lnTo>
                      <a:pt x="614" y="228"/>
                    </a:lnTo>
                    <a:lnTo>
                      <a:pt x="612" y="232"/>
                    </a:lnTo>
                    <a:lnTo>
                      <a:pt x="612" y="232"/>
                    </a:lnTo>
                    <a:lnTo>
                      <a:pt x="610" y="234"/>
                    </a:lnTo>
                    <a:lnTo>
                      <a:pt x="608" y="234"/>
                    </a:lnTo>
                    <a:lnTo>
                      <a:pt x="606" y="234"/>
                    </a:lnTo>
                    <a:lnTo>
                      <a:pt x="606" y="232"/>
                    </a:lnTo>
                    <a:lnTo>
                      <a:pt x="606" y="230"/>
                    </a:lnTo>
                    <a:lnTo>
                      <a:pt x="606" y="228"/>
                    </a:lnTo>
                    <a:lnTo>
                      <a:pt x="606" y="226"/>
                    </a:lnTo>
                    <a:lnTo>
                      <a:pt x="608" y="224"/>
                    </a:lnTo>
                    <a:lnTo>
                      <a:pt x="608" y="222"/>
                    </a:lnTo>
                    <a:lnTo>
                      <a:pt x="610" y="221"/>
                    </a:lnTo>
                    <a:lnTo>
                      <a:pt x="614" y="219"/>
                    </a:lnTo>
                    <a:lnTo>
                      <a:pt x="614" y="217"/>
                    </a:lnTo>
                    <a:lnTo>
                      <a:pt x="616" y="217"/>
                    </a:lnTo>
                    <a:lnTo>
                      <a:pt x="616" y="215"/>
                    </a:lnTo>
                    <a:lnTo>
                      <a:pt x="616" y="215"/>
                    </a:lnTo>
                    <a:lnTo>
                      <a:pt x="614" y="211"/>
                    </a:lnTo>
                    <a:lnTo>
                      <a:pt x="614" y="211"/>
                    </a:lnTo>
                    <a:lnTo>
                      <a:pt x="616" y="209"/>
                    </a:lnTo>
                    <a:lnTo>
                      <a:pt x="618" y="205"/>
                    </a:lnTo>
                    <a:lnTo>
                      <a:pt x="618" y="203"/>
                    </a:lnTo>
                    <a:lnTo>
                      <a:pt x="618" y="200"/>
                    </a:lnTo>
                    <a:lnTo>
                      <a:pt x="618" y="198"/>
                    </a:lnTo>
                    <a:lnTo>
                      <a:pt x="618" y="198"/>
                    </a:lnTo>
                    <a:lnTo>
                      <a:pt x="618" y="198"/>
                    </a:lnTo>
                    <a:lnTo>
                      <a:pt x="616" y="198"/>
                    </a:lnTo>
                    <a:lnTo>
                      <a:pt x="616" y="198"/>
                    </a:lnTo>
                    <a:lnTo>
                      <a:pt x="614" y="198"/>
                    </a:lnTo>
                    <a:lnTo>
                      <a:pt x="612" y="198"/>
                    </a:lnTo>
                    <a:lnTo>
                      <a:pt x="612" y="198"/>
                    </a:lnTo>
                    <a:lnTo>
                      <a:pt x="612" y="198"/>
                    </a:lnTo>
                    <a:lnTo>
                      <a:pt x="612" y="196"/>
                    </a:lnTo>
                    <a:lnTo>
                      <a:pt x="612" y="194"/>
                    </a:lnTo>
                    <a:lnTo>
                      <a:pt x="612" y="194"/>
                    </a:lnTo>
                    <a:lnTo>
                      <a:pt x="614" y="192"/>
                    </a:lnTo>
                    <a:lnTo>
                      <a:pt x="612" y="188"/>
                    </a:lnTo>
                    <a:lnTo>
                      <a:pt x="612" y="188"/>
                    </a:lnTo>
                    <a:lnTo>
                      <a:pt x="612" y="186"/>
                    </a:lnTo>
                    <a:lnTo>
                      <a:pt x="610" y="184"/>
                    </a:lnTo>
                    <a:lnTo>
                      <a:pt x="610" y="184"/>
                    </a:lnTo>
                    <a:lnTo>
                      <a:pt x="608" y="184"/>
                    </a:lnTo>
                    <a:lnTo>
                      <a:pt x="606" y="186"/>
                    </a:lnTo>
                    <a:lnTo>
                      <a:pt x="606" y="188"/>
                    </a:lnTo>
                    <a:lnTo>
                      <a:pt x="604" y="188"/>
                    </a:lnTo>
                    <a:lnTo>
                      <a:pt x="604" y="190"/>
                    </a:lnTo>
                    <a:lnTo>
                      <a:pt x="604" y="190"/>
                    </a:lnTo>
                    <a:lnTo>
                      <a:pt x="604" y="192"/>
                    </a:lnTo>
                    <a:lnTo>
                      <a:pt x="604" y="198"/>
                    </a:lnTo>
                    <a:lnTo>
                      <a:pt x="604" y="198"/>
                    </a:lnTo>
                    <a:lnTo>
                      <a:pt x="604" y="200"/>
                    </a:lnTo>
                    <a:lnTo>
                      <a:pt x="603" y="200"/>
                    </a:lnTo>
                    <a:lnTo>
                      <a:pt x="601" y="202"/>
                    </a:lnTo>
                    <a:lnTo>
                      <a:pt x="599" y="200"/>
                    </a:lnTo>
                    <a:lnTo>
                      <a:pt x="599" y="200"/>
                    </a:lnTo>
                    <a:lnTo>
                      <a:pt x="599" y="198"/>
                    </a:lnTo>
                    <a:lnTo>
                      <a:pt x="599" y="192"/>
                    </a:lnTo>
                    <a:lnTo>
                      <a:pt x="597" y="190"/>
                    </a:lnTo>
                    <a:lnTo>
                      <a:pt x="597" y="188"/>
                    </a:lnTo>
                    <a:lnTo>
                      <a:pt x="597" y="188"/>
                    </a:lnTo>
                    <a:lnTo>
                      <a:pt x="595" y="186"/>
                    </a:lnTo>
                    <a:lnTo>
                      <a:pt x="593" y="188"/>
                    </a:lnTo>
                    <a:lnTo>
                      <a:pt x="593" y="188"/>
                    </a:lnTo>
                    <a:lnTo>
                      <a:pt x="591" y="188"/>
                    </a:lnTo>
                    <a:lnTo>
                      <a:pt x="589" y="188"/>
                    </a:lnTo>
                    <a:lnTo>
                      <a:pt x="589" y="190"/>
                    </a:lnTo>
                    <a:lnTo>
                      <a:pt x="589" y="192"/>
                    </a:lnTo>
                    <a:lnTo>
                      <a:pt x="589" y="194"/>
                    </a:lnTo>
                    <a:lnTo>
                      <a:pt x="589" y="196"/>
                    </a:lnTo>
                    <a:lnTo>
                      <a:pt x="591" y="198"/>
                    </a:lnTo>
                    <a:lnTo>
                      <a:pt x="591" y="198"/>
                    </a:lnTo>
                    <a:lnTo>
                      <a:pt x="591" y="200"/>
                    </a:lnTo>
                    <a:lnTo>
                      <a:pt x="591" y="202"/>
                    </a:lnTo>
                    <a:lnTo>
                      <a:pt x="589" y="203"/>
                    </a:lnTo>
                    <a:lnTo>
                      <a:pt x="589" y="203"/>
                    </a:lnTo>
                    <a:lnTo>
                      <a:pt x="589" y="205"/>
                    </a:lnTo>
                    <a:lnTo>
                      <a:pt x="589" y="205"/>
                    </a:lnTo>
                    <a:lnTo>
                      <a:pt x="591" y="207"/>
                    </a:lnTo>
                    <a:lnTo>
                      <a:pt x="591" y="209"/>
                    </a:lnTo>
                    <a:lnTo>
                      <a:pt x="589" y="209"/>
                    </a:lnTo>
                    <a:lnTo>
                      <a:pt x="589" y="211"/>
                    </a:lnTo>
                    <a:lnTo>
                      <a:pt x="587" y="211"/>
                    </a:lnTo>
                    <a:lnTo>
                      <a:pt x="587" y="209"/>
                    </a:lnTo>
                    <a:lnTo>
                      <a:pt x="585" y="207"/>
                    </a:lnTo>
                    <a:lnTo>
                      <a:pt x="584" y="207"/>
                    </a:lnTo>
                    <a:lnTo>
                      <a:pt x="582" y="205"/>
                    </a:lnTo>
                    <a:lnTo>
                      <a:pt x="582" y="205"/>
                    </a:lnTo>
                    <a:lnTo>
                      <a:pt x="582" y="203"/>
                    </a:lnTo>
                    <a:lnTo>
                      <a:pt x="582" y="202"/>
                    </a:lnTo>
                    <a:lnTo>
                      <a:pt x="580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2" y="202"/>
                    </a:lnTo>
                    <a:lnTo>
                      <a:pt x="572" y="202"/>
                    </a:lnTo>
                    <a:lnTo>
                      <a:pt x="570" y="202"/>
                    </a:lnTo>
                    <a:lnTo>
                      <a:pt x="570" y="203"/>
                    </a:lnTo>
                    <a:lnTo>
                      <a:pt x="570" y="203"/>
                    </a:lnTo>
                    <a:lnTo>
                      <a:pt x="570" y="205"/>
                    </a:lnTo>
                    <a:lnTo>
                      <a:pt x="570" y="205"/>
                    </a:lnTo>
                    <a:lnTo>
                      <a:pt x="570" y="207"/>
                    </a:lnTo>
                    <a:lnTo>
                      <a:pt x="570" y="207"/>
                    </a:lnTo>
                    <a:lnTo>
                      <a:pt x="570" y="207"/>
                    </a:lnTo>
                    <a:lnTo>
                      <a:pt x="568" y="209"/>
                    </a:lnTo>
                    <a:lnTo>
                      <a:pt x="568" y="211"/>
                    </a:lnTo>
                    <a:lnTo>
                      <a:pt x="564" y="215"/>
                    </a:lnTo>
                    <a:lnTo>
                      <a:pt x="563" y="217"/>
                    </a:lnTo>
                    <a:lnTo>
                      <a:pt x="563" y="219"/>
                    </a:lnTo>
                    <a:lnTo>
                      <a:pt x="563" y="221"/>
                    </a:lnTo>
                    <a:lnTo>
                      <a:pt x="563" y="221"/>
                    </a:lnTo>
                    <a:lnTo>
                      <a:pt x="563" y="222"/>
                    </a:lnTo>
                    <a:lnTo>
                      <a:pt x="563" y="222"/>
                    </a:lnTo>
                    <a:lnTo>
                      <a:pt x="564" y="224"/>
                    </a:lnTo>
                    <a:lnTo>
                      <a:pt x="566" y="226"/>
                    </a:lnTo>
                    <a:lnTo>
                      <a:pt x="568" y="228"/>
                    </a:lnTo>
                    <a:lnTo>
                      <a:pt x="570" y="230"/>
                    </a:lnTo>
                    <a:lnTo>
                      <a:pt x="574" y="240"/>
                    </a:lnTo>
                    <a:lnTo>
                      <a:pt x="576" y="243"/>
                    </a:lnTo>
                    <a:lnTo>
                      <a:pt x="576" y="249"/>
                    </a:lnTo>
                    <a:lnTo>
                      <a:pt x="578" y="264"/>
                    </a:lnTo>
                    <a:lnTo>
                      <a:pt x="580" y="266"/>
                    </a:lnTo>
                    <a:lnTo>
                      <a:pt x="580" y="268"/>
                    </a:lnTo>
                    <a:lnTo>
                      <a:pt x="585" y="274"/>
                    </a:lnTo>
                    <a:lnTo>
                      <a:pt x="587" y="276"/>
                    </a:lnTo>
                    <a:lnTo>
                      <a:pt x="589" y="280"/>
                    </a:lnTo>
                    <a:lnTo>
                      <a:pt x="589" y="281"/>
                    </a:lnTo>
                    <a:lnTo>
                      <a:pt x="589" y="283"/>
                    </a:lnTo>
                    <a:lnTo>
                      <a:pt x="589" y="291"/>
                    </a:lnTo>
                    <a:lnTo>
                      <a:pt x="589" y="295"/>
                    </a:lnTo>
                    <a:lnTo>
                      <a:pt x="589" y="297"/>
                    </a:lnTo>
                    <a:lnTo>
                      <a:pt x="589" y="299"/>
                    </a:lnTo>
                    <a:lnTo>
                      <a:pt x="589" y="299"/>
                    </a:lnTo>
                    <a:lnTo>
                      <a:pt x="587" y="300"/>
                    </a:lnTo>
                    <a:lnTo>
                      <a:pt x="587" y="302"/>
                    </a:lnTo>
                    <a:lnTo>
                      <a:pt x="587" y="304"/>
                    </a:lnTo>
                    <a:lnTo>
                      <a:pt x="587" y="306"/>
                    </a:lnTo>
                    <a:lnTo>
                      <a:pt x="589" y="308"/>
                    </a:lnTo>
                    <a:lnTo>
                      <a:pt x="589" y="308"/>
                    </a:lnTo>
                    <a:lnTo>
                      <a:pt x="591" y="310"/>
                    </a:lnTo>
                    <a:lnTo>
                      <a:pt x="591" y="310"/>
                    </a:lnTo>
                    <a:lnTo>
                      <a:pt x="593" y="310"/>
                    </a:lnTo>
                    <a:lnTo>
                      <a:pt x="597" y="308"/>
                    </a:lnTo>
                    <a:lnTo>
                      <a:pt x="601" y="308"/>
                    </a:lnTo>
                    <a:lnTo>
                      <a:pt x="601" y="308"/>
                    </a:lnTo>
                    <a:lnTo>
                      <a:pt x="603" y="308"/>
                    </a:lnTo>
                    <a:lnTo>
                      <a:pt x="604" y="308"/>
                    </a:lnTo>
                    <a:lnTo>
                      <a:pt x="606" y="310"/>
                    </a:lnTo>
                    <a:lnTo>
                      <a:pt x="608" y="312"/>
                    </a:lnTo>
                    <a:lnTo>
                      <a:pt x="608" y="314"/>
                    </a:lnTo>
                    <a:lnTo>
                      <a:pt x="608" y="316"/>
                    </a:lnTo>
                    <a:lnTo>
                      <a:pt x="610" y="318"/>
                    </a:lnTo>
                    <a:lnTo>
                      <a:pt x="612" y="321"/>
                    </a:lnTo>
                    <a:lnTo>
                      <a:pt x="614" y="323"/>
                    </a:lnTo>
                    <a:lnTo>
                      <a:pt x="614" y="325"/>
                    </a:lnTo>
                    <a:lnTo>
                      <a:pt x="612" y="327"/>
                    </a:lnTo>
                    <a:lnTo>
                      <a:pt x="612" y="327"/>
                    </a:lnTo>
                    <a:lnTo>
                      <a:pt x="612" y="327"/>
                    </a:lnTo>
                    <a:lnTo>
                      <a:pt x="612" y="327"/>
                    </a:lnTo>
                    <a:lnTo>
                      <a:pt x="612" y="329"/>
                    </a:lnTo>
                    <a:lnTo>
                      <a:pt x="612" y="329"/>
                    </a:lnTo>
                    <a:lnTo>
                      <a:pt x="614" y="329"/>
                    </a:lnTo>
                    <a:lnTo>
                      <a:pt x="614" y="331"/>
                    </a:lnTo>
                    <a:lnTo>
                      <a:pt x="616" y="331"/>
                    </a:lnTo>
                    <a:lnTo>
                      <a:pt x="618" y="331"/>
                    </a:lnTo>
                    <a:lnTo>
                      <a:pt x="620" y="333"/>
                    </a:lnTo>
                    <a:lnTo>
                      <a:pt x="620" y="337"/>
                    </a:lnTo>
                    <a:lnTo>
                      <a:pt x="620" y="339"/>
                    </a:lnTo>
                    <a:lnTo>
                      <a:pt x="618" y="340"/>
                    </a:lnTo>
                    <a:lnTo>
                      <a:pt x="618" y="342"/>
                    </a:lnTo>
                    <a:lnTo>
                      <a:pt x="616" y="344"/>
                    </a:lnTo>
                    <a:lnTo>
                      <a:pt x="616" y="344"/>
                    </a:lnTo>
                    <a:lnTo>
                      <a:pt x="610" y="348"/>
                    </a:lnTo>
                    <a:lnTo>
                      <a:pt x="610" y="352"/>
                    </a:lnTo>
                    <a:lnTo>
                      <a:pt x="608" y="356"/>
                    </a:lnTo>
                    <a:lnTo>
                      <a:pt x="606" y="359"/>
                    </a:lnTo>
                    <a:lnTo>
                      <a:pt x="604" y="361"/>
                    </a:lnTo>
                    <a:lnTo>
                      <a:pt x="601" y="365"/>
                    </a:lnTo>
                    <a:lnTo>
                      <a:pt x="599" y="365"/>
                    </a:lnTo>
                    <a:lnTo>
                      <a:pt x="597" y="367"/>
                    </a:lnTo>
                    <a:lnTo>
                      <a:pt x="595" y="365"/>
                    </a:lnTo>
                    <a:lnTo>
                      <a:pt x="593" y="363"/>
                    </a:lnTo>
                    <a:lnTo>
                      <a:pt x="593" y="361"/>
                    </a:lnTo>
                    <a:lnTo>
                      <a:pt x="593" y="361"/>
                    </a:lnTo>
                    <a:lnTo>
                      <a:pt x="593" y="359"/>
                    </a:lnTo>
                    <a:lnTo>
                      <a:pt x="591" y="358"/>
                    </a:lnTo>
                    <a:lnTo>
                      <a:pt x="591" y="358"/>
                    </a:lnTo>
                    <a:lnTo>
                      <a:pt x="589" y="358"/>
                    </a:lnTo>
                    <a:lnTo>
                      <a:pt x="587" y="358"/>
                    </a:lnTo>
                    <a:lnTo>
                      <a:pt x="584" y="358"/>
                    </a:lnTo>
                    <a:lnTo>
                      <a:pt x="582" y="358"/>
                    </a:lnTo>
                    <a:lnTo>
                      <a:pt x="580" y="356"/>
                    </a:lnTo>
                    <a:lnTo>
                      <a:pt x="578" y="354"/>
                    </a:lnTo>
                    <a:lnTo>
                      <a:pt x="574" y="350"/>
                    </a:lnTo>
                    <a:lnTo>
                      <a:pt x="572" y="348"/>
                    </a:lnTo>
                    <a:lnTo>
                      <a:pt x="564" y="342"/>
                    </a:lnTo>
                    <a:lnTo>
                      <a:pt x="563" y="340"/>
                    </a:lnTo>
                    <a:lnTo>
                      <a:pt x="559" y="340"/>
                    </a:lnTo>
                    <a:lnTo>
                      <a:pt x="557" y="340"/>
                    </a:lnTo>
                    <a:lnTo>
                      <a:pt x="557" y="340"/>
                    </a:lnTo>
                    <a:lnTo>
                      <a:pt x="557" y="340"/>
                    </a:lnTo>
                    <a:lnTo>
                      <a:pt x="555" y="342"/>
                    </a:lnTo>
                    <a:lnTo>
                      <a:pt x="555" y="344"/>
                    </a:lnTo>
                    <a:lnTo>
                      <a:pt x="555" y="344"/>
                    </a:lnTo>
                    <a:lnTo>
                      <a:pt x="555" y="346"/>
                    </a:lnTo>
                    <a:lnTo>
                      <a:pt x="553" y="348"/>
                    </a:lnTo>
                    <a:lnTo>
                      <a:pt x="553" y="348"/>
                    </a:lnTo>
                    <a:lnTo>
                      <a:pt x="553" y="350"/>
                    </a:lnTo>
                    <a:lnTo>
                      <a:pt x="553" y="352"/>
                    </a:lnTo>
                    <a:lnTo>
                      <a:pt x="551" y="352"/>
                    </a:lnTo>
                    <a:lnTo>
                      <a:pt x="549" y="354"/>
                    </a:lnTo>
                    <a:lnTo>
                      <a:pt x="545" y="356"/>
                    </a:lnTo>
                    <a:lnTo>
                      <a:pt x="543" y="354"/>
                    </a:lnTo>
                    <a:lnTo>
                      <a:pt x="542" y="354"/>
                    </a:lnTo>
                    <a:lnTo>
                      <a:pt x="542" y="352"/>
                    </a:lnTo>
                    <a:lnTo>
                      <a:pt x="540" y="350"/>
                    </a:lnTo>
                    <a:lnTo>
                      <a:pt x="540" y="350"/>
                    </a:lnTo>
                    <a:lnTo>
                      <a:pt x="540" y="348"/>
                    </a:lnTo>
                    <a:lnTo>
                      <a:pt x="540" y="346"/>
                    </a:lnTo>
                    <a:lnTo>
                      <a:pt x="542" y="342"/>
                    </a:lnTo>
                    <a:lnTo>
                      <a:pt x="542" y="340"/>
                    </a:lnTo>
                    <a:lnTo>
                      <a:pt x="542" y="340"/>
                    </a:lnTo>
                    <a:lnTo>
                      <a:pt x="542" y="339"/>
                    </a:lnTo>
                    <a:lnTo>
                      <a:pt x="540" y="339"/>
                    </a:lnTo>
                    <a:lnTo>
                      <a:pt x="536" y="337"/>
                    </a:lnTo>
                    <a:lnTo>
                      <a:pt x="534" y="335"/>
                    </a:lnTo>
                    <a:lnTo>
                      <a:pt x="532" y="335"/>
                    </a:lnTo>
                    <a:lnTo>
                      <a:pt x="532" y="333"/>
                    </a:lnTo>
                    <a:lnTo>
                      <a:pt x="532" y="331"/>
                    </a:lnTo>
                    <a:lnTo>
                      <a:pt x="530" y="331"/>
                    </a:lnTo>
                    <a:lnTo>
                      <a:pt x="530" y="331"/>
                    </a:lnTo>
                    <a:lnTo>
                      <a:pt x="528" y="329"/>
                    </a:lnTo>
                    <a:lnTo>
                      <a:pt x="528" y="329"/>
                    </a:lnTo>
                    <a:lnTo>
                      <a:pt x="526" y="325"/>
                    </a:lnTo>
                    <a:lnTo>
                      <a:pt x="526" y="325"/>
                    </a:lnTo>
                    <a:lnTo>
                      <a:pt x="526" y="323"/>
                    </a:lnTo>
                    <a:lnTo>
                      <a:pt x="530" y="320"/>
                    </a:lnTo>
                    <a:lnTo>
                      <a:pt x="530" y="316"/>
                    </a:lnTo>
                    <a:lnTo>
                      <a:pt x="532" y="314"/>
                    </a:lnTo>
                    <a:lnTo>
                      <a:pt x="532" y="310"/>
                    </a:lnTo>
                    <a:lnTo>
                      <a:pt x="532" y="310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0" y="304"/>
                    </a:lnTo>
                    <a:lnTo>
                      <a:pt x="530" y="304"/>
                    </a:lnTo>
                    <a:lnTo>
                      <a:pt x="530" y="300"/>
                    </a:lnTo>
                    <a:lnTo>
                      <a:pt x="530" y="299"/>
                    </a:lnTo>
                    <a:lnTo>
                      <a:pt x="528" y="297"/>
                    </a:lnTo>
                    <a:lnTo>
                      <a:pt x="526" y="295"/>
                    </a:lnTo>
                    <a:lnTo>
                      <a:pt x="526" y="293"/>
                    </a:lnTo>
                    <a:lnTo>
                      <a:pt x="526" y="289"/>
                    </a:lnTo>
                    <a:lnTo>
                      <a:pt x="526" y="287"/>
                    </a:lnTo>
                    <a:lnTo>
                      <a:pt x="522" y="281"/>
                    </a:lnTo>
                    <a:lnTo>
                      <a:pt x="522" y="280"/>
                    </a:lnTo>
                    <a:lnTo>
                      <a:pt x="521" y="280"/>
                    </a:lnTo>
                    <a:lnTo>
                      <a:pt x="519" y="280"/>
                    </a:lnTo>
                    <a:lnTo>
                      <a:pt x="519" y="278"/>
                    </a:lnTo>
                    <a:lnTo>
                      <a:pt x="519" y="276"/>
                    </a:lnTo>
                    <a:lnTo>
                      <a:pt x="521" y="274"/>
                    </a:lnTo>
                    <a:lnTo>
                      <a:pt x="526" y="268"/>
                    </a:lnTo>
                    <a:lnTo>
                      <a:pt x="530" y="266"/>
                    </a:lnTo>
                    <a:lnTo>
                      <a:pt x="538" y="261"/>
                    </a:lnTo>
                    <a:lnTo>
                      <a:pt x="538" y="259"/>
                    </a:lnTo>
                    <a:lnTo>
                      <a:pt x="540" y="255"/>
                    </a:lnTo>
                    <a:lnTo>
                      <a:pt x="540" y="253"/>
                    </a:lnTo>
                    <a:lnTo>
                      <a:pt x="540" y="249"/>
                    </a:lnTo>
                    <a:lnTo>
                      <a:pt x="540" y="247"/>
                    </a:lnTo>
                    <a:lnTo>
                      <a:pt x="540" y="247"/>
                    </a:lnTo>
                    <a:lnTo>
                      <a:pt x="540" y="243"/>
                    </a:lnTo>
                    <a:lnTo>
                      <a:pt x="542" y="242"/>
                    </a:lnTo>
                    <a:lnTo>
                      <a:pt x="542" y="240"/>
                    </a:lnTo>
                    <a:lnTo>
                      <a:pt x="543" y="236"/>
                    </a:lnTo>
                    <a:lnTo>
                      <a:pt x="543" y="232"/>
                    </a:lnTo>
                    <a:lnTo>
                      <a:pt x="543" y="232"/>
                    </a:lnTo>
                    <a:lnTo>
                      <a:pt x="543" y="230"/>
                    </a:lnTo>
                    <a:lnTo>
                      <a:pt x="542" y="226"/>
                    </a:lnTo>
                    <a:lnTo>
                      <a:pt x="536" y="213"/>
                    </a:lnTo>
                    <a:lnTo>
                      <a:pt x="534" y="211"/>
                    </a:lnTo>
                    <a:lnTo>
                      <a:pt x="532" y="209"/>
                    </a:lnTo>
                    <a:lnTo>
                      <a:pt x="530" y="207"/>
                    </a:lnTo>
                    <a:lnTo>
                      <a:pt x="530" y="205"/>
                    </a:lnTo>
                    <a:lnTo>
                      <a:pt x="530" y="203"/>
                    </a:lnTo>
                    <a:lnTo>
                      <a:pt x="530" y="203"/>
                    </a:lnTo>
                    <a:lnTo>
                      <a:pt x="530" y="202"/>
                    </a:lnTo>
                    <a:lnTo>
                      <a:pt x="540" y="194"/>
                    </a:lnTo>
                    <a:lnTo>
                      <a:pt x="542" y="192"/>
                    </a:lnTo>
                    <a:lnTo>
                      <a:pt x="542" y="184"/>
                    </a:lnTo>
                    <a:lnTo>
                      <a:pt x="543" y="183"/>
                    </a:lnTo>
                    <a:lnTo>
                      <a:pt x="555" y="179"/>
                    </a:lnTo>
                    <a:lnTo>
                      <a:pt x="559" y="179"/>
                    </a:lnTo>
                    <a:lnTo>
                      <a:pt x="561" y="179"/>
                    </a:lnTo>
                    <a:lnTo>
                      <a:pt x="564" y="179"/>
                    </a:lnTo>
                    <a:lnTo>
                      <a:pt x="566" y="179"/>
                    </a:lnTo>
                    <a:lnTo>
                      <a:pt x="568" y="179"/>
                    </a:lnTo>
                    <a:lnTo>
                      <a:pt x="570" y="179"/>
                    </a:lnTo>
                    <a:lnTo>
                      <a:pt x="570" y="177"/>
                    </a:lnTo>
                    <a:lnTo>
                      <a:pt x="576" y="175"/>
                    </a:lnTo>
                    <a:lnTo>
                      <a:pt x="587" y="171"/>
                    </a:lnTo>
                    <a:lnTo>
                      <a:pt x="591" y="169"/>
                    </a:lnTo>
                    <a:lnTo>
                      <a:pt x="591" y="169"/>
                    </a:lnTo>
                    <a:lnTo>
                      <a:pt x="593" y="167"/>
                    </a:lnTo>
                    <a:lnTo>
                      <a:pt x="593" y="167"/>
                    </a:lnTo>
                    <a:lnTo>
                      <a:pt x="593" y="167"/>
                    </a:lnTo>
                    <a:lnTo>
                      <a:pt x="593" y="165"/>
                    </a:lnTo>
                    <a:lnTo>
                      <a:pt x="591" y="163"/>
                    </a:lnTo>
                    <a:lnTo>
                      <a:pt x="591" y="162"/>
                    </a:lnTo>
                    <a:lnTo>
                      <a:pt x="589" y="160"/>
                    </a:lnTo>
                    <a:lnTo>
                      <a:pt x="589" y="158"/>
                    </a:lnTo>
                    <a:lnTo>
                      <a:pt x="589" y="156"/>
                    </a:lnTo>
                    <a:lnTo>
                      <a:pt x="589" y="154"/>
                    </a:lnTo>
                    <a:lnTo>
                      <a:pt x="589" y="154"/>
                    </a:lnTo>
                    <a:lnTo>
                      <a:pt x="589" y="152"/>
                    </a:lnTo>
                    <a:lnTo>
                      <a:pt x="591" y="148"/>
                    </a:lnTo>
                    <a:lnTo>
                      <a:pt x="591" y="148"/>
                    </a:lnTo>
                    <a:lnTo>
                      <a:pt x="593" y="146"/>
                    </a:lnTo>
                    <a:lnTo>
                      <a:pt x="595" y="146"/>
                    </a:lnTo>
                    <a:lnTo>
                      <a:pt x="597" y="144"/>
                    </a:lnTo>
                    <a:lnTo>
                      <a:pt x="599" y="143"/>
                    </a:lnTo>
                    <a:lnTo>
                      <a:pt x="601" y="137"/>
                    </a:lnTo>
                    <a:lnTo>
                      <a:pt x="603" y="133"/>
                    </a:lnTo>
                    <a:lnTo>
                      <a:pt x="608" y="125"/>
                    </a:lnTo>
                    <a:lnTo>
                      <a:pt x="608" y="124"/>
                    </a:lnTo>
                    <a:lnTo>
                      <a:pt x="610" y="124"/>
                    </a:lnTo>
                    <a:lnTo>
                      <a:pt x="610" y="120"/>
                    </a:lnTo>
                    <a:lnTo>
                      <a:pt x="612" y="114"/>
                    </a:lnTo>
                    <a:lnTo>
                      <a:pt x="616" y="108"/>
                    </a:lnTo>
                    <a:lnTo>
                      <a:pt x="618" y="106"/>
                    </a:lnTo>
                    <a:lnTo>
                      <a:pt x="618" y="105"/>
                    </a:lnTo>
                    <a:lnTo>
                      <a:pt x="616" y="105"/>
                    </a:lnTo>
                    <a:lnTo>
                      <a:pt x="614" y="103"/>
                    </a:lnTo>
                    <a:lnTo>
                      <a:pt x="614" y="101"/>
                    </a:lnTo>
                    <a:lnTo>
                      <a:pt x="614" y="101"/>
                    </a:lnTo>
                    <a:lnTo>
                      <a:pt x="612" y="97"/>
                    </a:lnTo>
                    <a:lnTo>
                      <a:pt x="614" y="95"/>
                    </a:lnTo>
                    <a:lnTo>
                      <a:pt x="614" y="95"/>
                    </a:lnTo>
                    <a:lnTo>
                      <a:pt x="616" y="95"/>
                    </a:lnTo>
                    <a:lnTo>
                      <a:pt x="618" y="93"/>
                    </a:lnTo>
                    <a:lnTo>
                      <a:pt x="618" y="93"/>
                    </a:lnTo>
                    <a:lnTo>
                      <a:pt x="618" y="91"/>
                    </a:lnTo>
                    <a:lnTo>
                      <a:pt x="616" y="89"/>
                    </a:lnTo>
                    <a:lnTo>
                      <a:pt x="616" y="87"/>
                    </a:lnTo>
                    <a:lnTo>
                      <a:pt x="616" y="85"/>
                    </a:lnTo>
                    <a:lnTo>
                      <a:pt x="616" y="84"/>
                    </a:lnTo>
                    <a:lnTo>
                      <a:pt x="616" y="84"/>
                    </a:lnTo>
                    <a:lnTo>
                      <a:pt x="618" y="82"/>
                    </a:lnTo>
                    <a:lnTo>
                      <a:pt x="618" y="82"/>
                    </a:lnTo>
                    <a:lnTo>
                      <a:pt x="620" y="80"/>
                    </a:lnTo>
                    <a:lnTo>
                      <a:pt x="622" y="80"/>
                    </a:lnTo>
                    <a:lnTo>
                      <a:pt x="624" y="80"/>
                    </a:lnTo>
                    <a:lnTo>
                      <a:pt x="625" y="80"/>
                    </a:lnTo>
                    <a:lnTo>
                      <a:pt x="627" y="78"/>
                    </a:lnTo>
                    <a:lnTo>
                      <a:pt x="627" y="76"/>
                    </a:lnTo>
                    <a:lnTo>
                      <a:pt x="631" y="72"/>
                    </a:lnTo>
                    <a:lnTo>
                      <a:pt x="631" y="70"/>
                    </a:lnTo>
                    <a:lnTo>
                      <a:pt x="631" y="70"/>
                    </a:lnTo>
                    <a:lnTo>
                      <a:pt x="631" y="70"/>
                    </a:lnTo>
                    <a:lnTo>
                      <a:pt x="629" y="70"/>
                    </a:lnTo>
                    <a:lnTo>
                      <a:pt x="629" y="68"/>
                    </a:lnTo>
                    <a:lnTo>
                      <a:pt x="627" y="68"/>
                    </a:lnTo>
                    <a:lnTo>
                      <a:pt x="629" y="63"/>
                    </a:lnTo>
                    <a:lnTo>
                      <a:pt x="629" y="59"/>
                    </a:lnTo>
                    <a:lnTo>
                      <a:pt x="629" y="55"/>
                    </a:lnTo>
                    <a:lnTo>
                      <a:pt x="627" y="51"/>
                    </a:lnTo>
                    <a:lnTo>
                      <a:pt x="620" y="40"/>
                    </a:lnTo>
                    <a:lnTo>
                      <a:pt x="618" y="36"/>
                    </a:lnTo>
                    <a:lnTo>
                      <a:pt x="616" y="30"/>
                    </a:lnTo>
                    <a:lnTo>
                      <a:pt x="616" y="27"/>
                    </a:lnTo>
                    <a:lnTo>
                      <a:pt x="616" y="25"/>
                    </a:lnTo>
                    <a:lnTo>
                      <a:pt x="616" y="25"/>
                    </a:lnTo>
                    <a:lnTo>
                      <a:pt x="616" y="25"/>
                    </a:lnTo>
                    <a:lnTo>
                      <a:pt x="616" y="23"/>
                    </a:lnTo>
                    <a:lnTo>
                      <a:pt x="614" y="21"/>
                    </a:lnTo>
                    <a:lnTo>
                      <a:pt x="614" y="21"/>
                    </a:lnTo>
                    <a:lnTo>
                      <a:pt x="612" y="21"/>
                    </a:lnTo>
                    <a:lnTo>
                      <a:pt x="606" y="23"/>
                    </a:lnTo>
                    <a:lnTo>
                      <a:pt x="606" y="23"/>
                    </a:lnTo>
                    <a:lnTo>
                      <a:pt x="603" y="21"/>
                    </a:lnTo>
                    <a:lnTo>
                      <a:pt x="599" y="15"/>
                    </a:lnTo>
                    <a:lnTo>
                      <a:pt x="597" y="13"/>
                    </a:lnTo>
                    <a:lnTo>
                      <a:pt x="595" y="13"/>
                    </a:lnTo>
                    <a:lnTo>
                      <a:pt x="595" y="13"/>
                    </a:lnTo>
                    <a:lnTo>
                      <a:pt x="593" y="13"/>
                    </a:lnTo>
                    <a:lnTo>
                      <a:pt x="593" y="11"/>
                    </a:lnTo>
                    <a:lnTo>
                      <a:pt x="593" y="9"/>
                    </a:lnTo>
                    <a:lnTo>
                      <a:pt x="591" y="9"/>
                    </a:lnTo>
                    <a:lnTo>
                      <a:pt x="589" y="9"/>
                    </a:lnTo>
                    <a:lnTo>
                      <a:pt x="589" y="11"/>
                    </a:lnTo>
                    <a:lnTo>
                      <a:pt x="587" y="7"/>
                    </a:lnTo>
                    <a:lnTo>
                      <a:pt x="585" y="9"/>
                    </a:lnTo>
                    <a:lnTo>
                      <a:pt x="580" y="11"/>
                    </a:lnTo>
                    <a:lnTo>
                      <a:pt x="578" y="11"/>
                    </a:lnTo>
                    <a:lnTo>
                      <a:pt x="576" y="11"/>
                    </a:lnTo>
                    <a:lnTo>
                      <a:pt x="574" y="11"/>
                    </a:lnTo>
                    <a:lnTo>
                      <a:pt x="574" y="11"/>
                    </a:lnTo>
                    <a:lnTo>
                      <a:pt x="574" y="13"/>
                    </a:lnTo>
                    <a:lnTo>
                      <a:pt x="572" y="13"/>
                    </a:lnTo>
                    <a:lnTo>
                      <a:pt x="570" y="15"/>
                    </a:lnTo>
                    <a:lnTo>
                      <a:pt x="568" y="13"/>
                    </a:lnTo>
                    <a:lnTo>
                      <a:pt x="563" y="11"/>
                    </a:lnTo>
                    <a:lnTo>
                      <a:pt x="561" y="9"/>
                    </a:lnTo>
                    <a:lnTo>
                      <a:pt x="555" y="9"/>
                    </a:lnTo>
                    <a:lnTo>
                      <a:pt x="553" y="7"/>
                    </a:lnTo>
                    <a:lnTo>
                      <a:pt x="553" y="7"/>
                    </a:lnTo>
                    <a:lnTo>
                      <a:pt x="553" y="6"/>
                    </a:lnTo>
                    <a:lnTo>
                      <a:pt x="551" y="6"/>
                    </a:lnTo>
                    <a:lnTo>
                      <a:pt x="551" y="6"/>
                    </a:lnTo>
                    <a:lnTo>
                      <a:pt x="547" y="6"/>
                    </a:lnTo>
                    <a:lnTo>
                      <a:pt x="545" y="4"/>
                    </a:lnTo>
                    <a:lnTo>
                      <a:pt x="543" y="2"/>
                    </a:lnTo>
                    <a:lnTo>
                      <a:pt x="542" y="0"/>
                    </a:lnTo>
                    <a:lnTo>
                      <a:pt x="538" y="0"/>
                    </a:lnTo>
                    <a:lnTo>
                      <a:pt x="534" y="0"/>
                    </a:lnTo>
                    <a:lnTo>
                      <a:pt x="532" y="2"/>
                    </a:lnTo>
                    <a:lnTo>
                      <a:pt x="532" y="2"/>
                    </a:lnTo>
                    <a:lnTo>
                      <a:pt x="530" y="6"/>
                    </a:lnTo>
                    <a:lnTo>
                      <a:pt x="530" y="6"/>
                    </a:lnTo>
                    <a:lnTo>
                      <a:pt x="526" y="6"/>
                    </a:lnTo>
                    <a:lnTo>
                      <a:pt x="524" y="6"/>
                    </a:lnTo>
                    <a:lnTo>
                      <a:pt x="522" y="6"/>
                    </a:lnTo>
                    <a:lnTo>
                      <a:pt x="521" y="6"/>
                    </a:lnTo>
                    <a:lnTo>
                      <a:pt x="519" y="6"/>
                    </a:lnTo>
                    <a:lnTo>
                      <a:pt x="519" y="9"/>
                    </a:lnTo>
                    <a:lnTo>
                      <a:pt x="517" y="11"/>
                    </a:lnTo>
                    <a:lnTo>
                      <a:pt x="513" y="9"/>
                    </a:lnTo>
                    <a:lnTo>
                      <a:pt x="511" y="9"/>
                    </a:lnTo>
                    <a:lnTo>
                      <a:pt x="509" y="11"/>
                    </a:lnTo>
                    <a:lnTo>
                      <a:pt x="509" y="13"/>
                    </a:lnTo>
                    <a:lnTo>
                      <a:pt x="511" y="15"/>
                    </a:lnTo>
                    <a:lnTo>
                      <a:pt x="511" y="17"/>
                    </a:lnTo>
                    <a:lnTo>
                      <a:pt x="511" y="17"/>
                    </a:lnTo>
                    <a:lnTo>
                      <a:pt x="509" y="19"/>
                    </a:lnTo>
                    <a:lnTo>
                      <a:pt x="509" y="19"/>
                    </a:lnTo>
                    <a:lnTo>
                      <a:pt x="509" y="23"/>
                    </a:lnTo>
                    <a:lnTo>
                      <a:pt x="509" y="23"/>
                    </a:lnTo>
                    <a:lnTo>
                      <a:pt x="507" y="25"/>
                    </a:lnTo>
                    <a:lnTo>
                      <a:pt x="505" y="25"/>
                    </a:lnTo>
                    <a:lnTo>
                      <a:pt x="503" y="25"/>
                    </a:lnTo>
                    <a:lnTo>
                      <a:pt x="503" y="25"/>
                    </a:lnTo>
                    <a:lnTo>
                      <a:pt x="502" y="25"/>
                    </a:lnTo>
                    <a:lnTo>
                      <a:pt x="500" y="23"/>
                    </a:lnTo>
                    <a:lnTo>
                      <a:pt x="500" y="23"/>
                    </a:lnTo>
                    <a:lnTo>
                      <a:pt x="498" y="23"/>
                    </a:lnTo>
                    <a:lnTo>
                      <a:pt x="496" y="25"/>
                    </a:lnTo>
                    <a:lnTo>
                      <a:pt x="492" y="27"/>
                    </a:lnTo>
                    <a:lnTo>
                      <a:pt x="490" y="27"/>
                    </a:lnTo>
                    <a:lnTo>
                      <a:pt x="486" y="27"/>
                    </a:lnTo>
                    <a:lnTo>
                      <a:pt x="486" y="27"/>
                    </a:lnTo>
                    <a:lnTo>
                      <a:pt x="484" y="28"/>
                    </a:lnTo>
                    <a:lnTo>
                      <a:pt x="484" y="28"/>
                    </a:lnTo>
                    <a:lnTo>
                      <a:pt x="484" y="32"/>
                    </a:lnTo>
                    <a:lnTo>
                      <a:pt x="482" y="32"/>
                    </a:lnTo>
                    <a:lnTo>
                      <a:pt x="481" y="34"/>
                    </a:lnTo>
                    <a:lnTo>
                      <a:pt x="475" y="36"/>
                    </a:lnTo>
                    <a:lnTo>
                      <a:pt x="477" y="40"/>
                    </a:lnTo>
                    <a:lnTo>
                      <a:pt x="473" y="42"/>
                    </a:lnTo>
                    <a:lnTo>
                      <a:pt x="469" y="44"/>
                    </a:lnTo>
                    <a:lnTo>
                      <a:pt x="465" y="46"/>
                    </a:lnTo>
                    <a:lnTo>
                      <a:pt x="463" y="47"/>
                    </a:lnTo>
                    <a:lnTo>
                      <a:pt x="461" y="49"/>
                    </a:lnTo>
                    <a:lnTo>
                      <a:pt x="460" y="49"/>
                    </a:lnTo>
                    <a:lnTo>
                      <a:pt x="458" y="49"/>
                    </a:lnTo>
                    <a:lnTo>
                      <a:pt x="454" y="51"/>
                    </a:lnTo>
                    <a:lnTo>
                      <a:pt x="452" y="51"/>
                    </a:lnTo>
                    <a:lnTo>
                      <a:pt x="450" y="53"/>
                    </a:lnTo>
                    <a:lnTo>
                      <a:pt x="442" y="57"/>
                    </a:lnTo>
                    <a:lnTo>
                      <a:pt x="439" y="61"/>
                    </a:lnTo>
                    <a:lnTo>
                      <a:pt x="437" y="63"/>
                    </a:lnTo>
                    <a:lnTo>
                      <a:pt x="435" y="63"/>
                    </a:lnTo>
                    <a:lnTo>
                      <a:pt x="429" y="63"/>
                    </a:lnTo>
                    <a:lnTo>
                      <a:pt x="427" y="63"/>
                    </a:lnTo>
                    <a:lnTo>
                      <a:pt x="427" y="65"/>
                    </a:lnTo>
                    <a:lnTo>
                      <a:pt x="427" y="66"/>
                    </a:lnTo>
                    <a:lnTo>
                      <a:pt x="427" y="68"/>
                    </a:lnTo>
                    <a:lnTo>
                      <a:pt x="425" y="68"/>
                    </a:lnTo>
                    <a:lnTo>
                      <a:pt x="423" y="68"/>
                    </a:lnTo>
                    <a:lnTo>
                      <a:pt x="421" y="68"/>
                    </a:lnTo>
                    <a:lnTo>
                      <a:pt x="420" y="68"/>
                    </a:lnTo>
                    <a:lnTo>
                      <a:pt x="416" y="68"/>
                    </a:lnTo>
                    <a:lnTo>
                      <a:pt x="414" y="70"/>
                    </a:lnTo>
                    <a:lnTo>
                      <a:pt x="414" y="70"/>
                    </a:lnTo>
                    <a:lnTo>
                      <a:pt x="410" y="74"/>
                    </a:lnTo>
                    <a:lnTo>
                      <a:pt x="410" y="74"/>
                    </a:lnTo>
                    <a:lnTo>
                      <a:pt x="410" y="78"/>
                    </a:lnTo>
                    <a:lnTo>
                      <a:pt x="408" y="78"/>
                    </a:lnTo>
                    <a:lnTo>
                      <a:pt x="408" y="80"/>
                    </a:lnTo>
                    <a:lnTo>
                      <a:pt x="406" y="80"/>
                    </a:lnTo>
                    <a:lnTo>
                      <a:pt x="404" y="82"/>
                    </a:lnTo>
                    <a:lnTo>
                      <a:pt x="400" y="84"/>
                    </a:lnTo>
                    <a:lnTo>
                      <a:pt x="399" y="85"/>
                    </a:lnTo>
                    <a:lnTo>
                      <a:pt x="395" y="87"/>
                    </a:lnTo>
                    <a:lnTo>
                      <a:pt x="391" y="87"/>
                    </a:lnTo>
                    <a:lnTo>
                      <a:pt x="387" y="87"/>
                    </a:lnTo>
                    <a:lnTo>
                      <a:pt x="385" y="89"/>
                    </a:lnTo>
                    <a:lnTo>
                      <a:pt x="385" y="89"/>
                    </a:lnTo>
                    <a:lnTo>
                      <a:pt x="383" y="93"/>
                    </a:lnTo>
                    <a:lnTo>
                      <a:pt x="383" y="93"/>
                    </a:lnTo>
                    <a:lnTo>
                      <a:pt x="383" y="95"/>
                    </a:lnTo>
                    <a:lnTo>
                      <a:pt x="381" y="95"/>
                    </a:lnTo>
                    <a:lnTo>
                      <a:pt x="379" y="93"/>
                    </a:lnTo>
                    <a:lnTo>
                      <a:pt x="378" y="95"/>
                    </a:lnTo>
                    <a:lnTo>
                      <a:pt x="374" y="97"/>
                    </a:lnTo>
                    <a:lnTo>
                      <a:pt x="374" y="97"/>
                    </a:lnTo>
                    <a:lnTo>
                      <a:pt x="372" y="99"/>
                    </a:lnTo>
                    <a:lnTo>
                      <a:pt x="372" y="99"/>
                    </a:lnTo>
                    <a:lnTo>
                      <a:pt x="372" y="101"/>
                    </a:lnTo>
                    <a:lnTo>
                      <a:pt x="368" y="103"/>
                    </a:lnTo>
                    <a:lnTo>
                      <a:pt x="368" y="103"/>
                    </a:lnTo>
                    <a:lnTo>
                      <a:pt x="366" y="105"/>
                    </a:lnTo>
                    <a:lnTo>
                      <a:pt x="364" y="105"/>
                    </a:lnTo>
                    <a:lnTo>
                      <a:pt x="360" y="106"/>
                    </a:lnTo>
                    <a:lnTo>
                      <a:pt x="360" y="106"/>
                    </a:lnTo>
                    <a:lnTo>
                      <a:pt x="358" y="108"/>
                    </a:lnTo>
                    <a:lnTo>
                      <a:pt x="358" y="110"/>
                    </a:lnTo>
                    <a:lnTo>
                      <a:pt x="358" y="110"/>
                    </a:lnTo>
                    <a:lnTo>
                      <a:pt x="357" y="112"/>
                    </a:lnTo>
                    <a:lnTo>
                      <a:pt x="349" y="118"/>
                    </a:lnTo>
                    <a:lnTo>
                      <a:pt x="349" y="120"/>
                    </a:lnTo>
                    <a:lnTo>
                      <a:pt x="349" y="120"/>
                    </a:lnTo>
                    <a:lnTo>
                      <a:pt x="349" y="122"/>
                    </a:lnTo>
                    <a:lnTo>
                      <a:pt x="347" y="124"/>
                    </a:lnTo>
                    <a:lnTo>
                      <a:pt x="347" y="125"/>
                    </a:lnTo>
                    <a:lnTo>
                      <a:pt x="345" y="125"/>
                    </a:lnTo>
                    <a:lnTo>
                      <a:pt x="345" y="125"/>
                    </a:lnTo>
                    <a:lnTo>
                      <a:pt x="343" y="125"/>
                    </a:lnTo>
                    <a:lnTo>
                      <a:pt x="341" y="127"/>
                    </a:lnTo>
                    <a:lnTo>
                      <a:pt x="339" y="131"/>
                    </a:lnTo>
                    <a:lnTo>
                      <a:pt x="338" y="131"/>
                    </a:lnTo>
                    <a:lnTo>
                      <a:pt x="338" y="131"/>
                    </a:lnTo>
                    <a:lnTo>
                      <a:pt x="336" y="131"/>
                    </a:lnTo>
                    <a:lnTo>
                      <a:pt x="328" y="131"/>
                    </a:lnTo>
                    <a:lnTo>
                      <a:pt x="328" y="131"/>
                    </a:lnTo>
                    <a:lnTo>
                      <a:pt x="326" y="131"/>
                    </a:lnTo>
                    <a:lnTo>
                      <a:pt x="326" y="135"/>
                    </a:lnTo>
                    <a:lnTo>
                      <a:pt x="324" y="137"/>
                    </a:lnTo>
                    <a:lnTo>
                      <a:pt x="324" y="137"/>
                    </a:lnTo>
                    <a:lnTo>
                      <a:pt x="320" y="137"/>
                    </a:lnTo>
                    <a:lnTo>
                      <a:pt x="320" y="137"/>
                    </a:lnTo>
                    <a:lnTo>
                      <a:pt x="317" y="141"/>
                    </a:lnTo>
                    <a:lnTo>
                      <a:pt x="317" y="141"/>
                    </a:lnTo>
                    <a:lnTo>
                      <a:pt x="315" y="141"/>
                    </a:lnTo>
                    <a:lnTo>
                      <a:pt x="313" y="146"/>
                    </a:lnTo>
                    <a:lnTo>
                      <a:pt x="313" y="148"/>
                    </a:lnTo>
                    <a:lnTo>
                      <a:pt x="311" y="150"/>
                    </a:lnTo>
                    <a:lnTo>
                      <a:pt x="313" y="154"/>
                    </a:lnTo>
                    <a:lnTo>
                      <a:pt x="311" y="156"/>
                    </a:lnTo>
                    <a:lnTo>
                      <a:pt x="311" y="156"/>
                    </a:lnTo>
                    <a:lnTo>
                      <a:pt x="309" y="156"/>
                    </a:lnTo>
                    <a:lnTo>
                      <a:pt x="307" y="158"/>
                    </a:lnTo>
                    <a:lnTo>
                      <a:pt x="307" y="160"/>
                    </a:lnTo>
                    <a:lnTo>
                      <a:pt x="307" y="160"/>
                    </a:lnTo>
                    <a:lnTo>
                      <a:pt x="309" y="162"/>
                    </a:lnTo>
                    <a:lnTo>
                      <a:pt x="309" y="163"/>
                    </a:lnTo>
                    <a:lnTo>
                      <a:pt x="313" y="183"/>
                    </a:lnTo>
                    <a:lnTo>
                      <a:pt x="315" y="190"/>
                    </a:lnTo>
                    <a:lnTo>
                      <a:pt x="315" y="194"/>
                    </a:lnTo>
                    <a:lnTo>
                      <a:pt x="317" y="196"/>
                    </a:lnTo>
                    <a:lnTo>
                      <a:pt x="317" y="196"/>
                    </a:lnTo>
                    <a:lnTo>
                      <a:pt x="318" y="196"/>
                    </a:lnTo>
                    <a:lnTo>
                      <a:pt x="318" y="198"/>
                    </a:lnTo>
                    <a:lnTo>
                      <a:pt x="320" y="198"/>
                    </a:lnTo>
                    <a:lnTo>
                      <a:pt x="322" y="198"/>
                    </a:lnTo>
                    <a:lnTo>
                      <a:pt x="324" y="200"/>
                    </a:lnTo>
                    <a:lnTo>
                      <a:pt x="326" y="203"/>
                    </a:lnTo>
                    <a:lnTo>
                      <a:pt x="328" y="205"/>
                    </a:lnTo>
                    <a:lnTo>
                      <a:pt x="328" y="205"/>
                    </a:lnTo>
                    <a:lnTo>
                      <a:pt x="330" y="207"/>
                    </a:lnTo>
                    <a:lnTo>
                      <a:pt x="332" y="207"/>
                    </a:lnTo>
                    <a:lnTo>
                      <a:pt x="334" y="207"/>
                    </a:lnTo>
                    <a:lnTo>
                      <a:pt x="336" y="207"/>
                    </a:lnTo>
                    <a:lnTo>
                      <a:pt x="338" y="207"/>
                    </a:lnTo>
                    <a:lnTo>
                      <a:pt x="341" y="211"/>
                    </a:lnTo>
                    <a:lnTo>
                      <a:pt x="343" y="213"/>
                    </a:lnTo>
                    <a:lnTo>
                      <a:pt x="343" y="213"/>
                    </a:lnTo>
                    <a:lnTo>
                      <a:pt x="345" y="213"/>
                    </a:lnTo>
                    <a:lnTo>
                      <a:pt x="349" y="211"/>
                    </a:lnTo>
                    <a:lnTo>
                      <a:pt x="349" y="211"/>
                    </a:lnTo>
                    <a:lnTo>
                      <a:pt x="351" y="211"/>
                    </a:lnTo>
                    <a:lnTo>
                      <a:pt x="357" y="211"/>
                    </a:lnTo>
                    <a:lnTo>
                      <a:pt x="357" y="213"/>
                    </a:lnTo>
                    <a:lnTo>
                      <a:pt x="362" y="217"/>
                    </a:lnTo>
                    <a:lnTo>
                      <a:pt x="362" y="217"/>
                    </a:lnTo>
                    <a:lnTo>
                      <a:pt x="364" y="217"/>
                    </a:lnTo>
                    <a:lnTo>
                      <a:pt x="366" y="215"/>
                    </a:lnTo>
                    <a:lnTo>
                      <a:pt x="372" y="215"/>
                    </a:lnTo>
                    <a:lnTo>
                      <a:pt x="376" y="213"/>
                    </a:lnTo>
                    <a:lnTo>
                      <a:pt x="379" y="211"/>
                    </a:lnTo>
                    <a:lnTo>
                      <a:pt x="383" y="209"/>
                    </a:lnTo>
                    <a:lnTo>
                      <a:pt x="385" y="209"/>
                    </a:lnTo>
                    <a:lnTo>
                      <a:pt x="385" y="209"/>
                    </a:lnTo>
                    <a:lnTo>
                      <a:pt x="389" y="211"/>
                    </a:lnTo>
                    <a:lnTo>
                      <a:pt x="391" y="211"/>
                    </a:lnTo>
                    <a:lnTo>
                      <a:pt x="393" y="211"/>
                    </a:lnTo>
                    <a:lnTo>
                      <a:pt x="395" y="211"/>
                    </a:lnTo>
                    <a:lnTo>
                      <a:pt x="397" y="211"/>
                    </a:lnTo>
                    <a:lnTo>
                      <a:pt x="399" y="209"/>
                    </a:lnTo>
                    <a:lnTo>
                      <a:pt x="399" y="207"/>
                    </a:lnTo>
                    <a:lnTo>
                      <a:pt x="399" y="207"/>
                    </a:lnTo>
                    <a:lnTo>
                      <a:pt x="400" y="203"/>
                    </a:lnTo>
                    <a:lnTo>
                      <a:pt x="400" y="202"/>
                    </a:lnTo>
                    <a:lnTo>
                      <a:pt x="402" y="200"/>
                    </a:lnTo>
                    <a:lnTo>
                      <a:pt x="404" y="198"/>
                    </a:lnTo>
                    <a:lnTo>
                      <a:pt x="408" y="198"/>
                    </a:lnTo>
                    <a:lnTo>
                      <a:pt x="410" y="198"/>
                    </a:lnTo>
                    <a:lnTo>
                      <a:pt x="412" y="198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16" y="198"/>
                    </a:lnTo>
                    <a:lnTo>
                      <a:pt x="416" y="200"/>
                    </a:lnTo>
                    <a:lnTo>
                      <a:pt x="416" y="200"/>
                    </a:lnTo>
                    <a:lnTo>
                      <a:pt x="418" y="202"/>
                    </a:lnTo>
                    <a:lnTo>
                      <a:pt x="418" y="202"/>
                    </a:lnTo>
                    <a:lnTo>
                      <a:pt x="418" y="202"/>
                    </a:lnTo>
                    <a:lnTo>
                      <a:pt x="418" y="203"/>
                    </a:lnTo>
                    <a:lnTo>
                      <a:pt x="416" y="203"/>
                    </a:lnTo>
                    <a:lnTo>
                      <a:pt x="416" y="205"/>
                    </a:lnTo>
                    <a:lnTo>
                      <a:pt x="416" y="205"/>
                    </a:lnTo>
                    <a:lnTo>
                      <a:pt x="416" y="207"/>
                    </a:lnTo>
                    <a:lnTo>
                      <a:pt x="416" y="209"/>
                    </a:lnTo>
                    <a:lnTo>
                      <a:pt x="416" y="211"/>
                    </a:lnTo>
                    <a:lnTo>
                      <a:pt x="418" y="213"/>
                    </a:lnTo>
                    <a:lnTo>
                      <a:pt x="418" y="213"/>
                    </a:lnTo>
                    <a:lnTo>
                      <a:pt x="418" y="215"/>
                    </a:lnTo>
                    <a:lnTo>
                      <a:pt x="418" y="215"/>
                    </a:lnTo>
                    <a:lnTo>
                      <a:pt x="418" y="217"/>
                    </a:lnTo>
                    <a:lnTo>
                      <a:pt x="418" y="217"/>
                    </a:lnTo>
                    <a:lnTo>
                      <a:pt x="418" y="219"/>
                    </a:lnTo>
                    <a:lnTo>
                      <a:pt x="418" y="221"/>
                    </a:lnTo>
                    <a:lnTo>
                      <a:pt x="418" y="221"/>
                    </a:lnTo>
                    <a:lnTo>
                      <a:pt x="418" y="222"/>
                    </a:lnTo>
                    <a:lnTo>
                      <a:pt x="420" y="224"/>
                    </a:lnTo>
                    <a:lnTo>
                      <a:pt x="421" y="226"/>
                    </a:lnTo>
                    <a:lnTo>
                      <a:pt x="421" y="228"/>
                    </a:lnTo>
                    <a:lnTo>
                      <a:pt x="421" y="230"/>
                    </a:lnTo>
                    <a:lnTo>
                      <a:pt x="421" y="230"/>
                    </a:lnTo>
                    <a:lnTo>
                      <a:pt x="421" y="232"/>
                    </a:lnTo>
                    <a:lnTo>
                      <a:pt x="421" y="232"/>
                    </a:lnTo>
                    <a:lnTo>
                      <a:pt x="421" y="234"/>
                    </a:lnTo>
                    <a:lnTo>
                      <a:pt x="421" y="236"/>
                    </a:lnTo>
                    <a:lnTo>
                      <a:pt x="421" y="238"/>
                    </a:lnTo>
                    <a:lnTo>
                      <a:pt x="420" y="240"/>
                    </a:lnTo>
                    <a:lnTo>
                      <a:pt x="420" y="240"/>
                    </a:lnTo>
                    <a:lnTo>
                      <a:pt x="418" y="240"/>
                    </a:lnTo>
                    <a:lnTo>
                      <a:pt x="418" y="240"/>
                    </a:lnTo>
                    <a:lnTo>
                      <a:pt x="418" y="242"/>
                    </a:lnTo>
                    <a:lnTo>
                      <a:pt x="416" y="242"/>
                    </a:lnTo>
                    <a:lnTo>
                      <a:pt x="416" y="243"/>
                    </a:lnTo>
                    <a:lnTo>
                      <a:pt x="414" y="243"/>
                    </a:lnTo>
                    <a:lnTo>
                      <a:pt x="412" y="243"/>
                    </a:lnTo>
                    <a:lnTo>
                      <a:pt x="410" y="242"/>
                    </a:lnTo>
                    <a:lnTo>
                      <a:pt x="408" y="242"/>
                    </a:lnTo>
                    <a:lnTo>
                      <a:pt x="406" y="242"/>
                    </a:lnTo>
                    <a:lnTo>
                      <a:pt x="404" y="242"/>
                    </a:lnTo>
                    <a:lnTo>
                      <a:pt x="402" y="242"/>
                    </a:lnTo>
                    <a:lnTo>
                      <a:pt x="400" y="242"/>
                    </a:lnTo>
                    <a:lnTo>
                      <a:pt x="397" y="242"/>
                    </a:lnTo>
                    <a:lnTo>
                      <a:pt x="397" y="242"/>
                    </a:lnTo>
                    <a:lnTo>
                      <a:pt x="383" y="245"/>
                    </a:lnTo>
                    <a:lnTo>
                      <a:pt x="378" y="247"/>
                    </a:lnTo>
                    <a:lnTo>
                      <a:pt x="374" y="247"/>
                    </a:lnTo>
                    <a:lnTo>
                      <a:pt x="374" y="247"/>
                    </a:lnTo>
                    <a:lnTo>
                      <a:pt x="372" y="247"/>
                    </a:lnTo>
                    <a:lnTo>
                      <a:pt x="362" y="251"/>
                    </a:lnTo>
                    <a:lnTo>
                      <a:pt x="358" y="253"/>
                    </a:lnTo>
                    <a:lnTo>
                      <a:pt x="357" y="253"/>
                    </a:lnTo>
                    <a:lnTo>
                      <a:pt x="355" y="255"/>
                    </a:lnTo>
                    <a:lnTo>
                      <a:pt x="353" y="257"/>
                    </a:lnTo>
                    <a:lnTo>
                      <a:pt x="353" y="257"/>
                    </a:lnTo>
                    <a:lnTo>
                      <a:pt x="353" y="259"/>
                    </a:lnTo>
                    <a:lnTo>
                      <a:pt x="353" y="259"/>
                    </a:lnTo>
                    <a:lnTo>
                      <a:pt x="353" y="259"/>
                    </a:lnTo>
                    <a:lnTo>
                      <a:pt x="353" y="259"/>
                    </a:lnTo>
                    <a:lnTo>
                      <a:pt x="355" y="262"/>
                    </a:lnTo>
                    <a:lnTo>
                      <a:pt x="357" y="268"/>
                    </a:lnTo>
                    <a:lnTo>
                      <a:pt x="358" y="270"/>
                    </a:lnTo>
                    <a:lnTo>
                      <a:pt x="358" y="272"/>
                    </a:lnTo>
                    <a:lnTo>
                      <a:pt x="357" y="274"/>
                    </a:lnTo>
                    <a:lnTo>
                      <a:pt x="357" y="274"/>
                    </a:lnTo>
                    <a:lnTo>
                      <a:pt x="357" y="276"/>
                    </a:lnTo>
                    <a:lnTo>
                      <a:pt x="355" y="278"/>
                    </a:lnTo>
                    <a:lnTo>
                      <a:pt x="353" y="278"/>
                    </a:lnTo>
                    <a:lnTo>
                      <a:pt x="351" y="278"/>
                    </a:lnTo>
                    <a:lnTo>
                      <a:pt x="347" y="278"/>
                    </a:lnTo>
                    <a:lnTo>
                      <a:pt x="347" y="280"/>
                    </a:lnTo>
                    <a:lnTo>
                      <a:pt x="347" y="280"/>
                    </a:lnTo>
                    <a:lnTo>
                      <a:pt x="345" y="280"/>
                    </a:lnTo>
                    <a:lnTo>
                      <a:pt x="345" y="281"/>
                    </a:lnTo>
                    <a:lnTo>
                      <a:pt x="345" y="283"/>
                    </a:lnTo>
                    <a:lnTo>
                      <a:pt x="347" y="283"/>
                    </a:lnTo>
                    <a:lnTo>
                      <a:pt x="353" y="291"/>
                    </a:lnTo>
                    <a:lnTo>
                      <a:pt x="357" y="295"/>
                    </a:lnTo>
                    <a:lnTo>
                      <a:pt x="362" y="295"/>
                    </a:lnTo>
                    <a:lnTo>
                      <a:pt x="364" y="295"/>
                    </a:lnTo>
                    <a:lnTo>
                      <a:pt x="364" y="295"/>
                    </a:lnTo>
                    <a:lnTo>
                      <a:pt x="366" y="295"/>
                    </a:lnTo>
                    <a:lnTo>
                      <a:pt x="366" y="295"/>
                    </a:lnTo>
                    <a:lnTo>
                      <a:pt x="368" y="295"/>
                    </a:lnTo>
                    <a:lnTo>
                      <a:pt x="374" y="300"/>
                    </a:lnTo>
                    <a:lnTo>
                      <a:pt x="376" y="302"/>
                    </a:lnTo>
                    <a:lnTo>
                      <a:pt x="378" y="304"/>
                    </a:lnTo>
                    <a:lnTo>
                      <a:pt x="378" y="306"/>
                    </a:lnTo>
                    <a:lnTo>
                      <a:pt x="379" y="314"/>
                    </a:lnTo>
                    <a:lnTo>
                      <a:pt x="379" y="318"/>
                    </a:lnTo>
                    <a:lnTo>
                      <a:pt x="379" y="320"/>
                    </a:lnTo>
                    <a:lnTo>
                      <a:pt x="379" y="320"/>
                    </a:lnTo>
                    <a:lnTo>
                      <a:pt x="378" y="321"/>
                    </a:lnTo>
                    <a:lnTo>
                      <a:pt x="378" y="321"/>
                    </a:lnTo>
                    <a:lnTo>
                      <a:pt x="364" y="327"/>
                    </a:lnTo>
                    <a:lnTo>
                      <a:pt x="364" y="327"/>
                    </a:lnTo>
                    <a:lnTo>
                      <a:pt x="362" y="327"/>
                    </a:lnTo>
                    <a:lnTo>
                      <a:pt x="360" y="327"/>
                    </a:lnTo>
                    <a:lnTo>
                      <a:pt x="360" y="327"/>
                    </a:lnTo>
                    <a:lnTo>
                      <a:pt x="360" y="327"/>
                    </a:lnTo>
                    <a:lnTo>
                      <a:pt x="360" y="327"/>
                    </a:lnTo>
                    <a:lnTo>
                      <a:pt x="360" y="327"/>
                    </a:lnTo>
                    <a:lnTo>
                      <a:pt x="360" y="325"/>
                    </a:lnTo>
                    <a:lnTo>
                      <a:pt x="360" y="323"/>
                    </a:lnTo>
                    <a:lnTo>
                      <a:pt x="358" y="323"/>
                    </a:lnTo>
                    <a:lnTo>
                      <a:pt x="358" y="321"/>
                    </a:lnTo>
                    <a:lnTo>
                      <a:pt x="358" y="320"/>
                    </a:lnTo>
                    <a:lnTo>
                      <a:pt x="357" y="320"/>
                    </a:lnTo>
                    <a:lnTo>
                      <a:pt x="357" y="318"/>
                    </a:lnTo>
                    <a:lnTo>
                      <a:pt x="357" y="318"/>
                    </a:lnTo>
                    <a:lnTo>
                      <a:pt x="355" y="318"/>
                    </a:lnTo>
                    <a:lnTo>
                      <a:pt x="353" y="318"/>
                    </a:lnTo>
                    <a:lnTo>
                      <a:pt x="353" y="318"/>
                    </a:lnTo>
                    <a:lnTo>
                      <a:pt x="351" y="318"/>
                    </a:lnTo>
                    <a:lnTo>
                      <a:pt x="351" y="318"/>
                    </a:lnTo>
                    <a:lnTo>
                      <a:pt x="351" y="318"/>
                    </a:lnTo>
                    <a:lnTo>
                      <a:pt x="349" y="318"/>
                    </a:lnTo>
                    <a:lnTo>
                      <a:pt x="349" y="318"/>
                    </a:lnTo>
                    <a:lnTo>
                      <a:pt x="347" y="320"/>
                    </a:lnTo>
                    <a:lnTo>
                      <a:pt x="349" y="325"/>
                    </a:lnTo>
                    <a:lnTo>
                      <a:pt x="349" y="325"/>
                    </a:lnTo>
                    <a:lnTo>
                      <a:pt x="349" y="327"/>
                    </a:lnTo>
                    <a:lnTo>
                      <a:pt x="349" y="327"/>
                    </a:lnTo>
                    <a:lnTo>
                      <a:pt x="349" y="331"/>
                    </a:lnTo>
                    <a:lnTo>
                      <a:pt x="347" y="331"/>
                    </a:lnTo>
                    <a:lnTo>
                      <a:pt x="347" y="333"/>
                    </a:lnTo>
                    <a:lnTo>
                      <a:pt x="349" y="335"/>
                    </a:lnTo>
                    <a:lnTo>
                      <a:pt x="349" y="339"/>
                    </a:lnTo>
                    <a:lnTo>
                      <a:pt x="349" y="346"/>
                    </a:lnTo>
                    <a:lnTo>
                      <a:pt x="349" y="350"/>
                    </a:lnTo>
                    <a:lnTo>
                      <a:pt x="351" y="352"/>
                    </a:lnTo>
                    <a:lnTo>
                      <a:pt x="357" y="359"/>
                    </a:lnTo>
                    <a:lnTo>
                      <a:pt x="358" y="363"/>
                    </a:lnTo>
                    <a:lnTo>
                      <a:pt x="358" y="365"/>
                    </a:lnTo>
                    <a:lnTo>
                      <a:pt x="358" y="365"/>
                    </a:lnTo>
                    <a:lnTo>
                      <a:pt x="358" y="367"/>
                    </a:lnTo>
                    <a:lnTo>
                      <a:pt x="357" y="369"/>
                    </a:lnTo>
                    <a:lnTo>
                      <a:pt x="357" y="371"/>
                    </a:lnTo>
                    <a:lnTo>
                      <a:pt x="357" y="371"/>
                    </a:lnTo>
                    <a:lnTo>
                      <a:pt x="355" y="373"/>
                    </a:lnTo>
                    <a:lnTo>
                      <a:pt x="355" y="373"/>
                    </a:lnTo>
                    <a:lnTo>
                      <a:pt x="353" y="373"/>
                    </a:lnTo>
                    <a:lnTo>
                      <a:pt x="351" y="373"/>
                    </a:lnTo>
                    <a:lnTo>
                      <a:pt x="351" y="373"/>
                    </a:lnTo>
                    <a:lnTo>
                      <a:pt x="349" y="373"/>
                    </a:lnTo>
                    <a:lnTo>
                      <a:pt x="347" y="375"/>
                    </a:lnTo>
                    <a:lnTo>
                      <a:pt x="343" y="375"/>
                    </a:lnTo>
                    <a:lnTo>
                      <a:pt x="339" y="373"/>
                    </a:lnTo>
                    <a:lnTo>
                      <a:pt x="338" y="371"/>
                    </a:lnTo>
                    <a:lnTo>
                      <a:pt x="330" y="365"/>
                    </a:lnTo>
                    <a:lnTo>
                      <a:pt x="330" y="363"/>
                    </a:lnTo>
                    <a:lnTo>
                      <a:pt x="328" y="363"/>
                    </a:lnTo>
                    <a:lnTo>
                      <a:pt x="330" y="361"/>
                    </a:lnTo>
                    <a:lnTo>
                      <a:pt x="330" y="361"/>
                    </a:lnTo>
                    <a:lnTo>
                      <a:pt x="330" y="359"/>
                    </a:lnTo>
                    <a:lnTo>
                      <a:pt x="332" y="358"/>
                    </a:lnTo>
                    <a:lnTo>
                      <a:pt x="332" y="356"/>
                    </a:lnTo>
                    <a:lnTo>
                      <a:pt x="332" y="354"/>
                    </a:lnTo>
                    <a:lnTo>
                      <a:pt x="330" y="354"/>
                    </a:lnTo>
                    <a:lnTo>
                      <a:pt x="328" y="354"/>
                    </a:lnTo>
                    <a:lnTo>
                      <a:pt x="324" y="356"/>
                    </a:lnTo>
                    <a:lnTo>
                      <a:pt x="320" y="356"/>
                    </a:lnTo>
                    <a:lnTo>
                      <a:pt x="320" y="358"/>
                    </a:lnTo>
                    <a:lnTo>
                      <a:pt x="318" y="359"/>
                    </a:lnTo>
                    <a:lnTo>
                      <a:pt x="318" y="359"/>
                    </a:lnTo>
                    <a:lnTo>
                      <a:pt x="317" y="365"/>
                    </a:lnTo>
                    <a:lnTo>
                      <a:pt x="317" y="365"/>
                    </a:lnTo>
                    <a:lnTo>
                      <a:pt x="315" y="367"/>
                    </a:lnTo>
                    <a:lnTo>
                      <a:pt x="313" y="367"/>
                    </a:lnTo>
                    <a:lnTo>
                      <a:pt x="311" y="367"/>
                    </a:lnTo>
                    <a:lnTo>
                      <a:pt x="309" y="367"/>
                    </a:lnTo>
                    <a:lnTo>
                      <a:pt x="309" y="367"/>
                    </a:lnTo>
                    <a:lnTo>
                      <a:pt x="309" y="365"/>
                    </a:lnTo>
                    <a:lnTo>
                      <a:pt x="307" y="363"/>
                    </a:lnTo>
                    <a:lnTo>
                      <a:pt x="307" y="361"/>
                    </a:lnTo>
                    <a:lnTo>
                      <a:pt x="305" y="359"/>
                    </a:lnTo>
                    <a:lnTo>
                      <a:pt x="303" y="359"/>
                    </a:lnTo>
                    <a:lnTo>
                      <a:pt x="297" y="361"/>
                    </a:lnTo>
                    <a:lnTo>
                      <a:pt x="296" y="361"/>
                    </a:lnTo>
                    <a:lnTo>
                      <a:pt x="292" y="359"/>
                    </a:lnTo>
                    <a:lnTo>
                      <a:pt x="286" y="358"/>
                    </a:lnTo>
                    <a:lnTo>
                      <a:pt x="282" y="358"/>
                    </a:lnTo>
                    <a:lnTo>
                      <a:pt x="278" y="358"/>
                    </a:lnTo>
                    <a:lnTo>
                      <a:pt x="276" y="358"/>
                    </a:lnTo>
                    <a:lnTo>
                      <a:pt x="275" y="358"/>
                    </a:lnTo>
                    <a:lnTo>
                      <a:pt x="273" y="356"/>
                    </a:lnTo>
                    <a:lnTo>
                      <a:pt x="271" y="356"/>
                    </a:lnTo>
                    <a:lnTo>
                      <a:pt x="271" y="354"/>
                    </a:lnTo>
                    <a:lnTo>
                      <a:pt x="271" y="352"/>
                    </a:lnTo>
                    <a:lnTo>
                      <a:pt x="271" y="352"/>
                    </a:lnTo>
                    <a:lnTo>
                      <a:pt x="271" y="350"/>
                    </a:lnTo>
                    <a:lnTo>
                      <a:pt x="271" y="348"/>
                    </a:lnTo>
                    <a:lnTo>
                      <a:pt x="271" y="348"/>
                    </a:lnTo>
                    <a:lnTo>
                      <a:pt x="269" y="348"/>
                    </a:lnTo>
                    <a:lnTo>
                      <a:pt x="269" y="348"/>
                    </a:lnTo>
                    <a:lnTo>
                      <a:pt x="267" y="350"/>
                    </a:lnTo>
                    <a:lnTo>
                      <a:pt x="265" y="350"/>
                    </a:lnTo>
                    <a:lnTo>
                      <a:pt x="263" y="352"/>
                    </a:lnTo>
                    <a:lnTo>
                      <a:pt x="263" y="352"/>
                    </a:lnTo>
                    <a:lnTo>
                      <a:pt x="263" y="354"/>
                    </a:lnTo>
                    <a:lnTo>
                      <a:pt x="263" y="358"/>
                    </a:lnTo>
                    <a:lnTo>
                      <a:pt x="261" y="359"/>
                    </a:lnTo>
                    <a:lnTo>
                      <a:pt x="261" y="361"/>
                    </a:lnTo>
                    <a:lnTo>
                      <a:pt x="261" y="365"/>
                    </a:lnTo>
                    <a:lnTo>
                      <a:pt x="261" y="369"/>
                    </a:lnTo>
                    <a:lnTo>
                      <a:pt x="261" y="371"/>
                    </a:lnTo>
                    <a:lnTo>
                      <a:pt x="261" y="375"/>
                    </a:lnTo>
                    <a:lnTo>
                      <a:pt x="261" y="375"/>
                    </a:lnTo>
                    <a:lnTo>
                      <a:pt x="261" y="378"/>
                    </a:lnTo>
                    <a:lnTo>
                      <a:pt x="257" y="382"/>
                    </a:lnTo>
                    <a:lnTo>
                      <a:pt x="246" y="390"/>
                    </a:lnTo>
                    <a:lnTo>
                      <a:pt x="244" y="392"/>
                    </a:lnTo>
                    <a:lnTo>
                      <a:pt x="244" y="392"/>
                    </a:lnTo>
                    <a:lnTo>
                      <a:pt x="246" y="394"/>
                    </a:lnTo>
                    <a:lnTo>
                      <a:pt x="246" y="396"/>
                    </a:lnTo>
                    <a:lnTo>
                      <a:pt x="248" y="396"/>
                    </a:lnTo>
                    <a:lnTo>
                      <a:pt x="248" y="396"/>
                    </a:lnTo>
                    <a:lnTo>
                      <a:pt x="248" y="398"/>
                    </a:lnTo>
                    <a:lnTo>
                      <a:pt x="246" y="398"/>
                    </a:lnTo>
                    <a:lnTo>
                      <a:pt x="246" y="399"/>
                    </a:lnTo>
                    <a:lnTo>
                      <a:pt x="246" y="401"/>
                    </a:lnTo>
                    <a:lnTo>
                      <a:pt x="244" y="401"/>
                    </a:lnTo>
                    <a:lnTo>
                      <a:pt x="235" y="407"/>
                    </a:lnTo>
                    <a:lnTo>
                      <a:pt x="227" y="409"/>
                    </a:lnTo>
                    <a:lnTo>
                      <a:pt x="223" y="411"/>
                    </a:lnTo>
                    <a:lnTo>
                      <a:pt x="221" y="413"/>
                    </a:lnTo>
                    <a:lnTo>
                      <a:pt x="219" y="413"/>
                    </a:lnTo>
                    <a:lnTo>
                      <a:pt x="217" y="411"/>
                    </a:lnTo>
                    <a:lnTo>
                      <a:pt x="215" y="409"/>
                    </a:lnTo>
                    <a:lnTo>
                      <a:pt x="215" y="409"/>
                    </a:lnTo>
                    <a:lnTo>
                      <a:pt x="214" y="407"/>
                    </a:lnTo>
                    <a:lnTo>
                      <a:pt x="214" y="407"/>
                    </a:lnTo>
                    <a:lnTo>
                      <a:pt x="212" y="409"/>
                    </a:lnTo>
                    <a:lnTo>
                      <a:pt x="212" y="409"/>
                    </a:lnTo>
                    <a:lnTo>
                      <a:pt x="212" y="411"/>
                    </a:lnTo>
                    <a:lnTo>
                      <a:pt x="214" y="413"/>
                    </a:lnTo>
                    <a:lnTo>
                      <a:pt x="214" y="415"/>
                    </a:lnTo>
                    <a:lnTo>
                      <a:pt x="212" y="415"/>
                    </a:lnTo>
                    <a:lnTo>
                      <a:pt x="212" y="418"/>
                    </a:lnTo>
                    <a:lnTo>
                      <a:pt x="210" y="420"/>
                    </a:lnTo>
                    <a:lnTo>
                      <a:pt x="210" y="422"/>
                    </a:lnTo>
                    <a:lnTo>
                      <a:pt x="210" y="422"/>
                    </a:lnTo>
                    <a:lnTo>
                      <a:pt x="210" y="424"/>
                    </a:lnTo>
                    <a:lnTo>
                      <a:pt x="208" y="424"/>
                    </a:lnTo>
                    <a:lnTo>
                      <a:pt x="208" y="424"/>
                    </a:lnTo>
                    <a:lnTo>
                      <a:pt x="204" y="422"/>
                    </a:lnTo>
                    <a:lnTo>
                      <a:pt x="204" y="422"/>
                    </a:lnTo>
                    <a:lnTo>
                      <a:pt x="202" y="422"/>
                    </a:lnTo>
                    <a:lnTo>
                      <a:pt x="196" y="420"/>
                    </a:lnTo>
                    <a:lnTo>
                      <a:pt x="196" y="418"/>
                    </a:lnTo>
                    <a:lnTo>
                      <a:pt x="194" y="417"/>
                    </a:lnTo>
                    <a:lnTo>
                      <a:pt x="194" y="415"/>
                    </a:lnTo>
                    <a:lnTo>
                      <a:pt x="194" y="413"/>
                    </a:lnTo>
                    <a:lnTo>
                      <a:pt x="187" y="409"/>
                    </a:lnTo>
                    <a:lnTo>
                      <a:pt x="185" y="407"/>
                    </a:lnTo>
                    <a:lnTo>
                      <a:pt x="185" y="407"/>
                    </a:lnTo>
                    <a:lnTo>
                      <a:pt x="183" y="405"/>
                    </a:lnTo>
                    <a:lnTo>
                      <a:pt x="183" y="399"/>
                    </a:lnTo>
                    <a:lnTo>
                      <a:pt x="183" y="398"/>
                    </a:lnTo>
                    <a:lnTo>
                      <a:pt x="185" y="394"/>
                    </a:lnTo>
                    <a:lnTo>
                      <a:pt x="185" y="392"/>
                    </a:lnTo>
                    <a:lnTo>
                      <a:pt x="187" y="390"/>
                    </a:lnTo>
                    <a:lnTo>
                      <a:pt x="189" y="390"/>
                    </a:lnTo>
                    <a:lnTo>
                      <a:pt x="189" y="390"/>
                    </a:lnTo>
                    <a:lnTo>
                      <a:pt x="191" y="392"/>
                    </a:lnTo>
                    <a:lnTo>
                      <a:pt x="193" y="394"/>
                    </a:lnTo>
                    <a:lnTo>
                      <a:pt x="193" y="394"/>
                    </a:lnTo>
                    <a:lnTo>
                      <a:pt x="194" y="394"/>
                    </a:lnTo>
                    <a:lnTo>
                      <a:pt x="196" y="396"/>
                    </a:lnTo>
                    <a:lnTo>
                      <a:pt x="198" y="396"/>
                    </a:lnTo>
                    <a:lnTo>
                      <a:pt x="200" y="398"/>
                    </a:lnTo>
                    <a:lnTo>
                      <a:pt x="200" y="398"/>
                    </a:lnTo>
                    <a:lnTo>
                      <a:pt x="202" y="396"/>
                    </a:lnTo>
                    <a:lnTo>
                      <a:pt x="206" y="394"/>
                    </a:lnTo>
                    <a:lnTo>
                      <a:pt x="208" y="394"/>
                    </a:lnTo>
                    <a:lnTo>
                      <a:pt x="208" y="394"/>
                    </a:lnTo>
                    <a:lnTo>
                      <a:pt x="212" y="396"/>
                    </a:lnTo>
                    <a:lnTo>
                      <a:pt x="212" y="396"/>
                    </a:lnTo>
                    <a:lnTo>
                      <a:pt x="212" y="396"/>
                    </a:lnTo>
                    <a:lnTo>
                      <a:pt x="214" y="396"/>
                    </a:lnTo>
                    <a:lnTo>
                      <a:pt x="214" y="396"/>
                    </a:lnTo>
                    <a:lnTo>
                      <a:pt x="215" y="394"/>
                    </a:lnTo>
                    <a:lnTo>
                      <a:pt x="215" y="392"/>
                    </a:lnTo>
                    <a:lnTo>
                      <a:pt x="217" y="388"/>
                    </a:lnTo>
                    <a:lnTo>
                      <a:pt x="221" y="384"/>
                    </a:lnTo>
                    <a:lnTo>
                      <a:pt x="223" y="382"/>
                    </a:lnTo>
                    <a:lnTo>
                      <a:pt x="223" y="380"/>
                    </a:lnTo>
                    <a:lnTo>
                      <a:pt x="223" y="380"/>
                    </a:lnTo>
                    <a:lnTo>
                      <a:pt x="217" y="377"/>
                    </a:lnTo>
                    <a:lnTo>
                      <a:pt x="215" y="375"/>
                    </a:lnTo>
                    <a:lnTo>
                      <a:pt x="215" y="373"/>
                    </a:lnTo>
                    <a:lnTo>
                      <a:pt x="215" y="371"/>
                    </a:lnTo>
                    <a:lnTo>
                      <a:pt x="217" y="367"/>
                    </a:lnTo>
                    <a:lnTo>
                      <a:pt x="221" y="361"/>
                    </a:lnTo>
                    <a:lnTo>
                      <a:pt x="221" y="359"/>
                    </a:lnTo>
                    <a:lnTo>
                      <a:pt x="223" y="356"/>
                    </a:lnTo>
                    <a:lnTo>
                      <a:pt x="221" y="354"/>
                    </a:lnTo>
                    <a:lnTo>
                      <a:pt x="221" y="354"/>
                    </a:lnTo>
                    <a:lnTo>
                      <a:pt x="221" y="352"/>
                    </a:lnTo>
                    <a:lnTo>
                      <a:pt x="219" y="352"/>
                    </a:lnTo>
                    <a:lnTo>
                      <a:pt x="217" y="352"/>
                    </a:lnTo>
                    <a:lnTo>
                      <a:pt x="217" y="350"/>
                    </a:lnTo>
                    <a:lnTo>
                      <a:pt x="215" y="350"/>
                    </a:lnTo>
                    <a:lnTo>
                      <a:pt x="215" y="348"/>
                    </a:lnTo>
                    <a:lnTo>
                      <a:pt x="214" y="340"/>
                    </a:lnTo>
                    <a:lnTo>
                      <a:pt x="214" y="340"/>
                    </a:lnTo>
                    <a:lnTo>
                      <a:pt x="214" y="339"/>
                    </a:lnTo>
                    <a:lnTo>
                      <a:pt x="214" y="337"/>
                    </a:lnTo>
                    <a:lnTo>
                      <a:pt x="215" y="331"/>
                    </a:lnTo>
                    <a:lnTo>
                      <a:pt x="215" y="329"/>
                    </a:lnTo>
                    <a:lnTo>
                      <a:pt x="217" y="329"/>
                    </a:lnTo>
                    <a:lnTo>
                      <a:pt x="219" y="327"/>
                    </a:lnTo>
                    <a:lnTo>
                      <a:pt x="221" y="329"/>
                    </a:lnTo>
                    <a:lnTo>
                      <a:pt x="225" y="331"/>
                    </a:lnTo>
                    <a:lnTo>
                      <a:pt x="227" y="331"/>
                    </a:lnTo>
                    <a:lnTo>
                      <a:pt x="229" y="331"/>
                    </a:lnTo>
                    <a:lnTo>
                      <a:pt x="229" y="331"/>
                    </a:lnTo>
                    <a:lnTo>
                      <a:pt x="231" y="329"/>
                    </a:lnTo>
                    <a:lnTo>
                      <a:pt x="231" y="327"/>
                    </a:lnTo>
                    <a:lnTo>
                      <a:pt x="231" y="327"/>
                    </a:lnTo>
                    <a:lnTo>
                      <a:pt x="231" y="325"/>
                    </a:lnTo>
                    <a:lnTo>
                      <a:pt x="231" y="314"/>
                    </a:lnTo>
                    <a:lnTo>
                      <a:pt x="227" y="310"/>
                    </a:lnTo>
                    <a:lnTo>
                      <a:pt x="225" y="306"/>
                    </a:lnTo>
                    <a:lnTo>
                      <a:pt x="223" y="304"/>
                    </a:lnTo>
                    <a:lnTo>
                      <a:pt x="223" y="304"/>
                    </a:lnTo>
                    <a:lnTo>
                      <a:pt x="223" y="302"/>
                    </a:lnTo>
                    <a:lnTo>
                      <a:pt x="225" y="300"/>
                    </a:lnTo>
                    <a:lnTo>
                      <a:pt x="223" y="297"/>
                    </a:lnTo>
                    <a:lnTo>
                      <a:pt x="219" y="291"/>
                    </a:lnTo>
                    <a:lnTo>
                      <a:pt x="217" y="291"/>
                    </a:lnTo>
                    <a:lnTo>
                      <a:pt x="217" y="289"/>
                    </a:lnTo>
                    <a:lnTo>
                      <a:pt x="215" y="289"/>
                    </a:lnTo>
                    <a:lnTo>
                      <a:pt x="214" y="289"/>
                    </a:lnTo>
                    <a:lnTo>
                      <a:pt x="212" y="289"/>
                    </a:lnTo>
                    <a:lnTo>
                      <a:pt x="202" y="295"/>
                    </a:lnTo>
                    <a:lnTo>
                      <a:pt x="196" y="297"/>
                    </a:lnTo>
                    <a:lnTo>
                      <a:pt x="191" y="297"/>
                    </a:lnTo>
                    <a:lnTo>
                      <a:pt x="177" y="300"/>
                    </a:lnTo>
                    <a:lnTo>
                      <a:pt x="174" y="300"/>
                    </a:lnTo>
                    <a:lnTo>
                      <a:pt x="170" y="299"/>
                    </a:lnTo>
                    <a:lnTo>
                      <a:pt x="164" y="297"/>
                    </a:lnTo>
                    <a:lnTo>
                      <a:pt x="160" y="297"/>
                    </a:lnTo>
                    <a:lnTo>
                      <a:pt x="156" y="297"/>
                    </a:lnTo>
                    <a:lnTo>
                      <a:pt x="153" y="297"/>
                    </a:lnTo>
                    <a:lnTo>
                      <a:pt x="149" y="297"/>
                    </a:lnTo>
                    <a:lnTo>
                      <a:pt x="147" y="297"/>
                    </a:lnTo>
                    <a:lnTo>
                      <a:pt x="145" y="295"/>
                    </a:lnTo>
                    <a:lnTo>
                      <a:pt x="145" y="295"/>
                    </a:lnTo>
                    <a:lnTo>
                      <a:pt x="143" y="293"/>
                    </a:lnTo>
                    <a:lnTo>
                      <a:pt x="143" y="291"/>
                    </a:lnTo>
                    <a:lnTo>
                      <a:pt x="143" y="289"/>
                    </a:lnTo>
                    <a:lnTo>
                      <a:pt x="145" y="289"/>
                    </a:lnTo>
                    <a:lnTo>
                      <a:pt x="147" y="285"/>
                    </a:lnTo>
                    <a:lnTo>
                      <a:pt x="147" y="285"/>
                    </a:lnTo>
                    <a:lnTo>
                      <a:pt x="149" y="283"/>
                    </a:lnTo>
                    <a:lnTo>
                      <a:pt x="147" y="281"/>
                    </a:lnTo>
                    <a:lnTo>
                      <a:pt x="147" y="280"/>
                    </a:lnTo>
                    <a:lnTo>
                      <a:pt x="145" y="278"/>
                    </a:lnTo>
                    <a:lnTo>
                      <a:pt x="145" y="276"/>
                    </a:lnTo>
                    <a:lnTo>
                      <a:pt x="145" y="274"/>
                    </a:lnTo>
                    <a:lnTo>
                      <a:pt x="145" y="274"/>
                    </a:lnTo>
                    <a:lnTo>
                      <a:pt x="145" y="274"/>
                    </a:lnTo>
                    <a:lnTo>
                      <a:pt x="147" y="274"/>
                    </a:lnTo>
                    <a:lnTo>
                      <a:pt x="149" y="274"/>
                    </a:lnTo>
                    <a:lnTo>
                      <a:pt x="151" y="278"/>
                    </a:lnTo>
                    <a:lnTo>
                      <a:pt x="153" y="280"/>
                    </a:lnTo>
                    <a:lnTo>
                      <a:pt x="154" y="280"/>
                    </a:lnTo>
                    <a:lnTo>
                      <a:pt x="156" y="281"/>
                    </a:lnTo>
                    <a:lnTo>
                      <a:pt x="158" y="281"/>
                    </a:lnTo>
                    <a:lnTo>
                      <a:pt x="162" y="281"/>
                    </a:lnTo>
                    <a:lnTo>
                      <a:pt x="164" y="280"/>
                    </a:lnTo>
                    <a:lnTo>
                      <a:pt x="166" y="280"/>
                    </a:lnTo>
                    <a:lnTo>
                      <a:pt x="168" y="280"/>
                    </a:lnTo>
                    <a:lnTo>
                      <a:pt x="170" y="278"/>
                    </a:lnTo>
                    <a:lnTo>
                      <a:pt x="172" y="276"/>
                    </a:lnTo>
                    <a:lnTo>
                      <a:pt x="172" y="276"/>
                    </a:lnTo>
                    <a:lnTo>
                      <a:pt x="172" y="274"/>
                    </a:lnTo>
                    <a:lnTo>
                      <a:pt x="172" y="274"/>
                    </a:lnTo>
                    <a:lnTo>
                      <a:pt x="172" y="272"/>
                    </a:lnTo>
                    <a:lnTo>
                      <a:pt x="172" y="272"/>
                    </a:lnTo>
                    <a:lnTo>
                      <a:pt x="170" y="272"/>
                    </a:lnTo>
                    <a:lnTo>
                      <a:pt x="164" y="274"/>
                    </a:lnTo>
                    <a:lnTo>
                      <a:pt x="162" y="274"/>
                    </a:lnTo>
                    <a:lnTo>
                      <a:pt x="158" y="274"/>
                    </a:lnTo>
                    <a:lnTo>
                      <a:pt x="154" y="274"/>
                    </a:lnTo>
                    <a:lnTo>
                      <a:pt x="153" y="272"/>
                    </a:lnTo>
                    <a:lnTo>
                      <a:pt x="153" y="270"/>
                    </a:lnTo>
                    <a:lnTo>
                      <a:pt x="153" y="270"/>
                    </a:lnTo>
                    <a:lnTo>
                      <a:pt x="153" y="268"/>
                    </a:lnTo>
                    <a:lnTo>
                      <a:pt x="153" y="268"/>
                    </a:lnTo>
                    <a:lnTo>
                      <a:pt x="153" y="268"/>
                    </a:lnTo>
                    <a:lnTo>
                      <a:pt x="154" y="266"/>
                    </a:lnTo>
                    <a:lnTo>
                      <a:pt x="154" y="268"/>
                    </a:lnTo>
                    <a:lnTo>
                      <a:pt x="156" y="268"/>
                    </a:lnTo>
                    <a:lnTo>
                      <a:pt x="158" y="268"/>
                    </a:lnTo>
                    <a:lnTo>
                      <a:pt x="160" y="268"/>
                    </a:lnTo>
                    <a:lnTo>
                      <a:pt x="160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2" y="264"/>
                    </a:lnTo>
                    <a:lnTo>
                      <a:pt x="158" y="262"/>
                    </a:lnTo>
                    <a:lnTo>
                      <a:pt x="158" y="261"/>
                    </a:lnTo>
                    <a:lnTo>
                      <a:pt x="158" y="261"/>
                    </a:lnTo>
                    <a:lnTo>
                      <a:pt x="158" y="259"/>
                    </a:lnTo>
                    <a:lnTo>
                      <a:pt x="160" y="255"/>
                    </a:lnTo>
                    <a:lnTo>
                      <a:pt x="162" y="253"/>
                    </a:lnTo>
                    <a:lnTo>
                      <a:pt x="162" y="251"/>
                    </a:lnTo>
                    <a:lnTo>
                      <a:pt x="162" y="251"/>
                    </a:lnTo>
                    <a:lnTo>
                      <a:pt x="162" y="251"/>
                    </a:lnTo>
                    <a:lnTo>
                      <a:pt x="160" y="251"/>
                    </a:lnTo>
                    <a:lnTo>
                      <a:pt x="160" y="251"/>
                    </a:lnTo>
                    <a:lnTo>
                      <a:pt x="156" y="251"/>
                    </a:lnTo>
                    <a:lnTo>
                      <a:pt x="151" y="253"/>
                    </a:lnTo>
                    <a:lnTo>
                      <a:pt x="147" y="253"/>
                    </a:lnTo>
                    <a:lnTo>
                      <a:pt x="141" y="253"/>
                    </a:lnTo>
                    <a:lnTo>
                      <a:pt x="139" y="253"/>
                    </a:lnTo>
                    <a:lnTo>
                      <a:pt x="137" y="253"/>
                    </a:lnTo>
                    <a:lnTo>
                      <a:pt x="137" y="253"/>
                    </a:lnTo>
                    <a:lnTo>
                      <a:pt x="137" y="255"/>
                    </a:lnTo>
                    <a:lnTo>
                      <a:pt x="137" y="257"/>
                    </a:lnTo>
                    <a:lnTo>
                      <a:pt x="137" y="257"/>
                    </a:lnTo>
                    <a:lnTo>
                      <a:pt x="137" y="257"/>
                    </a:lnTo>
                    <a:lnTo>
                      <a:pt x="135" y="259"/>
                    </a:lnTo>
                    <a:lnTo>
                      <a:pt x="133" y="261"/>
                    </a:lnTo>
                    <a:lnTo>
                      <a:pt x="133" y="261"/>
                    </a:lnTo>
                    <a:lnTo>
                      <a:pt x="133" y="261"/>
                    </a:lnTo>
                    <a:lnTo>
                      <a:pt x="133" y="262"/>
                    </a:lnTo>
                    <a:lnTo>
                      <a:pt x="133" y="266"/>
                    </a:lnTo>
                    <a:lnTo>
                      <a:pt x="135" y="268"/>
                    </a:lnTo>
                    <a:lnTo>
                      <a:pt x="133" y="272"/>
                    </a:lnTo>
                    <a:lnTo>
                      <a:pt x="133" y="272"/>
                    </a:lnTo>
                    <a:lnTo>
                      <a:pt x="133" y="274"/>
                    </a:lnTo>
                    <a:lnTo>
                      <a:pt x="132" y="274"/>
                    </a:lnTo>
                    <a:lnTo>
                      <a:pt x="132" y="274"/>
                    </a:lnTo>
                    <a:lnTo>
                      <a:pt x="130" y="274"/>
                    </a:lnTo>
                    <a:lnTo>
                      <a:pt x="128" y="272"/>
                    </a:lnTo>
                    <a:lnTo>
                      <a:pt x="128" y="272"/>
                    </a:lnTo>
                    <a:lnTo>
                      <a:pt x="128" y="274"/>
                    </a:lnTo>
                    <a:lnTo>
                      <a:pt x="124" y="276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18" y="278"/>
                    </a:lnTo>
                    <a:lnTo>
                      <a:pt x="116" y="278"/>
                    </a:lnTo>
                    <a:lnTo>
                      <a:pt x="116" y="276"/>
                    </a:lnTo>
                    <a:lnTo>
                      <a:pt x="112" y="274"/>
                    </a:lnTo>
                    <a:lnTo>
                      <a:pt x="111" y="274"/>
                    </a:lnTo>
                    <a:lnTo>
                      <a:pt x="111" y="274"/>
                    </a:lnTo>
                    <a:lnTo>
                      <a:pt x="109" y="272"/>
                    </a:lnTo>
                    <a:lnTo>
                      <a:pt x="109" y="272"/>
                    </a:lnTo>
                    <a:lnTo>
                      <a:pt x="107" y="270"/>
                    </a:lnTo>
                    <a:lnTo>
                      <a:pt x="105" y="268"/>
                    </a:lnTo>
                    <a:lnTo>
                      <a:pt x="103" y="268"/>
                    </a:lnTo>
                    <a:lnTo>
                      <a:pt x="99" y="268"/>
                    </a:lnTo>
                    <a:lnTo>
                      <a:pt x="99" y="268"/>
                    </a:lnTo>
                    <a:lnTo>
                      <a:pt x="99" y="270"/>
                    </a:lnTo>
                    <a:lnTo>
                      <a:pt x="101" y="276"/>
                    </a:lnTo>
                    <a:lnTo>
                      <a:pt x="101" y="278"/>
                    </a:lnTo>
                    <a:lnTo>
                      <a:pt x="101" y="280"/>
                    </a:lnTo>
                    <a:lnTo>
                      <a:pt x="101" y="281"/>
                    </a:lnTo>
                    <a:lnTo>
                      <a:pt x="101" y="285"/>
                    </a:lnTo>
                    <a:lnTo>
                      <a:pt x="101" y="285"/>
                    </a:lnTo>
                    <a:lnTo>
                      <a:pt x="101" y="287"/>
                    </a:lnTo>
                    <a:lnTo>
                      <a:pt x="103" y="287"/>
                    </a:lnTo>
                    <a:lnTo>
                      <a:pt x="107" y="287"/>
                    </a:lnTo>
                    <a:lnTo>
                      <a:pt x="109" y="287"/>
                    </a:lnTo>
                    <a:lnTo>
                      <a:pt x="111" y="287"/>
                    </a:lnTo>
                    <a:lnTo>
                      <a:pt x="112" y="289"/>
                    </a:lnTo>
                    <a:lnTo>
                      <a:pt x="114" y="287"/>
                    </a:lnTo>
                    <a:lnTo>
                      <a:pt x="114" y="287"/>
                    </a:lnTo>
                    <a:lnTo>
                      <a:pt x="116" y="287"/>
                    </a:lnTo>
                    <a:lnTo>
                      <a:pt x="116" y="287"/>
                    </a:lnTo>
                    <a:lnTo>
                      <a:pt x="118" y="289"/>
                    </a:lnTo>
                    <a:lnTo>
                      <a:pt x="118" y="289"/>
                    </a:lnTo>
                    <a:lnTo>
                      <a:pt x="118" y="291"/>
                    </a:lnTo>
                    <a:lnTo>
                      <a:pt x="118" y="293"/>
                    </a:lnTo>
                    <a:lnTo>
                      <a:pt x="118" y="295"/>
                    </a:lnTo>
                    <a:lnTo>
                      <a:pt x="118" y="297"/>
                    </a:lnTo>
                    <a:lnTo>
                      <a:pt x="118" y="299"/>
                    </a:lnTo>
                    <a:lnTo>
                      <a:pt x="116" y="300"/>
                    </a:lnTo>
                    <a:lnTo>
                      <a:pt x="116" y="302"/>
                    </a:lnTo>
                    <a:lnTo>
                      <a:pt x="114" y="304"/>
                    </a:lnTo>
                    <a:lnTo>
                      <a:pt x="112" y="304"/>
                    </a:lnTo>
                    <a:lnTo>
                      <a:pt x="111" y="304"/>
                    </a:lnTo>
                    <a:lnTo>
                      <a:pt x="107" y="304"/>
                    </a:lnTo>
                    <a:lnTo>
                      <a:pt x="105" y="304"/>
                    </a:lnTo>
                    <a:lnTo>
                      <a:pt x="103" y="304"/>
                    </a:lnTo>
                    <a:lnTo>
                      <a:pt x="103" y="302"/>
                    </a:lnTo>
                    <a:lnTo>
                      <a:pt x="101" y="299"/>
                    </a:lnTo>
                    <a:lnTo>
                      <a:pt x="101" y="299"/>
                    </a:lnTo>
                    <a:lnTo>
                      <a:pt x="99" y="297"/>
                    </a:lnTo>
                    <a:lnTo>
                      <a:pt x="97" y="297"/>
                    </a:lnTo>
                    <a:lnTo>
                      <a:pt x="97" y="295"/>
                    </a:lnTo>
                    <a:lnTo>
                      <a:pt x="97" y="291"/>
                    </a:lnTo>
                    <a:lnTo>
                      <a:pt x="95" y="289"/>
                    </a:lnTo>
                    <a:lnTo>
                      <a:pt x="95" y="289"/>
                    </a:lnTo>
                    <a:lnTo>
                      <a:pt x="93" y="289"/>
                    </a:lnTo>
                    <a:lnTo>
                      <a:pt x="93" y="289"/>
                    </a:lnTo>
                    <a:lnTo>
                      <a:pt x="93" y="291"/>
                    </a:lnTo>
                    <a:lnTo>
                      <a:pt x="92" y="295"/>
                    </a:lnTo>
                    <a:lnTo>
                      <a:pt x="93" y="299"/>
                    </a:lnTo>
                    <a:lnTo>
                      <a:pt x="93" y="300"/>
                    </a:lnTo>
                    <a:lnTo>
                      <a:pt x="93" y="302"/>
                    </a:lnTo>
                    <a:lnTo>
                      <a:pt x="93" y="304"/>
                    </a:lnTo>
                    <a:lnTo>
                      <a:pt x="90" y="316"/>
                    </a:lnTo>
                    <a:lnTo>
                      <a:pt x="86" y="321"/>
                    </a:lnTo>
                    <a:lnTo>
                      <a:pt x="86" y="323"/>
                    </a:lnTo>
                    <a:lnTo>
                      <a:pt x="86" y="323"/>
                    </a:lnTo>
                    <a:lnTo>
                      <a:pt x="86" y="325"/>
                    </a:lnTo>
                    <a:lnTo>
                      <a:pt x="86" y="327"/>
                    </a:lnTo>
                    <a:lnTo>
                      <a:pt x="86" y="327"/>
                    </a:lnTo>
                    <a:lnTo>
                      <a:pt x="99" y="331"/>
                    </a:lnTo>
                    <a:lnTo>
                      <a:pt x="101" y="333"/>
                    </a:lnTo>
                    <a:lnTo>
                      <a:pt x="101" y="333"/>
                    </a:lnTo>
                    <a:lnTo>
                      <a:pt x="103" y="337"/>
                    </a:lnTo>
                    <a:lnTo>
                      <a:pt x="101" y="339"/>
                    </a:lnTo>
                    <a:lnTo>
                      <a:pt x="99" y="340"/>
                    </a:lnTo>
                    <a:lnTo>
                      <a:pt x="92" y="346"/>
                    </a:lnTo>
                    <a:lnTo>
                      <a:pt x="92" y="348"/>
                    </a:lnTo>
                    <a:lnTo>
                      <a:pt x="92" y="350"/>
                    </a:lnTo>
                    <a:lnTo>
                      <a:pt x="92" y="352"/>
                    </a:lnTo>
                    <a:lnTo>
                      <a:pt x="90" y="354"/>
                    </a:lnTo>
                    <a:lnTo>
                      <a:pt x="90" y="356"/>
                    </a:lnTo>
                    <a:lnTo>
                      <a:pt x="88" y="358"/>
                    </a:lnTo>
                    <a:lnTo>
                      <a:pt x="88" y="359"/>
                    </a:lnTo>
                    <a:lnTo>
                      <a:pt x="88" y="359"/>
                    </a:lnTo>
                    <a:lnTo>
                      <a:pt x="90" y="361"/>
                    </a:lnTo>
                    <a:lnTo>
                      <a:pt x="92" y="361"/>
                    </a:lnTo>
                    <a:lnTo>
                      <a:pt x="97" y="359"/>
                    </a:lnTo>
                    <a:lnTo>
                      <a:pt x="99" y="359"/>
                    </a:lnTo>
                    <a:lnTo>
                      <a:pt x="101" y="361"/>
                    </a:lnTo>
                    <a:lnTo>
                      <a:pt x="103" y="361"/>
                    </a:lnTo>
                    <a:lnTo>
                      <a:pt x="105" y="363"/>
                    </a:lnTo>
                    <a:lnTo>
                      <a:pt x="107" y="365"/>
                    </a:lnTo>
                    <a:lnTo>
                      <a:pt x="107" y="369"/>
                    </a:lnTo>
                    <a:lnTo>
                      <a:pt x="107" y="375"/>
                    </a:lnTo>
                    <a:lnTo>
                      <a:pt x="109" y="378"/>
                    </a:lnTo>
                    <a:lnTo>
                      <a:pt x="109" y="380"/>
                    </a:lnTo>
                    <a:lnTo>
                      <a:pt x="111" y="382"/>
                    </a:lnTo>
                    <a:lnTo>
                      <a:pt x="111" y="384"/>
                    </a:lnTo>
                    <a:lnTo>
                      <a:pt x="112" y="386"/>
                    </a:lnTo>
                    <a:lnTo>
                      <a:pt x="114" y="388"/>
                    </a:lnTo>
                    <a:lnTo>
                      <a:pt x="116" y="390"/>
                    </a:lnTo>
                    <a:lnTo>
                      <a:pt x="118" y="390"/>
                    </a:lnTo>
                    <a:lnTo>
                      <a:pt x="118" y="392"/>
                    </a:lnTo>
                    <a:lnTo>
                      <a:pt x="116" y="394"/>
                    </a:lnTo>
                    <a:lnTo>
                      <a:pt x="116" y="394"/>
                    </a:lnTo>
                    <a:lnTo>
                      <a:pt x="114" y="396"/>
                    </a:lnTo>
                    <a:lnTo>
                      <a:pt x="111" y="411"/>
                    </a:lnTo>
                    <a:lnTo>
                      <a:pt x="109" y="417"/>
                    </a:lnTo>
                    <a:lnTo>
                      <a:pt x="109" y="420"/>
                    </a:lnTo>
                    <a:lnTo>
                      <a:pt x="109" y="422"/>
                    </a:lnTo>
                    <a:lnTo>
                      <a:pt x="111" y="424"/>
                    </a:lnTo>
                    <a:lnTo>
                      <a:pt x="111" y="426"/>
                    </a:lnTo>
                    <a:lnTo>
                      <a:pt x="112" y="430"/>
                    </a:lnTo>
                    <a:lnTo>
                      <a:pt x="114" y="434"/>
                    </a:lnTo>
                    <a:lnTo>
                      <a:pt x="114" y="436"/>
                    </a:lnTo>
                    <a:lnTo>
                      <a:pt x="114" y="439"/>
                    </a:lnTo>
                    <a:lnTo>
                      <a:pt x="112" y="441"/>
                    </a:lnTo>
                    <a:lnTo>
                      <a:pt x="112" y="443"/>
                    </a:lnTo>
                    <a:lnTo>
                      <a:pt x="111" y="445"/>
                    </a:lnTo>
                    <a:lnTo>
                      <a:pt x="111" y="447"/>
                    </a:lnTo>
                    <a:lnTo>
                      <a:pt x="109" y="449"/>
                    </a:lnTo>
                    <a:lnTo>
                      <a:pt x="109" y="449"/>
                    </a:lnTo>
                    <a:lnTo>
                      <a:pt x="107" y="455"/>
                    </a:lnTo>
                    <a:lnTo>
                      <a:pt x="105" y="457"/>
                    </a:lnTo>
                    <a:lnTo>
                      <a:pt x="105" y="458"/>
                    </a:lnTo>
                    <a:lnTo>
                      <a:pt x="103" y="460"/>
                    </a:lnTo>
                    <a:lnTo>
                      <a:pt x="99" y="464"/>
                    </a:lnTo>
                    <a:lnTo>
                      <a:pt x="99" y="464"/>
                    </a:lnTo>
                    <a:lnTo>
                      <a:pt x="95" y="466"/>
                    </a:lnTo>
                    <a:lnTo>
                      <a:pt x="93" y="466"/>
                    </a:lnTo>
                    <a:lnTo>
                      <a:pt x="86" y="472"/>
                    </a:lnTo>
                    <a:lnTo>
                      <a:pt x="84" y="472"/>
                    </a:lnTo>
                    <a:lnTo>
                      <a:pt x="78" y="474"/>
                    </a:lnTo>
                    <a:lnTo>
                      <a:pt x="74" y="476"/>
                    </a:lnTo>
                    <a:lnTo>
                      <a:pt x="67" y="483"/>
                    </a:lnTo>
                    <a:lnTo>
                      <a:pt x="67" y="485"/>
                    </a:lnTo>
                    <a:lnTo>
                      <a:pt x="61" y="493"/>
                    </a:lnTo>
                    <a:lnTo>
                      <a:pt x="61" y="495"/>
                    </a:lnTo>
                    <a:lnTo>
                      <a:pt x="61" y="496"/>
                    </a:lnTo>
                    <a:lnTo>
                      <a:pt x="63" y="498"/>
                    </a:lnTo>
                    <a:lnTo>
                      <a:pt x="63" y="498"/>
                    </a:lnTo>
                    <a:lnTo>
                      <a:pt x="65" y="498"/>
                    </a:lnTo>
                    <a:lnTo>
                      <a:pt x="65" y="500"/>
                    </a:lnTo>
                    <a:lnTo>
                      <a:pt x="69" y="500"/>
                    </a:lnTo>
                    <a:lnTo>
                      <a:pt x="72" y="502"/>
                    </a:lnTo>
                    <a:lnTo>
                      <a:pt x="74" y="502"/>
                    </a:lnTo>
                    <a:lnTo>
                      <a:pt x="76" y="502"/>
                    </a:lnTo>
                    <a:lnTo>
                      <a:pt x="78" y="502"/>
                    </a:lnTo>
                    <a:lnTo>
                      <a:pt x="80" y="502"/>
                    </a:lnTo>
                    <a:lnTo>
                      <a:pt x="80" y="504"/>
                    </a:lnTo>
                    <a:lnTo>
                      <a:pt x="82" y="506"/>
                    </a:lnTo>
                    <a:lnTo>
                      <a:pt x="84" y="506"/>
                    </a:lnTo>
                    <a:lnTo>
                      <a:pt x="86" y="508"/>
                    </a:lnTo>
                    <a:lnTo>
                      <a:pt x="86" y="510"/>
                    </a:lnTo>
                    <a:lnTo>
                      <a:pt x="86" y="510"/>
                    </a:lnTo>
                    <a:lnTo>
                      <a:pt x="80" y="512"/>
                    </a:lnTo>
                    <a:lnTo>
                      <a:pt x="72" y="517"/>
                    </a:lnTo>
                    <a:lnTo>
                      <a:pt x="65" y="519"/>
                    </a:lnTo>
                    <a:lnTo>
                      <a:pt x="55" y="525"/>
                    </a:lnTo>
                    <a:lnTo>
                      <a:pt x="53" y="525"/>
                    </a:lnTo>
                    <a:lnTo>
                      <a:pt x="51" y="523"/>
                    </a:lnTo>
                    <a:lnTo>
                      <a:pt x="50" y="523"/>
                    </a:lnTo>
                    <a:lnTo>
                      <a:pt x="48" y="523"/>
                    </a:lnTo>
                    <a:lnTo>
                      <a:pt x="44" y="523"/>
                    </a:lnTo>
                    <a:lnTo>
                      <a:pt x="44" y="523"/>
                    </a:lnTo>
                    <a:lnTo>
                      <a:pt x="42" y="523"/>
                    </a:lnTo>
                    <a:lnTo>
                      <a:pt x="40" y="525"/>
                    </a:lnTo>
                    <a:lnTo>
                      <a:pt x="38" y="527"/>
                    </a:lnTo>
                    <a:lnTo>
                      <a:pt x="36" y="527"/>
                    </a:lnTo>
                    <a:lnTo>
                      <a:pt x="40" y="535"/>
                    </a:lnTo>
                    <a:lnTo>
                      <a:pt x="40" y="546"/>
                    </a:lnTo>
                    <a:lnTo>
                      <a:pt x="42" y="548"/>
                    </a:lnTo>
                    <a:lnTo>
                      <a:pt x="42" y="550"/>
                    </a:lnTo>
                    <a:lnTo>
                      <a:pt x="42" y="550"/>
                    </a:lnTo>
                    <a:lnTo>
                      <a:pt x="44" y="550"/>
                    </a:lnTo>
                    <a:lnTo>
                      <a:pt x="44" y="550"/>
                    </a:lnTo>
                    <a:lnTo>
                      <a:pt x="46" y="550"/>
                    </a:lnTo>
                    <a:lnTo>
                      <a:pt x="46" y="548"/>
                    </a:lnTo>
                    <a:lnTo>
                      <a:pt x="48" y="550"/>
                    </a:lnTo>
                    <a:lnTo>
                      <a:pt x="50" y="550"/>
                    </a:lnTo>
                    <a:lnTo>
                      <a:pt x="53" y="554"/>
                    </a:lnTo>
                    <a:lnTo>
                      <a:pt x="53" y="557"/>
                    </a:lnTo>
                    <a:lnTo>
                      <a:pt x="53" y="559"/>
                    </a:lnTo>
                    <a:lnTo>
                      <a:pt x="44" y="580"/>
                    </a:lnTo>
                    <a:lnTo>
                      <a:pt x="42" y="582"/>
                    </a:lnTo>
                    <a:lnTo>
                      <a:pt x="42" y="582"/>
                    </a:lnTo>
                    <a:lnTo>
                      <a:pt x="40" y="584"/>
                    </a:lnTo>
                    <a:lnTo>
                      <a:pt x="38" y="584"/>
                    </a:lnTo>
                    <a:lnTo>
                      <a:pt x="38" y="584"/>
                    </a:lnTo>
                    <a:lnTo>
                      <a:pt x="36" y="586"/>
                    </a:lnTo>
                    <a:lnTo>
                      <a:pt x="32" y="586"/>
                    </a:lnTo>
                    <a:lnTo>
                      <a:pt x="30" y="586"/>
                    </a:lnTo>
                    <a:lnTo>
                      <a:pt x="30" y="586"/>
                    </a:lnTo>
                    <a:lnTo>
                      <a:pt x="21" y="593"/>
                    </a:lnTo>
                    <a:lnTo>
                      <a:pt x="15" y="597"/>
                    </a:lnTo>
                    <a:lnTo>
                      <a:pt x="15" y="599"/>
                    </a:lnTo>
                    <a:lnTo>
                      <a:pt x="13" y="599"/>
                    </a:lnTo>
                    <a:lnTo>
                      <a:pt x="11" y="599"/>
                    </a:lnTo>
                    <a:lnTo>
                      <a:pt x="11" y="599"/>
                    </a:lnTo>
                    <a:lnTo>
                      <a:pt x="4" y="597"/>
                    </a:lnTo>
                    <a:lnTo>
                      <a:pt x="4" y="597"/>
                    </a:lnTo>
                    <a:lnTo>
                      <a:pt x="2" y="597"/>
                    </a:lnTo>
                    <a:lnTo>
                      <a:pt x="2" y="599"/>
                    </a:lnTo>
                    <a:lnTo>
                      <a:pt x="0" y="599"/>
                    </a:lnTo>
                    <a:lnTo>
                      <a:pt x="0" y="601"/>
                    </a:lnTo>
                    <a:lnTo>
                      <a:pt x="0" y="603"/>
                    </a:lnTo>
                    <a:lnTo>
                      <a:pt x="0" y="605"/>
                    </a:lnTo>
                    <a:lnTo>
                      <a:pt x="6" y="611"/>
                    </a:lnTo>
                    <a:lnTo>
                      <a:pt x="8" y="613"/>
                    </a:lnTo>
                    <a:lnTo>
                      <a:pt x="10" y="613"/>
                    </a:lnTo>
                    <a:lnTo>
                      <a:pt x="11" y="613"/>
                    </a:lnTo>
                    <a:lnTo>
                      <a:pt x="17" y="613"/>
                    </a:lnTo>
                    <a:lnTo>
                      <a:pt x="21" y="613"/>
                    </a:lnTo>
                    <a:lnTo>
                      <a:pt x="23" y="613"/>
                    </a:lnTo>
                    <a:lnTo>
                      <a:pt x="25" y="614"/>
                    </a:lnTo>
                    <a:lnTo>
                      <a:pt x="27" y="614"/>
                    </a:lnTo>
                    <a:lnTo>
                      <a:pt x="27" y="616"/>
                    </a:lnTo>
                    <a:lnTo>
                      <a:pt x="27" y="618"/>
                    </a:lnTo>
                    <a:lnTo>
                      <a:pt x="27" y="618"/>
                    </a:lnTo>
                    <a:lnTo>
                      <a:pt x="25" y="620"/>
                    </a:lnTo>
                    <a:lnTo>
                      <a:pt x="25" y="620"/>
                    </a:lnTo>
                    <a:lnTo>
                      <a:pt x="23" y="622"/>
                    </a:lnTo>
                    <a:lnTo>
                      <a:pt x="21" y="624"/>
                    </a:lnTo>
                    <a:lnTo>
                      <a:pt x="19" y="624"/>
                    </a:lnTo>
                    <a:lnTo>
                      <a:pt x="15" y="624"/>
                    </a:lnTo>
                    <a:lnTo>
                      <a:pt x="13" y="624"/>
                    </a:lnTo>
                    <a:lnTo>
                      <a:pt x="11" y="624"/>
                    </a:lnTo>
                    <a:lnTo>
                      <a:pt x="11" y="624"/>
                    </a:lnTo>
                    <a:lnTo>
                      <a:pt x="10" y="622"/>
                    </a:lnTo>
                    <a:lnTo>
                      <a:pt x="8" y="622"/>
                    </a:lnTo>
                    <a:lnTo>
                      <a:pt x="8" y="620"/>
                    </a:lnTo>
                    <a:lnTo>
                      <a:pt x="6" y="620"/>
                    </a:lnTo>
                    <a:lnTo>
                      <a:pt x="6" y="622"/>
                    </a:lnTo>
                    <a:lnTo>
                      <a:pt x="6" y="622"/>
                    </a:lnTo>
                    <a:lnTo>
                      <a:pt x="4" y="622"/>
                    </a:lnTo>
                    <a:lnTo>
                      <a:pt x="4" y="624"/>
                    </a:lnTo>
                    <a:lnTo>
                      <a:pt x="4" y="628"/>
                    </a:lnTo>
                    <a:lnTo>
                      <a:pt x="4" y="632"/>
                    </a:lnTo>
                    <a:lnTo>
                      <a:pt x="4" y="633"/>
                    </a:lnTo>
                    <a:lnTo>
                      <a:pt x="4" y="635"/>
                    </a:lnTo>
                    <a:lnTo>
                      <a:pt x="4" y="639"/>
                    </a:lnTo>
                    <a:lnTo>
                      <a:pt x="4" y="641"/>
                    </a:lnTo>
                    <a:lnTo>
                      <a:pt x="6" y="641"/>
                    </a:lnTo>
                    <a:lnTo>
                      <a:pt x="8" y="643"/>
                    </a:lnTo>
                    <a:lnTo>
                      <a:pt x="8" y="645"/>
                    </a:lnTo>
                    <a:lnTo>
                      <a:pt x="10" y="647"/>
                    </a:lnTo>
                    <a:lnTo>
                      <a:pt x="10" y="651"/>
                    </a:lnTo>
                    <a:lnTo>
                      <a:pt x="10" y="652"/>
                    </a:lnTo>
                    <a:lnTo>
                      <a:pt x="11" y="654"/>
                    </a:lnTo>
                    <a:lnTo>
                      <a:pt x="11" y="656"/>
                    </a:lnTo>
                    <a:lnTo>
                      <a:pt x="13" y="656"/>
                    </a:lnTo>
                    <a:lnTo>
                      <a:pt x="13" y="658"/>
                    </a:lnTo>
                    <a:lnTo>
                      <a:pt x="13" y="660"/>
                    </a:lnTo>
                    <a:lnTo>
                      <a:pt x="11" y="664"/>
                    </a:lnTo>
                    <a:lnTo>
                      <a:pt x="11" y="675"/>
                    </a:lnTo>
                    <a:lnTo>
                      <a:pt x="15" y="675"/>
                    </a:lnTo>
                    <a:lnTo>
                      <a:pt x="19" y="677"/>
                    </a:lnTo>
                    <a:lnTo>
                      <a:pt x="21" y="679"/>
                    </a:lnTo>
                    <a:lnTo>
                      <a:pt x="25" y="677"/>
                    </a:lnTo>
                    <a:lnTo>
                      <a:pt x="27" y="677"/>
                    </a:lnTo>
                    <a:lnTo>
                      <a:pt x="30" y="677"/>
                    </a:lnTo>
                    <a:lnTo>
                      <a:pt x="32" y="675"/>
                    </a:lnTo>
                    <a:lnTo>
                      <a:pt x="32" y="675"/>
                    </a:lnTo>
                    <a:lnTo>
                      <a:pt x="32" y="673"/>
                    </a:lnTo>
                    <a:lnTo>
                      <a:pt x="32" y="673"/>
                    </a:lnTo>
                    <a:lnTo>
                      <a:pt x="32" y="673"/>
                    </a:lnTo>
                    <a:lnTo>
                      <a:pt x="32" y="673"/>
                    </a:lnTo>
                    <a:lnTo>
                      <a:pt x="34" y="671"/>
                    </a:lnTo>
                    <a:lnTo>
                      <a:pt x="36" y="671"/>
                    </a:lnTo>
                    <a:lnTo>
                      <a:pt x="38" y="670"/>
                    </a:lnTo>
                    <a:lnTo>
                      <a:pt x="40" y="670"/>
                    </a:lnTo>
                    <a:lnTo>
                      <a:pt x="46" y="666"/>
                    </a:lnTo>
                    <a:lnTo>
                      <a:pt x="48" y="666"/>
                    </a:lnTo>
                    <a:lnTo>
                      <a:pt x="50" y="668"/>
                    </a:lnTo>
                    <a:lnTo>
                      <a:pt x="57" y="675"/>
                    </a:lnTo>
                    <a:lnTo>
                      <a:pt x="57" y="679"/>
                    </a:lnTo>
                    <a:lnTo>
                      <a:pt x="57" y="681"/>
                    </a:lnTo>
                    <a:lnTo>
                      <a:pt x="57" y="692"/>
                    </a:lnTo>
                    <a:lnTo>
                      <a:pt x="57" y="694"/>
                    </a:lnTo>
                    <a:lnTo>
                      <a:pt x="57" y="696"/>
                    </a:lnTo>
                    <a:lnTo>
                      <a:pt x="59" y="698"/>
                    </a:lnTo>
                    <a:lnTo>
                      <a:pt x="59" y="700"/>
                    </a:lnTo>
                    <a:lnTo>
                      <a:pt x="59" y="704"/>
                    </a:lnTo>
                    <a:lnTo>
                      <a:pt x="61" y="706"/>
                    </a:lnTo>
                    <a:lnTo>
                      <a:pt x="61" y="706"/>
                    </a:lnTo>
                    <a:lnTo>
                      <a:pt x="63" y="708"/>
                    </a:lnTo>
                    <a:lnTo>
                      <a:pt x="67" y="710"/>
                    </a:lnTo>
                    <a:lnTo>
                      <a:pt x="71" y="713"/>
                    </a:lnTo>
                    <a:lnTo>
                      <a:pt x="72" y="713"/>
                    </a:lnTo>
                    <a:lnTo>
                      <a:pt x="78" y="715"/>
                    </a:lnTo>
                    <a:lnTo>
                      <a:pt x="80" y="717"/>
                    </a:lnTo>
                    <a:lnTo>
                      <a:pt x="82" y="719"/>
                    </a:lnTo>
                    <a:lnTo>
                      <a:pt x="84" y="719"/>
                    </a:lnTo>
                    <a:lnTo>
                      <a:pt x="84" y="721"/>
                    </a:lnTo>
                    <a:lnTo>
                      <a:pt x="88" y="721"/>
                    </a:lnTo>
                    <a:lnTo>
                      <a:pt x="92" y="721"/>
                    </a:lnTo>
                    <a:lnTo>
                      <a:pt x="103" y="719"/>
                    </a:lnTo>
                    <a:lnTo>
                      <a:pt x="105" y="719"/>
                    </a:lnTo>
                    <a:lnTo>
                      <a:pt x="109" y="721"/>
                    </a:lnTo>
                    <a:lnTo>
                      <a:pt x="109" y="721"/>
                    </a:lnTo>
                    <a:lnTo>
                      <a:pt x="111" y="721"/>
                    </a:lnTo>
                    <a:lnTo>
                      <a:pt x="112" y="723"/>
                    </a:lnTo>
                    <a:lnTo>
                      <a:pt x="114" y="725"/>
                    </a:lnTo>
                    <a:lnTo>
                      <a:pt x="116" y="725"/>
                    </a:lnTo>
                    <a:lnTo>
                      <a:pt x="122" y="725"/>
                    </a:lnTo>
                    <a:lnTo>
                      <a:pt x="122" y="725"/>
                    </a:lnTo>
                    <a:lnTo>
                      <a:pt x="126" y="727"/>
                    </a:lnTo>
                    <a:lnTo>
                      <a:pt x="128" y="729"/>
                    </a:lnTo>
                    <a:lnTo>
                      <a:pt x="130" y="730"/>
                    </a:lnTo>
                    <a:lnTo>
                      <a:pt x="135" y="738"/>
                    </a:lnTo>
                    <a:lnTo>
                      <a:pt x="135" y="742"/>
                    </a:lnTo>
                    <a:lnTo>
                      <a:pt x="137" y="742"/>
                    </a:lnTo>
                    <a:lnTo>
                      <a:pt x="137" y="744"/>
                    </a:lnTo>
                    <a:lnTo>
                      <a:pt x="139" y="746"/>
                    </a:lnTo>
                    <a:lnTo>
                      <a:pt x="141" y="746"/>
                    </a:lnTo>
                    <a:lnTo>
                      <a:pt x="147" y="750"/>
                    </a:lnTo>
                    <a:lnTo>
                      <a:pt x="160" y="751"/>
                    </a:lnTo>
                    <a:lnTo>
                      <a:pt x="166" y="751"/>
                    </a:lnTo>
                    <a:lnTo>
                      <a:pt x="166" y="751"/>
                    </a:lnTo>
                    <a:lnTo>
                      <a:pt x="168" y="751"/>
                    </a:lnTo>
                    <a:lnTo>
                      <a:pt x="170" y="751"/>
                    </a:lnTo>
                    <a:lnTo>
                      <a:pt x="181" y="751"/>
                    </a:lnTo>
                    <a:lnTo>
                      <a:pt x="187" y="753"/>
                    </a:lnTo>
                    <a:lnTo>
                      <a:pt x="189" y="753"/>
                    </a:lnTo>
                    <a:lnTo>
                      <a:pt x="193" y="751"/>
                    </a:lnTo>
                    <a:lnTo>
                      <a:pt x="196" y="751"/>
                    </a:lnTo>
                    <a:lnTo>
                      <a:pt x="198" y="751"/>
                    </a:lnTo>
                    <a:lnTo>
                      <a:pt x="200" y="751"/>
                    </a:lnTo>
                    <a:lnTo>
                      <a:pt x="204" y="751"/>
                    </a:lnTo>
                    <a:lnTo>
                      <a:pt x="210" y="751"/>
                    </a:lnTo>
                    <a:lnTo>
                      <a:pt x="223" y="751"/>
                    </a:lnTo>
                    <a:lnTo>
                      <a:pt x="231" y="750"/>
                    </a:lnTo>
                    <a:lnTo>
                      <a:pt x="235" y="750"/>
                    </a:lnTo>
                    <a:lnTo>
                      <a:pt x="238" y="750"/>
                    </a:lnTo>
                    <a:lnTo>
                      <a:pt x="240" y="750"/>
                    </a:lnTo>
                    <a:lnTo>
                      <a:pt x="246" y="751"/>
                    </a:lnTo>
                    <a:lnTo>
                      <a:pt x="252" y="753"/>
                    </a:lnTo>
                    <a:lnTo>
                      <a:pt x="254" y="753"/>
                    </a:lnTo>
                    <a:lnTo>
                      <a:pt x="254" y="753"/>
                    </a:lnTo>
                    <a:lnTo>
                      <a:pt x="256" y="753"/>
                    </a:lnTo>
                    <a:lnTo>
                      <a:pt x="257" y="753"/>
                    </a:lnTo>
                    <a:lnTo>
                      <a:pt x="259" y="755"/>
                    </a:lnTo>
                    <a:lnTo>
                      <a:pt x="261" y="757"/>
                    </a:lnTo>
                    <a:lnTo>
                      <a:pt x="263" y="765"/>
                    </a:lnTo>
                    <a:lnTo>
                      <a:pt x="263" y="770"/>
                    </a:lnTo>
                    <a:lnTo>
                      <a:pt x="265" y="776"/>
                    </a:lnTo>
                    <a:lnTo>
                      <a:pt x="265" y="778"/>
                    </a:lnTo>
                    <a:lnTo>
                      <a:pt x="263" y="780"/>
                    </a:lnTo>
                    <a:lnTo>
                      <a:pt x="261" y="780"/>
                    </a:lnTo>
                    <a:lnTo>
                      <a:pt x="261" y="780"/>
                    </a:lnTo>
                    <a:lnTo>
                      <a:pt x="261" y="780"/>
                    </a:lnTo>
                    <a:lnTo>
                      <a:pt x="259" y="780"/>
                    </a:lnTo>
                    <a:lnTo>
                      <a:pt x="259" y="780"/>
                    </a:lnTo>
                    <a:lnTo>
                      <a:pt x="259" y="780"/>
                    </a:lnTo>
                    <a:lnTo>
                      <a:pt x="259" y="780"/>
                    </a:lnTo>
                    <a:lnTo>
                      <a:pt x="259" y="782"/>
                    </a:lnTo>
                    <a:lnTo>
                      <a:pt x="261" y="782"/>
                    </a:lnTo>
                    <a:lnTo>
                      <a:pt x="265" y="788"/>
                    </a:lnTo>
                    <a:lnTo>
                      <a:pt x="267" y="789"/>
                    </a:lnTo>
                    <a:lnTo>
                      <a:pt x="271" y="791"/>
                    </a:lnTo>
                    <a:lnTo>
                      <a:pt x="282" y="793"/>
                    </a:lnTo>
                    <a:lnTo>
                      <a:pt x="286" y="791"/>
                    </a:lnTo>
                    <a:lnTo>
                      <a:pt x="294" y="791"/>
                    </a:lnTo>
                    <a:lnTo>
                      <a:pt x="297" y="789"/>
                    </a:lnTo>
                    <a:lnTo>
                      <a:pt x="301" y="788"/>
                    </a:lnTo>
                    <a:lnTo>
                      <a:pt x="303" y="786"/>
                    </a:lnTo>
                    <a:lnTo>
                      <a:pt x="305" y="782"/>
                    </a:lnTo>
                    <a:lnTo>
                      <a:pt x="307" y="780"/>
                    </a:lnTo>
                    <a:lnTo>
                      <a:pt x="309" y="778"/>
                    </a:lnTo>
                    <a:lnTo>
                      <a:pt x="313" y="776"/>
                    </a:lnTo>
                    <a:lnTo>
                      <a:pt x="315" y="776"/>
                    </a:lnTo>
                    <a:lnTo>
                      <a:pt x="324" y="776"/>
                    </a:lnTo>
                    <a:lnTo>
                      <a:pt x="326" y="774"/>
                    </a:lnTo>
                    <a:lnTo>
                      <a:pt x="326" y="772"/>
                    </a:lnTo>
                    <a:lnTo>
                      <a:pt x="328" y="770"/>
                    </a:lnTo>
                    <a:lnTo>
                      <a:pt x="328" y="769"/>
                    </a:lnTo>
                    <a:lnTo>
                      <a:pt x="328" y="763"/>
                    </a:lnTo>
                    <a:lnTo>
                      <a:pt x="328" y="759"/>
                    </a:lnTo>
                    <a:lnTo>
                      <a:pt x="326" y="759"/>
                    </a:lnTo>
                    <a:lnTo>
                      <a:pt x="326" y="757"/>
                    </a:lnTo>
                    <a:lnTo>
                      <a:pt x="326" y="755"/>
                    </a:lnTo>
                    <a:lnTo>
                      <a:pt x="328" y="755"/>
                    </a:lnTo>
                    <a:lnTo>
                      <a:pt x="332" y="751"/>
                    </a:lnTo>
                    <a:lnTo>
                      <a:pt x="336" y="750"/>
                    </a:lnTo>
                    <a:lnTo>
                      <a:pt x="338" y="748"/>
                    </a:lnTo>
                    <a:lnTo>
                      <a:pt x="338" y="748"/>
                    </a:lnTo>
                    <a:lnTo>
                      <a:pt x="341" y="742"/>
                    </a:lnTo>
                    <a:lnTo>
                      <a:pt x="341" y="740"/>
                    </a:lnTo>
                    <a:lnTo>
                      <a:pt x="343" y="740"/>
                    </a:lnTo>
                    <a:lnTo>
                      <a:pt x="345" y="738"/>
                    </a:lnTo>
                    <a:lnTo>
                      <a:pt x="345" y="736"/>
                    </a:lnTo>
                    <a:lnTo>
                      <a:pt x="345" y="736"/>
                    </a:lnTo>
                    <a:lnTo>
                      <a:pt x="345" y="736"/>
                    </a:lnTo>
                    <a:lnTo>
                      <a:pt x="345" y="734"/>
                    </a:lnTo>
                    <a:lnTo>
                      <a:pt x="345" y="734"/>
                    </a:lnTo>
                    <a:lnTo>
                      <a:pt x="345" y="730"/>
                    </a:lnTo>
                    <a:lnTo>
                      <a:pt x="345" y="730"/>
                    </a:lnTo>
                    <a:lnTo>
                      <a:pt x="345" y="729"/>
                    </a:lnTo>
                    <a:lnTo>
                      <a:pt x="347" y="725"/>
                    </a:lnTo>
                    <a:lnTo>
                      <a:pt x="349" y="723"/>
                    </a:lnTo>
                    <a:lnTo>
                      <a:pt x="353" y="721"/>
                    </a:lnTo>
                    <a:lnTo>
                      <a:pt x="360" y="721"/>
                    </a:lnTo>
                    <a:lnTo>
                      <a:pt x="362" y="719"/>
                    </a:lnTo>
                    <a:lnTo>
                      <a:pt x="376" y="710"/>
                    </a:lnTo>
                    <a:lnTo>
                      <a:pt x="381" y="708"/>
                    </a:lnTo>
                    <a:lnTo>
                      <a:pt x="387" y="706"/>
                    </a:lnTo>
                    <a:lnTo>
                      <a:pt x="393" y="704"/>
                    </a:lnTo>
                    <a:lnTo>
                      <a:pt x="395" y="706"/>
                    </a:lnTo>
                    <a:lnTo>
                      <a:pt x="397" y="706"/>
                    </a:lnTo>
                    <a:lnTo>
                      <a:pt x="397" y="706"/>
                    </a:lnTo>
                    <a:lnTo>
                      <a:pt x="397" y="708"/>
                    </a:lnTo>
                    <a:lnTo>
                      <a:pt x="397" y="708"/>
                    </a:lnTo>
                    <a:lnTo>
                      <a:pt x="399" y="708"/>
                    </a:lnTo>
                    <a:lnTo>
                      <a:pt x="399" y="708"/>
                    </a:lnTo>
                    <a:lnTo>
                      <a:pt x="400" y="708"/>
                    </a:lnTo>
                    <a:lnTo>
                      <a:pt x="400" y="708"/>
                    </a:lnTo>
                    <a:lnTo>
                      <a:pt x="402" y="708"/>
                    </a:lnTo>
                    <a:lnTo>
                      <a:pt x="402" y="706"/>
                    </a:lnTo>
                    <a:lnTo>
                      <a:pt x="404" y="704"/>
                    </a:lnTo>
                    <a:lnTo>
                      <a:pt x="404" y="704"/>
                    </a:lnTo>
                    <a:lnTo>
                      <a:pt x="408" y="704"/>
                    </a:lnTo>
                    <a:lnTo>
                      <a:pt x="410" y="702"/>
                    </a:lnTo>
                    <a:lnTo>
                      <a:pt x="410" y="700"/>
                    </a:lnTo>
                    <a:lnTo>
                      <a:pt x="412" y="700"/>
                    </a:lnTo>
                    <a:lnTo>
                      <a:pt x="414" y="698"/>
                    </a:lnTo>
                    <a:lnTo>
                      <a:pt x="431" y="700"/>
                    </a:lnTo>
                    <a:lnTo>
                      <a:pt x="431" y="700"/>
                    </a:lnTo>
                    <a:lnTo>
                      <a:pt x="433" y="700"/>
                    </a:lnTo>
                    <a:lnTo>
                      <a:pt x="435" y="702"/>
                    </a:lnTo>
                    <a:lnTo>
                      <a:pt x="435" y="702"/>
                    </a:lnTo>
                    <a:lnTo>
                      <a:pt x="435" y="704"/>
                    </a:lnTo>
                    <a:lnTo>
                      <a:pt x="435" y="704"/>
                    </a:lnTo>
                    <a:lnTo>
                      <a:pt x="435" y="704"/>
                    </a:lnTo>
                    <a:lnTo>
                      <a:pt x="437" y="704"/>
                    </a:lnTo>
                    <a:lnTo>
                      <a:pt x="439" y="706"/>
                    </a:lnTo>
                    <a:lnTo>
                      <a:pt x="440" y="706"/>
                    </a:lnTo>
                    <a:lnTo>
                      <a:pt x="440" y="708"/>
                    </a:lnTo>
                    <a:lnTo>
                      <a:pt x="442" y="710"/>
                    </a:lnTo>
                    <a:lnTo>
                      <a:pt x="442" y="719"/>
                    </a:lnTo>
                    <a:lnTo>
                      <a:pt x="442" y="721"/>
                    </a:lnTo>
                    <a:lnTo>
                      <a:pt x="442" y="723"/>
                    </a:lnTo>
                    <a:lnTo>
                      <a:pt x="442" y="725"/>
                    </a:lnTo>
                    <a:lnTo>
                      <a:pt x="442" y="725"/>
                    </a:lnTo>
                    <a:lnTo>
                      <a:pt x="444" y="727"/>
                    </a:lnTo>
                    <a:lnTo>
                      <a:pt x="444" y="729"/>
                    </a:lnTo>
                    <a:lnTo>
                      <a:pt x="444" y="729"/>
                    </a:lnTo>
                    <a:lnTo>
                      <a:pt x="444" y="730"/>
                    </a:lnTo>
                    <a:lnTo>
                      <a:pt x="442" y="730"/>
                    </a:lnTo>
                    <a:lnTo>
                      <a:pt x="429" y="729"/>
                    </a:lnTo>
                    <a:lnTo>
                      <a:pt x="427" y="729"/>
                    </a:lnTo>
                    <a:lnTo>
                      <a:pt x="427" y="730"/>
                    </a:lnTo>
                    <a:lnTo>
                      <a:pt x="427" y="730"/>
                    </a:lnTo>
                    <a:lnTo>
                      <a:pt x="427" y="732"/>
                    </a:lnTo>
                    <a:lnTo>
                      <a:pt x="427" y="734"/>
                    </a:lnTo>
                    <a:lnTo>
                      <a:pt x="427" y="736"/>
                    </a:lnTo>
                    <a:lnTo>
                      <a:pt x="427" y="736"/>
                    </a:lnTo>
                    <a:lnTo>
                      <a:pt x="429" y="740"/>
                    </a:lnTo>
                    <a:lnTo>
                      <a:pt x="433" y="746"/>
                    </a:lnTo>
                    <a:lnTo>
                      <a:pt x="433" y="748"/>
                    </a:lnTo>
                    <a:lnTo>
                      <a:pt x="433" y="750"/>
                    </a:lnTo>
                    <a:lnTo>
                      <a:pt x="433" y="750"/>
                    </a:lnTo>
                    <a:lnTo>
                      <a:pt x="435" y="750"/>
                    </a:lnTo>
                    <a:lnTo>
                      <a:pt x="435" y="750"/>
                    </a:lnTo>
                    <a:lnTo>
                      <a:pt x="437" y="748"/>
                    </a:lnTo>
                    <a:lnTo>
                      <a:pt x="437" y="748"/>
                    </a:lnTo>
                    <a:lnTo>
                      <a:pt x="437" y="746"/>
                    </a:lnTo>
                    <a:lnTo>
                      <a:pt x="439" y="748"/>
                    </a:lnTo>
                    <a:lnTo>
                      <a:pt x="440" y="748"/>
                    </a:lnTo>
                    <a:lnTo>
                      <a:pt x="440" y="748"/>
                    </a:lnTo>
                    <a:lnTo>
                      <a:pt x="442" y="750"/>
                    </a:lnTo>
                    <a:lnTo>
                      <a:pt x="442" y="750"/>
                    </a:lnTo>
                    <a:lnTo>
                      <a:pt x="444" y="751"/>
                    </a:lnTo>
                    <a:lnTo>
                      <a:pt x="444" y="751"/>
                    </a:lnTo>
                    <a:lnTo>
                      <a:pt x="446" y="751"/>
                    </a:lnTo>
                    <a:lnTo>
                      <a:pt x="448" y="751"/>
                    </a:lnTo>
                    <a:lnTo>
                      <a:pt x="450" y="750"/>
                    </a:lnTo>
                    <a:lnTo>
                      <a:pt x="450" y="750"/>
                    </a:lnTo>
                    <a:lnTo>
                      <a:pt x="452" y="750"/>
                    </a:lnTo>
                    <a:lnTo>
                      <a:pt x="454" y="750"/>
                    </a:lnTo>
                    <a:lnTo>
                      <a:pt x="458" y="750"/>
                    </a:lnTo>
                    <a:lnTo>
                      <a:pt x="458" y="750"/>
                    </a:lnTo>
                    <a:lnTo>
                      <a:pt x="460" y="751"/>
                    </a:lnTo>
                    <a:lnTo>
                      <a:pt x="460" y="751"/>
                    </a:lnTo>
                    <a:lnTo>
                      <a:pt x="460" y="751"/>
                    </a:lnTo>
                    <a:lnTo>
                      <a:pt x="461" y="751"/>
                    </a:lnTo>
                    <a:lnTo>
                      <a:pt x="465" y="750"/>
                    </a:lnTo>
                    <a:lnTo>
                      <a:pt x="467" y="748"/>
                    </a:lnTo>
                    <a:lnTo>
                      <a:pt x="471" y="746"/>
                    </a:lnTo>
                    <a:lnTo>
                      <a:pt x="473" y="746"/>
                    </a:lnTo>
                    <a:lnTo>
                      <a:pt x="473" y="746"/>
                    </a:lnTo>
                    <a:lnTo>
                      <a:pt x="479" y="748"/>
                    </a:lnTo>
                    <a:lnTo>
                      <a:pt x="482" y="750"/>
                    </a:lnTo>
                    <a:lnTo>
                      <a:pt x="484" y="750"/>
                    </a:lnTo>
                    <a:lnTo>
                      <a:pt x="486" y="750"/>
                    </a:lnTo>
                    <a:lnTo>
                      <a:pt x="502" y="744"/>
                    </a:lnTo>
                    <a:lnTo>
                      <a:pt x="509" y="740"/>
                    </a:lnTo>
                    <a:lnTo>
                      <a:pt x="513" y="738"/>
                    </a:lnTo>
                    <a:lnTo>
                      <a:pt x="517" y="736"/>
                    </a:lnTo>
                    <a:lnTo>
                      <a:pt x="519" y="732"/>
                    </a:lnTo>
                    <a:lnTo>
                      <a:pt x="521" y="730"/>
                    </a:lnTo>
                    <a:lnTo>
                      <a:pt x="522" y="729"/>
                    </a:lnTo>
                    <a:lnTo>
                      <a:pt x="524" y="727"/>
                    </a:lnTo>
                    <a:lnTo>
                      <a:pt x="530" y="727"/>
                    </a:lnTo>
                    <a:lnTo>
                      <a:pt x="536" y="725"/>
                    </a:lnTo>
                    <a:lnTo>
                      <a:pt x="540" y="721"/>
                    </a:lnTo>
                    <a:lnTo>
                      <a:pt x="540" y="719"/>
                    </a:lnTo>
                    <a:lnTo>
                      <a:pt x="542" y="719"/>
                    </a:lnTo>
                    <a:lnTo>
                      <a:pt x="543" y="719"/>
                    </a:lnTo>
                    <a:lnTo>
                      <a:pt x="543" y="719"/>
                    </a:lnTo>
                    <a:lnTo>
                      <a:pt x="547" y="719"/>
                    </a:lnTo>
                    <a:lnTo>
                      <a:pt x="547" y="719"/>
                    </a:lnTo>
                    <a:lnTo>
                      <a:pt x="549" y="719"/>
                    </a:lnTo>
                    <a:lnTo>
                      <a:pt x="549" y="721"/>
                    </a:lnTo>
                    <a:lnTo>
                      <a:pt x="549" y="725"/>
                    </a:lnTo>
                    <a:lnTo>
                      <a:pt x="551" y="727"/>
                    </a:lnTo>
                    <a:lnTo>
                      <a:pt x="551" y="729"/>
                    </a:lnTo>
                    <a:lnTo>
                      <a:pt x="551" y="732"/>
                    </a:lnTo>
                    <a:lnTo>
                      <a:pt x="551" y="734"/>
                    </a:lnTo>
                    <a:lnTo>
                      <a:pt x="551" y="734"/>
                    </a:lnTo>
                    <a:lnTo>
                      <a:pt x="551" y="734"/>
                    </a:lnTo>
                    <a:lnTo>
                      <a:pt x="551" y="734"/>
                    </a:lnTo>
                    <a:lnTo>
                      <a:pt x="551" y="734"/>
                    </a:lnTo>
                    <a:lnTo>
                      <a:pt x="553" y="734"/>
                    </a:lnTo>
                    <a:lnTo>
                      <a:pt x="553" y="734"/>
                    </a:lnTo>
                    <a:lnTo>
                      <a:pt x="555" y="734"/>
                    </a:lnTo>
                    <a:lnTo>
                      <a:pt x="557" y="734"/>
                    </a:lnTo>
                    <a:lnTo>
                      <a:pt x="557" y="732"/>
                    </a:lnTo>
                    <a:lnTo>
                      <a:pt x="559" y="732"/>
                    </a:lnTo>
                    <a:lnTo>
                      <a:pt x="561" y="732"/>
                    </a:lnTo>
                    <a:lnTo>
                      <a:pt x="563" y="732"/>
                    </a:lnTo>
                    <a:lnTo>
                      <a:pt x="564" y="732"/>
                    </a:lnTo>
                    <a:lnTo>
                      <a:pt x="564" y="734"/>
                    </a:lnTo>
                    <a:lnTo>
                      <a:pt x="568" y="736"/>
                    </a:lnTo>
                    <a:lnTo>
                      <a:pt x="568" y="736"/>
                    </a:lnTo>
                    <a:lnTo>
                      <a:pt x="576" y="738"/>
                    </a:lnTo>
                    <a:lnTo>
                      <a:pt x="585" y="738"/>
                    </a:lnTo>
                    <a:lnTo>
                      <a:pt x="587" y="738"/>
                    </a:lnTo>
                    <a:lnTo>
                      <a:pt x="591" y="738"/>
                    </a:lnTo>
                    <a:lnTo>
                      <a:pt x="599" y="736"/>
                    </a:lnTo>
                    <a:lnTo>
                      <a:pt x="603" y="736"/>
                    </a:lnTo>
                    <a:lnTo>
                      <a:pt x="606" y="734"/>
                    </a:lnTo>
                    <a:lnTo>
                      <a:pt x="612" y="734"/>
                    </a:lnTo>
                    <a:lnTo>
                      <a:pt x="612" y="734"/>
                    </a:lnTo>
                    <a:lnTo>
                      <a:pt x="614" y="732"/>
                    </a:lnTo>
                    <a:lnTo>
                      <a:pt x="614" y="730"/>
                    </a:lnTo>
                    <a:lnTo>
                      <a:pt x="614" y="730"/>
                    </a:lnTo>
                    <a:lnTo>
                      <a:pt x="614" y="729"/>
                    </a:lnTo>
                    <a:lnTo>
                      <a:pt x="614" y="727"/>
                    </a:lnTo>
                    <a:lnTo>
                      <a:pt x="614" y="727"/>
                    </a:lnTo>
                    <a:lnTo>
                      <a:pt x="614" y="725"/>
                    </a:lnTo>
                    <a:lnTo>
                      <a:pt x="618" y="723"/>
                    </a:lnTo>
                    <a:lnTo>
                      <a:pt x="624" y="721"/>
                    </a:lnTo>
                    <a:lnTo>
                      <a:pt x="633" y="721"/>
                    </a:lnTo>
                    <a:lnTo>
                      <a:pt x="637" y="719"/>
                    </a:lnTo>
                    <a:lnTo>
                      <a:pt x="645" y="717"/>
                    </a:lnTo>
                    <a:lnTo>
                      <a:pt x="648" y="715"/>
                    </a:lnTo>
                    <a:lnTo>
                      <a:pt x="650" y="715"/>
                    </a:lnTo>
                    <a:lnTo>
                      <a:pt x="652" y="713"/>
                    </a:lnTo>
                    <a:lnTo>
                      <a:pt x="652" y="711"/>
                    </a:lnTo>
                    <a:lnTo>
                      <a:pt x="652" y="710"/>
                    </a:lnTo>
                    <a:lnTo>
                      <a:pt x="652" y="708"/>
                    </a:lnTo>
                    <a:lnTo>
                      <a:pt x="652" y="708"/>
                    </a:lnTo>
                    <a:lnTo>
                      <a:pt x="654" y="708"/>
                    </a:lnTo>
                    <a:lnTo>
                      <a:pt x="656" y="706"/>
                    </a:lnTo>
                    <a:lnTo>
                      <a:pt x="660" y="710"/>
                    </a:lnTo>
                    <a:lnTo>
                      <a:pt x="662" y="710"/>
                    </a:lnTo>
                    <a:lnTo>
                      <a:pt x="666" y="710"/>
                    </a:lnTo>
                    <a:lnTo>
                      <a:pt x="669" y="710"/>
                    </a:lnTo>
                    <a:lnTo>
                      <a:pt x="671" y="710"/>
                    </a:lnTo>
                    <a:lnTo>
                      <a:pt x="673" y="710"/>
                    </a:lnTo>
                    <a:lnTo>
                      <a:pt x="675" y="710"/>
                    </a:lnTo>
                    <a:lnTo>
                      <a:pt x="677" y="710"/>
                    </a:lnTo>
                    <a:lnTo>
                      <a:pt x="683" y="711"/>
                    </a:lnTo>
                    <a:lnTo>
                      <a:pt x="685" y="713"/>
                    </a:lnTo>
                    <a:lnTo>
                      <a:pt x="686" y="717"/>
                    </a:lnTo>
                    <a:lnTo>
                      <a:pt x="690" y="719"/>
                    </a:lnTo>
                    <a:lnTo>
                      <a:pt x="690" y="723"/>
                    </a:lnTo>
                    <a:lnTo>
                      <a:pt x="690" y="723"/>
                    </a:lnTo>
                    <a:lnTo>
                      <a:pt x="692" y="725"/>
                    </a:lnTo>
                    <a:lnTo>
                      <a:pt x="692" y="725"/>
                    </a:lnTo>
                    <a:lnTo>
                      <a:pt x="692" y="727"/>
                    </a:lnTo>
                    <a:lnTo>
                      <a:pt x="692" y="729"/>
                    </a:lnTo>
                    <a:lnTo>
                      <a:pt x="692" y="730"/>
                    </a:lnTo>
                    <a:lnTo>
                      <a:pt x="694" y="730"/>
                    </a:lnTo>
                    <a:lnTo>
                      <a:pt x="696" y="730"/>
                    </a:lnTo>
                    <a:lnTo>
                      <a:pt x="698" y="729"/>
                    </a:lnTo>
                    <a:lnTo>
                      <a:pt x="700" y="729"/>
                    </a:lnTo>
                    <a:lnTo>
                      <a:pt x="702" y="727"/>
                    </a:lnTo>
                    <a:lnTo>
                      <a:pt x="706" y="725"/>
                    </a:lnTo>
                    <a:lnTo>
                      <a:pt x="706" y="725"/>
                    </a:lnTo>
                    <a:lnTo>
                      <a:pt x="707" y="723"/>
                    </a:lnTo>
                    <a:lnTo>
                      <a:pt x="711" y="725"/>
                    </a:lnTo>
                    <a:lnTo>
                      <a:pt x="719" y="723"/>
                    </a:lnTo>
                    <a:lnTo>
                      <a:pt x="721" y="723"/>
                    </a:lnTo>
                    <a:lnTo>
                      <a:pt x="723" y="723"/>
                    </a:lnTo>
                    <a:lnTo>
                      <a:pt x="725" y="725"/>
                    </a:lnTo>
                    <a:lnTo>
                      <a:pt x="727" y="727"/>
                    </a:lnTo>
                    <a:lnTo>
                      <a:pt x="727" y="729"/>
                    </a:lnTo>
                    <a:lnTo>
                      <a:pt x="728" y="730"/>
                    </a:lnTo>
                    <a:lnTo>
                      <a:pt x="728" y="730"/>
                    </a:lnTo>
                    <a:lnTo>
                      <a:pt x="730" y="732"/>
                    </a:lnTo>
                    <a:lnTo>
                      <a:pt x="732" y="732"/>
                    </a:lnTo>
                    <a:lnTo>
                      <a:pt x="734" y="732"/>
                    </a:lnTo>
                    <a:lnTo>
                      <a:pt x="736" y="730"/>
                    </a:lnTo>
                    <a:lnTo>
                      <a:pt x="738" y="730"/>
                    </a:lnTo>
                    <a:lnTo>
                      <a:pt x="738" y="730"/>
                    </a:lnTo>
                    <a:lnTo>
                      <a:pt x="740" y="729"/>
                    </a:lnTo>
                    <a:lnTo>
                      <a:pt x="742" y="729"/>
                    </a:lnTo>
                    <a:lnTo>
                      <a:pt x="744" y="727"/>
                    </a:lnTo>
                    <a:lnTo>
                      <a:pt x="746" y="727"/>
                    </a:lnTo>
                    <a:lnTo>
                      <a:pt x="746" y="727"/>
                    </a:lnTo>
                    <a:lnTo>
                      <a:pt x="746" y="729"/>
                    </a:lnTo>
                    <a:lnTo>
                      <a:pt x="746" y="729"/>
                    </a:lnTo>
                    <a:lnTo>
                      <a:pt x="747" y="729"/>
                    </a:lnTo>
                    <a:lnTo>
                      <a:pt x="747" y="729"/>
                    </a:lnTo>
                    <a:lnTo>
                      <a:pt x="749" y="729"/>
                    </a:lnTo>
                    <a:lnTo>
                      <a:pt x="759" y="727"/>
                    </a:lnTo>
                    <a:lnTo>
                      <a:pt x="759" y="723"/>
                    </a:lnTo>
                    <a:lnTo>
                      <a:pt x="763" y="721"/>
                    </a:lnTo>
                    <a:lnTo>
                      <a:pt x="768" y="719"/>
                    </a:lnTo>
                    <a:lnTo>
                      <a:pt x="770" y="719"/>
                    </a:lnTo>
                    <a:lnTo>
                      <a:pt x="772" y="717"/>
                    </a:lnTo>
                    <a:lnTo>
                      <a:pt x="772" y="717"/>
                    </a:lnTo>
                    <a:lnTo>
                      <a:pt x="774" y="719"/>
                    </a:lnTo>
                    <a:lnTo>
                      <a:pt x="780" y="723"/>
                    </a:lnTo>
                    <a:lnTo>
                      <a:pt x="784" y="725"/>
                    </a:lnTo>
                    <a:lnTo>
                      <a:pt x="788" y="725"/>
                    </a:lnTo>
                    <a:lnTo>
                      <a:pt x="788" y="725"/>
                    </a:lnTo>
                    <a:lnTo>
                      <a:pt x="789" y="727"/>
                    </a:lnTo>
                    <a:lnTo>
                      <a:pt x="789" y="727"/>
                    </a:lnTo>
                    <a:lnTo>
                      <a:pt x="789" y="729"/>
                    </a:lnTo>
                    <a:lnTo>
                      <a:pt x="789" y="730"/>
                    </a:lnTo>
                    <a:lnTo>
                      <a:pt x="791" y="732"/>
                    </a:lnTo>
                    <a:lnTo>
                      <a:pt x="797" y="736"/>
                    </a:lnTo>
                    <a:lnTo>
                      <a:pt x="799" y="738"/>
                    </a:lnTo>
                    <a:lnTo>
                      <a:pt x="801" y="740"/>
                    </a:lnTo>
                    <a:lnTo>
                      <a:pt x="801" y="740"/>
                    </a:lnTo>
                    <a:lnTo>
                      <a:pt x="801" y="742"/>
                    </a:lnTo>
                    <a:lnTo>
                      <a:pt x="801" y="744"/>
                    </a:lnTo>
                    <a:lnTo>
                      <a:pt x="801" y="744"/>
                    </a:lnTo>
                    <a:lnTo>
                      <a:pt x="801" y="744"/>
                    </a:lnTo>
                    <a:lnTo>
                      <a:pt x="799" y="748"/>
                    </a:lnTo>
                    <a:lnTo>
                      <a:pt x="797" y="748"/>
                    </a:lnTo>
                    <a:lnTo>
                      <a:pt x="799" y="750"/>
                    </a:lnTo>
                    <a:lnTo>
                      <a:pt x="799" y="750"/>
                    </a:lnTo>
                    <a:lnTo>
                      <a:pt x="801" y="750"/>
                    </a:lnTo>
                    <a:lnTo>
                      <a:pt x="801" y="750"/>
                    </a:lnTo>
                    <a:lnTo>
                      <a:pt x="803" y="750"/>
                    </a:lnTo>
                    <a:lnTo>
                      <a:pt x="807" y="750"/>
                    </a:lnTo>
                    <a:lnTo>
                      <a:pt x="807" y="748"/>
                    </a:lnTo>
                    <a:lnTo>
                      <a:pt x="809" y="748"/>
                    </a:lnTo>
                    <a:lnTo>
                      <a:pt x="809" y="750"/>
                    </a:lnTo>
                    <a:lnTo>
                      <a:pt x="812" y="750"/>
                    </a:lnTo>
                    <a:lnTo>
                      <a:pt x="826" y="759"/>
                    </a:lnTo>
                    <a:lnTo>
                      <a:pt x="828" y="759"/>
                    </a:lnTo>
                    <a:lnTo>
                      <a:pt x="828" y="759"/>
                    </a:lnTo>
                    <a:lnTo>
                      <a:pt x="829" y="759"/>
                    </a:lnTo>
                    <a:lnTo>
                      <a:pt x="829" y="757"/>
                    </a:lnTo>
                    <a:lnTo>
                      <a:pt x="831" y="755"/>
                    </a:lnTo>
                    <a:lnTo>
                      <a:pt x="833" y="755"/>
                    </a:lnTo>
                    <a:lnTo>
                      <a:pt x="837" y="750"/>
                    </a:lnTo>
                    <a:lnTo>
                      <a:pt x="837" y="744"/>
                    </a:lnTo>
                    <a:lnTo>
                      <a:pt x="839" y="740"/>
                    </a:lnTo>
                    <a:lnTo>
                      <a:pt x="839" y="736"/>
                    </a:lnTo>
                    <a:lnTo>
                      <a:pt x="839" y="725"/>
                    </a:lnTo>
                    <a:lnTo>
                      <a:pt x="839" y="721"/>
                    </a:lnTo>
                    <a:lnTo>
                      <a:pt x="839" y="719"/>
                    </a:lnTo>
                    <a:lnTo>
                      <a:pt x="841" y="706"/>
                    </a:lnTo>
                    <a:lnTo>
                      <a:pt x="841" y="704"/>
                    </a:lnTo>
                    <a:lnTo>
                      <a:pt x="843" y="700"/>
                    </a:lnTo>
                    <a:lnTo>
                      <a:pt x="847" y="700"/>
                    </a:lnTo>
                    <a:lnTo>
                      <a:pt x="850" y="698"/>
                    </a:lnTo>
                    <a:lnTo>
                      <a:pt x="852" y="694"/>
                    </a:lnTo>
                    <a:lnTo>
                      <a:pt x="854" y="689"/>
                    </a:lnTo>
                    <a:lnTo>
                      <a:pt x="852" y="681"/>
                    </a:lnTo>
                    <a:lnTo>
                      <a:pt x="854" y="675"/>
                    </a:lnTo>
                    <a:lnTo>
                      <a:pt x="854" y="671"/>
                    </a:lnTo>
                    <a:lnTo>
                      <a:pt x="860" y="660"/>
                    </a:lnTo>
                    <a:lnTo>
                      <a:pt x="862" y="656"/>
                    </a:lnTo>
                    <a:lnTo>
                      <a:pt x="864" y="654"/>
                    </a:lnTo>
                    <a:lnTo>
                      <a:pt x="866" y="654"/>
                    </a:lnTo>
                    <a:lnTo>
                      <a:pt x="868" y="656"/>
                    </a:lnTo>
                    <a:lnTo>
                      <a:pt x="871" y="660"/>
                    </a:lnTo>
                    <a:lnTo>
                      <a:pt x="871" y="662"/>
                    </a:lnTo>
                    <a:lnTo>
                      <a:pt x="873" y="662"/>
                    </a:lnTo>
                    <a:lnTo>
                      <a:pt x="875" y="660"/>
                    </a:lnTo>
                    <a:lnTo>
                      <a:pt x="875" y="658"/>
                    </a:lnTo>
                    <a:lnTo>
                      <a:pt x="873" y="656"/>
                    </a:lnTo>
                    <a:lnTo>
                      <a:pt x="873" y="654"/>
                    </a:lnTo>
                    <a:lnTo>
                      <a:pt x="871" y="652"/>
                    </a:lnTo>
                    <a:lnTo>
                      <a:pt x="873" y="652"/>
                    </a:lnTo>
                    <a:lnTo>
                      <a:pt x="875" y="651"/>
                    </a:lnTo>
                    <a:lnTo>
                      <a:pt x="875" y="651"/>
                    </a:lnTo>
                    <a:lnTo>
                      <a:pt x="877" y="649"/>
                    </a:lnTo>
                    <a:lnTo>
                      <a:pt x="877" y="641"/>
                    </a:lnTo>
                    <a:lnTo>
                      <a:pt x="877" y="639"/>
                    </a:lnTo>
                    <a:lnTo>
                      <a:pt x="879" y="637"/>
                    </a:lnTo>
                    <a:lnTo>
                      <a:pt x="881" y="637"/>
                    </a:lnTo>
                    <a:lnTo>
                      <a:pt x="887" y="633"/>
                    </a:lnTo>
                    <a:lnTo>
                      <a:pt x="889" y="628"/>
                    </a:lnTo>
                    <a:lnTo>
                      <a:pt x="889" y="626"/>
                    </a:lnTo>
                    <a:lnTo>
                      <a:pt x="891" y="622"/>
                    </a:lnTo>
                    <a:lnTo>
                      <a:pt x="889" y="618"/>
                    </a:lnTo>
                    <a:lnTo>
                      <a:pt x="889" y="614"/>
                    </a:lnTo>
                    <a:lnTo>
                      <a:pt x="891" y="611"/>
                    </a:lnTo>
                    <a:lnTo>
                      <a:pt x="894" y="605"/>
                    </a:lnTo>
                    <a:lnTo>
                      <a:pt x="896" y="603"/>
                    </a:lnTo>
                    <a:lnTo>
                      <a:pt x="898" y="603"/>
                    </a:lnTo>
                    <a:lnTo>
                      <a:pt x="900" y="603"/>
                    </a:lnTo>
                    <a:lnTo>
                      <a:pt x="900" y="605"/>
                    </a:lnTo>
                    <a:lnTo>
                      <a:pt x="900" y="607"/>
                    </a:lnTo>
                    <a:lnTo>
                      <a:pt x="902" y="607"/>
                    </a:lnTo>
                    <a:lnTo>
                      <a:pt x="904" y="609"/>
                    </a:lnTo>
                    <a:lnTo>
                      <a:pt x="906" y="607"/>
                    </a:lnTo>
                    <a:lnTo>
                      <a:pt x="910" y="605"/>
                    </a:lnTo>
                    <a:lnTo>
                      <a:pt x="911" y="603"/>
                    </a:lnTo>
                    <a:lnTo>
                      <a:pt x="913" y="603"/>
                    </a:lnTo>
                    <a:lnTo>
                      <a:pt x="917" y="601"/>
                    </a:lnTo>
                    <a:lnTo>
                      <a:pt x="919" y="601"/>
                    </a:lnTo>
                    <a:lnTo>
                      <a:pt x="921" y="601"/>
                    </a:lnTo>
                    <a:lnTo>
                      <a:pt x="923" y="603"/>
                    </a:lnTo>
                    <a:lnTo>
                      <a:pt x="925" y="607"/>
                    </a:lnTo>
                    <a:lnTo>
                      <a:pt x="927" y="609"/>
                    </a:lnTo>
                    <a:lnTo>
                      <a:pt x="929" y="609"/>
                    </a:lnTo>
                    <a:lnTo>
                      <a:pt x="931" y="607"/>
                    </a:lnTo>
                    <a:lnTo>
                      <a:pt x="932" y="605"/>
                    </a:lnTo>
                    <a:lnTo>
                      <a:pt x="934" y="605"/>
                    </a:lnTo>
                    <a:lnTo>
                      <a:pt x="936" y="603"/>
                    </a:lnTo>
                    <a:lnTo>
                      <a:pt x="938" y="601"/>
                    </a:lnTo>
                    <a:lnTo>
                      <a:pt x="942" y="597"/>
                    </a:lnTo>
                    <a:lnTo>
                      <a:pt x="944" y="597"/>
                    </a:lnTo>
                    <a:lnTo>
                      <a:pt x="946" y="595"/>
                    </a:lnTo>
                    <a:lnTo>
                      <a:pt x="950" y="595"/>
                    </a:lnTo>
                    <a:lnTo>
                      <a:pt x="952" y="595"/>
                    </a:lnTo>
                    <a:lnTo>
                      <a:pt x="955" y="593"/>
                    </a:lnTo>
                    <a:lnTo>
                      <a:pt x="955" y="592"/>
                    </a:lnTo>
                    <a:lnTo>
                      <a:pt x="955" y="590"/>
                    </a:lnTo>
                    <a:lnTo>
                      <a:pt x="955" y="588"/>
                    </a:lnTo>
                    <a:lnTo>
                      <a:pt x="957" y="586"/>
                    </a:lnTo>
                    <a:lnTo>
                      <a:pt x="965" y="580"/>
                    </a:lnTo>
                    <a:lnTo>
                      <a:pt x="969" y="580"/>
                    </a:lnTo>
                    <a:lnTo>
                      <a:pt x="971" y="578"/>
                    </a:lnTo>
                    <a:lnTo>
                      <a:pt x="971" y="576"/>
                    </a:lnTo>
                    <a:lnTo>
                      <a:pt x="969" y="573"/>
                    </a:lnTo>
                    <a:lnTo>
                      <a:pt x="969" y="571"/>
                    </a:lnTo>
                    <a:lnTo>
                      <a:pt x="971" y="571"/>
                    </a:lnTo>
                    <a:lnTo>
                      <a:pt x="973" y="567"/>
                    </a:lnTo>
                    <a:lnTo>
                      <a:pt x="973" y="563"/>
                    </a:lnTo>
                    <a:lnTo>
                      <a:pt x="971" y="557"/>
                    </a:lnTo>
                    <a:lnTo>
                      <a:pt x="973" y="555"/>
                    </a:lnTo>
                    <a:lnTo>
                      <a:pt x="973" y="554"/>
                    </a:lnTo>
                    <a:lnTo>
                      <a:pt x="974" y="552"/>
                    </a:lnTo>
                    <a:lnTo>
                      <a:pt x="980" y="550"/>
                    </a:lnTo>
                    <a:lnTo>
                      <a:pt x="982" y="548"/>
                    </a:lnTo>
                    <a:lnTo>
                      <a:pt x="988" y="544"/>
                    </a:lnTo>
                    <a:lnTo>
                      <a:pt x="992" y="540"/>
                    </a:lnTo>
                    <a:lnTo>
                      <a:pt x="993" y="538"/>
                    </a:lnTo>
                    <a:lnTo>
                      <a:pt x="992" y="533"/>
                    </a:lnTo>
                    <a:lnTo>
                      <a:pt x="992" y="531"/>
                    </a:lnTo>
                    <a:lnTo>
                      <a:pt x="993" y="527"/>
                    </a:lnTo>
                    <a:lnTo>
                      <a:pt x="995" y="525"/>
                    </a:lnTo>
                    <a:lnTo>
                      <a:pt x="1003" y="523"/>
                    </a:lnTo>
                    <a:lnTo>
                      <a:pt x="1009" y="519"/>
                    </a:lnTo>
                    <a:lnTo>
                      <a:pt x="1011" y="519"/>
                    </a:lnTo>
                    <a:lnTo>
                      <a:pt x="1013" y="519"/>
                    </a:lnTo>
                    <a:lnTo>
                      <a:pt x="1016" y="519"/>
                    </a:lnTo>
                    <a:lnTo>
                      <a:pt x="1016" y="517"/>
                    </a:lnTo>
                    <a:lnTo>
                      <a:pt x="1018" y="512"/>
                    </a:lnTo>
                    <a:lnTo>
                      <a:pt x="1020" y="510"/>
                    </a:lnTo>
                    <a:lnTo>
                      <a:pt x="1020" y="504"/>
                    </a:lnTo>
                    <a:lnTo>
                      <a:pt x="1024" y="493"/>
                    </a:lnTo>
                    <a:lnTo>
                      <a:pt x="1022" y="491"/>
                    </a:lnTo>
                    <a:lnTo>
                      <a:pt x="1022" y="489"/>
                    </a:lnTo>
                    <a:lnTo>
                      <a:pt x="1016" y="485"/>
                    </a:lnTo>
                    <a:lnTo>
                      <a:pt x="1014" y="483"/>
                    </a:lnTo>
                    <a:lnTo>
                      <a:pt x="1014" y="483"/>
                    </a:lnTo>
                    <a:lnTo>
                      <a:pt x="1013" y="481"/>
                    </a:lnTo>
                    <a:lnTo>
                      <a:pt x="1005" y="483"/>
                    </a:lnTo>
                    <a:lnTo>
                      <a:pt x="1003" y="483"/>
                    </a:lnTo>
                    <a:lnTo>
                      <a:pt x="1003" y="481"/>
                    </a:lnTo>
                    <a:lnTo>
                      <a:pt x="1003" y="479"/>
                    </a:lnTo>
                    <a:lnTo>
                      <a:pt x="1001" y="479"/>
                    </a:lnTo>
                    <a:lnTo>
                      <a:pt x="1001" y="479"/>
                    </a:lnTo>
                    <a:lnTo>
                      <a:pt x="999" y="477"/>
                    </a:lnTo>
                    <a:lnTo>
                      <a:pt x="997" y="476"/>
                    </a:lnTo>
                    <a:lnTo>
                      <a:pt x="993" y="470"/>
                    </a:lnTo>
                    <a:lnTo>
                      <a:pt x="990" y="466"/>
                    </a:lnTo>
                    <a:lnTo>
                      <a:pt x="988" y="464"/>
                    </a:lnTo>
                    <a:lnTo>
                      <a:pt x="982" y="464"/>
                    </a:lnTo>
                    <a:lnTo>
                      <a:pt x="974" y="460"/>
                    </a:lnTo>
                    <a:lnTo>
                      <a:pt x="973" y="460"/>
                    </a:lnTo>
                    <a:lnTo>
                      <a:pt x="969" y="458"/>
                    </a:lnTo>
                    <a:lnTo>
                      <a:pt x="967" y="458"/>
                    </a:lnTo>
                    <a:lnTo>
                      <a:pt x="967" y="460"/>
                    </a:lnTo>
                    <a:lnTo>
                      <a:pt x="963" y="462"/>
                    </a:lnTo>
                    <a:lnTo>
                      <a:pt x="959" y="464"/>
                    </a:lnTo>
                    <a:lnTo>
                      <a:pt x="957" y="466"/>
                    </a:lnTo>
                    <a:lnTo>
                      <a:pt x="955" y="468"/>
                    </a:lnTo>
                    <a:lnTo>
                      <a:pt x="953" y="466"/>
                    </a:lnTo>
                    <a:lnTo>
                      <a:pt x="952" y="464"/>
                    </a:lnTo>
                    <a:lnTo>
                      <a:pt x="952" y="462"/>
                    </a:lnTo>
                    <a:lnTo>
                      <a:pt x="950" y="460"/>
                    </a:lnTo>
                    <a:lnTo>
                      <a:pt x="950" y="458"/>
                    </a:lnTo>
                    <a:lnTo>
                      <a:pt x="948" y="457"/>
                    </a:lnTo>
                    <a:lnTo>
                      <a:pt x="948" y="455"/>
                    </a:lnTo>
                    <a:lnTo>
                      <a:pt x="950" y="455"/>
                    </a:lnTo>
                    <a:lnTo>
                      <a:pt x="950" y="455"/>
                    </a:lnTo>
                    <a:lnTo>
                      <a:pt x="952" y="453"/>
                    </a:lnTo>
                    <a:lnTo>
                      <a:pt x="952" y="447"/>
                    </a:lnTo>
                    <a:lnTo>
                      <a:pt x="953" y="447"/>
                    </a:lnTo>
                    <a:lnTo>
                      <a:pt x="955" y="445"/>
                    </a:lnTo>
                    <a:lnTo>
                      <a:pt x="957" y="445"/>
                    </a:lnTo>
                    <a:lnTo>
                      <a:pt x="959" y="441"/>
                    </a:lnTo>
                    <a:lnTo>
                      <a:pt x="959" y="439"/>
                    </a:lnTo>
                    <a:lnTo>
                      <a:pt x="961" y="439"/>
                    </a:lnTo>
                    <a:lnTo>
                      <a:pt x="961" y="436"/>
                    </a:lnTo>
                    <a:lnTo>
                      <a:pt x="959" y="434"/>
                    </a:lnTo>
                    <a:lnTo>
                      <a:pt x="957" y="430"/>
                    </a:lnTo>
                    <a:lnTo>
                      <a:pt x="953" y="422"/>
                    </a:lnTo>
                    <a:lnTo>
                      <a:pt x="952" y="420"/>
                    </a:lnTo>
                    <a:lnTo>
                      <a:pt x="952" y="418"/>
                    </a:lnTo>
                    <a:lnTo>
                      <a:pt x="953" y="417"/>
                    </a:lnTo>
                    <a:lnTo>
                      <a:pt x="953" y="415"/>
                    </a:lnTo>
                    <a:lnTo>
                      <a:pt x="952" y="415"/>
                    </a:lnTo>
                    <a:lnTo>
                      <a:pt x="955" y="413"/>
                    </a:lnTo>
                    <a:lnTo>
                      <a:pt x="959" y="413"/>
                    </a:lnTo>
                    <a:lnTo>
                      <a:pt x="963" y="415"/>
                    </a:lnTo>
                    <a:lnTo>
                      <a:pt x="967" y="420"/>
                    </a:lnTo>
                    <a:lnTo>
                      <a:pt x="973" y="424"/>
                    </a:lnTo>
                    <a:lnTo>
                      <a:pt x="976" y="424"/>
                    </a:lnTo>
                    <a:lnTo>
                      <a:pt x="978" y="424"/>
                    </a:lnTo>
                    <a:lnTo>
                      <a:pt x="982" y="422"/>
                    </a:lnTo>
                    <a:lnTo>
                      <a:pt x="988" y="418"/>
                    </a:lnTo>
                    <a:lnTo>
                      <a:pt x="992" y="418"/>
                    </a:lnTo>
                    <a:lnTo>
                      <a:pt x="999" y="418"/>
                    </a:lnTo>
                    <a:lnTo>
                      <a:pt x="1003" y="420"/>
                    </a:lnTo>
                    <a:lnTo>
                      <a:pt x="1009" y="424"/>
                    </a:lnTo>
                    <a:lnTo>
                      <a:pt x="1013" y="424"/>
                    </a:lnTo>
                    <a:lnTo>
                      <a:pt x="1026" y="424"/>
                    </a:lnTo>
                    <a:lnTo>
                      <a:pt x="1030" y="426"/>
                    </a:lnTo>
                    <a:lnTo>
                      <a:pt x="1032" y="426"/>
                    </a:lnTo>
                    <a:lnTo>
                      <a:pt x="1051" y="426"/>
                    </a:lnTo>
                    <a:lnTo>
                      <a:pt x="1062" y="428"/>
                    </a:lnTo>
                    <a:lnTo>
                      <a:pt x="1066" y="426"/>
                    </a:lnTo>
                    <a:lnTo>
                      <a:pt x="1068" y="426"/>
                    </a:lnTo>
                    <a:lnTo>
                      <a:pt x="1070" y="424"/>
                    </a:lnTo>
                    <a:lnTo>
                      <a:pt x="1072" y="422"/>
                    </a:lnTo>
                    <a:lnTo>
                      <a:pt x="1075" y="420"/>
                    </a:lnTo>
                    <a:lnTo>
                      <a:pt x="1079" y="418"/>
                    </a:lnTo>
                    <a:lnTo>
                      <a:pt x="1081" y="417"/>
                    </a:lnTo>
                    <a:lnTo>
                      <a:pt x="1081" y="417"/>
                    </a:lnTo>
                    <a:lnTo>
                      <a:pt x="1081" y="415"/>
                    </a:lnTo>
                    <a:lnTo>
                      <a:pt x="1081" y="413"/>
                    </a:lnTo>
                    <a:lnTo>
                      <a:pt x="1083" y="411"/>
                    </a:lnTo>
                    <a:lnTo>
                      <a:pt x="1087" y="409"/>
                    </a:lnTo>
                    <a:lnTo>
                      <a:pt x="1091" y="409"/>
                    </a:lnTo>
                    <a:lnTo>
                      <a:pt x="1093" y="407"/>
                    </a:lnTo>
                    <a:lnTo>
                      <a:pt x="1096" y="405"/>
                    </a:lnTo>
                    <a:lnTo>
                      <a:pt x="1096" y="405"/>
                    </a:lnTo>
                    <a:lnTo>
                      <a:pt x="1098" y="403"/>
                    </a:lnTo>
                    <a:lnTo>
                      <a:pt x="1098" y="401"/>
                    </a:lnTo>
                    <a:lnTo>
                      <a:pt x="1098" y="399"/>
                    </a:lnTo>
                    <a:lnTo>
                      <a:pt x="1098" y="399"/>
                    </a:lnTo>
                    <a:lnTo>
                      <a:pt x="1100" y="396"/>
                    </a:lnTo>
                    <a:lnTo>
                      <a:pt x="1096" y="390"/>
                    </a:lnTo>
                    <a:lnTo>
                      <a:pt x="1093" y="388"/>
                    </a:lnTo>
                    <a:lnTo>
                      <a:pt x="1093" y="388"/>
                    </a:lnTo>
                    <a:lnTo>
                      <a:pt x="1091" y="388"/>
                    </a:lnTo>
                    <a:lnTo>
                      <a:pt x="1091" y="386"/>
                    </a:lnTo>
                    <a:lnTo>
                      <a:pt x="1093" y="384"/>
                    </a:lnTo>
                    <a:lnTo>
                      <a:pt x="1093" y="384"/>
                    </a:lnTo>
                    <a:lnTo>
                      <a:pt x="1093" y="382"/>
                    </a:lnTo>
                    <a:lnTo>
                      <a:pt x="1093" y="380"/>
                    </a:lnTo>
                    <a:lnTo>
                      <a:pt x="1091" y="380"/>
                    </a:lnTo>
                    <a:lnTo>
                      <a:pt x="1089" y="378"/>
                    </a:lnTo>
                    <a:lnTo>
                      <a:pt x="1087" y="377"/>
                    </a:lnTo>
                    <a:lnTo>
                      <a:pt x="1085" y="375"/>
                    </a:lnTo>
                    <a:lnTo>
                      <a:pt x="1085" y="373"/>
                    </a:lnTo>
                    <a:lnTo>
                      <a:pt x="1083" y="371"/>
                    </a:lnTo>
                    <a:lnTo>
                      <a:pt x="1085" y="371"/>
                    </a:lnTo>
                    <a:lnTo>
                      <a:pt x="1085" y="371"/>
                    </a:lnTo>
                    <a:lnTo>
                      <a:pt x="1085" y="369"/>
                    </a:lnTo>
                    <a:lnTo>
                      <a:pt x="1089" y="369"/>
                    </a:lnTo>
                    <a:lnTo>
                      <a:pt x="1091" y="369"/>
                    </a:lnTo>
                    <a:lnTo>
                      <a:pt x="1091" y="367"/>
                    </a:lnTo>
                    <a:lnTo>
                      <a:pt x="1093" y="358"/>
                    </a:lnTo>
                    <a:lnTo>
                      <a:pt x="1095" y="354"/>
                    </a:lnTo>
                    <a:lnTo>
                      <a:pt x="1095" y="352"/>
                    </a:lnTo>
                    <a:lnTo>
                      <a:pt x="1095" y="350"/>
                    </a:lnTo>
                    <a:lnTo>
                      <a:pt x="1096" y="342"/>
                    </a:lnTo>
                    <a:lnTo>
                      <a:pt x="1095" y="342"/>
                    </a:lnTo>
                    <a:lnTo>
                      <a:pt x="1095" y="340"/>
                    </a:lnTo>
                    <a:lnTo>
                      <a:pt x="1093" y="339"/>
                    </a:lnTo>
                    <a:lnTo>
                      <a:pt x="1091" y="339"/>
                    </a:lnTo>
                    <a:lnTo>
                      <a:pt x="1091" y="337"/>
                    </a:lnTo>
                    <a:lnTo>
                      <a:pt x="1091" y="337"/>
                    </a:lnTo>
                    <a:lnTo>
                      <a:pt x="1093" y="329"/>
                    </a:lnTo>
                    <a:lnTo>
                      <a:pt x="1093" y="327"/>
                    </a:lnTo>
                    <a:lnTo>
                      <a:pt x="1093" y="323"/>
                    </a:lnTo>
                    <a:lnTo>
                      <a:pt x="1091" y="321"/>
                    </a:lnTo>
                    <a:lnTo>
                      <a:pt x="1091" y="320"/>
                    </a:lnTo>
                    <a:lnTo>
                      <a:pt x="1093" y="320"/>
                    </a:lnTo>
                    <a:lnTo>
                      <a:pt x="1093" y="318"/>
                    </a:lnTo>
                    <a:lnTo>
                      <a:pt x="1095" y="318"/>
                    </a:lnTo>
                    <a:lnTo>
                      <a:pt x="1095" y="318"/>
                    </a:lnTo>
                    <a:lnTo>
                      <a:pt x="1098" y="320"/>
                    </a:lnTo>
                    <a:lnTo>
                      <a:pt x="1100" y="320"/>
                    </a:lnTo>
                    <a:lnTo>
                      <a:pt x="1100" y="318"/>
                    </a:lnTo>
                    <a:lnTo>
                      <a:pt x="1102" y="316"/>
                    </a:lnTo>
                    <a:lnTo>
                      <a:pt x="1102" y="316"/>
                    </a:lnTo>
                    <a:lnTo>
                      <a:pt x="1102" y="314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0" name="Freeform 22">
                <a:extLst>
                  <a:ext uri="{FF2B5EF4-FFF2-40B4-BE49-F238E27FC236}">
                    <a16:creationId xmlns:a16="http://schemas.microsoft.com/office/drawing/2014/main" id="{DB255FC5-DFAC-4712-97D1-8F663C166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1457" y="3380261"/>
                <a:ext cx="100013" cy="101600"/>
              </a:xfrm>
              <a:custGeom>
                <a:avLst/>
                <a:gdLst>
                  <a:gd name="T0" fmla="*/ 63 w 63"/>
                  <a:gd name="T1" fmla="*/ 34 h 64"/>
                  <a:gd name="T2" fmla="*/ 61 w 63"/>
                  <a:gd name="T3" fmla="*/ 28 h 64"/>
                  <a:gd name="T4" fmla="*/ 61 w 63"/>
                  <a:gd name="T5" fmla="*/ 26 h 64"/>
                  <a:gd name="T6" fmla="*/ 49 w 63"/>
                  <a:gd name="T7" fmla="*/ 15 h 64"/>
                  <a:gd name="T8" fmla="*/ 48 w 63"/>
                  <a:gd name="T9" fmla="*/ 9 h 64"/>
                  <a:gd name="T10" fmla="*/ 46 w 63"/>
                  <a:gd name="T11" fmla="*/ 1 h 64"/>
                  <a:gd name="T12" fmla="*/ 40 w 63"/>
                  <a:gd name="T13" fmla="*/ 3 h 64"/>
                  <a:gd name="T14" fmla="*/ 36 w 63"/>
                  <a:gd name="T15" fmla="*/ 1 h 64"/>
                  <a:gd name="T16" fmla="*/ 30 w 63"/>
                  <a:gd name="T17" fmla="*/ 0 h 64"/>
                  <a:gd name="T18" fmla="*/ 28 w 63"/>
                  <a:gd name="T19" fmla="*/ 3 h 64"/>
                  <a:gd name="T20" fmla="*/ 21 w 63"/>
                  <a:gd name="T21" fmla="*/ 5 h 64"/>
                  <a:gd name="T22" fmla="*/ 15 w 63"/>
                  <a:gd name="T23" fmla="*/ 7 h 64"/>
                  <a:gd name="T24" fmla="*/ 13 w 63"/>
                  <a:gd name="T25" fmla="*/ 11 h 64"/>
                  <a:gd name="T26" fmla="*/ 13 w 63"/>
                  <a:gd name="T27" fmla="*/ 13 h 64"/>
                  <a:gd name="T28" fmla="*/ 13 w 63"/>
                  <a:gd name="T29" fmla="*/ 22 h 64"/>
                  <a:gd name="T30" fmla="*/ 15 w 63"/>
                  <a:gd name="T31" fmla="*/ 26 h 64"/>
                  <a:gd name="T32" fmla="*/ 13 w 63"/>
                  <a:gd name="T33" fmla="*/ 28 h 64"/>
                  <a:gd name="T34" fmla="*/ 11 w 63"/>
                  <a:gd name="T35" fmla="*/ 32 h 64"/>
                  <a:gd name="T36" fmla="*/ 9 w 63"/>
                  <a:gd name="T37" fmla="*/ 36 h 64"/>
                  <a:gd name="T38" fmla="*/ 7 w 63"/>
                  <a:gd name="T39" fmla="*/ 36 h 64"/>
                  <a:gd name="T40" fmla="*/ 6 w 63"/>
                  <a:gd name="T41" fmla="*/ 38 h 64"/>
                  <a:gd name="T42" fmla="*/ 2 w 63"/>
                  <a:gd name="T43" fmla="*/ 43 h 64"/>
                  <a:gd name="T44" fmla="*/ 0 w 63"/>
                  <a:gd name="T45" fmla="*/ 45 h 64"/>
                  <a:gd name="T46" fmla="*/ 4 w 63"/>
                  <a:gd name="T47" fmla="*/ 47 h 64"/>
                  <a:gd name="T48" fmla="*/ 6 w 63"/>
                  <a:gd name="T49" fmla="*/ 49 h 64"/>
                  <a:gd name="T50" fmla="*/ 6 w 63"/>
                  <a:gd name="T51" fmla="*/ 51 h 64"/>
                  <a:gd name="T52" fmla="*/ 9 w 63"/>
                  <a:gd name="T53" fmla="*/ 51 h 64"/>
                  <a:gd name="T54" fmla="*/ 19 w 63"/>
                  <a:gd name="T55" fmla="*/ 49 h 64"/>
                  <a:gd name="T56" fmla="*/ 19 w 63"/>
                  <a:gd name="T57" fmla="*/ 47 h 64"/>
                  <a:gd name="T58" fmla="*/ 21 w 63"/>
                  <a:gd name="T59" fmla="*/ 47 h 64"/>
                  <a:gd name="T60" fmla="*/ 30 w 63"/>
                  <a:gd name="T61" fmla="*/ 51 h 64"/>
                  <a:gd name="T62" fmla="*/ 30 w 63"/>
                  <a:gd name="T63" fmla="*/ 53 h 64"/>
                  <a:gd name="T64" fmla="*/ 32 w 63"/>
                  <a:gd name="T65" fmla="*/ 57 h 64"/>
                  <a:gd name="T66" fmla="*/ 36 w 63"/>
                  <a:gd name="T67" fmla="*/ 60 h 64"/>
                  <a:gd name="T68" fmla="*/ 40 w 63"/>
                  <a:gd name="T69" fmla="*/ 62 h 64"/>
                  <a:gd name="T70" fmla="*/ 49 w 63"/>
                  <a:gd name="T71" fmla="*/ 64 h 64"/>
                  <a:gd name="T72" fmla="*/ 51 w 63"/>
                  <a:gd name="T73" fmla="*/ 62 h 64"/>
                  <a:gd name="T74" fmla="*/ 51 w 63"/>
                  <a:gd name="T75" fmla="*/ 60 h 64"/>
                  <a:gd name="T76" fmla="*/ 49 w 63"/>
                  <a:gd name="T77" fmla="*/ 59 h 64"/>
                  <a:gd name="T78" fmla="*/ 49 w 63"/>
                  <a:gd name="T79" fmla="*/ 57 h 64"/>
                  <a:gd name="T80" fmla="*/ 53 w 63"/>
                  <a:gd name="T81" fmla="*/ 55 h 64"/>
                  <a:gd name="T82" fmla="*/ 63 w 63"/>
                  <a:gd name="T83" fmla="*/ 53 h 64"/>
                  <a:gd name="T84" fmla="*/ 59 w 63"/>
                  <a:gd name="T85" fmla="*/ 45 h 64"/>
                  <a:gd name="T86" fmla="*/ 59 w 63"/>
                  <a:gd name="T87" fmla="*/ 41 h 64"/>
                  <a:gd name="T88" fmla="*/ 63 w 63"/>
                  <a:gd name="T89" fmla="*/ 40 h 64"/>
                  <a:gd name="T90" fmla="*/ 63 w 63"/>
                  <a:gd name="T91" fmla="*/ 38 h 64"/>
                  <a:gd name="T92" fmla="*/ 63 w 63"/>
                  <a:gd name="T93" fmla="*/ 36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3" h="64">
                    <a:moveTo>
                      <a:pt x="63" y="36"/>
                    </a:moveTo>
                    <a:lnTo>
                      <a:pt x="63" y="34"/>
                    </a:lnTo>
                    <a:lnTo>
                      <a:pt x="61" y="30"/>
                    </a:lnTo>
                    <a:lnTo>
                      <a:pt x="61" y="28"/>
                    </a:lnTo>
                    <a:lnTo>
                      <a:pt x="61" y="26"/>
                    </a:lnTo>
                    <a:lnTo>
                      <a:pt x="61" y="26"/>
                    </a:lnTo>
                    <a:lnTo>
                      <a:pt x="59" y="24"/>
                    </a:lnTo>
                    <a:lnTo>
                      <a:pt x="49" y="15"/>
                    </a:lnTo>
                    <a:lnTo>
                      <a:pt x="49" y="11"/>
                    </a:lnTo>
                    <a:lnTo>
                      <a:pt x="48" y="9"/>
                    </a:lnTo>
                    <a:lnTo>
                      <a:pt x="49" y="5"/>
                    </a:lnTo>
                    <a:lnTo>
                      <a:pt x="46" y="1"/>
                    </a:lnTo>
                    <a:lnTo>
                      <a:pt x="40" y="3"/>
                    </a:lnTo>
                    <a:lnTo>
                      <a:pt x="40" y="3"/>
                    </a:lnTo>
                    <a:lnTo>
                      <a:pt x="38" y="3"/>
                    </a:lnTo>
                    <a:lnTo>
                      <a:pt x="36" y="1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8" y="1"/>
                    </a:lnTo>
                    <a:lnTo>
                      <a:pt x="28" y="3"/>
                    </a:lnTo>
                    <a:lnTo>
                      <a:pt x="27" y="5"/>
                    </a:lnTo>
                    <a:lnTo>
                      <a:pt x="21" y="5"/>
                    </a:lnTo>
                    <a:lnTo>
                      <a:pt x="19" y="5"/>
                    </a:lnTo>
                    <a:lnTo>
                      <a:pt x="15" y="7"/>
                    </a:lnTo>
                    <a:lnTo>
                      <a:pt x="15" y="9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13" y="13"/>
                    </a:lnTo>
                    <a:lnTo>
                      <a:pt x="13" y="21"/>
                    </a:lnTo>
                    <a:lnTo>
                      <a:pt x="13" y="22"/>
                    </a:lnTo>
                    <a:lnTo>
                      <a:pt x="13" y="24"/>
                    </a:lnTo>
                    <a:lnTo>
                      <a:pt x="15" y="26"/>
                    </a:lnTo>
                    <a:lnTo>
                      <a:pt x="15" y="26"/>
                    </a:lnTo>
                    <a:lnTo>
                      <a:pt x="13" y="28"/>
                    </a:lnTo>
                    <a:lnTo>
                      <a:pt x="11" y="30"/>
                    </a:lnTo>
                    <a:lnTo>
                      <a:pt x="11" y="32"/>
                    </a:lnTo>
                    <a:lnTo>
                      <a:pt x="11" y="34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7" y="36"/>
                    </a:lnTo>
                    <a:lnTo>
                      <a:pt x="6" y="36"/>
                    </a:lnTo>
                    <a:lnTo>
                      <a:pt x="6" y="38"/>
                    </a:lnTo>
                    <a:lnTo>
                      <a:pt x="4" y="40"/>
                    </a:lnTo>
                    <a:lnTo>
                      <a:pt x="2" y="43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2" y="45"/>
                    </a:lnTo>
                    <a:lnTo>
                      <a:pt x="4" y="47"/>
                    </a:lnTo>
                    <a:lnTo>
                      <a:pt x="4" y="49"/>
                    </a:lnTo>
                    <a:lnTo>
                      <a:pt x="6" y="49"/>
                    </a:lnTo>
                    <a:lnTo>
                      <a:pt x="6" y="51"/>
                    </a:lnTo>
                    <a:lnTo>
                      <a:pt x="6" y="51"/>
                    </a:lnTo>
                    <a:lnTo>
                      <a:pt x="6" y="53"/>
                    </a:lnTo>
                    <a:lnTo>
                      <a:pt x="9" y="51"/>
                    </a:lnTo>
                    <a:lnTo>
                      <a:pt x="17" y="51"/>
                    </a:lnTo>
                    <a:lnTo>
                      <a:pt x="19" y="49"/>
                    </a:lnTo>
                    <a:lnTo>
                      <a:pt x="19" y="49"/>
                    </a:lnTo>
                    <a:lnTo>
                      <a:pt x="19" y="47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30" y="51"/>
                    </a:lnTo>
                    <a:lnTo>
                      <a:pt x="30" y="51"/>
                    </a:lnTo>
                    <a:lnTo>
                      <a:pt x="30" y="53"/>
                    </a:lnTo>
                    <a:lnTo>
                      <a:pt x="32" y="57"/>
                    </a:lnTo>
                    <a:lnTo>
                      <a:pt x="32" y="57"/>
                    </a:lnTo>
                    <a:lnTo>
                      <a:pt x="34" y="59"/>
                    </a:lnTo>
                    <a:lnTo>
                      <a:pt x="36" y="60"/>
                    </a:lnTo>
                    <a:lnTo>
                      <a:pt x="38" y="60"/>
                    </a:lnTo>
                    <a:lnTo>
                      <a:pt x="40" y="62"/>
                    </a:lnTo>
                    <a:lnTo>
                      <a:pt x="46" y="64"/>
                    </a:lnTo>
                    <a:lnTo>
                      <a:pt x="49" y="64"/>
                    </a:lnTo>
                    <a:lnTo>
                      <a:pt x="51" y="62"/>
                    </a:lnTo>
                    <a:lnTo>
                      <a:pt x="51" y="62"/>
                    </a:lnTo>
                    <a:lnTo>
                      <a:pt x="51" y="62"/>
                    </a:lnTo>
                    <a:lnTo>
                      <a:pt x="51" y="60"/>
                    </a:lnTo>
                    <a:lnTo>
                      <a:pt x="51" y="60"/>
                    </a:lnTo>
                    <a:lnTo>
                      <a:pt x="49" y="59"/>
                    </a:lnTo>
                    <a:lnTo>
                      <a:pt x="49" y="59"/>
                    </a:lnTo>
                    <a:lnTo>
                      <a:pt x="49" y="57"/>
                    </a:lnTo>
                    <a:lnTo>
                      <a:pt x="51" y="55"/>
                    </a:lnTo>
                    <a:lnTo>
                      <a:pt x="53" y="55"/>
                    </a:lnTo>
                    <a:lnTo>
                      <a:pt x="55" y="53"/>
                    </a:lnTo>
                    <a:lnTo>
                      <a:pt x="63" y="53"/>
                    </a:lnTo>
                    <a:lnTo>
                      <a:pt x="59" y="45"/>
                    </a:lnTo>
                    <a:lnTo>
                      <a:pt x="59" y="45"/>
                    </a:lnTo>
                    <a:lnTo>
                      <a:pt x="59" y="43"/>
                    </a:lnTo>
                    <a:lnTo>
                      <a:pt x="59" y="41"/>
                    </a:lnTo>
                    <a:lnTo>
                      <a:pt x="61" y="41"/>
                    </a:lnTo>
                    <a:lnTo>
                      <a:pt x="63" y="40"/>
                    </a:lnTo>
                    <a:lnTo>
                      <a:pt x="63" y="40"/>
                    </a:lnTo>
                    <a:lnTo>
                      <a:pt x="63" y="38"/>
                    </a:lnTo>
                    <a:lnTo>
                      <a:pt x="63" y="38"/>
                    </a:lnTo>
                    <a:lnTo>
                      <a:pt x="63" y="36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1" name="Freeform 23">
                <a:extLst>
                  <a:ext uri="{FF2B5EF4-FFF2-40B4-BE49-F238E27FC236}">
                    <a16:creationId xmlns:a16="http://schemas.microsoft.com/office/drawing/2014/main" id="{5EB76FDC-4673-405E-BBE2-BD4B73C8A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7757" y="6820374"/>
                <a:ext cx="508000" cy="904875"/>
              </a:xfrm>
              <a:custGeom>
                <a:avLst/>
                <a:gdLst>
                  <a:gd name="T0" fmla="*/ 299 w 320"/>
                  <a:gd name="T1" fmla="*/ 409 h 570"/>
                  <a:gd name="T2" fmla="*/ 299 w 320"/>
                  <a:gd name="T3" fmla="*/ 382 h 570"/>
                  <a:gd name="T4" fmla="*/ 303 w 320"/>
                  <a:gd name="T5" fmla="*/ 333 h 570"/>
                  <a:gd name="T6" fmla="*/ 294 w 320"/>
                  <a:gd name="T7" fmla="*/ 310 h 570"/>
                  <a:gd name="T8" fmla="*/ 259 w 320"/>
                  <a:gd name="T9" fmla="*/ 323 h 570"/>
                  <a:gd name="T10" fmla="*/ 246 w 320"/>
                  <a:gd name="T11" fmla="*/ 300 h 570"/>
                  <a:gd name="T12" fmla="*/ 252 w 320"/>
                  <a:gd name="T13" fmla="*/ 270 h 570"/>
                  <a:gd name="T14" fmla="*/ 252 w 320"/>
                  <a:gd name="T15" fmla="*/ 251 h 570"/>
                  <a:gd name="T16" fmla="*/ 229 w 320"/>
                  <a:gd name="T17" fmla="*/ 228 h 570"/>
                  <a:gd name="T18" fmla="*/ 240 w 320"/>
                  <a:gd name="T19" fmla="*/ 220 h 570"/>
                  <a:gd name="T20" fmla="*/ 231 w 320"/>
                  <a:gd name="T21" fmla="*/ 203 h 570"/>
                  <a:gd name="T22" fmla="*/ 210 w 320"/>
                  <a:gd name="T23" fmla="*/ 201 h 570"/>
                  <a:gd name="T24" fmla="*/ 212 w 320"/>
                  <a:gd name="T25" fmla="*/ 186 h 570"/>
                  <a:gd name="T26" fmla="*/ 175 w 320"/>
                  <a:gd name="T27" fmla="*/ 165 h 570"/>
                  <a:gd name="T28" fmla="*/ 173 w 320"/>
                  <a:gd name="T29" fmla="*/ 152 h 570"/>
                  <a:gd name="T30" fmla="*/ 194 w 320"/>
                  <a:gd name="T31" fmla="*/ 144 h 570"/>
                  <a:gd name="T32" fmla="*/ 191 w 320"/>
                  <a:gd name="T33" fmla="*/ 131 h 570"/>
                  <a:gd name="T34" fmla="*/ 173 w 320"/>
                  <a:gd name="T35" fmla="*/ 123 h 570"/>
                  <a:gd name="T36" fmla="*/ 160 w 320"/>
                  <a:gd name="T37" fmla="*/ 116 h 570"/>
                  <a:gd name="T38" fmla="*/ 141 w 320"/>
                  <a:gd name="T39" fmla="*/ 108 h 570"/>
                  <a:gd name="T40" fmla="*/ 114 w 320"/>
                  <a:gd name="T41" fmla="*/ 91 h 570"/>
                  <a:gd name="T42" fmla="*/ 99 w 320"/>
                  <a:gd name="T43" fmla="*/ 85 h 570"/>
                  <a:gd name="T44" fmla="*/ 71 w 320"/>
                  <a:gd name="T45" fmla="*/ 61 h 570"/>
                  <a:gd name="T46" fmla="*/ 61 w 320"/>
                  <a:gd name="T47" fmla="*/ 47 h 570"/>
                  <a:gd name="T48" fmla="*/ 63 w 320"/>
                  <a:gd name="T49" fmla="*/ 38 h 570"/>
                  <a:gd name="T50" fmla="*/ 53 w 320"/>
                  <a:gd name="T51" fmla="*/ 34 h 570"/>
                  <a:gd name="T52" fmla="*/ 42 w 320"/>
                  <a:gd name="T53" fmla="*/ 22 h 570"/>
                  <a:gd name="T54" fmla="*/ 30 w 320"/>
                  <a:gd name="T55" fmla="*/ 15 h 570"/>
                  <a:gd name="T56" fmla="*/ 21 w 320"/>
                  <a:gd name="T57" fmla="*/ 11 h 570"/>
                  <a:gd name="T58" fmla="*/ 13 w 320"/>
                  <a:gd name="T59" fmla="*/ 5 h 570"/>
                  <a:gd name="T60" fmla="*/ 0 w 320"/>
                  <a:gd name="T61" fmla="*/ 2 h 570"/>
                  <a:gd name="T62" fmla="*/ 29 w 320"/>
                  <a:gd name="T63" fmla="*/ 61 h 570"/>
                  <a:gd name="T64" fmla="*/ 42 w 320"/>
                  <a:gd name="T65" fmla="*/ 93 h 570"/>
                  <a:gd name="T66" fmla="*/ 55 w 320"/>
                  <a:gd name="T67" fmla="*/ 83 h 570"/>
                  <a:gd name="T68" fmla="*/ 63 w 320"/>
                  <a:gd name="T69" fmla="*/ 85 h 570"/>
                  <a:gd name="T70" fmla="*/ 53 w 320"/>
                  <a:gd name="T71" fmla="*/ 99 h 570"/>
                  <a:gd name="T72" fmla="*/ 69 w 320"/>
                  <a:gd name="T73" fmla="*/ 110 h 570"/>
                  <a:gd name="T74" fmla="*/ 93 w 320"/>
                  <a:gd name="T75" fmla="*/ 159 h 570"/>
                  <a:gd name="T76" fmla="*/ 111 w 320"/>
                  <a:gd name="T77" fmla="*/ 182 h 570"/>
                  <a:gd name="T78" fmla="*/ 133 w 320"/>
                  <a:gd name="T79" fmla="*/ 255 h 570"/>
                  <a:gd name="T80" fmla="*/ 153 w 320"/>
                  <a:gd name="T81" fmla="*/ 298 h 570"/>
                  <a:gd name="T82" fmla="*/ 172 w 320"/>
                  <a:gd name="T83" fmla="*/ 321 h 570"/>
                  <a:gd name="T84" fmla="*/ 168 w 320"/>
                  <a:gd name="T85" fmla="*/ 336 h 570"/>
                  <a:gd name="T86" fmla="*/ 172 w 320"/>
                  <a:gd name="T87" fmla="*/ 338 h 570"/>
                  <a:gd name="T88" fmla="*/ 193 w 320"/>
                  <a:gd name="T89" fmla="*/ 371 h 570"/>
                  <a:gd name="T90" fmla="*/ 194 w 320"/>
                  <a:gd name="T91" fmla="*/ 392 h 570"/>
                  <a:gd name="T92" fmla="*/ 202 w 320"/>
                  <a:gd name="T93" fmla="*/ 418 h 570"/>
                  <a:gd name="T94" fmla="*/ 189 w 320"/>
                  <a:gd name="T95" fmla="*/ 384 h 570"/>
                  <a:gd name="T96" fmla="*/ 187 w 320"/>
                  <a:gd name="T97" fmla="*/ 392 h 570"/>
                  <a:gd name="T98" fmla="*/ 179 w 320"/>
                  <a:gd name="T99" fmla="*/ 371 h 570"/>
                  <a:gd name="T100" fmla="*/ 175 w 320"/>
                  <a:gd name="T101" fmla="*/ 367 h 570"/>
                  <a:gd name="T102" fmla="*/ 200 w 320"/>
                  <a:gd name="T103" fmla="*/ 454 h 570"/>
                  <a:gd name="T104" fmla="*/ 202 w 320"/>
                  <a:gd name="T105" fmla="*/ 466 h 570"/>
                  <a:gd name="T106" fmla="*/ 214 w 320"/>
                  <a:gd name="T107" fmla="*/ 483 h 570"/>
                  <a:gd name="T108" fmla="*/ 227 w 320"/>
                  <a:gd name="T109" fmla="*/ 479 h 570"/>
                  <a:gd name="T110" fmla="*/ 215 w 320"/>
                  <a:gd name="T111" fmla="*/ 489 h 570"/>
                  <a:gd name="T112" fmla="*/ 227 w 320"/>
                  <a:gd name="T113" fmla="*/ 506 h 570"/>
                  <a:gd name="T114" fmla="*/ 288 w 320"/>
                  <a:gd name="T115" fmla="*/ 570 h 570"/>
                  <a:gd name="T116" fmla="*/ 296 w 320"/>
                  <a:gd name="T117" fmla="*/ 553 h 570"/>
                  <a:gd name="T118" fmla="*/ 303 w 320"/>
                  <a:gd name="T119" fmla="*/ 542 h 570"/>
                  <a:gd name="T120" fmla="*/ 292 w 320"/>
                  <a:gd name="T121" fmla="*/ 521 h 570"/>
                  <a:gd name="T122" fmla="*/ 294 w 320"/>
                  <a:gd name="T123" fmla="*/ 491 h 570"/>
                  <a:gd name="T124" fmla="*/ 320 w 320"/>
                  <a:gd name="T125" fmla="*/ 422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20" h="570">
                    <a:moveTo>
                      <a:pt x="318" y="418"/>
                    </a:moveTo>
                    <a:lnTo>
                      <a:pt x="315" y="413"/>
                    </a:lnTo>
                    <a:lnTo>
                      <a:pt x="315" y="411"/>
                    </a:lnTo>
                    <a:lnTo>
                      <a:pt x="313" y="409"/>
                    </a:lnTo>
                    <a:lnTo>
                      <a:pt x="313" y="409"/>
                    </a:lnTo>
                    <a:lnTo>
                      <a:pt x="313" y="407"/>
                    </a:lnTo>
                    <a:lnTo>
                      <a:pt x="311" y="407"/>
                    </a:lnTo>
                    <a:lnTo>
                      <a:pt x="309" y="407"/>
                    </a:lnTo>
                    <a:lnTo>
                      <a:pt x="309" y="407"/>
                    </a:lnTo>
                    <a:lnTo>
                      <a:pt x="303" y="411"/>
                    </a:lnTo>
                    <a:lnTo>
                      <a:pt x="301" y="411"/>
                    </a:lnTo>
                    <a:lnTo>
                      <a:pt x="299" y="411"/>
                    </a:lnTo>
                    <a:lnTo>
                      <a:pt x="299" y="409"/>
                    </a:lnTo>
                    <a:lnTo>
                      <a:pt x="297" y="409"/>
                    </a:lnTo>
                    <a:lnTo>
                      <a:pt x="297" y="409"/>
                    </a:lnTo>
                    <a:lnTo>
                      <a:pt x="297" y="407"/>
                    </a:lnTo>
                    <a:lnTo>
                      <a:pt x="296" y="407"/>
                    </a:lnTo>
                    <a:lnTo>
                      <a:pt x="296" y="407"/>
                    </a:lnTo>
                    <a:lnTo>
                      <a:pt x="294" y="407"/>
                    </a:lnTo>
                    <a:lnTo>
                      <a:pt x="294" y="407"/>
                    </a:lnTo>
                    <a:lnTo>
                      <a:pt x="294" y="405"/>
                    </a:lnTo>
                    <a:lnTo>
                      <a:pt x="294" y="405"/>
                    </a:lnTo>
                    <a:lnTo>
                      <a:pt x="294" y="405"/>
                    </a:lnTo>
                    <a:lnTo>
                      <a:pt x="294" y="403"/>
                    </a:lnTo>
                    <a:lnTo>
                      <a:pt x="299" y="384"/>
                    </a:lnTo>
                    <a:lnTo>
                      <a:pt x="299" y="382"/>
                    </a:lnTo>
                    <a:lnTo>
                      <a:pt x="299" y="380"/>
                    </a:lnTo>
                    <a:lnTo>
                      <a:pt x="297" y="376"/>
                    </a:lnTo>
                    <a:lnTo>
                      <a:pt x="297" y="373"/>
                    </a:lnTo>
                    <a:lnTo>
                      <a:pt x="297" y="371"/>
                    </a:lnTo>
                    <a:lnTo>
                      <a:pt x="297" y="369"/>
                    </a:lnTo>
                    <a:lnTo>
                      <a:pt x="301" y="361"/>
                    </a:lnTo>
                    <a:lnTo>
                      <a:pt x="301" y="359"/>
                    </a:lnTo>
                    <a:lnTo>
                      <a:pt x="301" y="359"/>
                    </a:lnTo>
                    <a:lnTo>
                      <a:pt x="299" y="352"/>
                    </a:lnTo>
                    <a:lnTo>
                      <a:pt x="297" y="346"/>
                    </a:lnTo>
                    <a:lnTo>
                      <a:pt x="297" y="346"/>
                    </a:lnTo>
                    <a:lnTo>
                      <a:pt x="297" y="344"/>
                    </a:lnTo>
                    <a:lnTo>
                      <a:pt x="303" y="333"/>
                    </a:lnTo>
                    <a:lnTo>
                      <a:pt x="305" y="329"/>
                    </a:lnTo>
                    <a:lnTo>
                      <a:pt x="305" y="329"/>
                    </a:lnTo>
                    <a:lnTo>
                      <a:pt x="303" y="327"/>
                    </a:lnTo>
                    <a:lnTo>
                      <a:pt x="303" y="327"/>
                    </a:lnTo>
                    <a:lnTo>
                      <a:pt x="301" y="325"/>
                    </a:lnTo>
                    <a:lnTo>
                      <a:pt x="301" y="325"/>
                    </a:lnTo>
                    <a:lnTo>
                      <a:pt x="301" y="323"/>
                    </a:lnTo>
                    <a:lnTo>
                      <a:pt x="301" y="319"/>
                    </a:lnTo>
                    <a:lnTo>
                      <a:pt x="299" y="317"/>
                    </a:lnTo>
                    <a:lnTo>
                      <a:pt x="299" y="317"/>
                    </a:lnTo>
                    <a:lnTo>
                      <a:pt x="296" y="312"/>
                    </a:lnTo>
                    <a:lnTo>
                      <a:pt x="296" y="312"/>
                    </a:lnTo>
                    <a:lnTo>
                      <a:pt x="294" y="310"/>
                    </a:lnTo>
                    <a:lnTo>
                      <a:pt x="290" y="310"/>
                    </a:lnTo>
                    <a:lnTo>
                      <a:pt x="286" y="312"/>
                    </a:lnTo>
                    <a:lnTo>
                      <a:pt x="280" y="316"/>
                    </a:lnTo>
                    <a:lnTo>
                      <a:pt x="278" y="316"/>
                    </a:lnTo>
                    <a:lnTo>
                      <a:pt x="276" y="316"/>
                    </a:lnTo>
                    <a:lnTo>
                      <a:pt x="273" y="321"/>
                    </a:lnTo>
                    <a:lnTo>
                      <a:pt x="267" y="325"/>
                    </a:lnTo>
                    <a:lnTo>
                      <a:pt x="265" y="325"/>
                    </a:lnTo>
                    <a:lnTo>
                      <a:pt x="263" y="325"/>
                    </a:lnTo>
                    <a:lnTo>
                      <a:pt x="261" y="325"/>
                    </a:lnTo>
                    <a:lnTo>
                      <a:pt x="261" y="325"/>
                    </a:lnTo>
                    <a:lnTo>
                      <a:pt x="261" y="323"/>
                    </a:lnTo>
                    <a:lnTo>
                      <a:pt x="259" y="323"/>
                    </a:lnTo>
                    <a:lnTo>
                      <a:pt x="259" y="323"/>
                    </a:lnTo>
                    <a:lnTo>
                      <a:pt x="255" y="319"/>
                    </a:lnTo>
                    <a:lnTo>
                      <a:pt x="254" y="317"/>
                    </a:lnTo>
                    <a:lnTo>
                      <a:pt x="254" y="317"/>
                    </a:lnTo>
                    <a:lnTo>
                      <a:pt x="250" y="316"/>
                    </a:lnTo>
                    <a:lnTo>
                      <a:pt x="250" y="314"/>
                    </a:lnTo>
                    <a:lnTo>
                      <a:pt x="250" y="314"/>
                    </a:lnTo>
                    <a:lnTo>
                      <a:pt x="250" y="312"/>
                    </a:lnTo>
                    <a:lnTo>
                      <a:pt x="250" y="308"/>
                    </a:lnTo>
                    <a:lnTo>
                      <a:pt x="250" y="306"/>
                    </a:lnTo>
                    <a:lnTo>
                      <a:pt x="248" y="304"/>
                    </a:lnTo>
                    <a:lnTo>
                      <a:pt x="246" y="302"/>
                    </a:lnTo>
                    <a:lnTo>
                      <a:pt x="246" y="300"/>
                    </a:lnTo>
                    <a:lnTo>
                      <a:pt x="246" y="300"/>
                    </a:lnTo>
                    <a:lnTo>
                      <a:pt x="246" y="298"/>
                    </a:lnTo>
                    <a:lnTo>
                      <a:pt x="246" y="295"/>
                    </a:lnTo>
                    <a:lnTo>
                      <a:pt x="246" y="291"/>
                    </a:lnTo>
                    <a:lnTo>
                      <a:pt x="248" y="291"/>
                    </a:lnTo>
                    <a:lnTo>
                      <a:pt x="248" y="291"/>
                    </a:lnTo>
                    <a:lnTo>
                      <a:pt x="248" y="283"/>
                    </a:lnTo>
                    <a:lnTo>
                      <a:pt x="246" y="274"/>
                    </a:lnTo>
                    <a:lnTo>
                      <a:pt x="248" y="272"/>
                    </a:lnTo>
                    <a:lnTo>
                      <a:pt x="248" y="272"/>
                    </a:lnTo>
                    <a:lnTo>
                      <a:pt x="250" y="270"/>
                    </a:lnTo>
                    <a:lnTo>
                      <a:pt x="250" y="270"/>
                    </a:lnTo>
                    <a:lnTo>
                      <a:pt x="252" y="270"/>
                    </a:lnTo>
                    <a:lnTo>
                      <a:pt x="254" y="268"/>
                    </a:lnTo>
                    <a:lnTo>
                      <a:pt x="254" y="266"/>
                    </a:lnTo>
                    <a:lnTo>
                      <a:pt x="254" y="260"/>
                    </a:lnTo>
                    <a:lnTo>
                      <a:pt x="254" y="260"/>
                    </a:lnTo>
                    <a:lnTo>
                      <a:pt x="255" y="257"/>
                    </a:lnTo>
                    <a:lnTo>
                      <a:pt x="255" y="257"/>
                    </a:lnTo>
                    <a:lnTo>
                      <a:pt x="255" y="255"/>
                    </a:lnTo>
                    <a:lnTo>
                      <a:pt x="255" y="253"/>
                    </a:lnTo>
                    <a:lnTo>
                      <a:pt x="255" y="253"/>
                    </a:lnTo>
                    <a:lnTo>
                      <a:pt x="254" y="253"/>
                    </a:lnTo>
                    <a:lnTo>
                      <a:pt x="254" y="251"/>
                    </a:lnTo>
                    <a:lnTo>
                      <a:pt x="252" y="251"/>
                    </a:lnTo>
                    <a:lnTo>
                      <a:pt x="252" y="251"/>
                    </a:lnTo>
                    <a:lnTo>
                      <a:pt x="250" y="249"/>
                    </a:lnTo>
                    <a:lnTo>
                      <a:pt x="250" y="247"/>
                    </a:lnTo>
                    <a:lnTo>
                      <a:pt x="250" y="245"/>
                    </a:lnTo>
                    <a:lnTo>
                      <a:pt x="248" y="245"/>
                    </a:lnTo>
                    <a:lnTo>
                      <a:pt x="248" y="243"/>
                    </a:lnTo>
                    <a:lnTo>
                      <a:pt x="246" y="243"/>
                    </a:lnTo>
                    <a:lnTo>
                      <a:pt x="240" y="239"/>
                    </a:lnTo>
                    <a:lnTo>
                      <a:pt x="235" y="237"/>
                    </a:lnTo>
                    <a:lnTo>
                      <a:pt x="233" y="237"/>
                    </a:lnTo>
                    <a:lnTo>
                      <a:pt x="231" y="236"/>
                    </a:lnTo>
                    <a:lnTo>
                      <a:pt x="229" y="232"/>
                    </a:lnTo>
                    <a:lnTo>
                      <a:pt x="229" y="230"/>
                    </a:lnTo>
                    <a:lnTo>
                      <a:pt x="229" y="228"/>
                    </a:lnTo>
                    <a:lnTo>
                      <a:pt x="229" y="226"/>
                    </a:lnTo>
                    <a:lnTo>
                      <a:pt x="229" y="224"/>
                    </a:lnTo>
                    <a:lnTo>
                      <a:pt x="229" y="224"/>
                    </a:lnTo>
                    <a:lnTo>
                      <a:pt x="231" y="222"/>
                    </a:lnTo>
                    <a:lnTo>
                      <a:pt x="231" y="222"/>
                    </a:lnTo>
                    <a:lnTo>
                      <a:pt x="233" y="222"/>
                    </a:lnTo>
                    <a:lnTo>
                      <a:pt x="233" y="222"/>
                    </a:lnTo>
                    <a:lnTo>
                      <a:pt x="235" y="222"/>
                    </a:lnTo>
                    <a:lnTo>
                      <a:pt x="236" y="222"/>
                    </a:lnTo>
                    <a:lnTo>
                      <a:pt x="238" y="222"/>
                    </a:lnTo>
                    <a:lnTo>
                      <a:pt x="238" y="222"/>
                    </a:lnTo>
                    <a:lnTo>
                      <a:pt x="240" y="222"/>
                    </a:lnTo>
                    <a:lnTo>
                      <a:pt x="240" y="220"/>
                    </a:lnTo>
                    <a:lnTo>
                      <a:pt x="240" y="220"/>
                    </a:lnTo>
                    <a:lnTo>
                      <a:pt x="240" y="218"/>
                    </a:lnTo>
                    <a:lnTo>
                      <a:pt x="238" y="218"/>
                    </a:lnTo>
                    <a:lnTo>
                      <a:pt x="238" y="218"/>
                    </a:lnTo>
                    <a:lnTo>
                      <a:pt x="236" y="215"/>
                    </a:lnTo>
                    <a:lnTo>
                      <a:pt x="235" y="211"/>
                    </a:lnTo>
                    <a:lnTo>
                      <a:pt x="235" y="209"/>
                    </a:lnTo>
                    <a:lnTo>
                      <a:pt x="233" y="207"/>
                    </a:lnTo>
                    <a:lnTo>
                      <a:pt x="233" y="207"/>
                    </a:lnTo>
                    <a:lnTo>
                      <a:pt x="231" y="205"/>
                    </a:lnTo>
                    <a:lnTo>
                      <a:pt x="231" y="205"/>
                    </a:lnTo>
                    <a:lnTo>
                      <a:pt x="231" y="203"/>
                    </a:lnTo>
                    <a:lnTo>
                      <a:pt x="231" y="203"/>
                    </a:lnTo>
                    <a:lnTo>
                      <a:pt x="231" y="201"/>
                    </a:lnTo>
                    <a:lnTo>
                      <a:pt x="233" y="199"/>
                    </a:lnTo>
                    <a:lnTo>
                      <a:pt x="233" y="198"/>
                    </a:lnTo>
                    <a:lnTo>
                      <a:pt x="233" y="196"/>
                    </a:lnTo>
                    <a:lnTo>
                      <a:pt x="231" y="196"/>
                    </a:lnTo>
                    <a:lnTo>
                      <a:pt x="231" y="196"/>
                    </a:lnTo>
                    <a:lnTo>
                      <a:pt x="227" y="199"/>
                    </a:lnTo>
                    <a:lnTo>
                      <a:pt x="227" y="199"/>
                    </a:lnTo>
                    <a:lnTo>
                      <a:pt x="225" y="199"/>
                    </a:lnTo>
                    <a:lnTo>
                      <a:pt x="215" y="201"/>
                    </a:lnTo>
                    <a:lnTo>
                      <a:pt x="214" y="201"/>
                    </a:lnTo>
                    <a:lnTo>
                      <a:pt x="212" y="201"/>
                    </a:lnTo>
                    <a:lnTo>
                      <a:pt x="210" y="201"/>
                    </a:lnTo>
                    <a:lnTo>
                      <a:pt x="208" y="199"/>
                    </a:lnTo>
                    <a:lnTo>
                      <a:pt x="206" y="199"/>
                    </a:lnTo>
                    <a:lnTo>
                      <a:pt x="206" y="199"/>
                    </a:lnTo>
                    <a:lnTo>
                      <a:pt x="206" y="199"/>
                    </a:lnTo>
                    <a:lnTo>
                      <a:pt x="202" y="201"/>
                    </a:lnTo>
                    <a:lnTo>
                      <a:pt x="202" y="201"/>
                    </a:lnTo>
                    <a:lnTo>
                      <a:pt x="200" y="199"/>
                    </a:lnTo>
                    <a:lnTo>
                      <a:pt x="198" y="199"/>
                    </a:lnTo>
                    <a:lnTo>
                      <a:pt x="198" y="198"/>
                    </a:lnTo>
                    <a:lnTo>
                      <a:pt x="200" y="198"/>
                    </a:lnTo>
                    <a:lnTo>
                      <a:pt x="202" y="194"/>
                    </a:lnTo>
                    <a:lnTo>
                      <a:pt x="204" y="192"/>
                    </a:lnTo>
                    <a:lnTo>
                      <a:pt x="212" y="186"/>
                    </a:lnTo>
                    <a:lnTo>
                      <a:pt x="212" y="184"/>
                    </a:lnTo>
                    <a:lnTo>
                      <a:pt x="208" y="182"/>
                    </a:lnTo>
                    <a:lnTo>
                      <a:pt x="206" y="177"/>
                    </a:lnTo>
                    <a:lnTo>
                      <a:pt x="204" y="177"/>
                    </a:lnTo>
                    <a:lnTo>
                      <a:pt x="204" y="177"/>
                    </a:lnTo>
                    <a:lnTo>
                      <a:pt x="202" y="175"/>
                    </a:lnTo>
                    <a:lnTo>
                      <a:pt x="200" y="175"/>
                    </a:lnTo>
                    <a:lnTo>
                      <a:pt x="198" y="175"/>
                    </a:lnTo>
                    <a:lnTo>
                      <a:pt x="196" y="171"/>
                    </a:lnTo>
                    <a:lnTo>
                      <a:pt x="194" y="171"/>
                    </a:lnTo>
                    <a:lnTo>
                      <a:pt x="181" y="167"/>
                    </a:lnTo>
                    <a:lnTo>
                      <a:pt x="175" y="165"/>
                    </a:lnTo>
                    <a:lnTo>
                      <a:pt x="175" y="165"/>
                    </a:lnTo>
                    <a:lnTo>
                      <a:pt x="173" y="163"/>
                    </a:lnTo>
                    <a:lnTo>
                      <a:pt x="173" y="163"/>
                    </a:lnTo>
                    <a:lnTo>
                      <a:pt x="173" y="163"/>
                    </a:lnTo>
                    <a:lnTo>
                      <a:pt x="173" y="161"/>
                    </a:lnTo>
                    <a:lnTo>
                      <a:pt x="173" y="161"/>
                    </a:lnTo>
                    <a:lnTo>
                      <a:pt x="173" y="161"/>
                    </a:lnTo>
                    <a:lnTo>
                      <a:pt x="173" y="159"/>
                    </a:lnTo>
                    <a:lnTo>
                      <a:pt x="173" y="159"/>
                    </a:lnTo>
                    <a:lnTo>
                      <a:pt x="173" y="158"/>
                    </a:lnTo>
                    <a:lnTo>
                      <a:pt x="173" y="156"/>
                    </a:lnTo>
                    <a:lnTo>
                      <a:pt x="173" y="156"/>
                    </a:lnTo>
                    <a:lnTo>
                      <a:pt x="173" y="154"/>
                    </a:lnTo>
                    <a:lnTo>
                      <a:pt x="173" y="152"/>
                    </a:lnTo>
                    <a:lnTo>
                      <a:pt x="173" y="150"/>
                    </a:lnTo>
                    <a:lnTo>
                      <a:pt x="173" y="150"/>
                    </a:lnTo>
                    <a:lnTo>
                      <a:pt x="177" y="150"/>
                    </a:lnTo>
                    <a:lnTo>
                      <a:pt x="179" y="150"/>
                    </a:lnTo>
                    <a:lnTo>
                      <a:pt x="181" y="152"/>
                    </a:lnTo>
                    <a:lnTo>
                      <a:pt x="183" y="152"/>
                    </a:lnTo>
                    <a:lnTo>
                      <a:pt x="187" y="152"/>
                    </a:lnTo>
                    <a:lnTo>
                      <a:pt x="189" y="150"/>
                    </a:lnTo>
                    <a:lnTo>
                      <a:pt x="189" y="148"/>
                    </a:lnTo>
                    <a:lnTo>
                      <a:pt x="191" y="148"/>
                    </a:lnTo>
                    <a:lnTo>
                      <a:pt x="191" y="146"/>
                    </a:lnTo>
                    <a:lnTo>
                      <a:pt x="193" y="144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6" y="144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2"/>
                    </a:lnTo>
                    <a:lnTo>
                      <a:pt x="196" y="142"/>
                    </a:lnTo>
                    <a:lnTo>
                      <a:pt x="194" y="139"/>
                    </a:lnTo>
                    <a:lnTo>
                      <a:pt x="194" y="137"/>
                    </a:lnTo>
                    <a:lnTo>
                      <a:pt x="194" y="135"/>
                    </a:lnTo>
                    <a:lnTo>
                      <a:pt x="193" y="133"/>
                    </a:lnTo>
                    <a:lnTo>
                      <a:pt x="193" y="131"/>
                    </a:lnTo>
                    <a:lnTo>
                      <a:pt x="193" y="131"/>
                    </a:lnTo>
                    <a:lnTo>
                      <a:pt x="191" y="131"/>
                    </a:lnTo>
                    <a:lnTo>
                      <a:pt x="189" y="131"/>
                    </a:lnTo>
                    <a:lnTo>
                      <a:pt x="189" y="131"/>
                    </a:lnTo>
                    <a:lnTo>
                      <a:pt x="187" y="131"/>
                    </a:lnTo>
                    <a:lnTo>
                      <a:pt x="187" y="131"/>
                    </a:lnTo>
                    <a:lnTo>
                      <a:pt x="183" y="131"/>
                    </a:lnTo>
                    <a:lnTo>
                      <a:pt x="183" y="131"/>
                    </a:lnTo>
                    <a:lnTo>
                      <a:pt x="181" y="131"/>
                    </a:lnTo>
                    <a:lnTo>
                      <a:pt x="179" y="129"/>
                    </a:lnTo>
                    <a:lnTo>
                      <a:pt x="177" y="125"/>
                    </a:lnTo>
                    <a:lnTo>
                      <a:pt x="175" y="123"/>
                    </a:lnTo>
                    <a:lnTo>
                      <a:pt x="175" y="123"/>
                    </a:lnTo>
                    <a:lnTo>
                      <a:pt x="173" y="123"/>
                    </a:lnTo>
                    <a:lnTo>
                      <a:pt x="173" y="123"/>
                    </a:lnTo>
                    <a:lnTo>
                      <a:pt x="172" y="123"/>
                    </a:lnTo>
                    <a:lnTo>
                      <a:pt x="172" y="123"/>
                    </a:lnTo>
                    <a:lnTo>
                      <a:pt x="170" y="123"/>
                    </a:lnTo>
                    <a:lnTo>
                      <a:pt x="170" y="123"/>
                    </a:lnTo>
                    <a:lnTo>
                      <a:pt x="170" y="121"/>
                    </a:lnTo>
                    <a:lnTo>
                      <a:pt x="168" y="120"/>
                    </a:lnTo>
                    <a:lnTo>
                      <a:pt x="168" y="118"/>
                    </a:lnTo>
                    <a:lnTo>
                      <a:pt x="166" y="118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2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8" y="118"/>
                    </a:lnTo>
                    <a:lnTo>
                      <a:pt x="158" y="118"/>
                    </a:lnTo>
                    <a:lnTo>
                      <a:pt x="156" y="118"/>
                    </a:lnTo>
                    <a:lnTo>
                      <a:pt x="154" y="116"/>
                    </a:lnTo>
                    <a:lnTo>
                      <a:pt x="154" y="114"/>
                    </a:lnTo>
                    <a:lnTo>
                      <a:pt x="154" y="114"/>
                    </a:lnTo>
                    <a:lnTo>
                      <a:pt x="154" y="108"/>
                    </a:lnTo>
                    <a:lnTo>
                      <a:pt x="154" y="106"/>
                    </a:lnTo>
                    <a:lnTo>
                      <a:pt x="154" y="104"/>
                    </a:lnTo>
                    <a:lnTo>
                      <a:pt x="153" y="104"/>
                    </a:lnTo>
                    <a:lnTo>
                      <a:pt x="151" y="104"/>
                    </a:lnTo>
                    <a:lnTo>
                      <a:pt x="147" y="104"/>
                    </a:lnTo>
                    <a:lnTo>
                      <a:pt x="141" y="108"/>
                    </a:lnTo>
                    <a:lnTo>
                      <a:pt x="139" y="108"/>
                    </a:lnTo>
                    <a:lnTo>
                      <a:pt x="132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4" y="104"/>
                    </a:lnTo>
                    <a:lnTo>
                      <a:pt x="122" y="104"/>
                    </a:lnTo>
                    <a:lnTo>
                      <a:pt x="120" y="102"/>
                    </a:lnTo>
                    <a:lnTo>
                      <a:pt x="118" y="101"/>
                    </a:lnTo>
                    <a:lnTo>
                      <a:pt x="116" y="99"/>
                    </a:lnTo>
                    <a:lnTo>
                      <a:pt x="116" y="99"/>
                    </a:lnTo>
                    <a:lnTo>
                      <a:pt x="114" y="95"/>
                    </a:lnTo>
                    <a:lnTo>
                      <a:pt x="114" y="91"/>
                    </a:lnTo>
                    <a:lnTo>
                      <a:pt x="114" y="91"/>
                    </a:lnTo>
                    <a:lnTo>
                      <a:pt x="112" y="89"/>
                    </a:lnTo>
                    <a:lnTo>
                      <a:pt x="112" y="89"/>
                    </a:lnTo>
                    <a:lnTo>
                      <a:pt x="111" y="89"/>
                    </a:lnTo>
                    <a:lnTo>
                      <a:pt x="111" y="89"/>
                    </a:lnTo>
                    <a:lnTo>
                      <a:pt x="109" y="89"/>
                    </a:lnTo>
                    <a:lnTo>
                      <a:pt x="109" y="89"/>
                    </a:lnTo>
                    <a:lnTo>
                      <a:pt x="107" y="89"/>
                    </a:lnTo>
                    <a:lnTo>
                      <a:pt x="107" y="89"/>
                    </a:lnTo>
                    <a:lnTo>
                      <a:pt x="105" y="89"/>
                    </a:lnTo>
                    <a:lnTo>
                      <a:pt x="103" y="87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99" y="85"/>
                    </a:lnTo>
                    <a:lnTo>
                      <a:pt x="97" y="85"/>
                    </a:lnTo>
                    <a:lnTo>
                      <a:pt x="97" y="85"/>
                    </a:lnTo>
                    <a:lnTo>
                      <a:pt x="97" y="85"/>
                    </a:lnTo>
                    <a:lnTo>
                      <a:pt x="95" y="83"/>
                    </a:lnTo>
                    <a:lnTo>
                      <a:pt x="95" y="83"/>
                    </a:lnTo>
                    <a:lnTo>
                      <a:pt x="95" y="81"/>
                    </a:lnTo>
                    <a:lnTo>
                      <a:pt x="93" y="81"/>
                    </a:lnTo>
                    <a:lnTo>
                      <a:pt x="91" y="80"/>
                    </a:lnTo>
                    <a:lnTo>
                      <a:pt x="88" y="80"/>
                    </a:lnTo>
                    <a:lnTo>
                      <a:pt x="86" y="78"/>
                    </a:lnTo>
                    <a:lnTo>
                      <a:pt x="74" y="62"/>
                    </a:lnTo>
                    <a:lnTo>
                      <a:pt x="72" y="62"/>
                    </a:lnTo>
                    <a:lnTo>
                      <a:pt x="71" y="61"/>
                    </a:lnTo>
                    <a:lnTo>
                      <a:pt x="71" y="61"/>
                    </a:lnTo>
                    <a:lnTo>
                      <a:pt x="69" y="62"/>
                    </a:lnTo>
                    <a:lnTo>
                      <a:pt x="69" y="62"/>
                    </a:lnTo>
                    <a:lnTo>
                      <a:pt x="69" y="61"/>
                    </a:lnTo>
                    <a:lnTo>
                      <a:pt x="67" y="61"/>
                    </a:lnTo>
                    <a:lnTo>
                      <a:pt x="67" y="61"/>
                    </a:lnTo>
                    <a:lnTo>
                      <a:pt x="67" y="59"/>
                    </a:lnTo>
                    <a:lnTo>
                      <a:pt x="65" y="55"/>
                    </a:lnTo>
                    <a:lnTo>
                      <a:pt x="65" y="53"/>
                    </a:lnTo>
                    <a:lnTo>
                      <a:pt x="63" y="51"/>
                    </a:lnTo>
                    <a:lnTo>
                      <a:pt x="61" y="49"/>
                    </a:lnTo>
                    <a:lnTo>
                      <a:pt x="61" y="47"/>
                    </a:lnTo>
                    <a:lnTo>
                      <a:pt x="61" y="47"/>
                    </a:lnTo>
                    <a:lnTo>
                      <a:pt x="61" y="45"/>
                    </a:lnTo>
                    <a:lnTo>
                      <a:pt x="61" y="43"/>
                    </a:lnTo>
                    <a:lnTo>
                      <a:pt x="61" y="43"/>
                    </a:lnTo>
                    <a:lnTo>
                      <a:pt x="63" y="42"/>
                    </a:lnTo>
                    <a:lnTo>
                      <a:pt x="65" y="42"/>
                    </a:lnTo>
                    <a:lnTo>
                      <a:pt x="65" y="40"/>
                    </a:lnTo>
                    <a:lnTo>
                      <a:pt x="65" y="40"/>
                    </a:lnTo>
                    <a:lnTo>
                      <a:pt x="65" y="40"/>
                    </a:lnTo>
                    <a:lnTo>
                      <a:pt x="65" y="40"/>
                    </a:lnTo>
                    <a:lnTo>
                      <a:pt x="65" y="38"/>
                    </a:lnTo>
                    <a:lnTo>
                      <a:pt x="65" y="38"/>
                    </a:lnTo>
                    <a:lnTo>
                      <a:pt x="63" y="38"/>
                    </a:lnTo>
                    <a:lnTo>
                      <a:pt x="63" y="38"/>
                    </a:lnTo>
                    <a:lnTo>
                      <a:pt x="59" y="40"/>
                    </a:lnTo>
                    <a:lnTo>
                      <a:pt x="57" y="40"/>
                    </a:lnTo>
                    <a:lnTo>
                      <a:pt x="57" y="40"/>
                    </a:lnTo>
                    <a:lnTo>
                      <a:pt x="57" y="38"/>
                    </a:lnTo>
                    <a:lnTo>
                      <a:pt x="57" y="38"/>
                    </a:lnTo>
                    <a:lnTo>
                      <a:pt x="57" y="38"/>
                    </a:lnTo>
                    <a:lnTo>
                      <a:pt x="55" y="36"/>
                    </a:lnTo>
                    <a:lnTo>
                      <a:pt x="55" y="36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1" y="32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28"/>
                    </a:lnTo>
                    <a:lnTo>
                      <a:pt x="50" y="26"/>
                    </a:lnTo>
                    <a:lnTo>
                      <a:pt x="51" y="24"/>
                    </a:lnTo>
                    <a:lnTo>
                      <a:pt x="53" y="22"/>
                    </a:lnTo>
                    <a:lnTo>
                      <a:pt x="48" y="21"/>
                    </a:lnTo>
                    <a:lnTo>
                      <a:pt x="46" y="21"/>
                    </a:lnTo>
                    <a:lnTo>
                      <a:pt x="44" y="21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22"/>
                    </a:lnTo>
                    <a:lnTo>
                      <a:pt x="40" y="21"/>
                    </a:lnTo>
                    <a:lnTo>
                      <a:pt x="38" y="19"/>
                    </a:lnTo>
                    <a:lnTo>
                      <a:pt x="36" y="19"/>
                    </a:lnTo>
                    <a:lnTo>
                      <a:pt x="36" y="17"/>
                    </a:lnTo>
                    <a:lnTo>
                      <a:pt x="34" y="19"/>
                    </a:lnTo>
                    <a:lnTo>
                      <a:pt x="34" y="19"/>
                    </a:lnTo>
                    <a:lnTo>
                      <a:pt x="32" y="19"/>
                    </a:lnTo>
                    <a:lnTo>
                      <a:pt x="32" y="19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5" y="9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1" y="11"/>
                    </a:lnTo>
                    <a:lnTo>
                      <a:pt x="21" y="11"/>
                    </a:lnTo>
                    <a:lnTo>
                      <a:pt x="21" y="11"/>
                    </a:lnTo>
                    <a:lnTo>
                      <a:pt x="19" y="11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7" y="7"/>
                    </a:lnTo>
                    <a:lnTo>
                      <a:pt x="15" y="7"/>
                    </a:lnTo>
                    <a:lnTo>
                      <a:pt x="15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13" y="30"/>
                    </a:lnTo>
                    <a:lnTo>
                      <a:pt x="15" y="34"/>
                    </a:lnTo>
                    <a:lnTo>
                      <a:pt x="17" y="36"/>
                    </a:lnTo>
                    <a:lnTo>
                      <a:pt x="17" y="38"/>
                    </a:lnTo>
                    <a:lnTo>
                      <a:pt x="17" y="40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3"/>
                    </a:lnTo>
                    <a:lnTo>
                      <a:pt x="21" y="45"/>
                    </a:lnTo>
                    <a:lnTo>
                      <a:pt x="29" y="61"/>
                    </a:lnTo>
                    <a:lnTo>
                      <a:pt x="30" y="64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6" y="66"/>
                    </a:lnTo>
                    <a:lnTo>
                      <a:pt x="36" y="68"/>
                    </a:lnTo>
                    <a:lnTo>
                      <a:pt x="34" y="72"/>
                    </a:lnTo>
                    <a:lnTo>
                      <a:pt x="36" y="78"/>
                    </a:lnTo>
                    <a:lnTo>
                      <a:pt x="42" y="89"/>
                    </a:lnTo>
                    <a:lnTo>
                      <a:pt x="42" y="93"/>
                    </a:lnTo>
                    <a:lnTo>
                      <a:pt x="42" y="97"/>
                    </a:lnTo>
                    <a:lnTo>
                      <a:pt x="44" y="99"/>
                    </a:lnTo>
                    <a:lnTo>
                      <a:pt x="44" y="97"/>
                    </a:lnTo>
                    <a:lnTo>
                      <a:pt x="46" y="97"/>
                    </a:lnTo>
                    <a:lnTo>
                      <a:pt x="46" y="97"/>
                    </a:lnTo>
                    <a:lnTo>
                      <a:pt x="46" y="97"/>
                    </a:lnTo>
                    <a:lnTo>
                      <a:pt x="46" y="95"/>
                    </a:lnTo>
                    <a:lnTo>
                      <a:pt x="46" y="85"/>
                    </a:lnTo>
                    <a:lnTo>
                      <a:pt x="50" y="85"/>
                    </a:lnTo>
                    <a:lnTo>
                      <a:pt x="51" y="85"/>
                    </a:lnTo>
                    <a:lnTo>
                      <a:pt x="53" y="85"/>
                    </a:lnTo>
                    <a:lnTo>
                      <a:pt x="53" y="85"/>
                    </a:lnTo>
                    <a:lnTo>
                      <a:pt x="55" y="83"/>
                    </a:lnTo>
                    <a:lnTo>
                      <a:pt x="57" y="83"/>
                    </a:lnTo>
                    <a:lnTo>
                      <a:pt x="57" y="81"/>
                    </a:lnTo>
                    <a:lnTo>
                      <a:pt x="59" y="81"/>
                    </a:lnTo>
                    <a:lnTo>
                      <a:pt x="61" y="81"/>
                    </a:lnTo>
                    <a:lnTo>
                      <a:pt x="63" y="81"/>
                    </a:lnTo>
                    <a:lnTo>
                      <a:pt x="65" y="81"/>
                    </a:lnTo>
                    <a:lnTo>
                      <a:pt x="67" y="80"/>
                    </a:lnTo>
                    <a:lnTo>
                      <a:pt x="69" y="81"/>
                    </a:lnTo>
                    <a:lnTo>
                      <a:pt x="69" y="83"/>
                    </a:lnTo>
                    <a:lnTo>
                      <a:pt x="67" y="81"/>
                    </a:lnTo>
                    <a:lnTo>
                      <a:pt x="65" y="83"/>
                    </a:lnTo>
                    <a:lnTo>
                      <a:pt x="63" y="85"/>
                    </a:lnTo>
                    <a:lnTo>
                      <a:pt x="63" y="85"/>
                    </a:lnTo>
                    <a:lnTo>
                      <a:pt x="61" y="87"/>
                    </a:lnTo>
                    <a:lnTo>
                      <a:pt x="59" y="85"/>
                    </a:lnTo>
                    <a:lnTo>
                      <a:pt x="59" y="85"/>
                    </a:lnTo>
                    <a:lnTo>
                      <a:pt x="57" y="87"/>
                    </a:lnTo>
                    <a:lnTo>
                      <a:pt x="57" y="89"/>
                    </a:lnTo>
                    <a:lnTo>
                      <a:pt x="57" y="91"/>
                    </a:lnTo>
                    <a:lnTo>
                      <a:pt x="57" y="93"/>
                    </a:lnTo>
                    <a:lnTo>
                      <a:pt x="57" y="93"/>
                    </a:lnTo>
                    <a:lnTo>
                      <a:pt x="59" y="97"/>
                    </a:lnTo>
                    <a:lnTo>
                      <a:pt x="59" y="97"/>
                    </a:lnTo>
                    <a:lnTo>
                      <a:pt x="57" y="99"/>
                    </a:lnTo>
                    <a:lnTo>
                      <a:pt x="53" y="97"/>
                    </a:lnTo>
                    <a:lnTo>
                      <a:pt x="53" y="99"/>
                    </a:lnTo>
                    <a:lnTo>
                      <a:pt x="55" y="101"/>
                    </a:lnTo>
                    <a:lnTo>
                      <a:pt x="57" y="102"/>
                    </a:lnTo>
                    <a:lnTo>
                      <a:pt x="57" y="104"/>
                    </a:lnTo>
                    <a:lnTo>
                      <a:pt x="61" y="106"/>
                    </a:lnTo>
                    <a:lnTo>
                      <a:pt x="63" y="106"/>
                    </a:lnTo>
                    <a:lnTo>
                      <a:pt x="63" y="104"/>
                    </a:lnTo>
                    <a:lnTo>
                      <a:pt x="67" y="102"/>
                    </a:lnTo>
                    <a:lnTo>
                      <a:pt x="69" y="102"/>
                    </a:lnTo>
                    <a:lnTo>
                      <a:pt x="67" y="104"/>
                    </a:lnTo>
                    <a:lnTo>
                      <a:pt x="67" y="106"/>
                    </a:lnTo>
                    <a:lnTo>
                      <a:pt x="67" y="108"/>
                    </a:lnTo>
                    <a:lnTo>
                      <a:pt x="69" y="108"/>
                    </a:lnTo>
                    <a:lnTo>
                      <a:pt x="69" y="110"/>
                    </a:lnTo>
                    <a:lnTo>
                      <a:pt x="59" y="106"/>
                    </a:lnTo>
                    <a:lnTo>
                      <a:pt x="57" y="108"/>
                    </a:lnTo>
                    <a:lnTo>
                      <a:pt x="59" y="112"/>
                    </a:lnTo>
                    <a:lnTo>
                      <a:pt x="63" y="116"/>
                    </a:lnTo>
                    <a:lnTo>
                      <a:pt x="63" y="116"/>
                    </a:lnTo>
                    <a:lnTo>
                      <a:pt x="63" y="118"/>
                    </a:lnTo>
                    <a:lnTo>
                      <a:pt x="65" y="116"/>
                    </a:lnTo>
                    <a:lnTo>
                      <a:pt x="67" y="116"/>
                    </a:lnTo>
                    <a:lnTo>
                      <a:pt x="82" y="133"/>
                    </a:lnTo>
                    <a:lnTo>
                      <a:pt x="86" y="139"/>
                    </a:lnTo>
                    <a:lnTo>
                      <a:pt x="91" y="156"/>
                    </a:lnTo>
                    <a:lnTo>
                      <a:pt x="91" y="156"/>
                    </a:lnTo>
                    <a:lnTo>
                      <a:pt x="93" y="159"/>
                    </a:lnTo>
                    <a:lnTo>
                      <a:pt x="95" y="161"/>
                    </a:lnTo>
                    <a:lnTo>
                      <a:pt x="95" y="165"/>
                    </a:lnTo>
                    <a:lnTo>
                      <a:pt x="95" y="167"/>
                    </a:lnTo>
                    <a:lnTo>
                      <a:pt x="97" y="167"/>
                    </a:lnTo>
                    <a:lnTo>
                      <a:pt x="99" y="167"/>
                    </a:lnTo>
                    <a:lnTo>
                      <a:pt x="101" y="167"/>
                    </a:lnTo>
                    <a:lnTo>
                      <a:pt x="103" y="169"/>
                    </a:lnTo>
                    <a:lnTo>
                      <a:pt x="105" y="173"/>
                    </a:lnTo>
                    <a:lnTo>
                      <a:pt x="107" y="179"/>
                    </a:lnTo>
                    <a:lnTo>
                      <a:pt x="109" y="180"/>
                    </a:lnTo>
                    <a:lnTo>
                      <a:pt x="111" y="179"/>
                    </a:lnTo>
                    <a:lnTo>
                      <a:pt x="112" y="180"/>
                    </a:lnTo>
                    <a:lnTo>
                      <a:pt x="111" y="182"/>
                    </a:lnTo>
                    <a:lnTo>
                      <a:pt x="111" y="182"/>
                    </a:lnTo>
                    <a:lnTo>
                      <a:pt x="111" y="184"/>
                    </a:lnTo>
                    <a:lnTo>
                      <a:pt x="111" y="184"/>
                    </a:lnTo>
                    <a:lnTo>
                      <a:pt x="111" y="186"/>
                    </a:lnTo>
                    <a:lnTo>
                      <a:pt x="112" y="188"/>
                    </a:lnTo>
                    <a:lnTo>
                      <a:pt x="122" y="215"/>
                    </a:lnTo>
                    <a:lnTo>
                      <a:pt x="130" y="236"/>
                    </a:lnTo>
                    <a:lnTo>
                      <a:pt x="132" y="245"/>
                    </a:lnTo>
                    <a:lnTo>
                      <a:pt x="133" y="251"/>
                    </a:lnTo>
                    <a:lnTo>
                      <a:pt x="137" y="253"/>
                    </a:lnTo>
                    <a:lnTo>
                      <a:pt x="135" y="253"/>
                    </a:lnTo>
                    <a:lnTo>
                      <a:pt x="133" y="255"/>
                    </a:lnTo>
                    <a:lnTo>
                      <a:pt x="133" y="255"/>
                    </a:lnTo>
                    <a:lnTo>
                      <a:pt x="133" y="257"/>
                    </a:lnTo>
                    <a:lnTo>
                      <a:pt x="135" y="258"/>
                    </a:lnTo>
                    <a:lnTo>
                      <a:pt x="135" y="258"/>
                    </a:lnTo>
                    <a:lnTo>
                      <a:pt x="135" y="258"/>
                    </a:lnTo>
                    <a:lnTo>
                      <a:pt x="135" y="262"/>
                    </a:lnTo>
                    <a:lnTo>
                      <a:pt x="143" y="277"/>
                    </a:lnTo>
                    <a:lnTo>
                      <a:pt x="145" y="281"/>
                    </a:lnTo>
                    <a:lnTo>
                      <a:pt x="147" y="283"/>
                    </a:lnTo>
                    <a:lnTo>
                      <a:pt x="149" y="287"/>
                    </a:lnTo>
                    <a:lnTo>
                      <a:pt x="151" y="289"/>
                    </a:lnTo>
                    <a:lnTo>
                      <a:pt x="153" y="295"/>
                    </a:lnTo>
                    <a:lnTo>
                      <a:pt x="153" y="296"/>
                    </a:lnTo>
                    <a:lnTo>
                      <a:pt x="153" y="298"/>
                    </a:lnTo>
                    <a:lnTo>
                      <a:pt x="156" y="304"/>
                    </a:lnTo>
                    <a:lnTo>
                      <a:pt x="158" y="310"/>
                    </a:lnTo>
                    <a:lnTo>
                      <a:pt x="162" y="321"/>
                    </a:lnTo>
                    <a:lnTo>
                      <a:pt x="164" y="325"/>
                    </a:lnTo>
                    <a:lnTo>
                      <a:pt x="164" y="327"/>
                    </a:lnTo>
                    <a:lnTo>
                      <a:pt x="166" y="329"/>
                    </a:lnTo>
                    <a:lnTo>
                      <a:pt x="168" y="331"/>
                    </a:lnTo>
                    <a:lnTo>
                      <a:pt x="170" y="329"/>
                    </a:lnTo>
                    <a:lnTo>
                      <a:pt x="170" y="327"/>
                    </a:lnTo>
                    <a:lnTo>
                      <a:pt x="170" y="325"/>
                    </a:lnTo>
                    <a:lnTo>
                      <a:pt x="168" y="319"/>
                    </a:lnTo>
                    <a:lnTo>
                      <a:pt x="170" y="321"/>
                    </a:lnTo>
                    <a:lnTo>
                      <a:pt x="172" y="321"/>
                    </a:lnTo>
                    <a:lnTo>
                      <a:pt x="172" y="325"/>
                    </a:lnTo>
                    <a:lnTo>
                      <a:pt x="172" y="325"/>
                    </a:lnTo>
                    <a:lnTo>
                      <a:pt x="173" y="323"/>
                    </a:lnTo>
                    <a:lnTo>
                      <a:pt x="173" y="323"/>
                    </a:lnTo>
                    <a:lnTo>
                      <a:pt x="173" y="325"/>
                    </a:lnTo>
                    <a:lnTo>
                      <a:pt x="173" y="325"/>
                    </a:lnTo>
                    <a:lnTo>
                      <a:pt x="173" y="327"/>
                    </a:lnTo>
                    <a:lnTo>
                      <a:pt x="173" y="327"/>
                    </a:lnTo>
                    <a:lnTo>
                      <a:pt x="172" y="329"/>
                    </a:lnTo>
                    <a:lnTo>
                      <a:pt x="166" y="333"/>
                    </a:lnTo>
                    <a:lnTo>
                      <a:pt x="166" y="335"/>
                    </a:lnTo>
                    <a:lnTo>
                      <a:pt x="168" y="336"/>
                    </a:lnTo>
                    <a:lnTo>
                      <a:pt x="168" y="336"/>
                    </a:lnTo>
                    <a:lnTo>
                      <a:pt x="166" y="338"/>
                    </a:lnTo>
                    <a:lnTo>
                      <a:pt x="166" y="340"/>
                    </a:lnTo>
                    <a:lnTo>
                      <a:pt x="172" y="352"/>
                    </a:lnTo>
                    <a:lnTo>
                      <a:pt x="172" y="354"/>
                    </a:lnTo>
                    <a:lnTo>
                      <a:pt x="173" y="355"/>
                    </a:lnTo>
                    <a:lnTo>
                      <a:pt x="173" y="354"/>
                    </a:lnTo>
                    <a:lnTo>
                      <a:pt x="173" y="350"/>
                    </a:lnTo>
                    <a:lnTo>
                      <a:pt x="173" y="346"/>
                    </a:lnTo>
                    <a:lnTo>
                      <a:pt x="172" y="344"/>
                    </a:lnTo>
                    <a:lnTo>
                      <a:pt x="172" y="342"/>
                    </a:lnTo>
                    <a:lnTo>
                      <a:pt x="170" y="338"/>
                    </a:lnTo>
                    <a:lnTo>
                      <a:pt x="172" y="336"/>
                    </a:lnTo>
                    <a:lnTo>
                      <a:pt x="172" y="338"/>
                    </a:lnTo>
                    <a:lnTo>
                      <a:pt x="172" y="340"/>
                    </a:lnTo>
                    <a:lnTo>
                      <a:pt x="173" y="340"/>
                    </a:lnTo>
                    <a:lnTo>
                      <a:pt x="175" y="340"/>
                    </a:lnTo>
                    <a:lnTo>
                      <a:pt x="175" y="348"/>
                    </a:lnTo>
                    <a:lnTo>
                      <a:pt x="177" y="350"/>
                    </a:lnTo>
                    <a:lnTo>
                      <a:pt x="177" y="352"/>
                    </a:lnTo>
                    <a:lnTo>
                      <a:pt x="179" y="357"/>
                    </a:lnTo>
                    <a:lnTo>
                      <a:pt x="181" y="359"/>
                    </a:lnTo>
                    <a:lnTo>
                      <a:pt x="183" y="357"/>
                    </a:lnTo>
                    <a:lnTo>
                      <a:pt x="185" y="359"/>
                    </a:lnTo>
                    <a:lnTo>
                      <a:pt x="189" y="365"/>
                    </a:lnTo>
                    <a:lnTo>
                      <a:pt x="189" y="367"/>
                    </a:lnTo>
                    <a:lnTo>
                      <a:pt x="193" y="371"/>
                    </a:lnTo>
                    <a:lnTo>
                      <a:pt x="193" y="374"/>
                    </a:lnTo>
                    <a:lnTo>
                      <a:pt x="194" y="376"/>
                    </a:lnTo>
                    <a:lnTo>
                      <a:pt x="193" y="378"/>
                    </a:lnTo>
                    <a:lnTo>
                      <a:pt x="193" y="378"/>
                    </a:lnTo>
                    <a:lnTo>
                      <a:pt x="191" y="382"/>
                    </a:lnTo>
                    <a:lnTo>
                      <a:pt x="193" y="382"/>
                    </a:lnTo>
                    <a:lnTo>
                      <a:pt x="193" y="384"/>
                    </a:lnTo>
                    <a:lnTo>
                      <a:pt x="193" y="386"/>
                    </a:lnTo>
                    <a:lnTo>
                      <a:pt x="193" y="388"/>
                    </a:lnTo>
                    <a:lnTo>
                      <a:pt x="193" y="390"/>
                    </a:lnTo>
                    <a:lnTo>
                      <a:pt x="193" y="392"/>
                    </a:lnTo>
                    <a:lnTo>
                      <a:pt x="194" y="392"/>
                    </a:lnTo>
                    <a:lnTo>
                      <a:pt x="194" y="392"/>
                    </a:lnTo>
                    <a:lnTo>
                      <a:pt x="196" y="394"/>
                    </a:lnTo>
                    <a:lnTo>
                      <a:pt x="196" y="399"/>
                    </a:lnTo>
                    <a:lnTo>
                      <a:pt x="196" y="403"/>
                    </a:lnTo>
                    <a:lnTo>
                      <a:pt x="196" y="405"/>
                    </a:lnTo>
                    <a:lnTo>
                      <a:pt x="194" y="409"/>
                    </a:lnTo>
                    <a:lnTo>
                      <a:pt x="196" y="409"/>
                    </a:lnTo>
                    <a:lnTo>
                      <a:pt x="198" y="411"/>
                    </a:lnTo>
                    <a:lnTo>
                      <a:pt x="200" y="409"/>
                    </a:lnTo>
                    <a:lnTo>
                      <a:pt x="202" y="411"/>
                    </a:lnTo>
                    <a:lnTo>
                      <a:pt x="204" y="413"/>
                    </a:lnTo>
                    <a:lnTo>
                      <a:pt x="208" y="413"/>
                    </a:lnTo>
                    <a:lnTo>
                      <a:pt x="204" y="416"/>
                    </a:lnTo>
                    <a:lnTo>
                      <a:pt x="202" y="418"/>
                    </a:lnTo>
                    <a:lnTo>
                      <a:pt x="198" y="416"/>
                    </a:lnTo>
                    <a:lnTo>
                      <a:pt x="196" y="416"/>
                    </a:lnTo>
                    <a:lnTo>
                      <a:pt x="191" y="416"/>
                    </a:lnTo>
                    <a:lnTo>
                      <a:pt x="189" y="414"/>
                    </a:lnTo>
                    <a:lnTo>
                      <a:pt x="189" y="413"/>
                    </a:lnTo>
                    <a:lnTo>
                      <a:pt x="191" y="401"/>
                    </a:lnTo>
                    <a:lnTo>
                      <a:pt x="191" y="399"/>
                    </a:lnTo>
                    <a:lnTo>
                      <a:pt x="193" y="399"/>
                    </a:lnTo>
                    <a:lnTo>
                      <a:pt x="193" y="397"/>
                    </a:lnTo>
                    <a:lnTo>
                      <a:pt x="193" y="395"/>
                    </a:lnTo>
                    <a:lnTo>
                      <a:pt x="191" y="394"/>
                    </a:lnTo>
                    <a:lnTo>
                      <a:pt x="191" y="390"/>
                    </a:lnTo>
                    <a:lnTo>
                      <a:pt x="189" y="384"/>
                    </a:lnTo>
                    <a:lnTo>
                      <a:pt x="189" y="382"/>
                    </a:lnTo>
                    <a:lnTo>
                      <a:pt x="189" y="378"/>
                    </a:lnTo>
                    <a:lnTo>
                      <a:pt x="189" y="376"/>
                    </a:lnTo>
                    <a:lnTo>
                      <a:pt x="189" y="376"/>
                    </a:lnTo>
                    <a:lnTo>
                      <a:pt x="187" y="373"/>
                    </a:lnTo>
                    <a:lnTo>
                      <a:pt x="185" y="371"/>
                    </a:lnTo>
                    <a:lnTo>
                      <a:pt x="185" y="371"/>
                    </a:lnTo>
                    <a:lnTo>
                      <a:pt x="185" y="373"/>
                    </a:lnTo>
                    <a:lnTo>
                      <a:pt x="187" y="376"/>
                    </a:lnTo>
                    <a:lnTo>
                      <a:pt x="187" y="380"/>
                    </a:lnTo>
                    <a:lnTo>
                      <a:pt x="187" y="388"/>
                    </a:lnTo>
                    <a:lnTo>
                      <a:pt x="187" y="392"/>
                    </a:lnTo>
                    <a:lnTo>
                      <a:pt x="187" y="392"/>
                    </a:lnTo>
                    <a:lnTo>
                      <a:pt x="183" y="371"/>
                    </a:lnTo>
                    <a:lnTo>
                      <a:pt x="183" y="369"/>
                    </a:lnTo>
                    <a:lnTo>
                      <a:pt x="181" y="371"/>
                    </a:lnTo>
                    <a:lnTo>
                      <a:pt x="183" y="373"/>
                    </a:lnTo>
                    <a:lnTo>
                      <a:pt x="181" y="373"/>
                    </a:lnTo>
                    <a:lnTo>
                      <a:pt x="181" y="374"/>
                    </a:lnTo>
                    <a:lnTo>
                      <a:pt x="179" y="374"/>
                    </a:lnTo>
                    <a:lnTo>
                      <a:pt x="179" y="373"/>
                    </a:lnTo>
                    <a:lnTo>
                      <a:pt x="179" y="371"/>
                    </a:lnTo>
                    <a:lnTo>
                      <a:pt x="179" y="369"/>
                    </a:lnTo>
                    <a:lnTo>
                      <a:pt x="179" y="367"/>
                    </a:lnTo>
                    <a:lnTo>
                      <a:pt x="179" y="369"/>
                    </a:lnTo>
                    <a:lnTo>
                      <a:pt x="179" y="371"/>
                    </a:lnTo>
                    <a:lnTo>
                      <a:pt x="177" y="369"/>
                    </a:lnTo>
                    <a:lnTo>
                      <a:pt x="177" y="369"/>
                    </a:lnTo>
                    <a:lnTo>
                      <a:pt x="175" y="367"/>
                    </a:lnTo>
                    <a:lnTo>
                      <a:pt x="175" y="365"/>
                    </a:lnTo>
                    <a:lnTo>
                      <a:pt x="177" y="365"/>
                    </a:lnTo>
                    <a:lnTo>
                      <a:pt x="179" y="367"/>
                    </a:lnTo>
                    <a:lnTo>
                      <a:pt x="181" y="365"/>
                    </a:lnTo>
                    <a:lnTo>
                      <a:pt x="179" y="363"/>
                    </a:lnTo>
                    <a:lnTo>
                      <a:pt x="177" y="359"/>
                    </a:lnTo>
                    <a:lnTo>
                      <a:pt x="175" y="359"/>
                    </a:lnTo>
                    <a:lnTo>
                      <a:pt x="173" y="359"/>
                    </a:lnTo>
                    <a:lnTo>
                      <a:pt x="173" y="361"/>
                    </a:lnTo>
                    <a:lnTo>
                      <a:pt x="175" y="367"/>
                    </a:lnTo>
                    <a:lnTo>
                      <a:pt x="175" y="369"/>
                    </a:lnTo>
                    <a:lnTo>
                      <a:pt x="179" y="378"/>
                    </a:lnTo>
                    <a:lnTo>
                      <a:pt x="181" y="397"/>
                    </a:lnTo>
                    <a:lnTo>
                      <a:pt x="181" y="401"/>
                    </a:lnTo>
                    <a:lnTo>
                      <a:pt x="183" y="418"/>
                    </a:lnTo>
                    <a:lnTo>
                      <a:pt x="189" y="439"/>
                    </a:lnTo>
                    <a:lnTo>
                      <a:pt x="200" y="462"/>
                    </a:lnTo>
                    <a:lnTo>
                      <a:pt x="200" y="462"/>
                    </a:lnTo>
                    <a:lnTo>
                      <a:pt x="200" y="460"/>
                    </a:lnTo>
                    <a:lnTo>
                      <a:pt x="196" y="451"/>
                    </a:lnTo>
                    <a:lnTo>
                      <a:pt x="196" y="449"/>
                    </a:lnTo>
                    <a:lnTo>
                      <a:pt x="198" y="451"/>
                    </a:lnTo>
                    <a:lnTo>
                      <a:pt x="200" y="454"/>
                    </a:lnTo>
                    <a:lnTo>
                      <a:pt x="202" y="462"/>
                    </a:lnTo>
                    <a:lnTo>
                      <a:pt x="202" y="462"/>
                    </a:lnTo>
                    <a:lnTo>
                      <a:pt x="202" y="460"/>
                    </a:lnTo>
                    <a:lnTo>
                      <a:pt x="204" y="460"/>
                    </a:lnTo>
                    <a:lnTo>
                      <a:pt x="204" y="458"/>
                    </a:lnTo>
                    <a:lnTo>
                      <a:pt x="204" y="464"/>
                    </a:lnTo>
                    <a:lnTo>
                      <a:pt x="204" y="466"/>
                    </a:lnTo>
                    <a:lnTo>
                      <a:pt x="202" y="466"/>
                    </a:lnTo>
                    <a:lnTo>
                      <a:pt x="202" y="466"/>
                    </a:lnTo>
                    <a:lnTo>
                      <a:pt x="202" y="464"/>
                    </a:lnTo>
                    <a:lnTo>
                      <a:pt x="202" y="464"/>
                    </a:lnTo>
                    <a:lnTo>
                      <a:pt x="202" y="464"/>
                    </a:lnTo>
                    <a:lnTo>
                      <a:pt x="202" y="466"/>
                    </a:lnTo>
                    <a:lnTo>
                      <a:pt x="206" y="473"/>
                    </a:lnTo>
                    <a:lnTo>
                      <a:pt x="206" y="477"/>
                    </a:lnTo>
                    <a:lnTo>
                      <a:pt x="208" y="481"/>
                    </a:lnTo>
                    <a:lnTo>
                      <a:pt x="208" y="483"/>
                    </a:lnTo>
                    <a:lnTo>
                      <a:pt x="210" y="483"/>
                    </a:lnTo>
                    <a:lnTo>
                      <a:pt x="210" y="485"/>
                    </a:lnTo>
                    <a:lnTo>
                      <a:pt x="210" y="487"/>
                    </a:lnTo>
                    <a:lnTo>
                      <a:pt x="212" y="489"/>
                    </a:lnTo>
                    <a:lnTo>
                      <a:pt x="212" y="487"/>
                    </a:lnTo>
                    <a:lnTo>
                      <a:pt x="212" y="485"/>
                    </a:lnTo>
                    <a:lnTo>
                      <a:pt x="214" y="483"/>
                    </a:lnTo>
                    <a:lnTo>
                      <a:pt x="215" y="481"/>
                    </a:lnTo>
                    <a:lnTo>
                      <a:pt x="214" y="483"/>
                    </a:lnTo>
                    <a:lnTo>
                      <a:pt x="214" y="485"/>
                    </a:lnTo>
                    <a:lnTo>
                      <a:pt x="214" y="485"/>
                    </a:lnTo>
                    <a:lnTo>
                      <a:pt x="214" y="487"/>
                    </a:lnTo>
                    <a:lnTo>
                      <a:pt x="215" y="485"/>
                    </a:lnTo>
                    <a:lnTo>
                      <a:pt x="215" y="481"/>
                    </a:lnTo>
                    <a:lnTo>
                      <a:pt x="217" y="481"/>
                    </a:lnTo>
                    <a:lnTo>
                      <a:pt x="219" y="483"/>
                    </a:lnTo>
                    <a:lnTo>
                      <a:pt x="221" y="483"/>
                    </a:lnTo>
                    <a:lnTo>
                      <a:pt x="223" y="481"/>
                    </a:lnTo>
                    <a:lnTo>
                      <a:pt x="223" y="481"/>
                    </a:lnTo>
                    <a:lnTo>
                      <a:pt x="225" y="479"/>
                    </a:lnTo>
                    <a:lnTo>
                      <a:pt x="227" y="479"/>
                    </a:lnTo>
                    <a:lnTo>
                      <a:pt x="227" y="479"/>
                    </a:lnTo>
                    <a:lnTo>
                      <a:pt x="227" y="481"/>
                    </a:lnTo>
                    <a:lnTo>
                      <a:pt x="227" y="481"/>
                    </a:lnTo>
                    <a:lnTo>
                      <a:pt x="225" y="481"/>
                    </a:lnTo>
                    <a:lnTo>
                      <a:pt x="223" y="483"/>
                    </a:lnTo>
                    <a:lnTo>
                      <a:pt x="225" y="483"/>
                    </a:lnTo>
                    <a:lnTo>
                      <a:pt x="225" y="483"/>
                    </a:lnTo>
                    <a:lnTo>
                      <a:pt x="227" y="485"/>
                    </a:lnTo>
                    <a:lnTo>
                      <a:pt x="227" y="485"/>
                    </a:lnTo>
                    <a:lnTo>
                      <a:pt x="219" y="485"/>
                    </a:lnTo>
                    <a:lnTo>
                      <a:pt x="217" y="485"/>
                    </a:lnTo>
                    <a:lnTo>
                      <a:pt x="217" y="487"/>
                    </a:lnTo>
                    <a:lnTo>
                      <a:pt x="215" y="489"/>
                    </a:lnTo>
                    <a:lnTo>
                      <a:pt x="215" y="489"/>
                    </a:lnTo>
                    <a:lnTo>
                      <a:pt x="217" y="491"/>
                    </a:lnTo>
                    <a:lnTo>
                      <a:pt x="219" y="491"/>
                    </a:lnTo>
                    <a:lnTo>
                      <a:pt x="219" y="491"/>
                    </a:lnTo>
                    <a:lnTo>
                      <a:pt x="221" y="491"/>
                    </a:lnTo>
                    <a:lnTo>
                      <a:pt x="221" y="491"/>
                    </a:lnTo>
                    <a:lnTo>
                      <a:pt x="217" y="492"/>
                    </a:lnTo>
                    <a:lnTo>
                      <a:pt x="215" y="492"/>
                    </a:lnTo>
                    <a:lnTo>
                      <a:pt x="214" y="491"/>
                    </a:lnTo>
                    <a:lnTo>
                      <a:pt x="214" y="491"/>
                    </a:lnTo>
                    <a:lnTo>
                      <a:pt x="212" y="492"/>
                    </a:lnTo>
                    <a:lnTo>
                      <a:pt x="214" y="494"/>
                    </a:lnTo>
                    <a:lnTo>
                      <a:pt x="225" y="504"/>
                    </a:lnTo>
                    <a:lnTo>
                      <a:pt x="227" y="506"/>
                    </a:lnTo>
                    <a:lnTo>
                      <a:pt x="231" y="513"/>
                    </a:lnTo>
                    <a:lnTo>
                      <a:pt x="236" y="517"/>
                    </a:lnTo>
                    <a:lnTo>
                      <a:pt x="236" y="521"/>
                    </a:lnTo>
                    <a:lnTo>
                      <a:pt x="246" y="530"/>
                    </a:lnTo>
                    <a:lnTo>
                      <a:pt x="248" y="536"/>
                    </a:lnTo>
                    <a:lnTo>
                      <a:pt x="254" y="542"/>
                    </a:lnTo>
                    <a:lnTo>
                      <a:pt x="265" y="557"/>
                    </a:lnTo>
                    <a:lnTo>
                      <a:pt x="269" y="561"/>
                    </a:lnTo>
                    <a:lnTo>
                      <a:pt x="284" y="570"/>
                    </a:lnTo>
                    <a:lnTo>
                      <a:pt x="284" y="570"/>
                    </a:lnTo>
                    <a:lnTo>
                      <a:pt x="284" y="570"/>
                    </a:lnTo>
                    <a:lnTo>
                      <a:pt x="286" y="570"/>
                    </a:lnTo>
                    <a:lnTo>
                      <a:pt x="288" y="570"/>
                    </a:lnTo>
                    <a:lnTo>
                      <a:pt x="288" y="570"/>
                    </a:lnTo>
                    <a:lnTo>
                      <a:pt x="290" y="569"/>
                    </a:lnTo>
                    <a:lnTo>
                      <a:pt x="290" y="569"/>
                    </a:lnTo>
                    <a:lnTo>
                      <a:pt x="290" y="569"/>
                    </a:lnTo>
                    <a:lnTo>
                      <a:pt x="290" y="567"/>
                    </a:lnTo>
                    <a:lnTo>
                      <a:pt x="290" y="565"/>
                    </a:lnTo>
                    <a:lnTo>
                      <a:pt x="290" y="565"/>
                    </a:lnTo>
                    <a:lnTo>
                      <a:pt x="290" y="563"/>
                    </a:lnTo>
                    <a:lnTo>
                      <a:pt x="292" y="561"/>
                    </a:lnTo>
                    <a:lnTo>
                      <a:pt x="296" y="557"/>
                    </a:lnTo>
                    <a:lnTo>
                      <a:pt x="296" y="555"/>
                    </a:lnTo>
                    <a:lnTo>
                      <a:pt x="296" y="555"/>
                    </a:lnTo>
                    <a:lnTo>
                      <a:pt x="296" y="553"/>
                    </a:lnTo>
                    <a:lnTo>
                      <a:pt x="296" y="550"/>
                    </a:lnTo>
                    <a:lnTo>
                      <a:pt x="296" y="548"/>
                    </a:lnTo>
                    <a:lnTo>
                      <a:pt x="296" y="548"/>
                    </a:lnTo>
                    <a:lnTo>
                      <a:pt x="296" y="548"/>
                    </a:lnTo>
                    <a:lnTo>
                      <a:pt x="296" y="546"/>
                    </a:lnTo>
                    <a:lnTo>
                      <a:pt x="296" y="548"/>
                    </a:lnTo>
                    <a:lnTo>
                      <a:pt x="296" y="548"/>
                    </a:lnTo>
                    <a:lnTo>
                      <a:pt x="297" y="548"/>
                    </a:lnTo>
                    <a:lnTo>
                      <a:pt x="297" y="548"/>
                    </a:lnTo>
                    <a:lnTo>
                      <a:pt x="299" y="548"/>
                    </a:lnTo>
                    <a:lnTo>
                      <a:pt x="299" y="548"/>
                    </a:lnTo>
                    <a:lnTo>
                      <a:pt x="303" y="544"/>
                    </a:lnTo>
                    <a:lnTo>
                      <a:pt x="303" y="542"/>
                    </a:lnTo>
                    <a:lnTo>
                      <a:pt x="305" y="540"/>
                    </a:lnTo>
                    <a:lnTo>
                      <a:pt x="305" y="540"/>
                    </a:lnTo>
                    <a:lnTo>
                      <a:pt x="303" y="538"/>
                    </a:lnTo>
                    <a:lnTo>
                      <a:pt x="303" y="536"/>
                    </a:lnTo>
                    <a:lnTo>
                      <a:pt x="301" y="534"/>
                    </a:lnTo>
                    <a:lnTo>
                      <a:pt x="296" y="530"/>
                    </a:lnTo>
                    <a:lnTo>
                      <a:pt x="294" y="529"/>
                    </a:lnTo>
                    <a:lnTo>
                      <a:pt x="294" y="529"/>
                    </a:lnTo>
                    <a:lnTo>
                      <a:pt x="294" y="527"/>
                    </a:lnTo>
                    <a:lnTo>
                      <a:pt x="292" y="525"/>
                    </a:lnTo>
                    <a:lnTo>
                      <a:pt x="292" y="523"/>
                    </a:lnTo>
                    <a:lnTo>
                      <a:pt x="292" y="523"/>
                    </a:lnTo>
                    <a:lnTo>
                      <a:pt x="292" y="521"/>
                    </a:lnTo>
                    <a:lnTo>
                      <a:pt x="292" y="519"/>
                    </a:lnTo>
                    <a:lnTo>
                      <a:pt x="292" y="519"/>
                    </a:lnTo>
                    <a:lnTo>
                      <a:pt x="294" y="517"/>
                    </a:lnTo>
                    <a:lnTo>
                      <a:pt x="299" y="508"/>
                    </a:lnTo>
                    <a:lnTo>
                      <a:pt x="301" y="502"/>
                    </a:lnTo>
                    <a:lnTo>
                      <a:pt x="301" y="500"/>
                    </a:lnTo>
                    <a:lnTo>
                      <a:pt x="301" y="500"/>
                    </a:lnTo>
                    <a:lnTo>
                      <a:pt x="301" y="498"/>
                    </a:lnTo>
                    <a:lnTo>
                      <a:pt x="299" y="498"/>
                    </a:lnTo>
                    <a:lnTo>
                      <a:pt x="299" y="496"/>
                    </a:lnTo>
                    <a:lnTo>
                      <a:pt x="297" y="496"/>
                    </a:lnTo>
                    <a:lnTo>
                      <a:pt x="296" y="494"/>
                    </a:lnTo>
                    <a:lnTo>
                      <a:pt x="294" y="491"/>
                    </a:lnTo>
                    <a:lnTo>
                      <a:pt x="290" y="483"/>
                    </a:lnTo>
                    <a:lnTo>
                      <a:pt x="290" y="481"/>
                    </a:lnTo>
                    <a:lnTo>
                      <a:pt x="290" y="481"/>
                    </a:lnTo>
                    <a:lnTo>
                      <a:pt x="292" y="479"/>
                    </a:lnTo>
                    <a:lnTo>
                      <a:pt x="296" y="477"/>
                    </a:lnTo>
                    <a:lnTo>
                      <a:pt x="297" y="473"/>
                    </a:lnTo>
                    <a:lnTo>
                      <a:pt x="301" y="466"/>
                    </a:lnTo>
                    <a:lnTo>
                      <a:pt x="309" y="443"/>
                    </a:lnTo>
                    <a:lnTo>
                      <a:pt x="313" y="437"/>
                    </a:lnTo>
                    <a:lnTo>
                      <a:pt x="315" y="428"/>
                    </a:lnTo>
                    <a:lnTo>
                      <a:pt x="317" y="426"/>
                    </a:lnTo>
                    <a:lnTo>
                      <a:pt x="317" y="426"/>
                    </a:lnTo>
                    <a:lnTo>
                      <a:pt x="320" y="422"/>
                    </a:lnTo>
                    <a:lnTo>
                      <a:pt x="320" y="418"/>
                    </a:lnTo>
                    <a:lnTo>
                      <a:pt x="318" y="418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2" name="Freeform 24">
                <a:extLst>
                  <a:ext uri="{FF2B5EF4-FFF2-40B4-BE49-F238E27FC236}">
                    <a16:creationId xmlns:a16="http://schemas.microsoft.com/office/drawing/2014/main" id="{F80CAA63-4178-4C38-8057-7A2E208B5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6944" y="5645624"/>
                <a:ext cx="889000" cy="1406525"/>
              </a:xfrm>
              <a:custGeom>
                <a:avLst/>
                <a:gdLst>
                  <a:gd name="T0" fmla="*/ 534 w 560"/>
                  <a:gd name="T1" fmla="*/ 660 h 886"/>
                  <a:gd name="T2" fmla="*/ 516 w 560"/>
                  <a:gd name="T3" fmla="*/ 633 h 886"/>
                  <a:gd name="T4" fmla="*/ 499 w 560"/>
                  <a:gd name="T5" fmla="*/ 601 h 886"/>
                  <a:gd name="T6" fmla="*/ 476 w 560"/>
                  <a:gd name="T7" fmla="*/ 591 h 886"/>
                  <a:gd name="T8" fmla="*/ 450 w 560"/>
                  <a:gd name="T9" fmla="*/ 610 h 886"/>
                  <a:gd name="T10" fmla="*/ 417 w 560"/>
                  <a:gd name="T11" fmla="*/ 610 h 886"/>
                  <a:gd name="T12" fmla="*/ 381 w 560"/>
                  <a:gd name="T13" fmla="*/ 593 h 886"/>
                  <a:gd name="T14" fmla="*/ 371 w 560"/>
                  <a:gd name="T15" fmla="*/ 614 h 886"/>
                  <a:gd name="T16" fmla="*/ 366 w 560"/>
                  <a:gd name="T17" fmla="*/ 593 h 886"/>
                  <a:gd name="T18" fmla="*/ 360 w 560"/>
                  <a:gd name="T19" fmla="*/ 561 h 886"/>
                  <a:gd name="T20" fmla="*/ 404 w 560"/>
                  <a:gd name="T21" fmla="*/ 586 h 886"/>
                  <a:gd name="T22" fmla="*/ 410 w 560"/>
                  <a:gd name="T23" fmla="*/ 570 h 886"/>
                  <a:gd name="T24" fmla="*/ 417 w 560"/>
                  <a:gd name="T25" fmla="*/ 542 h 886"/>
                  <a:gd name="T26" fmla="*/ 391 w 560"/>
                  <a:gd name="T27" fmla="*/ 540 h 886"/>
                  <a:gd name="T28" fmla="*/ 347 w 560"/>
                  <a:gd name="T29" fmla="*/ 536 h 886"/>
                  <a:gd name="T30" fmla="*/ 339 w 560"/>
                  <a:gd name="T31" fmla="*/ 515 h 886"/>
                  <a:gd name="T32" fmla="*/ 337 w 560"/>
                  <a:gd name="T33" fmla="*/ 458 h 886"/>
                  <a:gd name="T34" fmla="*/ 370 w 560"/>
                  <a:gd name="T35" fmla="*/ 452 h 886"/>
                  <a:gd name="T36" fmla="*/ 360 w 560"/>
                  <a:gd name="T37" fmla="*/ 388 h 886"/>
                  <a:gd name="T38" fmla="*/ 368 w 560"/>
                  <a:gd name="T39" fmla="*/ 352 h 886"/>
                  <a:gd name="T40" fmla="*/ 431 w 560"/>
                  <a:gd name="T41" fmla="*/ 285 h 886"/>
                  <a:gd name="T42" fmla="*/ 419 w 560"/>
                  <a:gd name="T43" fmla="*/ 237 h 886"/>
                  <a:gd name="T44" fmla="*/ 415 w 560"/>
                  <a:gd name="T45" fmla="*/ 173 h 886"/>
                  <a:gd name="T46" fmla="*/ 438 w 560"/>
                  <a:gd name="T47" fmla="*/ 116 h 886"/>
                  <a:gd name="T48" fmla="*/ 432 w 560"/>
                  <a:gd name="T49" fmla="*/ 79 h 886"/>
                  <a:gd name="T50" fmla="*/ 425 w 560"/>
                  <a:gd name="T51" fmla="*/ 22 h 886"/>
                  <a:gd name="T52" fmla="*/ 379 w 560"/>
                  <a:gd name="T53" fmla="*/ 28 h 886"/>
                  <a:gd name="T54" fmla="*/ 335 w 560"/>
                  <a:gd name="T55" fmla="*/ 74 h 886"/>
                  <a:gd name="T56" fmla="*/ 297 w 560"/>
                  <a:gd name="T57" fmla="*/ 97 h 886"/>
                  <a:gd name="T58" fmla="*/ 286 w 560"/>
                  <a:gd name="T59" fmla="*/ 140 h 886"/>
                  <a:gd name="T60" fmla="*/ 228 w 560"/>
                  <a:gd name="T61" fmla="*/ 148 h 886"/>
                  <a:gd name="T62" fmla="*/ 183 w 560"/>
                  <a:gd name="T63" fmla="*/ 140 h 886"/>
                  <a:gd name="T64" fmla="*/ 194 w 560"/>
                  <a:gd name="T65" fmla="*/ 192 h 886"/>
                  <a:gd name="T66" fmla="*/ 139 w 560"/>
                  <a:gd name="T67" fmla="*/ 209 h 886"/>
                  <a:gd name="T68" fmla="*/ 95 w 560"/>
                  <a:gd name="T69" fmla="*/ 213 h 886"/>
                  <a:gd name="T70" fmla="*/ 72 w 560"/>
                  <a:gd name="T71" fmla="*/ 243 h 886"/>
                  <a:gd name="T72" fmla="*/ 40 w 560"/>
                  <a:gd name="T73" fmla="*/ 245 h 886"/>
                  <a:gd name="T74" fmla="*/ 17 w 560"/>
                  <a:gd name="T75" fmla="*/ 260 h 886"/>
                  <a:gd name="T76" fmla="*/ 32 w 560"/>
                  <a:gd name="T77" fmla="*/ 272 h 886"/>
                  <a:gd name="T78" fmla="*/ 47 w 560"/>
                  <a:gd name="T79" fmla="*/ 308 h 886"/>
                  <a:gd name="T80" fmla="*/ 24 w 560"/>
                  <a:gd name="T81" fmla="*/ 357 h 886"/>
                  <a:gd name="T82" fmla="*/ 11 w 560"/>
                  <a:gd name="T83" fmla="*/ 369 h 886"/>
                  <a:gd name="T84" fmla="*/ 19 w 560"/>
                  <a:gd name="T85" fmla="*/ 420 h 886"/>
                  <a:gd name="T86" fmla="*/ 3 w 560"/>
                  <a:gd name="T87" fmla="*/ 466 h 886"/>
                  <a:gd name="T88" fmla="*/ 5 w 560"/>
                  <a:gd name="T89" fmla="*/ 483 h 886"/>
                  <a:gd name="T90" fmla="*/ 30 w 560"/>
                  <a:gd name="T91" fmla="*/ 511 h 886"/>
                  <a:gd name="T92" fmla="*/ 43 w 560"/>
                  <a:gd name="T93" fmla="*/ 546 h 886"/>
                  <a:gd name="T94" fmla="*/ 78 w 560"/>
                  <a:gd name="T95" fmla="*/ 626 h 886"/>
                  <a:gd name="T96" fmla="*/ 80 w 560"/>
                  <a:gd name="T97" fmla="*/ 677 h 886"/>
                  <a:gd name="T98" fmla="*/ 106 w 560"/>
                  <a:gd name="T99" fmla="*/ 740 h 886"/>
                  <a:gd name="T100" fmla="*/ 125 w 560"/>
                  <a:gd name="T101" fmla="*/ 755 h 886"/>
                  <a:gd name="T102" fmla="*/ 150 w 560"/>
                  <a:gd name="T103" fmla="*/ 776 h 886"/>
                  <a:gd name="T104" fmla="*/ 166 w 560"/>
                  <a:gd name="T105" fmla="*/ 801 h 886"/>
                  <a:gd name="T106" fmla="*/ 217 w 560"/>
                  <a:gd name="T107" fmla="*/ 844 h 886"/>
                  <a:gd name="T108" fmla="*/ 268 w 560"/>
                  <a:gd name="T109" fmla="*/ 863 h 886"/>
                  <a:gd name="T110" fmla="*/ 309 w 560"/>
                  <a:gd name="T111" fmla="*/ 884 h 886"/>
                  <a:gd name="T112" fmla="*/ 396 w 560"/>
                  <a:gd name="T113" fmla="*/ 861 h 886"/>
                  <a:gd name="T114" fmla="*/ 461 w 560"/>
                  <a:gd name="T115" fmla="*/ 827 h 886"/>
                  <a:gd name="T116" fmla="*/ 438 w 560"/>
                  <a:gd name="T117" fmla="*/ 776 h 886"/>
                  <a:gd name="T118" fmla="*/ 465 w 560"/>
                  <a:gd name="T119" fmla="*/ 728 h 886"/>
                  <a:gd name="T120" fmla="*/ 522 w 560"/>
                  <a:gd name="T121" fmla="*/ 728 h 886"/>
                  <a:gd name="T122" fmla="*/ 541 w 560"/>
                  <a:gd name="T123" fmla="*/ 721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60" h="886">
                    <a:moveTo>
                      <a:pt x="560" y="675"/>
                    </a:moveTo>
                    <a:lnTo>
                      <a:pt x="560" y="673"/>
                    </a:lnTo>
                    <a:lnTo>
                      <a:pt x="560" y="673"/>
                    </a:lnTo>
                    <a:lnTo>
                      <a:pt x="560" y="673"/>
                    </a:lnTo>
                    <a:lnTo>
                      <a:pt x="558" y="671"/>
                    </a:lnTo>
                    <a:lnTo>
                      <a:pt x="558" y="673"/>
                    </a:lnTo>
                    <a:lnTo>
                      <a:pt x="556" y="675"/>
                    </a:lnTo>
                    <a:lnTo>
                      <a:pt x="556" y="675"/>
                    </a:lnTo>
                    <a:lnTo>
                      <a:pt x="555" y="675"/>
                    </a:lnTo>
                    <a:lnTo>
                      <a:pt x="555" y="675"/>
                    </a:lnTo>
                    <a:lnTo>
                      <a:pt x="555" y="675"/>
                    </a:lnTo>
                    <a:lnTo>
                      <a:pt x="553" y="675"/>
                    </a:lnTo>
                    <a:lnTo>
                      <a:pt x="549" y="671"/>
                    </a:lnTo>
                    <a:lnTo>
                      <a:pt x="547" y="669"/>
                    </a:lnTo>
                    <a:lnTo>
                      <a:pt x="547" y="669"/>
                    </a:lnTo>
                    <a:lnTo>
                      <a:pt x="545" y="671"/>
                    </a:lnTo>
                    <a:lnTo>
                      <a:pt x="545" y="671"/>
                    </a:lnTo>
                    <a:lnTo>
                      <a:pt x="545" y="669"/>
                    </a:lnTo>
                    <a:lnTo>
                      <a:pt x="543" y="669"/>
                    </a:lnTo>
                    <a:lnTo>
                      <a:pt x="543" y="669"/>
                    </a:lnTo>
                    <a:lnTo>
                      <a:pt x="541" y="669"/>
                    </a:lnTo>
                    <a:lnTo>
                      <a:pt x="541" y="669"/>
                    </a:lnTo>
                    <a:lnTo>
                      <a:pt x="539" y="669"/>
                    </a:lnTo>
                    <a:lnTo>
                      <a:pt x="539" y="669"/>
                    </a:lnTo>
                    <a:lnTo>
                      <a:pt x="537" y="669"/>
                    </a:lnTo>
                    <a:lnTo>
                      <a:pt x="537" y="667"/>
                    </a:lnTo>
                    <a:lnTo>
                      <a:pt x="537" y="665"/>
                    </a:lnTo>
                    <a:lnTo>
                      <a:pt x="535" y="665"/>
                    </a:lnTo>
                    <a:lnTo>
                      <a:pt x="535" y="664"/>
                    </a:lnTo>
                    <a:lnTo>
                      <a:pt x="534" y="664"/>
                    </a:lnTo>
                    <a:lnTo>
                      <a:pt x="534" y="662"/>
                    </a:lnTo>
                    <a:lnTo>
                      <a:pt x="534" y="662"/>
                    </a:lnTo>
                    <a:lnTo>
                      <a:pt x="534" y="660"/>
                    </a:lnTo>
                    <a:lnTo>
                      <a:pt x="534" y="660"/>
                    </a:lnTo>
                    <a:lnTo>
                      <a:pt x="535" y="660"/>
                    </a:lnTo>
                    <a:lnTo>
                      <a:pt x="535" y="658"/>
                    </a:lnTo>
                    <a:lnTo>
                      <a:pt x="535" y="658"/>
                    </a:lnTo>
                    <a:lnTo>
                      <a:pt x="535" y="652"/>
                    </a:lnTo>
                    <a:lnTo>
                      <a:pt x="535" y="650"/>
                    </a:lnTo>
                    <a:lnTo>
                      <a:pt x="535" y="648"/>
                    </a:lnTo>
                    <a:lnTo>
                      <a:pt x="535" y="648"/>
                    </a:lnTo>
                    <a:lnTo>
                      <a:pt x="535" y="646"/>
                    </a:lnTo>
                    <a:lnTo>
                      <a:pt x="535" y="646"/>
                    </a:lnTo>
                    <a:lnTo>
                      <a:pt x="535" y="643"/>
                    </a:lnTo>
                    <a:lnTo>
                      <a:pt x="535" y="641"/>
                    </a:lnTo>
                    <a:lnTo>
                      <a:pt x="535" y="639"/>
                    </a:lnTo>
                    <a:lnTo>
                      <a:pt x="537" y="637"/>
                    </a:lnTo>
                    <a:lnTo>
                      <a:pt x="537" y="637"/>
                    </a:lnTo>
                    <a:lnTo>
                      <a:pt x="537" y="635"/>
                    </a:lnTo>
                    <a:lnTo>
                      <a:pt x="535" y="635"/>
                    </a:lnTo>
                    <a:lnTo>
                      <a:pt x="535" y="635"/>
                    </a:lnTo>
                    <a:lnTo>
                      <a:pt x="534" y="635"/>
                    </a:lnTo>
                    <a:lnTo>
                      <a:pt x="532" y="635"/>
                    </a:lnTo>
                    <a:lnTo>
                      <a:pt x="532" y="635"/>
                    </a:lnTo>
                    <a:lnTo>
                      <a:pt x="532" y="635"/>
                    </a:lnTo>
                    <a:lnTo>
                      <a:pt x="530" y="635"/>
                    </a:lnTo>
                    <a:lnTo>
                      <a:pt x="528" y="633"/>
                    </a:lnTo>
                    <a:lnTo>
                      <a:pt x="528" y="633"/>
                    </a:lnTo>
                    <a:lnTo>
                      <a:pt x="528" y="633"/>
                    </a:lnTo>
                    <a:lnTo>
                      <a:pt x="526" y="633"/>
                    </a:lnTo>
                    <a:lnTo>
                      <a:pt x="524" y="635"/>
                    </a:lnTo>
                    <a:lnTo>
                      <a:pt x="524" y="635"/>
                    </a:lnTo>
                    <a:lnTo>
                      <a:pt x="522" y="635"/>
                    </a:lnTo>
                    <a:lnTo>
                      <a:pt x="522" y="635"/>
                    </a:lnTo>
                    <a:lnTo>
                      <a:pt x="518" y="635"/>
                    </a:lnTo>
                    <a:lnTo>
                      <a:pt x="516" y="633"/>
                    </a:lnTo>
                    <a:lnTo>
                      <a:pt x="514" y="633"/>
                    </a:lnTo>
                    <a:lnTo>
                      <a:pt x="513" y="633"/>
                    </a:lnTo>
                    <a:lnTo>
                      <a:pt x="513" y="633"/>
                    </a:lnTo>
                    <a:lnTo>
                      <a:pt x="513" y="633"/>
                    </a:lnTo>
                    <a:lnTo>
                      <a:pt x="511" y="631"/>
                    </a:lnTo>
                    <a:lnTo>
                      <a:pt x="507" y="627"/>
                    </a:lnTo>
                    <a:lnTo>
                      <a:pt x="505" y="626"/>
                    </a:lnTo>
                    <a:lnTo>
                      <a:pt x="505" y="626"/>
                    </a:lnTo>
                    <a:lnTo>
                      <a:pt x="503" y="626"/>
                    </a:lnTo>
                    <a:lnTo>
                      <a:pt x="503" y="626"/>
                    </a:lnTo>
                    <a:lnTo>
                      <a:pt x="501" y="627"/>
                    </a:lnTo>
                    <a:lnTo>
                      <a:pt x="499" y="627"/>
                    </a:lnTo>
                    <a:lnTo>
                      <a:pt x="499" y="626"/>
                    </a:lnTo>
                    <a:lnTo>
                      <a:pt x="497" y="624"/>
                    </a:lnTo>
                    <a:lnTo>
                      <a:pt x="497" y="624"/>
                    </a:lnTo>
                    <a:lnTo>
                      <a:pt x="497" y="622"/>
                    </a:lnTo>
                    <a:lnTo>
                      <a:pt x="497" y="622"/>
                    </a:lnTo>
                    <a:lnTo>
                      <a:pt x="499" y="622"/>
                    </a:lnTo>
                    <a:lnTo>
                      <a:pt x="501" y="622"/>
                    </a:lnTo>
                    <a:lnTo>
                      <a:pt x="501" y="622"/>
                    </a:lnTo>
                    <a:lnTo>
                      <a:pt x="503" y="622"/>
                    </a:lnTo>
                    <a:lnTo>
                      <a:pt x="503" y="620"/>
                    </a:lnTo>
                    <a:lnTo>
                      <a:pt x="503" y="620"/>
                    </a:lnTo>
                    <a:lnTo>
                      <a:pt x="503" y="618"/>
                    </a:lnTo>
                    <a:lnTo>
                      <a:pt x="501" y="616"/>
                    </a:lnTo>
                    <a:lnTo>
                      <a:pt x="501" y="614"/>
                    </a:lnTo>
                    <a:lnTo>
                      <a:pt x="499" y="614"/>
                    </a:lnTo>
                    <a:lnTo>
                      <a:pt x="501" y="612"/>
                    </a:lnTo>
                    <a:lnTo>
                      <a:pt x="501" y="610"/>
                    </a:lnTo>
                    <a:lnTo>
                      <a:pt x="501" y="608"/>
                    </a:lnTo>
                    <a:lnTo>
                      <a:pt x="501" y="606"/>
                    </a:lnTo>
                    <a:lnTo>
                      <a:pt x="501" y="605"/>
                    </a:lnTo>
                    <a:lnTo>
                      <a:pt x="499" y="601"/>
                    </a:lnTo>
                    <a:lnTo>
                      <a:pt x="494" y="597"/>
                    </a:lnTo>
                    <a:lnTo>
                      <a:pt x="490" y="599"/>
                    </a:lnTo>
                    <a:lnTo>
                      <a:pt x="490" y="599"/>
                    </a:lnTo>
                    <a:lnTo>
                      <a:pt x="490" y="599"/>
                    </a:lnTo>
                    <a:lnTo>
                      <a:pt x="488" y="599"/>
                    </a:lnTo>
                    <a:lnTo>
                      <a:pt x="486" y="599"/>
                    </a:lnTo>
                    <a:lnTo>
                      <a:pt x="484" y="599"/>
                    </a:lnTo>
                    <a:lnTo>
                      <a:pt x="484" y="601"/>
                    </a:lnTo>
                    <a:lnTo>
                      <a:pt x="482" y="603"/>
                    </a:lnTo>
                    <a:lnTo>
                      <a:pt x="480" y="603"/>
                    </a:lnTo>
                    <a:lnTo>
                      <a:pt x="480" y="605"/>
                    </a:lnTo>
                    <a:lnTo>
                      <a:pt x="480" y="603"/>
                    </a:lnTo>
                    <a:lnTo>
                      <a:pt x="478" y="603"/>
                    </a:lnTo>
                    <a:lnTo>
                      <a:pt x="478" y="601"/>
                    </a:lnTo>
                    <a:lnTo>
                      <a:pt x="478" y="599"/>
                    </a:lnTo>
                    <a:lnTo>
                      <a:pt x="478" y="597"/>
                    </a:lnTo>
                    <a:lnTo>
                      <a:pt x="478" y="597"/>
                    </a:lnTo>
                    <a:lnTo>
                      <a:pt x="478" y="595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89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0" y="587"/>
                    </a:lnTo>
                    <a:lnTo>
                      <a:pt x="478" y="587"/>
                    </a:lnTo>
                    <a:lnTo>
                      <a:pt x="478" y="589"/>
                    </a:lnTo>
                    <a:lnTo>
                      <a:pt x="478" y="589"/>
                    </a:lnTo>
                    <a:lnTo>
                      <a:pt x="478" y="591"/>
                    </a:lnTo>
                    <a:lnTo>
                      <a:pt x="476" y="591"/>
                    </a:lnTo>
                    <a:lnTo>
                      <a:pt x="476" y="593"/>
                    </a:lnTo>
                    <a:lnTo>
                      <a:pt x="474" y="593"/>
                    </a:lnTo>
                    <a:lnTo>
                      <a:pt x="473" y="593"/>
                    </a:lnTo>
                    <a:lnTo>
                      <a:pt x="473" y="591"/>
                    </a:lnTo>
                    <a:lnTo>
                      <a:pt x="471" y="591"/>
                    </a:lnTo>
                    <a:lnTo>
                      <a:pt x="471" y="591"/>
                    </a:lnTo>
                    <a:lnTo>
                      <a:pt x="469" y="591"/>
                    </a:lnTo>
                    <a:lnTo>
                      <a:pt x="467" y="591"/>
                    </a:lnTo>
                    <a:lnTo>
                      <a:pt x="465" y="589"/>
                    </a:lnTo>
                    <a:lnTo>
                      <a:pt x="463" y="589"/>
                    </a:lnTo>
                    <a:lnTo>
                      <a:pt x="463" y="589"/>
                    </a:lnTo>
                    <a:lnTo>
                      <a:pt x="461" y="591"/>
                    </a:lnTo>
                    <a:lnTo>
                      <a:pt x="461" y="591"/>
                    </a:lnTo>
                    <a:lnTo>
                      <a:pt x="461" y="593"/>
                    </a:lnTo>
                    <a:lnTo>
                      <a:pt x="461" y="593"/>
                    </a:lnTo>
                    <a:lnTo>
                      <a:pt x="461" y="595"/>
                    </a:lnTo>
                    <a:lnTo>
                      <a:pt x="463" y="595"/>
                    </a:lnTo>
                    <a:lnTo>
                      <a:pt x="463" y="597"/>
                    </a:lnTo>
                    <a:lnTo>
                      <a:pt x="463" y="597"/>
                    </a:lnTo>
                    <a:lnTo>
                      <a:pt x="463" y="597"/>
                    </a:lnTo>
                    <a:lnTo>
                      <a:pt x="463" y="599"/>
                    </a:lnTo>
                    <a:lnTo>
                      <a:pt x="463" y="599"/>
                    </a:lnTo>
                    <a:lnTo>
                      <a:pt x="461" y="601"/>
                    </a:lnTo>
                    <a:lnTo>
                      <a:pt x="459" y="603"/>
                    </a:lnTo>
                    <a:lnTo>
                      <a:pt x="457" y="603"/>
                    </a:lnTo>
                    <a:lnTo>
                      <a:pt x="457" y="605"/>
                    </a:lnTo>
                    <a:lnTo>
                      <a:pt x="455" y="605"/>
                    </a:lnTo>
                    <a:lnTo>
                      <a:pt x="455" y="606"/>
                    </a:lnTo>
                    <a:lnTo>
                      <a:pt x="452" y="606"/>
                    </a:lnTo>
                    <a:lnTo>
                      <a:pt x="452" y="606"/>
                    </a:lnTo>
                    <a:lnTo>
                      <a:pt x="450" y="608"/>
                    </a:lnTo>
                    <a:lnTo>
                      <a:pt x="450" y="608"/>
                    </a:lnTo>
                    <a:lnTo>
                      <a:pt x="450" y="610"/>
                    </a:lnTo>
                    <a:lnTo>
                      <a:pt x="450" y="612"/>
                    </a:lnTo>
                    <a:lnTo>
                      <a:pt x="448" y="612"/>
                    </a:lnTo>
                    <a:lnTo>
                      <a:pt x="448" y="612"/>
                    </a:lnTo>
                    <a:lnTo>
                      <a:pt x="446" y="612"/>
                    </a:lnTo>
                    <a:lnTo>
                      <a:pt x="446" y="612"/>
                    </a:lnTo>
                    <a:lnTo>
                      <a:pt x="446" y="610"/>
                    </a:lnTo>
                    <a:lnTo>
                      <a:pt x="444" y="610"/>
                    </a:lnTo>
                    <a:lnTo>
                      <a:pt x="442" y="610"/>
                    </a:lnTo>
                    <a:lnTo>
                      <a:pt x="442" y="610"/>
                    </a:lnTo>
                    <a:lnTo>
                      <a:pt x="440" y="610"/>
                    </a:lnTo>
                    <a:lnTo>
                      <a:pt x="440" y="612"/>
                    </a:lnTo>
                    <a:lnTo>
                      <a:pt x="438" y="612"/>
                    </a:lnTo>
                    <a:lnTo>
                      <a:pt x="438" y="612"/>
                    </a:lnTo>
                    <a:lnTo>
                      <a:pt x="438" y="614"/>
                    </a:lnTo>
                    <a:lnTo>
                      <a:pt x="438" y="616"/>
                    </a:lnTo>
                    <a:lnTo>
                      <a:pt x="438" y="616"/>
                    </a:lnTo>
                    <a:lnTo>
                      <a:pt x="438" y="616"/>
                    </a:lnTo>
                    <a:lnTo>
                      <a:pt x="434" y="616"/>
                    </a:lnTo>
                    <a:lnTo>
                      <a:pt x="434" y="616"/>
                    </a:lnTo>
                    <a:lnTo>
                      <a:pt x="431" y="618"/>
                    </a:lnTo>
                    <a:lnTo>
                      <a:pt x="427" y="620"/>
                    </a:lnTo>
                    <a:lnTo>
                      <a:pt x="427" y="620"/>
                    </a:lnTo>
                    <a:lnTo>
                      <a:pt x="425" y="620"/>
                    </a:lnTo>
                    <a:lnTo>
                      <a:pt x="423" y="620"/>
                    </a:lnTo>
                    <a:lnTo>
                      <a:pt x="423" y="620"/>
                    </a:lnTo>
                    <a:lnTo>
                      <a:pt x="421" y="622"/>
                    </a:lnTo>
                    <a:lnTo>
                      <a:pt x="421" y="620"/>
                    </a:lnTo>
                    <a:lnTo>
                      <a:pt x="419" y="620"/>
                    </a:lnTo>
                    <a:lnTo>
                      <a:pt x="419" y="618"/>
                    </a:lnTo>
                    <a:lnTo>
                      <a:pt x="419" y="614"/>
                    </a:lnTo>
                    <a:lnTo>
                      <a:pt x="419" y="614"/>
                    </a:lnTo>
                    <a:lnTo>
                      <a:pt x="419" y="610"/>
                    </a:lnTo>
                    <a:lnTo>
                      <a:pt x="417" y="610"/>
                    </a:lnTo>
                    <a:lnTo>
                      <a:pt x="417" y="608"/>
                    </a:lnTo>
                    <a:lnTo>
                      <a:pt x="417" y="606"/>
                    </a:lnTo>
                    <a:lnTo>
                      <a:pt x="415" y="606"/>
                    </a:lnTo>
                    <a:lnTo>
                      <a:pt x="413" y="605"/>
                    </a:lnTo>
                    <a:lnTo>
                      <a:pt x="413" y="605"/>
                    </a:lnTo>
                    <a:lnTo>
                      <a:pt x="413" y="603"/>
                    </a:lnTo>
                    <a:lnTo>
                      <a:pt x="413" y="603"/>
                    </a:lnTo>
                    <a:lnTo>
                      <a:pt x="413" y="603"/>
                    </a:lnTo>
                    <a:lnTo>
                      <a:pt x="410" y="603"/>
                    </a:lnTo>
                    <a:lnTo>
                      <a:pt x="406" y="601"/>
                    </a:lnTo>
                    <a:lnTo>
                      <a:pt x="404" y="601"/>
                    </a:lnTo>
                    <a:lnTo>
                      <a:pt x="404" y="601"/>
                    </a:lnTo>
                    <a:lnTo>
                      <a:pt x="402" y="601"/>
                    </a:lnTo>
                    <a:lnTo>
                      <a:pt x="400" y="601"/>
                    </a:lnTo>
                    <a:lnTo>
                      <a:pt x="400" y="601"/>
                    </a:lnTo>
                    <a:lnTo>
                      <a:pt x="398" y="601"/>
                    </a:lnTo>
                    <a:lnTo>
                      <a:pt x="396" y="599"/>
                    </a:lnTo>
                    <a:lnTo>
                      <a:pt x="396" y="599"/>
                    </a:lnTo>
                    <a:lnTo>
                      <a:pt x="392" y="599"/>
                    </a:lnTo>
                    <a:lnTo>
                      <a:pt x="392" y="599"/>
                    </a:lnTo>
                    <a:lnTo>
                      <a:pt x="391" y="597"/>
                    </a:lnTo>
                    <a:lnTo>
                      <a:pt x="389" y="595"/>
                    </a:lnTo>
                    <a:lnTo>
                      <a:pt x="389" y="595"/>
                    </a:lnTo>
                    <a:lnTo>
                      <a:pt x="387" y="597"/>
                    </a:lnTo>
                    <a:lnTo>
                      <a:pt x="385" y="599"/>
                    </a:lnTo>
                    <a:lnTo>
                      <a:pt x="385" y="599"/>
                    </a:lnTo>
                    <a:lnTo>
                      <a:pt x="383" y="597"/>
                    </a:lnTo>
                    <a:lnTo>
                      <a:pt x="383" y="597"/>
                    </a:lnTo>
                    <a:lnTo>
                      <a:pt x="383" y="595"/>
                    </a:lnTo>
                    <a:lnTo>
                      <a:pt x="383" y="595"/>
                    </a:lnTo>
                    <a:lnTo>
                      <a:pt x="383" y="593"/>
                    </a:lnTo>
                    <a:lnTo>
                      <a:pt x="383" y="593"/>
                    </a:lnTo>
                    <a:lnTo>
                      <a:pt x="381" y="593"/>
                    </a:lnTo>
                    <a:lnTo>
                      <a:pt x="381" y="595"/>
                    </a:lnTo>
                    <a:lnTo>
                      <a:pt x="381" y="595"/>
                    </a:lnTo>
                    <a:lnTo>
                      <a:pt x="381" y="595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9"/>
                    </a:lnTo>
                    <a:lnTo>
                      <a:pt x="379" y="599"/>
                    </a:lnTo>
                    <a:lnTo>
                      <a:pt x="379" y="599"/>
                    </a:lnTo>
                    <a:lnTo>
                      <a:pt x="377" y="599"/>
                    </a:lnTo>
                    <a:lnTo>
                      <a:pt x="377" y="601"/>
                    </a:lnTo>
                    <a:lnTo>
                      <a:pt x="377" y="601"/>
                    </a:lnTo>
                    <a:lnTo>
                      <a:pt x="377" y="601"/>
                    </a:lnTo>
                    <a:lnTo>
                      <a:pt x="377" y="603"/>
                    </a:lnTo>
                    <a:lnTo>
                      <a:pt x="379" y="603"/>
                    </a:lnTo>
                    <a:lnTo>
                      <a:pt x="379" y="603"/>
                    </a:lnTo>
                    <a:lnTo>
                      <a:pt x="381" y="605"/>
                    </a:lnTo>
                    <a:lnTo>
                      <a:pt x="381" y="605"/>
                    </a:lnTo>
                    <a:lnTo>
                      <a:pt x="381" y="606"/>
                    </a:lnTo>
                    <a:lnTo>
                      <a:pt x="381" y="608"/>
                    </a:lnTo>
                    <a:lnTo>
                      <a:pt x="381" y="610"/>
                    </a:lnTo>
                    <a:lnTo>
                      <a:pt x="381" y="610"/>
                    </a:lnTo>
                    <a:lnTo>
                      <a:pt x="381" y="612"/>
                    </a:lnTo>
                    <a:lnTo>
                      <a:pt x="379" y="612"/>
                    </a:lnTo>
                    <a:lnTo>
                      <a:pt x="377" y="612"/>
                    </a:lnTo>
                    <a:lnTo>
                      <a:pt x="377" y="612"/>
                    </a:lnTo>
                    <a:lnTo>
                      <a:pt x="375" y="612"/>
                    </a:lnTo>
                    <a:lnTo>
                      <a:pt x="373" y="612"/>
                    </a:lnTo>
                    <a:lnTo>
                      <a:pt x="371" y="612"/>
                    </a:lnTo>
                    <a:lnTo>
                      <a:pt x="371" y="612"/>
                    </a:lnTo>
                    <a:lnTo>
                      <a:pt x="371" y="612"/>
                    </a:lnTo>
                    <a:lnTo>
                      <a:pt x="371" y="614"/>
                    </a:lnTo>
                    <a:lnTo>
                      <a:pt x="370" y="614"/>
                    </a:lnTo>
                    <a:lnTo>
                      <a:pt x="370" y="614"/>
                    </a:lnTo>
                    <a:lnTo>
                      <a:pt x="368" y="614"/>
                    </a:lnTo>
                    <a:lnTo>
                      <a:pt x="368" y="614"/>
                    </a:lnTo>
                    <a:lnTo>
                      <a:pt x="366" y="612"/>
                    </a:lnTo>
                    <a:lnTo>
                      <a:pt x="366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2" y="612"/>
                    </a:lnTo>
                    <a:lnTo>
                      <a:pt x="362" y="612"/>
                    </a:lnTo>
                    <a:lnTo>
                      <a:pt x="362" y="614"/>
                    </a:lnTo>
                    <a:lnTo>
                      <a:pt x="362" y="614"/>
                    </a:lnTo>
                    <a:lnTo>
                      <a:pt x="360" y="614"/>
                    </a:lnTo>
                    <a:lnTo>
                      <a:pt x="360" y="612"/>
                    </a:lnTo>
                    <a:lnTo>
                      <a:pt x="360" y="610"/>
                    </a:lnTo>
                    <a:lnTo>
                      <a:pt x="358" y="606"/>
                    </a:lnTo>
                    <a:lnTo>
                      <a:pt x="358" y="605"/>
                    </a:lnTo>
                    <a:lnTo>
                      <a:pt x="358" y="603"/>
                    </a:lnTo>
                    <a:lnTo>
                      <a:pt x="360" y="603"/>
                    </a:lnTo>
                    <a:lnTo>
                      <a:pt x="362" y="601"/>
                    </a:lnTo>
                    <a:lnTo>
                      <a:pt x="362" y="599"/>
                    </a:lnTo>
                    <a:lnTo>
                      <a:pt x="362" y="599"/>
                    </a:lnTo>
                    <a:lnTo>
                      <a:pt x="362" y="599"/>
                    </a:lnTo>
                    <a:lnTo>
                      <a:pt x="364" y="597"/>
                    </a:lnTo>
                    <a:lnTo>
                      <a:pt x="364" y="597"/>
                    </a:lnTo>
                    <a:lnTo>
                      <a:pt x="364" y="595"/>
                    </a:lnTo>
                    <a:lnTo>
                      <a:pt x="364" y="595"/>
                    </a:lnTo>
                    <a:lnTo>
                      <a:pt x="366" y="595"/>
                    </a:lnTo>
                    <a:lnTo>
                      <a:pt x="366" y="595"/>
                    </a:lnTo>
                    <a:lnTo>
                      <a:pt x="366" y="593"/>
                    </a:lnTo>
                    <a:lnTo>
                      <a:pt x="366" y="591"/>
                    </a:lnTo>
                    <a:lnTo>
                      <a:pt x="364" y="591"/>
                    </a:lnTo>
                    <a:lnTo>
                      <a:pt x="362" y="589"/>
                    </a:lnTo>
                    <a:lnTo>
                      <a:pt x="362" y="587"/>
                    </a:lnTo>
                    <a:lnTo>
                      <a:pt x="360" y="584"/>
                    </a:lnTo>
                    <a:lnTo>
                      <a:pt x="358" y="582"/>
                    </a:lnTo>
                    <a:lnTo>
                      <a:pt x="358" y="582"/>
                    </a:lnTo>
                    <a:lnTo>
                      <a:pt x="356" y="582"/>
                    </a:lnTo>
                    <a:lnTo>
                      <a:pt x="356" y="580"/>
                    </a:lnTo>
                    <a:lnTo>
                      <a:pt x="356" y="580"/>
                    </a:lnTo>
                    <a:lnTo>
                      <a:pt x="356" y="576"/>
                    </a:lnTo>
                    <a:lnTo>
                      <a:pt x="356" y="576"/>
                    </a:lnTo>
                    <a:lnTo>
                      <a:pt x="356" y="574"/>
                    </a:lnTo>
                    <a:lnTo>
                      <a:pt x="356" y="574"/>
                    </a:lnTo>
                    <a:lnTo>
                      <a:pt x="356" y="574"/>
                    </a:lnTo>
                    <a:lnTo>
                      <a:pt x="356" y="572"/>
                    </a:lnTo>
                    <a:lnTo>
                      <a:pt x="349" y="565"/>
                    </a:lnTo>
                    <a:lnTo>
                      <a:pt x="349" y="563"/>
                    </a:lnTo>
                    <a:lnTo>
                      <a:pt x="349" y="563"/>
                    </a:lnTo>
                    <a:lnTo>
                      <a:pt x="349" y="561"/>
                    </a:lnTo>
                    <a:lnTo>
                      <a:pt x="350" y="561"/>
                    </a:lnTo>
                    <a:lnTo>
                      <a:pt x="350" y="561"/>
                    </a:lnTo>
                    <a:lnTo>
                      <a:pt x="352" y="561"/>
                    </a:lnTo>
                    <a:lnTo>
                      <a:pt x="352" y="559"/>
                    </a:lnTo>
                    <a:lnTo>
                      <a:pt x="352" y="559"/>
                    </a:lnTo>
                    <a:lnTo>
                      <a:pt x="354" y="557"/>
                    </a:lnTo>
                    <a:lnTo>
                      <a:pt x="354" y="557"/>
                    </a:lnTo>
                    <a:lnTo>
                      <a:pt x="354" y="557"/>
                    </a:lnTo>
                    <a:lnTo>
                      <a:pt x="356" y="559"/>
                    </a:lnTo>
                    <a:lnTo>
                      <a:pt x="358" y="559"/>
                    </a:lnTo>
                    <a:lnTo>
                      <a:pt x="358" y="561"/>
                    </a:lnTo>
                    <a:lnTo>
                      <a:pt x="358" y="561"/>
                    </a:lnTo>
                    <a:lnTo>
                      <a:pt x="360" y="561"/>
                    </a:lnTo>
                    <a:lnTo>
                      <a:pt x="360" y="559"/>
                    </a:lnTo>
                    <a:lnTo>
                      <a:pt x="360" y="561"/>
                    </a:lnTo>
                    <a:lnTo>
                      <a:pt x="360" y="561"/>
                    </a:lnTo>
                    <a:lnTo>
                      <a:pt x="362" y="563"/>
                    </a:lnTo>
                    <a:lnTo>
                      <a:pt x="362" y="568"/>
                    </a:lnTo>
                    <a:lnTo>
                      <a:pt x="362" y="570"/>
                    </a:lnTo>
                    <a:lnTo>
                      <a:pt x="364" y="572"/>
                    </a:lnTo>
                    <a:lnTo>
                      <a:pt x="364" y="574"/>
                    </a:lnTo>
                    <a:lnTo>
                      <a:pt x="364" y="574"/>
                    </a:lnTo>
                    <a:lnTo>
                      <a:pt x="366" y="574"/>
                    </a:lnTo>
                    <a:lnTo>
                      <a:pt x="368" y="576"/>
                    </a:lnTo>
                    <a:lnTo>
                      <a:pt x="370" y="576"/>
                    </a:lnTo>
                    <a:lnTo>
                      <a:pt x="373" y="576"/>
                    </a:lnTo>
                    <a:lnTo>
                      <a:pt x="373" y="578"/>
                    </a:lnTo>
                    <a:lnTo>
                      <a:pt x="375" y="578"/>
                    </a:lnTo>
                    <a:lnTo>
                      <a:pt x="375" y="578"/>
                    </a:lnTo>
                    <a:lnTo>
                      <a:pt x="377" y="580"/>
                    </a:lnTo>
                    <a:lnTo>
                      <a:pt x="377" y="580"/>
                    </a:lnTo>
                    <a:lnTo>
                      <a:pt x="379" y="582"/>
                    </a:lnTo>
                    <a:lnTo>
                      <a:pt x="379" y="582"/>
                    </a:lnTo>
                    <a:lnTo>
                      <a:pt x="381" y="582"/>
                    </a:lnTo>
                    <a:lnTo>
                      <a:pt x="385" y="582"/>
                    </a:lnTo>
                    <a:lnTo>
                      <a:pt x="387" y="582"/>
                    </a:lnTo>
                    <a:lnTo>
                      <a:pt x="394" y="580"/>
                    </a:lnTo>
                    <a:lnTo>
                      <a:pt x="396" y="580"/>
                    </a:lnTo>
                    <a:lnTo>
                      <a:pt x="396" y="580"/>
                    </a:lnTo>
                    <a:lnTo>
                      <a:pt x="398" y="580"/>
                    </a:lnTo>
                    <a:lnTo>
                      <a:pt x="398" y="580"/>
                    </a:lnTo>
                    <a:lnTo>
                      <a:pt x="400" y="580"/>
                    </a:lnTo>
                    <a:lnTo>
                      <a:pt x="400" y="580"/>
                    </a:lnTo>
                    <a:lnTo>
                      <a:pt x="402" y="582"/>
                    </a:lnTo>
                    <a:lnTo>
                      <a:pt x="402" y="582"/>
                    </a:lnTo>
                    <a:lnTo>
                      <a:pt x="404" y="586"/>
                    </a:lnTo>
                    <a:lnTo>
                      <a:pt x="406" y="589"/>
                    </a:lnTo>
                    <a:lnTo>
                      <a:pt x="406" y="589"/>
                    </a:lnTo>
                    <a:lnTo>
                      <a:pt x="406" y="591"/>
                    </a:lnTo>
                    <a:lnTo>
                      <a:pt x="406" y="591"/>
                    </a:lnTo>
                    <a:lnTo>
                      <a:pt x="406" y="593"/>
                    </a:lnTo>
                    <a:lnTo>
                      <a:pt x="406" y="593"/>
                    </a:lnTo>
                    <a:lnTo>
                      <a:pt x="408" y="595"/>
                    </a:lnTo>
                    <a:lnTo>
                      <a:pt x="410" y="595"/>
                    </a:lnTo>
                    <a:lnTo>
                      <a:pt x="412" y="595"/>
                    </a:lnTo>
                    <a:lnTo>
                      <a:pt x="413" y="597"/>
                    </a:lnTo>
                    <a:lnTo>
                      <a:pt x="413" y="595"/>
                    </a:lnTo>
                    <a:lnTo>
                      <a:pt x="415" y="595"/>
                    </a:lnTo>
                    <a:lnTo>
                      <a:pt x="415" y="595"/>
                    </a:lnTo>
                    <a:lnTo>
                      <a:pt x="413" y="593"/>
                    </a:lnTo>
                    <a:lnTo>
                      <a:pt x="413" y="591"/>
                    </a:lnTo>
                    <a:lnTo>
                      <a:pt x="413" y="589"/>
                    </a:lnTo>
                    <a:lnTo>
                      <a:pt x="413" y="589"/>
                    </a:lnTo>
                    <a:lnTo>
                      <a:pt x="413" y="587"/>
                    </a:lnTo>
                    <a:lnTo>
                      <a:pt x="413" y="586"/>
                    </a:lnTo>
                    <a:lnTo>
                      <a:pt x="412" y="586"/>
                    </a:lnTo>
                    <a:lnTo>
                      <a:pt x="412" y="584"/>
                    </a:lnTo>
                    <a:lnTo>
                      <a:pt x="410" y="584"/>
                    </a:lnTo>
                    <a:lnTo>
                      <a:pt x="410" y="584"/>
                    </a:lnTo>
                    <a:lnTo>
                      <a:pt x="410" y="582"/>
                    </a:lnTo>
                    <a:lnTo>
                      <a:pt x="408" y="582"/>
                    </a:lnTo>
                    <a:lnTo>
                      <a:pt x="408" y="580"/>
                    </a:lnTo>
                    <a:lnTo>
                      <a:pt x="408" y="578"/>
                    </a:lnTo>
                    <a:lnTo>
                      <a:pt x="406" y="576"/>
                    </a:lnTo>
                    <a:lnTo>
                      <a:pt x="406" y="576"/>
                    </a:lnTo>
                    <a:lnTo>
                      <a:pt x="406" y="576"/>
                    </a:lnTo>
                    <a:lnTo>
                      <a:pt x="406" y="574"/>
                    </a:lnTo>
                    <a:lnTo>
                      <a:pt x="406" y="574"/>
                    </a:lnTo>
                    <a:lnTo>
                      <a:pt x="410" y="570"/>
                    </a:lnTo>
                    <a:lnTo>
                      <a:pt x="410" y="568"/>
                    </a:lnTo>
                    <a:lnTo>
                      <a:pt x="410" y="568"/>
                    </a:lnTo>
                    <a:lnTo>
                      <a:pt x="410" y="568"/>
                    </a:lnTo>
                    <a:lnTo>
                      <a:pt x="408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5"/>
                    </a:lnTo>
                    <a:lnTo>
                      <a:pt x="408" y="563"/>
                    </a:lnTo>
                    <a:lnTo>
                      <a:pt x="410" y="561"/>
                    </a:lnTo>
                    <a:lnTo>
                      <a:pt x="412" y="561"/>
                    </a:lnTo>
                    <a:lnTo>
                      <a:pt x="412" y="561"/>
                    </a:lnTo>
                    <a:lnTo>
                      <a:pt x="413" y="559"/>
                    </a:lnTo>
                    <a:lnTo>
                      <a:pt x="419" y="559"/>
                    </a:lnTo>
                    <a:lnTo>
                      <a:pt x="421" y="559"/>
                    </a:lnTo>
                    <a:lnTo>
                      <a:pt x="423" y="559"/>
                    </a:lnTo>
                    <a:lnTo>
                      <a:pt x="423" y="557"/>
                    </a:lnTo>
                    <a:lnTo>
                      <a:pt x="423" y="557"/>
                    </a:lnTo>
                    <a:lnTo>
                      <a:pt x="423" y="557"/>
                    </a:lnTo>
                    <a:lnTo>
                      <a:pt x="423" y="555"/>
                    </a:lnTo>
                    <a:lnTo>
                      <a:pt x="421" y="553"/>
                    </a:lnTo>
                    <a:lnTo>
                      <a:pt x="421" y="551"/>
                    </a:lnTo>
                    <a:lnTo>
                      <a:pt x="421" y="549"/>
                    </a:lnTo>
                    <a:lnTo>
                      <a:pt x="421" y="549"/>
                    </a:lnTo>
                    <a:lnTo>
                      <a:pt x="423" y="546"/>
                    </a:lnTo>
                    <a:lnTo>
                      <a:pt x="423" y="546"/>
                    </a:lnTo>
                    <a:lnTo>
                      <a:pt x="423" y="544"/>
                    </a:lnTo>
                    <a:lnTo>
                      <a:pt x="421" y="544"/>
                    </a:lnTo>
                    <a:lnTo>
                      <a:pt x="417" y="544"/>
                    </a:lnTo>
                    <a:lnTo>
                      <a:pt x="417" y="544"/>
                    </a:lnTo>
                    <a:lnTo>
                      <a:pt x="417" y="544"/>
                    </a:lnTo>
                    <a:lnTo>
                      <a:pt x="417" y="542"/>
                    </a:lnTo>
                    <a:lnTo>
                      <a:pt x="415" y="542"/>
                    </a:lnTo>
                    <a:lnTo>
                      <a:pt x="415" y="540"/>
                    </a:lnTo>
                    <a:lnTo>
                      <a:pt x="415" y="540"/>
                    </a:lnTo>
                    <a:lnTo>
                      <a:pt x="415" y="540"/>
                    </a:lnTo>
                    <a:lnTo>
                      <a:pt x="413" y="538"/>
                    </a:lnTo>
                    <a:lnTo>
                      <a:pt x="412" y="538"/>
                    </a:lnTo>
                    <a:lnTo>
                      <a:pt x="412" y="538"/>
                    </a:lnTo>
                    <a:lnTo>
                      <a:pt x="410" y="540"/>
                    </a:lnTo>
                    <a:lnTo>
                      <a:pt x="410" y="540"/>
                    </a:lnTo>
                    <a:lnTo>
                      <a:pt x="410" y="542"/>
                    </a:lnTo>
                    <a:lnTo>
                      <a:pt x="410" y="542"/>
                    </a:lnTo>
                    <a:lnTo>
                      <a:pt x="410" y="544"/>
                    </a:lnTo>
                    <a:lnTo>
                      <a:pt x="410" y="546"/>
                    </a:lnTo>
                    <a:lnTo>
                      <a:pt x="413" y="548"/>
                    </a:lnTo>
                    <a:lnTo>
                      <a:pt x="413" y="549"/>
                    </a:lnTo>
                    <a:lnTo>
                      <a:pt x="413" y="551"/>
                    </a:lnTo>
                    <a:lnTo>
                      <a:pt x="412" y="551"/>
                    </a:lnTo>
                    <a:lnTo>
                      <a:pt x="410" y="551"/>
                    </a:lnTo>
                    <a:lnTo>
                      <a:pt x="410" y="549"/>
                    </a:lnTo>
                    <a:lnTo>
                      <a:pt x="408" y="549"/>
                    </a:lnTo>
                    <a:lnTo>
                      <a:pt x="406" y="546"/>
                    </a:lnTo>
                    <a:lnTo>
                      <a:pt x="404" y="546"/>
                    </a:lnTo>
                    <a:lnTo>
                      <a:pt x="402" y="544"/>
                    </a:lnTo>
                    <a:lnTo>
                      <a:pt x="400" y="544"/>
                    </a:lnTo>
                    <a:lnTo>
                      <a:pt x="398" y="544"/>
                    </a:lnTo>
                    <a:lnTo>
                      <a:pt x="398" y="542"/>
                    </a:lnTo>
                    <a:lnTo>
                      <a:pt x="398" y="542"/>
                    </a:lnTo>
                    <a:lnTo>
                      <a:pt x="398" y="540"/>
                    </a:lnTo>
                    <a:lnTo>
                      <a:pt x="396" y="540"/>
                    </a:lnTo>
                    <a:lnTo>
                      <a:pt x="396" y="538"/>
                    </a:lnTo>
                    <a:lnTo>
                      <a:pt x="396" y="538"/>
                    </a:lnTo>
                    <a:lnTo>
                      <a:pt x="394" y="540"/>
                    </a:lnTo>
                    <a:lnTo>
                      <a:pt x="391" y="540"/>
                    </a:lnTo>
                    <a:lnTo>
                      <a:pt x="387" y="540"/>
                    </a:lnTo>
                    <a:lnTo>
                      <a:pt x="385" y="540"/>
                    </a:lnTo>
                    <a:lnTo>
                      <a:pt x="385" y="540"/>
                    </a:lnTo>
                    <a:lnTo>
                      <a:pt x="383" y="538"/>
                    </a:lnTo>
                    <a:lnTo>
                      <a:pt x="381" y="538"/>
                    </a:lnTo>
                    <a:lnTo>
                      <a:pt x="379" y="538"/>
                    </a:lnTo>
                    <a:lnTo>
                      <a:pt x="379" y="540"/>
                    </a:lnTo>
                    <a:lnTo>
                      <a:pt x="377" y="542"/>
                    </a:lnTo>
                    <a:lnTo>
                      <a:pt x="375" y="544"/>
                    </a:lnTo>
                    <a:lnTo>
                      <a:pt x="375" y="546"/>
                    </a:lnTo>
                    <a:lnTo>
                      <a:pt x="375" y="546"/>
                    </a:lnTo>
                    <a:lnTo>
                      <a:pt x="375" y="549"/>
                    </a:lnTo>
                    <a:lnTo>
                      <a:pt x="375" y="551"/>
                    </a:lnTo>
                    <a:lnTo>
                      <a:pt x="373" y="551"/>
                    </a:lnTo>
                    <a:lnTo>
                      <a:pt x="373" y="551"/>
                    </a:lnTo>
                    <a:lnTo>
                      <a:pt x="371" y="551"/>
                    </a:lnTo>
                    <a:lnTo>
                      <a:pt x="370" y="551"/>
                    </a:lnTo>
                    <a:lnTo>
                      <a:pt x="368" y="551"/>
                    </a:lnTo>
                    <a:lnTo>
                      <a:pt x="364" y="551"/>
                    </a:lnTo>
                    <a:lnTo>
                      <a:pt x="360" y="549"/>
                    </a:lnTo>
                    <a:lnTo>
                      <a:pt x="352" y="549"/>
                    </a:lnTo>
                    <a:lnTo>
                      <a:pt x="352" y="548"/>
                    </a:lnTo>
                    <a:lnTo>
                      <a:pt x="352" y="546"/>
                    </a:lnTo>
                    <a:lnTo>
                      <a:pt x="354" y="546"/>
                    </a:lnTo>
                    <a:lnTo>
                      <a:pt x="354" y="544"/>
                    </a:lnTo>
                    <a:lnTo>
                      <a:pt x="354" y="544"/>
                    </a:lnTo>
                    <a:lnTo>
                      <a:pt x="354" y="542"/>
                    </a:lnTo>
                    <a:lnTo>
                      <a:pt x="354" y="542"/>
                    </a:lnTo>
                    <a:lnTo>
                      <a:pt x="350" y="540"/>
                    </a:lnTo>
                    <a:lnTo>
                      <a:pt x="349" y="540"/>
                    </a:lnTo>
                    <a:lnTo>
                      <a:pt x="349" y="538"/>
                    </a:lnTo>
                    <a:lnTo>
                      <a:pt x="347" y="538"/>
                    </a:lnTo>
                    <a:lnTo>
                      <a:pt x="347" y="536"/>
                    </a:lnTo>
                    <a:lnTo>
                      <a:pt x="347" y="534"/>
                    </a:lnTo>
                    <a:lnTo>
                      <a:pt x="347" y="532"/>
                    </a:lnTo>
                    <a:lnTo>
                      <a:pt x="347" y="532"/>
                    </a:lnTo>
                    <a:lnTo>
                      <a:pt x="347" y="530"/>
                    </a:lnTo>
                    <a:lnTo>
                      <a:pt x="349" y="530"/>
                    </a:lnTo>
                    <a:lnTo>
                      <a:pt x="349" y="530"/>
                    </a:lnTo>
                    <a:lnTo>
                      <a:pt x="349" y="528"/>
                    </a:lnTo>
                    <a:lnTo>
                      <a:pt x="350" y="528"/>
                    </a:lnTo>
                    <a:lnTo>
                      <a:pt x="350" y="528"/>
                    </a:lnTo>
                    <a:lnTo>
                      <a:pt x="350" y="530"/>
                    </a:lnTo>
                    <a:lnTo>
                      <a:pt x="352" y="528"/>
                    </a:lnTo>
                    <a:lnTo>
                      <a:pt x="352" y="528"/>
                    </a:lnTo>
                    <a:lnTo>
                      <a:pt x="352" y="528"/>
                    </a:lnTo>
                    <a:lnTo>
                      <a:pt x="354" y="527"/>
                    </a:lnTo>
                    <a:lnTo>
                      <a:pt x="354" y="527"/>
                    </a:lnTo>
                    <a:lnTo>
                      <a:pt x="356" y="525"/>
                    </a:lnTo>
                    <a:lnTo>
                      <a:pt x="356" y="525"/>
                    </a:lnTo>
                    <a:lnTo>
                      <a:pt x="356" y="523"/>
                    </a:lnTo>
                    <a:lnTo>
                      <a:pt x="356" y="521"/>
                    </a:lnTo>
                    <a:lnTo>
                      <a:pt x="354" y="521"/>
                    </a:lnTo>
                    <a:lnTo>
                      <a:pt x="354" y="519"/>
                    </a:lnTo>
                    <a:lnTo>
                      <a:pt x="352" y="519"/>
                    </a:lnTo>
                    <a:lnTo>
                      <a:pt x="350" y="519"/>
                    </a:lnTo>
                    <a:lnTo>
                      <a:pt x="349" y="519"/>
                    </a:lnTo>
                    <a:lnTo>
                      <a:pt x="347" y="519"/>
                    </a:lnTo>
                    <a:lnTo>
                      <a:pt x="347" y="519"/>
                    </a:lnTo>
                    <a:lnTo>
                      <a:pt x="345" y="521"/>
                    </a:lnTo>
                    <a:lnTo>
                      <a:pt x="343" y="521"/>
                    </a:lnTo>
                    <a:lnTo>
                      <a:pt x="343" y="521"/>
                    </a:lnTo>
                    <a:lnTo>
                      <a:pt x="343" y="519"/>
                    </a:lnTo>
                    <a:lnTo>
                      <a:pt x="341" y="519"/>
                    </a:lnTo>
                    <a:lnTo>
                      <a:pt x="341" y="517"/>
                    </a:lnTo>
                    <a:lnTo>
                      <a:pt x="339" y="515"/>
                    </a:lnTo>
                    <a:lnTo>
                      <a:pt x="339" y="513"/>
                    </a:lnTo>
                    <a:lnTo>
                      <a:pt x="339" y="511"/>
                    </a:lnTo>
                    <a:lnTo>
                      <a:pt x="337" y="511"/>
                    </a:lnTo>
                    <a:lnTo>
                      <a:pt x="337" y="511"/>
                    </a:lnTo>
                    <a:lnTo>
                      <a:pt x="335" y="509"/>
                    </a:lnTo>
                    <a:lnTo>
                      <a:pt x="333" y="509"/>
                    </a:lnTo>
                    <a:lnTo>
                      <a:pt x="333" y="509"/>
                    </a:lnTo>
                    <a:lnTo>
                      <a:pt x="331" y="504"/>
                    </a:lnTo>
                    <a:lnTo>
                      <a:pt x="331" y="500"/>
                    </a:lnTo>
                    <a:lnTo>
                      <a:pt x="331" y="498"/>
                    </a:lnTo>
                    <a:lnTo>
                      <a:pt x="331" y="496"/>
                    </a:lnTo>
                    <a:lnTo>
                      <a:pt x="333" y="492"/>
                    </a:lnTo>
                    <a:lnTo>
                      <a:pt x="335" y="490"/>
                    </a:lnTo>
                    <a:lnTo>
                      <a:pt x="335" y="489"/>
                    </a:lnTo>
                    <a:lnTo>
                      <a:pt x="335" y="487"/>
                    </a:lnTo>
                    <a:lnTo>
                      <a:pt x="335" y="483"/>
                    </a:lnTo>
                    <a:lnTo>
                      <a:pt x="335" y="483"/>
                    </a:lnTo>
                    <a:lnTo>
                      <a:pt x="335" y="481"/>
                    </a:lnTo>
                    <a:lnTo>
                      <a:pt x="337" y="481"/>
                    </a:lnTo>
                    <a:lnTo>
                      <a:pt x="339" y="481"/>
                    </a:lnTo>
                    <a:lnTo>
                      <a:pt x="339" y="481"/>
                    </a:lnTo>
                    <a:lnTo>
                      <a:pt x="339" y="479"/>
                    </a:lnTo>
                    <a:lnTo>
                      <a:pt x="341" y="471"/>
                    </a:lnTo>
                    <a:lnTo>
                      <a:pt x="341" y="468"/>
                    </a:lnTo>
                    <a:lnTo>
                      <a:pt x="341" y="466"/>
                    </a:lnTo>
                    <a:lnTo>
                      <a:pt x="343" y="464"/>
                    </a:lnTo>
                    <a:lnTo>
                      <a:pt x="343" y="462"/>
                    </a:lnTo>
                    <a:lnTo>
                      <a:pt x="341" y="460"/>
                    </a:lnTo>
                    <a:lnTo>
                      <a:pt x="341" y="460"/>
                    </a:lnTo>
                    <a:lnTo>
                      <a:pt x="339" y="458"/>
                    </a:lnTo>
                    <a:lnTo>
                      <a:pt x="339" y="458"/>
                    </a:lnTo>
                    <a:lnTo>
                      <a:pt x="337" y="458"/>
                    </a:lnTo>
                    <a:lnTo>
                      <a:pt x="337" y="458"/>
                    </a:lnTo>
                    <a:lnTo>
                      <a:pt x="335" y="456"/>
                    </a:lnTo>
                    <a:lnTo>
                      <a:pt x="333" y="456"/>
                    </a:lnTo>
                    <a:lnTo>
                      <a:pt x="330" y="456"/>
                    </a:lnTo>
                    <a:lnTo>
                      <a:pt x="330" y="454"/>
                    </a:lnTo>
                    <a:lnTo>
                      <a:pt x="330" y="454"/>
                    </a:lnTo>
                    <a:lnTo>
                      <a:pt x="330" y="454"/>
                    </a:lnTo>
                    <a:lnTo>
                      <a:pt x="330" y="452"/>
                    </a:lnTo>
                    <a:lnTo>
                      <a:pt x="331" y="452"/>
                    </a:lnTo>
                    <a:lnTo>
                      <a:pt x="331" y="450"/>
                    </a:lnTo>
                    <a:lnTo>
                      <a:pt x="331" y="450"/>
                    </a:lnTo>
                    <a:lnTo>
                      <a:pt x="331" y="449"/>
                    </a:lnTo>
                    <a:lnTo>
                      <a:pt x="331" y="447"/>
                    </a:lnTo>
                    <a:lnTo>
                      <a:pt x="333" y="445"/>
                    </a:lnTo>
                    <a:lnTo>
                      <a:pt x="335" y="441"/>
                    </a:lnTo>
                    <a:lnTo>
                      <a:pt x="337" y="441"/>
                    </a:lnTo>
                    <a:lnTo>
                      <a:pt x="347" y="447"/>
                    </a:lnTo>
                    <a:lnTo>
                      <a:pt x="349" y="449"/>
                    </a:lnTo>
                    <a:lnTo>
                      <a:pt x="352" y="449"/>
                    </a:lnTo>
                    <a:lnTo>
                      <a:pt x="354" y="449"/>
                    </a:lnTo>
                    <a:lnTo>
                      <a:pt x="356" y="450"/>
                    </a:lnTo>
                    <a:lnTo>
                      <a:pt x="358" y="450"/>
                    </a:lnTo>
                    <a:lnTo>
                      <a:pt x="358" y="450"/>
                    </a:lnTo>
                    <a:lnTo>
                      <a:pt x="360" y="449"/>
                    </a:lnTo>
                    <a:lnTo>
                      <a:pt x="362" y="449"/>
                    </a:lnTo>
                    <a:lnTo>
                      <a:pt x="364" y="449"/>
                    </a:lnTo>
                    <a:lnTo>
                      <a:pt x="364" y="449"/>
                    </a:lnTo>
                    <a:lnTo>
                      <a:pt x="366" y="449"/>
                    </a:lnTo>
                    <a:lnTo>
                      <a:pt x="366" y="449"/>
                    </a:lnTo>
                    <a:lnTo>
                      <a:pt x="366" y="450"/>
                    </a:lnTo>
                    <a:lnTo>
                      <a:pt x="368" y="450"/>
                    </a:lnTo>
                    <a:lnTo>
                      <a:pt x="368" y="452"/>
                    </a:lnTo>
                    <a:lnTo>
                      <a:pt x="368" y="452"/>
                    </a:lnTo>
                    <a:lnTo>
                      <a:pt x="370" y="452"/>
                    </a:lnTo>
                    <a:lnTo>
                      <a:pt x="371" y="450"/>
                    </a:lnTo>
                    <a:lnTo>
                      <a:pt x="371" y="450"/>
                    </a:lnTo>
                    <a:lnTo>
                      <a:pt x="375" y="449"/>
                    </a:lnTo>
                    <a:lnTo>
                      <a:pt x="375" y="447"/>
                    </a:lnTo>
                    <a:lnTo>
                      <a:pt x="375" y="445"/>
                    </a:lnTo>
                    <a:lnTo>
                      <a:pt x="377" y="441"/>
                    </a:lnTo>
                    <a:lnTo>
                      <a:pt x="377" y="441"/>
                    </a:lnTo>
                    <a:lnTo>
                      <a:pt x="379" y="439"/>
                    </a:lnTo>
                    <a:lnTo>
                      <a:pt x="379" y="437"/>
                    </a:lnTo>
                    <a:lnTo>
                      <a:pt x="379" y="437"/>
                    </a:lnTo>
                    <a:lnTo>
                      <a:pt x="381" y="435"/>
                    </a:lnTo>
                    <a:lnTo>
                      <a:pt x="381" y="435"/>
                    </a:lnTo>
                    <a:lnTo>
                      <a:pt x="381" y="433"/>
                    </a:lnTo>
                    <a:lnTo>
                      <a:pt x="381" y="430"/>
                    </a:lnTo>
                    <a:lnTo>
                      <a:pt x="381" y="428"/>
                    </a:lnTo>
                    <a:lnTo>
                      <a:pt x="379" y="422"/>
                    </a:lnTo>
                    <a:lnTo>
                      <a:pt x="377" y="412"/>
                    </a:lnTo>
                    <a:lnTo>
                      <a:pt x="375" y="411"/>
                    </a:lnTo>
                    <a:lnTo>
                      <a:pt x="375" y="411"/>
                    </a:lnTo>
                    <a:lnTo>
                      <a:pt x="373" y="409"/>
                    </a:lnTo>
                    <a:lnTo>
                      <a:pt x="370" y="409"/>
                    </a:lnTo>
                    <a:lnTo>
                      <a:pt x="368" y="409"/>
                    </a:lnTo>
                    <a:lnTo>
                      <a:pt x="368" y="407"/>
                    </a:lnTo>
                    <a:lnTo>
                      <a:pt x="368" y="405"/>
                    </a:lnTo>
                    <a:lnTo>
                      <a:pt x="366" y="399"/>
                    </a:lnTo>
                    <a:lnTo>
                      <a:pt x="366" y="397"/>
                    </a:lnTo>
                    <a:lnTo>
                      <a:pt x="364" y="395"/>
                    </a:lnTo>
                    <a:lnTo>
                      <a:pt x="364" y="395"/>
                    </a:lnTo>
                    <a:lnTo>
                      <a:pt x="364" y="393"/>
                    </a:lnTo>
                    <a:lnTo>
                      <a:pt x="362" y="393"/>
                    </a:lnTo>
                    <a:lnTo>
                      <a:pt x="362" y="390"/>
                    </a:lnTo>
                    <a:lnTo>
                      <a:pt x="360" y="388"/>
                    </a:lnTo>
                    <a:lnTo>
                      <a:pt x="360" y="388"/>
                    </a:lnTo>
                    <a:lnTo>
                      <a:pt x="360" y="388"/>
                    </a:lnTo>
                    <a:lnTo>
                      <a:pt x="360" y="386"/>
                    </a:lnTo>
                    <a:lnTo>
                      <a:pt x="360" y="386"/>
                    </a:lnTo>
                    <a:lnTo>
                      <a:pt x="362" y="386"/>
                    </a:lnTo>
                    <a:lnTo>
                      <a:pt x="364" y="388"/>
                    </a:lnTo>
                    <a:lnTo>
                      <a:pt x="364" y="388"/>
                    </a:lnTo>
                    <a:lnTo>
                      <a:pt x="366" y="388"/>
                    </a:lnTo>
                    <a:lnTo>
                      <a:pt x="366" y="386"/>
                    </a:lnTo>
                    <a:lnTo>
                      <a:pt x="366" y="384"/>
                    </a:lnTo>
                    <a:lnTo>
                      <a:pt x="366" y="378"/>
                    </a:lnTo>
                    <a:lnTo>
                      <a:pt x="364" y="372"/>
                    </a:lnTo>
                    <a:lnTo>
                      <a:pt x="364" y="372"/>
                    </a:lnTo>
                    <a:lnTo>
                      <a:pt x="364" y="372"/>
                    </a:lnTo>
                    <a:lnTo>
                      <a:pt x="364" y="371"/>
                    </a:lnTo>
                    <a:lnTo>
                      <a:pt x="366" y="369"/>
                    </a:lnTo>
                    <a:lnTo>
                      <a:pt x="368" y="369"/>
                    </a:lnTo>
                    <a:lnTo>
                      <a:pt x="368" y="367"/>
                    </a:lnTo>
                    <a:lnTo>
                      <a:pt x="370" y="367"/>
                    </a:lnTo>
                    <a:lnTo>
                      <a:pt x="370" y="367"/>
                    </a:lnTo>
                    <a:lnTo>
                      <a:pt x="371" y="367"/>
                    </a:lnTo>
                    <a:lnTo>
                      <a:pt x="373" y="367"/>
                    </a:lnTo>
                    <a:lnTo>
                      <a:pt x="373" y="369"/>
                    </a:lnTo>
                    <a:lnTo>
                      <a:pt x="375" y="367"/>
                    </a:lnTo>
                    <a:lnTo>
                      <a:pt x="375" y="367"/>
                    </a:lnTo>
                    <a:lnTo>
                      <a:pt x="373" y="363"/>
                    </a:lnTo>
                    <a:lnTo>
                      <a:pt x="371" y="361"/>
                    </a:lnTo>
                    <a:lnTo>
                      <a:pt x="371" y="357"/>
                    </a:lnTo>
                    <a:lnTo>
                      <a:pt x="370" y="357"/>
                    </a:lnTo>
                    <a:lnTo>
                      <a:pt x="370" y="355"/>
                    </a:lnTo>
                    <a:lnTo>
                      <a:pt x="370" y="355"/>
                    </a:lnTo>
                    <a:lnTo>
                      <a:pt x="368" y="355"/>
                    </a:lnTo>
                    <a:lnTo>
                      <a:pt x="368" y="353"/>
                    </a:lnTo>
                    <a:lnTo>
                      <a:pt x="368" y="352"/>
                    </a:lnTo>
                    <a:lnTo>
                      <a:pt x="368" y="346"/>
                    </a:lnTo>
                    <a:lnTo>
                      <a:pt x="368" y="342"/>
                    </a:lnTo>
                    <a:lnTo>
                      <a:pt x="370" y="342"/>
                    </a:lnTo>
                    <a:lnTo>
                      <a:pt x="368" y="340"/>
                    </a:lnTo>
                    <a:lnTo>
                      <a:pt x="373" y="333"/>
                    </a:lnTo>
                    <a:lnTo>
                      <a:pt x="383" y="329"/>
                    </a:lnTo>
                    <a:lnTo>
                      <a:pt x="385" y="327"/>
                    </a:lnTo>
                    <a:lnTo>
                      <a:pt x="392" y="327"/>
                    </a:lnTo>
                    <a:lnTo>
                      <a:pt x="394" y="327"/>
                    </a:lnTo>
                    <a:lnTo>
                      <a:pt x="396" y="327"/>
                    </a:lnTo>
                    <a:lnTo>
                      <a:pt x="398" y="329"/>
                    </a:lnTo>
                    <a:lnTo>
                      <a:pt x="402" y="329"/>
                    </a:lnTo>
                    <a:lnTo>
                      <a:pt x="417" y="329"/>
                    </a:lnTo>
                    <a:lnTo>
                      <a:pt x="419" y="329"/>
                    </a:lnTo>
                    <a:lnTo>
                      <a:pt x="421" y="329"/>
                    </a:lnTo>
                    <a:lnTo>
                      <a:pt x="421" y="327"/>
                    </a:lnTo>
                    <a:lnTo>
                      <a:pt x="423" y="325"/>
                    </a:lnTo>
                    <a:lnTo>
                      <a:pt x="425" y="323"/>
                    </a:lnTo>
                    <a:lnTo>
                      <a:pt x="425" y="323"/>
                    </a:lnTo>
                    <a:lnTo>
                      <a:pt x="425" y="317"/>
                    </a:lnTo>
                    <a:lnTo>
                      <a:pt x="425" y="313"/>
                    </a:lnTo>
                    <a:lnTo>
                      <a:pt x="425" y="312"/>
                    </a:lnTo>
                    <a:lnTo>
                      <a:pt x="425" y="308"/>
                    </a:lnTo>
                    <a:lnTo>
                      <a:pt x="425" y="302"/>
                    </a:lnTo>
                    <a:lnTo>
                      <a:pt x="425" y="298"/>
                    </a:lnTo>
                    <a:lnTo>
                      <a:pt x="425" y="296"/>
                    </a:lnTo>
                    <a:lnTo>
                      <a:pt x="425" y="294"/>
                    </a:lnTo>
                    <a:lnTo>
                      <a:pt x="425" y="294"/>
                    </a:lnTo>
                    <a:lnTo>
                      <a:pt x="425" y="291"/>
                    </a:lnTo>
                    <a:lnTo>
                      <a:pt x="427" y="289"/>
                    </a:lnTo>
                    <a:lnTo>
                      <a:pt x="427" y="287"/>
                    </a:lnTo>
                    <a:lnTo>
                      <a:pt x="427" y="287"/>
                    </a:lnTo>
                    <a:lnTo>
                      <a:pt x="431" y="285"/>
                    </a:lnTo>
                    <a:lnTo>
                      <a:pt x="432" y="283"/>
                    </a:lnTo>
                    <a:lnTo>
                      <a:pt x="432" y="283"/>
                    </a:lnTo>
                    <a:lnTo>
                      <a:pt x="434" y="281"/>
                    </a:lnTo>
                    <a:lnTo>
                      <a:pt x="434" y="279"/>
                    </a:lnTo>
                    <a:lnTo>
                      <a:pt x="432" y="277"/>
                    </a:lnTo>
                    <a:lnTo>
                      <a:pt x="432" y="277"/>
                    </a:lnTo>
                    <a:lnTo>
                      <a:pt x="431" y="275"/>
                    </a:lnTo>
                    <a:lnTo>
                      <a:pt x="427" y="274"/>
                    </a:lnTo>
                    <a:lnTo>
                      <a:pt x="423" y="274"/>
                    </a:lnTo>
                    <a:lnTo>
                      <a:pt x="415" y="274"/>
                    </a:lnTo>
                    <a:lnTo>
                      <a:pt x="413" y="274"/>
                    </a:lnTo>
                    <a:lnTo>
                      <a:pt x="402" y="270"/>
                    </a:lnTo>
                    <a:lnTo>
                      <a:pt x="400" y="268"/>
                    </a:lnTo>
                    <a:lnTo>
                      <a:pt x="396" y="264"/>
                    </a:lnTo>
                    <a:lnTo>
                      <a:pt x="396" y="264"/>
                    </a:lnTo>
                    <a:lnTo>
                      <a:pt x="398" y="262"/>
                    </a:lnTo>
                    <a:lnTo>
                      <a:pt x="404" y="260"/>
                    </a:lnTo>
                    <a:lnTo>
                      <a:pt x="408" y="256"/>
                    </a:lnTo>
                    <a:lnTo>
                      <a:pt x="412" y="254"/>
                    </a:lnTo>
                    <a:lnTo>
                      <a:pt x="412" y="253"/>
                    </a:lnTo>
                    <a:lnTo>
                      <a:pt x="412" y="253"/>
                    </a:lnTo>
                    <a:lnTo>
                      <a:pt x="413" y="251"/>
                    </a:lnTo>
                    <a:lnTo>
                      <a:pt x="413" y="249"/>
                    </a:lnTo>
                    <a:lnTo>
                      <a:pt x="413" y="249"/>
                    </a:lnTo>
                    <a:lnTo>
                      <a:pt x="417" y="247"/>
                    </a:lnTo>
                    <a:lnTo>
                      <a:pt x="417" y="247"/>
                    </a:lnTo>
                    <a:lnTo>
                      <a:pt x="419" y="245"/>
                    </a:lnTo>
                    <a:lnTo>
                      <a:pt x="419" y="243"/>
                    </a:lnTo>
                    <a:lnTo>
                      <a:pt x="419" y="241"/>
                    </a:lnTo>
                    <a:lnTo>
                      <a:pt x="419" y="241"/>
                    </a:lnTo>
                    <a:lnTo>
                      <a:pt x="421" y="239"/>
                    </a:lnTo>
                    <a:lnTo>
                      <a:pt x="421" y="239"/>
                    </a:lnTo>
                    <a:lnTo>
                      <a:pt x="419" y="237"/>
                    </a:lnTo>
                    <a:lnTo>
                      <a:pt x="419" y="237"/>
                    </a:lnTo>
                    <a:lnTo>
                      <a:pt x="417" y="237"/>
                    </a:lnTo>
                    <a:lnTo>
                      <a:pt x="415" y="239"/>
                    </a:lnTo>
                    <a:lnTo>
                      <a:pt x="415" y="239"/>
                    </a:lnTo>
                    <a:lnTo>
                      <a:pt x="415" y="237"/>
                    </a:lnTo>
                    <a:lnTo>
                      <a:pt x="417" y="235"/>
                    </a:lnTo>
                    <a:lnTo>
                      <a:pt x="417" y="235"/>
                    </a:lnTo>
                    <a:lnTo>
                      <a:pt x="419" y="234"/>
                    </a:lnTo>
                    <a:lnTo>
                      <a:pt x="421" y="234"/>
                    </a:lnTo>
                    <a:lnTo>
                      <a:pt x="419" y="232"/>
                    </a:lnTo>
                    <a:lnTo>
                      <a:pt x="419" y="232"/>
                    </a:lnTo>
                    <a:lnTo>
                      <a:pt x="417" y="230"/>
                    </a:lnTo>
                    <a:lnTo>
                      <a:pt x="415" y="230"/>
                    </a:lnTo>
                    <a:lnTo>
                      <a:pt x="415" y="228"/>
                    </a:lnTo>
                    <a:lnTo>
                      <a:pt x="415" y="226"/>
                    </a:lnTo>
                    <a:lnTo>
                      <a:pt x="417" y="220"/>
                    </a:lnTo>
                    <a:lnTo>
                      <a:pt x="417" y="220"/>
                    </a:lnTo>
                    <a:lnTo>
                      <a:pt x="417" y="218"/>
                    </a:lnTo>
                    <a:lnTo>
                      <a:pt x="419" y="218"/>
                    </a:lnTo>
                    <a:lnTo>
                      <a:pt x="419" y="216"/>
                    </a:lnTo>
                    <a:lnTo>
                      <a:pt x="419" y="201"/>
                    </a:lnTo>
                    <a:lnTo>
                      <a:pt x="419" y="197"/>
                    </a:lnTo>
                    <a:lnTo>
                      <a:pt x="419" y="196"/>
                    </a:lnTo>
                    <a:lnTo>
                      <a:pt x="421" y="194"/>
                    </a:lnTo>
                    <a:lnTo>
                      <a:pt x="423" y="192"/>
                    </a:lnTo>
                    <a:lnTo>
                      <a:pt x="423" y="190"/>
                    </a:lnTo>
                    <a:lnTo>
                      <a:pt x="423" y="186"/>
                    </a:lnTo>
                    <a:lnTo>
                      <a:pt x="419" y="182"/>
                    </a:lnTo>
                    <a:lnTo>
                      <a:pt x="419" y="180"/>
                    </a:lnTo>
                    <a:lnTo>
                      <a:pt x="417" y="175"/>
                    </a:lnTo>
                    <a:lnTo>
                      <a:pt x="417" y="175"/>
                    </a:lnTo>
                    <a:lnTo>
                      <a:pt x="417" y="173"/>
                    </a:lnTo>
                    <a:lnTo>
                      <a:pt x="415" y="173"/>
                    </a:lnTo>
                    <a:lnTo>
                      <a:pt x="413" y="171"/>
                    </a:lnTo>
                    <a:lnTo>
                      <a:pt x="412" y="171"/>
                    </a:lnTo>
                    <a:lnTo>
                      <a:pt x="412" y="171"/>
                    </a:lnTo>
                    <a:lnTo>
                      <a:pt x="410" y="169"/>
                    </a:lnTo>
                    <a:lnTo>
                      <a:pt x="410" y="167"/>
                    </a:lnTo>
                    <a:lnTo>
                      <a:pt x="412" y="163"/>
                    </a:lnTo>
                    <a:lnTo>
                      <a:pt x="427" y="144"/>
                    </a:lnTo>
                    <a:lnTo>
                      <a:pt x="429" y="140"/>
                    </a:lnTo>
                    <a:lnTo>
                      <a:pt x="429" y="137"/>
                    </a:lnTo>
                    <a:lnTo>
                      <a:pt x="431" y="137"/>
                    </a:lnTo>
                    <a:lnTo>
                      <a:pt x="432" y="135"/>
                    </a:lnTo>
                    <a:lnTo>
                      <a:pt x="432" y="135"/>
                    </a:lnTo>
                    <a:lnTo>
                      <a:pt x="434" y="135"/>
                    </a:lnTo>
                    <a:lnTo>
                      <a:pt x="436" y="135"/>
                    </a:lnTo>
                    <a:lnTo>
                      <a:pt x="436" y="133"/>
                    </a:lnTo>
                    <a:lnTo>
                      <a:pt x="436" y="131"/>
                    </a:lnTo>
                    <a:lnTo>
                      <a:pt x="438" y="129"/>
                    </a:lnTo>
                    <a:lnTo>
                      <a:pt x="440" y="129"/>
                    </a:lnTo>
                    <a:lnTo>
                      <a:pt x="446" y="127"/>
                    </a:lnTo>
                    <a:lnTo>
                      <a:pt x="446" y="127"/>
                    </a:lnTo>
                    <a:lnTo>
                      <a:pt x="446" y="127"/>
                    </a:lnTo>
                    <a:lnTo>
                      <a:pt x="450" y="119"/>
                    </a:lnTo>
                    <a:lnTo>
                      <a:pt x="450" y="118"/>
                    </a:lnTo>
                    <a:lnTo>
                      <a:pt x="450" y="118"/>
                    </a:lnTo>
                    <a:lnTo>
                      <a:pt x="450" y="118"/>
                    </a:lnTo>
                    <a:lnTo>
                      <a:pt x="446" y="118"/>
                    </a:lnTo>
                    <a:lnTo>
                      <a:pt x="446" y="118"/>
                    </a:lnTo>
                    <a:lnTo>
                      <a:pt x="442" y="119"/>
                    </a:lnTo>
                    <a:lnTo>
                      <a:pt x="440" y="121"/>
                    </a:lnTo>
                    <a:lnTo>
                      <a:pt x="440" y="121"/>
                    </a:lnTo>
                    <a:lnTo>
                      <a:pt x="438" y="119"/>
                    </a:lnTo>
                    <a:lnTo>
                      <a:pt x="438" y="119"/>
                    </a:lnTo>
                    <a:lnTo>
                      <a:pt x="438" y="116"/>
                    </a:lnTo>
                    <a:lnTo>
                      <a:pt x="432" y="118"/>
                    </a:lnTo>
                    <a:lnTo>
                      <a:pt x="432" y="118"/>
                    </a:lnTo>
                    <a:lnTo>
                      <a:pt x="429" y="118"/>
                    </a:lnTo>
                    <a:lnTo>
                      <a:pt x="427" y="118"/>
                    </a:lnTo>
                    <a:lnTo>
                      <a:pt x="427" y="118"/>
                    </a:lnTo>
                    <a:lnTo>
                      <a:pt x="425" y="116"/>
                    </a:lnTo>
                    <a:lnTo>
                      <a:pt x="423" y="116"/>
                    </a:lnTo>
                    <a:lnTo>
                      <a:pt x="421" y="114"/>
                    </a:lnTo>
                    <a:lnTo>
                      <a:pt x="417" y="112"/>
                    </a:lnTo>
                    <a:lnTo>
                      <a:pt x="415" y="110"/>
                    </a:lnTo>
                    <a:lnTo>
                      <a:pt x="417" y="106"/>
                    </a:lnTo>
                    <a:lnTo>
                      <a:pt x="421" y="102"/>
                    </a:lnTo>
                    <a:lnTo>
                      <a:pt x="423" y="98"/>
                    </a:lnTo>
                    <a:lnTo>
                      <a:pt x="423" y="98"/>
                    </a:lnTo>
                    <a:lnTo>
                      <a:pt x="425" y="97"/>
                    </a:lnTo>
                    <a:lnTo>
                      <a:pt x="429" y="95"/>
                    </a:lnTo>
                    <a:lnTo>
                      <a:pt x="431" y="95"/>
                    </a:lnTo>
                    <a:lnTo>
                      <a:pt x="431" y="93"/>
                    </a:lnTo>
                    <a:lnTo>
                      <a:pt x="431" y="93"/>
                    </a:lnTo>
                    <a:lnTo>
                      <a:pt x="431" y="91"/>
                    </a:lnTo>
                    <a:lnTo>
                      <a:pt x="431" y="89"/>
                    </a:lnTo>
                    <a:lnTo>
                      <a:pt x="429" y="89"/>
                    </a:lnTo>
                    <a:lnTo>
                      <a:pt x="429" y="87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9" y="83"/>
                    </a:lnTo>
                    <a:lnTo>
                      <a:pt x="429" y="81"/>
                    </a:lnTo>
                    <a:lnTo>
                      <a:pt x="431" y="81"/>
                    </a:lnTo>
                    <a:lnTo>
                      <a:pt x="431" y="79"/>
                    </a:lnTo>
                    <a:lnTo>
                      <a:pt x="432" y="79"/>
                    </a:lnTo>
                    <a:lnTo>
                      <a:pt x="432" y="79"/>
                    </a:lnTo>
                    <a:lnTo>
                      <a:pt x="434" y="78"/>
                    </a:lnTo>
                    <a:lnTo>
                      <a:pt x="442" y="70"/>
                    </a:lnTo>
                    <a:lnTo>
                      <a:pt x="442" y="70"/>
                    </a:lnTo>
                    <a:lnTo>
                      <a:pt x="442" y="68"/>
                    </a:lnTo>
                    <a:lnTo>
                      <a:pt x="442" y="66"/>
                    </a:lnTo>
                    <a:lnTo>
                      <a:pt x="442" y="62"/>
                    </a:lnTo>
                    <a:lnTo>
                      <a:pt x="440" y="59"/>
                    </a:lnTo>
                    <a:lnTo>
                      <a:pt x="440" y="57"/>
                    </a:lnTo>
                    <a:lnTo>
                      <a:pt x="438" y="55"/>
                    </a:lnTo>
                    <a:lnTo>
                      <a:pt x="434" y="51"/>
                    </a:lnTo>
                    <a:lnTo>
                      <a:pt x="434" y="51"/>
                    </a:lnTo>
                    <a:lnTo>
                      <a:pt x="434" y="49"/>
                    </a:lnTo>
                    <a:lnTo>
                      <a:pt x="434" y="49"/>
                    </a:lnTo>
                    <a:lnTo>
                      <a:pt x="434" y="47"/>
                    </a:lnTo>
                    <a:lnTo>
                      <a:pt x="436" y="47"/>
                    </a:lnTo>
                    <a:lnTo>
                      <a:pt x="438" y="47"/>
                    </a:lnTo>
                    <a:lnTo>
                      <a:pt x="438" y="47"/>
                    </a:lnTo>
                    <a:lnTo>
                      <a:pt x="438" y="47"/>
                    </a:lnTo>
                    <a:lnTo>
                      <a:pt x="440" y="45"/>
                    </a:lnTo>
                    <a:lnTo>
                      <a:pt x="440" y="45"/>
                    </a:lnTo>
                    <a:lnTo>
                      <a:pt x="438" y="38"/>
                    </a:lnTo>
                    <a:lnTo>
                      <a:pt x="436" y="32"/>
                    </a:lnTo>
                    <a:lnTo>
                      <a:pt x="436" y="30"/>
                    </a:lnTo>
                    <a:lnTo>
                      <a:pt x="436" y="28"/>
                    </a:lnTo>
                    <a:lnTo>
                      <a:pt x="436" y="26"/>
                    </a:lnTo>
                    <a:lnTo>
                      <a:pt x="438" y="24"/>
                    </a:lnTo>
                    <a:lnTo>
                      <a:pt x="438" y="24"/>
                    </a:lnTo>
                    <a:lnTo>
                      <a:pt x="438" y="22"/>
                    </a:lnTo>
                    <a:lnTo>
                      <a:pt x="434" y="20"/>
                    </a:lnTo>
                    <a:lnTo>
                      <a:pt x="429" y="20"/>
                    </a:lnTo>
                    <a:lnTo>
                      <a:pt x="427" y="20"/>
                    </a:lnTo>
                    <a:lnTo>
                      <a:pt x="427" y="20"/>
                    </a:lnTo>
                    <a:lnTo>
                      <a:pt x="425" y="22"/>
                    </a:lnTo>
                    <a:lnTo>
                      <a:pt x="423" y="24"/>
                    </a:lnTo>
                    <a:lnTo>
                      <a:pt x="421" y="24"/>
                    </a:lnTo>
                    <a:lnTo>
                      <a:pt x="419" y="24"/>
                    </a:lnTo>
                    <a:lnTo>
                      <a:pt x="419" y="22"/>
                    </a:lnTo>
                    <a:lnTo>
                      <a:pt x="417" y="22"/>
                    </a:lnTo>
                    <a:lnTo>
                      <a:pt x="417" y="19"/>
                    </a:lnTo>
                    <a:lnTo>
                      <a:pt x="417" y="19"/>
                    </a:lnTo>
                    <a:lnTo>
                      <a:pt x="415" y="19"/>
                    </a:lnTo>
                    <a:lnTo>
                      <a:pt x="412" y="17"/>
                    </a:lnTo>
                    <a:lnTo>
                      <a:pt x="410" y="15"/>
                    </a:lnTo>
                    <a:lnTo>
                      <a:pt x="408" y="15"/>
                    </a:lnTo>
                    <a:lnTo>
                      <a:pt x="408" y="13"/>
                    </a:lnTo>
                    <a:lnTo>
                      <a:pt x="408" y="13"/>
                    </a:lnTo>
                    <a:lnTo>
                      <a:pt x="408" y="5"/>
                    </a:lnTo>
                    <a:lnTo>
                      <a:pt x="408" y="5"/>
                    </a:lnTo>
                    <a:lnTo>
                      <a:pt x="406" y="3"/>
                    </a:lnTo>
                    <a:lnTo>
                      <a:pt x="406" y="1"/>
                    </a:lnTo>
                    <a:lnTo>
                      <a:pt x="404" y="1"/>
                    </a:lnTo>
                    <a:lnTo>
                      <a:pt x="402" y="0"/>
                    </a:lnTo>
                    <a:lnTo>
                      <a:pt x="400" y="0"/>
                    </a:lnTo>
                    <a:lnTo>
                      <a:pt x="400" y="0"/>
                    </a:lnTo>
                    <a:lnTo>
                      <a:pt x="398" y="1"/>
                    </a:lnTo>
                    <a:lnTo>
                      <a:pt x="394" y="7"/>
                    </a:lnTo>
                    <a:lnTo>
                      <a:pt x="392" y="9"/>
                    </a:lnTo>
                    <a:lnTo>
                      <a:pt x="392" y="11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92" y="19"/>
                    </a:lnTo>
                    <a:lnTo>
                      <a:pt x="392" y="20"/>
                    </a:lnTo>
                    <a:lnTo>
                      <a:pt x="391" y="20"/>
                    </a:lnTo>
                    <a:lnTo>
                      <a:pt x="391" y="20"/>
                    </a:lnTo>
                    <a:lnTo>
                      <a:pt x="387" y="22"/>
                    </a:lnTo>
                    <a:lnTo>
                      <a:pt x="379" y="28"/>
                    </a:lnTo>
                    <a:lnTo>
                      <a:pt x="377" y="30"/>
                    </a:lnTo>
                    <a:lnTo>
                      <a:pt x="377" y="30"/>
                    </a:lnTo>
                    <a:lnTo>
                      <a:pt x="375" y="32"/>
                    </a:lnTo>
                    <a:lnTo>
                      <a:pt x="375" y="34"/>
                    </a:lnTo>
                    <a:lnTo>
                      <a:pt x="375" y="36"/>
                    </a:lnTo>
                    <a:lnTo>
                      <a:pt x="375" y="36"/>
                    </a:lnTo>
                    <a:lnTo>
                      <a:pt x="373" y="36"/>
                    </a:lnTo>
                    <a:lnTo>
                      <a:pt x="371" y="36"/>
                    </a:lnTo>
                    <a:lnTo>
                      <a:pt x="370" y="36"/>
                    </a:lnTo>
                    <a:lnTo>
                      <a:pt x="368" y="36"/>
                    </a:lnTo>
                    <a:lnTo>
                      <a:pt x="366" y="38"/>
                    </a:lnTo>
                    <a:lnTo>
                      <a:pt x="366" y="38"/>
                    </a:lnTo>
                    <a:lnTo>
                      <a:pt x="364" y="38"/>
                    </a:lnTo>
                    <a:lnTo>
                      <a:pt x="360" y="38"/>
                    </a:lnTo>
                    <a:lnTo>
                      <a:pt x="358" y="38"/>
                    </a:lnTo>
                    <a:lnTo>
                      <a:pt x="354" y="39"/>
                    </a:lnTo>
                    <a:lnTo>
                      <a:pt x="352" y="39"/>
                    </a:lnTo>
                    <a:lnTo>
                      <a:pt x="350" y="41"/>
                    </a:lnTo>
                    <a:lnTo>
                      <a:pt x="352" y="47"/>
                    </a:lnTo>
                    <a:lnTo>
                      <a:pt x="352" y="49"/>
                    </a:lnTo>
                    <a:lnTo>
                      <a:pt x="350" y="51"/>
                    </a:lnTo>
                    <a:lnTo>
                      <a:pt x="350" y="57"/>
                    </a:lnTo>
                    <a:lnTo>
                      <a:pt x="349" y="59"/>
                    </a:lnTo>
                    <a:lnTo>
                      <a:pt x="349" y="60"/>
                    </a:lnTo>
                    <a:lnTo>
                      <a:pt x="350" y="64"/>
                    </a:lnTo>
                    <a:lnTo>
                      <a:pt x="350" y="66"/>
                    </a:lnTo>
                    <a:lnTo>
                      <a:pt x="349" y="70"/>
                    </a:lnTo>
                    <a:lnTo>
                      <a:pt x="347" y="74"/>
                    </a:lnTo>
                    <a:lnTo>
                      <a:pt x="345" y="76"/>
                    </a:lnTo>
                    <a:lnTo>
                      <a:pt x="345" y="76"/>
                    </a:lnTo>
                    <a:lnTo>
                      <a:pt x="343" y="76"/>
                    </a:lnTo>
                    <a:lnTo>
                      <a:pt x="335" y="74"/>
                    </a:lnTo>
                    <a:lnTo>
                      <a:pt x="335" y="74"/>
                    </a:lnTo>
                    <a:lnTo>
                      <a:pt x="333" y="74"/>
                    </a:lnTo>
                    <a:lnTo>
                      <a:pt x="331" y="74"/>
                    </a:lnTo>
                    <a:lnTo>
                      <a:pt x="331" y="78"/>
                    </a:lnTo>
                    <a:lnTo>
                      <a:pt x="333" y="81"/>
                    </a:lnTo>
                    <a:lnTo>
                      <a:pt x="333" y="83"/>
                    </a:lnTo>
                    <a:lnTo>
                      <a:pt x="333" y="83"/>
                    </a:lnTo>
                    <a:lnTo>
                      <a:pt x="333" y="85"/>
                    </a:lnTo>
                    <a:lnTo>
                      <a:pt x="331" y="85"/>
                    </a:lnTo>
                    <a:lnTo>
                      <a:pt x="331" y="87"/>
                    </a:lnTo>
                    <a:lnTo>
                      <a:pt x="328" y="87"/>
                    </a:lnTo>
                    <a:lnTo>
                      <a:pt x="328" y="89"/>
                    </a:lnTo>
                    <a:lnTo>
                      <a:pt x="326" y="91"/>
                    </a:lnTo>
                    <a:lnTo>
                      <a:pt x="326" y="93"/>
                    </a:lnTo>
                    <a:lnTo>
                      <a:pt x="324" y="100"/>
                    </a:lnTo>
                    <a:lnTo>
                      <a:pt x="322" y="98"/>
                    </a:lnTo>
                    <a:lnTo>
                      <a:pt x="318" y="97"/>
                    </a:lnTo>
                    <a:lnTo>
                      <a:pt x="318" y="97"/>
                    </a:lnTo>
                    <a:lnTo>
                      <a:pt x="316" y="95"/>
                    </a:lnTo>
                    <a:lnTo>
                      <a:pt x="314" y="93"/>
                    </a:lnTo>
                    <a:lnTo>
                      <a:pt x="312" y="91"/>
                    </a:lnTo>
                    <a:lnTo>
                      <a:pt x="312" y="91"/>
                    </a:lnTo>
                    <a:lnTo>
                      <a:pt x="310" y="91"/>
                    </a:lnTo>
                    <a:lnTo>
                      <a:pt x="309" y="91"/>
                    </a:lnTo>
                    <a:lnTo>
                      <a:pt x="307" y="91"/>
                    </a:lnTo>
                    <a:lnTo>
                      <a:pt x="305" y="91"/>
                    </a:lnTo>
                    <a:lnTo>
                      <a:pt x="303" y="91"/>
                    </a:lnTo>
                    <a:lnTo>
                      <a:pt x="303" y="91"/>
                    </a:lnTo>
                    <a:lnTo>
                      <a:pt x="301" y="95"/>
                    </a:lnTo>
                    <a:lnTo>
                      <a:pt x="301" y="95"/>
                    </a:lnTo>
                    <a:lnTo>
                      <a:pt x="301" y="95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7" y="97"/>
                    </a:lnTo>
                    <a:lnTo>
                      <a:pt x="297" y="98"/>
                    </a:lnTo>
                    <a:lnTo>
                      <a:pt x="297" y="98"/>
                    </a:lnTo>
                    <a:lnTo>
                      <a:pt x="297" y="100"/>
                    </a:lnTo>
                    <a:lnTo>
                      <a:pt x="297" y="100"/>
                    </a:lnTo>
                    <a:lnTo>
                      <a:pt x="295" y="102"/>
                    </a:lnTo>
                    <a:lnTo>
                      <a:pt x="293" y="102"/>
                    </a:lnTo>
                    <a:lnTo>
                      <a:pt x="291" y="104"/>
                    </a:lnTo>
                    <a:lnTo>
                      <a:pt x="291" y="104"/>
                    </a:lnTo>
                    <a:lnTo>
                      <a:pt x="291" y="104"/>
                    </a:lnTo>
                    <a:lnTo>
                      <a:pt x="289" y="106"/>
                    </a:lnTo>
                    <a:lnTo>
                      <a:pt x="288" y="108"/>
                    </a:lnTo>
                    <a:lnTo>
                      <a:pt x="280" y="112"/>
                    </a:lnTo>
                    <a:lnTo>
                      <a:pt x="278" y="112"/>
                    </a:lnTo>
                    <a:lnTo>
                      <a:pt x="278" y="114"/>
                    </a:lnTo>
                    <a:lnTo>
                      <a:pt x="278" y="114"/>
                    </a:lnTo>
                    <a:lnTo>
                      <a:pt x="280" y="118"/>
                    </a:lnTo>
                    <a:lnTo>
                      <a:pt x="282" y="118"/>
                    </a:lnTo>
                    <a:lnTo>
                      <a:pt x="282" y="119"/>
                    </a:lnTo>
                    <a:lnTo>
                      <a:pt x="282" y="119"/>
                    </a:lnTo>
                    <a:lnTo>
                      <a:pt x="280" y="121"/>
                    </a:lnTo>
                    <a:lnTo>
                      <a:pt x="280" y="123"/>
                    </a:lnTo>
                    <a:lnTo>
                      <a:pt x="282" y="123"/>
                    </a:lnTo>
                    <a:lnTo>
                      <a:pt x="282" y="125"/>
                    </a:lnTo>
                    <a:lnTo>
                      <a:pt x="282" y="125"/>
                    </a:lnTo>
                    <a:lnTo>
                      <a:pt x="280" y="127"/>
                    </a:lnTo>
                    <a:lnTo>
                      <a:pt x="278" y="129"/>
                    </a:lnTo>
                    <a:lnTo>
                      <a:pt x="278" y="131"/>
                    </a:lnTo>
                    <a:lnTo>
                      <a:pt x="280" y="131"/>
                    </a:lnTo>
                    <a:lnTo>
                      <a:pt x="280" y="133"/>
                    </a:lnTo>
                    <a:lnTo>
                      <a:pt x="282" y="135"/>
                    </a:lnTo>
                    <a:lnTo>
                      <a:pt x="282" y="137"/>
                    </a:lnTo>
                    <a:lnTo>
                      <a:pt x="282" y="138"/>
                    </a:lnTo>
                    <a:lnTo>
                      <a:pt x="286" y="140"/>
                    </a:lnTo>
                    <a:lnTo>
                      <a:pt x="286" y="140"/>
                    </a:lnTo>
                    <a:lnTo>
                      <a:pt x="286" y="142"/>
                    </a:lnTo>
                    <a:lnTo>
                      <a:pt x="286" y="144"/>
                    </a:lnTo>
                    <a:lnTo>
                      <a:pt x="284" y="146"/>
                    </a:lnTo>
                    <a:lnTo>
                      <a:pt x="282" y="146"/>
                    </a:lnTo>
                    <a:lnTo>
                      <a:pt x="280" y="146"/>
                    </a:lnTo>
                    <a:lnTo>
                      <a:pt x="276" y="146"/>
                    </a:lnTo>
                    <a:lnTo>
                      <a:pt x="276" y="146"/>
                    </a:lnTo>
                    <a:lnTo>
                      <a:pt x="272" y="146"/>
                    </a:lnTo>
                    <a:lnTo>
                      <a:pt x="270" y="144"/>
                    </a:lnTo>
                    <a:lnTo>
                      <a:pt x="270" y="144"/>
                    </a:lnTo>
                    <a:lnTo>
                      <a:pt x="267" y="142"/>
                    </a:lnTo>
                    <a:lnTo>
                      <a:pt x="267" y="142"/>
                    </a:lnTo>
                    <a:lnTo>
                      <a:pt x="265" y="142"/>
                    </a:lnTo>
                    <a:lnTo>
                      <a:pt x="265" y="142"/>
                    </a:lnTo>
                    <a:lnTo>
                      <a:pt x="263" y="142"/>
                    </a:lnTo>
                    <a:lnTo>
                      <a:pt x="259" y="144"/>
                    </a:lnTo>
                    <a:lnTo>
                      <a:pt x="259" y="144"/>
                    </a:lnTo>
                    <a:lnTo>
                      <a:pt x="257" y="144"/>
                    </a:lnTo>
                    <a:lnTo>
                      <a:pt x="255" y="142"/>
                    </a:lnTo>
                    <a:lnTo>
                      <a:pt x="253" y="142"/>
                    </a:lnTo>
                    <a:lnTo>
                      <a:pt x="251" y="142"/>
                    </a:lnTo>
                    <a:lnTo>
                      <a:pt x="246" y="146"/>
                    </a:lnTo>
                    <a:lnTo>
                      <a:pt x="244" y="146"/>
                    </a:lnTo>
                    <a:lnTo>
                      <a:pt x="242" y="146"/>
                    </a:lnTo>
                    <a:lnTo>
                      <a:pt x="242" y="146"/>
                    </a:lnTo>
                    <a:lnTo>
                      <a:pt x="240" y="146"/>
                    </a:lnTo>
                    <a:lnTo>
                      <a:pt x="238" y="146"/>
                    </a:lnTo>
                    <a:lnTo>
                      <a:pt x="234" y="148"/>
                    </a:lnTo>
                    <a:lnTo>
                      <a:pt x="232" y="148"/>
                    </a:lnTo>
                    <a:lnTo>
                      <a:pt x="230" y="150"/>
                    </a:lnTo>
                    <a:lnTo>
                      <a:pt x="230" y="150"/>
                    </a:lnTo>
                    <a:lnTo>
                      <a:pt x="228" y="148"/>
                    </a:lnTo>
                    <a:lnTo>
                      <a:pt x="228" y="146"/>
                    </a:lnTo>
                    <a:lnTo>
                      <a:pt x="227" y="146"/>
                    </a:lnTo>
                    <a:lnTo>
                      <a:pt x="225" y="144"/>
                    </a:lnTo>
                    <a:lnTo>
                      <a:pt x="225" y="142"/>
                    </a:lnTo>
                    <a:lnTo>
                      <a:pt x="225" y="140"/>
                    </a:lnTo>
                    <a:lnTo>
                      <a:pt x="223" y="138"/>
                    </a:lnTo>
                    <a:lnTo>
                      <a:pt x="223" y="138"/>
                    </a:lnTo>
                    <a:lnTo>
                      <a:pt x="219" y="140"/>
                    </a:lnTo>
                    <a:lnTo>
                      <a:pt x="217" y="138"/>
                    </a:lnTo>
                    <a:lnTo>
                      <a:pt x="215" y="138"/>
                    </a:lnTo>
                    <a:lnTo>
                      <a:pt x="213" y="142"/>
                    </a:lnTo>
                    <a:lnTo>
                      <a:pt x="211" y="142"/>
                    </a:lnTo>
                    <a:lnTo>
                      <a:pt x="209" y="142"/>
                    </a:lnTo>
                    <a:lnTo>
                      <a:pt x="209" y="142"/>
                    </a:lnTo>
                    <a:lnTo>
                      <a:pt x="209" y="140"/>
                    </a:lnTo>
                    <a:lnTo>
                      <a:pt x="207" y="138"/>
                    </a:lnTo>
                    <a:lnTo>
                      <a:pt x="206" y="138"/>
                    </a:lnTo>
                    <a:lnTo>
                      <a:pt x="206" y="137"/>
                    </a:lnTo>
                    <a:lnTo>
                      <a:pt x="202" y="138"/>
                    </a:lnTo>
                    <a:lnTo>
                      <a:pt x="198" y="137"/>
                    </a:lnTo>
                    <a:lnTo>
                      <a:pt x="198" y="135"/>
                    </a:lnTo>
                    <a:lnTo>
                      <a:pt x="196" y="131"/>
                    </a:lnTo>
                    <a:lnTo>
                      <a:pt x="194" y="129"/>
                    </a:lnTo>
                    <a:lnTo>
                      <a:pt x="192" y="129"/>
                    </a:lnTo>
                    <a:lnTo>
                      <a:pt x="192" y="129"/>
                    </a:lnTo>
                    <a:lnTo>
                      <a:pt x="190" y="131"/>
                    </a:lnTo>
                    <a:lnTo>
                      <a:pt x="190" y="131"/>
                    </a:lnTo>
                    <a:lnTo>
                      <a:pt x="188" y="133"/>
                    </a:lnTo>
                    <a:lnTo>
                      <a:pt x="186" y="137"/>
                    </a:lnTo>
                    <a:lnTo>
                      <a:pt x="186" y="138"/>
                    </a:lnTo>
                    <a:lnTo>
                      <a:pt x="185" y="138"/>
                    </a:lnTo>
                    <a:lnTo>
                      <a:pt x="185" y="140"/>
                    </a:lnTo>
                    <a:lnTo>
                      <a:pt x="183" y="140"/>
                    </a:lnTo>
                    <a:lnTo>
                      <a:pt x="183" y="144"/>
                    </a:lnTo>
                    <a:lnTo>
                      <a:pt x="185" y="148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6" y="154"/>
                    </a:lnTo>
                    <a:lnTo>
                      <a:pt x="186" y="156"/>
                    </a:lnTo>
                    <a:lnTo>
                      <a:pt x="188" y="156"/>
                    </a:lnTo>
                    <a:lnTo>
                      <a:pt x="190" y="157"/>
                    </a:lnTo>
                    <a:lnTo>
                      <a:pt x="190" y="157"/>
                    </a:lnTo>
                    <a:lnTo>
                      <a:pt x="192" y="161"/>
                    </a:lnTo>
                    <a:lnTo>
                      <a:pt x="192" y="161"/>
                    </a:lnTo>
                    <a:lnTo>
                      <a:pt x="192" y="163"/>
                    </a:lnTo>
                    <a:lnTo>
                      <a:pt x="190" y="165"/>
                    </a:lnTo>
                    <a:lnTo>
                      <a:pt x="190" y="165"/>
                    </a:lnTo>
                    <a:lnTo>
                      <a:pt x="190" y="167"/>
                    </a:lnTo>
                    <a:lnTo>
                      <a:pt x="188" y="169"/>
                    </a:lnTo>
                    <a:lnTo>
                      <a:pt x="188" y="171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92" y="175"/>
                    </a:lnTo>
                    <a:lnTo>
                      <a:pt x="192" y="176"/>
                    </a:lnTo>
                    <a:lnTo>
                      <a:pt x="194" y="178"/>
                    </a:lnTo>
                    <a:lnTo>
                      <a:pt x="194" y="180"/>
                    </a:lnTo>
                    <a:lnTo>
                      <a:pt x="194" y="182"/>
                    </a:lnTo>
                    <a:lnTo>
                      <a:pt x="194" y="182"/>
                    </a:lnTo>
                    <a:lnTo>
                      <a:pt x="192" y="184"/>
                    </a:lnTo>
                    <a:lnTo>
                      <a:pt x="192" y="184"/>
                    </a:lnTo>
                    <a:lnTo>
                      <a:pt x="192" y="186"/>
                    </a:lnTo>
                    <a:lnTo>
                      <a:pt x="192" y="186"/>
                    </a:lnTo>
                    <a:lnTo>
                      <a:pt x="194" y="188"/>
                    </a:lnTo>
                    <a:lnTo>
                      <a:pt x="194" y="190"/>
                    </a:lnTo>
                    <a:lnTo>
                      <a:pt x="194" y="192"/>
                    </a:lnTo>
                    <a:lnTo>
                      <a:pt x="194" y="192"/>
                    </a:lnTo>
                    <a:lnTo>
                      <a:pt x="194" y="194"/>
                    </a:lnTo>
                    <a:lnTo>
                      <a:pt x="192" y="194"/>
                    </a:lnTo>
                    <a:lnTo>
                      <a:pt x="192" y="196"/>
                    </a:lnTo>
                    <a:lnTo>
                      <a:pt x="190" y="196"/>
                    </a:lnTo>
                    <a:lnTo>
                      <a:pt x="188" y="196"/>
                    </a:lnTo>
                    <a:lnTo>
                      <a:pt x="186" y="194"/>
                    </a:lnTo>
                    <a:lnTo>
                      <a:pt x="185" y="192"/>
                    </a:lnTo>
                    <a:lnTo>
                      <a:pt x="183" y="190"/>
                    </a:lnTo>
                    <a:lnTo>
                      <a:pt x="183" y="190"/>
                    </a:lnTo>
                    <a:lnTo>
                      <a:pt x="181" y="190"/>
                    </a:lnTo>
                    <a:lnTo>
                      <a:pt x="181" y="194"/>
                    </a:lnTo>
                    <a:lnTo>
                      <a:pt x="179" y="194"/>
                    </a:lnTo>
                    <a:lnTo>
                      <a:pt x="179" y="196"/>
                    </a:lnTo>
                    <a:lnTo>
                      <a:pt x="177" y="196"/>
                    </a:lnTo>
                    <a:lnTo>
                      <a:pt x="173" y="197"/>
                    </a:lnTo>
                    <a:lnTo>
                      <a:pt x="171" y="197"/>
                    </a:lnTo>
                    <a:lnTo>
                      <a:pt x="171" y="197"/>
                    </a:lnTo>
                    <a:lnTo>
                      <a:pt x="169" y="196"/>
                    </a:lnTo>
                    <a:lnTo>
                      <a:pt x="169" y="196"/>
                    </a:lnTo>
                    <a:lnTo>
                      <a:pt x="167" y="196"/>
                    </a:lnTo>
                    <a:lnTo>
                      <a:pt x="167" y="194"/>
                    </a:lnTo>
                    <a:lnTo>
                      <a:pt x="160" y="194"/>
                    </a:lnTo>
                    <a:lnTo>
                      <a:pt x="158" y="196"/>
                    </a:lnTo>
                    <a:lnTo>
                      <a:pt x="156" y="196"/>
                    </a:lnTo>
                    <a:lnTo>
                      <a:pt x="154" y="197"/>
                    </a:lnTo>
                    <a:lnTo>
                      <a:pt x="152" y="197"/>
                    </a:lnTo>
                    <a:lnTo>
                      <a:pt x="146" y="197"/>
                    </a:lnTo>
                    <a:lnTo>
                      <a:pt x="145" y="197"/>
                    </a:lnTo>
                    <a:lnTo>
                      <a:pt x="145" y="199"/>
                    </a:lnTo>
                    <a:lnTo>
                      <a:pt x="145" y="201"/>
                    </a:lnTo>
                    <a:lnTo>
                      <a:pt x="145" y="203"/>
                    </a:lnTo>
                    <a:lnTo>
                      <a:pt x="145" y="205"/>
                    </a:lnTo>
                    <a:lnTo>
                      <a:pt x="139" y="209"/>
                    </a:lnTo>
                    <a:lnTo>
                      <a:pt x="135" y="209"/>
                    </a:lnTo>
                    <a:lnTo>
                      <a:pt x="133" y="209"/>
                    </a:lnTo>
                    <a:lnTo>
                      <a:pt x="131" y="209"/>
                    </a:lnTo>
                    <a:lnTo>
                      <a:pt x="129" y="209"/>
                    </a:lnTo>
                    <a:lnTo>
                      <a:pt x="127" y="207"/>
                    </a:lnTo>
                    <a:lnTo>
                      <a:pt x="127" y="207"/>
                    </a:lnTo>
                    <a:lnTo>
                      <a:pt x="125" y="205"/>
                    </a:lnTo>
                    <a:lnTo>
                      <a:pt x="125" y="205"/>
                    </a:lnTo>
                    <a:lnTo>
                      <a:pt x="125" y="205"/>
                    </a:lnTo>
                    <a:lnTo>
                      <a:pt x="124" y="203"/>
                    </a:lnTo>
                    <a:lnTo>
                      <a:pt x="122" y="203"/>
                    </a:lnTo>
                    <a:lnTo>
                      <a:pt x="122" y="201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14" y="199"/>
                    </a:lnTo>
                    <a:lnTo>
                      <a:pt x="110" y="197"/>
                    </a:lnTo>
                    <a:lnTo>
                      <a:pt x="108" y="197"/>
                    </a:lnTo>
                    <a:lnTo>
                      <a:pt x="108" y="199"/>
                    </a:lnTo>
                    <a:lnTo>
                      <a:pt x="106" y="203"/>
                    </a:lnTo>
                    <a:lnTo>
                      <a:pt x="106" y="203"/>
                    </a:lnTo>
                    <a:lnTo>
                      <a:pt x="104" y="205"/>
                    </a:lnTo>
                    <a:lnTo>
                      <a:pt x="104" y="205"/>
                    </a:lnTo>
                    <a:lnTo>
                      <a:pt x="104" y="207"/>
                    </a:lnTo>
                    <a:lnTo>
                      <a:pt x="103" y="207"/>
                    </a:lnTo>
                    <a:lnTo>
                      <a:pt x="101" y="209"/>
                    </a:lnTo>
                    <a:lnTo>
                      <a:pt x="95" y="211"/>
                    </a:lnTo>
                    <a:lnTo>
                      <a:pt x="95" y="211"/>
                    </a:lnTo>
                    <a:lnTo>
                      <a:pt x="93" y="211"/>
                    </a:lnTo>
                    <a:lnTo>
                      <a:pt x="93" y="211"/>
                    </a:lnTo>
                    <a:lnTo>
                      <a:pt x="93" y="211"/>
                    </a:lnTo>
                    <a:lnTo>
                      <a:pt x="95" y="213"/>
                    </a:lnTo>
                    <a:lnTo>
                      <a:pt x="95" y="215"/>
                    </a:lnTo>
                    <a:lnTo>
                      <a:pt x="95" y="216"/>
                    </a:lnTo>
                    <a:lnTo>
                      <a:pt x="97" y="222"/>
                    </a:lnTo>
                    <a:lnTo>
                      <a:pt x="97" y="222"/>
                    </a:lnTo>
                    <a:lnTo>
                      <a:pt x="97" y="222"/>
                    </a:lnTo>
                    <a:lnTo>
                      <a:pt x="97" y="224"/>
                    </a:lnTo>
                    <a:lnTo>
                      <a:pt x="95" y="224"/>
                    </a:lnTo>
                    <a:lnTo>
                      <a:pt x="95" y="224"/>
                    </a:lnTo>
                    <a:lnTo>
                      <a:pt x="93" y="224"/>
                    </a:lnTo>
                    <a:lnTo>
                      <a:pt x="91" y="222"/>
                    </a:lnTo>
                    <a:lnTo>
                      <a:pt x="89" y="222"/>
                    </a:lnTo>
                    <a:lnTo>
                      <a:pt x="87" y="222"/>
                    </a:lnTo>
                    <a:lnTo>
                      <a:pt x="87" y="224"/>
                    </a:lnTo>
                    <a:lnTo>
                      <a:pt x="85" y="224"/>
                    </a:lnTo>
                    <a:lnTo>
                      <a:pt x="84" y="226"/>
                    </a:lnTo>
                    <a:lnTo>
                      <a:pt x="82" y="226"/>
                    </a:lnTo>
                    <a:lnTo>
                      <a:pt x="82" y="226"/>
                    </a:lnTo>
                    <a:lnTo>
                      <a:pt x="80" y="226"/>
                    </a:lnTo>
                    <a:lnTo>
                      <a:pt x="80" y="228"/>
                    </a:lnTo>
                    <a:lnTo>
                      <a:pt x="78" y="230"/>
                    </a:lnTo>
                    <a:lnTo>
                      <a:pt x="78" y="230"/>
                    </a:lnTo>
                    <a:lnTo>
                      <a:pt x="76" y="230"/>
                    </a:lnTo>
                    <a:lnTo>
                      <a:pt x="76" y="230"/>
                    </a:lnTo>
                    <a:lnTo>
                      <a:pt x="74" y="230"/>
                    </a:lnTo>
                    <a:lnTo>
                      <a:pt x="74" y="230"/>
                    </a:lnTo>
                    <a:lnTo>
                      <a:pt x="72" y="234"/>
                    </a:lnTo>
                    <a:lnTo>
                      <a:pt x="72" y="235"/>
                    </a:lnTo>
                    <a:lnTo>
                      <a:pt x="72" y="235"/>
                    </a:lnTo>
                    <a:lnTo>
                      <a:pt x="70" y="235"/>
                    </a:lnTo>
                    <a:lnTo>
                      <a:pt x="68" y="237"/>
                    </a:lnTo>
                    <a:lnTo>
                      <a:pt x="72" y="241"/>
                    </a:lnTo>
                    <a:lnTo>
                      <a:pt x="72" y="243"/>
                    </a:lnTo>
                    <a:lnTo>
                      <a:pt x="72" y="243"/>
                    </a:lnTo>
                    <a:lnTo>
                      <a:pt x="70" y="245"/>
                    </a:lnTo>
                    <a:lnTo>
                      <a:pt x="68" y="245"/>
                    </a:lnTo>
                    <a:lnTo>
                      <a:pt x="66" y="245"/>
                    </a:lnTo>
                    <a:lnTo>
                      <a:pt x="66" y="245"/>
                    </a:lnTo>
                    <a:lnTo>
                      <a:pt x="64" y="245"/>
                    </a:lnTo>
                    <a:lnTo>
                      <a:pt x="61" y="249"/>
                    </a:lnTo>
                    <a:lnTo>
                      <a:pt x="61" y="251"/>
                    </a:lnTo>
                    <a:lnTo>
                      <a:pt x="59" y="251"/>
                    </a:lnTo>
                    <a:lnTo>
                      <a:pt x="59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49"/>
                    </a:lnTo>
                    <a:lnTo>
                      <a:pt x="57" y="249"/>
                    </a:lnTo>
                    <a:lnTo>
                      <a:pt x="57" y="249"/>
                    </a:lnTo>
                    <a:lnTo>
                      <a:pt x="57" y="247"/>
                    </a:lnTo>
                    <a:lnTo>
                      <a:pt x="55" y="247"/>
                    </a:lnTo>
                    <a:lnTo>
                      <a:pt x="55" y="245"/>
                    </a:lnTo>
                    <a:lnTo>
                      <a:pt x="55" y="245"/>
                    </a:lnTo>
                    <a:lnTo>
                      <a:pt x="55" y="243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47" y="241"/>
                    </a:lnTo>
                    <a:lnTo>
                      <a:pt x="47" y="239"/>
                    </a:lnTo>
                    <a:lnTo>
                      <a:pt x="45" y="239"/>
                    </a:lnTo>
                    <a:lnTo>
                      <a:pt x="43" y="239"/>
                    </a:lnTo>
                    <a:lnTo>
                      <a:pt x="43" y="239"/>
                    </a:lnTo>
                    <a:lnTo>
                      <a:pt x="42" y="239"/>
                    </a:lnTo>
                    <a:lnTo>
                      <a:pt x="42" y="239"/>
                    </a:lnTo>
                    <a:lnTo>
                      <a:pt x="40" y="243"/>
                    </a:lnTo>
                    <a:lnTo>
                      <a:pt x="40" y="245"/>
                    </a:lnTo>
                    <a:lnTo>
                      <a:pt x="40" y="245"/>
                    </a:lnTo>
                    <a:lnTo>
                      <a:pt x="40" y="247"/>
                    </a:lnTo>
                    <a:lnTo>
                      <a:pt x="38" y="247"/>
                    </a:lnTo>
                    <a:lnTo>
                      <a:pt x="36" y="247"/>
                    </a:lnTo>
                    <a:lnTo>
                      <a:pt x="36" y="249"/>
                    </a:lnTo>
                    <a:lnTo>
                      <a:pt x="36" y="249"/>
                    </a:lnTo>
                    <a:lnTo>
                      <a:pt x="34" y="251"/>
                    </a:lnTo>
                    <a:lnTo>
                      <a:pt x="32" y="253"/>
                    </a:lnTo>
                    <a:lnTo>
                      <a:pt x="32" y="253"/>
                    </a:lnTo>
                    <a:lnTo>
                      <a:pt x="30" y="253"/>
                    </a:lnTo>
                    <a:lnTo>
                      <a:pt x="30" y="251"/>
                    </a:lnTo>
                    <a:lnTo>
                      <a:pt x="30" y="251"/>
                    </a:lnTo>
                    <a:lnTo>
                      <a:pt x="28" y="251"/>
                    </a:lnTo>
                    <a:lnTo>
                      <a:pt x="28" y="249"/>
                    </a:lnTo>
                    <a:lnTo>
                      <a:pt x="28" y="249"/>
                    </a:lnTo>
                    <a:lnTo>
                      <a:pt x="26" y="249"/>
                    </a:lnTo>
                    <a:lnTo>
                      <a:pt x="26" y="251"/>
                    </a:lnTo>
                    <a:lnTo>
                      <a:pt x="26" y="253"/>
                    </a:lnTo>
                    <a:lnTo>
                      <a:pt x="26" y="253"/>
                    </a:lnTo>
                    <a:lnTo>
                      <a:pt x="24" y="254"/>
                    </a:lnTo>
                    <a:lnTo>
                      <a:pt x="24" y="254"/>
                    </a:lnTo>
                    <a:lnTo>
                      <a:pt x="22" y="254"/>
                    </a:lnTo>
                    <a:lnTo>
                      <a:pt x="22" y="253"/>
                    </a:lnTo>
                    <a:lnTo>
                      <a:pt x="21" y="253"/>
                    </a:lnTo>
                    <a:lnTo>
                      <a:pt x="21" y="253"/>
                    </a:lnTo>
                    <a:lnTo>
                      <a:pt x="19" y="253"/>
                    </a:lnTo>
                    <a:lnTo>
                      <a:pt x="19" y="253"/>
                    </a:lnTo>
                    <a:lnTo>
                      <a:pt x="19" y="254"/>
                    </a:lnTo>
                    <a:lnTo>
                      <a:pt x="17" y="258"/>
                    </a:lnTo>
                    <a:lnTo>
                      <a:pt x="17" y="258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9" y="260"/>
                    </a:lnTo>
                    <a:lnTo>
                      <a:pt x="19" y="260"/>
                    </a:lnTo>
                    <a:lnTo>
                      <a:pt x="19" y="258"/>
                    </a:lnTo>
                    <a:lnTo>
                      <a:pt x="21" y="258"/>
                    </a:lnTo>
                    <a:lnTo>
                      <a:pt x="21" y="258"/>
                    </a:lnTo>
                    <a:lnTo>
                      <a:pt x="21" y="258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2" y="260"/>
                    </a:lnTo>
                    <a:lnTo>
                      <a:pt x="22" y="260"/>
                    </a:lnTo>
                    <a:lnTo>
                      <a:pt x="22" y="262"/>
                    </a:lnTo>
                    <a:lnTo>
                      <a:pt x="22" y="262"/>
                    </a:lnTo>
                    <a:lnTo>
                      <a:pt x="22" y="262"/>
                    </a:lnTo>
                    <a:lnTo>
                      <a:pt x="24" y="262"/>
                    </a:lnTo>
                    <a:lnTo>
                      <a:pt x="24" y="264"/>
                    </a:lnTo>
                    <a:lnTo>
                      <a:pt x="24" y="264"/>
                    </a:lnTo>
                    <a:lnTo>
                      <a:pt x="26" y="262"/>
                    </a:lnTo>
                    <a:lnTo>
                      <a:pt x="26" y="262"/>
                    </a:lnTo>
                    <a:lnTo>
                      <a:pt x="28" y="264"/>
                    </a:lnTo>
                    <a:lnTo>
                      <a:pt x="28" y="264"/>
                    </a:lnTo>
                    <a:lnTo>
                      <a:pt x="28" y="264"/>
                    </a:lnTo>
                    <a:lnTo>
                      <a:pt x="28" y="266"/>
                    </a:lnTo>
                    <a:lnTo>
                      <a:pt x="28" y="266"/>
                    </a:lnTo>
                    <a:lnTo>
                      <a:pt x="28" y="268"/>
                    </a:lnTo>
                    <a:lnTo>
                      <a:pt x="28" y="268"/>
                    </a:lnTo>
                    <a:lnTo>
                      <a:pt x="30" y="268"/>
                    </a:lnTo>
                    <a:lnTo>
                      <a:pt x="30" y="270"/>
                    </a:lnTo>
                    <a:lnTo>
                      <a:pt x="32" y="270"/>
                    </a:lnTo>
                    <a:lnTo>
                      <a:pt x="32" y="270"/>
                    </a:lnTo>
                    <a:lnTo>
                      <a:pt x="32" y="270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0" y="272"/>
                    </a:lnTo>
                    <a:lnTo>
                      <a:pt x="28" y="274"/>
                    </a:lnTo>
                    <a:lnTo>
                      <a:pt x="26" y="274"/>
                    </a:lnTo>
                    <a:lnTo>
                      <a:pt x="26" y="274"/>
                    </a:lnTo>
                    <a:lnTo>
                      <a:pt x="26" y="275"/>
                    </a:lnTo>
                    <a:lnTo>
                      <a:pt x="26" y="277"/>
                    </a:lnTo>
                    <a:lnTo>
                      <a:pt x="26" y="277"/>
                    </a:lnTo>
                    <a:lnTo>
                      <a:pt x="26" y="279"/>
                    </a:lnTo>
                    <a:lnTo>
                      <a:pt x="28" y="281"/>
                    </a:lnTo>
                    <a:lnTo>
                      <a:pt x="28" y="281"/>
                    </a:lnTo>
                    <a:lnTo>
                      <a:pt x="28" y="281"/>
                    </a:lnTo>
                    <a:lnTo>
                      <a:pt x="28" y="285"/>
                    </a:lnTo>
                    <a:lnTo>
                      <a:pt x="28" y="285"/>
                    </a:lnTo>
                    <a:lnTo>
                      <a:pt x="28" y="287"/>
                    </a:lnTo>
                    <a:lnTo>
                      <a:pt x="28" y="287"/>
                    </a:lnTo>
                    <a:lnTo>
                      <a:pt x="30" y="287"/>
                    </a:lnTo>
                    <a:lnTo>
                      <a:pt x="30" y="287"/>
                    </a:lnTo>
                    <a:lnTo>
                      <a:pt x="30" y="285"/>
                    </a:lnTo>
                    <a:lnTo>
                      <a:pt x="32" y="285"/>
                    </a:lnTo>
                    <a:lnTo>
                      <a:pt x="32" y="285"/>
                    </a:lnTo>
                    <a:lnTo>
                      <a:pt x="34" y="285"/>
                    </a:lnTo>
                    <a:lnTo>
                      <a:pt x="34" y="285"/>
                    </a:lnTo>
                    <a:lnTo>
                      <a:pt x="45" y="291"/>
                    </a:lnTo>
                    <a:lnTo>
                      <a:pt x="45" y="291"/>
                    </a:lnTo>
                    <a:lnTo>
                      <a:pt x="47" y="291"/>
                    </a:lnTo>
                    <a:lnTo>
                      <a:pt x="47" y="293"/>
                    </a:lnTo>
                    <a:lnTo>
                      <a:pt x="47" y="293"/>
                    </a:lnTo>
                    <a:lnTo>
                      <a:pt x="47" y="294"/>
                    </a:lnTo>
                    <a:lnTo>
                      <a:pt x="47" y="296"/>
                    </a:lnTo>
                    <a:lnTo>
                      <a:pt x="47" y="302"/>
                    </a:lnTo>
                    <a:lnTo>
                      <a:pt x="47" y="306"/>
                    </a:lnTo>
                    <a:lnTo>
                      <a:pt x="47" y="308"/>
                    </a:lnTo>
                    <a:lnTo>
                      <a:pt x="45" y="310"/>
                    </a:lnTo>
                    <a:lnTo>
                      <a:pt x="45" y="310"/>
                    </a:lnTo>
                    <a:lnTo>
                      <a:pt x="40" y="310"/>
                    </a:lnTo>
                    <a:lnTo>
                      <a:pt x="40" y="312"/>
                    </a:lnTo>
                    <a:lnTo>
                      <a:pt x="38" y="312"/>
                    </a:lnTo>
                    <a:lnTo>
                      <a:pt x="36" y="313"/>
                    </a:lnTo>
                    <a:lnTo>
                      <a:pt x="36" y="313"/>
                    </a:lnTo>
                    <a:lnTo>
                      <a:pt x="36" y="315"/>
                    </a:lnTo>
                    <a:lnTo>
                      <a:pt x="38" y="315"/>
                    </a:lnTo>
                    <a:lnTo>
                      <a:pt x="38" y="315"/>
                    </a:lnTo>
                    <a:lnTo>
                      <a:pt x="40" y="317"/>
                    </a:lnTo>
                    <a:lnTo>
                      <a:pt x="42" y="317"/>
                    </a:lnTo>
                    <a:lnTo>
                      <a:pt x="42" y="317"/>
                    </a:lnTo>
                    <a:lnTo>
                      <a:pt x="42" y="317"/>
                    </a:lnTo>
                    <a:lnTo>
                      <a:pt x="42" y="319"/>
                    </a:lnTo>
                    <a:lnTo>
                      <a:pt x="42" y="321"/>
                    </a:lnTo>
                    <a:lnTo>
                      <a:pt x="42" y="323"/>
                    </a:lnTo>
                    <a:lnTo>
                      <a:pt x="42" y="327"/>
                    </a:lnTo>
                    <a:lnTo>
                      <a:pt x="40" y="327"/>
                    </a:lnTo>
                    <a:lnTo>
                      <a:pt x="38" y="331"/>
                    </a:lnTo>
                    <a:lnTo>
                      <a:pt x="36" y="334"/>
                    </a:lnTo>
                    <a:lnTo>
                      <a:pt x="32" y="340"/>
                    </a:lnTo>
                    <a:lnTo>
                      <a:pt x="32" y="340"/>
                    </a:lnTo>
                    <a:lnTo>
                      <a:pt x="32" y="340"/>
                    </a:lnTo>
                    <a:lnTo>
                      <a:pt x="34" y="342"/>
                    </a:lnTo>
                    <a:lnTo>
                      <a:pt x="34" y="344"/>
                    </a:lnTo>
                    <a:lnTo>
                      <a:pt x="34" y="344"/>
                    </a:lnTo>
                    <a:lnTo>
                      <a:pt x="34" y="346"/>
                    </a:lnTo>
                    <a:lnTo>
                      <a:pt x="32" y="350"/>
                    </a:lnTo>
                    <a:lnTo>
                      <a:pt x="30" y="353"/>
                    </a:lnTo>
                    <a:lnTo>
                      <a:pt x="28" y="355"/>
                    </a:lnTo>
                    <a:lnTo>
                      <a:pt x="26" y="357"/>
                    </a:lnTo>
                    <a:lnTo>
                      <a:pt x="24" y="357"/>
                    </a:lnTo>
                    <a:lnTo>
                      <a:pt x="22" y="357"/>
                    </a:lnTo>
                    <a:lnTo>
                      <a:pt x="21" y="359"/>
                    </a:lnTo>
                    <a:lnTo>
                      <a:pt x="17" y="359"/>
                    </a:lnTo>
                    <a:lnTo>
                      <a:pt x="15" y="359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5"/>
                    </a:lnTo>
                    <a:lnTo>
                      <a:pt x="15" y="353"/>
                    </a:lnTo>
                    <a:lnTo>
                      <a:pt x="15" y="353"/>
                    </a:lnTo>
                    <a:lnTo>
                      <a:pt x="15" y="353"/>
                    </a:lnTo>
                    <a:lnTo>
                      <a:pt x="13" y="353"/>
                    </a:lnTo>
                    <a:lnTo>
                      <a:pt x="13" y="353"/>
                    </a:lnTo>
                    <a:lnTo>
                      <a:pt x="11" y="353"/>
                    </a:lnTo>
                    <a:lnTo>
                      <a:pt x="5" y="357"/>
                    </a:lnTo>
                    <a:lnTo>
                      <a:pt x="3" y="359"/>
                    </a:lnTo>
                    <a:lnTo>
                      <a:pt x="3" y="363"/>
                    </a:lnTo>
                    <a:lnTo>
                      <a:pt x="2" y="365"/>
                    </a:lnTo>
                    <a:lnTo>
                      <a:pt x="2" y="365"/>
                    </a:lnTo>
                    <a:lnTo>
                      <a:pt x="0" y="365"/>
                    </a:lnTo>
                    <a:lnTo>
                      <a:pt x="0" y="367"/>
                    </a:lnTo>
                    <a:lnTo>
                      <a:pt x="0" y="367"/>
                    </a:lnTo>
                    <a:lnTo>
                      <a:pt x="0" y="367"/>
                    </a:lnTo>
                    <a:lnTo>
                      <a:pt x="2" y="371"/>
                    </a:lnTo>
                    <a:lnTo>
                      <a:pt x="2" y="371"/>
                    </a:lnTo>
                    <a:lnTo>
                      <a:pt x="3" y="371"/>
                    </a:lnTo>
                    <a:lnTo>
                      <a:pt x="5" y="371"/>
                    </a:lnTo>
                    <a:lnTo>
                      <a:pt x="7" y="371"/>
                    </a:lnTo>
                    <a:lnTo>
                      <a:pt x="7" y="369"/>
                    </a:lnTo>
                    <a:lnTo>
                      <a:pt x="9" y="369"/>
                    </a:lnTo>
                    <a:lnTo>
                      <a:pt x="9" y="369"/>
                    </a:lnTo>
                    <a:lnTo>
                      <a:pt x="11" y="369"/>
                    </a:lnTo>
                    <a:lnTo>
                      <a:pt x="13" y="369"/>
                    </a:lnTo>
                    <a:lnTo>
                      <a:pt x="17" y="371"/>
                    </a:lnTo>
                    <a:lnTo>
                      <a:pt x="17" y="372"/>
                    </a:lnTo>
                    <a:lnTo>
                      <a:pt x="19" y="372"/>
                    </a:lnTo>
                    <a:lnTo>
                      <a:pt x="19" y="376"/>
                    </a:lnTo>
                    <a:lnTo>
                      <a:pt x="21" y="384"/>
                    </a:lnTo>
                    <a:lnTo>
                      <a:pt x="21" y="386"/>
                    </a:lnTo>
                    <a:lnTo>
                      <a:pt x="21" y="388"/>
                    </a:lnTo>
                    <a:lnTo>
                      <a:pt x="19" y="390"/>
                    </a:lnTo>
                    <a:lnTo>
                      <a:pt x="17" y="391"/>
                    </a:lnTo>
                    <a:lnTo>
                      <a:pt x="19" y="393"/>
                    </a:lnTo>
                    <a:lnTo>
                      <a:pt x="19" y="395"/>
                    </a:lnTo>
                    <a:lnTo>
                      <a:pt x="21" y="395"/>
                    </a:lnTo>
                    <a:lnTo>
                      <a:pt x="21" y="397"/>
                    </a:lnTo>
                    <a:lnTo>
                      <a:pt x="21" y="399"/>
                    </a:lnTo>
                    <a:lnTo>
                      <a:pt x="21" y="399"/>
                    </a:lnTo>
                    <a:lnTo>
                      <a:pt x="21" y="401"/>
                    </a:lnTo>
                    <a:lnTo>
                      <a:pt x="21" y="401"/>
                    </a:lnTo>
                    <a:lnTo>
                      <a:pt x="21" y="403"/>
                    </a:lnTo>
                    <a:lnTo>
                      <a:pt x="21" y="403"/>
                    </a:lnTo>
                    <a:lnTo>
                      <a:pt x="24" y="407"/>
                    </a:lnTo>
                    <a:lnTo>
                      <a:pt x="24" y="409"/>
                    </a:lnTo>
                    <a:lnTo>
                      <a:pt x="26" y="409"/>
                    </a:lnTo>
                    <a:lnTo>
                      <a:pt x="26" y="411"/>
                    </a:lnTo>
                    <a:lnTo>
                      <a:pt x="26" y="414"/>
                    </a:lnTo>
                    <a:lnTo>
                      <a:pt x="26" y="416"/>
                    </a:lnTo>
                    <a:lnTo>
                      <a:pt x="26" y="418"/>
                    </a:lnTo>
                    <a:lnTo>
                      <a:pt x="24" y="418"/>
                    </a:lnTo>
                    <a:lnTo>
                      <a:pt x="22" y="418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2"/>
                    </a:lnTo>
                    <a:lnTo>
                      <a:pt x="19" y="422"/>
                    </a:lnTo>
                    <a:lnTo>
                      <a:pt x="19" y="424"/>
                    </a:lnTo>
                    <a:lnTo>
                      <a:pt x="22" y="426"/>
                    </a:lnTo>
                    <a:lnTo>
                      <a:pt x="24" y="426"/>
                    </a:lnTo>
                    <a:lnTo>
                      <a:pt x="24" y="428"/>
                    </a:lnTo>
                    <a:lnTo>
                      <a:pt x="24" y="428"/>
                    </a:lnTo>
                    <a:lnTo>
                      <a:pt x="24" y="428"/>
                    </a:lnTo>
                    <a:lnTo>
                      <a:pt x="24" y="430"/>
                    </a:lnTo>
                    <a:lnTo>
                      <a:pt x="24" y="431"/>
                    </a:lnTo>
                    <a:lnTo>
                      <a:pt x="21" y="437"/>
                    </a:lnTo>
                    <a:lnTo>
                      <a:pt x="21" y="437"/>
                    </a:lnTo>
                    <a:lnTo>
                      <a:pt x="21" y="441"/>
                    </a:lnTo>
                    <a:lnTo>
                      <a:pt x="21" y="441"/>
                    </a:lnTo>
                    <a:lnTo>
                      <a:pt x="21" y="443"/>
                    </a:lnTo>
                    <a:lnTo>
                      <a:pt x="21" y="447"/>
                    </a:lnTo>
                    <a:lnTo>
                      <a:pt x="21" y="447"/>
                    </a:lnTo>
                    <a:lnTo>
                      <a:pt x="21" y="449"/>
                    </a:lnTo>
                    <a:lnTo>
                      <a:pt x="21" y="450"/>
                    </a:lnTo>
                    <a:lnTo>
                      <a:pt x="21" y="450"/>
                    </a:lnTo>
                    <a:lnTo>
                      <a:pt x="21" y="452"/>
                    </a:lnTo>
                    <a:lnTo>
                      <a:pt x="19" y="456"/>
                    </a:lnTo>
                    <a:lnTo>
                      <a:pt x="19" y="458"/>
                    </a:lnTo>
                    <a:lnTo>
                      <a:pt x="19" y="458"/>
                    </a:lnTo>
                    <a:lnTo>
                      <a:pt x="19" y="458"/>
                    </a:lnTo>
                    <a:lnTo>
                      <a:pt x="17" y="460"/>
                    </a:lnTo>
                    <a:lnTo>
                      <a:pt x="15" y="462"/>
                    </a:lnTo>
                    <a:lnTo>
                      <a:pt x="13" y="462"/>
                    </a:lnTo>
                    <a:lnTo>
                      <a:pt x="11" y="462"/>
                    </a:lnTo>
                    <a:lnTo>
                      <a:pt x="7" y="462"/>
                    </a:lnTo>
                    <a:lnTo>
                      <a:pt x="7" y="462"/>
                    </a:lnTo>
                    <a:lnTo>
                      <a:pt x="7" y="462"/>
                    </a:lnTo>
                    <a:lnTo>
                      <a:pt x="3" y="466"/>
                    </a:lnTo>
                    <a:lnTo>
                      <a:pt x="0" y="468"/>
                    </a:lnTo>
                    <a:lnTo>
                      <a:pt x="2" y="471"/>
                    </a:lnTo>
                    <a:lnTo>
                      <a:pt x="2" y="473"/>
                    </a:lnTo>
                    <a:lnTo>
                      <a:pt x="3" y="473"/>
                    </a:lnTo>
                    <a:lnTo>
                      <a:pt x="5" y="471"/>
                    </a:lnTo>
                    <a:lnTo>
                      <a:pt x="7" y="471"/>
                    </a:lnTo>
                    <a:lnTo>
                      <a:pt x="7" y="469"/>
                    </a:lnTo>
                    <a:lnTo>
                      <a:pt x="9" y="469"/>
                    </a:lnTo>
                    <a:lnTo>
                      <a:pt x="13" y="468"/>
                    </a:lnTo>
                    <a:lnTo>
                      <a:pt x="15" y="466"/>
                    </a:lnTo>
                    <a:lnTo>
                      <a:pt x="15" y="468"/>
                    </a:lnTo>
                    <a:lnTo>
                      <a:pt x="15" y="468"/>
                    </a:lnTo>
                    <a:lnTo>
                      <a:pt x="17" y="468"/>
                    </a:lnTo>
                    <a:lnTo>
                      <a:pt x="17" y="469"/>
                    </a:lnTo>
                    <a:lnTo>
                      <a:pt x="17" y="469"/>
                    </a:lnTo>
                    <a:lnTo>
                      <a:pt x="17" y="471"/>
                    </a:lnTo>
                    <a:lnTo>
                      <a:pt x="15" y="469"/>
                    </a:lnTo>
                    <a:lnTo>
                      <a:pt x="15" y="469"/>
                    </a:lnTo>
                    <a:lnTo>
                      <a:pt x="11" y="469"/>
                    </a:lnTo>
                    <a:lnTo>
                      <a:pt x="11" y="471"/>
                    </a:lnTo>
                    <a:lnTo>
                      <a:pt x="9" y="473"/>
                    </a:lnTo>
                    <a:lnTo>
                      <a:pt x="7" y="475"/>
                    </a:lnTo>
                    <a:lnTo>
                      <a:pt x="7" y="473"/>
                    </a:lnTo>
                    <a:lnTo>
                      <a:pt x="5" y="473"/>
                    </a:lnTo>
                    <a:lnTo>
                      <a:pt x="3" y="473"/>
                    </a:lnTo>
                    <a:lnTo>
                      <a:pt x="3" y="475"/>
                    </a:lnTo>
                    <a:lnTo>
                      <a:pt x="2" y="475"/>
                    </a:lnTo>
                    <a:lnTo>
                      <a:pt x="2" y="477"/>
                    </a:lnTo>
                    <a:lnTo>
                      <a:pt x="2" y="479"/>
                    </a:lnTo>
                    <a:lnTo>
                      <a:pt x="0" y="477"/>
                    </a:lnTo>
                    <a:lnTo>
                      <a:pt x="0" y="479"/>
                    </a:lnTo>
                    <a:lnTo>
                      <a:pt x="2" y="481"/>
                    </a:lnTo>
                    <a:lnTo>
                      <a:pt x="5" y="483"/>
                    </a:lnTo>
                    <a:lnTo>
                      <a:pt x="7" y="483"/>
                    </a:lnTo>
                    <a:lnTo>
                      <a:pt x="7" y="485"/>
                    </a:lnTo>
                    <a:lnTo>
                      <a:pt x="7" y="485"/>
                    </a:lnTo>
                    <a:lnTo>
                      <a:pt x="9" y="485"/>
                    </a:lnTo>
                    <a:lnTo>
                      <a:pt x="9" y="485"/>
                    </a:lnTo>
                    <a:lnTo>
                      <a:pt x="11" y="487"/>
                    </a:lnTo>
                    <a:lnTo>
                      <a:pt x="13" y="490"/>
                    </a:lnTo>
                    <a:lnTo>
                      <a:pt x="15" y="487"/>
                    </a:lnTo>
                    <a:lnTo>
                      <a:pt x="15" y="487"/>
                    </a:lnTo>
                    <a:lnTo>
                      <a:pt x="17" y="487"/>
                    </a:lnTo>
                    <a:lnTo>
                      <a:pt x="21" y="489"/>
                    </a:lnTo>
                    <a:lnTo>
                      <a:pt x="21" y="490"/>
                    </a:lnTo>
                    <a:lnTo>
                      <a:pt x="22" y="496"/>
                    </a:lnTo>
                    <a:lnTo>
                      <a:pt x="22" y="500"/>
                    </a:lnTo>
                    <a:lnTo>
                      <a:pt x="21" y="500"/>
                    </a:lnTo>
                    <a:lnTo>
                      <a:pt x="22" y="502"/>
                    </a:lnTo>
                    <a:lnTo>
                      <a:pt x="22" y="504"/>
                    </a:lnTo>
                    <a:lnTo>
                      <a:pt x="24" y="504"/>
                    </a:lnTo>
                    <a:lnTo>
                      <a:pt x="26" y="504"/>
                    </a:lnTo>
                    <a:lnTo>
                      <a:pt x="26" y="502"/>
                    </a:lnTo>
                    <a:lnTo>
                      <a:pt x="28" y="502"/>
                    </a:lnTo>
                    <a:lnTo>
                      <a:pt x="30" y="504"/>
                    </a:lnTo>
                    <a:lnTo>
                      <a:pt x="30" y="504"/>
                    </a:lnTo>
                    <a:lnTo>
                      <a:pt x="26" y="504"/>
                    </a:lnTo>
                    <a:lnTo>
                      <a:pt x="24" y="506"/>
                    </a:lnTo>
                    <a:lnTo>
                      <a:pt x="24" y="509"/>
                    </a:lnTo>
                    <a:lnTo>
                      <a:pt x="26" y="513"/>
                    </a:lnTo>
                    <a:lnTo>
                      <a:pt x="26" y="513"/>
                    </a:lnTo>
                    <a:lnTo>
                      <a:pt x="26" y="515"/>
                    </a:lnTo>
                    <a:lnTo>
                      <a:pt x="28" y="515"/>
                    </a:lnTo>
                    <a:lnTo>
                      <a:pt x="30" y="515"/>
                    </a:lnTo>
                    <a:lnTo>
                      <a:pt x="30" y="513"/>
                    </a:lnTo>
                    <a:lnTo>
                      <a:pt x="30" y="511"/>
                    </a:lnTo>
                    <a:lnTo>
                      <a:pt x="30" y="509"/>
                    </a:lnTo>
                    <a:lnTo>
                      <a:pt x="32" y="508"/>
                    </a:lnTo>
                    <a:lnTo>
                      <a:pt x="32" y="509"/>
                    </a:lnTo>
                    <a:lnTo>
                      <a:pt x="32" y="509"/>
                    </a:lnTo>
                    <a:lnTo>
                      <a:pt x="32" y="511"/>
                    </a:lnTo>
                    <a:lnTo>
                      <a:pt x="34" y="511"/>
                    </a:lnTo>
                    <a:lnTo>
                      <a:pt x="34" y="511"/>
                    </a:lnTo>
                    <a:lnTo>
                      <a:pt x="36" y="511"/>
                    </a:lnTo>
                    <a:lnTo>
                      <a:pt x="36" y="511"/>
                    </a:lnTo>
                    <a:lnTo>
                      <a:pt x="36" y="513"/>
                    </a:lnTo>
                    <a:lnTo>
                      <a:pt x="34" y="513"/>
                    </a:lnTo>
                    <a:lnTo>
                      <a:pt x="36" y="515"/>
                    </a:lnTo>
                    <a:lnTo>
                      <a:pt x="42" y="521"/>
                    </a:lnTo>
                    <a:lnTo>
                      <a:pt x="38" y="521"/>
                    </a:lnTo>
                    <a:lnTo>
                      <a:pt x="38" y="521"/>
                    </a:lnTo>
                    <a:lnTo>
                      <a:pt x="40" y="523"/>
                    </a:lnTo>
                    <a:lnTo>
                      <a:pt x="36" y="523"/>
                    </a:lnTo>
                    <a:lnTo>
                      <a:pt x="36" y="519"/>
                    </a:lnTo>
                    <a:lnTo>
                      <a:pt x="34" y="515"/>
                    </a:lnTo>
                    <a:lnTo>
                      <a:pt x="32" y="513"/>
                    </a:lnTo>
                    <a:lnTo>
                      <a:pt x="32" y="517"/>
                    </a:lnTo>
                    <a:lnTo>
                      <a:pt x="36" y="521"/>
                    </a:lnTo>
                    <a:lnTo>
                      <a:pt x="36" y="527"/>
                    </a:lnTo>
                    <a:lnTo>
                      <a:pt x="36" y="527"/>
                    </a:lnTo>
                    <a:lnTo>
                      <a:pt x="38" y="528"/>
                    </a:lnTo>
                    <a:lnTo>
                      <a:pt x="38" y="528"/>
                    </a:lnTo>
                    <a:lnTo>
                      <a:pt x="38" y="532"/>
                    </a:lnTo>
                    <a:lnTo>
                      <a:pt x="38" y="534"/>
                    </a:lnTo>
                    <a:lnTo>
                      <a:pt x="38" y="534"/>
                    </a:lnTo>
                    <a:lnTo>
                      <a:pt x="40" y="538"/>
                    </a:lnTo>
                    <a:lnTo>
                      <a:pt x="40" y="544"/>
                    </a:lnTo>
                    <a:lnTo>
                      <a:pt x="42" y="546"/>
                    </a:lnTo>
                    <a:lnTo>
                      <a:pt x="43" y="546"/>
                    </a:lnTo>
                    <a:lnTo>
                      <a:pt x="51" y="549"/>
                    </a:lnTo>
                    <a:lnTo>
                      <a:pt x="51" y="549"/>
                    </a:lnTo>
                    <a:lnTo>
                      <a:pt x="49" y="549"/>
                    </a:lnTo>
                    <a:lnTo>
                      <a:pt x="47" y="549"/>
                    </a:lnTo>
                    <a:lnTo>
                      <a:pt x="43" y="549"/>
                    </a:lnTo>
                    <a:lnTo>
                      <a:pt x="42" y="548"/>
                    </a:lnTo>
                    <a:lnTo>
                      <a:pt x="42" y="551"/>
                    </a:lnTo>
                    <a:lnTo>
                      <a:pt x="43" y="553"/>
                    </a:lnTo>
                    <a:lnTo>
                      <a:pt x="47" y="559"/>
                    </a:lnTo>
                    <a:lnTo>
                      <a:pt x="47" y="561"/>
                    </a:lnTo>
                    <a:lnTo>
                      <a:pt x="47" y="568"/>
                    </a:lnTo>
                    <a:lnTo>
                      <a:pt x="47" y="570"/>
                    </a:lnTo>
                    <a:lnTo>
                      <a:pt x="49" y="572"/>
                    </a:lnTo>
                    <a:lnTo>
                      <a:pt x="49" y="572"/>
                    </a:lnTo>
                    <a:lnTo>
                      <a:pt x="51" y="574"/>
                    </a:lnTo>
                    <a:lnTo>
                      <a:pt x="49" y="576"/>
                    </a:lnTo>
                    <a:lnTo>
                      <a:pt x="49" y="578"/>
                    </a:lnTo>
                    <a:lnTo>
                      <a:pt x="51" y="580"/>
                    </a:lnTo>
                    <a:lnTo>
                      <a:pt x="55" y="586"/>
                    </a:lnTo>
                    <a:lnTo>
                      <a:pt x="57" y="589"/>
                    </a:lnTo>
                    <a:lnTo>
                      <a:pt x="61" y="595"/>
                    </a:lnTo>
                    <a:lnTo>
                      <a:pt x="63" y="599"/>
                    </a:lnTo>
                    <a:lnTo>
                      <a:pt x="64" y="603"/>
                    </a:lnTo>
                    <a:lnTo>
                      <a:pt x="66" y="610"/>
                    </a:lnTo>
                    <a:lnTo>
                      <a:pt x="68" y="622"/>
                    </a:lnTo>
                    <a:lnTo>
                      <a:pt x="70" y="626"/>
                    </a:lnTo>
                    <a:lnTo>
                      <a:pt x="72" y="620"/>
                    </a:lnTo>
                    <a:lnTo>
                      <a:pt x="74" y="620"/>
                    </a:lnTo>
                    <a:lnTo>
                      <a:pt x="76" y="622"/>
                    </a:lnTo>
                    <a:lnTo>
                      <a:pt x="74" y="622"/>
                    </a:lnTo>
                    <a:lnTo>
                      <a:pt x="74" y="622"/>
                    </a:lnTo>
                    <a:lnTo>
                      <a:pt x="76" y="624"/>
                    </a:lnTo>
                    <a:lnTo>
                      <a:pt x="78" y="626"/>
                    </a:lnTo>
                    <a:lnTo>
                      <a:pt x="78" y="627"/>
                    </a:lnTo>
                    <a:lnTo>
                      <a:pt x="80" y="627"/>
                    </a:lnTo>
                    <a:lnTo>
                      <a:pt x="80" y="627"/>
                    </a:lnTo>
                    <a:lnTo>
                      <a:pt x="78" y="627"/>
                    </a:lnTo>
                    <a:lnTo>
                      <a:pt x="76" y="627"/>
                    </a:lnTo>
                    <a:lnTo>
                      <a:pt x="74" y="627"/>
                    </a:lnTo>
                    <a:lnTo>
                      <a:pt x="74" y="627"/>
                    </a:lnTo>
                    <a:lnTo>
                      <a:pt x="74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31"/>
                    </a:lnTo>
                    <a:lnTo>
                      <a:pt x="72" y="631"/>
                    </a:lnTo>
                    <a:lnTo>
                      <a:pt x="72" y="631"/>
                    </a:lnTo>
                    <a:lnTo>
                      <a:pt x="72" y="633"/>
                    </a:lnTo>
                    <a:lnTo>
                      <a:pt x="72" y="641"/>
                    </a:lnTo>
                    <a:lnTo>
                      <a:pt x="72" y="643"/>
                    </a:lnTo>
                    <a:lnTo>
                      <a:pt x="76" y="652"/>
                    </a:lnTo>
                    <a:lnTo>
                      <a:pt x="76" y="654"/>
                    </a:lnTo>
                    <a:lnTo>
                      <a:pt x="76" y="656"/>
                    </a:lnTo>
                    <a:lnTo>
                      <a:pt x="76" y="658"/>
                    </a:lnTo>
                    <a:lnTo>
                      <a:pt x="76" y="658"/>
                    </a:lnTo>
                    <a:lnTo>
                      <a:pt x="74" y="654"/>
                    </a:lnTo>
                    <a:lnTo>
                      <a:pt x="74" y="650"/>
                    </a:lnTo>
                    <a:lnTo>
                      <a:pt x="74" y="654"/>
                    </a:lnTo>
                    <a:lnTo>
                      <a:pt x="74" y="658"/>
                    </a:lnTo>
                    <a:lnTo>
                      <a:pt x="76" y="660"/>
                    </a:lnTo>
                    <a:lnTo>
                      <a:pt x="74" y="662"/>
                    </a:lnTo>
                    <a:lnTo>
                      <a:pt x="76" y="664"/>
                    </a:lnTo>
                    <a:lnTo>
                      <a:pt x="76" y="665"/>
                    </a:lnTo>
                    <a:lnTo>
                      <a:pt x="78" y="667"/>
                    </a:lnTo>
                    <a:lnTo>
                      <a:pt x="80" y="677"/>
                    </a:lnTo>
                    <a:lnTo>
                      <a:pt x="80" y="683"/>
                    </a:lnTo>
                    <a:lnTo>
                      <a:pt x="82" y="688"/>
                    </a:lnTo>
                    <a:lnTo>
                      <a:pt x="82" y="690"/>
                    </a:lnTo>
                    <a:lnTo>
                      <a:pt x="84" y="690"/>
                    </a:lnTo>
                    <a:lnTo>
                      <a:pt x="84" y="692"/>
                    </a:lnTo>
                    <a:lnTo>
                      <a:pt x="84" y="696"/>
                    </a:lnTo>
                    <a:lnTo>
                      <a:pt x="84" y="698"/>
                    </a:lnTo>
                    <a:lnTo>
                      <a:pt x="85" y="698"/>
                    </a:lnTo>
                    <a:lnTo>
                      <a:pt x="85" y="700"/>
                    </a:lnTo>
                    <a:lnTo>
                      <a:pt x="85" y="704"/>
                    </a:lnTo>
                    <a:lnTo>
                      <a:pt x="91" y="728"/>
                    </a:lnTo>
                    <a:lnTo>
                      <a:pt x="95" y="728"/>
                    </a:lnTo>
                    <a:lnTo>
                      <a:pt x="101" y="726"/>
                    </a:lnTo>
                    <a:lnTo>
                      <a:pt x="106" y="726"/>
                    </a:lnTo>
                    <a:lnTo>
                      <a:pt x="104" y="728"/>
                    </a:lnTo>
                    <a:lnTo>
                      <a:pt x="103" y="728"/>
                    </a:lnTo>
                    <a:lnTo>
                      <a:pt x="101" y="730"/>
                    </a:lnTo>
                    <a:lnTo>
                      <a:pt x="99" y="730"/>
                    </a:lnTo>
                    <a:lnTo>
                      <a:pt x="99" y="730"/>
                    </a:lnTo>
                    <a:lnTo>
                      <a:pt x="97" y="732"/>
                    </a:lnTo>
                    <a:lnTo>
                      <a:pt x="95" y="734"/>
                    </a:lnTo>
                    <a:lnTo>
                      <a:pt x="95" y="734"/>
                    </a:lnTo>
                    <a:lnTo>
                      <a:pt x="91" y="732"/>
                    </a:lnTo>
                    <a:lnTo>
                      <a:pt x="91" y="734"/>
                    </a:lnTo>
                    <a:lnTo>
                      <a:pt x="93" y="734"/>
                    </a:lnTo>
                    <a:lnTo>
                      <a:pt x="93" y="736"/>
                    </a:lnTo>
                    <a:lnTo>
                      <a:pt x="95" y="736"/>
                    </a:lnTo>
                    <a:lnTo>
                      <a:pt x="95" y="738"/>
                    </a:lnTo>
                    <a:lnTo>
                      <a:pt x="95" y="742"/>
                    </a:lnTo>
                    <a:lnTo>
                      <a:pt x="101" y="740"/>
                    </a:lnTo>
                    <a:lnTo>
                      <a:pt x="103" y="740"/>
                    </a:lnTo>
                    <a:lnTo>
                      <a:pt x="104" y="740"/>
                    </a:lnTo>
                    <a:lnTo>
                      <a:pt x="106" y="740"/>
                    </a:lnTo>
                    <a:lnTo>
                      <a:pt x="106" y="740"/>
                    </a:lnTo>
                    <a:lnTo>
                      <a:pt x="106" y="740"/>
                    </a:lnTo>
                    <a:lnTo>
                      <a:pt x="106" y="742"/>
                    </a:lnTo>
                    <a:lnTo>
                      <a:pt x="106" y="742"/>
                    </a:lnTo>
                    <a:lnTo>
                      <a:pt x="108" y="743"/>
                    </a:lnTo>
                    <a:lnTo>
                      <a:pt x="108" y="743"/>
                    </a:lnTo>
                    <a:lnTo>
                      <a:pt x="108" y="745"/>
                    </a:lnTo>
                    <a:lnTo>
                      <a:pt x="108" y="745"/>
                    </a:lnTo>
                    <a:lnTo>
                      <a:pt x="110" y="745"/>
                    </a:lnTo>
                    <a:lnTo>
                      <a:pt x="110" y="747"/>
                    </a:lnTo>
                    <a:lnTo>
                      <a:pt x="112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9"/>
                    </a:lnTo>
                    <a:lnTo>
                      <a:pt x="114" y="749"/>
                    </a:lnTo>
                    <a:lnTo>
                      <a:pt x="114" y="749"/>
                    </a:lnTo>
                    <a:lnTo>
                      <a:pt x="114" y="751"/>
                    </a:lnTo>
                    <a:lnTo>
                      <a:pt x="116" y="751"/>
                    </a:lnTo>
                    <a:lnTo>
                      <a:pt x="116" y="751"/>
                    </a:lnTo>
                    <a:lnTo>
                      <a:pt x="116" y="751"/>
                    </a:lnTo>
                    <a:lnTo>
                      <a:pt x="118" y="751"/>
                    </a:lnTo>
                    <a:lnTo>
                      <a:pt x="118" y="749"/>
                    </a:lnTo>
                    <a:lnTo>
                      <a:pt x="120" y="749"/>
                    </a:lnTo>
                    <a:lnTo>
                      <a:pt x="122" y="749"/>
                    </a:lnTo>
                    <a:lnTo>
                      <a:pt x="122" y="749"/>
                    </a:lnTo>
                    <a:lnTo>
                      <a:pt x="125" y="751"/>
                    </a:lnTo>
                    <a:lnTo>
                      <a:pt x="125" y="751"/>
                    </a:lnTo>
                    <a:lnTo>
                      <a:pt x="125" y="751"/>
                    </a:lnTo>
                    <a:lnTo>
                      <a:pt x="125" y="753"/>
                    </a:lnTo>
                    <a:lnTo>
                      <a:pt x="125" y="753"/>
                    </a:lnTo>
                    <a:lnTo>
                      <a:pt x="125" y="755"/>
                    </a:lnTo>
                    <a:lnTo>
                      <a:pt x="125" y="755"/>
                    </a:lnTo>
                    <a:lnTo>
                      <a:pt x="125" y="757"/>
                    </a:lnTo>
                    <a:lnTo>
                      <a:pt x="125" y="757"/>
                    </a:lnTo>
                    <a:lnTo>
                      <a:pt x="127" y="759"/>
                    </a:lnTo>
                    <a:lnTo>
                      <a:pt x="127" y="759"/>
                    </a:lnTo>
                    <a:lnTo>
                      <a:pt x="129" y="759"/>
                    </a:lnTo>
                    <a:lnTo>
                      <a:pt x="129" y="759"/>
                    </a:lnTo>
                    <a:lnTo>
                      <a:pt x="131" y="757"/>
                    </a:lnTo>
                    <a:lnTo>
                      <a:pt x="131" y="759"/>
                    </a:lnTo>
                    <a:lnTo>
                      <a:pt x="133" y="759"/>
                    </a:lnTo>
                    <a:lnTo>
                      <a:pt x="135" y="761"/>
                    </a:lnTo>
                    <a:lnTo>
                      <a:pt x="135" y="762"/>
                    </a:lnTo>
                    <a:lnTo>
                      <a:pt x="137" y="762"/>
                    </a:lnTo>
                    <a:lnTo>
                      <a:pt x="137" y="762"/>
                    </a:lnTo>
                    <a:lnTo>
                      <a:pt x="139" y="762"/>
                    </a:lnTo>
                    <a:lnTo>
                      <a:pt x="139" y="762"/>
                    </a:lnTo>
                    <a:lnTo>
                      <a:pt x="139" y="761"/>
                    </a:lnTo>
                    <a:lnTo>
                      <a:pt x="141" y="761"/>
                    </a:lnTo>
                    <a:lnTo>
                      <a:pt x="143" y="761"/>
                    </a:lnTo>
                    <a:lnTo>
                      <a:pt x="148" y="762"/>
                    </a:lnTo>
                    <a:lnTo>
                      <a:pt x="146" y="764"/>
                    </a:lnTo>
                    <a:lnTo>
                      <a:pt x="145" y="766"/>
                    </a:lnTo>
                    <a:lnTo>
                      <a:pt x="145" y="768"/>
                    </a:lnTo>
                    <a:lnTo>
                      <a:pt x="145" y="770"/>
                    </a:lnTo>
                    <a:lnTo>
                      <a:pt x="145" y="770"/>
                    </a:lnTo>
                    <a:lnTo>
                      <a:pt x="146" y="772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50" y="776"/>
                    </a:lnTo>
                    <a:lnTo>
                      <a:pt x="150" y="776"/>
                    </a:lnTo>
                    <a:lnTo>
                      <a:pt x="152" y="778"/>
                    </a:lnTo>
                    <a:lnTo>
                      <a:pt x="152" y="778"/>
                    </a:lnTo>
                    <a:lnTo>
                      <a:pt x="152" y="778"/>
                    </a:lnTo>
                    <a:lnTo>
                      <a:pt x="152" y="780"/>
                    </a:lnTo>
                    <a:lnTo>
                      <a:pt x="152" y="780"/>
                    </a:lnTo>
                    <a:lnTo>
                      <a:pt x="154" y="780"/>
                    </a:lnTo>
                    <a:lnTo>
                      <a:pt x="158" y="778"/>
                    </a:lnTo>
                    <a:lnTo>
                      <a:pt x="158" y="778"/>
                    </a:lnTo>
                    <a:lnTo>
                      <a:pt x="160" y="778"/>
                    </a:lnTo>
                    <a:lnTo>
                      <a:pt x="160" y="778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2"/>
                    </a:lnTo>
                    <a:lnTo>
                      <a:pt x="158" y="782"/>
                    </a:lnTo>
                    <a:lnTo>
                      <a:pt x="156" y="783"/>
                    </a:lnTo>
                    <a:lnTo>
                      <a:pt x="156" y="783"/>
                    </a:lnTo>
                    <a:lnTo>
                      <a:pt x="156" y="785"/>
                    </a:lnTo>
                    <a:lnTo>
                      <a:pt x="156" y="787"/>
                    </a:lnTo>
                    <a:lnTo>
                      <a:pt x="156" y="787"/>
                    </a:lnTo>
                    <a:lnTo>
                      <a:pt x="156" y="789"/>
                    </a:lnTo>
                    <a:lnTo>
                      <a:pt x="158" y="791"/>
                    </a:lnTo>
                    <a:lnTo>
                      <a:pt x="160" y="793"/>
                    </a:lnTo>
                    <a:lnTo>
                      <a:pt x="160" y="795"/>
                    </a:lnTo>
                    <a:lnTo>
                      <a:pt x="162" y="799"/>
                    </a:lnTo>
                    <a:lnTo>
                      <a:pt x="162" y="801"/>
                    </a:lnTo>
                    <a:lnTo>
                      <a:pt x="162" y="801"/>
                    </a:lnTo>
                    <a:lnTo>
                      <a:pt x="164" y="801"/>
                    </a:lnTo>
                    <a:lnTo>
                      <a:pt x="164" y="802"/>
                    </a:lnTo>
                    <a:lnTo>
                      <a:pt x="164" y="802"/>
                    </a:lnTo>
                    <a:lnTo>
                      <a:pt x="166" y="801"/>
                    </a:lnTo>
                    <a:lnTo>
                      <a:pt x="166" y="801"/>
                    </a:lnTo>
                    <a:lnTo>
                      <a:pt x="167" y="802"/>
                    </a:lnTo>
                    <a:lnTo>
                      <a:pt x="169" y="802"/>
                    </a:lnTo>
                    <a:lnTo>
                      <a:pt x="181" y="818"/>
                    </a:lnTo>
                    <a:lnTo>
                      <a:pt x="183" y="820"/>
                    </a:lnTo>
                    <a:lnTo>
                      <a:pt x="186" y="820"/>
                    </a:lnTo>
                    <a:lnTo>
                      <a:pt x="188" y="821"/>
                    </a:lnTo>
                    <a:lnTo>
                      <a:pt x="190" y="821"/>
                    </a:lnTo>
                    <a:lnTo>
                      <a:pt x="190" y="823"/>
                    </a:lnTo>
                    <a:lnTo>
                      <a:pt x="190" y="823"/>
                    </a:lnTo>
                    <a:lnTo>
                      <a:pt x="192" y="825"/>
                    </a:lnTo>
                    <a:lnTo>
                      <a:pt x="192" y="825"/>
                    </a:lnTo>
                    <a:lnTo>
                      <a:pt x="192" y="825"/>
                    </a:lnTo>
                    <a:lnTo>
                      <a:pt x="194" y="825"/>
                    </a:lnTo>
                    <a:lnTo>
                      <a:pt x="196" y="825"/>
                    </a:lnTo>
                    <a:lnTo>
                      <a:pt x="196" y="825"/>
                    </a:lnTo>
                    <a:lnTo>
                      <a:pt x="198" y="827"/>
                    </a:lnTo>
                    <a:lnTo>
                      <a:pt x="200" y="829"/>
                    </a:lnTo>
                    <a:lnTo>
                      <a:pt x="202" y="829"/>
                    </a:lnTo>
                    <a:lnTo>
                      <a:pt x="202" y="829"/>
                    </a:lnTo>
                    <a:lnTo>
                      <a:pt x="204" y="829"/>
                    </a:lnTo>
                    <a:lnTo>
                      <a:pt x="204" y="829"/>
                    </a:lnTo>
                    <a:lnTo>
                      <a:pt x="206" y="829"/>
                    </a:lnTo>
                    <a:lnTo>
                      <a:pt x="206" y="829"/>
                    </a:lnTo>
                    <a:lnTo>
                      <a:pt x="207" y="829"/>
                    </a:lnTo>
                    <a:lnTo>
                      <a:pt x="207" y="829"/>
                    </a:lnTo>
                    <a:lnTo>
                      <a:pt x="209" y="831"/>
                    </a:lnTo>
                    <a:lnTo>
                      <a:pt x="209" y="831"/>
                    </a:lnTo>
                    <a:lnTo>
                      <a:pt x="209" y="835"/>
                    </a:lnTo>
                    <a:lnTo>
                      <a:pt x="211" y="839"/>
                    </a:lnTo>
                    <a:lnTo>
                      <a:pt x="211" y="839"/>
                    </a:lnTo>
                    <a:lnTo>
                      <a:pt x="213" y="841"/>
                    </a:lnTo>
                    <a:lnTo>
                      <a:pt x="215" y="842"/>
                    </a:lnTo>
                    <a:lnTo>
                      <a:pt x="217" y="844"/>
                    </a:lnTo>
                    <a:lnTo>
                      <a:pt x="219" y="844"/>
                    </a:lnTo>
                    <a:lnTo>
                      <a:pt x="221" y="846"/>
                    </a:lnTo>
                    <a:lnTo>
                      <a:pt x="225" y="846"/>
                    </a:lnTo>
                    <a:lnTo>
                      <a:pt x="227" y="846"/>
                    </a:lnTo>
                    <a:lnTo>
                      <a:pt x="234" y="848"/>
                    </a:lnTo>
                    <a:lnTo>
                      <a:pt x="236" y="848"/>
                    </a:lnTo>
                    <a:lnTo>
                      <a:pt x="242" y="844"/>
                    </a:lnTo>
                    <a:lnTo>
                      <a:pt x="246" y="844"/>
                    </a:lnTo>
                    <a:lnTo>
                      <a:pt x="248" y="844"/>
                    </a:lnTo>
                    <a:lnTo>
                      <a:pt x="249" y="844"/>
                    </a:lnTo>
                    <a:lnTo>
                      <a:pt x="249" y="846"/>
                    </a:lnTo>
                    <a:lnTo>
                      <a:pt x="249" y="848"/>
                    </a:lnTo>
                    <a:lnTo>
                      <a:pt x="249" y="854"/>
                    </a:lnTo>
                    <a:lnTo>
                      <a:pt x="249" y="854"/>
                    </a:lnTo>
                    <a:lnTo>
                      <a:pt x="249" y="856"/>
                    </a:lnTo>
                    <a:lnTo>
                      <a:pt x="251" y="858"/>
                    </a:lnTo>
                    <a:lnTo>
                      <a:pt x="253" y="858"/>
                    </a:lnTo>
                    <a:lnTo>
                      <a:pt x="253" y="858"/>
                    </a:lnTo>
                    <a:lnTo>
                      <a:pt x="255" y="856"/>
                    </a:lnTo>
                    <a:lnTo>
                      <a:pt x="255" y="856"/>
                    </a:lnTo>
                    <a:lnTo>
                      <a:pt x="257" y="856"/>
                    </a:lnTo>
                    <a:lnTo>
                      <a:pt x="259" y="856"/>
                    </a:lnTo>
                    <a:lnTo>
                      <a:pt x="259" y="856"/>
                    </a:lnTo>
                    <a:lnTo>
                      <a:pt x="261" y="858"/>
                    </a:lnTo>
                    <a:lnTo>
                      <a:pt x="263" y="858"/>
                    </a:lnTo>
                    <a:lnTo>
                      <a:pt x="263" y="860"/>
                    </a:lnTo>
                    <a:lnTo>
                      <a:pt x="265" y="861"/>
                    </a:lnTo>
                    <a:lnTo>
                      <a:pt x="265" y="863"/>
                    </a:lnTo>
                    <a:lnTo>
                      <a:pt x="265" y="863"/>
                    </a:lnTo>
                    <a:lnTo>
                      <a:pt x="267" y="863"/>
                    </a:lnTo>
                    <a:lnTo>
                      <a:pt x="267" y="863"/>
                    </a:lnTo>
                    <a:lnTo>
                      <a:pt x="268" y="863"/>
                    </a:lnTo>
                    <a:lnTo>
                      <a:pt x="268" y="863"/>
                    </a:lnTo>
                    <a:lnTo>
                      <a:pt x="270" y="863"/>
                    </a:lnTo>
                    <a:lnTo>
                      <a:pt x="270" y="863"/>
                    </a:lnTo>
                    <a:lnTo>
                      <a:pt x="272" y="865"/>
                    </a:lnTo>
                    <a:lnTo>
                      <a:pt x="274" y="869"/>
                    </a:lnTo>
                    <a:lnTo>
                      <a:pt x="276" y="871"/>
                    </a:lnTo>
                    <a:lnTo>
                      <a:pt x="278" y="871"/>
                    </a:lnTo>
                    <a:lnTo>
                      <a:pt x="278" y="871"/>
                    </a:lnTo>
                    <a:lnTo>
                      <a:pt x="282" y="871"/>
                    </a:lnTo>
                    <a:lnTo>
                      <a:pt x="282" y="871"/>
                    </a:lnTo>
                    <a:lnTo>
                      <a:pt x="284" y="871"/>
                    </a:lnTo>
                    <a:lnTo>
                      <a:pt x="284" y="871"/>
                    </a:lnTo>
                    <a:lnTo>
                      <a:pt x="286" y="871"/>
                    </a:lnTo>
                    <a:lnTo>
                      <a:pt x="288" y="871"/>
                    </a:lnTo>
                    <a:lnTo>
                      <a:pt x="288" y="871"/>
                    </a:lnTo>
                    <a:lnTo>
                      <a:pt x="288" y="873"/>
                    </a:lnTo>
                    <a:lnTo>
                      <a:pt x="289" y="875"/>
                    </a:lnTo>
                    <a:lnTo>
                      <a:pt x="289" y="877"/>
                    </a:lnTo>
                    <a:lnTo>
                      <a:pt x="289" y="879"/>
                    </a:lnTo>
                    <a:lnTo>
                      <a:pt x="291" y="882"/>
                    </a:lnTo>
                    <a:lnTo>
                      <a:pt x="291" y="880"/>
                    </a:lnTo>
                    <a:lnTo>
                      <a:pt x="291" y="879"/>
                    </a:lnTo>
                    <a:lnTo>
                      <a:pt x="293" y="879"/>
                    </a:lnTo>
                    <a:lnTo>
                      <a:pt x="293" y="877"/>
                    </a:lnTo>
                    <a:lnTo>
                      <a:pt x="295" y="877"/>
                    </a:lnTo>
                    <a:lnTo>
                      <a:pt x="297" y="875"/>
                    </a:lnTo>
                    <a:lnTo>
                      <a:pt x="299" y="875"/>
                    </a:lnTo>
                    <a:lnTo>
                      <a:pt x="303" y="875"/>
                    </a:lnTo>
                    <a:lnTo>
                      <a:pt x="305" y="877"/>
                    </a:lnTo>
                    <a:lnTo>
                      <a:pt x="307" y="879"/>
                    </a:lnTo>
                    <a:lnTo>
                      <a:pt x="309" y="879"/>
                    </a:lnTo>
                    <a:lnTo>
                      <a:pt x="307" y="882"/>
                    </a:lnTo>
                    <a:lnTo>
                      <a:pt x="307" y="882"/>
                    </a:lnTo>
                    <a:lnTo>
                      <a:pt x="309" y="884"/>
                    </a:lnTo>
                    <a:lnTo>
                      <a:pt x="309" y="884"/>
                    </a:lnTo>
                    <a:lnTo>
                      <a:pt x="310" y="886"/>
                    </a:lnTo>
                    <a:lnTo>
                      <a:pt x="312" y="886"/>
                    </a:lnTo>
                    <a:lnTo>
                      <a:pt x="314" y="886"/>
                    </a:lnTo>
                    <a:lnTo>
                      <a:pt x="333" y="884"/>
                    </a:lnTo>
                    <a:lnTo>
                      <a:pt x="335" y="884"/>
                    </a:lnTo>
                    <a:lnTo>
                      <a:pt x="341" y="886"/>
                    </a:lnTo>
                    <a:lnTo>
                      <a:pt x="343" y="886"/>
                    </a:lnTo>
                    <a:lnTo>
                      <a:pt x="343" y="884"/>
                    </a:lnTo>
                    <a:lnTo>
                      <a:pt x="345" y="877"/>
                    </a:lnTo>
                    <a:lnTo>
                      <a:pt x="349" y="871"/>
                    </a:lnTo>
                    <a:lnTo>
                      <a:pt x="352" y="865"/>
                    </a:lnTo>
                    <a:lnTo>
                      <a:pt x="354" y="863"/>
                    </a:lnTo>
                    <a:lnTo>
                      <a:pt x="356" y="863"/>
                    </a:lnTo>
                    <a:lnTo>
                      <a:pt x="358" y="863"/>
                    </a:lnTo>
                    <a:lnTo>
                      <a:pt x="360" y="863"/>
                    </a:lnTo>
                    <a:lnTo>
                      <a:pt x="362" y="861"/>
                    </a:lnTo>
                    <a:lnTo>
                      <a:pt x="364" y="861"/>
                    </a:lnTo>
                    <a:lnTo>
                      <a:pt x="366" y="861"/>
                    </a:lnTo>
                    <a:lnTo>
                      <a:pt x="368" y="863"/>
                    </a:lnTo>
                    <a:lnTo>
                      <a:pt x="375" y="871"/>
                    </a:lnTo>
                    <a:lnTo>
                      <a:pt x="377" y="871"/>
                    </a:lnTo>
                    <a:lnTo>
                      <a:pt x="377" y="871"/>
                    </a:lnTo>
                    <a:lnTo>
                      <a:pt x="379" y="869"/>
                    </a:lnTo>
                    <a:lnTo>
                      <a:pt x="379" y="867"/>
                    </a:lnTo>
                    <a:lnTo>
                      <a:pt x="379" y="865"/>
                    </a:lnTo>
                    <a:lnTo>
                      <a:pt x="381" y="865"/>
                    </a:lnTo>
                    <a:lnTo>
                      <a:pt x="383" y="865"/>
                    </a:lnTo>
                    <a:lnTo>
                      <a:pt x="387" y="863"/>
                    </a:lnTo>
                    <a:lnTo>
                      <a:pt x="392" y="863"/>
                    </a:lnTo>
                    <a:lnTo>
                      <a:pt x="394" y="863"/>
                    </a:lnTo>
                    <a:lnTo>
                      <a:pt x="396" y="863"/>
                    </a:lnTo>
                    <a:lnTo>
                      <a:pt x="396" y="861"/>
                    </a:lnTo>
                    <a:lnTo>
                      <a:pt x="398" y="863"/>
                    </a:lnTo>
                    <a:lnTo>
                      <a:pt x="400" y="863"/>
                    </a:lnTo>
                    <a:lnTo>
                      <a:pt x="402" y="863"/>
                    </a:lnTo>
                    <a:lnTo>
                      <a:pt x="402" y="863"/>
                    </a:lnTo>
                    <a:lnTo>
                      <a:pt x="406" y="865"/>
                    </a:lnTo>
                    <a:lnTo>
                      <a:pt x="408" y="867"/>
                    </a:lnTo>
                    <a:lnTo>
                      <a:pt x="410" y="867"/>
                    </a:lnTo>
                    <a:lnTo>
                      <a:pt x="412" y="865"/>
                    </a:lnTo>
                    <a:lnTo>
                      <a:pt x="415" y="865"/>
                    </a:lnTo>
                    <a:lnTo>
                      <a:pt x="417" y="865"/>
                    </a:lnTo>
                    <a:lnTo>
                      <a:pt x="419" y="863"/>
                    </a:lnTo>
                    <a:lnTo>
                      <a:pt x="419" y="861"/>
                    </a:lnTo>
                    <a:lnTo>
                      <a:pt x="423" y="854"/>
                    </a:lnTo>
                    <a:lnTo>
                      <a:pt x="423" y="852"/>
                    </a:lnTo>
                    <a:lnTo>
                      <a:pt x="425" y="850"/>
                    </a:lnTo>
                    <a:lnTo>
                      <a:pt x="425" y="848"/>
                    </a:lnTo>
                    <a:lnTo>
                      <a:pt x="429" y="848"/>
                    </a:lnTo>
                    <a:lnTo>
                      <a:pt x="429" y="846"/>
                    </a:lnTo>
                    <a:lnTo>
                      <a:pt x="442" y="846"/>
                    </a:lnTo>
                    <a:lnTo>
                      <a:pt x="446" y="844"/>
                    </a:lnTo>
                    <a:lnTo>
                      <a:pt x="446" y="844"/>
                    </a:lnTo>
                    <a:lnTo>
                      <a:pt x="448" y="844"/>
                    </a:lnTo>
                    <a:lnTo>
                      <a:pt x="448" y="842"/>
                    </a:lnTo>
                    <a:lnTo>
                      <a:pt x="450" y="839"/>
                    </a:lnTo>
                    <a:lnTo>
                      <a:pt x="453" y="835"/>
                    </a:lnTo>
                    <a:lnTo>
                      <a:pt x="455" y="831"/>
                    </a:lnTo>
                    <a:lnTo>
                      <a:pt x="457" y="831"/>
                    </a:lnTo>
                    <a:lnTo>
                      <a:pt x="457" y="829"/>
                    </a:lnTo>
                    <a:lnTo>
                      <a:pt x="459" y="829"/>
                    </a:lnTo>
                    <a:lnTo>
                      <a:pt x="459" y="827"/>
                    </a:lnTo>
                    <a:lnTo>
                      <a:pt x="459" y="827"/>
                    </a:lnTo>
                    <a:lnTo>
                      <a:pt x="459" y="827"/>
                    </a:lnTo>
                    <a:lnTo>
                      <a:pt x="461" y="827"/>
                    </a:lnTo>
                    <a:lnTo>
                      <a:pt x="461" y="825"/>
                    </a:lnTo>
                    <a:lnTo>
                      <a:pt x="461" y="825"/>
                    </a:lnTo>
                    <a:lnTo>
                      <a:pt x="461" y="823"/>
                    </a:lnTo>
                    <a:lnTo>
                      <a:pt x="461" y="823"/>
                    </a:lnTo>
                    <a:lnTo>
                      <a:pt x="461" y="821"/>
                    </a:lnTo>
                    <a:lnTo>
                      <a:pt x="457" y="816"/>
                    </a:lnTo>
                    <a:lnTo>
                      <a:pt x="455" y="816"/>
                    </a:lnTo>
                    <a:lnTo>
                      <a:pt x="455" y="816"/>
                    </a:lnTo>
                    <a:lnTo>
                      <a:pt x="452" y="814"/>
                    </a:lnTo>
                    <a:lnTo>
                      <a:pt x="448" y="812"/>
                    </a:lnTo>
                    <a:lnTo>
                      <a:pt x="427" y="812"/>
                    </a:lnTo>
                    <a:lnTo>
                      <a:pt x="425" y="812"/>
                    </a:lnTo>
                    <a:lnTo>
                      <a:pt x="425" y="812"/>
                    </a:lnTo>
                    <a:lnTo>
                      <a:pt x="425" y="810"/>
                    </a:lnTo>
                    <a:lnTo>
                      <a:pt x="425" y="808"/>
                    </a:lnTo>
                    <a:lnTo>
                      <a:pt x="423" y="806"/>
                    </a:lnTo>
                    <a:lnTo>
                      <a:pt x="423" y="806"/>
                    </a:lnTo>
                    <a:lnTo>
                      <a:pt x="423" y="804"/>
                    </a:lnTo>
                    <a:lnTo>
                      <a:pt x="423" y="804"/>
                    </a:lnTo>
                    <a:lnTo>
                      <a:pt x="425" y="802"/>
                    </a:lnTo>
                    <a:lnTo>
                      <a:pt x="425" y="802"/>
                    </a:lnTo>
                    <a:lnTo>
                      <a:pt x="431" y="799"/>
                    </a:lnTo>
                    <a:lnTo>
                      <a:pt x="434" y="795"/>
                    </a:lnTo>
                    <a:lnTo>
                      <a:pt x="436" y="793"/>
                    </a:lnTo>
                    <a:lnTo>
                      <a:pt x="438" y="791"/>
                    </a:lnTo>
                    <a:lnTo>
                      <a:pt x="440" y="789"/>
                    </a:lnTo>
                    <a:lnTo>
                      <a:pt x="440" y="787"/>
                    </a:lnTo>
                    <a:lnTo>
                      <a:pt x="442" y="780"/>
                    </a:lnTo>
                    <a:lnTo>
                      <a:pt x="442" y="778"/>
                    </a:lnTo>
                    <a:lnTo>
                      <a:pt x="442" y="776"/>
                    </a:lnTo>
                    <a:lnTo>
                      <a:pt x="440" y="776"/>
                    </a:lnTo>
                    <a:lnTo>
                      <a:pt x="440" y="776"/>
                    </a:lnTo>
                    <a:lnTo>
                      <a:pt x="438" y="776"/>
                    </a:lnTo>
                    <a:lnTo>
                      <a:pt x="438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2"/>
                    </a:lnTo>
                    <a:lnTo>
                      <a:pt x="436" y="772"/>
                    </a:lnTo>
                    <a:lnTo>
                      <a:pt x="436" y="770"/>
                    </a:lnTo>
                    <a:lnTo>
                      <a:pt x="436" y="768"/>
                    </a:lnTo>
                    <a:lnTo>
                      <a:pt x="436" y="766"/>
                    </a:lnTo>
                    <a:lnTo>
                      <a:pt x="436" y="764"/>
                    </a:lnTo>
                    <a:lnTo>
                      <a:pt x="438" y="759"/>
                    </a:lnTo>
                    <a:lnTo>
                      <a:pt x="440" y="753"/>
                    </a:lnTo>
                    <a:lnTo>
                      <a:pt x="444" y="751"/>
                    </a:lnTo>
                    <a:lnTo>
                      <a:pt x="444" y="751"/>
                    </a:lnTo>
                    <a:lnTo>
                      <a:pt x="446" y="751"/>
                    </a:lnTo>
                    <a:lnTo>
                      <a:pt x="448" y="753"/>
                    </a:lnTo>
                    <a:lnTo>
                      <a:pt x="450" y="753"/>
                    </a:lnTo>
                    <a:lnTo>
                      <a:pt x="452" y="753"/>
                    </a:lnTo>
                    <a:lnTo>
                      <a:pt x="452" y="751"/>
                    </a:lnTo>
                    <a:lnTo>
                      <a:pt x="457" y="749"/>
                    </a:lnTo>
                    <a:lnTo>
                      <a:pt x="459" y="747"/>
                    </a:lnTo>
                    <a:lnTo>
                      <a:pt x="459" y="747"/>
                    </a:lnTo>
                    <a:lnTo>
                      <a:pt x="461" y="747"/>
                    </a:lnTo>
                    <a:lnTo>
                      <a:pt x="461" y="745"/>
                    </a:lnTo>
                    <a:lnTo>
                      <a:pt x="459" y="745"/>
                    </a:lnTo>
                    <a:lnTo>
                      <a:pt x="459" y="743"/>
                    </a:lnTo>
                    <a:lnTo>
                      <a:pt x="459" y="743"/>
                    </a:lnTo>
                    <a:lnTo>
                      <a:pt x="459" y="742"/>
                    </a:lnTo>
                    <a:lnTo>
                      <a:pt x="459" y="742"/>
                    </a:lnTo>
                    <a:lnTo>
                      <a:pt x="461" y="738"/>
                    </a:lnTo>
                    <a:lnTo>
                      <a:pt x="463" y="736"/>
                    </a:lnTo>
                    <a:lnTo>
                      <a:pt x="465" y="728"/>
                    </a:lnTo>
                    <a:lnTo>
                      <a:pt x="471" y="726"/>
                    </a:lnTo>
                    <a:lnTo>
                      <a:pt x="476" y="726"/>
                    </a:lnTo>
                    <a:lnTo>
                      <a:pt x="478" y="726"/>
                    </a:lnTo>
                    <a:lnTo>
                      <a:pt x="478" y="728"/>
                    </a:lnTo>
                    <a:lnTo>
                      <a:pt x="480" y="728"/>
                    </a:lnTo>
                    <a:lnTo>
                      <a:pt x="482" y="730"/>
                    </a:lnTo>
                    <a:lnTo>
                      <a:pt x="482" y="730"/>
                    </a:lnTo>
                    <a:lnTo>
                      <a:pt x="484" y="732"/>
                    </a:lnTo>
                    <a:lnTo>
                      <a:pt x="486" y="734"/>
                    </a:lnTo>
                    <a:lnTo>
                      <a:pt x="486" y="736"/>
                    </a:lnTo>
                    <a:lnTo>
                      <a:pt x="488" y="736"/>
                    </a:lnTo>
                    <a:lnTo>
                      <a:pt x="490" y="736"/>
                    </a:lnTo>
                    <a:lnTo>
                      <a:pt x="490" y="736"/>
                    </a:lnTo>
                    <a:lnTo>
                      <a:pt x="492" y="734"/>
                    </a:lnTo>
                    <a:lnTo>
                      <a:pt x="492" y="734"/>
                    </a:lnTo>
                    <a:lnTo>
                      <a:pt x="492" y="732"/>
                    </a:lnTo>
                    <a:lnTo>
                      <a:pt x="494" y="730"/>
                    </a:lnTo>
                    <a:lnTo>
                      <a:pt x="495" y="730"/>
                    </a:lnTo>
                    <a:lnTo>
                      <a:pt x="497" y="730"/>
                    </a:lnTo>
                    <a:lnTo>
                      <a:pt x="501" y="734"/>
                    </a:lnTo>
                    <a:lnTo>
                      <a:pt x="507" y="738"/>
                    </a:lnTo>
                    <a:lnTo>
                      <a:pt x="511" y="740"/>
                    </a:lnTo>
                    <a:lnTo>
                      <a:pt x="518" y="742"/>
                    </a:lnTo>
                    <a:lnTo>
                      <a:pt x="520" y="740"/>
                    </a:lnTo>
                    <a:lnTo>
                      <a:pt x="520" y="740"/>
                    </a:lnTo>
                    <a:lnTo>
                      <a:pt x="520" y="738"/>
                    </a:lnTo>
                    <a:lnTo>
                      <a:pt x="520" y="736"/>
                    </a:lnTo>
                    <a:lnTo>
                      <a:pt x="520" y="732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2" y="728"/>
                    </a:lnTo>
                    <a:lnTo>
                      <a:pt x="522" y="728"/>
                    </a:lnTo>
                    <a:lnTo>
                      <a:pt x="524" y="730"/>
                    </a:lnTo>
                    <a:lnTo>
                      <a:pt x="524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8" y="728"/>
                    </a:lnTo>
                    <a:lnTo>
                      <a:pt x="528" y="728"/>
                    </a:lnTo>
                    <a:lnTo>
                      <a:pt x="530" y="728"/>
                    </a:lnTo>
                    <a:lnTo>
                      <a:pt x="530" y="728"/>
                    </a:lnTo>
                    <a:lnTo>
                      <a:pt x="530" y="728"/>
                    </a:lnTo>
                    <a:lnTo>
                      <a:pt x="532" y="728"/>
                    </a:lnTo>
                    <a:lnTo>
                      <a:pt x="532" y="728"/>
                    </a:lnTo>
                    <a:lnTo>
                      <a:pt x="532" y="726"/>
                    </a:lnTo>
                    <a:lnTo>
                      <a:pt x="532" y="724"/>
                    </a:lnTo>
                    <a:lnTo>
                      <a:pt x="534" y="723"/>
                    </a:lnTo>
                    <a:lnTo>
                      <a:pt x="534" y="723"/>
                    </a:lnTo>
                    <a:lnTo>
                      <a:pt x="534" y="721"/>
                    </a:lnTo>
                    <a:lnTo>
                      <a:pt x="535" y="721"/>
                    </a:lnTo>
                    <a:lnTo>
                      <a:pt x="535" y="721"/>
                    </a:lnTo>
                    <a:lnTo>
                      <a:pt x="535" y="723"/>
                    </a:lnTo>
                    <a:lnTo>
                      <a:pt x="537" y="723"/>
                    </a:lnTo>
                    <a:lnTo>
                      <a:pt x="545" y="728"/>
                    </a:lnTo>
                    <a:lnTo>
                      <a:pt x="547" y="728"/>
                    </a:lnTo>
                    <a:lnTo>
                      <a:pt x="547" y="728"/>
                    </a:lnTo>
                    <a:lnTo>
                      <a:pt x="549" y="728"/>
                    </a:lnTo>
                    <a:lnTo>
                      <a:pt x="549" y="726"/>
                    </a:lnTo>
                    <a:lnTo>
                      <a:pt x="549" y="724"/>
                    </a:lnTo>
                    <a:lnTo>
                      <a:pt x="547" y="723"/>
                    </a:lnTo>
                    <a:lnTo>
                      <a:pt x="545" y="721"/>
                    </a:lnTo>
                    <a:lnTo>
                      <a:pt x="543" y="721"/>
                    </a:lnTo>
                    <a:lnTo>
                      <a:pt x="541" y="721"/>
                    </a:lnTo>
                    <a:lnTo>
                      <a:pt x="541" y="719"/>
                    </a:lnTo>
                    <a:lnTo>
                      <a:pt x="541" y="719"/>
                    </a:lnTo>
                    <a:lnTo>
                      <a:pt x="541" y="717"/>
                    </a:lnTo>
                    <a:lnTo>
                      <a:pt x="545" y="713"/>
                    </a:lnTo>
                    <a:lnTo>
                      <a:pt x="547" y="711"/>
                    </a:lnTo>
                    <a:lnTo>
                      <a:pt x="547" y="711"/>
                    </a:lnTo>
                    <a:lnTo>
                      <a:pt x="547" y="709"/>
                    </a:lnTo>
                    <a:lnTo>
                      <a:pt x="547" y="707"/>
                    </a:lnTo>
                    <a:lnTo>
                      <a:pt x="549" y="705"/>
                    </a:lnTo>
                    <a:lnTo>
                      <a:pt x="549" y="705"/>
                    </a:lnTo>
                    <a:lnTo>
                      <a:pt x="549" y="704"/>
                    </a:lnTo>
                    <a:lnTo>
                      <a:pt x="553" y="704"/>
                    </a:lnTo>
                    <a:lnTo>
                      <a:pt x="553" y="702"/>
                    </a:lnTo>
                    <a:lnTo>
                      <a:pt x="555" y="702"/>
                    </a:lnTo>
                    <a:lnTo>
                      <a:pt x="555" y="700"/>
                    </a:lnTo>
                    <a:lnTo>
                      <a:pt x="555" y="698"/>
                    </a:lnTo>
                    <a:lnTo>
                      <a:pt x="555" y="694"/>
                    </a:lnTo>
                    <a:lnTo>
                      <a:pt x="555" y="692"/>
                    </a:lnTo>
                    <a:lnTo>
                      <a:pt x="556" y="692"/>
                    </a:lnTo>
                    <a:lnTo>
                      <a:pt x="558" y="690"/>
                    </a:lnTo>
                    <a:lnTo>
                      <a:pt x="558" y="688"/>
                    </a:lnTo>
                    <a:lnTo>
                      <a:pt x="560" y="686"/>
                    </a:lnTo>
                    <a:lnTo>
                      <a:pt x="560" y="684"/>
                    </a:lnTo>
                    <a:lnTo>
                      <a:pt x="560" y="683"/>
                    </a:lnTo>
                    <a:lnTo>
                      <a:pt x="560" y="683"/>
                    </a:lnTo>
                    <a:lnTo>
                      <a:pt x="560" y="683"/>
                    </a:lnTo>
                    <a:lnTo>
                      <a:pt x="560" y="681"/>
                    </a:lnTo>
                    <a:lnTo>
                      <a:pt x="560" y="681"/>
                    </a:lnTo>
                    <a:lnTo>
                      <a:pt x="560" y="677"/>
                    </a:lnTo>
                    <a:lnTo>
                      <a:pt x="560" y="677"/>
                    </a:lnTo>
                    <a:lnTo>
                      <a:pt x="560" y="675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3" name="Freeform 25">
                <a:extLst>
                  <a:ext uri="{FF2B5EF4-FFF2-40B4-BE49-F238E27FC236}">
                    <a16:creationId xmlns:a16="http://schemas.microsoft.com/office/drawing/2014/main" id="{165F568F-25E3-4D8E-9A31-13262E7E6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6857" y="4174011"/>
                <a:ext cx="908050" cy="725488"/>
              </a:xfrm>
              <a:custGeom>
                <a:avLst/>
                <a:gdLst>
                  <a:gd name="T0" fmla="*/ 568 w 572"/>
                  <a:gd name="T1" fmla="*/ 80 h 457"/>
                  <a:gd name="T2" fmla="*/ 568 w 572"/>
                  <a:gd name="T3" fmla="*/ 65 h 457"/>
                  <a:gd name="T4" fmla="*/ 557 w 572"/>
                  <a:gd name="T5" fmla="*/ 25 h 457"/>
                  <a:gd name="T6" fmla="*/ 532 w 572"/>
                  <a:gd name="T7" fmla="*/ 4 h 457"/>
                  <a:gd name="T8" fmla="*/ 507 w 572"/>
                  <a:gd name="T9" fmla="*/ 19 h 457"/>
                  <a:gd name="T10" fmla="*/ 482 w 572"/>
                  <a:gd name="T11" fmla="*/ 38 h 457"/>
                  <a:gd name="T12" fmla="*/ 469 w 572"/>
                  <a:gd name="T13" fmla="*/ 91 h 457"/>
                  <a:gd name="T14" fmla="*/ 433 w 572"/>
                  <a:gd name="T15" fmla="*/ 105 h 457"/>
                  <a:gd name="T16" fmla="*/ 395 w 572"/>
                  <a:gd name="T17" fmla="*/ 127 h 457"/>
                  <a:gd name="T18" fmla="*/ 372 w 572"/>
                  <a:gd name="T19" fmla="*/ 114 h 457"/>
                  <a:gd name="T20" fmla="*/ 341 w 572"/>
                  <a:gd name="T21" fmla="*/ 86 h 457"/>
                  <a:gd name="T22" fmla="*/ 298 w 572"/>
                  <a:gd name="T23" fmla="*/ 82 h 457"/>
                  <a:gd name="T24" fmla="*/ 284 w 572"/>
                  <a:gd name="T25" fmla="*/ 107 h 457"/>
                  <a:gd name="T26" fmla="*/ 244 w 572"/>
                  <a:gd name="T27" fmla="*/ 116 h 457"/>
                  <a:gd name="T28" fmla="*/ 219 w 572"/>
                  <a:gd name="T29" fmla="*/ 129 h 457"/>
                  <a:gd name="T30" fmla="*/ 183 w 572"/>
                  <a:gd name="T31" fmla="*/ 114 h 457"/>
                  <a:gd name="T32" fmla="*/ 156 w 572"/>
                  <a:gd name="T33" fmla="*/ 131 h 457"/>
                  <a:gd name="T34" fmla="*/ 130 w 572"/>
                  <a:gd name="T35" fmla="*/ 129 h 457"/>
                  <a:gd name="T36" fmla="*/ 114 w 572"/>
                  <a:gd name="T37" fmla="*/ 110 h 457"/>
                  <a:gd name="T38" fmla="*/ 103 w 572"/>
                  <a:gd name="T39" fmla="*/ 114 h 457"/>
                  <a:gd name="T40" fmla="*/ 82 w 572"/>
                  <a:gd name="T41" fmla="*/ 101 h 457"/>
                  <a:gd name="T42" fmla="*/ 46 w 572"/>
                  <a:gd name="T43" fmla="*/ 114 h 457"/>
                  <a:gd name="T44" fmla="*/ 13 w 572"/>
                  <a:gd name="T45" fmla="*/ 129 h 457"/>
                  <a:gd name="T46" fmla="*/ 8 w 572"/>
                  <a:gd name="T47" fmla="*/ 165 h 457"/>
                  <a:gd name="T48" fmla="*/ 50 w 572"/>
                  <a:gd name="T49" fmla="*/ 215 h 457"/>
                  <a:gd name="T50" fmla="*/ 61 w 572"/>
                  <a:gd name="T51" fmla="*/ 240 h 457"/>
                  <a:gd name="T52" fmla="*/ 76 w 572"/>
                  <a:gd name="T53" fmla="*/ 234 h 457"/>
                  <a:gd name="T54" fmla="*/ 78 w 572"/>
                  <a:gd name="T55" fmla="*/ 255 h 457"/>
                  <a:gd name="T56" fmla="*/ 86 w 572"/>
                  <a:gd name="T57" fmla="*/ 268 h 457"/>
                  <a:gd name="T58" fmla="*/ 99 w 572"/>
                  <a:gd name="T59" fmla="*/ 322 h 457"/>
                  <a:gd name="T60" fmla="*/ 114 w 572"/>
                  <a:gd name="T61" fmla="*/ 320 h 457"/>
                  <a:gd name="T62" fmla="*/ 124 w 572"/>
                  <a:gd name="T63" fmla="*/ 341 h 457"/>
                  <a:gd name="T64" fmla="*/ 95 w 572"/>
                  <a:gd name="T65" fmla="*/ 369 h 457"/>
                  <a:gd name="T66" fmla="*/ 99 w 572"/>
                  <a:gd name="T67" fmla="*/ 398 h 457"/>
                  <a:gd name="T68" fmla="*/ 147 w 572"/>
                  <a:gd name="T69" fmla="*/ 403 h 457"/>
                  <a:gd name="T70" fmla="*/ 198 w 572"/>
                  <a:gd name="T71" fmla="*/ 398 h 457"/>
                  <a:gd name="T72" fmla="*/ 210 w 572"/>
                  <a:gd name="T73" fmla="*/ 434 h 457"/>
                  <a:gd name="T74" fmla="*/ 236 w 572"/>
                  <a:gd name="T75" fmla="*/ 451 h 457"/>
                  <a:gd name="T76" fmla="*/ 298 w 572"/>
                  <a:gd name="T77" fmla="*/ 443 h 457"/>
                  <a:gd name="T78" fmla="*/ 307 w 572"/>
                  <a:gd name="T79" fmla="*/ 453 h 457"/>
                  <a:gd name="T80" fmla="*/ 330 w 572"/>
                  <a:gd name="T81" fmla="*/ 422 h 457"/>
                  <a:gd name="T82" fmla="*/ 330 w 572"/>
                  <a:gd name="T83" fmla="*/ 386 h 457"/>
                  <a:gd name="T84" fmla="*/ 376 w 572"/>
                  <a:gd name="T85" fmla="*/ 407 h 457"/>
                  <a:gd name="T86" fmla="*/ 425 w 572"/>
                  <a:gd name="T87" fmla="*/ 422 h 457"/>
                  <a:gd name="T88" fmla="*/ 435 w 572"/>
                  <a:gd name="T89" fmla="*/ 405 h 457"/>
                  <a:gd name="T90" fmla="*/ 429 w 572"/>
                  <a:gd name="T91" fmla="*/ 386 h 457"/>
                  <a:gd name="T92" fmla="*/ 397 w 572"/>
                  <a:gd name="T93" fmla="*/ 354 h 457"/>
                  <a:gd name="T94" fmla="*/ 389 w 572"/>
                  <a:gd name="T95" fmla="*/ 325 h 457"/>
                  <a:gd name="T96" fmla="*/ 374 w 572"/>
                  <a:gd name="T97" fmla="*/ 318 h 457"/>
                  <a:gd name="T98" fmla="*/ 318 w 572"/>
                  <a:gd name="T99" fmla="*/ 295 h 457"/>
                  <a:gd name="T100" fmla="*/ 315 w 572"/>
                  <a:gd name="T101" fmla="*/ 261 h 457"/>
                  <a:gd name="T102" fmla="*/ 334 w 572"/>
                  <a:gd name="T103" fmla="*/ 242 h 457"/>
                  <a:gd name="T104" fmla="*/ 355 w 572"/>
                  <a:gd name="T105" fmla="*/ 253 h 457"/>
                  <a:gd name="T106" fmla="*/ 378 w 572"/>
                  <a:gd name="T107" fmla="*/ 245 h 457"/>
                  <a:gd name="T108" fmla="*/ 437 w 572"/>
                  <a:gd name="T109" fmla="*/ 207 h 457"/>
                  <a:gd name="T110" fmla="*/ 462 w 572"/>
                  <a:gd name="T111" fmla="*/ 202 h 457"/>
                  <a:gd name="T112" fmla="*/ 482 w 572"/>
                  <a:gd name="T113" fmla="*/ 200 h 457"/>
                  <a:gd name="T114" fmla="*/ 494 w 572"/>
                  <a:gd name="T115" fmla="*/ 188 h 457"/>
                  <a:gd name="T116" fmla="*/ 502 w 572"/>
                  <a:gd name="T117" fmla="*/ 183 h 457"/>
                  <a:gd name="T118" fmla="*/ 524 w 572"/>
                  <a:gd name="T119" fmla="*/ 164 h 457"/>
                  <a:gd name="T120" fmla="*/ 540 w 572"/>
                  <a:gd name="T121" fmla="*/ 152 h 457"/>
                  <a:gd name="T122" fmla="*/ 557 w 572"/>
                  <a:gd name="T123" fmla="*/ 120 h 457"/>
                  <a:gd name="T124" fmla="*/ 555 w 572"/>
                  <a:gd name="T125" fmla="*/ 101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2" h="457">
                    <a:moveTo>
                      <a:pt x="572" y="97"/>
                    </a:moveTo>
                    <a:lnTo>
                      <a:pt x="570" y="97"/>
                    </a:lnTo>
                    <a:lnTo>
                      <a:pt x="570" y="97"/>
                    </a:lnTo>
                    <a:lnTo>
                      <a:pt x="568" y="95"/>
                    </a:lnTo>
                    <a:lnTo>
                      <a:pt x="570" y="95"/>
                    </a:lnTo>
                    <a:lnTo>
                      <a:pt x="570" y="93"/>
                    </a:lnTo>
                    <a:lnTo>
                      <a:pt x="572" y="93"/>
                    </a:lnTo>
                    <a:lnTo>
                      <a:pt x="572" y="93"/>
                    </a:lnTo>
                    <a:lnTo>
                      <a:pt x="572" y="91"/>
                    </a:lnTo>
                    <a:lnTo>
                      <a:pt x="572" y="89"/>
                    </a:lnTo>
                    <a:lnTo>
                      <a:pt x="570" y="89"/>
                    </a:lnTo>
                    <a:lnTo>
                      <a:pt x="570" y="87"/>
                    </a:lnTo>
                    <a:lnTo>
                      <a:pt x="570" y="87"/>
                    </a:lnTo>
                    <a:lnTo>
                      <a:pt x="570" y="86"/>
                    </a:lnTo>
                    <a:lnTo>
                      <a:pt x="570" y="84"/>
                    </a:lnTo>
                    <a:lnTo>
                      <a:pt x="568" y="82"/>
                    </a:lnTo>
                    <a:lnTo>
                      <a:pt x="568" y="80"/>
                    </a:lnTo>
                    <a:lnTo>
                      <a:pt x="568" y="80"/>
                    </a:lnTo>
                    <a:lnTo>
                      <a:pt x="566" y="80"/>
                    </a:lnTo>
                    <a:lnTo>
                      <a:pt x="564" y="78"/>
                    </a:lnTo>
                    <a:lnTo>
                      <a:pt x="563" y="78"/>
                    </a:lnTo>
                    <a:lnTo>
                      <a:pt x="563" y="78"/>
                    </a:lnTo>
                    <a:lnTo>
                      <a:pt x="563" y="76"/>
                    </a:lnTo>
                    <a:lnTo>
                      <a:pt x="561" y="76"/>
                    </a:lnTo>
                    <a:lnTo>
                      <a:pt x="563" y="74"/>
                    </a:lnTo>
                    <a:lnTo>
                      <a:pt x="563" y="74"/>
                    </a:lnTo>
                    <a:lnTo>
                      <a:pt x="564" y="74"/>
                    </a:lnTo>
                    <a:lnTo>
                      <a:pt x="564" y="74"/>
                    </a:lnTo>
                    <a:lnTo>
                      <a:pt x="566" y="74"/>
                    </a:lnTo>
                    <a:lnTo>
                      <a:pt x="566" y="74"/>
                    </a:lnTo>
                    <a:lnTo>
                      <a:pt x="566" y="74"/>
                    </a:lnTo>
                    <a:lnTo>
                      <a:pt x="568" y="72"/>
                    </a:lnTo>
                    <a:lnTo>
                      <a:pt x="568" y="67"/>
                    </a:lnTo>
                    <a:lnTo>
                      <a:pt x="568" y="65"/>
                    </a:lnTo>
                    <a:lnTo>
                      <a:pt x="570" y="63"/>
                    </a:lnTo>
                    <a:lnTo>
                      <a:pt x="570" y="61"/>
                    </a:lnTo>
                    <a:lnTo>
                      <a:pt x="570" y="57"/>
                    </a:lnTo>
                    <a:lnTo>
                      <a:pt x="570" y="53"/>
                    </a:lnTo>
                    <a:lnTo>
                      <a:pt x="568" y="44"/>
                    </a:lnTo>
                    <a:lnTo>
                      <a:pt x="566" y="42"/>
                    </a:lnTo>
                    <a:lnTo>
                      <a:pt x="566" y="40"/>
                    </a:lnTo>
                    <a:lnTo>
                      <a:pt x="564" y="40"/>
                    </a:lnTo>
                    <a:lnTo>
                      <a:pt x="561" y="34"/>
                    </a:lnTo>
                    <a:lnTo>
                      <a:pt x="559" y="34"/>
                    </a:lnTo>
                    <a:lnTo>
                      <a:pt x="559" y="34"/>
                    </a:lnTo>
                    <a:lnTo>
                      <a:pt x="557" y="32"/>
                    </a:lnTo>
                    <a:lnTo>
                      <a:pt x="557" y="32"/>
                    </a:lnTo>
                    <a:lnTo>
                      <a:pt x="557" y="30"/>
                    </a:lnTo>
                    <a:lnTo>
                      <a:pt x="557" y="29"/>
                    </a:lnTo>
                    <a:lnTo>
                      <a:pt x="557" y="29"/>
                    </a:lnTo>
                    <a:lnTo>
                      <a:pt x="557" y="25"/>
                    </a:lnTo>
                    <a:lnTo>
                      <a:pt x="557" y="23"/>
                    </a:lnTo>
                    <a:lnTo>
                      <a:pt x="557" y="21"/>
                    </a:lnTo>
                    <a:lnTo>
                      <a:pt x="557" y="21"/>
                    </a:lnTo>
                    <a:lnTo>
                      <a:pt x="557" y="19"/>
                    </a:lnTo>
                    <a:lnTo>
                      <a:pt x="559" y="17"/>
                    </a:lnTo>
                    <a:lnTo>
                      <a:pt x="559" y="15"/>
                    </a:lnTo>
                    <a:lnTo>
                      <a:pt x="557" y="13"/>
                    </a:lnTo>
                    <a:lnTo>
                      <a:pt x="557" y="13"/>
                    </a:lnTo>
                    <a:lnTo>
                      <a:pt x="555" y="11"/>
                    </a:lnTo>
                    <a:lnTo>
                      <a:pt x="553" y="11"/>
                    </a:lnTo>
                    <a:lnTo>
                      <a:pt x="551" y="11"/>
                    </a:lnTo>
                    <a:lnTo>
                      <a:pt x="545" y="11"/>
                    </a:lnTo>
                    <a:lnTo>
                      <a:pt x="542" y="9"/>
                    </a:lnTo>
                    <a:lnTo>
                      <a:pt x="534" y="9"/>
                    </a:lnTo>
                    <a:lnTo>
                      <a:pt x="534" y="8"/>
                    </a:lnTo>
                    <a:lnTo>
                      <a:pt x="532" y="6"/>
                    </a:lnTo>
                    <a:lnTo>
                      <a:pt x="532" y="4"/>
                    </a:lnTo>
                    <a:lnTo>
                      <a:pt x="530" y="2"/>
                    </a:lnTo>
                    <a:lnTo>
                      <a:pt x="528" y="2"/>
                    </a:lnTo>
                    <a:lnTo>
                      <a:pt x="528" y="2"/>
                    </a:lnTo>
                    <a:lnTo>
                      <a:pt x="526" y="2"/>
                    </a:lnTo>
                    <a:lnTo>
                      <a:pt x="526" y="0"/>
                    </a:lnTo>
                    <a:lnTo>
                      <a:pt x="524" y="2"/>
                    </a:lnTo>
                    <a:lnTo>
                      <a:pt x="519" y="6"/>
                    </a:lnTo>
                    <a:lnTo>
                      <a:pt x="517" y="9"/>
                    </a:lnTo>
                    <a:lnTo>
                      <a:pt x="517" y="11"/>
                    </a:lnTo>
                    <a:lnTo>
                      <a:pt x="517" y="11"/>
                    </a:lnTo>
                    <a:lnTo>
                      <a:pt x="515" y="13"/>
                    </a:lnTo>
                    <a:lnTo>
                      <a:pt x="515" y="13"/>
                    </a:lnTo>
                    <a:lnTo>
                      <a:pt x="513" y="17"/>
                    </a:lnTo>
                    <a:lnTo>
                      <a:pt x="513" y="19"/>
                    </a:lnTo>
                    <a:lnTo>
                      <a:pt x="511" y="21"/>
                    </a:lnTo>
                    <a:lnTo>
                      <a:pt x="509" y="21"/>
                    </a:lnTo>
                    <a:lnTo>
                      <a:pt x="507" y="19"/>
                    </a:lnTo>
                    <a:lnTo>
                      <a:pt x="505" y="19"/>
                    </a:lnTo>
                    <a:lnTo>
                      <a:pt x="503" y="19"/>
                    </a:lnTo>
                    <a:lnTo>
                      <a:pt x="503" y="19"/>
                    </a:lnTo>
                    <a:lnTo>
                      <a:pt x="503" y="19"/>
                    </a:lnTo>
                    <a:lnTo>
                      <a:pt x="502" y="19"/>
                    </a:lnTo>
                    <a:lnTo>
                      <a:pt x="500" y="19"/>
                    </a:lnTo>
                    <a:lnTo>
                      <a:pt x="498" y="21"/>
                    </a:lnTo>
                    <a:lnTo>
                      <a:pt x="496" y="21"/>
                    </a:lnTo>
                    <a:lnTo>
                      <a:pt x="496" y="25"/>
                    </a:lnTo>
                    <a:lnTo>
                      <a:pt x="496" y="27"/>
                    </a:lnTo>
                    <a:lnTo>
                      <a:pt x="494" y="36"/>
                    </a:lnTo>
                    <a:lnTo>
                      <a:pt x="492" y="36"/>
                    </a:lnTo>
                    <a:lnTo>
                      <a:pt x="492" y="36"/>
                    </a:lnTo>
                    <a:lnTo>
                      <a:pt x="488" y="36"/>
                    </a:lnTo>
                    <a:lnTo>
                      <a:pt x="486" y="36"/>
                    </a:lnTo>
                    <a:lnTo>
                      <a:pt x="482" y="36"/>
                    </a:lnTo>
                    <a:lnTo>
                      <a:pt x="482" y="38"/>
                    </a:lnTo>
                    <a:lnTo>
                      <a:pt x="479" y="42"/>
                    </a:lnTo>
                    <a:lnTo>
                      <a:pt x="477" y="46"/>
                    </a:lnTo>
                    <a:lnTo>
                      <a:pt x="475" y="48"/>
                    </a:lnTo>
                    <a:lnTo>
                      <a:pt x="475" y="49"/>
                    </a:lnTo>
                    <a:lnTo>
                      <a:pt x="475" y="65"/>
                    </a:lnTo>
                    <a:lnTo>
                      <a:pt x="475" y="67"/>
                    </a:lnTo>
                    <a:lnTo>
                      <a:pt x="473" y="68"/>
                    </a:lnTo>
                    <a:lnTo>
                      <a:pt x="473" y="70"/>
                    </a:lnTo>
                    <a:lnTo>
                      <a:pt x="471" y="74"/>
                    </a:lnTo>
                    <a:lnTo>
                      <a:pt x="469" y="74"/>
                    </a:lnTo>
                    <a:lnTo>
                      <a:pt x="469" y="76"/>
                    </a:lnTo>
                    <a:lnTo>
                      <a:pt x="469" y="76"/>
                    </a:lnTo>
                    <a:lnTo>
                      <a:pt x="469" y="78"/>
                    </a:lnTo>
                    <a:lnTo>
                      <a:pt x="469" y="78"/>
                    </a:lnTo>
                    <a:lnTo>
                      <a:pt x="469" y="80"/>
                    </a:lnTo>
                    <a:lnTo>
                      <a:pt x="467" y="87"/>
                    </a:lnTo>
                    <a:lnTo>
                      <a:pt x="469" y="91"/>
                    </a:lnTo>
                    <a:lnTo>
                      <a:pt x="467" y="97"/>
                    </a:lnTo>
                    <a:lnTo>
                      <a:pt x="467" y="99"/>
                    </a:lnTo>
                    <a:lnTo>
                      <a:pt x="465" y="101"/>
                    </a:lnTo>
                    <a:lnTo>
                      <a:pt x="465" y="103"/>
                    </a:lnTo>
                    <a:lnTo>
                      <a:pt x="463" y="103"/>
                    </a:lnTo>
                    <a:lnTo>
                      <a:pt x="462" y="103"/>
                    </a:lnTo>
                    <a:lnTo>
                      <a:pt x="456" y="101"/>
                    </a:lnTo>
                    <a:lnTo>
                      <a:pt x="450" y="99"/>
                    </a:lnTo>
                    <a:lnTo>
                      <a:pt x="450" y="99"/>
                    </a:lnTo>
                    <a:lnTo>
                      <a:pt x="450" y="101"/>
                    </a:lnTo>
                    <a:lnTo>
                      <a:pt x="448" y="105"/>
                    </a:lnTo>
                    <a:lnTo>
                      <a:pt x="446" y="107"/>
                    </a:lnTo>
                    <a:lnTo>
                      <a:pt x="446" y="107"/>
                    </a:lnTo>
                    <a:lnTo>
                      <a:pt x="446" y="110"/>
                    </a:lnTo>
                    <a:lnTo>
                      <a:pt x="446" y="110"/>
                    </a:lnTo>
                    <a:lnTo>
                      <a:pt x="437" y="107"/>
                    </a:lnTo>
                    <a:lnTo>
                      <a:pt x="433" y="105"/>
                    </a:lnTo>
                    <a:lnTo>
                      <a:pt x="431" y="103"/>
                    </a:lnTo>
                    <a:lnTo>
                      <a:pt x="429" y="103"/>
                    </a:lnTo>
                    <a:lnTo>
                      <a:pt x="427" y="103"/>
                    </a:lnTo>
                    <a:lnTo>
                      <a:pt x="427" y="103"/>
                    </a:lnTo>
                    <a:lnTo>
                      <a:pt x="425" y="107"/>
                    </a:lnTo>
                    <a:lnTo>
                      <a:pt x="423" y="108"/>
                    </a:lnTo>
                    <a:lnTo>
                      <a:pt x="421" y="108"/>
                    </a:lnTo>
                    <a:lnTo>
                      <a:pt x="418" y="108"/>
                    </a:lnTo>
                    <a:lnTo>
                      <a:pt x="416" y="108"/>
                    </a:lnTo>
                    <a:lnTo>
                      <a:pt x="414" y="107"/>
                    </a:lnTo>
                    <a:lnTo>
                      <a:pt x="410" y="107"/>
                    </a:lnTo>
                    <a:lnTo>
                      <a:pt x="408" y="107"/>
                    </a:lnTo>
                    <a:lnTo>
                      <a:pt x="402" y="112"/>
                    </a:lnTo>
                    <a:lnTo>
                      <a:pt x="397" y="116"/>
                    </a:lnTo>
                    <a:lnTo>
                      <a:pt x="397" y="118"/>
                    </a:lnTo>
                    <a:lnTo>
                      <a:pt x="395" y="122"/>
                    </a:lnTo>
                    <a:lnTo>
                      <a:pt x="395" y="127"/>
                    </a:lnTo>
                    <a:lnTo>
                      <a:pt x="395" y="127"/>
                    </a:lnTo>
                    <a:lnTo>
                      <a:pt x="393" y="127"/>
                    </a:lnTo>
                    <a:lnTo>
                      <a:pt x="393" y="129"/>
                    </a:lnTo>
                    <a:lnTo>
                      <a:pt x="393" y="131"/>
                    </a:lnTo>
                    <a:lnTo>
                      <a:pt x="393" y="131"/>
                    </a:lnTo>
                    <a:lnTo>
                      <a:pt x="393" y="133"/>
                    </a:lnTo>
                    <a:lnTo>
                      <a:pt x="391" y="135"/>
                    </a:lnTo>
                    <a:lnTo>
                      <a:pt x="391" y="137"/>
                    </a:lnTo>
                    <a:lnTo>
                      <a:pt x="389" y="137"/>
                    </a:lnTo>
                    <a:lnTo>
                      <a:pt x="387" y="135"/>
                    </a:lnTo>
                    <a:lnTo>
                      <a:pt x="380" y="129"/>
                    </a:lnTo>
                    <a:lnTo>
                      <a:pt x="368" y="124"/>
                    </a:lnTo>
                    <a:lnTo>
                      <a:pt x="368" y="122"/>
                    </a:lnTo>
                    <a:lnTo>
                      <a:pt x="368" y="122"/>
                    </a:lnTo>
                    <a:lnTo>
                      <a:pt x="372" y="118"/>
                    </a:lnTo>
                    <a:lnTo>
                      <a:pt x="372" y="116"/>
                    </a:lnTo>
                    <a:lnTo>
                      <a:pt x="372" y="114"/>
                    </a:lnTo>
                    <a:lnTo>
                      <a:pt x="372" y="110"/>
                    </a:lnTo>
                    <a:lnTo>
                      <a:pt x="372" y="108"/>
                    </a:lnTo>
                    <a:lnTo>
                      <a:pt x="370" y="107"/>
                    </a:lnTo>
                    <a:lnTo>
                      <a:pt x="368" y="107"/>
                    </a:lnTo>
                    <a:lnTo>
                      <a:pt x="362" y="105"/>
                    </a:lnTo>
                    <a:lnTo>
                      <a:pt x="360" y="105"/>
                    </a:lnTo>
                    <a:lnTo>
                      <a:pt x="359" y="107"/>
                    </a:lnTo>
                    <a:lnTo>
                      <a:pt x="357" y="107"/>
                    </a:lnTo>
                    <a:lnTo>
                      <a:pt x="353" y="107"/>
                    </a:lnTo>
                    <a:lnTo>
                      <a:pt x="351" y="105"/>
                    </a:lnTo>
                    <a:lnTo>
                      <a:pt x="351" y="103"/>
                    </a:lnTo>
                    <a:lnTo>
                      <a:pt x="349" y="101"/>
                    </a:lnTo>
                    <a:lnTo>
                      <a:pt x="347" y="91"/>
                    </a:lnTo>
                    <a:lnTo>
                      <a:pt x="347" y="87"/>
                    </a:lnTo>
                    <a:lnTo>
                      <a:pt x="345" y="87"/>
                    </a:lnTo>
                    <a:lnTo>
                      <a:pt x="343" y="86"/>
                    </a:lnTo>
                    <a:lnTo>
                      <a:pt x="341" y="86"/>
                    </a:lnTo>
                    <a:lnTo>
                      <a:pt x="339" y="86"/>
                    </a:lnTo>
                    <a:lnTo>
                      <a:pt x="338" y="86"/>
                    </a:lnTo>
                    <a:lnTo>
                      <a:pt x="339" y="84"/>
                    </a:lnTo>
                    <a:lnTo>
                      <a:pt x="339" y="82"/>
                    </a:lnTo>
                    <a:lnTo>
                      <a:pt x="339" y="82"/>
                    </a:lnTo>
                    <a:lnTo>
                      <a:pt x="339" y="80"/>
                    </a:lnTo>
                    <a:lnTo>
                      <a:pt x="338" y="82"/>
                    </a:lnTo>
                    <a:lnTo>
                      <a:pt x="334" y="84"/>
                    </a:lnTo>
                    <a:lnTo>
                      <a:pt x="330" y="87"/>
                    </a:lnTo>
                    <a:lnTo>
                      <a:pt x="322" y="87"/>
                    </a:lnTo>
                    <a:lnTo>
                      <a:pt x="317" y="80"/>
                    </a:lnTo>
                    <a:lnTo>
                      <a:pt x="315" y="78"/>
                    </a:lnTo>
                    <a:lnTo>
                      <a:pt x="313" y="78"/>
                    </a:lnTo>
                    <a:lnTo>
                      <a:pt x="303" y="78"/>
                    </a:lnTo>
                    <a:lnTo>
                      <a:pt x="301" y="78"/>
                    </a:lnTo>
                    <a:lnTo>
                      <a:pt x="299" y="80"/>
                    </a:lnTo>
                    <a:lnTo>
                      <a:pt x="298" y="82"/>
                    </a:lnTo>
                    <a:lnTo>
                      <a:pt x="298" y="84"/>
                    </a:lnTo>
                    <a:lnTo>
                      <a:pt x="296" y="86"/>
                    </a:lnTo>
                    <a:lnTo>
                      <a:pt x="296" y="89"/>
                    </a:lnTo>
                    <a:lnTo>
                      <a:pt x="296" y="91"/>
                    </a:lnTo>
                    <a:lnTo>
                      <a:pt x="294" y="93"/>
                    </a:lnTo>
                    <a:lnTo>
                      <a:pt x="292" y="93"/>
                    </a:lnTo>
                    <a:lnTo>
                      <a:pt x="290" y="93"/>
                    </a:lnTo>
                    <a:lnTo>
                      <a:pt x="290" y="95"/>
                    </a:lnTo>
                    <a:lnTo>
                      <a:pt x="290" y="95"/>
                    </a:lnTo>
                    <a:lnTo>
                      <a:pt x="292" y="97"/>
                    </a:lnTo>
                    <a:lnTo>
                      <a:pt x="292" y="99"/>
                    </a:lnTo>
                    <a:lnTo>
                      <a:pt x="292" y="101"/>
                    </a:lnTo>
                    <a:lnTo>
                      <a:pt x="292" y="105"/>
                    </a:lnTo>
                    <a:lnTo>
                      <a:pt x="292" y="107"/>
                    </a:lnTo>
                    <a:lnTo>
                      <a:pt x="290" y="108"/>
                    </a:lnTo>
                    <a:lnTo>
                      <a:pt x="286" y="108"/>
                    </a:lnTo>
                    <a:lnTo>
                      <a:pt x="284" y="107"/>
                    </a:lnTo>
                    <a:lnTo>
                      <a:pt x="282" y="107"/>
                    </a:lnTo>
                    <a:lnTo>
                      <a:pt x="282" y="107"/>
                    </a:lnTo>
                    <a:lnTo>
                      <a:pt x="280" y="108"/>
                    </a:lnTo>
                    <a:lnTo>
                      <a:pt x="280" y="108"/>
                    </a:lnTo>
                    <a:lnTo>
                      <a:pt x="278" y="110"/>
                    </a:lnTo>
                    <a:lnTo>
                      <a:pt x="278" y="110"/>
                    </a:lnTo>
                    <a:lnTo>
                      <a:pt x="275" y="114"/>
                    </a:lnTo>
                    <a:lnTo>
                      <a:pt x="275" y="114"/>
                    </a:lnTo>
                    <a:lnTo>
                      <a:pt x="273" y="114"/>
                    </a:lnTo>
                    <a:lnTo>
                      <a:pt x="271" y="114"/>
                    </a:lnTo>
                    <a:lnTo>
                      <a:pt x="269" y="114"/>
                    </a:lnTo>
                    <a:lnTo>
                      <a:pt x="267" y="114"/>
                    </a:lnTo>
                    <a:lnTo>
                      <a:pt x="263" y="114"/>
                    </a:lnTo>
                    <a:lnTo>
                      <a:pt x="257" y="114"/>
                    </a:lnTo>
                    <a:lnTo>
                      <a:pt x="25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18"/>
                    </a:lnTo>
                    <a:lnTo>
                      <a:pt x="244" y="118"/>
                    </a:lnTo>
                    <a:lnTo>
                      <a:pt x="242" y="120"/>
                    </a:lnTo>
                    <a:lnTo>
                      <a:pt x="242" y="120"/>
                    </a:lnTo>
                    <a:lnTo>
                      <a:pt x="231" y="124"/>
                    </a:lnTo>
                    <a:lnTo>
                      <a:pt x="229" y="126"/>
                    </a:lnTo>
                    <a:lnTo>
                      <a:pt x="229" y="127"/>
                    </a:lnTo>
                    <a:lnTo>
                      <a:pt x="229" y="127"/>
                    </a:lnTo>
                    <a:lnTo>
                      <a:pt x="229" y="129"/>
                    </a:lnTo>
                    <a:lnTo>
                      <a:pt x="227" y="129"/>
                    </a:lnTo>
                    <a:lnTo>
                      <a:pt x="225" y="131"/>
                    </a:lnTo>
                    <a:lnTo>
                      <a:pt x="221" y="135"/>
                    </a:lnTo>
                    <a:lnTo>
                      <a:pt x="219" y="137"/>
                    </a:lnTo>
                    <a:lnTo>
                      <a:pt x="219" y="135"/>
                    </a:lnTo>
                    <a:lnTo>
                      <a:pt x="219" y="133"/>
                    </a:lnTo>
                    <a:lnTo>
                      <a:pt x="219" y="131"/>
                    </a:lnTo>
                    <a:lnTo>
                      <a:pt x="219" y="129"/>
                    </a:lnTo>
                    <a:lnTo>
                      <a:pt x="219" y="129"/>
                    </a:lnTo>
                    <a:lnTo>
                      <a:pt x="212" y="131"/>
                    </a:lnTo>
                    <a:lnTo>
                      <a:pt x="208" y="133"/>
                    </a:lnTo>
                    <a:lnTo>
                      <a:pt x="206" y="135"/>
                    </a:lnTo>
                    <a:lnTo>
                      <a:pt x="204" y="135"/>
                    </a:lnTo>
                    <a:lnTo>
                      <a:pt x="198" y="135"/>
                    </a:lnTo>
                    <a:lnTo>
                      <a:pt x="196" y="133"/>
                    </a:lnTo>
                    <a:lnTo>
                      <a:pt x="195" y="131"/>
                    </a:lnTo>
                    <a:lnTo>
                      <a:pt x="195" y="126"/>
                    </a:lnTo>
                    <a:lnTo>
                      <a:pt x="193" y="124"/>
                    </a:lnTo>
                    <a:lnTo>
                      <a:pt x="193" y="124"/>
                    </a:lnTo>
                    <a:lnTo>
                      <a:pt x="191" y="124"/>
                    </a:lnTo>
                    <a:lnTo>
                      <a:pt x="189" y="124"/>
                    </a:lnTo>
                    <a:lnTo>
                      <a:pt x="189" y="124"/>
                    </a:lnTo>
                    <a:lnTo>
                      <a:pt x="187" y="116"/>
                    </a:lnTo>
                    <a:lnTo>
                      <a:pt x="185" y="116"/>
                    </a:lnTo>
                    <a:lnTo>
                      <a:pt x="183" y="114"/>
                    </a:lnTo>
                    <a:lnTo>
                      <a:pt x="183" y="116"/>
                    </a:lnTo>
                    <a:lnTo>
                      <a:pt x="181" y="116"/>
                    </a:lnTo>
                    <a:lnTo>
                      <a:pt x="179" y="118"/>
                    </a:lnTo>
                    <a:lnTo>
                      <a:pt x="177" y="120"/>
                    </a:lnTo>
                    <a:lnTo>
                      <a:pt x="172" y="122"/>
                    </a:lnTo>
                    <a:lnTo>
                      <a:pt x="170" y="124"/>
                    </a:lnTo>
                    <a:lnTo>
                      <a:pt x="168" y="127"/>
                    </a:lnTo>
                    <a:lnTo>
                      <a:pt x="166" y="131"/>
                    </a:lnTo>
                    <a:lnTo>
                      <a:pt x="166" y="131"/>
                    </a:lnTo>
                    <a:lnTo>
                      <a:pt x="164" y="131"/>
                    </a:lnTo>
                    <a:lnTo>
                      <a:pt x="162" y="131"/>
                    </a:lnTo>
                    <a:lnTo>
                      <a:pt x="160" y="131"/>
                    </a:lnTo>
                    <a:lnTo>
                      <a:pt x="158" y="129"/>
                    </a:lnTo>
                    <a:lnTo>
                      <a:pt x="158" y="129"/>
                    </a:lnTo>
                    <a:lnTo>
                      <a:pt x="156" y="129"/>
                    </a:lnTo>
                    <a:lnTo>
                      <a:pt x="156" y="129"/>
                    </a:lnTo>
                    <a:lnTo>
                      <a:pt x="156" y="131"/>
                    </a:lnTo>
                    <a:lnTo>
                      <a:pt x="154" y="131"/>
                    </a:lnTo>
                    <a:lnTo>
                      <a:pt x="153" y="135"/>
                    </a:lnTo>
                    <a:lnTo>
                      <a:pt x="153" y="137"/>
                    </a:lnTo>
                    <a:lnTo>
                      <a:pt x="151" y="137"/>
                    </a:lnTo>
                    <a:lnTo>
                      <a:pt x="151" y="139"/>
                    </a:lnTo>
                    <a:lnTo>
                      <a:pt x="149" y="141"/>
                    </a:lnTo>
                    <a:lnTo>
                      <a:pt x="147" y="141"/>
                    </a:lnTo>
                    <a:lnTo>
                      <a:pt x="145" y="143"/>
                    </a:lnTo>
                    <a:lnTo>
                      <a:pt x="145" y="141"/>
                    </a:lnTo>
                    <a:lnTo>
                      <a:pt x="143" y="141"/>
                    </a:lnTo>
                    <a:lnTo>
                      <a:pt x="141" y="139"/>
                    </a:lnTo>
                    <a:lnTo>
                      <a:pt x="139" y="139"/>
                    </a:lnTo>
                    <a:lnTo>
                      <a:pt x="139" y="137"/>
                    </a:lnTo>
                    <a:lnTo>
                      <a:pt x="137" y="135"/>
                    </a:lnTo>
                    <a:lnTo>
                      <a:pt x="135" y="133"/>
                    </a:lnTo>
                    <a:lnTo>
                      <a:pt x="132" y="131"/>
                    </a:lnTo>
                    <a:lnTo>
                      <a:pt x="130" y="129"/>
                    </a:lnTo>
                    <a:lnTo>
                      <a:pt x="128" y="127"/>
                    </a:lnTo>
                    <a:lnTo>
                      <a:pt x="126" y="126"/>
                    </a:lnTo>
                    <a:lnTo>
                      <a:pt x="122" y="122"/>
                    </a:lnTo>
                    <a:lnTo>
                      <a:pt x="122" y="122"/>
                    </a:lnTo>
                    <a:lnTo>
                      <a:pt x="124" y="120"/>
                    </a:lnTo>
                    <a:lnTo>
                      <a:pt x="124" y="118"/>
                    </a:lnTo>
                    <a:lnTo>
                      <a:pt x="124" y="114"/>
                    </a:lnTo>
                    <a:lnTo>
                      <a:pt x="122" y="112"/>
                    </a:lnTo>
                    <a:lnTo>
                      <a:pt x="122" y="110"/>
                    </a:lnTo>
                    <a:lnTo>
                      <a:pt x="120" y="110"/>
                    </a:lnTo>
                    <a:lnTo>
                      <a:pt x="120" y="110"/>
                    </a:lnTo>
                    <a:lnTo>
                      <a:pt x="118" y="112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4" y="110"/>
                    </a:lnTo>
                    <a:lnTo>
                      <a:pt x="114" y="110"/>
                    </a:lnTo>
                    <a:lnTo>
                      <a:pt x="114" y="110"/>
                    </a:lnTo>
                    <a:lnTo>
                      <a:pt x="113" y="112"/>
                    </a:lnTo>
                    <a:lnTo>
                      <a:pt x="113" y="112"/>
                    </a:lnTo>
                    <a:lnTo>
                      <a:pt x="111" y="112"/>
                    </a:lnTo>
                    <a:lnTo>
                      <a:pt x="109" y="112"/>
                    </a:lnTo>
                    <a:lnTo>
                      <a:pt x="109" y="112"/>
                    </a:lnTo>
                    <a:lnTo>
                      <a:pt x="109" y="112"/>
                    </a:lnTo>
                    <a:lnTo>
                      <a:pt x="109" y="116"/>
                    </a:lnTo>
                    <a:lnTo>
                      <a:pt x="109" y="118"/>
                    </a:lnTo>
                    <a:lnTo>
                      <a:pt x="107" y="118"/>
                    </a:lnTo>
                    <a:lnTo>
                      <a:pt x="107" y="118"/>
                    </a:lnTo>
                    <a:lnTo>
                      <a:pt x="105" y="118"/>
                    </a:lnTo>
                    <a:lnTo>
                      <a:pt x="105" y="116"/>
                    </a:lnTo>
                    <a:lnTo>
                      <a:pt x="105" y="114"/>
                    </a:lnTo>
                    <a:lnTo>
                      <a:pt x="105" y="114"/>
                    </a:lnTo>
                    <a:lnTo>
                      <a:pt x="105" y="112"/>
                    </a:lnTo>
                    <a:lnTo>
                      <a:pt x="103" y="112"/>
                    </a:lnTo>
                    <a:lnTo>
                      <a:pt x="103" y="114"/>
                    </a:lnTo>
                    <a:lnTo>
                      <a:pt x="103" y="114"/>
                    </a:lnTo>
                    <a:lnTo>
                      <a:pt x="103" y="116"/>
                    </a:lnTo>
                    <a:lnTo>
                      <a:pt x="103" y="116"/>
                    </a:lnTo>
                    <a:lnTo>
                      <a:pt x="101" y="118"/>
                    </a:lnTo>
                    <a:lnTo>
                      <a:pt x="101" y="118"/>
                    </a:lnTo>
                    <a:lnTo>
                      <a:pt x="99" y="118"/>
                    </a:lnTo>
                    <a:lnTo>
                      <a:pt x="99" y="118"/>
                    </a:lnTo>
                    <a:lnTo>
                      <a:pt x="97" y="116"/>
                    </a:lnTo>
                    <a:lnTo>
                      <a:pt x="95" y="114"/>
                    </a:lnTo>
                    <a:lnTo>
                      <a:pt x="93" y="107"/>
                    </a:lnTo>
                    <a:lnTo>
                      <a:pt x="90" y="97"/>
                    </a:lnTo>
                    <a:lnTo>
                      <a:pt x="88" y="95"/>
                    </a:lnTo>
                    <a:lnTo>
                      <a:pt x="86" y="95"/>
                    </a:lnTo>
                    <a:lnTo>
                      <a:pt x="86" y="95"/>
                    </a:lnTo>
                    <a:lnTo>
                      <a:pt x="86" y="97"/>
                    </a:lnTo>
                    <a:lnTo>
                      <a:pt x="84" y="101"/>
                    </a:lnTo>
                    <a:lnTo>
                      <a:pt x="82" y="101"/>
                    </a:lnTo>
                    <a:lnTo>
                      <a:pt x="82" y="103"/>
                    </a:lnTo>
                    <a:lnTo>
                      <a:pt x="82" y="103"/>
                    </a:lnTo>
                    <a:lnTo>
                      <a:pt x="80" y="103"/>
                    </a:lnTo>
                    <a:lnTo>
                      <a:pt x="78" y="105"/>
                    </a:lnTo>
                    <a:lnTo>
                      <a:pt x="78" y="107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9" y="108"/>
                    </a:lnTo>
                    <a:lnTo>
                      <a:pt x="67" y="110"/>
                    </a:lnTo>
                    <a:lnTo>
                      <a:pt x="65" y="110"/>
                    </a:lnTo>
                    <a:lnTo>
                      <a:pt x="63" y="110"/>
                    </a:lnTo>
                    <a:lnTo>
                      <a:pt x="61" y="108"/>
                    </a:lnTo>
                    <a:lnTo>
                      <a:pt x="59" y="108"/>
                    </a:lnTo>
                    <a:lnTo>
                      <a:pt x="57" y="110"/>
                    </a:lnTo>
                    <a:lnTo>
                      <a:pt x="53" y="112"/>
                    </a:lnTo>
                    <a:lnTo>
                      <a:pt x="52" y="114"/>
                    </a:lnTo>
                    <a:lnTo>
                      <a:pt x="46" y="114"/>
                    </a:lnTo>
                    <a:lnTo>
                      <a:pt x="38" y="112"/>
                    </a:lnTo>
                    <a:lnTo>
                      <a:pt x="25" y="110"/>
                    </a:lnTo>
                    <a:lnTo>
                      <a:pt x="23" y="110"/>
                    </a:lnTo>
                    <a:lnTo>
                      <a:pt x="13" y="112"/>
                    </a:lnTo>
                    <a:lnTo>
                      <a:pt x="11" y="112"/>
                    </a:lnTo>
                    <a:lnTo>
                      <a:pt x="10" y="114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6"/>
                    </a:lnTo>
                    <a:lnTo>
                      <a:pt x="8" y="118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10" y="124"/>
                    </a:lnTo>
                    <a:lnTo>
                      <a:pt x="10" y="126"/>
                    </a:lnTo>
                    <a:lnTo>
                      <a:pt x="11" y="126"/>
                    </a:lnTo>
                    <a:lnTo>
                      <a:pt x="13" y="129"/>
                    </a:lnTo>
                    <a:lnTo>
                      <a:pt x="13" y="131"/>
                    </a:lnTo>
                    <a:lnTo>
                      <a:pt x="15" y="133"/>
                    </a:lnTo>
                    <a:lnTo>
                      <a:pt x="15" y="133"/>
                    </a:lnTo>
                    <a:lnTo>
                      <a:pt x="15" y="135"/>
                    </a:lnTo>
                    <a:lnTo>
                      <a:pt x="13" y="135"/>
                    </a:lnTo>
                    <a:lnTo>
                      <a:pt x="11" y="141"/>
                    </a:lnTo>
                    <a:lnTo>
                      <a:pt x="10" y="141"/>
                    </a:lnTo>
                    <a:lnTo>
                      <a:pt x="10" y="143"/>
                    </a:lnTo>
                    <a:lnTo>
                      <a:pt x="10" y="143"/>
                    </a:lnTo>
                    <a:lnTo>
                      <a:pt x="10" y="145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6" y="152"/>
                    </a:lnTo>
                    <a:lnTo>
                      <a:pt x="4" y="154"/>
                    </a:lnTo>
                    <a:lnTo>
                      <a:pt x="4" y="156"/>
                    </a:lnTo>
                    <a:lnTo>
                      <a:pt x="0" y="164"/>
                    </a:lnTo>
                    <a:lnTo>
                      <a:pt x="8" y="165"/>
                    </a:lnTo>
                    <a:lnTo>
                      <a:pt x="13" y="167"/>
                    </a:lnTo>
                    <a:lnTo>
                      <a:pt x="15" y="167"/>
                    </a:lnTo>
                    <a:lnTo>
                      <a:pt x="15" y="167"/>
                    </a:lnTo>
                    <a:lnTo>
                      <a:pt x="17" y="169"/>
                    </a:lnTo>
                    <a:lnTo>
                      <a:pt x="23" y="171"/>
                    </a:lnTo>
                    <a:lnTo>
                      <a:pt x="23" y="173"/>
                    </a:lnTo>
                    <a:lnTo>
                      <a:pt x="23" y="175"/>
                    </a:lnTo>
                    <a:lnTo>
                      <a:pt x="23" y="175"/>
                    </a:lnTo>
                    <a:lnTo>
                      <a:pt x="23" y="181"/>
                    </a:lnTo>
                    <a:lnTo>
                      <a:pt x="23" y="183"/>
                    </a:lnTo>
                    <a:lnTo>
                      <a:pt x="25" y="185"/>
                    </a:lnTo>
                    <a:lnTo>
                      <a:pt x="25" y="186"/>
                    </a:lnTo>
                    <a:lnTo>
                      <a:pt x="27" y="188"/>
                    </a:lnTo>
                    <a:lnTo>
                      <a:pt x="29" y="192"/>
                    </a:lnTo>
                    <a:lnTo>
                      <a:pt x="46" y="207"/>
                    </a:lnTo>
                    <a:lnTo>
                      <a:pt x="48" y="211"/>
                    </a:lnTo>
                    <a:lnTo>
                      <a:pt x="50" y="215"/>
                    </a:lnTo>
                    <a:lnTo>
                      <a:pt x="50" y="217"/>
                    </a:lnTo>
                    <a:lnTo>
                      <a:pt x="50" y="219"/>
                    </a:lnTo>
                    <a:lnTo>
                      <a:pt x="50" y="221"/>
                    </a:lnTo>
                    <a:lnTo>
                      <a:pt x="48" y="224"/>
                    </a:lnTo>
                    <a:lnTo>
                      <a:pt x="48" y="224"/>
                    </a:lnTo>
                    <a:lnTo>
                      <a:pt x="48" y="226"/>
                    </a:lnTo>
                    <a:lnTo>
                      <a:pt x="48" y="228"/>
                    </a:lnTo>
                    <a:lnTo>
                      <a:pt x="50" y="230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3" y="238"/>
                    </a:lnTo>
                    <a:lnTo>
                      <a:pt x="55" y="240"/>
                    </a:lnTo>
                    <a:lnTo>
                      <a:pt x="55" y="240"/>
                    </a:lnTo>
                    <a:lnTo>
                      <a:pt x="57" y="240"/>
                    </a:lnTo>
                    <a:lnTo>
                      <a:pt x="57" y="240"/>
                    </a:lnTo>
                    <a:lnTo>
                      <a:pt x="61" y="240"/>
                    </a:lnTo>
                    <a:lnTo>
                      <a:pt x="61" y="240"/>
                    </a:lnTo>
                    <a:lnTo>
                      <a:pt x="63" y="240"/>
                    </a:lnTo>
                    <a:lnTo>
                      <a:pt x="65" y="240"/>
                    </a:lnTo>
                    <a:lnTo>
                      <a:pt x="72" y="244"/>
                    </a:lnTo>
                    <a:lnTo>
                      <a:pt x="72" y="244"/>
                    </a:lnTo>
                    <a:lnTo>
                      <a:pt x="72" y="244"/>
                    </a:lnTo>
                    <a:lnTo>
                      <a:pt x="72" y="242"/>
                    </a:lnTo>
                    <a:lnTo>
                      <a:pt x="74" y="242"/>
                    </a:lnTo>
                    <a:lnTo>
                      <a:pt x="74" y="242"/>
                    </a:lnTo>
                    <a:lnTo>
                      <a:pt x="72" y="238"/>
                    </a:lnTo>
                    <a:lnTo>
                      <a:pt x="72" y="236"/>
                    </a:lnTo>
                    <a:lnTo>
                      <a:pt x="72" y="236"/>
                    </a:lnTo>
                    <a:lnTo>
                      <a:pt x="74" y="236"/>
                    </a:lnTo>
                    <a:lnTo>
                      <a:pt x="74" y="234"/>
                    </a:lnTo>
                    <a:lnTo>
                      <a:pt x="74" y="234"/>
                    </a:lnTo>
                    <a:lnTo>
                      <a:pt x="74" y="234"/>
                    </a:lnTo>
                    <a:lnTo>
                      <a:pt x="76" y="234"/>
                    </a:lnTo>
                    <a:lnTo>
                      <a:pt x="76" y="234"/>
                    </a:lnTo>
                    <a:lnTo>
                      <a:pt x="78" y="232"/>
                    </a:lnTo>
                    <a:lnTo>
                      <a:pt x="80" y="232"/>
                    </a:lnTo>
                    <a:lnTo>
                      <a:pt x="80" y="232"/>
                    </a:lnTo>
                    <a:lnTo>
                      <a:pt x="82" y="232"/>
                    </a:lnTo>
                    <a:lnTo>
                      <a:pt x="82" y="234"/>
                    </a:lnTo>
                    <a:lnTo>
                      <a:pt x="82" y="236"/>
                    </a:lnTo>
                    <a:lnTo>
                      <a:pt x="82" y="236"/>
                    </a:lnTo>
                    <a:lnTo>
                      <a:pt x="84" y="238"/>
                    </a:lnTo>
                    <a:lnTo>
                      <a:pt x="86" y="242"/>
                    </a:lnTo>
                    <a:lnTo>
                      <a:pt x="86" y="244"/>
                    </a:lnTo>
                    <a:lnTo>
                      <a:pt x="86" y="244"/>
                    </a:lnTo>
                    <a:lnTo>
                      <a:pt x="84" y="245"/>
                    </a:lnTo>
                    <a:lnTo>
                      <a:pt x="84" y="247"/>
                    </a:lnTo>
                    <a:lnTo>
                      <a:pt x="82" y="249"/>
                    </a:lnTo>
                    <a:lnTo>
                      <a:pt x="78" y="253"/>
                    </a:lnTo>
                    <a:lnTo>
                      <a:pt x="78" y="253"/>
                    </a:lnTo>
                    <a:lnTo>
                      <a:pt x="78" y="255"/>
                    </a:lnTo>
                    <a:lnTo>
                      <a:pt x="78" y="257"/>
                    </a:lnTo>
                    <a:lnTo>
                      <a:pt x="78" y="257"/>
                    </a:lnTo>
                    <a:lnTo>
                      <a:pt x="78" y="259"/>
                    </a:lnTo>
                    <a:lnTo>
                      <a:pt x="78" y="259"/>
                    </a:lnTo>
                    <a:lnTo>
                      <a:pt x="78" y="261"/>
                    </a:lnTo>
                    <a:lnTo>
                      <a:pt x="76" y="264"/>
                    </a:lnTo>
                    <a:lnTo>
                      <a:pt x="76" y="266"/>
                    </a:lnTo>
                    <a:lnTo>
                      <a:pt x="76" y="268"/>
                    </a:lnTo>
                    <a:lnTo>
                      <a:pt x="76" y="270"/>
                    </a:lnTo>
                    <a:lnTo>
                      <a:pt x="78" y="270"/>
                    </a:lnTo>
                    <a:lnTo>
                      <a:pt x="78" y="270"/>
                    </a:lnTo>
                    <a:lnTo>
                      <a:pt x="78" y="270"/>
                    </a:lnTo>
                    <a:lnTo>
                      <a:pt x="80" y="270"/>
                    </a:lnTo>
                    <a:lnTo>
                      <a:pt x="82" y="266"/>
                    </a:lnTo>
                    <a:lnTo>
                      <a:pt x="84" y="266"/>
                    </a:lnTo>
                    <a:lnTo>
                      <a:pt x="84" y="266"/>
                    </a:lnTo>
                    <a:lnTo>
                      <a:pt x="86" y="268"/>
                    </a:lnTo>
                    <a:lnTo>
                      <a:pt x="86" y="268"/>
                    </a:lnTo>
                    <a:lnTo>
                      <a:pt x="88" y="270"/>
                    </a:lnTo>
                    <a:lnTo>
                      <a:pt x="88" y="278"/>
                    </a:lnTo>
                    <a:lnTo>
                      <a:pt x="88" y="289"/>
                    </a:lnTo>
                    <a:lnTo>
                      <a:pt x="86" y="295"/>
                    </a:lnTo>
                    <a:lnTo>
                      <a:pt x="88" y="301"/>
                    </a:lnTo>
                    <a:lnTo>
                      <a:pt x="90" y="302"/>
                    </a:lnTo>
                    <a:lnTo>
                      <a:pt x="93" y="306"/>
                    </a:lnTo>
                    <a:lnTo>
                      <a:pt x="95" y="308"/>
                    </a:lnTo>
                    <a:lnTo>
                      <a:pt x="95" y="310"/>
                    </a:lnTo>
                    <a:lnTo>
                      <a:pt x="95" y="312"/>
                    </a:lnTo>
                    <a:lnTo>
                      <a:pt x="95" y="316"/>
                    </a:lnTo>
                    <a:lnTo>
                      <a:pt x="97" y="318"/>
                    </a:lnTo>
                    <a:lnTo>
                      <a:pt x="97" y="320"/>
                    </a:lnTo>
                    <a:lnTo>
                      <a:pt x="97" y="320"/>
                    </a:lnTo>
                    <a:lnTo>
                      <a:pt x="99" y="320"/>
                    </a:lnTo>
                    <a:lnTo>
                      <a:pt x="99" y="322"/>
                    </a:lnTo>
                    <a:lnTo>
                      <a:pt x="99" y="322"/>
                    </a:lnTo>
                    <a:lnTo>
                      <a:pt x="101" y="322"/>
                    </a:lnTo>
                    <a:lnTo>
                      <a:pt x="101" y="320"/>
                    </a:lnTo>
                    <a:lnTo>
                      <a:pt x="103" y="320"/>
                    </a:lnTo>
                    <a:lnTo>
                      <a:pt x="103" y="320"/>
                    </a:lnTo>
                    <a:lnTo>
                      <a:pt x="103" y="320"/>
                    </a:lnTo>
                    <a:lnTo>
                      <a:pt x="101" y="318"/>
                    </a:lnTo>
                    <a:lnTo>
                      <a:pt x="101" y="318"/>
                    </a:lnTo>
                    <a:lnTo>
                      <a:pt x="103" y="316"/>
                    </a:lnTo>
                    <a:lnTo>
                      <a:pt x="103" y="316"/>
                    </a:lnTo>
                    <a:lnTo>
                      <a:pt x="107" y="320"/>
                    </a:lnTo>
                    <a:lnTo>
                      <a:pt x="109" y="320"/>
                    </a:lnTo>
                    <a:lnTo>
                      <a:pt x="111" y="320"/>
                    </a:lnTo>
                    <a:lnTo>
                      <a:pt x="113" y="320"/>
                    </a:lnTo>
                    <a:lnTo>
                      <a:pt x="113" y="320"/>
                    </a:lnTo>
                    <a:lnTo>
                      <a:pt x="114" y="320"/>
                    </a:lnTo>
                    <a:lnTo>
                      <a:pt x="114" y="320"/>
                    </a:lnTo>
                    <a:lnTo>
                      <a:pt x="114" y="320"/>
                    </a:lnTo>
                    <a:lnTo>
                      <a:pt x="116" y="320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20" y="320"/>
                    </a:lnTo>
                    <a:lnTo>
                      <a:pt x="124" y="322"/>
                    </a:lnTo>
                    <a:lnTo>
                      <a:pt x="124" y="323"/>
                    </a:lnTo>
                    <a:lnTo>
                      <a:pt x="126" y="323"/>
                    </a:lnTo>
                    <a:lnTo>
                      <a:pt x="126" y="327"/>
                    </a:lnTo>
                    <a:lnTo>
                      <a:pt x="126" y="327"/>
                    </a:lnTo>
                    <a:lnTo>
                      <a:pt x="128" y="331"/>
                    </a:lnTo>
                    <a:lnTo>
                      <a:pt x="128" y="333"/>
                    </a:lnTo>
                    <a:lnTo>
                      <a:pt x="128" y="333"/>
                    </a:lnTo>
                    <a:lnTo>
                      <a:pt x="128" y="335"/>
                    </a:lnTo>
                    <a:lnTo>
                      <a:pt x="128" y="337"/>
                    </a:lnTo>
                    <a:lnTo>
                      <a:pt x="126" y="339"/>
                    </a:lnTo>
                    <a:lnTo>
                      <a:pt x="124" y="341"/>
                    </a:lnTo>
                    <a:lnTo>
                      <a:pt x="120" y="344"/>
                    </a:lnTo>
                    <a:lnTo>
                      <a:pt x="118" y="344"/>
                    </a:lnTo>
                    <a:lnTo>
                      <a:pt x="116" y="346"/>
                    </a:lnTo>
                    <a:lnTo>
                      <a:pt x="116" y="346"/>
                    </a:lnTo>
                    <a:lnTo>
                      <a:pt x="114" y="348"/>
                    </a:lnTo>
                    <a:lnTo>
                      <a:pt x="113" y="348"/>
                    </a:lnTo>
                    <a:lnTo>
                      <a:pt x="113" y="350"/>
                    </a:lnTo>
                    <a:lnTo>
                      <a:pt x="111" y="350"/>
                    </a:lnTo>
                    <a:lnTo>
                      <a:pt x="111" y="352"/>
                    </a:lnTo>
                    <a:lnTo>
                      <a:pt x="109" y="358"/>
                    </a:lnTo>
                    <a:lnTo>
                      <a:pt x="109" y="360"/>
                    </a:lnTo>
                    <a:lnTo>
                      <a:pt x="107" y="360"/>
                    </a:lnTo>
                    <a:lnTo>
                      <a:pt x="101" y="365"/>
                    </a:lnTo>
                    <a:lnTo>
                      <a:pt x="99" y="367"/>
                    </a:lnTo>
                    <a:lnTo>
                      <a:pt x="97" y="367"/>
                    </a:lnTo>
                    <a:lnTo>
                      <a:pt x="97" y="369"/>
                    </a:lnTo>
                    <a:lnTo>
                      <a:pt x="95" y="369"/>
                    </a:lnTo>
                    <a:lnTo>
                      <a:pt x="92" y="369"/>
                    </a:lnTo>
                    <a:lnTo>
                      <a:pt x="90" y="369"/>
                    </a:lnTo>
                    <a:lnTo>
                      <a:pt x="90" y="371"/>
                    </a:lnTo>
                    <a:lnTo>
                      <a:pt x="86" y="373"/>
                    </a:lnTo>
                    <a:lnTo>
                      <a:pt x="86" y="373"/>
                    </a:lnTo>
                    <a:lnTo>
                      <a:pt x="86" y="375"/>
                    </a:lnTo>
                    <a:lnTo>
                      <a:pt x="82" y="375"/>
                    </a:lnTo>
                    <a:lnTo>
                      <a:pt x="82" y="375"/>
                    </a:lnTo>
                    <a:lnTo>
                      <a:pt x="82" y="377"/>
                    </a:lnTo>
                    <a:lnTo>
                      <a:pt x="82" y="377"/>
                    </a:lnTo>
                    <a:lnTo>
                      <a:pt x="82" y="377"/>
                    </a:lnTo>
                    <a:lnTo>
                      <a:pt x="80" y="380"/>
                    </a:lnTo>
                    <a:lnTo>
                      <a:pt x="80" y="382"/>
                    </a:lnTo>
                    <a:lnTo>
                      <a:pt x="84" y="382"/>
                    </a:lnTo>
                    <a:lnTo>
                      <a:pt x="88" y="384"/>
                    </a:lnTo>
                    <a:lnTo>
                      <a:pt x="92" y="388"/>
                    </a:lnTo>
                    <a:lnTo>
                      <a:pt x="99" y="398"/>
                    </a:lnTo>
                    <a:lnTo>
                      <a:pt x="99" y="400"/>
                    </a:lnTo>
                    <a:lnTo>
                      <a:pt x="101" y="401"/>
                    </a:lnTo>
                    <a:lnTo>
                      <a:pt x="101" y="403"/>
                    </a:lnTo>
                    <a:lnTo>
                      <a:pt x="105" y="405"/>
                    </a:lnTo>
                    <a:lnTo>
                      <a:pt x="107" y="407"/>
                    </a:lnTo>
                    <a:lnTo>
                      <a:pt x="109" y="407"/>
                    </a:lnTo>
                    <a:lnTo>
                      <a:pt x="111" y="407"/>
                    </a:lnTo>
                    <a:lnTo>
                      <a:pt x="113" y="407"/>
                    </a:lnTo>
                    <a:lnTo>
                      <a:pt x="120" y="411"/>
                    </a:lnTo>
                    <a:lnTo>
                      <a:pt x="122" y="411"/>
                    </a:lnTo>
                    <a:lnTo>
                      <a:pt x="135" y="411"/>
                    </a:lnTo>
                    <a:lnTo>
                      <a:pt x="135" y="411"/>
                    </a:lnTo>
                    <a:lnTo>
                      <a:pt x="145" y="405"/>
                    </a:lnTo>
                    <a:lnTo>
                      <a:pt x="145" y="405"/>
                    </a:lnTo>
                    <a:lnTo>
                      <a:pt x="145" y="405"/>
                    </a:lnTo>
                    <a:lnTo>
                      <a:pt x="147" y="403"/>
                    </a:lnTo>
                    <a:lnTo>
                      <a:pt x="147" y="403"/>
                    </a:lnTo>
                    <a:lnTo>
                      <a:pt x="147" y="401"/>
                    </a:lnTo>
                    <a:lnTo>
                      <a:pt x="147" y="401"/>
                    </a:lnTo>
                    <a:lnTo>
                      <a:pt x="147" y="400"/>
                    </a:lnTo>
                    <a:lnTo>
                      <a:pt x="147" y="400"/>
                    </a:lnTo>
                    <a:lnTo>
                      <a:pt x="149" y="398"/>
                    </a:lnTo>
                    <a:lnTo>
                      <a:pt x="151" y="398"/>
                    </a:lnTo>
                    <a:lnTo>
                      <a:pt x="175" y="398"/>
                    </a:lnTo>
                    <a:lnTo>
                      <a:pt x="177" y="398"/>
                    </a:lnTo>
                    <a:lnTo>
                      <a:pt x="179" y="396"/>
                    </a:lnTo>
                    <a:lnTo>
                      <a:pt x="179" y="396"/>
                    </a:lnTo>
                    <a:lnTo>
                      <a:pt x="179" y="396"/>
                    </a:lnTo>
                    <a:lnTo>
                      <a:pt x="181" y="394"/>
                    </a:lnTo>
                    <a:lnTo>
                      <a:pt x="183" y="394"/>
                    </a:lnTo>
                    <a:lnTo>
                      <a:pt x="187" y="394"/>
                    </a:lnTo>
                    <a:lnTo>
                      <a:pt x="195" y="396"/>
                    </a:lnTo>
                    <a:lnTo>
                      <a:pt x="196" y="398"/>
                    </a:lnTo>
                    <a:lnTo>
                      <a:pt x="198" y="398"/>
                    </a:lnTo>
                    <a:lnTo>
                      <a:pt x="198" y="398"/>
                    </a:lnTo>
                    <a:lnTo>
                      <a:pt x="200" y="396"/>
                    </a:lnTo>
                    <a:lnTo>
                      <a:pt x="202" y="396"/>
                    </a:lnTo>
                    <a:lnTo>
                      <a:pt x="202" y="394"/>
                    </a:lnTo>
                    <a:lnTo>
                      <a:pt x="206" y="394"/>
                    </a:lnTo>
                    <a:lnTo>
                      <a:pt x="208" y="394"/>
                    </a:lnTo>
                    <a:lnTo>
                      <a:pt x="214" y="390"/>
                    </a:lnTo>
                    <a:lnTo>
                      <a:pt x="217" y="386"/>
                    </a:lnTo>
                    <a:lnTo>
                      <a:pt x="219" y="394"/>
                    </a:lnTo>
                    <a:lnTo>
                      <a:pt x="221" y="401"/>
                    </a:lnTo>
                    <a:lnTo>
                      <a:pt x="221" y="407"/>
                    </a:lnTo>
                    <a:lnTo>
                      <a:pt x="221" y="411"/>
                    </a:lnTo>
                    <a:lnTo>
                      <a:pt x="221" y="415"/>
                    </a:lnTo>
                    <a:lnTo>
                      <a:pt x="221" y="417"/>
                    </a:lnTo>
                    <a:lnTo>
                      <a:pt x="219" y="417"/>
                    </a:lnTo>
                    <a:lnTo>
                      <a:pt x="214" y="426"/>
                    </a:lnTo>
                    <a:lnTo>
                      <a:pt x="210" y="434"/>
                    </a:lnTo>
                    <a:lnTo>
                      <a:pt x="208" y="438"/>
                    </a:lnTo>
                    <a:lnTo>
                      <a:pt x="208" y="438"/>
                    </a:lnTo>
                    <a:lnTo>
                      <a:pt x="208" y="439"/>
                    </a:lnTo>
                    <a:lnTo>
                      <a:pt x="208" y="441"/>
                    </a:lnTo>
                    <a:lnTo>
                      <a:pt x="208" y="441"/>
                    </a:lnTo>
                    <a:lnTo>
                      <a:pt x="210" y="441"/>
                    </a:lnTo>
                    <a:lnTo>
                      <a:pt x="214" y="439"/>
                    </a:lnTo>
                    <a:lnTo>
                      <a:pt x="216" y="439"/>
                    </a:lnTo>
                    <a:lnTo>
                      <a:pt x="217" y="439"/>
                    </a:lnTo>
                    <a:lnTo>
                      <a:pt x="219" y="439"/>
                    </a:lnTo>
                    <a:lnTo>
                      <a:pt x="221" y="439"/>
                    </a:lnTo>
                    <a:lnTo>
                      <a:pt x="223" y="441"/>
                    </a:lnTo>
                    <a:lnTo>
                      <a:pt x="233" y="447"/>
                    </a:lnTo>
                    <a:lnTo>
                      <a:pt x="235" y="451"/>
                    </a:lnTo>
                    <a:lnTo>
                      <a:pt x="236" y="451"/>
                    </a:lnTo>
                    <a:lnTo>
                      <a:pt x="236" y="451"/>
                    </a:lnTo>
                    <a:lnTo>
                      <a:pt x="236" y="451"/>
                    </a:lnTo>
                    <a:lnTo>
                      <a:pt x="238" y="451"/>
                    </a:lnTo>
                    <a:lnTo>
                      <a:pt x="244" y="443"/>
                    </a:lnTo>
                    <a:lnTo>
                      <a:pt x="250" y="438"/>
                    </a:lnTo>
                    <a:lnTo>
                      <a:pt x="252" y="438"/>
                    </a:lnTo>
                    <a:lnTo>
                      <a:pt x="256" y="436"/>
                    </a:lnTo>
                    <a:lnTo>
                      <a:pt x="259" y="434"/>
                    </a:lnTo>
                    <a:lnTo>
                      <a:pt x="259" y="434"/>
                    </a:lnTo>
                    <a:lnTo>
                      <a:pt x="261" y="434"/>
                    </a:lnTo>
                    <a:lnTo>
                      <a:pt x="263" y="434"/>
                    </a:lnTo>
                    <a:lnTo>
                      <a:pt x="265" y="434"/>
                    </a:lnTo>
                    <a:lnTo>
                      <a:pt x="267" y="434"/>
                    </a:lnTo>
                    <a:lnTo>
                      <a:pt x="278" y="441"/>
                    </a:lnTo>
                    <a:lnTo>
                      <a:pt x="286" y="443"/>
                    </a:lnTo>
                    <a:lnTo>
                      <a:pt x="292" y="443"/>
                    </a:lnTo>
                    <a:lnTo>
                      <a:pt x="294" y="445"/>
                    </a:lnTo>
                    <a:lnTo>
                      <a:pt x="296" y="445"/>
                    </a:lnTo>
                    <a:lnTo>
                      <a:pt x="298" y="443"/>
                    </a:lnTo>
                    <a:lnTo>
                      <a:pt x="299" y="443"/>
                    </a:lnTo>
                    <a:lnTo>
                      <a:pt x="301" y="441"/>
                    </a:lnTo>
                    <a:lnTo>
                      <a:pt x="303" y="441"/>
                    </a:lnTo>
                    <a:lnTo>
                      <a:pt x="303" y="441"/>
                    </a:lnTo>
                    <a:lnTo>
                      <a:pt x="305" y="439"/>
                    </a:lnTo>
                    <a:lnTo>
                      <a:pt x="307" y="438"/>
                    </a:lnTo>
                    <a:lnTo>
                      <a:pt x="309" y="438"/>
                    </a:lnTo>
                    <a:lnTo>
                      <a:pt x="309" y="438"/>
                    </a:lnTo>
                    <a:lnTo>
                      <a:pt x="309" y="439"/>
                    </a:lnTo>
                    <a:lnTo>
                      <a:pt x="309" y="441"/>
                    </a:lnTo>
                    <a:lnTo>
                      <a:pt x="309" y="441"/>
                    </a:lnTo>
                    <a:lnTo>
                      <a:pt x="307" y="445"/>
                    </a:lnTo>
                    <a:lnTo>
                      <a:pt x="307" y="445"/>
                    </a:lnTo>
                    <a:lnTo>
                      <a:pt x="307" y="447"/>
                    </a:lnTo>
                    <a:lnTo>
                      <a:pt x="307" y="447"/>
                    </a:lnTo>
                    <a:lnTo>
                      <a:pt x="307" y="449"/>
                    </a:lnTo>
                    <a:lnTo>
                      <a:pt x="307" y="453"/>
                    </a:lnTo>
                    <a:lnTo>
                      <a:pt x="307" y="453"/>
                    </a:lnTo>
                    <a:lnTo>
                      <a:pt x="313" y="457"/>
                    </a:lnTo>
                    <a:lnTo>
                      <a:pt x="318" y="457"/>
                    </a:lnTo>
                    <a:lnTo>
                      <a:pt x="322" y="455"/>
                    </a:lnTo>
                    <a:lnTo>
                      <a:pt x="324" y="453"/>
                    </a:lnTo>
                    <a:lnTo>
                      <a:pt x="330" y="443"/>
                    </a:lnTo>
                    <a:lnTo>
                      <a:pt x="330" y="441"/>
                    </a:lnTo>
                    <a:lnTo>
                      <a:pt x="332" y="441"/>
                    </a:lnTo>
                    <a:lnTo>
                      <a:pt x="332" y="439"/>
                    </a:lnTo>
                    <a:lnTo>
                      <a:pt x="332" y="439"/>
                    </a:lnTo>
                    <a:lnTo>
                      <a:pt x="332" y="438"/>
                    </a:lnTo>
                    <a:lnTo>
                      <a:pt x="332" y="436"/>
                    </a:lnTo>
                    <a:lnTo>
                      <a:pt x="332" y="432"/>
                    </a:lnTo>
                    <a:lnTo>
                      <a:pt x="334" y="430"/>
                    </a:lnTo>
                    <a:lnTo>
                      <a:pt x="332" y="428"/>
                    </a:lnTo>
                    <a:lnTo>
                      <a:pt x="330" y="424"/>
                    </a:lnTo>
                    <a:lnTo>
                      <a:pt x="330" y="422"/>
                    </a:lnTo>
                    <a:lnTo>
                      <a:pt x="330" y="420"/>
                    </a:lnTo>
                    <a:lnTo>
                      <a:pt x="330" y="419"/>
                    </a:lnTo>
                    <a:lnTo>
                      <a:pt x="334" y="415"/>
                    </a:lnTo>
                    <a:lnTo>
                      <a:pt x="334" y="413"/>
                    </a:lnTo>
                    <a:lnTo>
                      <a:pt x="334" y="409"/>
                    </a:lnTo>
                    <a:lnTo>
                      <a:pt x="332" y="401"/>
                    </a:lnTo>
                    <a:lnTo>
                      <a:pt x="332" y="400"/>
                    </a:lnTo>
                    <a:lnTo>
                      <a:pt x="332" y="398"/>
                    </a:lnTo>
                    <a:lnTo>
                      <a:pt x="328" y="394"/>
                    </a:lnTo>
                    <a:lnTo>
                      <a:pt x="326" y="392"/>
                    </a:lnTo>
                    <a:lnTo>
                      <a:pt x="326" y="390"/>
                    </a:lnTo>
                    <a:lnTo>
                      <a:pt x="326" y="388"/>
                    </a:lnTo>
                    <a:lnTo>
                      <a:pt x="326" y="388"/>
                    </a:lnTo>
                    <a:lnTo>
                      <a:pt x="326" y="388"/>
                    </a:lnTo>
                    <a:lnTo>
                      <a:pt x="326" y="388"/>
                    </a:lnTo>
                    <a:lnTo>
                      <a:pt x="328" y="386"/>
                    </a:lnTo>
                    <a:lnTo>
                      <a:pt x="330" y="386"/>
                    </a:lnTo>
                    <a:lnTo>
                      <a:pt x="332" y="386"/>
                    </a:lnTo>
                    <a:lnTo>
                      <a:pt x="334" y="386"/>
                    </a:lnTo>
                    <a:lnTo>
                      <a:pt x="334" y="384"/>
                    </a:lnTo>
                    <a:lnTo>
                      <a:pt x="334" y="384"/>
                    </a:lnTo>
                    <a:lnTo>
                      <a:pt x="336" y="384"/>
                    </a:lnTo>
                    <a:lnTo>
                      <a:pt x="338" y="380"/>
                    </a:lnTo>
                    <a:lnTo>
                      <a:pt x="338" y="380"/>
                    </a:lnTo>
                    <a:lnTo>
                      <a:pt x="339" y="380"/>
                    </a:lnTo>
                    <a:lnTo>
                      <a:pt x="341" y="380"/>
                    </a:lnTo>
                    <a:lnTo>
                      <a:pt x="341" y="380"/>
                    </a:lnTo>
                    <a:lnTo>
                      <a:pt x="343" y="380"/>
                    </a:lnTo>
                    <a:lnTo>
                      <a:pt x="347" y="388"/>
                    </a:lnTo>
                    <a:lnTo>
                      <a:pt x="368" y="398"/>
                    </a:lnTo>
                    <a:lnTo>
                      <a:pt x="370" y="400"/>
                    </a:lnTo>
                    <a:lnTo>
                      <a:pt x="372" y="401"/>
                    </a:lnTo>
                    <a:lnTo>
                      <a:pt x="376" y="405"/>
                    </a:lnTo>
                    <a:lnTo>
                      <a:pt x="376" y="407"/>
                    </a:lnTo>
                    <a:lnTo>
                      <a:pt x="378" y="409"/>
                    </a:lnTo>
                    <a:lnTo>
                      <a:pt x="380" y="411"/>
                    </a:lnTo>
                    <a:lnTo>
                      <a:pt x="383" y="411"/>
                    </a:lnTo>
                    <a:lnTo>
                      <a:pt x="385" y="411"/>
                    </a:lnTo>
                    <a:lnTo>
                      <a:pt x="387" y="411"/>
                    </a:lnTo>
                    <a:lnTo>
                      <a:pt x="389" y="411"/>
                    </a:lnTo>
                    <a:lnTo>
                      <a:pt x="393" y="409"/>
                    </a:lnTo>
                    <a:lnTo>
                      <a:pt x="395" y="409"/>
                    </a:lnTo>
                    <a:lnTo>
                      <a:pt x="397" y="409"/>
                    </a:lnTo>
                    <a:lnTo>
                      <a:pt x="399" y="411"/>
                    </a:lnTo>
                    <a:lnTo>
                      <a:pt x="410" y="419"/>
                    </a:lnTo>
                    <a:lnTo>
                      <a:pt x="416" y="424"/>
                    </a:lnTo>
                    <a:lnTo>
                      <a:pt x="420" y="426"/>
                    </a:lnTo>
                    <a:lnTo>
                      <a:pt x="421" y="424"/>
                    </a:lnTo>
                    <a:lnTo>
                      <a:pt x="423" y="424"/>
                    </a:lnTo>
                    <a:lnTo>
                      <a:pt x="425" y="422"/>
                    </a:lnTo>
                    <a:lnTo>
                      <a:pt x="425" y="422"/>
                    </a:lnTo>
                    <a:lnTo>
                      <a:pt x="427" y="422"/>
                    </a:lnTo>
                    <a:lnTo>
                      <a:pt x="429" y="422"/>
                    </a:lnTo>
                    <a:lnTo>
                      <a:pt x="429" y="422"/>
                    </a:lnTo>
                    <a:lnTo>
                      <a:pt x="431" y="422"/>
                    </a:lnTo>
                    <a:lnTo>
                      <a:pt x="431" y="420"/>
                    </a:lnTo>
                    <a:lnTo>
                      <a:pt x="431" y="419"/>
                    </a:lnTo>
                    <a:lnTo>
                      <a:pt x="431" y="417"/>
                    </a:lnTo>
                    <a:lnTo>
                      <a:pt x="433" y="417"/>
                    </a:lnTo>
                    <a:lnTo>
                      <a:pt x="435" y="417"/>
                    </a:lnTo>
                    <a:lnTo>
                      <a:pt x="439" y="417"/>
                    </a:lnTo>
                    <a:lnTo>
                      <a:pt x="441" y="415"/>
                    </a:lnTo>
                    <a:lnTo>
                      <a:pt x="441" y="415"/>
                    </a:lnTo>
                    <a:lnTo>
                      <a:pt x="441" y="413"/>
                    </a:lnTo>
                    <a:lnTo>
                      <a:pt x="439" y="411"/>
                    </a:lnTo>
                    <a:lnTo>
                      <a:pt x="437" y="409"/>
                    </a:lnTo>
                    <a:lnTo>
                      <a:pt x="435" y="407"/>
                    </a:lnTo>
                    <a:lnTo>
                      <a:pt x="435" y="405"/>
                    </a:lnTo>
                    <a:lnTo>
                      <a:pt x="435" y="401"/>
                    </a:lnTo>
                    <a:lnTo>
                      <a:pt x="433" y="400"/>
                    </a:lnTo>
                    <a:lnTo>
                      <a:pt x="431" y="398"/>
                    </a:lnTo>
                    <a:lnTo>
                      <a:pt x="429" y="396"/>
                    </a:lnTo>
                    <a:lnTo>
                      <a:pt x="425" y="394"/>
                    </a:lnTo>
                    <a:lnTo>
                      <a:pt x="425" y="392"/>
                    </a:lnTo>
                    <a:lnTo>
                      <a:pt x="425" y="392"/>
                    </a:lnTo>
                    <a:lnTo>
                      <a:pt x="423" y="390"/>
                    </a:lnTo>
                    <a:lnTo>
                      <a:pt x="423" y="388"/>
                    </a:lnTo>
                    <a:lnTo>
                      <a:pt x="423" y="388"/>
                    </a:lnTo>
                    <a:lnTo>
                      <a:pt x="423" y="388"/>
                    </a:lnTo>
                    <a:lnTo>
                      <a:pt x="423" y="388"/>
                    </a:lnTo>
                    <a:lnTo>
                      <a:pt x="423" y="388"/>
                    </a:lnTo>
                    <a:lnTo>
                      <a:pt x="423" y="386"/>
                    </a:lnTo>
                    <a:lnTo>
                      <a:pt x="425" y="386"/>
                    </a:lnTo>
                    <a:lnTo>
                      <a:pt x="427" y="388"/>
                    </a:lnTo>
                    <a:lnTo>
                      <a:pt x="429" y="386"/>
                    </a:lnTo>
                    <a:lnTo>
                      <a:pt x="429" y="386"/>
                    </a:lnTo>
                    <a:lnTo>
                      <a:pt x="429" y="386"/>
                    </a:lnTo>
                    <a:lnTo>
                      <a:pt x="429" y="384"/>
                    </a:lnTo>
                    <a:lnTo>
                      <a:pt x="429" y="384"/>
                    </a:lnTo>
                    <a:lnTo>
                      <a:pt x="429" y="380"/>
                    </a:lnTo>
                    <a:lnTo>
                      <a:pt x="427" y="380"/>
                    </a:lnTo>
                    <a:lnTo>
                      <a:pt x="425" y="379"/>
                    </a:lnTo>
                    <a:lnTo>
                      <a:pt x="423" y="377"/>
                    </a:lnTo>
                    <a:lnTo>
                      <a:pt x="420" y="375"/>
                    </a:lnTo>
                    <a:lnTo>
                      <a:pt x="414" y="375"/>
                    </a:lnTo>
                    <a:lnTo>
                      <a:pt x="412" y="375"/>
                    </a:lnTo>
                    <a:lnTo>
                      <a:pt x="412" y="373"/>
                    </a:lnTo>
                    <a:lnTo>
                      <a:pt x="410" y="371"/>
                    </a:lnTo>
                    <a:lnTo>
                      <a:pt x="408" y="369"/>
                    </a:lnTo>
                    <a:lnTo>
                      <a:pt x="408" y="363"/>
                    </a:lnTo>
                    <a:lnTo>
                      <a:pt x="400" y="356"/>
                    </a:lnTo>
                    <a:lnTo>
                      <a:pt x="397" y="354"/>
                    </a:lnTo>
                    <a:lnTo>
                      <a:pt x="397" y="354"/>
                    </a:lnTo>
                    <a:lnTo>
                      <a:pt x="395" y="354"/>
                    </a:lnTo>
                    <a:lnTo>
                      <a:pt x="393" y="354"/>
                    </a:lnTo>
                    <a:lnTo>
                      <a:pt x="391" y="354"/>
                    </a:lnTo>
                    <a:lnTo>
                      <a:pt x="385" y="348"/>
                    </a:lnTo>
                    <a:lnTo>
                      <a:pt x="383" y="346"/>
                    </a:lnTo>
                    <a:lnTo>
                      <a:pt x="383" y="344"/>
                    </a:lnTo>
                    <a:lnTo>
                      <a:pt x="385" y="341"/>
                    </a:lnTo>
                    <a:lnTo>
                      <a:pt x="385" y="339"/>
                    </a:lnTo>
                    <a:lnTo>
                      <a:pt x="385" y="337"/>
                    </a:lnTo>
                    <a:lnTo>
                      <a:pt x="385" y="335"/>
                    </a:lnTo>
                    <a:lnTo>
                      <a:pt x="387" y="333"/>
                    </a:lnTo>
                    <a:lnTo>
                      <a:pt x="387" y="331"/>
                    </a:lnTo>
                    <a:lnTo>
                      <a:pt x="385" y="329"/>
                    </a:lnTo>
                    <a:lnTo>
                      <a:pt x="385" y="329"/>
                    </a:lnTo>
                    <a:lnTo>
                      <a:pt x="387" y="327"/>
                    </a:lnTo>
                    <a:lnTo>
                      <a:pt x="389" y="325"/>
                    </a:lnTo>
                    <a:lnTo>
                      <a:pt x="391" y="323"/>
                    </a:lnTo>
                    <a:lnTo>
                      <a:pt x="393" y="323"/>
                    </a:lnTo>
                    <a:lnTo>
                      <a:pt x="395" y="323"/>
                    </a:lnTo>
                    <a:lnTo>
                      <a:pt x="397" y="323"/>
                    </a:lnTo>
                    <a:lnTo>
                      <a:pt x="397" y="323"/>
                    </a:lnTo>
                    <a:lnTo>
                      <a:pt x="399" y="322"/>
                    </a:lnTo>
                    <a:lnTo>
                      <a:pt x="399" y="322"/>
                    </a:lnTo>
                    <a:lnTo>
                      <a:pt x="397" y="322"/>
                    </a:lnTo>
                    <a:lnTo>
                      <a:pt x="397" y="320"/>
                    </a:lnTo>
                    <a:lnTo>
                      <a:pt x="395" y="320"/>
                    </a:lnTo>
                    <a:lnTo>
                      <a:pt x="393" y="320"/>
                    </a:lnTo>
                    <a:lnTo>
                      <a:pt x="393" y="320"/>
                    </a:lnTo>
                    <a:lnTo>
                      <a:pt x="393" y="320"/>
                    </a:lnTo>
                    <a:lnTo>
                      <a:pt x="393" y="320"/>
                    </a:lnTo>
                    <a:lnTo>
                      <a:pt x="393" y="320"/>
                    </a:lnTo>
                    <a:lnTo>
                      <a:pt x="391" y="320"/>
                    </a:lnTo>
                    <a:lnTo>
                      <a:pt x="374" y="318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0" y="318"/>
                    </a:lnTo>
                    <a:lnTo>
                      <a:pt x="359" y="318"/>
                    </a:lnTo>
                    <a:lnTo>
                      <a:pt x="357" y="320"/>
                    </a:lnTo>
                    <a:lnTo>
                      <a:pt x="355" y="318"/>
                    </a:lnTo>
                    <a:lnTo>
                      <a:pt x="353" y="316"/>
                    </a:lnTo>
                    <a:lnTo>
                      <a:pt x="338" y="299"/>
                    </a:lnTo>
                    <a:lnTo>
                      <a:pt x="334" y="297"/>
                    </a:lnTo>
                    <a:lnTo>
                      <a:pt x="332" y="297"/>
                    </a:lnTo>
                    <a:lnTo>
                      <a:pt x="330" y="295"/>
                    </a:lnTo>
                    <a:lnTo>
                      <a:pt x="328" y="295"/>
                    </a:lnTo>
                    <a:lnTo>
                      <a:pt x="322" y="297"/>
                    </a:lnTo>
                    <a:lnTo>
                      <a:pt x="320" y="297"/>
                    </a:lnTo>
                    <a:lnTo>
                      <a:pt x="320" y="297"/>
                    </a:lnTo>
                    <a:lnTo>
                      <a:pt x="318" y="295"/>
                    </a:lnTo>
                    <a:lnTo>
                      <a:pt x="318" y="295"/>
                    </a:lnTo>
                    <a:lnTo>
                      <a:pt x="318" y="291"/>
                    </a:lnTo>
                    <a:lnTo>
                      <a:pt x="315" y="287"/>
                    </a:lnTo>
                    <a:lnTo>
                      <a:pt x="313" y="283"/>
                    </a:lnTo>
                    <a:lnTo>
                      <a:pt x="313" y="282"/>
                    </a:lnTo>
                    <a:lnTo>
                      <a:pt x="315" y="278"/>
                    </a:lnTo>
                    <a:lnTo>
                      <a:pt x="317" y="274"/>
                    </a:lnTo>
                    <a:lnTo>
                      <a:pt x="318" y="272"/>
                    </a:lnTo>
                    <a:lnTo>
                      <a:pt x="318" y="272"/>
                    </a:lnTo>
                    <a:lnTo>
                      <a:pt x="320" y="270"/>
                    </a:lnTo>
                    <a:lnTo>
                      <a:pt x="320" y="266"/>
                    </a:lnTo>
                    <a:lnTo>
                      <a:pt x="320" y="264"/>
                    </a:lnTo>
                    <a:lnTo>
                      <a:pt x="320" y="264"/>
                    </a:lnTo>
                    <a:lnTo>
                      <a:pt x="320" y="263"/>
                    </a:lnTo>
                    <a:lnTo>
                      <a:pt x="320" y="263"/>
                    </a:lnTo>
                    <a:lnTo>
                      <a:pt x="318" y="261"/>
                    </a:lnTo>
                    <a:lnTo>
                      <a:pt x="315" y="263"/>
                    </a:lnTo>
                    <a:lnTo>
                      <a:pt x="315" y="261"/>
                    </a:lnTo>
                    <a:lnTo>
                      <a:pt x="315" y="261"/>
                    </a:lnTo>
                    <a:lnTo>
                      <a:pt x="313" y="259"/>
                    </a:lnTo>
                    <a:lnTo>
                      <a:pt x="313" y="259"/>
                    </a:lnTo>
                    <a:lnTo>
                      <a:pt x="313" y="255"/>
                    </a:lnTo>
                    <a:lnTo>
                      <a:pt x="313" y="255"/>
                    </a:lnTo>
                    <a:lnTo>
                      <a:pt x="313" y="253"/>
                    </a:lnTo>
                    <a:lnTo>
                      <a:pt x="315" y="253"/>
                    </a:lnTo>
                    <a:lnTo>
                      <a:pt x="322" y="251"/>
                    </a:lnTo>
                    <a:lnTo>
                      <a:pt x="324" y="251"/>
                    </a:lnTo>
                    <a:lnTo>
                      <a:pt x="328" y="251"/>
                    </a:lnTo>
                    <a:lnTo>
                      <a:pt x="334" y="249"/>
                    </a:lnTo>
                    <a:lnTo>
                      <a:pt x="336" y="249"/>
                    </a:lnTo>
                    <a:lnTo>
                      <a:pt x="336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4" y="242"/>
                    </a:lnTo>
                    <a:lnTo>
                      <a:pt x="334" y="242"/>
                    </a:lnTo>
                    <a:lnTo>
                      <a:pt x="334" y="240"/>
                    </a:lnTo>
                    <a:lnTo>
                      <a:pt x="336" y="240"/>
                    </a:lnTo>
                    <a:lnTo>
                      <a:pt x="336" y="238"/>
                    </a:lnTo>
                    <a:lnTo>
                      <a:pt x="338" y="238"/>
                    </a:lnTo>
                    <a:lnTo>
                      <a:pt x="339" y="238"/>
                    </a:lnTo>
                    <a:lnTo>
                      <a:pt x="341" y="238"/>
                    </a:lnTo>
                    <a:lnTo>
                      <a:pt x="347" y="242"/>
                    </a:lnTo>
                    <a:lnTo>
                      <a:pt x="351" y="242"/>
                    </a:lnTo>
                    <a:lnTo>
                      <a:pt x="351" y="244"/>
                    </a:lnTo>
                    <a:lnTo>
                      <a:pt x="349" y="249"/>
                    </a:lnTo>
                    <a:lnTo>
                      <a:pt x="349" y="251"/>
                    </a:lnTo>
                    <a:lnTo>
                      <a:pt x="349" y="251"/>
                    </a:lnTo>
                    <a:lnTo>
                      <a:pt x="349" y="251"/>
                    </a:lnTo>
                    <a:lnTo>
                      <a:pt x="351" y="253"/>
                    </a:lnTo>
                    <a:lnTo>
                      <a:pt x="351" y="253"/>
                    </a:lnTo>
                    <a:lnTo>
                      <a:pt x="353" y="253"/>
                    </a:lnTo>
                    <a:lnTo>
                      <a:pt x="355" y="253"/>
                    </a:lnTo>
                    <a:lnTo>
                      <a:pt x="357" y="255"/>
                    </a:lnTo>
                    <a:lnTo>
                      <a:pt x="360" y="257"/>
                    </a:lnTo>
                    <a:lnTo>
                      <a:pt x="360" y="259"/>
                    </a:lnTo>
                    <a:lnTo>
                      <a:pt x="362" y="259"/>
                    </a:lnTo>
                    <a:lnTo>
                      <a:pt x="364" y="259"/>
                    </a:lnTo>
                    <a:lnTo>
                      <a:pt x="368" y="259"/>
                    </a:lnTo>
                    <a:lnTo>
                      <a:pt x="372" y="255"/>
                    </a:lnTo>
                    <a:lnTo>
                      <a:pt x="374" y="253"/>
                    </a:lnTo>
                    <a:lnTo>
                      <a:pt x="376" y="253"/>
                    </a:lnTo>
                    <a:lnTo>
                      <a:pt x="376" y="251"/>
                    </a:lnTo>
                    <a:lnTo>
                      <a:pt x="376" y="251"/>
                    </a:lnTo>
                    <a:lnTo>
                      <a:pt x="376" y="251"/>
                    </a:lnTo>
                    <a:lnTo>
                      <a:pt x="376" y="251"/>
                    </a:lnTo>
                    <a:lnTo>
                      <a:pt x="376" y="251"/>
                    </a:lnTo>
                    <a:lnTo>
                      <a:pt x="378" y="249"/>
                    </a:lnTo>
                    <a:lnTo>
                      <a:pt x="378" y="247"/>
                    </a:lnTo>
                    <a:lnTo>
                      <a:pt x="378" y="245"/>
                    </a:lnTo>
                    <a:lnTo>
                      <a:pt x="378" y="244"/>
                    </a:lnTo>
                    <a:lnTo>
                      <a:pt x="378" y="242"/>
                    </a:lnTo>
                    <a:lnTo>
                      <a:pt x="380" y="240"/>
                    </a:lnTo>
                    <a:lnTo>
                      <a:pt x="381" y="238"/>
                    </a:lnTo>
                    <a:lnTo>
                      <a:pt x="385" y="236"/>
                    </a:lnTo>
                    <a:lnTo>
                      <a:pt x="391" y="232"/>
                    </a:lnTo>
                    <a:lnTo>
                      <a:pt x="402" y="230"/>
                    </a:lnTo>
                    <a:lnTo>
                      <a:pt x="408" y="226"/>
                    </a:lnTo>
                    <a:lnTo>
                      <a:pt x="416" y="224"/>
                    </a:lnTo>
                    <a:lnTo>
                      <a:pt x="431" y="223"/>
                    </a:lnTo>
                    <a:lnTo>
                      <a:pt x="435" y="221"/>
                    </a:lnTo>
                    <a:lnTo>
                      <a:pt x="437" y="217"/>
                    </a:lnTo>
                    <a:lnTo>
                      <a:pt x="437" y="213"/>
                    </a:lnTo>
                    <a:lnTo>
                      <a:pt x="437" y="211"/>
                    </a:lnTo>
                    <a:lnTo>
                      <a:pt x="437" y="209"/>
                    </a:lnTo>
                    <a:lnTo>
                      <a:pt x="437" y="209"/>
                    </a:lnTo>
                    <a:lnTo>
                      <a:pt x="437" y="207"/>
                    </a:lnTo>
                    <a:lnTo>
                      <a:pt x="437" y="205"/>
                    </a:lnTo>
                    <a:lnTo>
                      <a:pt x="437" y="204"/>
                    </a:lnTo>
                    <a:lnTo>
                      <a:pt x="439" y="204"/>
                    </a:lnTo>
                    <a:lnTo>
                      <a:pt x="441" y="202"/>
                    </a:lnTo>
                    <a:lnTo>
                      <a:pt x="442" y="200"/>
                    </a:lnTo>
                    <a:lnTo>
                      <a:pt x="442" y="200"/>
                    </a:lnTo>
                    <a:lnTo>
                      <a:pt x="442" y="198"/>
                    </a:lnTo>
                    <a:lnTo>
                      <a:pt x="442" y="198"/>
                    </a:lnTo>
                    <a:lnTo>
                      <a:pt x="442" y="196"/>
                    </a:lnTo>
                    <a:lnTo>
                      <a:pt x="444" y="196"/>
                    </a:lnTo>
                    <a:lnTo>
                      <a:pt x="444" y="196"/>
                    </a:lnTo>
                    <a:lnTo>
                      <a:pt x="446" y="196"/>
                    </a:lnTo>
                    <a:lnTo>
                      <a:pt x="448" y="196"/>
                    </a:lnTo>
                    <a:lnTo>
                      <a:pt x="454" y="200"/>
                    </a:lnTo>
                    <a:lnTo>
                      <a:pt x="458" y="202"/>
                    </a:lnTo>
                    <a:lnTo>
                      <a:pt x="460" y="202"/>
                    </a:lnTo>
                    <a:lnTo>
                      <a:pt x="462" y="202"/>
                    </a:lnTo>
                    <a:lnTo>
                      <a:pt x="462" y="202"/>
                    </a:lnTo>
                    <a:lnTo>
                      <a:pt x="465" y="205"/>
                    </a:lnTo>
                    <a:lnTo>
                      <a:pt x="467" y="207"/>
                    </a:lnTo>
                    <a:lnTo>
                      <a:pt x="469" y="209"/>
                    </a:lnTo>
                    <a:lnTo>
                      <a:pt x="477" y="209"/>
                    </a:lnTo>
                    <a:lnTo>
                      <a:pt x="481" y="209"/>
                    </a:lnTo>
                    <a:lnTo>
                      <a:pt x="481" y="207"/>
                    </a:lnTo>
                    <a:lnTo>
                      <a:pt x="481" y="207"/>
                    </a:lnTo>
                    <a:lnTo>
                      <a:pt x="481" y="205"/>
                    </a:lnTo>
                    <a:lnTo>
                      <a:pt x="479" y="204"/>
                    </a:lnTo>
                    <a:lnTo>
                      <a:pt x="477" y="202"/>
                    </a:lnTo>
                    <a:lnTo>
                      <a:pt x="477" y="202"/>
                    </a:lnTo>
                    <a:lnTo>
                      <a:pt x="477" y="200"/>
                    </a:lnTo>
                    <a:lnTo>
                      <a:pt x="479" y="200"/>
                    </a:lnTo>
                    <a:lnTo>
                      <a:pt x="479" y="200"/>
                    </a:lnTo>
                    <a:lnTo>
                      <a:pt x="481" y="200"/>
                    </a:lnTo>
                    <a:lnTo>
                      <a:pt x="482" y="200"/>
                    </a:lnTo>
                    <a:lnTo>
                      <a:pt x="484" y="202"/>
                    </a:lnTo>
                    <a:lnTo>
                      <a:pt x="486" y="202"/>
                    </a:lnTo>
                    <a:lnTo>
                      <a:pt x="486" y="202"/>
                    </a:lnTo>
                    <a:lnTo>
                      <a:pt x="488" y="204"/>
                    </a:lnTo>
                    <a:lnTo>
                      <a:pt x="488" y="204"/>
                    </a:lnTo>
                    <a:lnTo>
                      <a:pt x="490" y="204"/>
                    </a:lnTo>
                    <a:lnTo>
                      <a:pt x="490" y="202"/>
                    </a:lnTo>
                    <a:lnTo>
                      <a:pt x="490" y="200"/>
                    </a:lnTo>
                    <a:lnTo>
                      <a:pt x="490" y="198"/>
                    </a:lnTo>
                    <a:lnTo>
                      <a:pt x="492" y="196"/>
                    </a:lnTo>
                    <a:lnTo>
                      <a:pt x="492" y="196"/>
                    </a:lnTo>
                    <a:lnTo>
                      <a:pt x="494" y="196"/>
                    </a:lnTo>
                    <a:lnTo>
                      <a:pt x="494" y="194"/>
                    </a:lnTo>
                    <a:lnTo>
                      <a:pt x="496" y="192"/>
                    </a:lnTo>
                    <a:lnTo>
                      <a:pt x="496" y="192"/>
                    </a:lnTo>
                    <a:lnTo>
                      <a:pt x="496" y="190"/>
                    </a:lnTo>
                    <a:lnTo>
                      <a:pt x="494" y="188"/>
                    </a:lnTo>
                    <a:lnTo>
                      <a:pt x="492" y="186"/>
                    </a:lnTo>
                    <a:lnTo>
                      <a:pt x="492" y="185"/>
                    </a:lnTo>
                    <a:lnTo>
                      <a:pt x="492" y="185"/>
                    </a:lnTo>
                    <a:lnTo>
                      <a:pt x="492" y="183"/>
                    </a:lnTo>
                    <a:lnTo>
                      <a:pt x="490" y="183"/>
                    </a:lnTo>
                    <a:lnTo>
                      <a:pt x="488" y="181"/>
                    </a:lnTo>
                    <a:lnTo>
                      <a:pt x="488" y="179"/>
                    </a:lnTo>
                    <a:lnTo>
                      <a:pt x="488" y="179"/>
                    </a:lnTo>
                    <a:lnTo>
                      <a:pt x="490" y="177"/>
                    </a:lnTo>
                    <a:lnTo>
                      <a:pt x="492" y="177"/>
                    </a:lnTo>
                    <a:lnTo>
                      <a:pt x="498" y="175"/>
                    </a:lnTo>
                    <a:lnTo>
                      <a:pt x="498" y="175"/>
                    </a:lnTo>
                    <a:lnTo>
                      <a:pt x="500" y="177"/>
                    </a:lnTo>
                    <a:lnTo>
                      <a:pt x="500" y="177"/>
                    </a:lnTo>
                    <a:lnTo>
                      <a:pt x="500" y="179"/>
                    </a:lnTo>
                    <a:lnTo>
                      <a:pt x="502" y="181"/>
                    </a:lnTo>
                    <a:lnTo>
                      <a:pt x="502" y="183"/>
                    </a:lnTo>
                    <a:lnTo>
                      <a:pt x="502" y="183"/>
                    </a:lnTo>
                    <a:lnTo>
                      <a:pt x="502" y="183"/>
                    </a:lnTo>
                    <a:lnTo>
                      <a:pt x="509" y="181"/>
                    </a:lnTo>
                    <a:lnTo>
                      <a:pt x="513" y="181"/>
                    </a:lnTo>
                    <a:lnTo>
                      <a:pt x="515" y="181"/>
                    </a:lnTo>
                    <a:lnTo>
                      <a:pt x="517" y="181"/>
                    </a:lnTo>
                    <a:lnTo>
                      <a:pt x="519" y="179"/>
                    </a:lnTo>
                    <a:lnTo>
                      <a:pt x="521" y="177"/>
                    </a:lnTo>
                    <a:lnTo>
                      <a:pt x="521" y="177"/>
                    </a:lnTo>
                    <a:lnTo>
                      <a:pt x="521" y="175"/>
                    </a:lnTo>
                    <a:lnTo>
                      <a:pt x="521" y="171"/>
                    </a:lnTo>
                    <a:lnTo>
                      <a:pt x="521" y="169"/>
                    </a:lnTo>
                    <a:lnTo>
                      <a:pt x="521" y="165"/>
                    </a:lnTo>
                    <a:lnTo>
                      <a:pt x="521" y="165"/>
                    </a:lnTo>
                    <a:lnTo>
                      <a:pt x="523" y="164"/>
                    </a:lnTo>
                    <a:lnTo>
                      <a:pt x="523" y="164"/>
                    </a:lnTo>
                    <a:lnTo>
                      <a:pt x="524" y="164"/>
                    </a:lnTo>
                    <a:lnTo>
                      <a:pt x="526" y="165"/>
                    </a:lnTo>
                    <a:lnTo>
                      <a:pt x="528" y="167"/>
                    </a:lnTo>
                    <a:lnTo>
                      <a:pt x="530" y="167"/>
                    </a:lnTo>
                    <a:lnTo>
                      <a:pt x="532" y="167"/>
                    </a:lnTo>
                    <a:lnTo>
                      <a:pt x="532" y="164"/>
                    </a:lnTo>
                    <a:lnTo>
                      <a:pt x="534" y="164"/>
                    </a:lnTo>
                    <a:lnTo>
                      <a:pt x="534" y="160"/>
                    </a:lnTo>
                    <a:lnTo>
                      <a:pt x="534" y="158"/>
                    </a:lnTo>
                    <a:lnTo>
                      <a:pt x="536" y="158"/>
                    </a:lnTo>
                    <a:lnTo>
                      <a:pt x="540" y="158"/>
                    </a:lnTo>
                    <a:lnTo>
                      <a:pt x="542" y="158"/>
                    </a:lnTo>
                    <a:lnTo>
                      <a:pt x="544" y="158"/>
                    </a:lnTo>
                    <a:lnTo>
                      <a:pt x="544" y="156"/>
                    </a:lnTo>
                    <a:lnTo>
                      <a:pt x="542" y="154"/>
                    </a:lnTo>
                    <a:lnTo>
                      <a:pt x="542" y="152"/>
                    </a:lnTo>
                    <a:lnTo>
                      <a:pt x="540" y="152"/>
                    </a:lnTo>
                    <a:lnTo>
                      <a:pt x="540" y="152"/>
                    </a:lnTo>
                    <a:lnTo>
                      <a:pt x="538" y="152"/>
                    </a:lnTo>
                    <a:lnTo>
                      <a:pt x="538" y="152"/>
                    </a:lnTo>
                    <a:lnTo>
                      <a:pt x="538" y="152"/>
                    </a:lnTo>
                    <a:lnTo>
                      <a:pt x="538" y="150"/>
                    </a:lnTo>
                    <a:lnTo>
                      <a:pt x="538" y="148"/>
                    </a:lnTo>
                    <a:lnTo>
                      <a:pt x="538" y="148"/>
                    </a:lnTo>
                    <a:lnTo>
                      <a:pt x="540" y="146"/>
                    </a:lnTo>
                    <a:lnTo>
                      <a:pt x="542" y="145"/>
                    </a:lnTo>
                    <a:lnTo>
                      <a:pt x="544" y="145"/>
                    </a:lnTo>
                    <a:lnTo>
                      <a:pt x="547" y="143"/>
                    </a:lnTo>
                    <a:lnTo>
                      <a:pt x="549" y="139"/>
                    </a:lnTo>
                    <a:lnTo>
                      <a:pt x="551" y="137"/>
                    </a:lnTo>
                    <a:lnTo>
                      <a:pt x="557" y="126"/>
                    </a:lnTo>
                    <a:lnTo>
                      <a:pt x="557" y="124"/>
                    </a:lnTo>
                    <a:lnTo>
                      <a:pt x="557" y="122"/>
                    </a:lnTo>
                    <a:lnTo>
                      <a:pt x="557" y="120"/>
                    </a:lnTo>
                    <a:lnTo>
                      <a:pt x="557" y="120"/>
                    </a:lnTo>
                    <a:lnTo>
                      <a:pt x="557" y="118"/>
                    </a:lnTo>
                    <a:lnTo>
                      <a:pt x="559" y="118"/>
                    </a:lnTo>
                    <a:lnTo>
                      <a:pt x="559" y="116"/>
                    </a:lnTo>
                    <a:lnTo>
                      <a:pt x="561" y="116"/>
                    </a:lnTo>
                    <a:lnTo>
                      <a:pt x="561" y="114"/>
                    </a:lnTo>
                    <a:lnTo>
                      <a:pt x="561" y="114"/>
                    </a:lnTo>
                    <a:lnTo>
                      <a:pt x="561" y="112"/>
                    </a:lnTo>
                    <a:lnTo>
                      <a:pt x="559" y="110"/>
                    </a:lnTo>
                    <a:lnTo>
                      <a:pt x="559" y="110"/>
                    </a:lnTo>
                    <a:lnTo>
                      <a:pt x="559" y="107"/>
                    </a:lnTo>
                    <a:lnTo>
                      <a:pt x="559" y="105"/>
                    </a:lnTo>
                    <a:lnTo>
                      <a:pt x="559" y="105"/>
                    </a:lnTo>
                    <a:lnTo>
                      <a:pt x="557" y="105"/>
                    </a:lnTo>
                    <a:lnTo>
                      <a:pt x="555" y="103"/>
                    </a:lnTo>
                    <a:lnTo>
                      <a:pt x="555" y="103"/>
                    </a:lnTo>
                    <a:lnTo>
                      <a:pt x="553" y="101"/>
                    </a:lnTo>
                    <a:lnTo>
                      <a:pt x="555" y="101"/>
                    </a:lnTo>
                    <a:lnTo>
                      <a:pt x="557" y="101"/>
                    </a:lnTo>
                    <a:lnTo>
                      <a:pt x="559" y="101"/>
                    </a:lnTo>
                    <a:lnTo>
                      <a:pt x="559" y="101"/>
                    </a:lnTo>
                    <a:lnTo>
                      <a:pt x="561" y="103"/>
                    </a:lnTo>
                    <a:lnTo>
                      <a:pt x="563" y="103"/>
                    </a:lnTo>
                    <a:lnTo>
                      <a:pt x="563" y="103"/>
                    </a:lnTo>
                    <a:lnTo>
                      <a:pt x="564" y="103"/>
                    </a:lnTo>
                    <a:lnTo>
                      <a:pt x="566" y="103"/>
                    </a:lnTo>
                    <a:lnTo>
                      <a:pt x="568" y="103"/>
                    </a:lnTo>
                    <a:lnTo>
                      <a:pt x="570" y="103"/>
                    </a:lnTo>
                    <a:lnTo>
                      <a:pt x="572" y="101"/>
                    </a:lnTo>
                    <a:lnTo>
                      <a:pt x="572" y="101"/>
                    </a:lnTo>
                    <a:lnTo>
                      <a:pt x="572" y="97"/>
                    </a:lnTo>
                    <a:lnTo>
                      <a:pt x="572" y="97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4" name="Freeform 26">
                <a:extLst>
                  <a:ext uri="{FF2B5EF4-FFF2-40B4-BE49-F238E27FC236}">
                    <a16:creationId xmlns:a16="http://schemas.microsoft.com/office/drawing/2014/main" id="{8FB88FEA-F51E-40A2-8347-676560E23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444" y="1827686"/>
                <a:ext cx="1139825" cy="763588"/>
              </a:xfrm>
              <a:custGeom>
                <a:avLst/>
                <a:gdLst>
                  <a:gd name="T0" fmla="*/ 698 w 718"/>
                  <a:gd name="T1" fmla="*/ 378 h 481"/>
                  <a:gd name="T2" fmla="*/ 684 w 718"/>
                  <a:gd name="T3" fmla="*/ 348 h 481"/>
                  <a:gd name="T4" fmla="*/ 659 w 718"/>
                  <a:gd name="T5" fmla="*/ 333 h 481"/>
                  <a:gd name="T6" fmla="*/ 629 w 718"/>
                  <a:gd name="T7" fmla="*/ 256 h 481"/>
                  <a:gd name="T8" fmla="*/ 654 w 718"/>
                  <a:gd name="T9" fmla="*/ 184 h 481"/>
                  <a:gd name="T10" fmla="*/ 614 w 718"/>
                  <a:gd name="T11" fmla="*/ 148 h 481"/>
                  <a:gd name="T12" fmla="*/ 549 w 718"/>
                  <a:gd name="T13" fmla="*/ 83 h 481"/>
                  <a:gd name="T14" fmla="*/ 528 w 718"/>
                  <a:gd name="T15" fmla="*/ 0 h 481"/>
                  <a:gd name="T16" fmla="*/ 410 w 718"/>
                  <a:gd name="T17" fmla="*/ 59 h 481"/>
                  <a:gd name="T18" fmla="*/ 394 w 718"/>
                  <a:gd name="T19" fmla="*/ 87 h 481"/>
                  <a:gd name="T20" fmla="*/ 371 w 718"/>
                  <a:gd name="T21" fmla="*/ 102 h 481"/>
                  <a:gd name="T22" fmla="*/ 312 w 718"/>
                  <a:gd name="T23" fmla="*/ 123 h 481"/>
                  <a:gd name="T24" fmla="*/ 270 w 718"/>
                  <a:gd name="T25" fmla="*/ 135 h 481"/>
                  <a:gd name="T26" fmla="*/ 198 w 718"/>
                  <a:gd name="T27" fmla="*/ 142 h 481"/>
                  <a:gd name="T28" fmla="*/ 167 w 718"/>
                  <a:gd name="T29" fmla="*/ 131 h 481"/>
                  <a:gd name="T30" fmla="*/ 22 w 718"/>
                  <a:gd name="T31" fmla="*/ 125 h 481"/>
                  <a:gd name="T32" fmla="*/ 9 w 718"/>
                  <a:gd name="T33" fmla="*/ 152 h 481"/>
                  <a:gd name="T34" fmla="*/ 3 w 718"/>
                  <a:gd name="T35" fmla="*/ 178 h 481"/>
                  <a:gd name="T36" fmla="*/ 28 w 718"/>
                  <a:gd name="T37" fmla="*/ 198 h 481"/>
                  <a:gd name="T38" fmla="*/ 24 w 718"/>
                  <a:gd name="T39" fmla="*/ 226 h 481"/>
                  <a:gd name="T40" fmla="*/ 61 w 718"/>
                  <a:gd name="T41" fmla="*/ 237 h 481"/>
                  <a:gd name="T42" fmla="*/ 24 w 718"/>
                  <a:gd name="T43" fmla="*/ 268 h 481"/>
                  <a:gd name="T44" fmla="*/ 47 w 718"/>
                  <a:gd name="T45" fmla="*/ 304 h 481"/>
                  <a:gd name="T46" fmla="*/ 26 w 718"/>
                  <a:gd name="T47" fmla="*/ 340 h 481"/>
                  <a:gd name="T48" fmla="*/ 66 w 718"/>
                  <a:gd name="T49" fmla="*/ 378 h 481"/>
                  <a:gd name="T50" fmla="*/ 68 w 718"/>
                  <a:gd name="T51" fmla="*/ 409 h 481"/>
                  <a:gd name="T52" fmla="*/ 91 w 718"/>
                  <a:gd name="T53" fmla="*/ 414 h 481"/>
                  <a:gd name="T54" fmla="*/ 112 w 718"/>
                  <a:gd name="T55" fmla="*/ 401 h 481"/>
                  <a:gd name="T56" fmla="*/ 110 w 718"/>
                  <a:gd name="T57" fmla="*/ 433 h 481"/>
                  <a:gd name="T58" fmla="*/ 133 w 718"/>
                  <a:gd name="T59" fmla="*/ 456 h 481"/>
                  <a:gd name="T60" fmla="*/ 183 w 718"/>
                  <a:gd name="T61" fmla="*/ 470 h 481"/>
                  <a:gd name="T62" fmla="*/ 209 w 718"/>
                  <a:gd name="T63" fmla="*/ 475 h 481"/>
                  <a:gd name="T64" fmla="*/ 230 w 718"/>
                  <a:gd name="T65" fmla="*/ 468 h 481"/>
                  <a:gd name="T66" fmla="*/ 253 w 718"/>
                  <a:gd name="T67" fmla="*/ 454 h 481"/>
                  <a:gd name="T68" fmla="*/ 268 w 718"/>
                  <a:gd name="T69" fmla="*/ 435 h 481"/>
                  <a:gd name="T70" fmla="*/ 268 w 718"/>
                  <a:gd name="T71" fmla="*/ 414 h 481"/>
                  <a:gd name="T72" fmla="*/ 257 w 718"/>
                  <a:gd name="T73" fmla="*/ 397 h 481"/>
                  <a:gd name="T74" fmla="*/ 263 w 718"/>
                  <a:gd name="T75" fmla="*/ 386 h 481"/>
                  <a:gd name="T76" fmla="*/ 286 w 718"/>
                  <a:gd name="T77" fmla="*/ 382 h 481"/>
                  <a:gd name="T78" fmla="*/ 312 w 718"/>
                  <a:gd name="T79" fmla="*/ 361 h 481"/>
                  <a:gd name="T80" fmla="*/ 349 w 718"/>
                  <a:gd name="T81" fmla="*/ 342 h 481"/>
                  <a:gd name="T82" fmla="*/ 394 w 718"/>
                  <a:gd name="T83" fmla="*/ 371 h 481"/>
                  <a:gd name="T84" fmla="*/ 452 w 718"/>
                  <a:gd name="T85" fmla="*/ 395 h 481"/>
                  <a:gd name="T86" fmla="*/ 476 w 718"/>
                  <a:gd name="T87" fmla="*/ 388 h 481"/>
                  <a:gd name="T88" fmla="*/ 490 w 718"/>
                  <a:gd name="T89" fmla="*/ 376 h 481"/>
                  <a:gd name="T90" fmla="*/ 513 w 718"/>
                  <a:gd name="T91" fmla="*/ 395 h 481"/>
                  <a:gd name="T92" fmla="*/ 528 w 718"/>
                  <a:gd name="T93" fmla="*/ 430 h 481"/>
                  <a:gd name="T94" fmla="*/ 541 w 718"/>
                  <a:gd name="T95" fmla="*/ 430 h 481"/>
                  <a:gd name="T96" fmla="*/ 558 w 718"/>
                  <a:gd name="T97" fmla="*/ 424 h 481"/>
                  <a:gd name="T98" fmla="*/ 570 w 718"/>
                  <a:gd name="T99" fmla="*/ 412 h 481"/>
                  <a:gd name="T100" fmla="*/ 577 w 718"/>
                  <a:gd name="T101" fmla="*/ 420 h 481"/>
                  <a:gd name="T102" fmla="*/ 568 w 718"/>
                  <a:gd name="T103" fmla="*/ 437 h 481"/>
                  <a:gd name="T104" fmla="*/ 566 w 718"/>
                  <a:gd name="T105" fmla="*/ 456 h 481"/>
                  <a:gd name="T106" fmla="*/ 608 w 718"/>
                  <a:gd name="T107" fmla="*/ 441 h 481"/>
                  <a:gd name="T108" fmla="*/ 621 w 718"/>
                  <a:gd name="T109" fmla="*/ 443 h 481"/>
                  <a:gd name="T110" fmla="*/ 654 w 718"/>
                  <a:gd name="T111" fmla="*/ 471 h 481"/>
                  <a:gd name="T112" fmla="*/ 673 w 718"/>
                  <a:gd name="T113" fmla="*/ 454 h 481"/>
                  <a:gd name="T114" fmla="*/ 709 w 718"/>
                  <a:gd name="T115" fmla="*/ 437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18" h="481">
                    <a:moveTo>
                      <a:pt x="718" y="414"/>
                    </a:moveTo>
                    <a:lnTo>
                      <a:pt x="715" y="412"/>
                    </a:lnTo>
                    <a:lnTo>
                      <a:pt x="711" y="407"/>
                    </a:lnTo>
                    <a:lnTo>
                      <a:pt x="711" y="403"/>
                    </a:lnTo>
                    <a:lnTo>
                      <a:pt x="709" y="399"/>
                    </a:lnTo>
                    <a:lnTo>
                      <a:pt x="707" y="393"/>
                    </a:lnTo>
                    <a:lnTo>
                      <a:pt x="699" y="388"/>
                    </a:lnTo>
                    <a:lnTo>
                      <a:pt x="698" y="384"/>
                    </a:lnTo>
                    <a:lnTo>
                      <a:pt x="698" y="378"/>
                    </a:lnTo>
                    <a:lnTo>
                      <a:pt x="698" y="374"/>
                    </a:lnTo>
                    <a:lnTo>
                      <a:pt x="698" y="367"/>
                    </a:lnTo>
                    <a:lnTo>
                      <a:pt x="699" y="365"/>
                    </a:lnTo>
                    <a:lnTo>
                      <a:pt x="701" y="361"/>
                    </a:lnTo>
                    <a:lnTo>
                      <a:pt x="703" y="357"/>
                    </a:lnTo>
                    <a:lnTo>
                      <a:pt x="703" y="354"/>
                    </a:lnTo>
                    <a:lnTo>
                      <a:pt x="699" y="350"/>
                    </a:lnTo>
                    <a:lnTo>
                      <a:pt x="688" y="350"/>
                    </a:lnTo>
                    <a:lnTo>
                      <a:pt x="684" y="348"/>
                    </a:lnTo>
                    <a:lnTo>
                      <a:pt x="675" y="344"/>
                    </a:lnTo>
                    <a:lnTo>
                      <a:pt x="671" y="344"/>
                    </a:lnTo>
                    <a:lnTo>
                      <a:pt x="667" y="346"/>
                    </a:lnTo>
                    <a:lnTo>
                      <a:pt x="665" y="344"/>
                    </a:lnTo>
                    <a:lnTo>
                      <a:pt x="665" y="340"/>
                    </a:lnTo>
                    <a:lnTo>
                      <a:pt x="665" y="338"/>
                    </a:lnTo>
                    <a:lnTo>
                      <a:pt x="663" y="336"/>
                    </a:lnTo>
                    <a:lnTo>
                      <a:pt x="661" y="334"/>
                    </a:lnTo>
                    <a:lnTo>
                      <a:pt x="659" y="333"/>
                    </a:lnTo>
                    <a:lnTo>
                      <a:pt x="654" y="333"/>
                    </a:lnTo>
                    <a:lnTo>
                      <a:pt x="652" y="331"/>
                    </a:lnTo>
                    <a:lnTo>
                      <a:pt x="644" y="319"/>
                    </a:lnTo>
                    <a:lnTo>
                      <a:pt x="644" y="319"/>
                    </a:lnTo>
                    <a:lnTo>
                      <a:pt x="633" y="308"/>
                    </a:lnTo>
                    <a:lnTo>
                      <a:pt x="631" y="304"/>
                    </a:lnTo>
                    <a:lnTo>
                      <a:pt x="627" y="295"/>
                    </a:lnTo>
                    <a:lnTo>
                      <a:pt x="629" y="266"/>
                    </a:lnTo>
                    <a:lnTo>
                      <a:pt x="629" y="256"/>
                    </a:lnTo>
                    <a:lnTo>
                      <a:pt x="627" y="247"/>
                    </a:lnTo>
                    <a:lnTo>
                      <a:pt x="619" y="228"/>
                    </a:lnTo>
                    <a:lnTo>
                      <a:pt x="621" y="215"/>
                    </a:lnTo>
                    <a:lnTo>
                      <a:pt x="631" y="209"/>
                    </a:lnTo>
                    <a:lnTo>
                      <a:pt x="642" y="203"/>
                    </a:lnTo>
                    <a:lnTo>
                      <a:pt x="652" y="194"/>
                    </a:lnTo>
                    <a:lnTo>
                      <a:pt x="654" y="192"/>
                    </a:lnTo>
                    <a:lnTo>
                      <a:pt x="654" y="188"/>
                    </a:lnTo>
                    <a:lnTo>
                      <a:pt x="654" y="184"/>
                    </a:lnTo>
                    <a:lnTo>
                      <a:pt x="652" y="180"/>
                    </a:lnTo>
                    <a:lnTo>
                      <a:pt x="650" y="177"/>
                    </a:lnTo>
                    <a:lnTo>
                      <a:pt x="650" y="175"/>
                    </a:lnTo>
                    <a:lnTo>
                      <a:pt x="646" y="171"/>
                    </a:lnTo>
                    <a:lnTo>
                      <a:pt x="640" y="169"/>
                    </a:lnTo>
                    <a:lnTo>
                      <a:pt x="635" y="167"/>
                    </a:lnTo>
                    <a:lnTo>
                      <a:pt x="631" y="165"/>
                    </a:lnTo>
                    <a:lnTo>
                      <a:pt x="623" y="156"/>
                    </a:lnTo>
                    <a:lnTo>
                      <a:pt x="614" y="148"/>
                    </a:lnTo>
                    <a:lnTo>
                      <a:pt x="606" y="144"/>
                    </a:lnTo>
                    <a:lnTo>
                      <a:pt x="577" y="140"/>
                    </a:lnTo>
                    <a:lnTo>
                      <a:pt x="572" y="137"/>
                    </a:lnTo>
                    <a:lnTo>
                      <a:pt x="568" y="133"/>
                    </a:lnTo>
                    <a:lnTo>
                      <a:pt x="564" y="127"/>
                    </a:lnTo>
                    <a:lnTo>
                      <a:pt x="556" y="99"/>
                    </a:lnTo>
                    <a:lnTo>
                      <a:pt x="554" y="97"/>
                    </a:lnTo>
                    <a:lnTo>
                      <a:pt x="551" y="89"/>
                    </a:lnTo>
                    <a:lnTo>
                      <a:pt x="549" y="83"/>
                    </a:lnTo>
                    <a:lnTo>
                      <a:pt x="547" y="72"/>
                    </a:lnTo>
                    <a:lnTo>
                      <a:pt x="547" y="66"/>
                    </a:lnTo>
                    <a:lnTo>
                      <a:pt x="534" y="45"/>
                    </a:lnTo>
                    <a:lnTo>
                      <a:pt x="530" y="34"/>
                    </a:lnTo>
                    <a:lnTo>
                      <a:pt x="532" y="22"/>
                    </a:lnTo>
                    <a:lnTo>
                      <a:pt x="535" y="15"/>
                    </a:lnTo>
                    <a:lnTo>
                      <a:pt x="537" y="5"/>
                    </a:lnTo>
                    <a:lnTo>
                      <a:pt x="535" y="0"/>
                    </a:lnTo>
                    <a:lnTo>
                      <a:pt x="528" y="0"/>
                    </a:lnTo>
                    <a:lnTo>
                      <a:pt x="524" y="2"/>
                    </a:lnTo>
                    <a:lnTo>
                      <a:pt x="518" y="7"/>
                    </a:lnTo>
                    <a:lnTo>
                      <a:pt x="514" y="9"/>
                    </a:lnTo>
                    <a:lnTo>
                      <a:pt x="513" y="9"/>
                    </a:lnTo>
                    <a:lnTo>
                      <a:pt x="509" y="5"/>
                    </a:lnTo>
                    <a:lnTo>
                      <a:pt x="507" y="3"/>
                    </a:lnTo>
                    <a:lnTo>
                      <a:pt x="505" y="0"/>
                    </a:lnTo>
                    <a:lnTo>
                      <a:pt x="457" y="28"/>
                    </a:lnTo>
                    <a:lnTo>
                      <a:pt x="410" y="59"/>
                    </a:lnTo>
                    <a:lnTo>
                      <a:pt x="410" y="59"/>
                    </a:lnTo>
                    <a:lnTo>
                      <a:pt x="408" y="62"/>
                    </a:lnTo>
                    <a:lnTo>
                      <a:pt x="408" y="66"/>
                    </a:lnTo>
                    <a:lnTo>
                      <a:pt x="410" y="70"/>
                    </a:lnTo>
                    <a:lnTo>
                      <a:pt x="408" y="74"/>
                    </a:lnTo>
                    <a:lnTo>
                      <a:pt x="406" y="78"/>
                    </a:lnTo>
                    <a:lnTo>
                      <a:pt x="398" y="83"/>
                    </a:lnTo>
                    <a:lnTo>
                      <a:pt x="396" y="85"/>
                    </a:lnTo>
                    <a:lnTo>
                      <a:pt x="394" y="87"/>
                    </a:lnTo>
                    <a:lnTo>
                      <a:pt x="392" y="87"/>
                    </a:lnTo>
                    <a:lnTo>
                      <a:pt x="389" y="85"/>
                    </a:lnTo>
                    <a:lnTo>
                      <a:pt x="387" y="83"/>
                    </a:lnTo>
                    <a:lnTo>
                      <a:pt x="381" y="85"/>
                    </a:lnTo>
                    <a:lnTo>
                      <a:pt x="377" y="85"/>
                    </a:lnTo>
                    <a:lnTo>
                      <a:pt x="373" y="89"/>
                    </a:lnTo>
                    <a:lnTo>
                      <a:pt x="373" y="91"/>
                    </a:lnTo>
                    <a:lnTo>
                      <a:pt x="373" y="100"/>
                    </a:lnTo>
                    <a:lnTo>
                      <a:pt x="371" y="102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49" y="118"/>
                    </a:lnTo>
                    <a:lnTo>
                      <a:pt x="347" y="118"/>
                    </a:lnTo>
                    <a:lnTo>
                      <a:pt x="345" y="116"/>
                    </a:lnTo>
                    <a:lnTo>
                      <a:pt x="339" y="112"/>
                    </a:lnTo>
                    <a:lnTo>
                      <a:pt x="333" y="112"/>
                    </a:lnTo>
                    <a:lnTo>
                      <a:pt x="329" y="114"/>
                    </a:lnTo>
                    <a:lnTo>
                      <a:pt x="312" y="123"/>
                    </a:lnTo>
                    <a:lnTo>
                      <a:pt x="299" y="127"/>
                    </a:lnTo>
                    <a:lnTo>
                      <a:pt x="293" y="127"/>
                    </a:lnTo>
                    <a:lnTo>
                      <a:pt x="286" y="123"/>
                    </a:lnTo>
                    <a:lnTo>
                      <a:pt x="282" y="125"/>
                    </a:lnTo>
                    <a:lnTo>
                      <a:pt x="280" y="127"/>
                    </a:lnTo>
                    <a:lnTo>
                      <a:pt x="278" y="131"/>
                    </a:lnTo>
                    <a:lnTo>
                      <a:pt x="276" y="133"/>
                    </a:lnTo>
                    <a:lnTo>
                      <a:pt x="274" y="133"/>
                    </a:lnTo>
                    <a:lnTo>
                      <a:pt x="270" y="135"/>
                    </a:lnTo>
                    <a:lnTo>
                      <a:pt x="263" y="140"/>
                    </a:lnTo>
                    <a:lnTo>
                      <a:pt x="255" y="148"/>
                    </a:lnTo>
                    <a:lnTo>
                      <a:pt x="253" y="150"/>
                    </a:lnTo>
                    <a:lnTo>
                      <a:pt x="251" y="150"/>
                    </a:lnTo>
                    <a:lnTo>
                      <a:pt x="246" y="150"/>
                    </a:lnTo>
                    <a:lnTo>
                      <a:pt x="244" y="150"/>
                    </a:lnTo>
                    <a:lnTo>
                      <a:pt x="236" y="152"/>
                    </a:lnTo>
                    <a:lnTo>
                      <a:pt x="230" y="152"/>
                    </a:lnTo>
                    <a:lnTo>
                      <a:pt x="198" y="142"/>
                    </a:lnTo>
                    <a:lnTo>
                      <a:pt x="192" y="140"/>
                    </a:lnTo>
                    <a:lnTo>
                      <a:pt x="186" y="137"/>
                    </a:lnTo>
                    <a:lnTo>
                      <a:pt x="185" y="135"/>
                    </a:lnTo>
                    <a:lnTo>
                      <a:pt x="183" y="131"/>
                    </a:lnTo>
                    <a:lnTo>
                      <a:pt x="181" y="131"/>
                    </a:lnTo>
                    <a:lnTo>
                      <a:pt x="181" y="131"/>
                    </a:lnTo>
                    <a:lnTo>
                      <a:pt x="181" y="129"/>
                    </a:lnTo>
                    <a:lnTo>
                      <a:pt x="175" y="129"/>
                    </a:lnTo>
                    <a:lnTo>
                      <a:pt x="167" y="131"/>
                    </a:lnTo>
                    <a:lnTo>
                      <a:pt x="156" y="131"/>
                    </a:lnTo>
                    <a:lnTo>
                      <a:pt x="112" y="123"/>
                    </a:lnTo>
                    <a:lnTo>
                      <a:pt x="80" y="112"/>
                    </a:lnTo>
                    <a:lnTo>
                      <a:pt x="72" y="110"/>
                    </a:lnTo>
                    <a:lnTo>
                      <a:pt x="64" y="110"/>
                    </a:lnTo>
                    <a:lnTo>
                      <a:pt x="55" y="114"/>
                    </a:lnTo>
                    <a:lnTo>
                      <a:pt x="47" y="121"/>
                    </a:lnTo>
                    <a:lnTo>
                      <a:pt x="43" y="123"/>
                    </a:lnTo>
                    <a:lnTo>
                      <a:pt x="22" y="125"/>
                    </a:lnTo>
                    <a:lnTo>
                      <a:pt x="22" y="127"/>
                    </a:lnTo>
                    <a:lnTo>
                      <a:pt x="19" y="129"/>
                    </a:lnTo>
                    <a:lnTo>
                      <a:pt x="17" y="133"/>
                    </a:lnTo>
                    <a:lnTo>
                      <a:pt x="19" y="137"/>
                    </a:lnTo>
                    <a:lnTo>
                      <a:pt x="19" y="142"/>
                    </a:lnTo>
                    <a:lnTo>
                      <a:pt x="17" y="144"/>
                    </a:lnTo>
                    <a:lnTo>
                      <a:pt x="11" y="148"/>
                    </a:lnTo>
                    <a:lnTo>
                      <a:pt x="9" y="152"/>
                    </a:lnTo>
                    <a:lnTo>
                      <a:pt x="9" y="152"/>
                    </a:lnTo>
                    <a:lnTo>
                      <a:pt x="9" y="158"/>
                    </a:lnTo>
                    <a:lnTo>
                      <a:pt x="7" y="159"/>
                    </a:lnTo>
                    <a:lnTo>
                      <a:pt x="7" y="161"/>
                    </a:lnTo>
                    <a:lnTo>
                      <a:pt x="3" y="163"/>
                    </a:lnTo>
                    <a:lnTo>
                      <a:pt x="1" y="163"/>
                    </a:lnTo>
                    <a:lnTo>
                      <a:pt x="0" y="167"/>
                    </a:lnTo>
                    <a:lnTo>
                      <a:pt x="0" y="171"/>
                    </a:lnTo>
                    <a:lnTo>
                      <a:pt x="1" y="175"/>
                    </a:lnTo>
                    <a:lnTo>
                      <a:pt x="3" y="178"/>
                    </a:lnTo>
                    <a:lnTo>
                      <a:pt x="7" y="180"/>
                    </a:lnTo>
                    <a:lnTo>
                      <a:pt x="9" y="180"/>
                    </a:lnTo>
                    <a:lnTo>
                      <a:pt x="13" y="180"/>
                    </a:lnTo>
                    <a:lnTo>
                      <a:pt x="17" y="180"/>
                    </a:lnTo>
                    <a:lnTo>
                      <a:pt x="21" y="180"/>
                    </a:lnTo>
                    <a:lnTo>
                      <a:pt x="22" y="184"/>
                    </a:lnTo>
                    <a:lnTo>
                      <a:pt x="24" y="192"/>
                    </a:lnTo>
                    <a:lnTo>
                      <a:pt x="26" y="194"/>
                    </a:lnTo>
                    <a:lnTo>
                      <a:pt x="28" y="198"/>
                    </a:lnTo>
                    <a:lnTo>
                      <a:pt x="28" y="201"/>
                    </a:lnTo>
                    <a:lnTo>
                      <a:pt x="24" y="203"/>
                    </a:lnTo>
                    <a:lnTo>
                      <a:pt x="17" y="207"/>
                    </a:lnTo>
                    <a:lnTo>
                      <a:pt x="15" y="209"/>
                    </a:lnTo>
                    <a:lnTo>
                      <a:pt x="13" y="215"/>
                    </a:lnTo>
                    <a:lnTo>
                      <a:pt x="15" y="218"/>
                    </a:lnTo>
                    <a:lnTo>
                      <a:pt x="17" y="222"/>
                    </a:lnTo>
                    <a:lnTo>
                      <a:pt x="21" y="226"/>
                    </a:lnTo>
                    <a:lnTo>
                      <a:pt x="24" y="226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3" y="226"/>
                    </a:lnTo>
                    <a:lnTo>
                      <a:pt x="47" y="226"/>
                    </a:lnTo>
                    <a:lnTo>
                      <a:pt x="53" y="226"/>
                    </a:lnTo>
                    <a:lnTo>
                      <a:pt x="57" y="226"/>
                    </a:lnTo>
                    <a:lnTo>
                      <a:pt x="61" y="228"/>
                    </a:lnTo>
                    <a:lnTo>
                      <a:pt x="62" y="234"/>
                    </a:lnTo>
                    <a:lnTo>
                      <a:pt x="61" y="237"/>
                    </a:lnTo>
                    <a:lnTo>
                      <a:pt x="59" y="241"/>
                    </a:lnTo>
                    <a:lnTo>
                      <a:pt x="55" y="245"/>
                    </a:lnTo>
                    <a:lnTo>
                      <a:pt x="51" y="249"/>
                    </a:lnTo>
                    <a:lnTo>
                      <a:pt x="45" y="251"/>
                    </a:lnTo>
                    <a:lnTo>
                      <a:pt x="32" y="253"/>
                    </a:lnTo>
                    <a:lnTo>
                      <a:pt x="30" y="256"/>
                    </a:lnTo>
                    <a:lnTo>
                      <a:pt x="24" y="264"/>
                    </a:lnTo>
                    <a:lnTo>
                      <a:pt x="24" y="266"/>
                    </a:lnTo>
                    <a:lnTo>
                      <a:pt x="24" y="268"/>
                    </a:lnTo>
                    <a:lnTo>
                      <a:pt x="22" y="270"/>
                    </a:lnTo>
                    <a:lnTo>
                      <a:pt x="22" y="274"/>
                    </a:lnTo>
                    <a:lnTo>
                      <a:pt x="22" y="276"/>
                    </a:lnTo>
                    <a:lnTo>
                      <a:pt x="24" y="277"/>
                    </a:lnTo>
                    <a:lnTo>
                      <a:pt x="24" y="279"/>
                    </a:lnTo>
                    <a:lnTo>
                      <a:pt x="30" y="285"/>
                    </a:lnTo>
                    <a:lnTo>
                      <a:pt x="40" y="289"/>
                    </a:lnTo>
                    <a:lnTo>
                      <a:pt x="45" y="295"/>
                    </a:lnTo>
                    <a:lnTo>
                      <a:pt x="47" y="304"/>
                    </a:lnTo>
                    <a:lnTo>
                      <a:pt x="45" y="315"/>
                    </a:lnTo>
                    <a:lnTo>
                      <a:pt x="42" y="325"/>
                    </a:lnTo>
                    <a:lnTo>
                      <a:pt x="40" y="329"/>
                    </a:lnTo>
                    <a:lnTo>
                      <a:pt x="38" y="331"/>
                    </a:lnTo>
                    <a:lnTo>
                      <a:pt x="38" y="333"/>
                    </a:lnTo>
                    <a:lnTo>
                      <a:pt x="36" y="334"/>
                    </a:lnTo>
                    <a:lnTo>
                      <a:pt x="30" y="336"/>
                    </a:lnTo>
                    <a:lnTo>
                      <a:pt x="28" y="336"/>
                    </a:lnTo>
                    <a:lnTo>
                      <a:pt x="26" y="340"/>
                    </a:lnTo>
                    <a:lnTo>
                      <a:pt x="26" y="346"/>
                    </a:lnTo>
                    <a:lnTo>
                      <a:pt x="28" y="352"/>
                    </a:lnTo>
                    <a:lnTo>
                      <a:pt x="32" y="354"/>
                    </a:lnTo>
                    <a:lnTo>
                      <a:pt x="36" y="357"/>
                    </a:lnTo>
                    <a:lnTo>
                      <a:pt x="40" y="361"/>
                    </a:lnTo>
                    <a:lnTo>
                      <a:pt x="47" y="371"/>
                    </a:lnTo>
                    <a:lnTo>
                      <a:pt x="51" y="374"/>
                    </a:lnTo>
                    <a:lnTo>
                      <a:pt x="64" y="376"/>
                    </a:lnTo>
                    <a:lnTo>
                      <a:pt x="66" y="378"/>
                    </a:lnTo>
                    <a:lnTo>
                      <a:pt x="68" y="382"/>
                    </a:lnTo>
                    <a:lnTo>
                      <a:pt x="68" y="390"/>
                    </a:lnTo>
                    <a:lnTo>
                      <a:pt x="70" y="397"/>
                    </a:lnTo>
                    <a:lnTo>
                      <a:pt x="70" y="399"/>
                    </a:lnTo>
                    <a:lnTo>
                      <a:pt x="68" y="403"/>
                    </a:lnTo>
                    <a:lnTo>
                      <a:pt x="68" y="403"/>
                    </a:lnTo>
                    <a:lnTo>
                      <a:pt x="68" y="403"/>
                    </a:lnTo>
                    <a:lnTo>
                      <a:pt x="66" y="405"/>
                    </a:lnTo>
                    <a:lnTo>
                      <a:pt x="68" y="409"/>
                    </a:lnTo>
                    <a:lnTo>
                      <a:pt x="70" y="411"/>
                    </a:lnTo>
                    <a:lnTo>
                      <a:pt x="72" y="412"/>
                    </a:lnTo>
                    <a:lnTo>
                      <a:pt x="74" y="412"/>
                    </a:lnTo>
                    <a:lnTo>
                      <a:pt x="76" y="412"/>
                    </a:lnTo>
                    <a:lnTo>
                      <a:pt x="80" y="409"/>
                    </a:lnTo>
                    <a:lnTo>
                      <a:pt x="83" y="409"/>
                    </a:lnTo>
                    <a:lnTo>
                      <a:pt x="85" y="411"/>
                    </a:lnTo>
                    <a:lnTo>
                      <a:pt x="89" y="414"/>
                    </a:lnTo>
                    <a:lnTo>
                      <a:pt x="91" y="414"/>
                    </a:lnTo>
                    <a:lnTo>
                      <a:pt x="93" y="414"/>
                    </a:lnTo>
                    <a:lnTo>
                      <a:pt x="101" y="414"/>
                    </a:lnTo>
                    <a:lnTo>
                      <a:pt x="103" y="412"/>
                    </a:lnTo>
                    <a:lnTo>
                      <a:pt x="104" y="411"/>
                    </a:lnTo>
                    <a:lnTo>
                      <a:pt x="106" y="409"/>
                    </a:lnTo>
                    <a:lnTo>
                      <a:pt x="106" y="407"/>
                    </a:lnTo>
                    <a:lnTo>
                      <a:pt x="108" y="403"/>
                    </a:lnTo>
                    <a:lnTo>
                      <a:pt x="110" y="401"/>
                    </a:lnTo>
                    <a:lnTo>
                      <a:pt x="112" y="401"/>
                    </a:lnTo>
                    <a:lnTo>
                      <a:pt x="114" y="403"/>
                    </a:lnTo>
                    <a:lnTo>
                      <a:pt x="114" y="405"/>
                    </a:lnTo>
                    <a:lnTo>
                      <a:pt x="114" y="409"/>
                    </a:lnTo>
                    <a:lnTo>
                      <a:pt x="110" y="414"/>
                    </a:lnTo>
                    <a:lnTo>
                      <a:pt x="110" y="418"/>
                    </a:lnTo>
                    <a:lnTo>
                      <a:pt x="110" y="422"/>
                    </a:lnTo>
                    <a:lnTo>
                      <a:pt x="110" y="428"/>
                    </a:lnTo>
                    <a:lnTo>
                      <a:pt x="110" y="432"/>
                    </a:lnTo>
                    <a:lnTo>
                      <a:pt x="110" y="433"/>
                    </a:lnTo>
                    <a:lnTo>
                      <a:pt x="108" y="435"/>
                    </a:lnTo>
                    <a:lnTo>
                      <a:pt x="106" y="439"/>
                    </a:lnTo>
                    <a:lnTo>
                      <a:pt x="108" y="441"/>
                    </a:lnTo>
                    <a:lnTo>
                      <a:pt x="110" y="452"/>
                    </a:lnTo>
                    <a:lnTo>
                      <a:pt x="114" y="456"/>
                    </a:lnTo>
                    <a:lnTo>
                      <a:pt x="120" y="458"/>
                    </a:lnTo>
                    <a:lnTo>
                      <a:pt x="124" y="456"/>
                    </a:lnTo>
                    <a:lnTo>
                      <a:pt x="127" y="456"/>
                    </a:lnTo>
                    <a:lnTo>
                      <a:pt x="133" y="456"/>
                    </a:lnTo>
                    <a:lnTo>
                      <a:pt x="143" y="460"/>
                    </a:lnTo>
                    <a:lnTo>
                      <a:pt x="146" y="460"/>
                    </a:lnTo>
                    <a:lnTo>
                      <a:pt x="152" y="456"/>
                    </a:lnTo>
                    <a:lnTo>
                      <a:pt x="156" y="456"/>
                    </a:lnTo>
                    <a:lnTo>
                      <a:pt x="160" y="458"/>
                    </a:lnTo>
                    <a:lnTo>
                      <a:pt x="165" y="462"/>
                    </a:lnTo>
                    <a:lnTo>
                      <a:pt x="169" y="464"/>
                    </a:lnTo>
                    <a:lnTo>
                      <a:pt x="179" y="468"/>
                    </a:lnTo>
                    <a:lnTo>
                      <a:pt x="183" y="470"/>
                    </a:lnTo>
                    <a:lnTo>
                      <a:pt x="190" y="477"/>
                    </a:lnTo>
                    <a:lnTo>
                      <a:pt x="194" y="475"/>
                    </a:lnTo>
                    <a:lnTo>
                      <a:pt x="202" y="475"/>
                    </a:lnTo>
                    <a:lnTo>
                      <a:pt x="206" y="475"/>
                    </a:lnTo>
                    <a:lnTo>
                      <a:pt x="206" y="473"/>
                    </a:lnTo>
                    <a:lnTo>
                      <a:pt x="207" y="471"/>
                    </a:lnTo>
                    <a:lnTo>
                      <a:pt x="209" y="473"/>
                    </a:lnTo>
                    <a:lnTo>
                      <a:pt x="209" y="473"/>
                    </a:lnTo>
                    <a:lnTo>
                      <a:pt x="209" y="475"/>
                    </a:lnTo>
                    <a:lnTo>
                      <a:pt x="209" y="477"/>
                    </a:lnTo>
                    <a:lnTo>
                      <a:pt x="209" y="477"/>
                    </a:lnTo>
                    <a:lnTo>
                      <a:pt x="211" y="479"/>
                    </a:lnTo>
                    <a:lnTo>
                      <a:pt x="213" y="479"/>
                    </a:lnTo>
                    <a:lnTo>
                      <a:pt x="213" y="481"/>
                    </a:lnTo>
                    <a:lnTo>
                      <a:pt x="217" y="481"/>
                    </a:lnTo>
                    <a:lnTo>
                      <a:pt x="221" y="475"/>
                    </a:lnTo>
                    <a:lnTo>
                      <a:pt x="225" y="470"/>
                    </a:lnTo>
                    <a:lnTo>
                      <a:pt x="230" y="468"/>
                    </a:lnTo>
                    <a:lnTo>
                      <a:pt x="240" y="466"/>
                    </a:lnTo>
                    <a:lnTo>
                      <a:pt x="242" y="466"/>
                    </a:lnTo>
                    <a:lnTo>
                      <a:pt x="242" y="464"/>
                    </a:lnTo>
                    <a:lnTo>
                      <a:pt x="244" y="462"/>
                    </a:lnTo>
                    <a:lnTo>
                      <a:pt x="246" y="462"/>
                    </a:lnTo>
                    <a:lnTo>
                      <a:pt x="246" y="460"/>
                    </a:lnTo>
                    <a:lnTo>
                      <a:pt x="246" y="458"/>
                    </a:lnTo>
                    <a:lnTo>
                      <a:pt x="247" y="456"/>
                    </a:lnTo>
                    <a:lnTo>
                      <a:pt x="253" y="454"/>
                    </a:lnTo>
                    <a:lnTo>
                      <a:pt x="255" y="452"/>
                    </a:lnTo>
                    <a:lnTo>
                      <a:pt x="257" y="452"/>
                    </a:lnTo>
                    <a:lnTo>
                      <a:pt x="259" y="451"/>
                    </a:lnTo>
                    <a:lnTo>
                      <a:pt x="259" y="449"/>
                    </a:lnTo>
                    <a:lnTo>
                      <a:pt x="261" y="449"/>
                    </a:lnTo>
                    <a:lnTo>
                      <a:pt x="263" y="445"/>
                    </a:lnTo>
                    <a:lnTo>
                      <a:pt x="263" y="443"/>
                    </a:lnTo>
                    <a:lnTo>
                      <a:pt x="267" y="437"/>
                    </a:lnTo>
                    <a:lnTo>
                      <a:pt x="268" y="435"/>
                    </a:lnTo>
                    <a:lnTo>
                      <a:pt x="268" y="435"/>
                    </a:lnTo>
                    <a:lnTo>
                      <a:pt x="268" y="433"/>
                    </a:lnTo>
                    <a:lnTo>
                      <a:pt x="270" y="432"/>
                    </a:lnTo>
                    <a:lnTo>
                      <a:pt x="270" y="432"/>
                    </a:lnTo>
                    <a:lnTo>
                      <a:pt x="270" y="430"/>
                    </a:lnTo>
                    <a:lnTo>
                      <a:pt x="267" y="424"/>
                    </a:lnTo>
                    <a:lnTo>
                      <a:pt x="267" y="422"/>
                    </a:lnTo>
                    <a:lnTo>
                      <a:pt x="267" y="416"/>
                    </a:lnTo>
                    <a:lnTo>
                      <a:pt x="268" y="414"/>
                    </a:lnTo>
                    <a:lnTo>
                      <a:pt x="268" y="412"/>
                    </a:lnTo>
                    <a:lnTo>
                      <a:pt x="267" y="411"/>
                    </a:lnTo>
                    <a:lnTo>
                      <a:pt x="267" y="411"/>
                    </a:lnTo>
                    <a:lnTo>
                      <a:pt x="265" y="407"/>
                    </a:lnTo>
                    <a:lnTo>
                      <a:pt x="265" y="405"/>
                    </a:lnTo>
                    <a:lnTo>
                      <a:pt x="263" y="405"/>
                    </a:lnTo>
                    <a:lnTo>
                      <a:pt x="263" y="403"/>
                    </a:lnTo>
                    <a:lnTo>
                      <a:pt x="261" y="401"/>
                    </a:lnTo>
                    <a:lnTo>
                      <a:pt x="257" y="397"/>
                    </a:lnTo>
                    <a:lnTo>
                      <a:pt x="255" y="395"/>
                    </a:lnTo>
                    <a:lnTo>
                      <a:pt x="255" y="392"/>
                    </a:lnTo>
                    <a:lnTo>
                      <a:pt x="255" y="390"/>
                    </a:lnTo>
                    <a:lnTo>
                      <a:pt x="255" y="388"/>
                    </a:lnTo>
                    <a:lnTo>
                      <a:pt x="255" y="388"/>
                    </a:lnTo>
                    <a:lnTo>
                      <a:pt x="257" y="386"/>
                    </a:lnTo>
                    <a:lnTo>
                      <a:pt x="259" y="386"/>
                    </a:lnTo>
                    <a:lnTo>
                      <a:pt x="261" y="386"/>
                    </a:lnTo>
                    <a:lnTo>
                      <a:pt x="263" y="386"/>
                    </a:lnTo>
                    <a:lnTo>
                      <a:pt x="265" y="388"/>
                    </a:lnTo>
                    <a:lnTo>
                      <a:pt x="267" y="388"/>
                    </a:lnTo>
                    <a:lnTo>
                      <a:pt x="268" y="388"/>
                    </a:lnTo>
                    <a:lnTo>
                      <a:pt x="268" y="390"/>
                    </a:lnTo>
                    <a:lnTo>
                      <a:pt x="270" y="392"/>
                    </a:lnTo>
                    <a:lnTo>
                      <a:pt x="272" y="392"/>
                    </a:lnTo>
                    <a:lnTo>
                      <a:pt x="272" y="392"/>
                    </a:lnTo>
                    <a:lnTo>
                      <a:pt x="276" y="390"/>
                    </a:lnTo>
                    <a:lnTo>
                      <a:pt x="286" y="382"/>
                    </a:lnTo>
                    <a:lnTo>
                      <a:pt x="288" y="378"/>
                    </a:lnTo>
                    <a:lnTo>
                      <a:pt x="289" y="376"/>
                    </a:lnTo>
                    <a:lnTo>
                      <a:pt x="291" y="374"/>
                    </a:lnTo>
                    <a:lnTo>
                      <a:pt x="299" y="373"/>
                    </a:lnTo>
                    <a:lnTo>
                      <a:pt x="303" y="371"/>
                    </a:lnTo>
                    <a:lnTo>
                      <a:pt x="307" y="369"/>
                    </a:lnTo>
                    <a:lnTo>
                      <a:pt x="308" y="367"/>
                    </a:lnTo>
                    <a:lnTo>
                      <a:pt x="312" y="365"/>
                    </a:lnTo>
                    <a:lnTo>
                      <a:pt x="312" y="361"/>
                    </a:lnTo>
                    <a:lnTo>
                      <a:pt x="314" y="359"/>
                    </a:lnTo>
                    <a:lnTo>
                      <a:pt x="314" y="359"/>
                    </a:lnTo>
                    <a:lnTo>
                      <a:pt x="314" y="357"/>
                    </a:lnTo>
                    <a:lnTo>
                      <a:pt x="316" y="355"/>
                    </a:lnTo>
                    <a:lnTo>
                      <a:pt x="324" y="350"/>
                    </a:lnTo>
                    <a:lnTo>
                      <a:pt x="329" y="348"/>
                    </a:lnTo>
                    <a:lnTo>
                      <a:pt x="343" y="344"/>
                    </a:lnTo>
                    <a:lnTo>
                      <a:pt x="347" y="342"/>
                    </a:lnTo>
                    <a:lnTo>
                      <a:pt x="349" y="342"/>
                    </a:lnTo>
                    <a:lnTo>
                      <a:pt x="356" y="348"/>
                    </a:lnTo>
                    <a:lnTo>
                      <a:pt x="358" y="350"/>
                    </a:lnTo>
                    <a:lnTo>
                      <a:pt x="371" y="348"/>
                    </a:lnTo>
                    <a:lnTo>
                      <a:pt x="373" y="348"/>
                    </a:lnTo>
                    <a:lnTo>
                      <a:pt x="375" y="350"/>
                    </a:lnTo>
                    <a:lnTo>
                      <a:pt x="383" y="359"/>
                    </a:lnTo>
                    <a:lnTo>
                      <a:pt x="385" y="359"/>
                    </a:lnTo>
                    <a:lnTo>
                      <a:pt x="392" y="367"/>
                    </a:lnTo>
                    <a:lnTo>
                      <a:pt x="394" y="371"/>
                    </a:lnTo>
                    <a:lnTo>
                      <a:pt x="396" y="373"/>
                    </a:lnTo>
                    <a:lnTo>
                      <a:pt x="398" y="374"/>
                    </a:lnTo>
                    <a:lnTo>
                      <a:pt x="404" y="376"/>
                    </a:lnTo>
                    <a:lnTo>
                      <a:pt x="415" y="384"/>
                    </a:lnTo>
                    <a:lnTo>
                      <a:pt x="421" y="388"/>
                    </a:lnTo>
                    <a:lnTo>
                      <a:pt x="432" y="392"/>
                    </a:lnTo>
                    <a:lnTo>
                      <a:pt x="448" y="397"/>
                    </a:lnTo>
                    <a:lnTo>
                      <a:pt x="452" y="397"/>
                    </a:lnTo>
                    <a:lnTo>
                      <a:pt x="452" y="395"/>
                    </a:lnTo>
                    <a:lnTo>
                      <a:pt x="453" y="395"/>
                    </a:lnTo>
                    <a:lnTo>
                      <a:pt x="453" y="393"/>
                    </a:lnTo>
                    <a:lnTo>
                      <a:pt x="453" y="393"/>
                    </a:lnTo>
                    <a:lnTo>
                      <a:pt x="459" y="393"/>
                    </a:lnTo>
                    <a:lnTo>
                      <a:pt x="465" y="392"/>
                    </a:lnTo>
                    <a:lnTo>
                      <a:pt x="467" y="392"/>
                    </a:lnTo>
                    <a:lnTo>
                      <a:pt x="472" y="390"/>
                    </a:lnTo>
                    <a:lnTo>
                      <a:pt x="474" y="388"/>
                    </a:lnTo>
                    <a:lnTo>
                      <a:pt x="476" y="388"/>
                    </a:lnTo>
                    <a:lnTo>
                      <a:pt x="476" y="386"/>
                    </a:lnTo>
                    <a:lnTo>
                      <a:pt x="480" y="382"/>
                    </a:lnTo>
                    <a:lnTo>
                      <a:pt x="482" y="382"/>
                    </a:lnTo>
                    <a:lnTo>
                      <a:pt x="482" y="382"/>
                    </a:lnTo>
                    <a:lnTo>
                      <a:pt x="486" y="380"/>
                    </a:lnTo>
                    <a:lnTo>
                      <a:pt x="486" y="380"/>
                    </a:lnTo>
                    <a:lnTo>
                      <a:pt x="488" y="380"/>
                    </a:lnTo>
                    <a:lnTo>
                      <a:pt x="490" y="378"/>
                    </a:lnTo>
                    <a:lnTo>
                      <a:pt x="490" y="376"/>
                    </a:lnTo>
                    <a:lnTo>
                      <a:pt x="492" y="376"/>
                    </a:lnTo>
                    <a:lnTo>
                      <a:pt x="493" y="374"/>
                    </a:lnTo>
                    <a:lnTo>
                      <a:pt x="493" y="374"/>
                    </a:lnTo>
                    <a:lnTo>
                      <a:pt x="495" y="374"/>
                    </a:lnTo>
                    <a:lnTo>
                      <a:pt x="495" y="376"/>
                    </a:lnTo>
                    <a:lnTo>
                      <a:pt x="497" y="380"/>
                    </a:lnTo>
                    <a:lnTo>
                      <a:pt x="501" y="382"/>
                    </a:lnTo>
                    <a:lnTo>
                      <a:pt x="507" y="392"/>
                    </a:lnTo>
                    <a:lnTo>
                      <a:pt x="513" y="395"/>
                    </a:lnTo>
                    <a:lnTo>
                      <a:pt x="516" y="407"/>
                    </a:lnTo>
                    <a:lnTo>
                      <a:pt x="518" y="409"/>
                    </a:lnTo>
                    <a:lnTo>
                      <a:pt x="520" y="411"/>
                    </a:lnTo>
                    <a:lnTo>
                      <a:pt x="520" y="412"/>
                    </a:lnTo>
                    <a:lnTo>
                      <a:pt x="522" y="420"/>
                    </a:lnTo>
                    <a:lnTo>
                      <a:pt x="522" y="422"/>
                    </a:lnTo>
                    <a:lnTo>
                      <a:pt x="524" y="424"/>
                    </a:lnTo>
                    <a:lnTo>
                      <a:pt x="526" y="428"/>
                    </a:lnTo>
                    <a:lnTo>
                      <a:pt x="528" y="430"/>
                    </a:lnTo>
                    <a:lnTo>
                      <a:pt x="528" y="432"/>
                    </a:lnTo>
                    <a:lnTo>
                      <a:pt x="530" y="433"/>
                    </a:lnTo>
                    <a:lnTo>
                      <a:pt x="532" y="435"/>
                    </a:lnTo>
                    <a:lnTo>
                      <a:pt x="535" y="435"/>
                    </a:lnTo>
                    <a:lnTo>
                      <a:pt x="537" y="433"/>
                    </a:lnTo>
                    <a:lnTo>
                      <a:pt x="539" y="432"/>
                    </a:lnTo>
                    <a:lnTo>
                      <a:pt x="539" y="432"/>
                    </a:lnTo>
                    <a:lnTo>
                      <a:pt x="541" y="430"/>
                    </a:lnTo>
                    <a:lnTo>
                      <a:pt x="541" y="430"/>
                    </a:lnTo>
                    <a:lnTo>
                      <a:pt x="543" y="430"/>
                    </a:lnTo>
                    <a:lnTo>
                      <a:pt x="543" y="428"/>
                    </a:lnTo>
                    <a:lnTo>
                      <a:pt x="545" y="426"/>
                    </a:lnTo>
                    <a:lnTo>
                      <a:pt x="547" y="426"/>
                    </a:lnTo>
                    <a:lnTo>
                      <a:pt x="549" y="426"/>
                    </a:lnTo>
                    <a:lnTo>
                      <a:pt x="553" y="424"/>
                    </a:lnTo>
                    <a:lnTo>
                      <a:pt x="554" y="424"/>
                    </a:lnTo>
                    <a:lnTo>
                      <a:pt x="556" y="424"/>
                    </a:lnTo>
                    <a:lnTo>
                      <a:pt x="558" y="424"/>
                    </a:lnTo>
                    <a:lnTo>
                      <a:pt x="560" y="424"/>
                    </a:lnTo>
                    <a:lnTo>
                      <a:pt x="562" y="422"/>
                    </a:lnTo>
                    <a:lnTo>
                      <a:pt x="564" y="420"/>
                    </a:lnTo>
                    <a:lnTo>
                      <a:pt x="564" y="418"/>
                    </a:lnTo>
                    <a:lnTo>
                      <a:pt x="568" y="418"/>
                    </a:lnTo>
                    <a:lnTo>
                      <a:pt x="570" y="416"/>
                    </a:lnTo>
                    <a:lnTo>
                      <a:pt x="570" y="416"/>
                    </a:lnTo>
                    <a:lnTo>
                      <a:pt x="570" y="412"/>
                    </a:lnTo>
                    <a:lnTo>
                      <a:pt x="570" y="412"/>
                    </a:lnTo>
                    <a:lnTo>
                      <a:pt x="570" y="412"/>
                    </a:lnTo>
                    <a:lnTo>
                      <a:pt x="572" y="412"/>
                    </a:lnTo>
                    <a:lnTo>
                      <a:pt x="574" y="412"/>
                    </a:lnTo>
                    <a:lnTo>
                      <a:pt x="575" y="412"/>
                    </a:lnTo>
                    <a:lnTo>
                      <a:pt x="575" y="412"/>
                    </a:lnTo>
                    <a:lnTo>
                      <a:pt x="575" y="412"/>
                    </a:lnTo>
                    <a:lnTo>
                      <a:pt x="577" y="414"/>
                    </a:lnTo>
                    <a:lnTo>
                      <a:pt x="577" y="418"/>
                    </a:lnTo>
                    <a:lnTo>
                      <a:pt x="577" y="420"/>
                    </a:lnTo>
                    <a:lnTo>
                      <a:pt x="577" y="422"/>
                    </a:lnTo>
                    <a:lnTo>
                      <a:pt x="577" y="426"/>
                    </a:lnTo>
                    <a:lnTo>
                      <a:pt x="577" y="428"/>
                    </a:lnTo>
                    <a:lnTo>
                      <a:pt x="577" y="430"/>
                    </a:lnTo>
                    <a:lnTo>
                      <a:pt x="575" y="432"/>
                    </a:lnTo>
                    <a:lnTo>
                      <a:pt x="575" y="432"/>
                    </a:lnTo>
                    <a:lnTo>
                      <a:pt x="572" y="433"/>
                    </a:lnTo>
                    <a:lnTo>
                      <a:pt x="570" y="435"/>
                    </a:lnTo>
                    <a:lnTo>
                      <a:pt x="568" y="437"/>
                    </a:lnTo>
                    <a:lnTo>
                      <a:pt x="568" y="439"/>
                    </a:lnTo>
                    <a:lnTo>
                      <a:pt x="566" y="441"/>
                    </a:lnTo>
                    <a:lnTo>
                      <a:pt x="566" y="445"/>
                    </a:lnTo>
                    <a:lnTo>
                      <a:pt x="566" y="447"/>
                    </a:lnTo>
                    <a:lnTo>
                      <a:pt x="564" y="449"/>
                    </a:lnTo>
                    <a:lnTo>
                      <a:pt x="564" y="451"/>
                    </a:lnTo>
                    <a:lnTo>
                      <a:pt x="564" y="452"/>
                    </a:lnTo>
                    <a:lnTo>
                      <a:pt x="566" y="454"/>
                    </a:lnTo>
                    <a:lnTo>
                      <a:pt x="566" y="456"/>
                    </a:lnTo>
                    <a:lnTo>
                      <a:pt x="568" y="456"/>
                    </a:lnTo>
                    <a:lnTo>
                      <a:pt x="570" y="456"/>
                    </a:lnTo>
                    <a:lnTo>
                      <a:pt x="575" y="449"/>
                    </a:lnTo>
                    <a:lnTo>
                      <a:pt x="577" y="447"/>
                    </a:lnTo>
                    <a:lnTo>
                      <a:pt x="577" y="445"/>
                    </a:lnTo>
                    <a:lnTo>
                      <a:pt x="581" y="443"/>
                    </a:lnTo>
                    <a:lnTo>
                      <a:pt x="585" y="441"/>
                    </a:lnTo>
                    <a:lnTo>
                      <a:pt x="604" y="441"/>
                    </a:lnTo>
                    <a:lnTo>
                      <a:pt x="608" y="441"/>
                    </a:lnTo>
                    <a:lnTo>
                      <a:pt x="612" y="439"/>
                    </a:lnTo>
                    <a:lnTo>
                      <a:pt x="614" y="437"/>
                    </a:lnTo>
                    <a:lnTo>
                      <a:pt x="617" y="432"/>
                    </a:lnTo>
                    <a:lnTo>
                      <a:pt x="619" y="432"/>
                    </a:lnTo>
                    <a:lnTo>
                      <a:pt x="623" y="432"/>
                    </a:lnTo>
                    <a:lnTo>
                      <a:pt x="623" y="435"/>
                    </a:lnTo>
                    <a:lnTo>
                      <a:pt x="623" y="437"/>
                    </a:lnTo>
                    <a:lnTo>
                      <a:pt x="623" y="439"/>
                    </a:lnTo>
                    <a:lnTo>
                      <a:pt x="621" y="443"/>
                    </a:lnTo>
                    <a:lnTo>
                      <a:pt x="623" y="445"/>
                    </a:lnTo>
                    <a:lnTo>
                      <a:pt x="625" y="452"/>
                    </a:lnTo>
                    <a:lnTo>
                      <a:pt x="627" y="458"/>
                    </a:lnTo>
                    <a:lnTo>
                      <a:pt x="636" y="466"/>
                    </a:lnTo>
                    <a:lnTo>
                      <a:pt x="640" y="470"/>
                    </a:lnTo>
                    <a:lnTo>
                      <a:pt x="644" y="473"/>
                    </a:lnTo>
                    <a:lnTo>
                      <a:pt x="648" y="475"/>
                    </a:lnTo>
                    <a:lnTo>
                      <a:pt x="652" y="471"/>
                    </a:lnTo>
                    <a:lnTo>
                      <a:pt x="654" y="471"/>
                    </a:lnTo>
                    <a:lnTo>
                      <a:pt x="657" y="470"/>
                    </a:lnTo>
                    <a:lnTo>
                      <a:pt x="659" y="470"/>
                    </a:lnTo>
                    <a:lnTo>
                      <a:pt x="659" y="470"/>
                    </a:lnTo>
                    <a:lnTo>
                      <a:pt x="663" y="471"/>
                    </a:lnTo>
                    <a:lnTo>
                      <a:pt x="665" y="471"/>
                    </a:lnTo>
                    <a:lnTo>
                      <a:pt x="667" y="468"/>
                    </a:lnTo>
                    <a:lnTo>
                      <a:pt x="669" y="458"/>
                    </a:lnTo>
                    <a:lnTo>
                      <a:pt x="669" y="456"/>
                    </a:lnTo>
                    <a:lnTo>
                      <a:pt x="673" y="454"/>
                    </a:lnTo>
                    <a:lnTo>
                      <a:pt x="675" y="452"/>
                    </a:lnTo>
                    <a:lnTo>
                      <a:pt x="678" y="451"/>
                    </a:lnTo>
                    <a:lnTo>
                      <a:pt x="682" y="451"/>
                    </a:lnTo>
                    <a:lnTo>
                      <a:pt x="684" y="451"/>
                    </a:lnTo>
                    <a:lnTo>
                      <a:pt x="688" y="452"/>
                    </a:lnTo>
                    <a:lnTo>
                      <a:pt x="690" y="452"/>
                    </a:lnTo>
                    <a:lnTo>
                      <a:pt x="692" y="452"/>
                    </a:lnTo>
                    <a:lnTo>
                      <a:pt x="698" y="447"/>
                    </a:lnTo>
                    <a:lnTo>
                      <a:pt x="709" y="437"/>
                    </a:lnTo>
                    <a:lnTo>
                      <a:pt x="715" y="430"/>
                    </a:lnTo>
                    <a:lnTo>
                      <a:pt x="717" y="426"/>
                    </a:lnTo>
                    <a:lnTo>
                      <a:pt x="718" y="420"/>
                    </a:lnTo>
                    <a:lnTo>
                      <a:pt x="718" y="414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5" name="Freeform 27">
                <a:extLst>
                  <a:ext uri="{FF2B5EF4-FFF2-40B4-BE49-F238E27FC236}">
                    <a16:creationId xmlns:a16="http://schemas.microsoft.com/office/drawing/2014/main" id="{1EDF2093-90F8-4CCC-8474-8E12D917EB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2219" y="2370611"/>
                <a:ext cx="682625" cy="668338"/>
              </a:xfrm>
              <a:custGeom>
                <a:avLst/>
                <a:gdLst>
                  <a:gd name="T0" fmla="*/ 410 w 430"/>
                  <a:gd name="T1" fmla="*/ 287 h 421"/>
                  <a:gd name="T2" fmla="*/ 399 w 430"/>
                  <a:gd name="T3" fmla="*/ 270 h 421"/>
                  <a:gd name="T4" fmla="*/ 399 w 430"/>
                  <a:gd name="T5" fmla="*/ 232 h 421"/>
                  <a:gd name="T6" fmla="*/ 391 w 430"/>
                  <a:gd name="T7" fmla="*/ 223 h 421"/>
                  <a:gd name="T8" fmla="*/ 397 w 430"/>
                  <a:gd name="T9" fmla="*/ 188 h 421"/>
                  <a:gd name="T10" fmla="*/ 363 w 430"/>
                  <a:gd name="T11" fmla="*/ 150 h 421"/>
                  <a:gd name="T12" fmla="*/ 359 w 430"/>
                  <a:gd name="T13" fmla="*/ 126 h 421"/>
                  <a:gd name="T14" fmla="*/ 342 w 430"/>
                  <a:gd name="T15" fmla="*/ 114 h 421"/>
                  <a:gd name="T16" fmla="*/ 342 w 430"/>
                  <a:gd name="T17" fmla="*/ 97 h 421"/>
                  <a:gd name="T18" fmla="*/ 351 w 430"/>
                  <a:gd name="T19" fmla="*/ 80 h 421"/>
                  <a:gd name="T20" fmla="*/ 344 w 430"/>
                  <a:gd name="T21" fmla="*/ 70 h 421"/>
                  <a:gd name="T22" fmla="*/ 334 w 430"/>
                  <a:gd name="T23" fmla="*/ 82 h 421"/>
                  <a:gd name="T24" fmla="*/ 317 w 430"/>
                  <a:gd name="T25" fmla="*/ 88 h 421"/>
                  <a:gd name="T26" fmla="*/ 302 w 430"/>
                  <a:gd name="T27" fmla="*/ 90 h 421"/>
                  <a:gd name="T28" fmla="*/ 290 w 430"/>
                  <a:gd name="T29" fmla="*/ 65 h 421"/>
                  <a:gd name="T30" fmla="*/ 266 w 430"/>
                  <a:gd name="T31" fmla="*/ 34 h 421"/>
                  <a:gd name="T32" fmla="*/ 250 w 430"/>
                  <a:gd name="T33" fmla="*/ 44 h 421"/>
                  <a:gd name="T34" fmla="*/ 227 w 430"/>
                  <a:gd name="T35" fmla="*/ 53 h 421"/>
                  <a:gd name="T36" fmla="*/ 170 w 430"/>
                  <a:gd name="T37" fmla="*/ 31 h 421"/>
                  <a:gd name="T38" fmla="*/ 130 w 430"/>
                  <a:gd name="T39" fmla="*/ 6 h 421"/>
                  <a:gd name="T40" fmla="*/ 88 w 430"/>
                  <a:gd name="T41" fmla="*/ 17 h 421"/>
                  <a:gd name="T42" fmla="*/ 62 w 430"/>
                  <a:gd name="T43" fmla="*/ 36 h 421"/>
                  <a:gd name="T44" fmla="*/ 39 w 430"/>
                  <a:gd name="T45" fmla="*/ 46 h 421"/>
                  <a:gd name="T46" fmla="*/ 29 w 430"/>
                  <a:gd name="T47" fmla="*/ 53 h 421"/>
                  <a:gd name="T48" fmla="*/ 42 w 430"/>
                  <a:gd name="T49" fmla="*/ 70 h 421"/>
                  <a:gd name="T50" fmla="*/ 42 w 430"/>
                  <a:gd name="T51" fmla="*/ 93 h 421"/>
                  <a:gd name="T52" fmla="*/ 37 w 430"/>
                  <a:gd name="T53" fmla="*/ 110 h 421"/>
                  <a:gd name="T54" fmla="*/ 18 w 430"/>
                  <a:gd name="T55" fmla="*/ 143 h 421"/>
                  <a:gd name="T56" fmla="*/ 6 w 430"/>
                  <a:gd name="T57" fmla="*/ 156 h 421"/>
                  <a:gd name="T58" fmla="*/ 8 w 430"/>
                  <a:gd name="T59" fmla="*/ 160 h 421"/>
                  <a:gd name="T60" fmla="*/ 16 w 430"/>
                  <a:gd name="T61" fmla="*/ 175 h 421"/>
                  <a:gd name="T62" fmla="*/ 48 w 430"/>
                  <a:gd name="T63" fmla="*/ 207 h 421"/>
                  <a:gd name="T64" fmla="*/ 42 w 430"/>
                  <a:gd name="T65" fmla="*/ 211 h 421"/>
                  <a:gd name="T66" fmla="*/ 81 w 430"/>
                  <a:gd name="T67" fmla="*/ 284 h 421"/>
                  <a:gd name="T68" fmla="*/ 90 w 430"/>
                  <a:gd name="T69" fmla="*/ 280 h 421"/>
                  <a:gd name="T70" fmla="*/ 98 w 430"/>
                  <a:gd name="T71" fmla="*/ 268 h 421"/>
                  <a:gd name="T72" fmla="*/ 111 w 430"/>
                  <a:gd name="T73" fmla="*/ 285 h 421"/>
                  <a:gd name="T74" fmla="*/ 117 w 430"/>
                  <a:gd name="T75" fmla="*/ 287 h 421"/>
                  <a:gd name="T76" fmla="*/ 123 w 430"/>
                  <a:gd name="T77" fmla="*/ 293 h 421"/>
                  <a:gd name="T78" fmla="*/ 126 w 430"/>
                  <a:gd name="T79" fmla="*/ 297 h 421"/>
                  <a:gd name="T80" fmla="*/ 128 w 430"/>
                  <a:gd name="T81" fmla="*/ 305 h 421"/>
                  <a:gd name="T82" fmla="*/ 128 w 430"/>
                  <a:gd name="T83" fmla="*/ 324 h 421"/>
                  <a:gd name="T84" fmla="*/ 151 w 430"/>
                  <a:gd name="T85" fmla="*/ 343 h 421"/>
                  <a:gd name="T86" fmla="*/ 161 w 430"/>
                  <a:gd name="T87" fmla="*/ 346 h 421"/>
                  <a:gd name="T88" fmla="*/ 172 w 430"/>
                  <a:gd name="T89" fmla="*/ 356 h 421"/>
                  <a:gd name="T90" fmla="*/ 184 w 430"/>
                  <a:gd name="T91" fmla="*/ 365 h 421"/>
                  <a:gd name="T92" fmla="*/ 197 w 430"/>
                  <a:gd name="T93" fmla="*/ 390 h 421"/>
                  <a:gd name="T94" fmla="*/ 205 w 430"/>
                  <a:gd name="T95" fmla="*/ 407 h 421"/>
                  <a:gd name="T96" fmla="*/ 226 w 430"/>
                  <a:gd name="T97" fmla="*/ 413 h 421"/>
                  <a:gd name="T98" fmla="*/ 233 w 430"/>
                  <a:gd name="T99" fmla="*/ 415 h 421"/>
                  <a:gd name="T100" fmla="*/ 250 w 430"/>
                  <a:gd name="T101" fmla="*/ 419 h 421"/>
                  <a:gd name="T102" fmla="*/ 275 w 430"/>
                  <a:gd name="T103" fmla="*/ 403 h 421"/>
                  <a:gd name="T104" fmla="*/ 277 w 430"/>
                  <a:gd name="T105" fmla="*/ 396 h 421"/>
                  <a:gd name="T106" fmla="*/ 273 w 430"/>
                  <a:gd name="T107" fmla="*/ 379 h 421"/>
                  <a:gd name="T108" fmla="*/ 271 w 430"/>
                  <a:gd name="T109" fmla="*/ 350 h 421"/>
                  <a:gd name="T110" fmla="*/ 277 w 430"/>
                  <a:gd name="T111" fmla="*/ 339 h 421"/>
                  <a:gd name="T112" fmla="*/ 277 w 430"/>
                  <a:gd name="T113" fmla="*/ 333 h 421"/>
                  <a:gd name="T114" fmla="*/ 294 w 430"/>
                  <a:gd name="T115" fmla="*/ 306 h 421"/>
                  <a:gd name="T116" fmla="*/ 327 w 430"/>
                  <a:gd name="T117" fmla="*/ 295 h 421"/>
                  <a:gd name="T118" fmla="*/ 353 w 430"/>
                  <a:gd name="T119" fmla="*/ 291 h 421"/>
                  <a:gd name="T120" fmla="*/ 369 w 430"/>
                  <a:gd name="T121" fmla="*/ 299 h 421"/>
                  <a:gd name="T122" fmla="*/ 395 w 430"/>
                  <a:gd name="T123" fmla="*/ 299 h 421"/>
                  <a:gd name="T124" fmla="*/ 420 w 430"/>
                  <a:gd name="T125" fmla="*/ 314 h 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0" h="421">
                    <a:moveTo>
                      <a:pt x="428" y="306"/>
                    </a:moveTo>
                    <a:lnTo>
                      <a:pt x="424" y="301"/>
                    </a:lnTo>
                    <a:lnTo>
                      <a:pt x="422" y="295"/>
                    </a:lnTo>
                    <a:lnTo>
                      <a:pt x="418" y="291"/>
                    </a:lnTo>
                    <a:lnTo>
                      <a:pt x="416" y="289"/>
                    </a:lnTo>
                    <a:lnTo>
                      <a:pt x="414" y="287"/>
                    </a:lnTo>
                    <a:lnTo>
                      <a:pt x="414" y="287"/>
                    </a:lnTo>
                    <a:lnTo>
                      <a:pt x="412" y="287"/>
                    </a:lnTo>
                    <a:lnTo>
                      <a:pt x="410" y="287"/>
                    </a:lnTo>
                    <a:lnTo>
                      <a:pt x="407" y="287"/>
                    </a:lnTo>
                    <a:lnTo>
                      <a:pt x="403" y="287"/>
                    </a:lnTo>
                    <a:lnTo>
                      <a:pt x="403" y="287"/>
                    </a:lnTo>
                    <a:lnTo>
                      <a:pt x="399" y="285"/>
                    </a:lnTo>
                    <a:lnTo>
                      <a:pt x="397" y="285"/>
                    </a:lnTo>
                    <a:lnTo>
                      <a:pt x="397" y="284"/>
                    </a:lnTo>
                    <a:lnTo>
                      <a:pt x="397" y="282"/>
                    </a:lnTo>
                    <a:lnTo>
                      <a:pt x="397" y="276"/>
                    </a:lnTo>
                    <a:lnTo>
                      <a:pt x="399" y="270"/>
                    </a:lnTo>
                    <a:lnTo>
                      <a:pt x="399" y="265"/>
                    </a:lnTo>
                    <a:lnTo>
                      <a:pt x="395" y="263"/>
                    </a:lnTo>
                    <a:lnTo>
                      <a:pt x="391" y="259"/>
                    </a:lnTo>
                    <a:lnTo>
                      <a:pt x="391" y="255"/>
                    </a:lnTo>
                    <a:lnTo>
                      <a:pt x="403" y="246"/>
                    </a:lnTo>
                    <a:lnTo>
                      <a:pt x="407" y="244"/>
                    </a:lnTo>
                    <a:lnTo>
                      <a:pt x="407" y="242"/>
                    </a:lnTo>
                    <a:lnTo>
                      <a:pt x="403" y="238"/>
                    </a:lnTo>
                    <a:lnTo>
                      <a:pt x="399" y="232"/>
                    </a:lnTo>
                    <a:lnTo>
                      <a:pt x="397" y="232"/>
                    </a:lnTo>
                    <a:lnTo>
                      <a:pt x="395" y="232"/>
                    </a:lnTo>
                    <a:lnTo>
                      <a:pt x="395" y="232"/>
                    </a:lnTo>
                    <a:lnTo>
                      <a:pt x="393" y="230"/>
                    </a:lnTo>
                    <a:lnTo>
                      <a:pt x="393" y="228"/>
                    </a:lnTo>
                    <a:lnTo>
                      <a:pt x="391" y="227"/>
                    </a:lnTo>
                    <a:lnTo>
                      <a:pt x="391" y="225"/>
                    </a:lnTo>
                    <a:lnTo>
                      <a:pt x="391" y="225"/>
                    </a:lnTo>
                    <a:lnTo>
                      <a:pt x="391" y="223"/>
                    </a:lnTo>
                    <a:lnTo>
                      <a:pt x="391" y="221"/>
                    </a:lnTo>
                    <a:lnTo>
                      <a:pt x="388" y="217"/>
                    </a:lnTo>
                    <a:lnTo>
                      <a:pt x="388" y="215"/>
                    </a:lnTo>
                    <a:lnTo>
                      <a:pt x="391" y="209"/>
                    </a:lnTo>
                    <a:lnTo>
                      <a:pt x="393" y="207"/>
                    </a:lnTo>
                    <a:lnTo>
                      <a:pt x="393" y="202"/>
                    </a:lnTo>
                    <a:lnTo>
                      <a:pt x="393" y="198"/>
                    </a:lnTo>
                    <a:lnTo>
                      <a:pt x="397" y="192"/>
                    </a:lnTo>
                    <a:lnTo>
                      <a:pt x="397" y="188"/>
                    </a:lnTo>
                    <a:lnTo>
                      <a:pt x="395" y="187"/>
                    </a:lnTo>
                    <a:lnTo>
                      <a:pt x="395" y="185"/>
                    </a:lnTo>
                    <a:lnTo>
                      <a:pt x="390" y="181"/>
                    </a:lnTo>
                    <a:lnTo>
                      <a:pt x="386" y="179"/>
                    </a:lnTo>
                    <a:lnTo>
                      <a:pt x="372" y="162"/>
                    </a:lnTo>
                    <a:lnTo>
                      <a:pt x="370" y="156"/>
                    </a:lnTo>
                    <a:lnTo>
                      <a:pt x="369" y="152"/>
                    </a:lnTo>
                    <a:lnTo>
                      <a:pt x="363" y="150"/>
                    </a:lnTo>
                    <a:lnTo>
                      <a:pt x="363" y="150"/>
                    </a:lnTo>
                    <a:lnTo>
                      <a:pt x="363" y="150"/>
                    </a:lnTo>
                    <a:lnTo>
                      <a:pt x="361" y="150"/>
                    </a:lnTo>
                    <a:lnTo>
                      <a:pt x="361" y="149"/>
                    </a:lnTo>
                    <a:lnTo>
                      <a:pt x="361" y="145"/>
                    </a:lnTo>
                    <a:lnTo>
                      <a:pt x="361" y="143"/>
                    </a:lnTo>
                    <a:lnTo>
                      <a:pt x="359" y="128"/>
                    </a:lnTo>
                    <a:lnTo>
                      <a:pt x="359" y="128"/>
                    </a:lnTo>
                    <a:lnTo>
                      <a:pt x="359" y="128"/>
                    </a:lnTo>
                    <a:lnTo>
                      <a:pt x="359" y="126"/>
                    </a:lnTo>
                    <a:lnTo>
                      <a:pt x="359" y="124"/>
                    </a:lnTo>
                    <a:lnTo>
                      <a:pt x="361" y="124"/>
                    </a:lnTo>
                    <a:lnTo>
                      <a:pt x="361" y="122"/>
                    </a:lnTo>
                    <a:lnTo>
                      <a:pt x="361" y="120"/>
                    </a:lnTo>
                    <a:lnTo>
                      <a:pt x="355" y="112"/>
                    </a:lnTo>
                    <a:lnTo>
                      <a:pt x="351" y="105"/>
                    </a:lnTo>
                    <a:lnTo>
                      <a:pt x="349" y="107"/>
                    </a:lnTo>
                    <a:lnTo>
                      <a:pt x="344" y="114"/>
                    </a:lnTo>
                    <a:lnTo>
                      <a:pt x="342" y="114"/>
                    </a:lnTo>
                    <a:lnTo>
                      <a:pt x="340" y="114"/>
                    </a:lnTo>
                    <a:lnTo>
                      <a:pt x="340" y="112"/>
                    </a:lnTo>
                    <a:lnTo>
                      <a:pt x="338" y="110"/>
                    </a:lnTo>
                    <a:lnTo>
                      <a:pt x="338" y="109"/>
                    </a:lnTo>
                    <a:lnTo>
                      <a:pt x="338" y="107"/>
                    </a:lnTo>
                    <a:lnTo>
                      <a:pt x="340" y="105"/>
                    </a:lnTo>
                    <a:lnTo>
                      <a:pt x="340" y="103"/>
                    </a:lnTo>
                    <a:lnTo>
                      <a:pt x="340" y="99"/>
                    </a:lnTo>
                    <a:lnTo>
                      <a:pt x="342" y="97"/>
                    </a:lnTo>
                    <a:lnTo>
                      <a:pt x="342" y="95"/>
                    </a:lnTo>
                    <a:lnTo>
                      <a:pt x="344" y="93"/>
                    </a:lnTo>
                    <a:lnTo>
                      <a:pt x="346" y="91"/>
                    </a:lnTo>
                    <a:lnTo>
                      <a:pt x="349" y="90"/>
                    </a:lnTo>
                    <a:lnTo>
                      <a:pt x="349" y="90"/>
                    </a:lnTo>
                    <a:lnTo>
                      <a:pt x="351" y="88"/>
                    </a:lnTo>
                    <a:lnTo>
                      <a:pt x="351" y="86"/>
                    </a:lnTo>
                    <a:lnTo>
                      <a:pt x="351" y="84"/>
                    </a:lnTo>
                    <a:lnTo>
                      <a:pt x="351" y="80"/>
                    </a:lnTo>
                    <a:lnTo>
                      <a:pt x="351" y="78"/>
                    </a:lnTo>
                    <a:lnTo>
                      <a:pt x="351" y="76"/>
                    </a:lnTo>
                    <a:lnTo>
                      <a:pt x="351" y="72"/>
                    </a:lnTo>
                    <a:lnTo>
                      <a:pt x="349" y="70"/>
                    </a:lnTo>
                    <a:lnTo>
                      <a:pt x="349" y="70"/>
                    </a:lnTo>
                    <a:lnTo>
                      <a:pt x="349" y="70"/>
                    </a:lnTo>
                    <a:lnTo>
                      <a:pt x="348" y="70"/>
                    </a:lnTo>
                    <a:lnTo>
                      <a:pt x="346" y="70"/>
                    </a:lnTo>
                    <a:lnTo>
                      <a:pt x="344" y="70"/>
                    </a:lnTo>
                    <a:lnTo>
                      <a:pt x="344" y="70"/>
                    </a:lnTo>
                    <a:lnTo>
                      <a:pt x="344" y="70"/>
                    </a:lnTo>
                    <a:lnTo>
                      <a:pt x="344" y="74"/>
                    </a:lnTo>
                    <a:lnTo>
                      <a:pt x="344" y="74"/>
                    </a:ln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8"/>
                    </a:lnTo>
                    <a:lnTo>
                      <a:pt x="336" y="80"/>
                    </a:lnTo>
                    <a:lnTo>
                      <a:pt x="334" y="82"/>
                    </a:lnTo>
                    <a:lnTo>
                      <a:pt x="332" y="82"/>
                    </a:lnTo>
                    <a:lnTo>
                      <a:pt x="330" y="82"/>
                    </a:lnTo>
                    <a:lnTo>
                      <a:pt x="328" y="82"/>
                    </a:lnTo>
                    <a:lnTo>
                      <a:pt x="327" y="82"/>
                    </a:lnTo>
                    <a:lnTo>
                      <a:pt x="323" y="84"/>
                    </a:lnTo>
                    <a:lnTo>
                      <a:pt x="321" y="84"/>
                    </a:lnTo>
                    <a:lnTo>
                      <a:pt x="319" y="84"/>
                    </a:lnTo>
                    <a:lnTo>
                      <a:pt x="317" y="86"/>
                    </a:lnTo>
                    <a:lnTo>
                      <a:pt x="317" y="88"/>
                    </a:lnTo>
                    <a:lnTo>
                      <a:pt x="315" y="88"/>
                    </a:lnTo>
                    <a:lnTo>
                      <a:pt x="315" y="88"/>
                    </a:lnTo>
                    <a:lnTo>
                      <a:pt x="313" y="90"/>
                    </a:lnTo>
                    <a:lnTo>
                      <a:pt x="313" y="90"/>
                    </a:lnTo>
                    <a:lnTo>
                      <a:pt x="311" y="91"/>
                    </a:lnTo>
                    <a:lnTo>
                      <a:pt x="309" y="93"/>
                    </a:lnTo>
                    <a:lnTo>
                      <a:pt x="306" y="93"/>
                    </a:lnTo>
                    <a:lnTo>
                      <a:pt x="304" y="91"/>
                    </a:lnTo>
                    <a:lnTo>
                      <a:pt x="302" y="90"/>
                    </a:lnTo>
                    <a:lnTo>
                      <a:pt x="302" y="88"/>
                    </a:lnTo>
                    <a:lnTo>
                      <a:pt x="300" y="86"/>
                    </a:lnTo>
                    <a:lnTo>
                      <a:pt x="298" y="82"/>
                    </a:lnTo>
                    <a:lnTo>
                      <a:pt x="296" y="80"/>
                    </a:lnTo>
                    <a:lnTo>
                      <a:pt x="296" y="78"/>
                    </a:lnTo>
                    <a:lnTo>
                      <a:pt x="294" y="70"/>
                    </a:lnTo>
                    <a:lnTo>
                      <a:pt x="294" y="69"/>
                    </a:lnTo>
                    <a:lnTo>
                      <a:pt x="292" y="67"/>
                    </a:lnTo>
                    <a:lnTo>
                      <a:pt x="290" y="65"/>
                    </a:lnTo>
                    <a:lnTo>
                      <a:pt x="287" y="53"/>
                    </a:lnTo>
                    <a:lnTo>
                      <a:pt x="281" y="50"/>
                    </a:lnTo>
                    <a:lnTo>
                      <a:pt x="275" y="40"/>
                    </a:lnTo>
                    <a:lnTo>
                      <a:pt x="271" y="38"/>
                    </a:lnTo>
                    <a:lnTo>
                      <a:pt x="269" y="34"/>
                    </a:lnTo>
                    <a:lnTo>
                      <a:pt x="269" y="32"/>
                    </a:lnTo>
                    <a:lnTo>
                      <a:pt x="267" y="32"/>
                    </a:lnTo>
                    <a:lnTo>
                      <a:pt x="267" y="32"/>
                    </a:lnTo>
                    <a:lnTo>
                      <a:pt x="266" y="34"/>
                    </a:lnTo>
                    <a:lnTo>
                      <a:pt x="264" y="34"/>
                    </a:lnTo>
                    <a:lnTo>
                      <a:pt x="264" y="36"/>
                    </a:lnTo>
                    <a:lnTo>
                      <a:pt x="262" y="38"/>
                    </a:lnTo>
                    <a:lnTo>
                      <a:pt x="260" y="38"/>
                    </a:lnTo>
                    <a:lnTo>
                      <a:pt x="260" y="38"/>
                    </a:lnTo>
                    <a:lnTo>
                      <a:pt x="256" y="40"/>
                    </a:lnTo>
                    <a:lnTo>
                      <a:pt x="256" y="40"/>
                    </a:lnTo>
                    <a:lnTo>
                      <a:pt x="254" y="40"/>
                    </a:lnTo>
                    <a:lnTo>
                      <a:pt x="250" y="44"/>
                    </a:lnTo>
                    <a:lnTo>
                      <a:pt x="250" y="46"/>
                    </a:lnTo>
                    <a:lnTo>
                      <a:pt x="248" y="46"/>
                    </a:lnTo>
                    <a:lnTo>
                      <a:pt x="246" y="48"/>
                    </a:lnTo>
                    <a:lnTo>
                      <a:pt x="241" y="50"/>
                    </a:lnTo>
                    <a:lnTo>
                      <a:pt x="239" y="50"/>
                    </a:lnTo>
                    <a:lnTo>
                      <a:pt x="233" y="51"/>
                    </a:lnTo>
                    <a:lnTo>
                      <a:pt x="227" y="51"/>
                    </a:lnTo>
                    <a:lnTo>
                      <a:pt x="227" y="51"/>
                    </a:lnTo>
                    <a:lnTo>
                      <a:pt x="227" y="53"/>
                    </a:lnTo>
                    <a:lnTo>
                      <a:pt x="226" y="53"/>
                    </a:lnTo>
                    <a:lnTo>
                      <a:pt x="226" y="55"/>
                    </a:lnTo>
                    <a:lnTo>
                      <a:pt x="222" y="55"/>
                    </a:lnTo>
                    <a:lnTo>
                      <a:pt x="206" y="50"/>
                    </a:lnTo>
                    <a:lnTo>
                      <a:pt x="195" y="46"/>
                    </a:lnTo>
                    <a:lnTo>
                      <a:pt x="189" y="42"/>
                    </a:lnTo>
                    <a:lnTo>
                      <a:pt x="178" y="34"/>
                    </a:lnTo>
                    <a:lnTo>
                      <a:pt x="172" y="32"/>
                    </a:lnTo>
                    <a:lnTo>
                      <a:pt x="170" y="31"/>
                    </a:lnTo>
                    <a:lnTo>
                      <a:pt x="168" y="29"/>
                    </a:lnTo>
                    <a:lnTo>
                      <a:pt x="166" y="25"/>
                    </a:lnTo>
                    <a:lnTo>
                      <a:pt x="159" y="17"/>
                    </a:lnTo>
                    <a:lnTo>
                      <a:pt x="157" y="17"/>
                    </a:lnTo>
                    <a:lnTo>
                      <a:pt x="149" y="8"/>
                    </a:lnTo>
                    <a:lnTo>
                      <a:pt x="147" y="6"/>
                    </a:lnTo>
                    <a:lnTo>
                      <a:pt x="145" y="6"/>
                    </a:lnTo>
                    <a:lnTo>
                      <a:pt x="132" y="8"/>
                    </a:lnTo>
                    <a:lnTo>
                      <a:pt x="130" y="6"/>
                    </a:lnTo>
                    <a:lnTo>
                      <a:pt x="123" y="0"/>
                    </a:lnTo>
                    <a:lnTo>
                      <a:pt x="121" y="0"/>
                    </a:lnTo>
                    <a:lnTo>
                      <a:pt x="117" y="2"/>
                    </a:lnTo>
                    <a:lnTo>
                      <a:pt x="103" y="6"/>
                    </a:lnTo>
                    <a:lnTo>
                      <a:pt x="98" y="8"/>
                    </a:lnTo>
                    <a:lnTo>
                      <a:pt x="90" y="13"/>
                    </a:lnTo>
                    <a:lnTo>
                      <a:pt x="88" y="15"/>
                    </a:lnTo>
                    <a:lnTo>
                      <a:pt x="88" y="17"/>
                    </a:lnTo>
                    <a:lnTo>
                      <a:pt x="88" y="17"/>
                    </a:lnTo>
                    <a:lnTo>
                      <a:pt x="86" y="19"/>
                    </a:lnTo>
                    <a:lnTo>
                      <a:pt x="86" y="23"/>
                    </a:lnTo>
                    <a:lnTo>
                      <a:pt x="82" y="25"/>
                    </a:lnTo>
                    <a:lnTo>
                      <a:pt x="81" y="27"/>
                    </a:lnTo>
                    <a:lnTo>
                      <a:pt x="77" y="29"/>
                    </a:lnTo>
                    <a:lnTo>
                      <a:pt x="73" y="31"/>
                    </a:lnTo>
                    <a:lnTo>
                      <a:pt x="65" y="32"/>
                    </a:lnTo>
                    <a:lnTo>
                      <a:pt x="63" y="34"/>
                    </a:lnTo>
                    <a:lnTo>
                      <a:pt x="62" y="36"/>
                    </a:lnTo>
                    <a:lnTo>
                      <a:pt x="60" y="40"/>
                    </a:lnTo>
                    <a:lnTo>
                      <a:pt x="50" y="48"/>
                    </a:lnTo>
                    <a:lnTo>
                      <a:pt x="46" y="50"/>
                    </a:lnTo>
                    <a:lnTo>
                      <a:pt x="46" y="50"/>
                    </a:lnTo>
                    <a:lnTo>
                      <a:pt x="44" y="50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41" y="46"/>
                    </a:lnTo>
                    <a:lnTo>
                      <a:pt x="39" y="46"/>
                    </a:lnTo>
                    <a:lnTo>
                      <a:pt x="37" y="44"/>
                    </a:lnTo>
                    <a:lnTo>
                      <a:pt x="35" y="44"/>
                    </a:lnTo>
                    <a:lnTo>
                      <a:pt x="33" y="44"/>
                    </a:lnTo>
                    <a:lnTo>
                      <a:pt x="31" y="44"/>
                    </a:lnTo>
                    <a:lnTo>
                      <a:pt x="29" y="46"/>
                    </a:lnTo>
                    <a:lnTo>
                      <a:pt x="29" y="46"/>
                    </a:lnTo>
                    <a:lnTo>
                      <a:pt x="29" y="48"/>
                    </a:lnTo>
                    <a:lnTo>
                      <a:pt x="29" y="50"/>
                    </a:lnTo>
                    <a:lnTo>
                      <a:pt x="29" y="53"/>
                    </a:lnTo>
                    <a:lnTo>
                      <a:pt x="31" y="55"/>
                    </a:lnTo>
                    <a:lnTo>
                      <a:pt x="35" y="59"/>
                    </a:lnTo>
                    <a:lnTo>
                      <a:pt x="37" y="61"/>
                    </a:lnTo>
                    <a:lnTo>
                      <a:pt x="37" y="63"/>
                    </a:lnTo>
                    <a:lnTo>
                      <a:pt x="39" y="63"/>
                    </a:lnTo>
                    <a:lnTo>
                      <a:pt x="39" y="65"/>
                    </a:lnTo>
                    <a:lnTo>
                      <a:pt x="41" y="69"/>
                    </a:lnTo>
                    <a:lnTo>
                      <a:pt x="41" y="69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1" y="74"/>
                    </a:lnTo>
                    <a:lnTo>
                      <a:pt x="41" y="80"/>
                    </a:lnTo>
                    <a:lnTo>
                      <a:pt x="41" y="82"/>
                    </a:lnTo>
                    <a:lnTo>
                      <a:pt x="44" y="88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2" y="91"/>
                    </a:lnTo>
                    <a:lnTo>
                      <a:pt x="42" y="93"/>
                    </a:lnTo>
                    <a:lnTo>
                      <a:pt x="42" y="93"/>
                    </a:lnTo>
                    <a:lnTo>
                      <a:pt x="41" y="95"/>
                    </a:lnTo>
                    <a:lnTo>
                      <a:pt x="37" y="101"/>
                    </a:lnTo>
                    <a:lnTo>
                      <a:pt x="37" y="103"/>
                    </a:lnTo>
                    <a:lnTo>
                      <a:pt x="35" y="107"/>
                    </a:lnTo>
                    <a:lnTo>
                      <a:pt x="33" y="107"/>
                    </a:lnTo>
                    <a:lnTo>
                      <a:pt x="35" y="107"/>
                    </a:lnTo>
                    <a:lnTo>
                      <a:pt x="37" y="109"/>
                    </a:lnTo>
                    <a:lnTo>
                      <a:pt x="37" y="110"/>
                    </a:lnTo>
                    <a:lnTo>
                      <a:pt x="42" y="120"/>
                    </a:lnTo>
                    <a:lnTo>
                      <a:pt x="42" y="120"/>
                    </a:lnTo>
                    <a:lnTo>
                      <a:pt x="42" y="122"/>
                    </a:lnTo>
                    <a:lnTo>
                      <a:pt x="41" y="122"/>
                    </a:lnTo>
                    <a:lnTo>
                      <a:pt x="35" y="126"/>
                    </a:lnTo>
                    <a:lnTo>
                      <a:pt x="25" y="133"/>
                    </a:lnTo>
                    <a:lnTo>
                      <a:pt x="21" y="139"/>
                    </a:lnTo>
                    <a:lnTo>
                      <a:pt x="20" y="141"/>
                    </a:lnTo>
                    <a:lnTo>
                      <a:pt x="18" y="143"/>
                    </a:lnTo>
                    <a:lnTo>
                      <a:pt x="14" y="143"/>
                    </a:lnTo>
                    <a:lnTo>
                      <a:pt x="6" y="145"/>
                    </a:lnTo>
                    <a:lnTo>
                      <a:pt x="4" y="147"/>
                    </a:lnTo>
                    <a:lnTo>
                      <a:pt x="4" y="147"/>
                    </a:lnTo>
                    <a:lnTo>
                      <a:pt x="4" y="149"/>
                    </a:lnTo>
                    <a:lnTo>
                      <a:pt x="4" y="150"/>
                    </a:lnTo>
                    <a:lnTo>
                      <a:pt x="4" y="152"/>
                    </a:lnTo>
                    <a:lnTo>
                      <a:pt x="4" y="154"/>
                    </a:lnTo>
                    <a:lnTo>
                      <a:pt x="6" y="156"/>
                    </a:lnTo>
                    <a:lnTo>
                      <a:pt x="6" y="156"/>
                    </a:lnTo>
                    <a:lnTo>
                      <a:pt x="8" y="154"/>
                    </a:lnTo>
                    <a:lnTo>
                      <a:pt x="8" y="154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4"/>
                    </a:lnTo>
                    <a:lnTo>
                      <a:pt x="10" y="156"/>
                    </a:lnTo>
                    <a:lnTo>
                      <a:pt x="10" y="158"/>
                    </a:lnTo>
                    <a:lnTo>
                      <a:pt x="8" y="160"/>
                    </a:lnTo>
                    <a:lnTo>
                      <a:pt x="8" y="162"/>
                    </a:lnTo>
                    <a:lnTo>
                      <a:pt x="0" y="169"/>
                    </a:lnTo>
                    <a:lnTo>
                      <a:pt x="0" y="171"/>
                    </a:lnTo>
                    <a:lnTo>
                      <a:pt x="0" y="173"/>
                    </a:lnTo>
                    <a:lnTo>
                      <a:pt x="2" y="173"/>
                    </a:lnTo>
                    <a:lnTo>
                      <a:pt x="2" y="173"/>
                    </a:lnTo>
                    <a:lnTo>
                      <a:pt x="10" y="175"/>
                    </a:lnTo>
                    <a:lnTo>
                      <a:pt x="14" y="175"/>
                    </a:lnTo>
                    <a:lnTo>
                      <a:pt x="16" y="175"/>
                    </a:lnTo>
                    <a:lnTo>
                      <a:pt x="16" y="177"/>
                    </a:lnTo>
                    <a:lnTo>
                      <a:pt x="21" y="179"/>
                    </a:lnTo>
                    <a:lnTo>
                      <a:pt x="27" y="183"/>
                    </a:lnTo>
                    <a:lnTo>
                      <a:pt x="35" y="187"/>
                    </a:lnTo>
                    <a:lnTo>
                      <a:pt x="39" y="188"/>
                    </a:lnTo>
                    <a:lnTo>
                      <a:pt x="39" y="190"/>
                    </a:lnTo>
                    <a:lnTo>
                      <a:pt x="44" y="198"/>
                    </a:lnTo>
                    <a:lnTo>
                      <a:pt x="48" y="206"/>
                    </a:lnTo>
                    <a:lnTo>
                      <a:pt x="48" y="207"/>
                    </a:lnTo>
                    <a:lnTo>
                      <a:pt x="48" y="207"/>
                    </a:lnTo>
                    <a:lnTo>
                      <a:pt x="48" y="209"/>
                    </a:lnTo>
                    <a:lnTo>
                      <a:pt x="48" y="209"/>
                    </a:lnTo>
                    <a:lnTo>
                      <a:pt x="46" y="207"/>
                    </a:lnTo>
                    <a:lnTo>
                      <a:pt x="44" y="207"/>
                    </a:lnTo>
                    <a:lnTo>
                      <a:pt x="44" y="209"/>
                    </a:lnTo>
                    <a:lnTo>
                      <a:pt x="42" y="209"/>
                    </a:lnTo>
                    <a:lnTo>
                      <a:pt x="42" y="211"/>
                    </a:lnTo>
                    <a:lnTo>
                      <a:pt x="42" y="211"/>
                    </a:lnTo>
                    <a:lnTo>
                      <a:pt x="46" y="217"/>
                    </a:lnTo>
                    <a:lnTo>
                      <a:pt x="62" y="247"/>
                    </a:lnTo>
                    <a:lnTo>
                      <a:pt x="69" y="268"/>
                    </a:lnTo>
                    <a:lnTo>
                      <a:pt x="71" y="276"/>
                    </a:lnTo>
                    <a:lnTo>
                      <a:pt x="71" y="278"/>
                    </a:lnTo>
                    <a:lnTo>
                      <a:pt x="73" y="282"/>
                    </a:lnTo>
                    <a:lnTo>
                      <a:pt x="75" y="284"/>
                    </a:lnTo>
                    <a:lnTo>
                      <a:pt x="79" y="285"/>
                    </a:lnTo>
                    <a:lnTo>
                      <a:pt x="81" y="284"/>
                    </a:lnTo>
                    <a:lnTo>
                      <a:pt x="82" y="284"/>
                    </a:lnTo>
                    <a:lnTo>
                      <a:pt x="82" y="284"/>
                    </a:lnTo>
                    <a:lnTo>
                      <a:pt x="86" y="285"/>
                    </a:lnTo>
                    <a:lnTo>
                      <a:pt x="86" y="285"/>
                    </a:lnTo>
                    <a:lnTo>
                      <a:pt x="88" y="285"/>
                    </a:lnTo>
                    <a:lnTo>
                      <a:pt x="88" y="284"/>
                    </a:lnTo>
                    <a:lnTo>
                      <a:pt x="88" y="284"/>
                    </a:lnTo>
                    <a:lnTo>
                      <a:pt x="90" y="282"/>
                    </a:lnTo>
                    <a:lnTo>
                      <a:pt x="90" y="280"/>
                    </a:lnTo>
                    <a:lnTo>
                      <a:pt x="90" y="280"/>
                    </a:lnTo>
                    <a:lnTo>
                      <a:pt x="92" y="280"/>
                    </a:lnTo>
                    <a:lnTo>
                      <a:pt x="92" y="278"/>
                    </a:lnTo>
                    <a:lnTo>
                      <a:pt x="94" y="278"/>
                    </a:lnTo>
                    <a:lnTo>
                      <a:pt x="92" y="272"/>
                    </a:lnTo>
                    <a:lnTo>
                      <a:pt x="94" y="270"/>
                    </a:lnTo>
                    <a:lnTo>
                      <a:pt x="96" y="268"/>
                    </a:lnTo>
                    <a:lnTo>
                      <a:pt x="96" y="268"/>
                    </a:lnTo>
                    <a:lnTo>
                      <a:pt x="98" y="268"/>
                    </a:lnTo>
                    <a:lnTo>
                      <a:pt x="98" y="268"/>
                    </a:lnTo>
                    <a:lnTo>
                      <a:pt x="98" y="268"/>
                    </a:lnTo>
                    <a:lnTo>
                      <a:pt x="100" y="268"/>
                    </a:lnTo>
                    <a:lnTo>
                      <a:pt x="105" y="278"/>
                    </a:lnTo>
                    <a:lnTo>
                      <a:pt x="107" y="284"/>
                    </a:lnTo>
                    <a:lnTo>
                      <a:pt x="107" y="287"/>
                    </a:lnTo>
                    <a:lnTo>
                      <a:pt x="109" y="287"/>
                    </a:lnTo>
                    <a:lnTo>
                      <a:pt x="109" y="287"/>
                    </a:lnTo>
                    <a:lnTo>
                      <a:pt x="111" y="285"/>
                    </a:lnTo>
                    <a:lnTo>
                      <a:pt x="111" y="285"/>
                    </a:lnTo>
                    <a:lnTo>
                      <a:pt x="111" y="285"/>
                    </a:lnTo>
                    <a:lnTo>
                      <a:pt x="113" y="285"/>
                    </a:lnTo>
                    <a:lnTo>
                      <a:pt x="113" y="287"/>
                    </a:lnTo>
                    <a:lnTo>
                      <a:pt x="115" y="289"/>
                    </a:lnTo>
                    <a:lnTo>
                      <a:pt x="115" y="289"/>
                    </a:lnTo>
                    <a:lnTo>
                      <a:pt x="115" y="289"/>
                    </a:lnTo>
                    <a:lnTo>
                      <a:pt x="115" y="287"/>
                    </a:lnTo>
                    <a:lnTo>
                      <a:pt x="117" y="287"/>
                    </a:lnTo>
                    <a:lnTo>
                      <a:pt x="117" y="287"/>
                    </a:lnTo>
                    <a:lnTo>
                      <a:pt x="119" y="287"/>
                    </a:lnTo>
                    <a:lnTo>
                      <a:pt x="119" y="289"/>
                    </a:lnTo>
                    <a:lnTo>
                      <a:pt x="119" y="289"/>
                    </a:lnTo>
                    <a:lnTo>
                      <a:pt x="121" y="291"/>
                    </a:lnTo>
                    <a:lnTo>
                      <a:pt x="121" y="293"/>
                    </a:lnTo>
                    <a:lnTo>
                      <a:pt x="121" y="293"/>
                    </a:lnTo>
                    <a:lnTo>
                      <a:pt x="121" y="293"/>
                    </a:lnTo>
                    <a:lnTo>
                      <a:pt x="123" y="293"/>
                    </a:lnTo>
                    <a:lnTo>
                      <a:pt x="123" y="291"/>
                    </a:lnTo>
                    <a:lnTo>
                      <a:pt x="123" y="289"/>
                    </a:lnTo>
                    <a:lnTo>
                      <a:pt x="124" y="289"/>
                    </a:lnTo>
                    <a:lnTo>
                      <a:pt x="124" y="289"/>
                    </a:lnTo>
                    <a:lnTo>
                      <a:pt x="124" y="289"/>
                    </a:lnTo>
                    <a:lnTo>
                      <a:pt x="124" y="291"/>
                    </a:lnTo>
                    <a:lnTo>
                      <a:pt x="126" y="293"/>
                    </a:lnTo>
                    <a:lnTo>
                      <a:pt x="126" y="293"/>
                    </a:lnTo>
                    <a:lnTo>
                      <a:pt x="126" y="297"/>
                    </a:lnTo>
                    <a:lnTo>
                      <a:pt x="126" y="297"/>
                    </a:lnTo>
                    <a:lnTo>
                      <a:pt x="126" y="297"/>
                    </a:lnTo>
                    <a:lnTo>
                      <a:pt x="130" y="297"/>
                    </a:lnTo>
                    <a:lnTo>
                      <a:pt x="130" y="297"/>
                    </a:lnTo>
                    <a:lnTo>
                      <a:pt x="132" y="299"/>
                    </a:lnTo>
                    <a:lnTo>
                      <a:pt x="130" y="301"/>
                    </a:lnTo>
                    <a:lnTo>
                      <a:pt x="128" y="303"/>
                    </a:lnTo>
                    <a:lnTo>
                      <a:pt x="128" y="303"/>
                    </a:lnTo>
                    <a:lnTo>
                      <a:pt x="128" y="305"/>
                    </a:lnTo>
                    <a:lnTo>
                      <a:pt x="128" y="310"/>
                    </a:lnTo>
                    <a:lnTo>
                      <a:pt x="128" y="312"/>
                    </a:lnTo>
                    <a:lnTo>
                      <a:pt x="130" y="314"/>
                    </a:lnTo>
                    <a:lnTo>
                      <a:pt x="130" y="314"/>
                    </a:lnTo>
                    <a:lnTo>
                      <a:pt x="130" y="318"/>
                    </a:lnTo>
                    <a:lnTo>
                      <a:pt x="128" y="318"/>
                    </a:lnTo>
                    <a:lnTo>
                      <a:pt x="128" y="320"/>
                    </a:lnTo>
                    <a:lnTo>
                      <a:pt x="128" y="322"/>
                    </a:lnTo>
                    <a:lnTo>
                      <a:pt x="128" y="324"/>
                    </a:lnTo>
                    <a:lnTo>
                      <a:pt x="130" y="324"/>
                    </a:lnTo>
                    <a:lnTo>
                      <a:pt x="130" y="325"/>
                    </a:lnTo>
                    <a:lnTo>
                      <a:pt x="132" y="327"/>
                    </a:lnTo>
                    <a:lnTo>
                      <a:pt x="134" y="331"/>
                    </a:lnTo>
                    <a:lnTo>
                      <a:pt x="142" y="337"/>
                    </a:lnTo>
                    <a:lnTo>
                      <a:pt x="144" y="339"/>
                    </a:lnTo>
                    <a:lnTo>
                      <a:pt x="149" y="344"/>
                    </a:lnTo>
                    <a:lnTo>
                      <a:pt x="149" y="343"/>
                    </a:lnTo>
                    <a:lnTo>
                      <a:pt x="151" y="343"/>
                    </a:lnTo>
                    <a:lnTo>
                      <a:pt x="153" y="341"/>
                    </a:lnTo>
                    <a:lnTo>
                      <a:pt x="153" y="341"/>
                    </a:lnTo>
                    <a:lnTo>
                      <a:pt x="155" y="341"/>
                    </a:lnTo>
                    <a:lnTo>
                      <a:pt x="155" y="341"/>
                    </a:lnTo>
                    <a:lnTo>
                      <a:pt x="155" y="341"/>
                    </a:lnTo>
                    <a:lnTo>
                      <a:pt x="157" y="343"/>
                    </a:lnTo>
                    <a:lnTo>
                      <a:pt x="159" y="344"/>
                    </a:lnTo>
                    <a:lnTo>
                      <a:pt x="159" y="344"/>
                    </a:lnTo>
                    <a:lnTo>
                      <a:pt x="161" y="346"/>
                    </a:lnTo>
                    <a:lnTo>
                      <a:pt x="163" y="344"/>
                    </a:lnTo>
                    <a:lnTo>
                      <a:pt x="164" y="344"/>
                    </a:lnTo>
                    <a:lnTo>
                      <a:pt x="166" y="344"/>
                    </a:lnTo>
                    <a:lnTo>
                      <a:pt x="168" y="348"/>
                    </a:lnTo>
                    <a:lnTo>
                      <a:pt x="170" y="350"/>
                    </a:lnTo>
                    <a:lnTo>
                      <a:pt x="170" y="350"/>
                    </a:lnTo>
                    <a:lnTo>
                      <a:pt x="172" y="354"/>
                    </a:lnTo>
                    <a:lnTo>
                      <a:pt x="172" y="356"/>
                    </a:lnTo>
                    <a:lnTo>
                      <a:pt x="172" y="356"/>
                    </a:lnTo>
                    <a:lnTo>
                      <a:pt x="174" y="358"/>
                    </a:lnTo>
                    <a:lnTo>
                      <a:pt x="176" y="358"/>
                    </a:lnTo>
                    <a:lnTo>
                      <a:pt x="176" y="358"/>
                    </a:lnTo>
                    <a:lnTo>
                      <a:pt x="178" y="360"/>
                    </a:lnTo>
                    <a:lnTo>
                      <a:pt x="178" y="362"/>
                    </a:lnTo>
                    <a:lnTo>
                      <a:pt x="178" y="362"/>
                    </a:lnTo>
                    <a:lnTo>
                      <a:pt x="178" y="364"/>
                    </a:lnTo>
                    <a:lnTo>
                      <a:pt x="180" y="364"/>
                    </a:lnTo>
                    <a:lnTo>
                      <a:pt x="184" y="365"/>
                    </a:lnTo>
                    <a:lnTo>
                      <a:pt x="189" y="369"/>
                    </a:lnTo>
                    <a:lnTo>
                      <a:pt x="193" y="371"/>
                    </a:lnTo>
                    <a:lnTo>
                      <a:pt x="195" y="373"/>
                    </a:lnTo>
                    <a:lnTo>
                      <a:pt x="197" y="375"/>
                    </a:lnTo>
                    <a:lnTo>
                      <a:pt x="197" y="377"/>
                    </a:lnTo>
                    <a:lnTo>
                      <a:pt x="197" y="379"/>
                    </a:lnTo>
                    <a:lnTo>
                      <a:pt x="197" y="383"/>
                    </a:lnTo>
                    <a:lnTo>
                      <a:pt x="197" y="388"/>
                    </a:lnTo>
                    <a:lnTo>
                      <a:pt x="197" y="390"/>
                    </a:lnTo>
                    <a:lnTo>
                      <a:pt x="195" y="392"/>
                    </a:lnTo>
                    <a:lnTo>
                      <a:pt x="195" y="394"/>
                    </a:lnTo>
                    <a:lnTo>
                      <a:pt x="195" y="396"/>
                    </a:lnTo>
                    <a:lnTo>
                      <a:pt x="197" y="398"/>
                    </a:lnTo>
                    <a:lnTo>
                      <a:pt x="203" y="403"/>
                    </a:lnTo>
                    <a:lnTo>
                      <a:pt x="205" y="405"/>
                    </a:lnTo>
                    <a:lnTo>
                      <a:pt x="205" y="405"/>
                    </a:lnTo>
                    <a:lnTo>
                      <a:pt x="205" y="407"/>
                    </a:lnTo>
                    <a:lnTo>
                      <a:pt x="205" y="407"/>
                    </a:lnTo>
                    <a:lnTo>
                      <a:pt x="208" y="405"/>
                    </a:lnTo>
                    <a:lnTo>
                      <a:pt x="212" y="407"/>
                    </a:lnTo>
                    <a:lnTo>
                      <a:pt x="214" y="409"/>
                    </a:lnTo>
                    <a:lnTo>
                      <a:pt x="216" y="409"/>
                    </a:lnTo>
                    <a:lnTo>
                      <a:pt x="222" y="409"/>
                    </a:lnTo>
                    <a:lnTo>
                      <a:pt x="224" y="411"/>
                    </a:lnTo>
                    <a:lnTo>
                      <a:pt x="224" y="411"/>
                    </a:lnTo>
                    <a:lnTo>
                      <a:pt x="226" y="413"/>
                    </a:lnTo>
                    <a:lnTo>
                      <a:pt x="226" y="413"/>
                    </a:lnTo>
                    <a:lnTo>
                      <a:pt x="227" y="413"/>
                    </a:lnTo>
                    <a:lnTo>
                      <a:pt x="229" y="413"/>
                    </a:lnTo>
                    <a:lnTo>
                      <a:pt x="235" y="409"/>
                    </a:lnTo>
                    <a:lnTo>
                      <a:pt x="235" y="409"/>
                    </a:lnTo>
                    <a:lnTo>
                      <a:pt x="235" y="411"/>
                    </a:lnTo>
                    <a:lnTo>
                      <a:pt x="235" y="411"/>
                    </a:lnTo>
                    <a:lnTo>
                      <a:pt x="233" y="415"/>
                    </a:lnTo>
                    <a:lnTo>
                      <a:pt x="233" y="415"/>
                    </a:lnTo>
                    <a:lnTo>
                      <a:pt x="233" y="415"/>
                    </a:lnTo>
                    <a:lnTo>
                      <a:pt x="237" y="415"/>
                    </a:lnTo>
                    <a:lnTo>
                      <a:pt x="237" y="415"/>
                    </a:lnTo>
                    <a:lnTo>
                      <a:pt x="239" y="415"/>
                    </a:lnTo>
                    <a:lnTo>
                      <a:pt x="241" y="415"/>
                    </a:lnTo>
                    <a:lnTo>
                      <a:pt x="243" y="415"/>
                    </a:lnTo>
                    <a:lnTo>
                      <a:pt x="246" y="417"/>
                    </a:lnTo>
                    <a:lnTo>
                      <a:pt x="252" y="421"/>
                    </a:lnTo>
                    <a:lnTo>
                      <a:pt x="252" y="421"/>
                    </a:lnTo>
                    <a:lnTo>
                      <a:pt x="250" y="419"/>
                    </a:lnTo>
                    <a:lnTo>
                      <a:pt x="250" y="417"/>
                    </a:lnTo>
                    <a:lnTo>
                      <a:pt x="248" y="415"/>
                    </a:lnTo>
                    <a:lnTo>
                      <a:pt x="250" y="413"/>
                    </a:lnTo>
                    <a:lnTo>
                      <a:pt x="254" y="413"/>
                    </a:lnTo>
                    <a:lnTo>
                      <a:pt x="256" y="411"/>
                    </a:lnTo>
                    <a:lnTo>
                      <a:pt x="260" y="411"/>
                    </a:lnTo>
                    <a:lnTo>
                      <a:pt x="262" y="411"/>
                    </a:lnTo>
                    <a:lnTo>
                      <a:pt x="266" y="409"/>
                    </a:lnTo>
                    <a:lnTo>
                      <a:pt x="275" y="403"/>
                    </a:lnTo>
                    <a:lnTo>
                      <a:pt x="277" y="402"/>
                    </a:lnTo>
                    <a:lnTo>
                      <a:pt x="279" y="402"/>
                    </a:lnTo>
                    <a:lnTo>
                      <a:pt x="281" y="400"/>
                    </a:lnTo>
                    <a:lnTo>
                      <a:pt x="281" y="400"/>
                    </a:lnTo>
                    <a:lnTo>
                      <a:pt x="281" y="398"/>
                    </a:lnTo>
                    <a:lnTo>
                      <a:pt x="281" y="396"/>
                    </a:lnTo>
                    <a:lnTo>
                      <a:pt x="279" y="396"/>
                    </a:lnTo>
                    <a:lnTo>
                      <a:pt x="279" y="396"/>
                    </a:lnTo>
                    <a:lnTo>
                      <a:pt x="277" y="396"/>
                    </a:lnTo>
                    <a:lnTo>
                      <a:pt x="275" y="396"/>
                    </a:lnTo>
                    <a:lnTo>
                      <a:pt x="275" y="394"/>
                    </a:lnTo>
                    <a:lnTo>
                      <a:pt x="271" y="388"/>
                    </a:lnTo>
                    <a:lnTo>
                      <a:pt x="271" y="388"/>
                    </a:lnTo>
                    <a:lnTo>
                      <a:pt x="273" y="386"/>
                    </a:lnTo>
                    <a:lnTo>
                      <a:pt x="275" y="384"/>
                    </a:lnTo>
                    <a:lnTo>
                      <a:pt x="275" y="384"/>
                    </a:lnTo>
                    <a:lnTo>
                      <a:pt x="275" y="381"/>
                    </a:lnTo>
                    <a:lnTo>
                      <a:pt x="273" y="379"/>
                    </a:lnTo>
                    <a:lnTo>
                      <a:pt x="271" y="377"/>
                    </a:lnTo>
                    <a:lnTo>
                      <a:pt x="271" y="375"/>
                    </a:lnTo>
                    <a:lnTo>
                      <a:pt x="271" y="371"/>
                    </a:lnTo>
                    <a:lnTo>
                      <a:pt x="271" y="369"/>
                    </a:lnTo>
                    <a:lnTo>
                      <a:pt x="267" y="365"/>
                    </a:lnTo>
                    <a:lnTo>
                      <a:pt x="267" y="364"/>
                    </a:lnTo>
                    <a:lnTo>
                      <a:pt x="267" y="362"/>
                    </a:lnTo>
                    <a:lnTo>
                      <a:pt x="269" y="354"/>
                    </a:lnTo>
                    <a:lnTo>
                      <a:pt x="271" y="350"/>
                    </a:lnTo>
                    <a:lnTo>
                      <a:pt x="273" y="348"/>
                    </a:lnTo>
                    <a:lnTo>
                      <a:pt x="273" y="348"/>
                    </a:lnTo>
                    <a:lnTo>
                      <a:pt x="275" y="348"/>
                    </a:lnTo>
                    <a:lnTo>
                      <a:pt x="275" y="348"/>
                    </a:lnTo>
                    <a:lnTo>
                      <a:pt x="277" y="348"/>
                    </a:lnTo>
                    <a:lnTo>
                      <a:pt x="277" y="346"/>
                    </a:lnTo>
                    <a:lnTo>
                      <a:pt x="277" y="343"/>
                    </a:lnTo>
                    <a:lnTo>
                      <a:pt x="277" y="341"/>
                    </a:lnTo>
                    <a:lnTo>
                      <a:pt x="277" y="339"/>
                    </a:lnTo>
                    <a:lnTo>
                      <a:pt x="275" y="339"/>
                    </a:lnTo>
                    <a:lnTo>
                      <a:pt x="273" y="337"/>
                    </a:lnTo>
                    <a:lnTo>
                      <a:pt x="273" y="335"/>
                    </a:lnTo>
                    <a:lnTo>
                      <a:pt x="273" y="333"/>
                    </a:lnTo>
                    <a:lnTo>
                      <a:pt x="273" y="333"/>
                    </a:lnTo>
                    <a:lnTo>
                      <a:pt x="275" y="333"/>
                    </a:lnTo>
                    <a:lnTo>
                      <a:pt x="275" y="333"/>
                    </a:lnTo>
                    <a:lnTo>
                      <a:pt x="277" y="333"/>
                    </a:lnTo>
                    <a:lnTo>
                      <a:pt x="277" y="333"/>
                    </a:lnTo>
                    <a:lnTo>
                      <a:pt x="279" y="331"/>
                    </a:lnTo>
                    <a:lnTo>
                      <a:pt x="279" y="329"/>
                    </a:lnTo>
                    <a:lnTo>
                      <a:pt x="279" y="329"/>
                    </a:lnTo>
                    <a:lnTo>
                      <a:pt x="279" y="325"/>
                    </a:lnTo>
                    <a:lnTo>
                      <a:pt x="279" y="324"/>
                    </a:lnTo>
                    <a:lnTo>
                      <a:pt x="279" y="324"/>
                    </a:lnTo>
                    <a:lnTo>
                      <a:pt x="287" y="316"/>
                    </a:lnTo>
                    <a:lnTo>
                      <a:pt x="290" y="310"/>
                    </a:lnTo>
                    <a:lnTo>
                      <a:pt x="294" y="306"/>
                    </a:lnTo>
                    <a:lnTo>
                      <a:pt x="296" y="305"/>
                    </a:lnTo>
                    <a:lnTo>
                      <a:pt x="298" y="305"/>
                    </a:lnTo>
                    <a:lnTo>
                      <a:pt x="300" y="305"/>
                    </a:lnTo>
                    <a:lnTo>
                      <a:pt x="306" y="306"/>
                    </a:lnTo>
                    <a:lnTo>
                      <a:pt x="308" y="306"/>
                    </a:lnTo>
                    <a:lnTo>
                      <a:pt x="309" y="305"/>
                    </a:lnTo>
                    <a:lnTo>
                      <a:pt x="313" y="303"/>
                    </a:lnTo>
                    <a:lnTo>
                      <a:pt x="319" y="299"/>
                    </a:lnTo>
                    <a:lnTo>
                      <a:pt x="327" y="295"/>
                    </a:lnTo>
                    <a:lnTo>
                      <a:pt x="332" y="293"/>
                    </a:lnTo>
                    <a:lnTo>
                      <a:pt x="340" y="287"/>
                    </a:lnTo>
                    <a:lnTo>
                      <a:pt x="342" y="287"/>
                    </a:lnTo>
                    <a:lnTo>
                      <a:pt x="344" y="287"/>
                    </a:lnTo>
                    <a:lnTo>
                      <a:pt x="348" y="287"/>
                    </a:lnTo>
                    <a:lnTo>
                      <a:pt x="349" y="287"/>
                    </a:lnTo>
                    <a:lnTo>
                      <a:pt x="351" y="289"/>
                    </a:lnTo>
                    <a:lnTo>
                      <a:pt x="351" y="289"/>
                    </a:lnTo>
                    <a:lnTo>
                      <a:pt x="353" y="291"/>
                    </a:lnTo>
                    <a:lnTo>
                      <a:pt x="353" y="291"/>
                    </a:lnTo>
                    <a:lnTo>
                      <a:pt x="355" y="291"/>
                    </a:lnTo>
                    <a:lnTo>
                      <a:pt x="357" y="291"/>
                    </a:lnTo>
                    <a:lnTo>
                      <a:pt x="359" y="291"/>
                    </a:lnTo>
                    <a:lnTo>
                      <a:pt x="359" y="293"/>
                    </a:lnTo>
                    <a:lnTo>
                      <a:pt x="363" y="297"/>
                    </a:lnTo>
                    <a:lnTo>
                      <a:pt x="365" y="299"/>
                    </a:lnTo>
                    <a:lnTo>
                      <a:pt x="367" y="299"/>
                    </a:lnTo>
                    <a:lnTo>
                      <a:pt x="369" y="299"/>
                    </a:lnTo>
                    <a:lnTo>
                      <a:pt x="372" y="297"/>
                    </a:lnTo>
                    <a:lnTo>
                      <a:pt x="376" y="297"/>
                    </a:lnTo>
                    <a:lnTo>
                      <a:pt x="380" y="297"/>
                    </a:lnTo>
                    <a:lnTo>
                      <a:pt x="382" y="297"/>
                    </a:lnTo>
                    <a:lnTo>
                      <a:pt x="384" y="299"/>
                    </a:lnTo>
                    <a:lnTo>
                      <a:pt x="386" y="299"/>
                    </a:lnTo>
                    <a:lnTo>
                      <a:pt x="388" y="299"/>
                    </a:lnTo>
                    <a:lnTo>
                      <a:pt x="390" y="299"/>
                    </a:lnTo>
                    <a:lnTo>
                      <a:pt x="395" y="299"/>
                    </a:lnTo>
                    <a:lnTo>
                      <a:pt x="399" y="301"/>
                    </a:lnTo>
                    <a:lnTo>
                      <a:pt x="401" y="301"/>
                    </a:lnTo>
                    <a:lnTo>
                      <a:pt x="403" y="301"/>
                    </a:lnTo>
                    <a:lnTo>
                      <a:pt x="405" y="301"/>
                    </a:lnTo>
                    <a:lnTo>
                      <a:pt x="407" y="306"/>
                    </a:lnTo>
                    <a:lnTo>
                      <a:pt x="409" y="308"/>
                    </a:lnTo>
                    <a:lnTo>
                      <a:pt x="410" y="310"/>
                    </a:lnTo>
                    <a:lnTo>
                      <a:pt x="412" y="312"/>
                    </a:lnTo>
                    <a:lnTo>
                      <a:pt x="420" y="314"/>
                    </a:lnTo>
                    <a:lnTo>
                      <a:pt x="422" y="312"/>
                    </a:lnTo>
                    <a:lnTo>
                      <a:pt x="424" y="312"/>
                    </a:lnTo>
                    <a:lnTo>
                      <a:pt x="428" y="312"/>
                    </a:lnTo>
                    <a:lnTo>
                      <a:pt x="430" y="308"/>
                    </a:lnTo>
                    <a:lnTo>
                      <a:pt x="428" y="306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6" name="Freeform 28">
                <a:extLst>
                  <a:ext uri="{FF2B5EF4-FFF2-40B4-BE49-F238E27FC236}">
                    <a16:creationId xmlns:a16="http://schemas.microsoft.com/office/drawing/2014/main" id="{75C2869A-6DED-4BAE-BAE1-CCA50A4BA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8382" y="2911949"/>
                <a:ext cx="623888" cy="742950"/>
              </a:xfrm>
              <a:custGeom>
                <a:avLst/>
                <a:gdLst>
                  <a:gd name="T0" fmla="*/ 367 w 393"/>
                  <a:gd name="T1" fmla="*/ 72 h 468"/>
                  <a:gd name="T2" fmla="*/ 338 w 393"/>
                  <a:gd name="T3" fmla="*/ 38 h 468"/>
                  <a:gd name="T4" fmla="*/ 309 w 393"/>
                  <a:gd name="T5" fmla="*/ 7 h 468"/>
                  <a:gd name="T6" fmla="*/ 296 w 393"/>
                  <a:gd name="T7" fmla="*/ 11 h 468"/>
                  <a:gd name="T8" fmla="*/ 300 w 393"/>
                  <a:gd name="T9" fmla="*/ 36 h 468"/>
                  <a:gd name="T10" fmla="*/ 307 w 393"/>
                  <a:gd name="T11" fmla="*/ 61 h 468"/>
                  <a:gd name="T12" fmla="*/ 292 w 393"/>
                  <a:gd name="T13" fmla="*/ 74 h 468"/>
                  <a:gd name="T14" fmla="*/ 265 w 393"/>
                  <a:gd name="T15" fmla="*/ 97 h 468"/>
                  <a:gd name="T16" fmla="*/ 271 w 393"/>
                  <a:gd name="T17" fmla="*/ 102 h 468"/>
                  <a:gd name="T18" fmla="*/ 248 w 393"/>
                  <a:gd name="T19" fmla="*/ 118 h 468"/>
                  <a:gd name="T20" fmla="*/ 237 w 393"/>
                  <a:gd name="T21" fmla="*/ 116 h 468"/>
                  <a:gd name="T22" fmla="*/ 220 w 393"/>
                  <a:gd name="T23" fmla="*/ 118 h 468"/>
                  <a:gd name="T24" fmla="*/ 218 w 393"/>
                  <a:gd name="T25" fmla="*/ 139 h 468"/>
                  <a:gd name="T26" fmla="*/ 199 w 393"/>
                  <a:gd name="T27" fmla="*/ 171 h 468"/>
                  <a:gd name="T28" fmla="*/ 159 w 393"/>
                  <a:gd name="T29" fmla="*/ 165 h 468"/>
                  <a:gd name="T30" fmla="*/ 117 w 393"/>
                  <a:gd name="T31" fmla="*/ 175 h 468"/>
                  <a:gd name="T32" fmla="*/ 100 w 393"/>
                  <a:gd name="T33" fmla="*/ 198 h 468"/>
                  <a:gd name="T34" fmla="*/ 90 w 393"/>
                  <a:gd name="T35" fmla="*/ 179 h 468"/>
                  <a:gd name="T36" fmla="*/ 98 w 393"/>
                  <a:gd name="T37" fmla="*/ 171 h 468"/>
                  <a:gd name="T38" fmla="*/ 84 w 393"/>
                  <a:gd name="T39" fmla="*/ 163 h 468"/>
                  <a:gd name="T40" fmla="*/ 80 w 393"/>
                  <a:gd name="T41" fmla="*/ 144 h 468"/>
                  <a:gd name="T42" fmla="*/ 61 w 393"/>
                  <a:gd name="T43" fmla="*/ 146 h 468"/>
                  <a:gd name="T44" fmla="*/ 33 w 393"/>
                  <a:gd name="T45" fmla="*/ 139 h 468"/>
                  <a:gd name="T46" fmla="*/ 8 w 393"/>
                  <a:gd name="T47" fmla="*/ 158 h 468"/>
                  <a:gd name="T48" fmla="*/ 14 w 393"/>
                  <a:gd name="T49" fmla="*/ 169 h 468"/>
                  <a:gd name="T50" fmla="*/ 19 w 393"/>
                  <a:gd name="T51" fmla="*/ 211 h 468"/>
                  <a:gd name="T52" fmla="*/ 23 w 393"/>
                  <a:gd name="T53" fmla="*/ 230 h 468"/>
                  <a:gd name="T54" fmla="*/ 50 w 393"/>
                  <a:gd name="T55" fmla="*/ 222 h 468"/>
                  <a:gd name="T56" fmla="*/ 75 w 393"/>
                  <a:gd name="T57" fmla="*/ 239 h 468"/>
                  <a:gd name="T58" fmla="*/ 101 w 393"/>
                  <a:gd name="T59" fmla="*/ 241 h 468"/>
                  <a:gd name="T60" fmla="*/ 117 w 393"/>
                  <a:gd name="T61" fmla="*/ 241 h 468"/>
                  <a:gd name="T62" fmla="*/ 117 w 393"/>
                  <a:gd name="T63" fmla="*/ 262 h 468"/>
                  <a:gd name="T64" fmla="*/ 132 w 393"/>
                  <a:gd name="T65" fmla="*/ 296 h 468"/>
                  <a:gd name="T66" fmla="*/ 164 w 393"/>
                  <a:gd name="T67" fmla="*/ 355 h 468"/>
                  <a:gd name="T68" fmla="*/ 204 w 393"/>
                  <a:gd name="T69" fmla="*/ 395 h 468"/>
                  <a:gd name="T70" fmla="*/ 191 w 393"/>
                  <a:gd name="T71" fmla="*/ 409 h 468"/>
                  <a:gd name="T72" fmla="*/ 189 w 393"/>
                  <a:gd name="T73" fmla="*/ 420 h 468"/>
                  <a:gd name="T74" fmla="*/ 193 w 393"/>
                  <a:gd name="T75" fmla="*/ 443 h 468"/>
                  <a:gd name="T76" fmla="*/ 214 w 393"/>
                  <a:gd name="T77" fmla="*/ 418 h 468"/>
                  <a:gd name="T78" fmla="*/ 237 w 393"/>
                  <a:gd name="T79" fmla="*/ 413 h 468"/>
                  <a:gd name="T80" fmla="*/ 233 w 393"/>
                  <a:gd name="T81" fmla="*/ 392 h 468"/>
                  <a:gd name="T82" fmla="*/ 252 w 393"/>
                  <a:gd name="T83" fmla="*/ 405 h 468"/>
                  <a:gd name="T84" fmla="*/ 260 w 393"/>
                  <a:gd name="T85" fmla="*/ 416 h 468"/>
                  <a:gd name="T86" fmla="*/ 275 w 393"/>
                  <a:gd name="T87" fmla="*/ 411 h 468"/>
                  <a:gd name="T88" fmla="*/ 300 w 393"/>
                  <a:gd name="T89" fmla="*/ 388 h 468"/>
                  <a:gd name="T90" fmla="*/ 311 w 393"/>
                  <a:gd name="T91" fmla="*/ 426 h 468"/>
                  <a:gd name="T92" fmla="*/ 309 w 393"/>
                  <a:gd name="T93" fmla="*/ 462 h 468"/>
                  <a:gd name="T94" fmla="*/ 323 w 393"/>
                  <a:gd name="T95" fmla="*/ 451 h 468"/>
                  <a:gd name="T96" fmla="*/ 347 w 393"/>
                  <a:gd name="T97" fmla="*/ 451 h 468"/>
                  <a:gd name="T98" fmla="*/ 380 w 393"/>
                  <a:gd name="T99" fmla="*/ 432 h 468"/>
                  <a:gd name="T100" fmla="*/ 382 w 393"/>
                  <a:gd name="T101" fmla="*/ 392 h 468"/>
                  <a:gd name="T102" fmla="*/ 378 w 393"/>
                  <a:gd name="T103" fmla="*/ 361 h 468"/>
                  <a:gd name="T104" fmla="*/ 361 w 393"/>
                  <a:gd name="T105" fmla="*/ 348 h 468"/>
                  <a:gd name="T106" fmla="*/ 330 w 393"/>
                  <a:gd name="T107" fmla="*/ 352 h 468"/>
                  <a:gd name="T108" fmla="*/ 298 w 393"/>
                  <a:gd name="T109" fmla="*/ 338 h 468"/>
                  <a:gd name="T110" fmla="*/ 313 w 393"/>
                  <a:gd name="T111" fmla="*/ 304 h 468"/>
                  <a:gd name="T112" fmla="*/ 342 w 393"/>
                  <a:gd name="T113" fmla="*/ 283 h 468"/>
                  <a:gd name="T114" fmla="*/ 336 w 393"/>
                  <a:gd name="T115" fmla="*/ 230 h 468"/>
                  <a:gd name="T116" fmla="*/ 328 w 393"/>
                  <a:gd name="T117" fmla="*/ 201 h 468"/>
                  <a:gd name="T118" fmla="*/ 336 w 393"/>
                  <a:gd name="T119" fmla="*/ 169 h 468"/>
                  <a:gd name="T120" fmla="*/ 359 w 393"/>
                  <a:gd name="T121" fmla="*/ 129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93" h="468">
                    <a:moveTo>
                      <a:pt x="393" y="80"/>
                    </a:moveTo>
                    <a:lnTo>
                      <a:pt x="393" y="80"/>
                    </a:lnTo>
                    <a:lnTo>
                      <a:pt x="393" y="80"/>
                    </a:lnTo>
                    <a:lnTo>
                      <a:pt x="387" y="76"/>
                    </a:lnTo>
                    <a:lnTo>
                      <a:pt x="384" y="74"/>
                    </a:lnTo>
                    <a:lnTo>
                      <a:pt x="382" y="74"/>
                    </a:lnTo>
                    <a:lnTo>
                      <a:pt x="380" y="74"/>
                    </a:lnTo>
                    <a:lnTo>
                      <a:pt x="378" y="74"/>
                    </a:lnTo>
                    <a:lnTo>
                      <a:pt x="378" y="74"/>
                    </a:lnTo>
                    <a:lnTo>
                      <a:pt x="374" y="74"/>
                    </a:lnTo>
                    <a:lnTo>
                      <a:pt x="374" y="74"/>
                    </a:lnTo>
                    <a:lnTo>
                      <a:pt x="374" y="74"/>
                    </a:lnTo>
                    <a:lnTo>
                      <a:pt x="376" y="70"/>
                    </a:lnTo>
                    <a:lnTo>
                      <a:pt x="376" y="70"/>
                    </a:lnTo>
                    <a:lnTo>
                      <a:pt x="376" y="68"/>
                    </a:lnTo>
                    <a:lnTo>
                      <a:pt x="376" y="68"/>
                    </a:lnTo>
                    <a:lnTo>
                      <a:pt x="370" y="72"/>
                    </a:lnTo>
                    <a:lnTo>
                      <a:pt x="368" y="72"/>
                    </a:lnTo>
                    <a:lnTo>
                      <a:pt x="367" y="72"/>
                    </a:lnTo>
                    <a:lnTo>
                      <a:pt x="367" y="72"/>
                    </a:lnTo>
                    <a:lnTo>
                      <a:pt x="365" y="70"/>
                    </a:lnTo>
                    <a:lnTo>
                      <a:pt x="365" y="70"/>
                    </a:lnTo>
                    <a:lnTo>
                      <a:pt x="363" y="68"/>
                    </a:lnTo>
                    <a:lnTo>
                      <a:pt x="357" y="68"/>
                    </a:lnTo>
                    <a:lnTo>
                      <a:pt x="355" y="68"/>
                    </a:lnTo>
                    <a:lnTo>
                      <a:pt x="353" y="66"/>
                    </a:lnTo>
                    <a:lnTo>
                      <a:pt x="349" y="64"/>
                    </a:lnTo>
                    <a:lnTo>
                      <a:pt x="346" y="66"/>
                    </a:lnTo>
                    <a:lnTo>
                      <a:pt x="346" y="66"/>
                    </a:lnTo>
                    <a:lnTo>
                      <a:pt x="346" y="64"/>
                    </a:lnTo>
                    <a:lnTo>
                      <a:pt x="346" y="64"/>
                    </a:lnTo>
                    <a:lnTo>
                      <a:pt x="344" y="62"/>
                    </a:lnTo>
                    <a:lnTo>
                      <a:pt x="338" y="57"/>
                    </a:lnTo>
                    <a:lnTo>
                      <a:pt x="336" y="55"/>
                    </a:lnTo>
                    <a:lnTo>
                      <a:pt x="336" y="53"/>
                    </a:lnTo>
                    <a:lnTo>
                      <a:pt x="336" y="51"/>
                    </a:lnTo>
                    <a:lnTo>
                      <a:pt x="338" y="49"/>
                    </a:lnTo>
                    <a:lnTo>
                      <a:pt x="338" y="47"/>
                    </a:lnTo>
                    <a:lnTo>
                      <a:pt x="338" y="42"/>
                    </a:lnTo>
                    <a:lnTo>
                      <a:pt x="338" y="38"/>
                    </a:lnTo>
                    <a:lnTo>
                      <a:pt x="338" y="36"/>
                    </a:lnTo>
                    <a:lnTo>
                      <a:pt x="338" y="34"/>
                    </a:lnTo>
                    <a:lnTo>
                      <a:pt x="336" y="32"/>
                    </a:lnTo>
                    <a:lnTo>
                      <a:pt x="334" y="30"/>
                    </a:lnTo>
                    <a:lnTo>
                      <a:pt x="330" y="28"/>
                    </a:lnTo>
                    <a:lnTo>
                      <a:pt x="325" y="24"/>
                    </a:lnTo>
                    <a:lnTo>
                      <a:pt x="321" y="23"/>
                    </a:lnTo>
                    <a:lnTo>
                      <a:pt x="319" y="23"/>
                    </a:lnTo>
                    <a:lnTo>
                      <a:pt x="319" y="21"/>
                    </a:lnTo>
                    <a:lnTo>
                      <a:pt x="319" y="21"/>
                    </a:lnTo>
                    <a:lnTo>
                      <a:pt x="319" y="19"/>
                    </a:lnTo>
                    <a:lnTo>
                      <a:pt x="317" y="17"/>
                    </a:lnTo>
                    <a:lnTo>
                      <a:pt x="317" y="17"/>
                    </a:lnTo>
                    <a:lnTo>
                      <a:pt x="315" y="17"/>
                    </a:lnTo>
                    <a:lnTo>
                      <a:pt x="313" y="15"/>
                    </a:lnTo>
                    <a:lnTo>
                      <a:pt x="313" y="15"/>
                    </a:lnTo>
                    <a:lnTo>
                      <a:pt x="313" y="13"/>
                    </a:lnTo>
                    <a:lnTo>
                      <a:pt x="311" y="9"/>
                    </a:lnTo>
                    <a:lnTo>
                      <a:pt x="311" y="9"/>
                    </a:lnTo>
                    <a:lnTo>
                      <a:pt x="309" y="7"/>
                    </a:lnTo>
                    <a:lnTo>
                      <a:pt x="307" y="3"/>
                    </a:lnTo>
                    <a:lnTo>
                      <a:pt x="305" y="3"/>
                    </a:lnTo>
                    <a:lnTo>
                      <a:pt x="304" y="3"/>
                    </a:lnTo>
                    <a:lnTo>
                      <a:pt x="302" y="5"/>
                    </a:lnTo>
                    <a:lnTo>
                      <a:pt x="300" y="3"/>
                    </a:lnTo>
                    <a:lnTo>
                      <a:pt x="300" y="3"/>
                    </a:lnTo>
                    <a:lnTo>
                      <a:pt x="298" y="2"/>
                    </a:lnTo>
                    <a:lnTo>
                      <a:pt x="296" y="0"/>
                    </a:lnTo>
                    <a:lnTo>
                      <a:pt x="296" y="0"/>
                    </a:lnTo>
                    <a:lnTo>
                      <a:pt x="296" y="0"/>
                    </a:lnTo>
                    <a:lnTo>
                      <a:pt x="294" y="0"/>
                    </a:lnTo>
                    <a:lnTo>
                      <a:pt x="294" y="0"/>
                    </a:lnTo>
                    <a:lnTo>
                      <a:pt x="292" y="2"/>
                    </a:lnTo>
                    <a:lnTo>
                      <a:pt x="290" y="2"/>
                    </a:lnTo>
                    <a:lnTo>
                      <a:pt x="290" y="3"/>
                    </a:lnTo>
                    <a:lnTo>
                      <a:pt x="292" y="5"/>
                    </a:lnTo>
                    <a:lnTo>
                      <a:pt x="292" y="5"/>
                    </a:lnTo>
                    <a:lnTo>
                      <a:pt x="294" y="9"/>
                    </a:lnTo>
                    <a:lnTo>
                      <a:pt x="294" y="11"/>
                    </a:lnTo>
                    <a:lnTo>
                      <a:pt x="296" y="11"/>
                    </a:lnTo>
                    <a:lnTo>
                      <a:pt x="298" y="11"/>
                    </a:lnTo>
                    <a:lnTo>
                      <a:pt x="298" y="11"/>
                    </a:lnTo>
                    <a:lnTo>
                      <a:pt x="298" y="13"/>
                    </a:lnTo>
                    <a:lnTo>
                      <a:pt x="298" y="13"/>
                    </a:lnTo>
                    <a:lnTo>
                      <a:pt x="298" y="15"/>
                    </a:lnTo>
                    <a:lnTo>
                      <a:pt x="298" y="15"/>
                    </a:lnTo>
                    <a:lnTo>
                      <a:pt x="298" y="17"/>
                    </a:lnTo>
                    <a:lnTo>
                      <a:pt x="296" y="21"/>
                    </a:lnTo>
                    <a:lnTo>
                      <a:pt x="296" y="23"/>
                    </a:lnTo>
                    <a:lnTo>
                      <a:pt x="296" y="23"/>
                    </a:lnTo>
                    <a:lnTo>
                      <a:pt x="296" y="24"/>
                    </a:lnTo>
                    <a:lnTo>
                      <a:pt x="298" y="26"/>
                    </a:lnTo>
                    <a:lnTo>
                      <a:pt x="298" y="26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296" y="32"/>
                    </a:lnTo>
                    <a:lnTo>
                      <a:pt x="298" y="36"/>
                    </a:lnTo>
                    <a:lnTo>
                      <a:pt x="300" y="36"/>
                    </a:lnTo>
                    <a:lnTo>
                      <a:pt x="300" y="36"/>
                    </a:lnTo>
                    <a:lnTo>
                      <a:pt x="300" y="36"/>
                    </a:lnTo>
                    <a:lnTo>
                      <a:pt x="300" y="36"/>
                    </a:lnTo>
                    <a:lnTo>
                      <a:pt x="300" y="36"/>
                    </a:lnTo>
                    <a:lnTo>
                      <a:pt x="302" y="36"/>
                    </a:lnTo>
                    <a:lnTo>
                      <a:pt x="302" y="38"/>
                    </a:lnTo>
                    <a:lnTo>
                      <a:pt x="302" y="42"/>
                    </a:lnTo>
                    <a:lnTo>
                      <a:pt x="302" y="42"/>
                    </a:lnTo>
                    <a:lnTo>
                      <a:pt x="304" y="42"/>
                    </a:lnTo>
                    <a:lnTo>
                      <a:pt x="304" y="42"/>
                    </a:lnTo>
                    <a:lnTo>
                      <a:pt x="305" y="43"/>
                    </a:lnTo>
                    <a:lnTo>
                      <a:pt x="305" y="43"/>
                    </a:lnTo>
                    <a:lnTo>
                      <a:pt x="305" y="45"/>
                    </a:lnTo>
                    <a:lnTo>
                      <a:pt x="307" y="47"/>
                    </a:lnTo>
                    <a:lnTo>
                      <a:pt x="307" y="47"/>
                    </a:lnTo>
                    <a:lnTo>
                      <a:pt x="307" y="49"/>
                    </a:lnTo>
                    <a:lnTo>
                      <a:pt x="305" y="53"/>
                    </a:lnTo>
                    <a:lnTo>
                      <a:pt x="305" y="57"/>
                    </a:lnTo>
                    <a:lnTo>
                      <a:pt x="307" y="57"/>
                    </a:lnTo>
                    <a:lnTo>
                      <a:pt x="307" y="59"/>
                    </a:lnTo>
                    <a:lnTo>
                      <a:pt x="307" y="59"/>
                    </a:lnTo>
                    <a:lnTo>
                      <a:pt x="307" y="61"/>
                    </a:lnTo>
                    <a:lnTo>
                      <a:pt x="307" y="61"/>
                    </a:lnTo>
                    <a:lnTo>
                      <a:pt x="307" y="62"/>
                    </a:lnTo>
                    <a:lnTo>
                      <a:pt x="307" y="62"/>
                    </a:lnTo>
                    <a:lnTo>
                      <a:pt x="305" y="64"/>
                    </a:lnTo>
                    <a:lnTo>
                      <a:pt x="305" y="68"/>
                    </a:lnTo>
                    <a:lnTo>
                      <a:pt x="305" y="70"/>
                    </a:lnTo>
                    <a:lnTo>
                      <a:pt x="307" y="76"/>
                    </a:lnTo>
                    <a:lnTo>
                      <a:pt x="307" y="78"/>
                    </a:lnTo>
                    <a:lnTo>
                      <a:pt x="307" y="80"/>
                    </a:lnTo>
                    <a:lnTo>
                      <a:pt x="307" y="81"/>
                    </a:lnTo>
                    <a:lnTo>
                      <a:pt x="305" y="81"/>
                    </a:lnTo>
                    <a:lnTo>
                      <a:pt x="304" y="83"/>
                    </a:lnTo>
                    <a:lnTo>
                      <a:pt x="304" y="81"/>
                    </a:lnTo>
                    <a:lnTo>
                      <a:pt x="302" y="80"/>
                    </a:lnTo>
                    <a:lnTo>
                      <a:pt x="300" y="76"/>
                    </a:lnTo>
                    <a:lnTo>
                      <a:pt x="300" y="74"/>
                    </a:lnTo>
                    <a:lnTo>
                      <a:pt x="300" y="74"/>
                    </a:lnTo>
                    <a:lnTo>
                      <a:pt x="298" y="72"/>
                    </a:lnTo>
                    <a:lnTo>
                      <a:pt x="294" y="74"/>
                    </a:lnTo>
                    <a:lnTo>
                      <a:pt x="292" y="74"/>
                    </a:lnTo>
                    <a:lnTo>
                      <a:pt x="290" y="72"/>
                    </a:lnTo>
                    <a:lnTo>
                      <a:pt x="288" y="72"/>
                    </a:lnTo>
                    <a:lnTo>
                      <a:pt x="285" y="74"/>
                    </a:lnTo>
                    <a:lnTo>
                      <a:pt x="285" y="74"/>
                    </a:lnTo>
                    <a:lnTo>
                      <a:pt x="285" y="76"/>
                    </a:lnTo>
                    <a:lnTo>
                      <a:pt x="285" y="80"/>
                    </a:lnTo>
                    <a:lnTo>
                      <a:pt x="285" y="80"/>
                    </a:lnTo>
                    <a:lnTo>
                      <a:pt x="285" y="81"/>
                    </a:lnTo>
                    <a:lnTo>
                      <a:pt x="285" y="81"/>
                    </a:lnTo>
                    <a:lnTo>
                      <a:pt x="286" y="81"/>
                    </a:lnTo>
                    <a:lnTo>
                      <a:pt x="286" y="81"/>
                    </a:lnTo>
                    <a:lnTo>
                      <a:pt x="286" y="81"/>
                    </a:lnTo>
                    <a:lnTo>
                      <a:pt x="286" y="83"/>
                    </a:lnTo>
                    <a:lnTo>
                      <a:pt x="285" y="83"/>
                    </a:lnTo>
                    <a:lnTo>
                      <a:pt x="283" y="85"/>
                    </a:lnTo>
                    <a:lnTo>
                      <a:pt x="275" y="91"/>
                    </a:lnTo>
                    <a:lnTo>
                      <a:pt x="273" y="93"/>
                    </a:lnTo>
                    <a:lnTo>
                      <a:pt x="271" y="95"/>
                    </a:lnTo>
                    <a:lnTo>
                      <a:pt x="269" y="95"/>
                    </a:lnTo>
                    <a:lnTo>
                      <a:pt x="265" y="97"/>
                    </a:lnTo>
                    <a:lnTo>
                      <a:pt x="264" y="99"/>
                    </a:lnTo>
                    <a:lnTo>
                      <a:pt x="262" y="99"/>
                    </a:lnTo>
                    <a:lnTo>
                      <a:pt x="262" y="101"/>
                    </a:lnTo>
                    <a:lnTo>
                      <a:pt x="262" y="102"/>
                    </a:lnTo>
                    <a:lnTo>
                      <a:pt x="262" y="102"/>
                    </a:lnTo>
                    <a:lnTo>
                      <a:pt x="262" y="102"/>
                    </a:lnTo>
                    <a:lnTo>
                      <a:pt x="264" y="102"/>
                    </a:lnTo>
                    <a:lnTo>
                      <a:pt x="264" y="102"/>
                    </a:lnTo>
                    <a:lnTo>
                      <a:pt x="264" y="102"/>
                    </a:lnTo>
                    <a:lnTo>
                      <a:pt x="265" y="99"/>
                    </a:lnTo>
                    <a:lnTo>
                      <a:pt x="267" y="99"/>
                    </a:lnTo>
                    <a:lnTo>
                      <a:pt x="267" y="99"/>
                    </a:lnTo>
                    <a:lnTo>
                      <a:pt x="267" y="99"/>
                    </a:lnTo>
                    <a:lnTo>
                      <a:pt x="269" y="99"/>
                    </a:lnTo>
                    <a:lnTo>
                      <a:pt x="269" y="101"/>
                    </a:lnTo>
                    <a:lnTo>
                      <a:pt x="269" y="101"/>
                    </a:lnTo>
                    <a:lnTo>
                      <a:pt x="269" y="101"/>
                    </a:lnTo>
                    <a:lnTo>
                      <a:pt x="269" y="102"/>
                    </a:lnTo>
                    <a:lnTo>
                      <a:pt x="269" y="102"/>
                    </a:lnTo>
                    <a:lnTo>
                      <a:pt x="271" y="102"/>
                    </a:lnTo>
                    <a:lnTo>
                      <a:pt x="271" y="104"/>
                    </a:lnTo>
                    <a:lnTo>
                      <a:pt x="273" y="104"/>
                    </a:lnTo>
                    <a:lnTo>
                      <a:pt x="273" y="104"/>
                    </a:lnTo>
                    <a:lnTo>
                      <a:pt x="273" y="104"/>
                    </a:lnTo>
                    <a:lnTo>
                      <a:pt x="275" y="106"/>
                    </a:lnTo>
                    <a:lnTo>
                      <a:pt x="275" y="106"/>
                    </a:lnTo>
                    <a:lnTo>
                      <a:pt x="275" y="106"/>
                    </a:lnTo>
                    <a:lnTo>
                      <a:pt x="273" y="108"/>
                    </a:lnTo>
                    <a:lnTo>
                      <a:pt x="273" y="110"/>
                    </a:lnTo>
                    <a:lnTo>
                      <a:pt x="273" y="112"/>
                    </a:lnTo>
                    <a:lnTo>
                      <a:pt x="273" y="114"/>
                    </a:lnTo>
                    <a:lnTo>
                      <a:pt x="273" y="114"/>
                    </a:lnTo>
                    <a:lnTo>
                      <a:pt x="267" y="118"/>
                    </a:lnTo>
                    <a:lnTo>
                      <a:pt x="260" y="123"/>
                    </a:lnTo>
                    <a:lnTo>
                      <a:pt x="256" y="123"/>
                    </a:lnTo>
                    <a:lnTo>
                      <a:pt x="254" y="121"/>
                    </a:lnTo>
                    <a:lnTo>
                      <a:pt x="252" y="121"/>
                    </a:lnTo>
                    <a:lnTo>
                      <a:pt x="250" y="120"/>
                    </a:lnTo>
                    <a:lnTo>
                      <a:pt x="250" y="120"/>
                    </a:lnTo>
                    <a:lnTo>
                      <a:pt x="248" y="118"/>
                    </a:lnTo>
                    <a:lnTo>
                      <a:pt x="248" y="114"/>
                    </a:lnTo>
                    <a:lnTo>
                      <a:pt x="246" y="110"/>
                    </a:lnTo>
                    <a:lnTo>
                      <a:pt x="246" y="108"/>
                    </a:lnTo>
                    <a:lnTo>
                      <a:pt x="244" y="108"/>
                    </a:lnTo>
                    <a:lnTo>
                      <a:pt x="244" y="108"/>
                    </a:lnTo>
                    <a:lnTo>
                      <a:pt x="243" y="108"/>
                    </a:lnTo>
                    <a:lnTo>
                      <a:pt x="243" y="108"/>
                    </a:lnTo>
                    <a:lnTo>
                      <a:pt x="243" y="110"/>
                    </a:lnTo>
                    <a:lnTo>
                      <a:pt x="243" y="110"/>
                    </a:lnTo>
                    <a:lnTo>
                      <a:pt x="243" y="112"/>
                    </a:lnTo>
                    <a:lnTo>
                      <a:pt x="243" y="112"/>
                    </a:lnTo>
                    <a:lnTo>
                      <a:pt x="243" y="114"/>
                    </a:lnTo>
                    <a:lnTo>
                      <a:pt x="243" y="114"/>
                    </a:lnTo>
                    <a:lnTo>
                      <a:pt x="243" y="116"/>
                    </a:lnTo>
                    <a:lnTo>
                      <a:pt x="241" y="118"/>
                    </a:lnTo>
                    <a:lnTo>
                      <a:pt x="241" y="118"/>
                    </a:lnTo>
                    <a:lnTo>
                      <a:pt x="241" y="118"/>
                    </a:lnTo>
                    <a:lnTo>
                      <a:pt x="239" y="118"/>
                    </a:lnTo>
                    <a:lnTo>
                      <a:pt x="239" y="118"/>
                    </a:lnTo>
                    <a:lnTo>
                      <a:pt x="237" y="116"/>
                    </a:lnTo>
                    <a:lnTo>
                      <a:pt x="237" y="114"/>
                    </a:lnTo>
                    <a:lnTo>
                      <a:pt x="235" y="114"/>
                    </a:lnTo>
                    <a:lnTo>
                      <a:pt x="235" y="114"/>
                    </a:lnTo>
                    <a:lnTo>
                      <a:pt x="235" y="116"/>
                    </a:lnTo>
                    <a:lnTo>
                      <a:pt x="235" y="118"/>
                    </a:lnTo>
                    <a:lnTo>
                      <a:pt x="235" y="118"/>
                    </a:lnTo>
                    <a:lnTo>
                      <a:pt x="235" y="118"/>
                    </a:lnTo>
                    <a:lnTo>
                      <a:pt x="233" y="120"/>
                    </a:lnTo>
                    <a:lnTo>
                      <a:pt x="233" y="120"/>
                    </a:lnTo>
                    <a:lnTo>
                      <a:pt x="231" y="120"/>
                    </a:lnTo>
                    <a:lnTo>
                      <a:pt x="229" y="120"/>
                    </a:lnTo>
                    <a:lnTo>
                      <a:pt x="229" y="118"/>
                    </a:lnTo>
                    <a:lnTo>
                      <a:pt x="227" y="118"/>
                    </a:lnTo>
                    <a:lnTo>
                      <a:pt x="225" y="118"/>
                    </a:lnTo>
                    <a:lnTo>
                      <a:pt x="223" y="114"/>
                    </a:lnTo>
                    <a:lnTo>
                      <a:pt x="222" y="114"/>
                    </a:lnTo>
                    <a:lnTo>
                      <a:pt x="222" y="116"/>
                    </a:lnTo>
                    <a:lnTo>
                      <a:pt x="220" y="116"/>
                    </a:lnTo>
                    <a:lnTo>
                      <a:pt x="220" y="116"/>
                    </a:lnTo>
                    <a:lnTo>
                      <a:pt x="220" y="118"/>
                    </a:lnTo>
                    <a:lnTo>
                      <a:pt x="220" y="118"/>
                    </a:lnTo>
                    <a:lnTo>
                      <a:pt x="220" y="120"/>
                    </a:lnTo>
                    <a:lnTo>
                      <a:pt x="222" y="120"/>
                    </a:lnTo>
                    <a:lnTo>
                      <a:pt x="225" y="121"/>
                    </a:lnTo>
                    <a:lnTo>
                      <a:pt x="225" y="121"/>
                    </a:lnTo>
                    <a:lnTo>
                      <a:pt x="225" y="121"/>
                    </a:lnTo>
                    <a:lnTo>
                      <a:pt x="225" y="123"/>
                    </a:lnTo>
                    <a:lnTo>
                      <a:pt x="222" y="123"/>
                    </a:lnTo>
                    <a:lnTo>
                      <a:pt x="222" y="123"/>
                    </a:lnTo>
                    <a:lnTo>
                      <a:pt x="222" y="123"/>
                    </a:lnTo>
                    <a:lnTo>
                      <a:pt x="222" y="125"/>
                    </a:lnTo>
                    <a:lnTo>
                      <a:pt x="222" y="125"/>
                    </a:lnTo>
                    <a:lnTo>
                      <a:pt x="222" y="125"/>
                    </a:lnTo>
                    <a:lnTo>
                      <a:pt x="222" y="127"/>
                    </a:lnTo>
                    <a:lnTo>
                      <a:pt x="222" y="127"/>
                    </a:lnTo>
                    <a:lnTo>
                      <a:pt x="222" y="127"/>
                    </a:lnTo>
                    <a:lnTo>
                      <a:pt x="222" y="129"/>
                    </a:lnTo>
                    <a:lnTo>
                      <a:pt x="220" y="129"/>
                    </a:lnTo>
                    <a:lnTo>
                      <a:pt x="220" y="131"/>
                    </a:lnTo>
                    <a:lnTo>
                      <a:pt x="218" y="139"/>
                    </a:lnTo>
                    <a:lnTo>
                      <a:pt x="216" y="140"/>
                    </a:lnTo>
                    <a:lnTo>
                      <a:pt x="216" y="142"/>
                    </a:lnTo>
                    <a:lnTo>
                      <a:pt x="216" y="144"/>
                    </a:lnTo>
                    <a:lnTo>
                      <a:pt x="216" y="144"/>
                    </a:lnTo>
                    <a:lnTo>
                      <a:pt x="218" y="146"/>
                    </a:lnTo>
                    <a:lnTo>
                      <a:pt x="218" y="148"/>
                    </a:lnTo>
                    <a:lnTo>
                      <a:pt x="218" y="148"/>
                    </a:lnTo>
                    <a:lnTo>
                      <a:pt x="220" y="150"/>
                    </a:lnTo>
                    <a:lnTo>
                      <a:pt x="222" y="152"/>
                    </a:lnTo>
                    <a:lnTo>
                      <a:pt x="222" y="152"/>
                    </a:lnTo>
                    <a:lnTo>
                      <a:pt x="222" y="154"/>
                    </a:lnTo>
                    <a:lnTo>
                      <a:pt x="222" y="156"/>
                    </a:lnTo>
                    <a:lnTo>
                      <a:pt x="218" y="158"/>
                    </a:lnTo>
                    <a:lnTo>
                      <a:pt x="214" y="159"/>
                    </a:lnTo>
                    <a:lnTo>
                      <a:pt x="212" y="159"/>
                    </a:lnTo>
                    <a:lnTo>
                      <a:pt x="210" y="161"/>
                    </a:lnTo>
                    <a:lnTo>
                      <a:pt x="204" y="163"/>
                    </a:lnTo>
                    <a:lnTo>
                      <a:pt x="201" y="169"/>
                    </a:lnTo>
                    <a:lnTo>
                      <a:pt x="199" y="169"/>
                    </a:lnTo>
                    <a:lnTo>
                      <a:pt x="199" y="171"/>
                    </a:lnTo>
                    <a:lnTo>
                      <a:pt x="195" y="169"/>
                    </a:lnTo>
                    <a:lnTo>
                      <a:pt x="193" y="171"/>
                    </a:lnTo>
                    <a:lnTo>
                      <a:pt x="191" y="171"/>
                    </a:lnTo>
                    <a:lnTo>
                      <a:pt x="189" y="173"/>
                    </a:lnTo>
                    <a:lnTo>
                      <a:pt x="187" y="173"/>
                    </a:lnTo>
                    <a:lnTo>
                      <a:pt x="182" y="171"/>
                    </a:lnTo>
                    <a:lnTo>
                      <a:pt x="180" y="171"/>
                    </a:lnTo>
                    <a:lnTo>
                      <a:pt x="178" y="169"/>
                    </a:lnTo>
                    <a:lnTo>
                      <a:pt x="178" y="169"/>
                    </a:lnTo>
                    <a:lnTo>
                      <a:pt x="176" y="163"/>
                    </a:lnTo>
                    <a:lnTo>
                      <a:pt x="176" y="163"/>
                    </a:lnTo>
                    <a:lnTo>
                      <a:pt x="172" y="161"/>
                    </a:lnTo>
                    <a:lnTo>
                      <a:pt x="172" y="159"/>
                    </a:lnTo>
                    <a:lnTo>
                      <a:pt x="170" y="159"/>
                    </a:lnTo>
                    <a:lnTo>
                      <a:pt x="168" y="159"/>
                    </a:lnTo>
                    <a:lnTo>
                      <a:pt x="166" y="159"/>
                    </a:lnTo>
                    <a:lnTo>
                      <a:pt x="164" y="159"/>
                    </a:lnTo>
                    <a:lnTo>
                      <a:pt x="161" y="161"/>
                    </a:lnTo>
                    <a:lnTo>
                      <a:pt x="159" y="163"/>
                    </a:lnTo>
                    <a:lnTo>
                      <a:pt x="159" y="165"/>
                    </a:lnTo>
                    <a:lnTo>
                      <a:pt x="159" y="165"/>
                    </a:lnTo>
                    <a:lnTo>
                      <a:pt x="159" y="167"/>
                    </a:lnTo>
                    <a:lnTo>
                      <a:pt x="157" y="167"/>
                    </a:lnTo>
                    <a:lnTo>
                      <a:pt x="157" y="169"/>
                    </a:lnTo>
                    <a:lnTo>
                      <a:pt x="151" y="167"/>
                    </a:lnTo>
                    <a:lnTo>
                      <a:pt x="149" y="167"/>
                    </a:lnTo>
                    <a:lnTo>
                      <a:pt x="147" y="169"/>
                    </a:lnTo>
                    <a:lnTo>
                      <a:pt x="143" y="169"/>
                    </a:lnTo>
                    <a:lnTo>
                      <a:pt x="141" y="167"/>
                    </a:lnTo>
                    <a:lnTo>
                      <a:pt x="138" y="165"/>
                    </a:lnTo>
                    <a:lnTo>
                      <a:pt x="136" y="165"/>
                    </a:lnTo>
                    <a:lnTo>
                      <a:pt x="136" y="165"/>
                    </a:lnTo>
                    <a:lnTo>
                      <a:pt x="132" y="165"/>
                    </a:lnTo>
                    <a:lnTo>
                      <a:pt x="128" y="163"/>
                    </a:lnTo>
                    <a:lnTo>
                      <a:pt x="126" y="163"/>
                    </a:lnTo>
                    <a:lnTo>
                      <a:pt x="124" y="161"/>
                    </a:lnTo>
                    <a:lnTo>
                      <a:pt x="124" y="163"/>
                    </a:lnTo>
                    <a:lnTo>
                      <a:pt x="122" y="165"/>
                    </a:lnTo>
                    <a:lnTo>
                      <a:pt x="121" y="169"/>
                    </a:lnTo>
                    <a:lnTo>
                      <a:pt x="117" y="175"/>
                    </a:lnTo>
                    <a:lnTo>
                      <a:pt x="115" y="177"/>
                    </a:lnTo>
                    <a:lnTo>
                      <a:pt x="113" y="179"/>
                    </a:lnTo>
                    <a:lnTo>
                      <a:pt x="111" y="180"/>
                    </a:lnTo>
                    <a:lnTo>
                      <a:pt x="111" y="180"/>
                    </a:lnTo>
                    <a:lnTo>
                      <a:pt x="111" y="182"/>
                    </a:lnTo>
                    <a:lnTo>
                      <a:pt x="111" y="184"/>
                    </a:lnTo>
                    <a:lnTo>
                      <a:pt x="111" y="184"/>
                    </a:lnTo>
                    <a:lnTo>
                      <a:pt x="109" y="184"/>
                    </a:lnTo>
                    <a:lnTo>
                      <a:pt x="109" y="184"/>
                    </a:lnTo>
                    <a:lnTo>
                      <a:pt x="107" y="184"/>
                    </a:lnTo>
                    <a:lnTo>
                      <a:pt x="105" y="188"/>
                    </a:lnTo>
                    <a:lnTo>
                      <a:pt x="105" y="190"/>
                    </a:lnTo>
                    <a:lnTo>
                      <a:pt x="105" y="190"/>
                    </a:lnTo>
                    <a:lnTo>
                      <a:pt x="105" y="192"/>
                    </a:lnTo>
                    <a:lnTo>
                      <a:pt x="105" y="192"/>
                    </a:lnTo>
                    <a:lnTo>
                      <a:pt x="107" y="194"/>
                    </a:lnTo>
                    <a:lnTo>
                      <a:pt x="107" y="196"/>
                    </a:lnTo>
                    <a:lnTo>
                      <a:pt x="105" y="196"/>
                    </a:lnTo>
                    <a:lnTo>
                      <a:pt x="101" y="198"/>
                    </a:lnTo>
                    <a:lnTo>
                      <a:pt x="100" y="198"/>
                    </a:lnTo>
                    <a:lnTo>
                      <a:pt x="98" y="198"/>
                    </a:lnTo>
                    <a:lnTo>
                      <a:pt x="98" y="194"/>
                    </a:lnTo>
                    <a:lnTo>
                      <a:pt x="98" y="194"/>
                    </a:lnTo>
                    <a:lnTo>
                      <a:pt x="96" y="192"/>
                    </a:lnTo>
                    <a:lnTo>
                      <a:pt x="96" y="192"/>
                    </a:lnTo>
                    <a:lnTo>
                      <a:pt x="96" y="192"/>
                    </a:lnTo>
                    <a:lnTo>
                      <a:pt x="96" y="190"/>
                    </a:lnTo>
                    <a:lnTo>
                      <a:pt x="96" y="190"/>
                    </a:lnTo>
                    <a:lnTo>
                      <a:pt x="94" y="188"/>
                    </a:lnTo>
                    <a:lnTo>
                      <a:pt x="92" y="186"/>
                    </a:lnTo>
                    <a:lnTo>
                      <a:pt x="92" y="186"/>
                    </a:lnTo>
                    <a:lnTo>
                      <a:pt x="92" y="186"/>
                    </a:lnTo>
                    <a:lnTo>
                      <a:pt x="92" y="184"/>
                    </a:lnTo>
                    <a:lnTo>
                      <a:pt x="92" y="184"/>
                    </a:lnTo>
                    <a:lnTo>
                      <a:pt x="92" y="184"/>
                    </a:lnTo>
                    <a:lnTo>
                      <a:pt x="92" y="184"/>
                    </a:lnTo>
                    <a:lnTo>
                      <a:pt x="90" y="180"/>
                    </a:lnTo>
                    <a:lnTo>
                      <a:pt x="90" y="180"/>
                    </a:lnTo>
                    <a:lnTo>
                      <a:pt x="90" y="180"/>
                    </a:lnTo>
                    <a:lnTo>
                      <a:pt x="90" y="179"/>
                    </a:lnTo>
                    <a:lnTo>
                      <a:pt x="92" y="179"/>
                    </a:lnTo>
                    <a:lnTo>
                      <a:pt x="92" y="179"/>
                    </a:lnTo>
                    <a:lnTo>
                      <a:pt x="94" y="179"/>
                    </a:lnTo>
                    <a:lnTo>
                      <a:pt x="94" y="177"/>
                    </a:lnTo>
                    <a:lnTo>
                      <a:pt x="94" y="177"/>
                    </a:lnTo>
                    <a:lnTo>
                      <a:pt x="94" y="177"/>
                    </a:lnTo>
                    <a:lnTo>
                      <a:pt x="94" y="175"/>
                    </a:lnTo>
                    <a:lnTo>
                      <a:pt x="94" y="173"/>
                    </a:lnTo>
                    <a:lnTo>
                      <a:pt x="94" y="173"/>
                    </a:lnTo>
                    <a:lnTo>
                      <a:pt x="94" y="171"/>
                    </a:lnTo>
                    <a:lnTo>
                      <a:pt x="94" y="171"/>
                    </a:lnTo>
                    <a:lnTo>
                      <a:pt x="96" y="171"/>
                    </a:lnTo>
                    <a:lnTo>
                      <a:pt x="96" y="171"/>
                    </a:lnTo>
                    <a:lnTo>
                      <a:pt x="96" y="171"/>
                    </a:lnTo>
                    <a:lnTo>
                      <a:pt x="96" y="171"/>
                    </a:lnTo>
                    <a:lnTo>
                      <a:pt x="98" y="171"/>
                    </a:lnTo>
                    <a:lnTo>
                      <a:pt x="98" y="171"/>
                    </a:lnTo>
                    <a:lnTo>
                      <a:pt x="98" y="171"/>
                    </a:lnTo>
                    <a:lnTo>
                      <a:pt x="98" y="171"/>
                    </a:lnTo>
                    <a:lnTo>
                      <a:pt x="98" y="171"/>
                    </a:lnTo>
                    <a:lnTo>
                      <a:pt x="98" y="169"/>
                    </a:lnTo>
                    <a:lnTo>
                      <a:pt x="98" y="169"/>
                    </a:lnTo>
                    <a:lnTo>
                      <a:pt x="96" y="165"/>
                    </a:lnTo>
                    <a:lnTo>
                      <a:pt x="94" y="163"/>
                    </a:lnTo>
                    <a:lnTo>
                      <a:pt x="94" y="163"/>
                    </a:lnTo>
                    <a:lnTo>
                      <a:pt x="94" y="161"/>
                    </a:lnTo>
                    <a:lnTo>
                      <a:pt x="94" y="159"/>
                    </a:lnTo>
                    <a:lnTo>
                      <a:pt x="92" y="159"/>
                    </a:lnTo>
                    <a:lnTo>
                      <a:pt x="92" y="159"/>
                    </a:lnTo>
                    <a:lnTo>
                      <a:pt x="92" y="159"/>
                    </a:lnTo>
                    <a:lnTo>
                      <a:pt x="90" y="159"/>
                    </a:lnTo>
                    <a:lnTo>
                      <a:pt x="88" y="159"/>
                    </a:lnTo>
                    <a:lnTo>
                      <a:pt x="88" y="161"/>
                    </a:lnTo>
                    <a:lnTo>
                      <a:pt x="88" y="161"/>
                    </a:lnTo>
                    <a:lnTo>
                      <a:pt x="88" y="163"/>
                    </a:lnTo>
                    <a:lnTo>
                      <a:pt x="88" y="165"/>
                    </a:lnTo>
                    <a:lnTo>
                      <a:pt x="86" y="165"/>
                    </a:lnTo>
                    <a:lnTo>
                      <a:pt x="86" y="165"/>
                    </a:lnTo>
                    <a:lnTo>
                      <a:pt x="86" y="163"/>
                    </a:lnTo>
                    <a:lnTo>
                      <a:pt x="84" y="163"/>
                    </a:lnTo>
                    <a:lnTo>
                      <a:pt x="84" y="161"/>
                    </a:lnTo>
                    <a:lnTo>
                      <a:pt x="82" y="161"/>
                    </a:lnTo>
                    <a:lnTo>
                      <a:pt x="80" y="159"/>
                    </a:lnTo>
                    <a:lnTo>
                      <a:pt x="80" y="159"/>
                    </a:lnTo>
                    <a:lnTo>
                      <a:pt x="80" y="156"/>
                    </a:lnTo>
                    <a:lnTo>
                      <a:pt x="80" y="156"/>
                    </a:lnTo>
                    <a:lnTo>
                      <a:pt x="80" y="156"/>
                    </a:lnTo>
                    <a:lnTo>
                      <a:pt x="80" y="154"/>
                    </a:lnTo>
                    <a:lnTo>
                      <a:pt x="80" y="154"/>
                    </a:lnTo>
                    <a:lnTo>
                      <a:pt x="80" y="154"/>
                    </a:lnTo>
                    <a:lnTo>
                      <a:pt x="80" y="154"/>
                    </a:lnTo>
                    <a:lnTo>
                      <a:pt x="80" y="152"/>
                    </a:lnTo>
                    <a:lnTo>
                      <a:pt x="80" y="152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6"/>
                    </a:lnTo>
                    <a:lnTo>
                      <a:pt x="80" y="146"/>
                    </a:lnTo>
                    <a:lnTo>
                      <a:pt x="80" y="144"/>
                    </a:lnTo>
                    <a:lnTo>
                      <a:pt x="79" y="146"/>
                    </a:lnTo>
                    <a:lnTo>
                      <a:pt x="79" y="146"/>
                    </a:lnTo>
                    <a:lnTo>
                      <a:pt x="79" y="148"/>
                    </a:lnTo>
                    <a:lnTo>
                      <a:pt x="79" y="148"/>
                    </a:lnTo>
                    <a:lnTo>
                      <a:pt x="79" y="150"/>
                    </a:lnTo>
                    <a:lnTo>
                      <a:pt x="79" y="150"/>
                    </a:lnTo>
                    <a:lnTo>
                      <a:pt x="77" y="150"/>
                    </a:lnTo>
                    <a:lnTo>
                      <a:pt x="77" y="150"/>
                    </a:lnTo>
                    <a:lnTo>
                      <a:pt x="77" y="152"/>
                    </a:lnTo>
                    <a:lnTo>
                      <a:pt x="75" y="152"/>
                    </a:lnTo>
                    <a:lnTo>
                      <a:pt x="71" y="152"/>
                    </a:lnTo>
                    <a:lnTo>
                      <a:pt x="69" y="154"/>
                    </a:lnTo>
                    <a:lnTo>
                      <a:pt x="67" y="154"/>
                    </a:lnTo>
                    <a:lnTo>
                      <a:pt x="67" y="152"/>
                    </a:lnTo>
                    <a:lnTo>
                      <a:pt x="65" y="152"/>
                    </a:lnTo>
                    <a:lnTo>
                      <a:pt x="65" y="150"/>
                    </a:lnTo>
                    <a:lnTo>
                      <a:pt x="65" y="150"/>
                    </a:lnTo>
                    <a:lnTo>
                      <a:pt x="61" y="148"/>
                    </a:lnTo>
                    <a:lnTo>
                      <a:pt x="61" y="148"/>
                    </a:lnTo>
                    <a:lnTo>
                      <a:pt x="61" y="146"/>
                    </a:lnTo>
                    <a:lnTo>
                      <a:pt x="59" y="146"/>
                    </a:lnTo>
                    <a:lnTo>
                      <a:pt x="59" y="144"/>
                    </a:lnTo>
                    <a:lnTo>
                      <a:pt x="59" y="144"/>
                    </a:lnTo>
                    <a:lnTo>
                      <a:pt x="59" y="142"/>
                    </a:lnTo>
                    <a:lnTo>
                      <a:pt x="58" y="142"/>
                    </a:lnTo>
                    <a:lnTo>
                      <a:pt x="58" y="142"/>
                    </a:lnTo>
                    <a:lnTo>
                      <a:pt x="56" y="140"/>
                    </a:lnTo>
                    <a:lnTo>
                      <a:pt x="50" y="140"/>
                    </a:lnTo>
                    <a:lnTo>
                      <a:pt x="48" y="140"/>
                    </a:lnTo>
                    <a:lnTo>
                      <a:pt x="48" y="139"/>
                    </a:lnTo>
                    <a:lnTo>
                      <a:pt x="48" y="139"/>
                    </a:lnTo>
                    <a:lnTo>
                      <a:pt x="46" y="137"/>
                    </a:lnTo>
                    <a:lnTo>
                      <a:pt x="46" y="137"/>
                    </a:lnTo>
                    <a:lnTo>
                      <a:pt x="46" y="137"/>
                    </a:lnTo>
                    <a:lnTo>
                      <a:pt x="44" y="137"/>
                    </a:lnTo>
                    <a:lnTo>
                      <a:pt x="39" y="139"/>
                    </a:lnTo>
                    <a:lnTo>
                      <a:pt x="37" y="139"/>
                    </a:lnTo>
                    <a:lnTo>
                      <a:pt x="35" y="139"/>
                    </a:lnTo>
                    <a:lnTo>
                      <a:pt x="33" y="139"/>
                    </a:lnTo>
                    <a:lnTo>
                      <a:pt x="33" y="139"/>
                    </a:lnTo>
                    <a:lnTo>
                      <a:pt x="29" y="142"/>
                    </a:lnTo>
                    <a:lnTo>
                      <a:pt x="27" y="142"/>
                    </a:lnTo>
                    <a:lnTo>
                      <a:pt x="27" y="144"/>
                    </a:lnTo>
                    <a:lnTo>
                      <a:pt x="25" y="146"/>
                    </a:lnTo>
                    <a:lnTo>
                      <a:pt x="25" y="146"/>
                    </a:lnTo>
                    <a:lnTo>
                      <a:pt x="25" y="148"/>
                    </a:lnTo>
                    <a:lnTo>
                      <a:pt x="23" y="146"/>
                    </a:lnTo>
                    <a:lnTo>
                      <a:pt x="16" y="144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48"/>
                    </a:lnTo>
                    <a:lnTo>
                      <a:pt x="10" y="148"/>
                    </a:lnTo>
                    <a:lnTo>
                      <a:pt x="10" y="150"/>
                    </a:lnTo>
                    <a:lnTo>
                      <a:pt x="12" y="150"/>
                    </a:lnTo>
                    <a:lnTo>
                      <a:pt x="12" y="152"/>
                    </a:lnTo>
                    <a:lnTo>
                      <a:pt x="12" y="154"/>
                    </a:lnTo>
                    <a:lnTo>
                      <a:pt x="12" y="156"/>
                    </a:lnTo>
                    <a:lnTo>
                      <a:pt x="12" y="156"/>
                    </a:lnTo>
                    <a:lnTo>
                      <a:pt x="10" y="158"/>
                    </a:lnTo>
                    <a:lnTo>
                      <a:pt x="8" y="158"/>
                    </a:lnTo>
                    <a:lnTo>
                      <a:pt x="4" y="159"/>
                    </a:lnTo>
                    <a:lnTo>
                      <a:pt x="4" y="159"/>
                    </a:lnTo>
                    <a:lnTo>
                      <a:pt x="4" y="159"/>
                    </a:lnTo>
                    <a:lnTo>
                      <a:pt x="2" y="161"/>
                    </a:lnTo>
                    <a:lnTo>
                      <a:pt x="2" y="163"/>
                    </a:lnTo>
                    <a:lnTo>
                      <a:pt x="0" y="167"/>
                    </a:lnTo>
                    <a:lnTo>
                      <a:pt x="0" y="169"/>
                    </a:lnTo>
                    <a:lnTo>
                      <a:pt x="0" y="171"/>
                    </a:lnTo>
                    <a:lnTo>
                      <a:pt x="2" y="171"/>
                    </a:lnTo>
                    <a:lnTo>
                      <a:pt x="2" y="173"/>
                    </a:lnTo>
                    <a:lnTo>
                      <a:pt x="4" y="173"/>
                    </a:lnTo>
                    <a:lnTo>
                      <a:pt x="6" y="173"/>
                    </a:lnTo>
                    <a:lnTo>
                      <a:pt x="6" y="173"/>
                    </a:lnTo>
                    <a:lnTo>
                      <a:pt x="8" y="173"/>
                    </a:lnTo>
                    <a:lnTo>
                      <a:pt x="8" y="173"/>
                    </a:lnTo>
                    <a:lnTo>
                      <a:pt x="10" y="171"/>
                    </a:lnTo>
                    <a:lnTo>
                      <a:pt x="10" y="171"/>
                    </a:lnTo>
                    <a:lnTo>
                      <a:pt x="12" y="171"/>
                    </a:lnTo>
                    <a:lnTo>
                      <a:pt x="14" y="171"/>
                    </a:lnTo>
                    <a:lnTo>
                      <a:pt x="14" y="169"/>
                    </a:lnTo>
                    <a:lnTo>
                      <a:pt x="14" y="169"/>
                    </a:lnTo>
                    <a:lnTo>
                      <a:pt x="16" y="169"/>
                    </a:lnTo>
                    <a:lnTo>
                      <a:pt x="16" y="169"/>
                    </a:lnTo>
                    <a:lnTo>
                      <a:pt x="16" y="167"/>
                    </a:lnTo>
                    <a:lnTo>
                      <a:pt x="18" y="169"/>
                    </a:lnTo>
                    <a:lnTo>
                      <a:pt x="18" y="169"/>
                    </a:lnTo>
                    <a:lnTo>
                      <a:pt x="19" y="171"/>
                    </a:lnTo>
                    <a:lnTo>
                      <a:pt x="19" y="173"/>
                    </a:lnTo>
                    <a:lnTo>
                      <a:pt x="19" y="175"/>
                    </a:lnTo>
                    <a:lnTo>
                      <a:pt x="18" y="179"/>
                    </a:lnTo>
                    <a:lnTo>
                      <a:pt x="16" y="182"/>
                    </a:lnTo>
                    <a:lnTo>
                      <a:pt x="16" y="194"/>
                    </a:lnTo>
                    <a:lnTo>
                      <a:pt x="16" y="196"/>
                    </a:lnTo>
                    <a:lnTo>
                      <a:pt x="16" y="198"/>
                    </a:lnTo>
                    <a:lnTo>
                      <a:pt x="19" y="201"/>
                    </a:lnTo>
                    <a:lnTo>
                      <a:pt x="19" y="203"/>
                    </a:lnTo>
                    <a:lnTo>
                      <a:pt x="19" y="203"/>
                    </a:lnTo>
                    <a:lnTo>
                      <a:pt x="19" y="209"/>
                    </a:lnTo>
                    <a:lnTo>
                      <a:pt x="19" y="211"/>
                    </a:lnTo>
                    <a:lnTo>
                      <a:pt x="19" y="211"/>
                    </a:lnTo>
                    <a:lnTo>
                      <a:pt x="18" y="211"/>
                    </a:lnTo>
                    <a:lnTo>
                      <a:pt x="16" y="211"/>
                    </a:lnTo>
                    <a:lnTo>
                      <a:pt x="14" y="211"/>
                    </a:lnTo>
                    <a:lnTo>
                      <a:pt x="12" y="211"/>
                    </a:lnTo>
                    <a:lnTo>
                      <a:pt x="12" y="213"/>
                    </a:lnTo>
                    <a:lnTo>
                      <a:pt x="10" y="215"/>
                    </a:lnTo>
                    <a:lnTo>
                      <a:pt x="10" y="215"/>
                    </a:lnTo>
                    <a:lnTo>
                      <a:pt x="10" y="217"/>
                    </a:lnTo>
                    <a:lnTo>
                      <a:pt x="12" y="217"/>
                    </a:lnTo>
                    <a:lnTo>
                      <a:pt x="12" y="218"/>
                    </a:lnTo>
                    <a:lnTo>
                      <a:pt x="14" y="220"/>
                    </a:lnTo>
                    <a:lnTo>
                      <a:pt x="14" y="222"/>
                    </a:lnTo>
                    <a:lnTo>
                      <a:pt x="16" y="224"/>
                    </a:lnTo>
                    <a:lnTo>
                      <a:pt x="18" y="226"/>
                    </a:lnTo>
                    <a:lnTo>
                      <a:pt x="18" y="228"/>
                    </a:lnTo>
                    <a:lnTo>
                      <a:pt x="19" y="230"/>
                    </a:lnTo>
                    <a:lnTo>
                      <a:pt x="19" y="230"/>
                    </a:lnTo>
                    <a:lnTo>
                      <a:pt x="21" y="232"/>
                    </a:lnTo>
                    <a:lnTo>
                      <a:pt x="21" y="232"/>
                    </a:lnTo>
                    <a:lnTo>
                      <a:pt x="23" y="230"/>
                    </a:lnTo>
                    <a:lnTo>
                      <a:pt x="23" y="230"/>
                    </a:lnTo>
                    <a:lnTo>
                      <a:pt x="23" y="228"/>
                    </a:lnTo>
                    <a:lnTo>
                      <a:pt x="23" y="228"/>
                    </a:lnTo>
                    <a:lnTo>
                      <a:pt x="25" y="226"/>
                    </a:lnTo>
                    <a:lnTo>
                      <a:pt x="25" y="226"/>
                    </a:lnTo>
                    <a:lnTo>
                      <a:pt x="25" y="226"/>
                    </a:lnTo>
                    <a:lnTo>
                      <a:pt x="27" y="226"/>
                    </a:lnTo>
                    <a:lnTo>
                      <a:pt x="31" y="226"/>
                    </a:lnTo>
                    <a:lnTo>
                      <a:pt x="33" y="226"/>
                    </a:lnTo>
                    <a:lnTo>
                      <a:pt x="37" y="226"/>
                    </a:lnTo>
                    <a:lnTo>
                      <a:pt x="39" y="226"/>
                    </a:lnTo>
                    <a:lnTo>
                      <a:pt x="39" y="226"/>
                    </a:lnTo>
                    <a:lnTo>
                      <a:pt x="40" y="226"/>
                    </a:lnTo>
                    <a:lnTo>
                      <a:pt x="42" y="224"/>
                    </a:lnTo>
                    <a:lnTo>
                      <a:pt x="42" y="222"/>
                    </a:lnTo>
                    <a:lnTo>
                      <a:pt x="44" y="222"/>
                    </a:lnTo>
                    <a:lnTo>
                      <a:pt x="46" y="220"/>
                    </a:lnTo>
                    <a:lnTo>
                      <a:pt x="48" y="220"/>
                    </a:lnTo>
                    <a:lnTo>
                      <a:pt x="48" y="220"/>
                    </a:lnTo>
                    <a:lnTo>
                      <a:pt x="50" y="222"/>
                    </a:lnTo>
                    <a:lnTo>
                      <a:pt x="52" y="222"/>
                    </a:lnTo>
                    <a:lnTo>
                      <a:pt x="54" y="222"/>
                    </a:lnTo>
                    <a:lnTo>
                      <a:pt x="56" y="224"/>
                    </a:lnTo>
                    <a:lnTo>
                      <a:pt x="58" y="224"/>
                    </a:lnTo>
                    <a:lnTo>
                      <a:pt x="59" y="226"/>
                    </a:lnTo>
                    <a:lnTo>
                      <a:pt x="59" y="228"/>
                    </a:lnTo>
                    <a:lnTo>
                      <a:pt x="59" y="228"/>
                    </a:lnTo>
                    <a:lnTo>
                      <a:pt x="59" y="230"/>
                    </a:lnTo>
                    <a:lnTo>
                      <a:pt x="61" y="232"/>
                    </a:lnTo>
                    <a:lnTo>
                      <a:pt x="63" y="236"/>
                    </a:lnTo>
                    <a:lnTo>
                      <a:pt x="63" y="237"/>
                    </a:lnTo>
                    <a:lnTo>
                      <a:pt x="65" y="237"/>
                    </a:lnTo>
                    <a:lnTo>
                      <a:pt x="65" y="237"/>
                    </a:lnTo>
                    <a:lnTo>
                      <a:pt x="67" y="237"/>
                    </a:lnTo>
                    <a:lnTo>
                      <a:pt x="67" y="239"/>
                    </a:lnTo>
                    <a:lnTo>
                      <a:pt x="69" y="237"/>
                    </a:lnTo>
                    <a:lnTo>
                      <a:pt x="71" y="237"/>
                    </a:lnTo>
                    <a:lnTo>
                      <a:pt x="73" y="237"/>
                    </a:lnTo>
                    <a:lnTo>
                      <a:pt x="73" y="237"/>
                    </a:lnTo>
                    <a:lnTo>
                      <a:pt x="75" y="239"/>
                    </a:lnTo>
                    <a:lnTo>
                      <a:pt x="75" y="239"/>
                    </a:lnTo>
                    <a:lnTo>
                      <a:pt x="77" y="243"/>
                    </a:lnTo>
                    <a:lnTo>
                      <a:pt x="77" y="243"/>
                    </a:lnTo>
                    <a:lnTo>
                      <a:pt x="79" y="245"/>
                    </a:lnTo>
                    <a:lnTo>
                      <a:pt x="80" y="245"/>
                    </a:lnTo>
                    <a:lnTo>
                      <a:pt x="80" y="245"/>
                    </a:lnTo>
                    <a:lnTo>
                      <a:pt x="82" y="245"/>
                    </a:lnTo>
                    <a:lnTo>
                      <a:pt x="84" y="243"/>
                    </a:lnTo>
                    <a:lnTo>
                      <a:pt x="84" y="243"/>
                    </a:lnTo>
                    <a:lnTo>
                      <a:pt x="88" y="243"/>
                    </a:lnTo>
                    <a:lnTo>
                      <a:pt x="88" y="241"/>
                    </a:lnTo>
                    <a:lnTo>
                      <a:pt x="90" y="239"/>
                    </a:lnTo>
                    <a:lnTo>
                      <a:pt x="92" y="239"/>
                    </a:lnTo>
                    <a:lnTo>
                      <a:pt x="92" y="239"/>
                    </a:lnTo>
                    <a:lnTo>
                      <a:pt x="94" y="241"/>
                    </a:lnTo>
                    <a:lnTo>
                      <a:pt x="96" y="241"/>
                    </a:lnTo>
                    <a:lnTo>
                      <a:pt x="98" y="243"/>
                    </a:lnTo>
                    <a:lnTo>
                      <a:pt x="100" y="241"/>
                    </a:lnTo>
                    <a:lnTo>
                      <a:pt x="101" y="241"/>
                    </a:lnTo>
                    <a:lnTo>
                      <a:pt x="101" y="241"/>
                    </a:lnTo>
                    <a:lnTo>
                      <a:pt x="101" y="239"/>
                    </a:lnTo>
                    <a:lnTo>
                      <a:pt x="103" y="239"/>
                    </a:lnTo>
                    <a:lnTo>
                      <a:pt x="103" y="239"/>
                    </a:lnTo>
                    <a:lnTo>
                      <a:pt x="103" y="237"/>
                    </a:lnTo>
                    <a:lnTo>
                      <a:pt x="107" y="236"/>
                    </a:lnTo>
                    <a:lnTo>
                      <a:pt x="109" y="236"/>
                    </a:lnTo>
                    <a:lnTo>
                      <a:pt x="109" y="236"/>
                    </a:lnTo>
                    <a:lnTo>
                      <a:pt x="109" y="237"/>
                    </a:lnTo>
                    <a:lnTo>
                      <a:pt x="109" y="237"/>
                    </a:lnTo>
                    <a:lnTo>
                      <a:pt x="109" y="241"/>
                    </a:lnTo>
                    <a:lnTo>
                      <a:pt x="109" y="241"/>
                    </a:lnTo>
                    <a:lnTo>
                      <a:pt x="109" y="243"/>
                    </a:lnTo>
                    <a:lnTo>
                      <a:pt x="109" y="245"/>
                    </a:lnTo>
                    <a:lnTo>
                      <a:pt x="111" y="245"/>
                    </a:lnTo>
                    <a:lnTo>
                      <a:pt x="111" y="245"/>
                    </a:lnTo>
                    <a:lnTo>
                      <a:pt x="113" y="245"/>
                    </a:lnTo>
                    <a:lnTo>
                      <a:pt x="113" y="243"/>
                    </a:lnTo>
                    <a:lnTo>
                      <a:pt x="115" y="243"/>
                    </a:lnTo>
                    <a:lnTo>
                      <a:pt x="117" y="241"/>
                    </a:lnTo>
                    <a:lnTo>
                      <a:pt x="117" y="241"/>
                    </a:lnTo>
                    <a:lnTo>
                      <a:pt x="117" y="243"/>
                    </a:lnTo>
                    <a:lnTo>
                      <a:pt x="119" y="245"/>
                    </a:lnTo>
                    <a:lnTo>
                      <a:pt x="119" y="247"/>
                    </a:lnTo>
                    <a:lnTo>
                      <a:pt x="121" y="249"/>
                    </a:lnTo>
                    <a:lnTo>
                      <a:pt x="121" y="249"/>
                    </a:lnTo>
                    <a:lnTo>
                      <a:pt x="121" y="251"/>
                    </a:lnTo>
                    <a:lnTo>
                      <a:pt x="121" y="251"/>
                    </a:lnTo>
                    <a:lnTo>
                      <a:pt x="119" y="251"/>
                    </a:lnTo>
                    <a:lnTo>
                      <a:pt x="119" y="253"/>
                    </a:lnTo>
                    <a:lnTo>
                      <a:pt x="117" y="253"/>
                    </a:lnTo>
                    <a:lnTo>
                      <a:pt x="117" y="253"/>
                    </a:lnTo>
                    <a:lnTo>
                      <a:pt x="117" y="253"/>
                    </a:lnTo>
                    <a:lnTo>
                      <a:pt x="115" y="255"/>
                    </a:lnTo>
                    <a:lnTo>
                      <a:pt x="117" y="255"/>
                    </a:lnTo>
                    <a:lnTo>
                      <a:pt x="117" y="257"/>
                    </a:lnTo>
                    <a:lnTo>
                      <a:pt x="117" y="258"/>
                    </a:lnTo>
                    <a:lnTo>
                      <a:pt x="119" y="258"/>
                    </a:lnTo>
                    <a:lnTo>
                      <a:pt x="119" y="260"/>
                    </a:lnTo>
                    <a:lnTo>
                      <a:pt x="117" y="260"/>
                    </a:lnTo>
                    <a:lnTo>
                      <a:pt x="117" y="262"/>
                    </a:lnTo>
                    <a:lnTo>
                      <a:pt x="119" y="264"/>
                    </a:lnTo>
                    <a:lnTo>
                      <a:pt x="119" y="264"/>
                    </a:lnTo>
                    <a:lnTo>
                      <a:pt x="119" y="266"/>
                    </a:lnTo>
                    <a:lnTo>
                      <a:pt x="122" y="270"/>
                    </a:lnTo>
                    <a:lnTo>
                      <a:pt x="124" y="276"/>
                    </a:lnTo>
                    <a:lnTo>
                      <a:pt x="126" y="276"/>
                    </a:lnTo>
                    <a:lnTo>
                      <a:pt x="132" y="277"/>
                    </a:lnTo>
                    <a:lnTo>
                      <a:pt x="132" y="279"/>
                    </a:lnTo>
                    <a:lnTo>
                      <a:pt x="134" y="279"/>
                    </a:lnTo>
                    <a:lnTo>
                      <a:pt x="134" y="279"/>
                    </a:lnTo>
                    <a:lnTo>
                      <a:pt x="134" y="281"/>
                    </a:lnTo>
                    <a:lnTo>
                      <a:pt x="134" y="283"/>
                    </a:lnTo>
                    <a:lnTo>
                      <a:pt x="134" y="285"/>
                    </a:lnTo>
                    <a:lnTo>
                      <a:pt x="132" y="285"/>
                    </a:lnTo>
                    <a:lnTo>
                      <a:pt x="130" y="287"/>
                    </a:lnTo>
                    <a:lnTo>
                      <a:pt x="130" y="287"/>
                    </a:lnTo>
                    <a:lnTo>
                      <a:pt x="130" y="289"/>
                    </a:lnTo>
                    <a:lnTo>
                      <a:pt x="130" y="289"/>
                    </a:lnTo>
                    <a:lnTo>
                      <a:pt x="130" y="293"/>
                    </a:lnTo>
                    <a:lnTo>
                      <a:pt x="132" y="296"/>
                    </a:lnTo>
                    <a:lnTo>
                      <a:pt x="132" y="298"/>
                    </a:lnTo>
                    <a:lnTo>
                      <a:pt x="134" y="302"/>
                    </a:lnTo>
                    <a:lnTo>
                      <a:pt x="134" y="304"/>
                    </a:lnTo>
                    <a:lnTo>
                      <a:pt x="134" y="306"/>
                    </a:lnTo>
                    <a:lnTo>
                      <a:pt x="136" y="308"/>
                    </a:lnTo>
                    <a:lnTo>
                      <a:pt x="138" y="314"/>
                    </a:lnTo>
                    <a:lnTo>
                      <a:pt x="141" y="325"/>
                    </a:lnTo>
                    <a:lnTo>
                      <a:pt x="143" y="329"/>
                    </a:lnTo>
                    <a:lnTo>
                      <a:pt x="145" y="333"/>
                    </a:lnTo>
                    <a:lnTo>
                      <a:pt x="147" y="335"/>
                    </a:lnTo>
                    <a:lnTo>
                      <a:pt x="149" y="338"/>
                    </a:lnTo>
                    <a:lnTo>
                      <a:pt x="151" y="340"/>
                    </a:lnTo>
                    <a:lnTo>
                      <a:pt x="151" y="340"/>
                    </a:lnTo>
                    <a:lnTo>
                      <a:pt x="153" y="342"/>
                    </a:lnTo>
                    <a:lnTo>
                      <a:pt x="157" y="348"/>
                    </a:lnTo>
                    <a:lnTo>
                      <a:pt x="162" y="352"/>
                    </a:lnTo>
                    <a:lnTo>
                      <a:pt x="164" y="354"/>
                    </a:lnTo>
                    <a:lnTo>
                      <a:pt x="166" y="354"/>
                    </a:lnTo>
                    <a:lnTo>
                      <a:pt x="166" y="355"/>
                    </a:lnTo>
                    <a:lnTo>
                      <a:pt x="164" y="355"/>
                    </a:lnTo>
                    <a:lnTo>
                      <a:pt x="164" y="357"/>
                    </a:lnTo>
                    <a:lnTo>
                      <a:pt x="166" y="359"/>
                    </a:lnTo>
                    <a:lnTo>
                      <a:pt x="166" y="359"/>
                    </a:lnTo>
                    <a:lnTo>
                      <a:pt x="168" y="359"/>
                    </a:lnTo>
                    <a:lnTo>
                      <a:pt x="168" y="359"/>
                    </a:lnTo>
                    <a:lnTo>
                      <a:pt x="170" y="359"/>
                    </a:lnTo>
                    <a:lnTo>
                      <a:pt x="172" y="359"/>
                    </a:lnTo>
                    <a:lnTo>
                      <a:pt x="174" y="361"/>
                    </a:lnTo>
                    <a:lnTo>
                      <a:pt x="176" y="363"/>
                    </a:lnTo>
                    <a:lnTo>
                      <a:pt x="178" y="363"/>
                    </a:lnTo>
                    <a:lnTo>
                      <a:pt x="180" y="363"/>
                    </a:lnTo>
                    <a:lnTo>
                      <a:pt x="183" y="367"/>
                    </a:lnTo>
                    <a:lnTo>
                      <a:pt x="189" y="373"/>
                    </a:lnTo>
                    <a:lnTo>
                      <a:pt x="197" y="384"/>
                    </a:lnTo>
                    <a:lnTo>
                      <a:pt x="199" y="386"/>
                    </a:lnTo>
                    <a:lnTo>
                      <a:pt x="201" y="390"/>
                    </a:lnTo>
                    <a:lnTo>
                      <a:pt x="201" y="390"/>
                    </a:lnTo>
                    <a:lnTo>
                      <a:pt x="203" y="392"/>
                    </a:lnTo>
                    <a:lnTo>
                      <a:pt x="203" y="394"/>
                    </a:lnTo>
                    <a:lnTo>
                      <a:pt x="204" y="395"/>
                    </a:lnTo>
                    <a:lnTo>
                      <a:pt x="204" y="397"/>
                    </a:lnTo>
                    <a:lnTo>
                      <a:pt x="203" y="399"/>
                    </a:lnTo>
                    <a:lnTo>
                      <a:pt x="203" y="397"/>
                    </a:lnTo>
                    <a:lnTo>
                      <a:pt x="201" y="397"/>
                    </a:lnTo>
                    <a:lnTo>
                      <a:pt x="199" y="395"/>
                    </a:lnTo>
                    <a:lnTo>
                      <a:pt x="199" y="394"/>
                    </a:lnTo>
                    <a:lnTo>
                      <a:pt x="197" y="395"/>
                    </a:lnTo>
                    <a:lnTo>
                      <a:pt x="197" y="395"/>
                    </a:lnTo>
                    <a:lnTo>
                      <a:pt x="195" y="397"/>
                    </a:lnTo>
                    <a:lnTo>
                      <a:pt x="195" y="399"/>
                    </a:lnTo>
                    <a:lnTo>
                      <a:pt x="193" y="399"/>
                    </a:lnTo>
                    <a:lnTo>
                      <a:pt x="191" y="401"/>
                    </a:lnTo>
                    <a:lnTo>
                      <a:pt x="189" y="401"/>
                    </a:lnTo>
                    <a:lnTo>
                      <a:pt x="187" y="401"/>
                    </a:lnTo>
                    <a:lnTo>
                      <a:pt x="187" y="403"/>
                    </a:lnTo>
                    <a:lnTo>
                      <a:pt x="187" y="405"/>
                    </a:lnTo>
                    <a:lnTo>
                      <a:pt x="187" y="405"/>
                    </a:lnTo>
                    <a:lnTo>
                      <a:pt x="187" y="407"/>
                    </a:lnTo>
                    <a:lnTo>
                      <a:pt x="191" y="409"/>
                    </a:lnTo>
                    <a:lnTo>
                      <a:pt x="191" y="409"/>
                    </a:lnTo>
                    <a:lnTo>
                      <a:pt x="193" y="409"/>
                    </a:lnTo>
                    <a:lnTo>
                      <a:pt x="193" y="409"/>
                    </a:lnTo>
                    <a:lnTo>
                      <a:pt x="193" y="407"/>
                    </a:lnTo>
                    <a:lnTo>
                      <a:pt x="195" y="407"/>
                    </a:lnTo>
                    <a:lnTo>
                      <a:pt x="195" y="405"/>
                    </a:lnTo>
                    <a:lnTo>
                      <a:pt x="195" y="405"/>
                    </a:lnTo>
                    <a:lnTo>
                      <a:pt x="197" y="405"/>
                    </a:lnTo>
                    <a:lnTo>
                      <a:pt x="197" y="407"/>
                    </a:lnTo>
                    <a:lnTo>
                      <a:pt x="197" y="409"/>
                    </a:lnTo>
                    <a:lnTo>
                      <a:pt x="197" y="409"/>
                    </a:lnTo>
                    <a:lnTo>
                      <a:pt x="195" y="413"/>
                    </a:lnTo>
                    <a:lnTo>
                      <a:pt x="193" y="414"/>
                    </a:lnTo>
                    <a:lnTo>
                      <a:pt x="193" y="414"/>
                    </a:lnTo>
                    <a:lnTo>
                      <a:pt x="193" y="416"/>
                    </a:lnTo>
                    <a:lnTo>
                      <a:pt x="191" y="418"/>
                    </a:lnTo>
                    <a:lnTo>
                      <a:pt x="191" y="418"/>
                    </a:lnTo>
                    <a:lnTo>
                      <a:pt x="191" y="420"/>
                    </a:lnTo>
                    <a:lnTo>
                      <a:pt x="189" y="420"/>
                    </a:lnTo>
                    <a:lnTo>
                      <a:pt x="189" y="420"/>
                    </a:lnTo>
                    <a:lnTo>
                      <a:pt x="189" y="420"/>
                    </a:lnTo>
                    <a:lnTo>
                      <a:pt x="191" y="422"/>
                    </a:lnTo>
                    <a:lnTo>
                      <a:pt x="191" y="422"/>
                    </a:lnTo>
                    <a:lnTo>
                      <a:pt x="193" y="424"/>
                    </a:lnTo>
                    <a:lnTo>
                      <a:pt x="193" y="426"/>
                    </a:lnTo>
                    <a:lnTo>
                      <a:pt x="191" y="426"/>
                    </a:lnTo>
                    <a:lnTo>
                      <a:pt x="191" y="428"/>
                    </a:lnTo>
                    <a:lnTo>
                      <a:pt x="189" y="428"/>
                    </a:lnTo>
                    <a:lnTo>
                      <a:pt x="189" y="428"/>
                    </a:lnTo>
                    <a:lnTo>
                      <a:pt x="185" y="428"/>
                    </a:lnTo>
                    <a:lnTo>
                      <a:pt x="185" y="428"/>
                    </a:lnTo>
                    <a:lnTo>
                      <a:pt x="185" y="430"/>
                    </a:lnTo>
                    <a:lnTo>
                      <a:pt x="185" y="433"/>
                    </a:lnTo>
                    <a:lnTo>
                      <a:pt x="189" y="435"/>
                    </a:lnTo>
                    <a:lnTo>
                      <a:pt x="189" y="435"/>
                    </a:lnTo>
                    <a:lnTo>
                      <a:pt x="191" y="437"/>
                    </a:lnTo>
                    <a:lnTo>
                      <a:pt x="191" y="437"/>
                    </a:lnTo>
                    <a:lnTo>
                      <a:pt x="191" y="439"/>
                    </a:lnTo>
                    <a:lnTo>
                      <a:pt x="191" y="441"/>
                    </a:lnTo>
                    <a:lnTo>
                      <a:pt x="193" y="443"/>
                    </a:lnTo>
                    <a:lnTo>
                      <a:pt x="193" y="443"/>
                    </a:lnTo>
                    <a:lnTo>
                      <a:pt x="206" y="441"/>
                    </a:lnTo>
                    <a:lnTo>
                      <a:pt x="208" y="441"/>
                    </a:lnTo>
                    <a:lnTo>
                      <a:pt x="212" y="445"/>
                    </a:lnTo>
                    <a:lnTo>
                      <a:pt x="216" y="449"/>
                    </a:lnTo>
                    <a:lnTo>
                      <a:pt x="220" y="445"/>
                    </a:lnTo>
                    <a:lnTo>
                      <a:pt x="220" y="445"/>
                    </a:lnTo>
                    <a:lnTo>
                      <a:pt x="222" y="443"/>
                    </a:lnTo>
                    <a:lnTo>
                      <a:pt x="220" y="443"/>
                    </a:lnTo>
                    <a:lnTo>
                      <a:pt x="220" y="441"/>
                    </a:lnTo>
                    <a:lnTo>
                      <a:pt x="220" y="441"/>
                    </a:lnTo>
                    <a:lnTo>
                      <a:pt x="220" y="439"/>
                    </a:lnTo>
                    <a:lnTo>
                      <a:pt x="220" y="437"/>
                    </a:lnTo>
                    <a:lnTo>
                      <a:pt x="220" y="437"/>
                    </a:lnTo>
                    <a:lnTo>
                      <a:pt x="218" y="435"/>
                    </a:lnTo>
                    <a:lnTo>
                      <a:pt x="216" y="433"/>
                    </a:lnTo>
                    <a:lnTo>
                      <a:pt x="216" y="432"/>
                    </a:lnTo>
                    <a:lnTo>
                      <a:pt x="216" y="430"/>
                    </a:lnTo>
                    <a:lnTo>
                      <a:pt x="216" y="428"/>
                    </a:lnTo>
                    <a:lnTo>
                      <a:pt x="214" y="422"/>
                    </a:lnTo>
                    <a:lnTo>
                      <a:pt x="214" y="418"/>
                    </a:lnTo>
                    <a:lnTo>
                      <a:pt x="214" y="416"/>
                    </a:lnTo>
                    <a:lnTo>
                      <a:pt x="214" y="414"/>
                    </a:lnTo>
                    <a:lnTo>
                      <a:pt x="214" y="413"/>
                    </a:lnTo>
                    <a:lnTo>
                      <a:pt x="214" y="413"/>
                    </a:lnTo>
                    <a:lnTo>
                      <a:pt x="216" y="411"/>
                    </a:lnTo>
                    <a:lnTo>
                      <a:pt x="216" y="411"/>
                    </a:lnTo>
                    <a:lnTo>
                      <a:pt x="216" y="411"/>
                    </a:lnTo>
                    <a:lnTo>
                      <a:pt x="218" y="411"/>
                    </a:lnTo>
                    <a:lnTo>
                      <a:pt x="220" y="411"/>
                    </a:lnTo>
                    <a:lnTo>
                      <a:pt x="222" y="411"/>
                    </a:lnTo>
                    <a:lnTo>
                      <a:pt x="222" y="411"/>
                    </a:lnTo>
                    <a:lnTo>
                      <a:pt x="223" y="411"/>
                    </a:lnTo>
                    <a:lnTo>
                      <a:pt x="223" y="411"/>
                    </a:lnTo>
                    <a:lnTo>
                      <a:pt x="225" y="409"/>
                    </a:lnTo>
                    <a:lnTo>
                      <a:pt x="225" y="409"/>
                    </a:lnTo>
                    <a:lnTo>
                      <a:pt x="227" y="411"/>
                    </a:lnTo>
                    <a:lnTo>
                      <a:pt x="233" y="414"/>
                    </a:lnTo>
                    <a:lnTo>
                      <a:pt x="233" y="414"/>
                    </a:lnTo>
                    <a:lnTo>
                      <a:pt x="235" y="414"/>
                    </a:lnTo>
                    <a:lnTo>
                      <a:pt x="237" y="413"/>
                    </a:lnTo>
                    <a:lnTo>
                      <a:pt x="237" y="411"/>
                    </a:lnTo>
                    <a:lnTo>
                      <a:pt x="237" y="409"/>
                    </a:lnTo>
                    <a:lnTo>
                      <a:pt x="237" y="407"/>
                    </a:lnTo>
                    <a:lnTo>
                      <a:pt x="235" y="407"/>
                    </a:lnTo>
                    <a:lnTo>
                      <a:pt x="233" y="407"/>
                    </a:lnTo>
                    <a:lnTo>
                      <a:pt x="233" y="405"/>
                    </a:lnTo>
                    <a:lnTo>
                      <a:pt x="231" y="405"/>
                    </a:lnTo>
                    <a:lnTo>
                      <a:pt x="233" y="403"/>
                    </a:lnTo>
                    <a:lnTo>
                      <a:pt x="233" y="403"/>
                    </a:lnTo>
                    <a:lnTo>
                      <a:pt x="235" y="403"/>
                    </a:lnTo>
                    <a:lnTo>
                      <a:pt x="237" y="403"/>
                    </a:lnTo>
                    <a:lnTo>
                      <a:pt x="237" y="401"/>
                    </a:lnTo>
                    <a:lnTo>
                      <a:pt x="237" y="401"/>
                    </a:lnTo>
                    <a:lnTo>
                      <a:pt x="235" y="399"/>
                    </a:lnTo>
                    <a:lnTo>
                      <a:pt x="233" y="399"/>
                    </a:lnTo>
                    <a:lnTo>
                      <a:pt x="233" y="397"/>
                    </a:lnTo>
                    <a:lnTo>
                      <a:pt x="231" y="395"/>
                    </a:lnTo>
                    <a:lnTo>
                      <a:pt x="231" y="394"/>
                    </a:lnTo>
                    <a:lnTo>
                      <a:pt x="231" y="394"/>
                    </a:lnTo>
                    <a:lnTo>
                      <a:pt x="233" y="392"/>
                    </a:lnTo>
                    <a:lnTo>
                      <a:pt x="235" y="394"/>
                    </a:lnTo>
                    <a:lnTo>
                      <a:pt x="235" y="394"/>
                    </a:lnTo>
                    <a:lnTo>
                      <a:pt x="237" y="394"/>
                    </a:lnTo>
                    <a:lnTo>
                      <a:pt x="237" y="395"/>
                    </a:lnTo>
                    <a:lnTo>
                      <a:pt x="237" y="395"/>
                    </a:lnTo>
                    <a:lnTo>
                      <a:pt x="237" y="397"/>
                    </a:lnTo>
                    <a:lnTo>
                      <a:pt x="239" y="397"/>
                    </a:lnTo>
                    <a:lnTo>
                      <a:pt x="239" y="397"/>
                    </a:lnTo>
                    <a:lnTo>
                      <a:pt x="239" y="399"/>
                    </a:lnTo>
                    <a:lnTo>
                      <a:pt x="241" y="399"/>
                    </a:lnTo>
                    <a:lnTo>
                      <a:pt x="246" y="397"/>
                    </a:lnTo>
                    <a:lnTo>
                      <a:pt x="248" y="397"/>
                    </a:lnTo>
                    <a:lnTo>
                      <a:pt x="250" y="397"/>
                    </a:lnTo>
                    <a:lnTo>
                      <a:pt x="250" y="397"/>
                    </a:lnTo>
                    <a:lnTo>
                      <a:pt x="254" y="403"/>
                    </a:lnTo>
                    <a:lnTo>
                      <a:pt x="254" y="403"/>
                    </a:lnTo>
                    <a:lnTo>
                      <a:pt x="254" y="405"/>
                    </a:lnTo>
                    <a:lnTo>
                      <a:pt x="254" y="405"/>
                    </a:lnTo>
                    <a:lnTo>
                      <a:pt x="254" y="405"/>
                    </a:lnTo>
                    <a:lnTo>
                      <a:pt x="252" y="405"/>
                    </a:lnTo>
                    <a:lnTo>
                      <a:pt x="250" y="403"/>
                    </a:lnTo>
                    <a:lnTo>
                      <a:pt x="250" y="403"/>
                    </a:lnTo>
                    <a:lnTo>
                      <a:pt x="250" y="403"/>
                    </a:lnTo>
                    <a:lnTo>
                      <a:pt x="248" y="405"/>
                    </a:lnTo>
                    <a:lnTo>
                      <a:pt x="250" y="405"/>
                    </a:lnTo>
                    <a:lnTo>
                      <a:pt x="250" y="407"/>
                    </a:lnTo>
                    <a:lnTo>
                      <a:pt x="252" y="409"/>
                    </a:lnTo>
                    <a:lnTo>
                      <a:pt x="254" y="409"/>
                    </a:lnTo>
                    <a:lnTo>
                      <a:pt x="254" y="409"/>
                    </a:lnTo>
                    <a:lnTo>
                      <a:pt x="254" y="409"/>
                    </a:lnTo>
                    <a:lnTo>
                      <a:pt x="254" y="409"/>
                    </a:lnTo>
                    <a:lnTo>
                      <a:pt x="250" y="411"/>
                    </a:lnTo>
                    <a:lnTo>
                      <a:pt x="250" y="411"/>
                    </a:lnTo>
                    <a:lnTo>
                      <a:pt x="250" y="413"/>
                    </a:lnTo>
                    <a:lnTo>
                      <a:pt x="250" y="413"/>
                    </a:lnTo>
                    <a:lnTo>
                      <a:pt x="254" y="414"/>
                    </a:lnTo>
                    <a:lnTo>
                      <a:pt x="256" y="414"/>
                    </a:lnTo>
                    <a:lnTo>
                      <a:pt x="258" y="414"/>
                    </a:lnTo>
                    <a:lnTo>
                      <a:pt x="258" y="414"/>
                    </a:lnTo>
                    <a:lnTo>
                      <a:pt x="260" y="416"/>
                    </a:lnTo>
                    <a:lnTo>
                      <a:pt x="260" y="416"/>
                    </a:lnTo>
                    <a:lnTo>
                      <a:pt x="262" y="422"/>
                    </a:lnTo>
                    <a:lnTo>
                      <a:pt x="262" y="424"/>
                    </a:lnTo>
                    <a:lnTo>
                      <a:pt x="262" y="424"/>
                    </a:lnTo>
                    <a:lnTo>
                      <a:pt x="264" y="426"/>
                    </a:lnTo>
                    <a:lnTo>
                      <a:pt x="264" y="426"/>
                    </a:lnTo>
                    <a:lnTo>
                      <a:pt x="265" y="424"/>
                    </a:lnTo>
                    <a:lnTo>
                      <a:pt x="267" y="422"/>
                    </a:lnTo>
                    <a:lnTo>
                      <a:pt x="267" y="422"/>
                    </a:lnTo>
                    <a:lnTo>
                      <a:pt x="267" y="420"/>
                    </a:lnTo>
                    <a:lnTo>
                      <a:pt x="269" y="420"/>
                    </a:lnTo>
                    <a:lnTo>
                      <a:pt x="271" y="420"/>
                    </a:lnTo>
                    <a:lnTo>
                      <a:pt x="273" y="420"/>
                    </a:lnTo>
                    <a:lnTo>
                      <a:pt x="275" y="418"/>
                    </a:lnTo>
                    <a:lnTo>
                      <a:pt x="277" y="418"/>
                    </a:lnTo>
                    <a:lnTo>
                      <a:pt x="277" y="418"/>
                    </a:lnTo>
                    <a:lnTo>
                      <a:pt x="277" y="416"/>
                    </a:lnTo>
                    <a:lnTo>
                      <a:pt x="275" y="414"/>
                    </a:lnTo>
                    <a:lnTo>
                      <a:pt x="275" y="413"/>
                    </a:lnTo>
                    <a:lnTo>
                      <a:pt x="275" y="411"/>
                    </a:lnTo>
                    <a:lnTo>
                      <a:pt x="275" y="411"/>
                    </a:lnTo>
                    <a:lnTo>
                      <a:pt x="275" y="409"/>
                    </a:lnTo>
                    <a:lnTo>
                      <a:pt x="275" y="409"/>
                    </a:lnTo>
                    <a:lnTo>
                      <a:pt x="275" y="409"/>
                    </a:lnTo>
                    <a:lnTo>
                      <a:pt x="277" y="407"/>
                    </a:lnTo>
                    <a:lnTo>
                      <a:pt x="279" y="407"/>
                    </a:lnTo>
                    <a:lnTo>
                      <a:pt x="279" y="405"/>
                    </a:lnTo>
                    <a:lnTo>
                      <a:pt x="281" y="403"/>
                    </a:lnTo>
                    <a:lnTo>
                      <a:pt x="283" y="403"/>
                    </a:lnTo>
                    <a:lnTo>
                      <a:pt x="283" y="403"/>
                    </a:lnTo>
                    <a:lnTo>
                      <a:pt x="285" y="401"/>
                    </a:lnTo>
                    <a:lnTo>
                      <a:pt x="286" y="399"/>
                    </a:lnTo>
                    <a:lnTo>
                      <a:pt x="288" y="399"/>
                    </a:lnTo>
                    <a:lnTo>
                      <a:pt x="292" y="395"/>
                    </a:lnTo>
                    <a:lnTo>
                      <a:pt x="292" y="392"/>
                    </a:lnTo>
                    <a:lnTo>
                      <a:pt x="294" y="392"/>
                    </a:lnTo>
                    <a:lnTo>
                      <a:pt x="294" y="390"/>
                    </a:lnTo>
                    <a:lnTo>
                      <a:pt x="298" y="388"/>
                    </a:lnTo>
                    <a:lnTo>
                      <a:pt x="298" y="388"/>
                    </a:lnTo>
                    <a:lnTo>
                      <a:pt x="300" y="388"/>
                    </a:lnTo>
                    <a:lnTo>
                      <a:pt x="300" y="388"/>
                    </a:lnTo>
                    <a:lnTo>
                      <a:pt x="302" y="388"/>
                    </a:lnTo>
                    <a:lnTo>
                      <a:pt x="302" y="390"/>
                    </a:lnTo>
                    <a:lnTo>
                      <a:pt x="304" y="390"/>
                    </a:lnTo>
                    <a:lnTo>
                      <a:pt x="304" y="392"/>
                    </a:lnTo>
                    <a:lnTo>
                      <a:pt x="305" y="394"/>
                    </a:lnTo>
                    <a:lnTo>
                      <a:pt x="309" y="397"/>
                    </a:lnTo>
                    <a:lnTo>
                      <a:pt x="311" y="399"/>
                    </a:lnTo>
                    <a:lnTo>
                      <a:pt x="311" y="401"/>
                    </a:lnTo>
                    <a:lnTo>
                      <a:pt x="311" y="401"/>
                    </a:lnTo>
                    <a:lnTo>
                      <a:pt x="311" y="403"/>
                    </a:lnTo>
                    <a:lnTo>
                      <a:pt x="309" y="411"/>
                    </a:lnTo>
                    <a:lnTo>
                      <a:pt x="309" y="414"/>
                    </a:lnTo>
                    <a:lnTo>
                      <a:pt x="309" y="416"/>
                    </a:lnTo>
                    <a:lnTo>
                      <a:pt x="309" y="418"/>
                    </a:lnTo>
                    <a:lnTo>
                      <a:pt x="311" y="422"/>
                    </a:lnTo>
                    <a:lnTo>
                      <a:pt x="311" y="422"/>
                    </a:lnTo>
                    <a:lnTo>
                      <a:pt x="311" y="424"/>
                    </a:lnTo>
                    <a:lnTo>
                      <a:pt x="311" y="424"/>
                    </a:lnTo>
                    <a:lnTo>
                      <a:pt x="311" y="426"/>
                    </a:lnTo>
                    <a:lnTo>
                      <a:pt x="311" y="426"/>
                    </a:lnTo>
                    <a:lnTo>
                      <a:pt x="311" y="428"/>
                    </a:lnTo>
                    <a:lnTo>
                      <a:pt x="311" y="430"/>
                    </a:lnTo>
                    <a:lnTo>
                      <a:pt x="311" y="432"/>
                    </a:lnTo>
                    <a:lnTo>
                      <a:pt x="311" y="433"/>
                    </a:lnTo>
                    <a:lnTo>
                      <a:pt x="311" y="435"/>
                    </a:lnTo>
                    <a:lnTo>
                      <a:pt x="313" y="439"/>
                    </a:lnTo>
                    <a:lnTo>
                      <a:pt x="311" y="441"/>
                    </a:lnTo>
                    <a:lnTo>
                      <a:pt x="311" y="441"/>
                    </a:lnTo>
                    <a:lnTo>
                      <a:pt x="311" y="443"/>
                    </a:lnTo>
                    <a:lnTo>
                      <a:pt x="309" y="447"/>
                    </a:lnTo>
                    <a:lnTo>
                      <a:pt x="309" y="447"/>
                    </a:lnTo>
                    <a:lnTo>
                      <a:pt x="307" y="456"/>
                    </a:lnTo>
                    <a:lnTo>
                      <a:pt x="307" y="458"/>
                    </a:lnTo>
                    <a:lnTo>
                      <a:pt x="307" y="460"/>
                    </a:lnTo>
                    <a:lnTo>
                      <a:pt x="307" y="460"/>
                    </a:lnTo>
                    <a:lnTo>
                      <a:pt x="309" y="460"/>
                    </a:lnTo>
                    <a:lnTo>
                      <a:pt x="309" y="462"/>
                    </a:lnTo>
                    <a:lnTo>
                      <a:pt x="309" y="462"/>
                    </a:lnTo>
                    <a:lnTo>
                      <a:pt x="309" y="462"/>
                    </a:lnTo>
                    <a:lnTo>
                      <a:pt x="307" y="464"/>
                    </a:lnTo>
                    <a:lnTo>
                      <a:pt x="305" y="464"/>
                    </a:lnTo>
                    <a:lnTo>
                      <a:pt x="305" y="466"/>
                    </a:lnTo>
                    <a:lnTo>
                      <a:pt x="305" y="466"/>
                    </a:lnTo>
                    <a:lnTo>
                      <a:pt x="305" y="466"/>
                    </a:lnTo>
                    <a:lnTo>
                      <a:pt x="307" y="468"/>
                    </a:lnTo>
                    <a:lnTo>
                      <a:pt x="307" y="468"/>
                    </a:lnTo>
                    <a:lnTo>
                      <a:pt x="311" y="466"/>
                    </a:lnTo>
                    <a:lnTo>
                      <a:pt x="315" y="466"/>
                    </a:lnTo>
                    <a:lnTo>
                      <a:pt x="317" y="466"/>
                    </a:lnTo>
                    <a:lnTo>
                      <a:pt x="319" y="460"/>
                    </a:lnTo>
                    <a:lnTo>
                      <a:pt x="321" y="460"/>
                    </a:lnTo>
                    <a:lnTo>
                      <a:pt x="323" y="458"/>
                    </a:lnTo>
                    <a:lnTo>
                      <a:pt x="328" y="458"/>
                    </a:lnTo>
                    <a:lnTo>
                      <a:pt x="328" y="456"/>
                    </a:lnTo>
                    <a:lnTo>
                      <a:pt x="328" y="456"/>
                    </a:lnTo>
                    <a:lnTo>
                      <a:pt x="328" y="454"/>
                    </a:lnTo>
                    <a:lnTo>
                      <a:pt x="325" y="452"/>
                    </a:lnTo>
                    <a:lnTo>
                      <a:pt x="323" y="452"/>
                    </a:lnTo>
                    <a:lnTo>
                      <a:pt x="323" y="451"/>
                    </a:lnTo>
                    <a:lnTo>
                      <a:pt x="325" y="449"/>
                    </a:lnTo>
                    <a:lnTo>
                      <a:pt x="326" y="447"/>
                    </a:lnTo>
                    <a:lnTo>
                      <a:pt x="328" y="449"/>
                    </a:lnTo>
                    <a:lnTo>
                      <a:pt x="332" y="451"/>
                    </a:lnTo>
                    <a:lnTo>
                      <a:pt x="334" y="451"/>
                    </a:lnTo>
                    <a:lnTo>
                      <a:pt x="336" y="451"/>
                    </a:lnTo>
                    <a:lnTo>
                      <a:pt x="338" y="449"/>
                    </a:lnTo>
                    <a:lnTo>
                      <a:pt x="340" y="447"/>
                    </a:lnTo>
                    <a:lnTo>
                      <a:pt x="340" y="447"/>
                    </a:lnTo>
                    <a:lnTo>
                      <a:pt x="340" y="447"/>
                    </a:lnTo>
                    <a:lnTo>
                      <a:pt x="342" y="449"/>
                    </a:lnTo>
                    <a:lnTo>
                      <a:pt x="342" y="449"/>
                    </a:lnTo>
                    <a:lnTo>
                      <a:pt x="344" y="449"/>
                    </a:lnTo>
                    <a:lnTo>
                      <a:pt x="344" y="449"/>
                    </a:lnTo>
                    <a:lnTo>
                      <a:pt x="344" y="447"/>
                    </a:lnTo>
                    <a:lnTo>
                      <a:pt x="346" y="447"/>
                    </a:lnTo>
                    <a:lnTo>
                      <a:pt x="346" y="447"/>
                    </a:lnTo>
                    <a:lnTo>
                      <a:pt x="347" y="449"/>
                    </a:lnTo>
                    <a:lnTo>
                      <a:pt x="347" y="451"/>
                    </a:lnTo>
                    <a:lnTo>
                      <a:pt x="347" y="451"/>
                    </a:lnTo>
                    <a:lnTo>
                      <a:pt x="349" y="451"/>
                    </a:lnTo>
                    <a:lnTo>
                      <a:pt x="349" y="451"/>
                    </a:lnTo>
                    <a:lnTo>
                      <a:pt x="351" y="447"/>
                    </a:lnTo>
                    <a:lnTo>
                      <a:pt x="355" y="449"/>
                    </a:lnTo>
                    <a:lnTo>
                      <a:pt x="357" y="445"/>
                    </a:lnTo>
                    <a:lnTo>
                      <a:pt x="359" y="445"/>
                    </a:lnTo>
                    <a:lnTo>
                      <a:pt x="359" y="443"/>
                    </a:lnTo>
                    <a:lnTo>
                      <a:pt x="361" y="443"/>
                    </a:lnTo>
                    <a:lnTo>
                      <a:pt x="361" y="443"/>
                    </a:lnTo>
                    <a:lnTo>
                      <a:pt x="363" y="443"/>
                    </a:lnTo>
                    <a:lnTo>
                      <a:pt x="363" y="441"/>
                    </a:lnTo>
                    <a:lnTo>
                      <a:pt x="368" y="441"/>
                    </a:lnTo>
                    <a:lnTo>
                      <a:pt x="368" y="441"/>
                    </a:lnTo>
                    <a:lnTo>
                      <a:pt x="372" y="437"/>
                    </a:lnTo>
                    <a:lnTo>
                      <a:pt x="374" y="435"/>
                    </a:lnTo>
                    <a:lnTo>
                      <a:pt x="376" y="437"/>
                    </a:lnTo>
                    <a:lnTo>
                      <a:pt x="376" y="437"/>
                    </a:lnTo>
                    <a:lnTo>
                      <a:pt x="378" y="437"/>
                    </a:lnTo>
                    <a:lnTo>
                      <a:pt x="380" y="435"/>
                    </a:lnTo>
                    <a:lnTo>
                      <a:pt x="380" y="432"/>
                    </a:lnTo>
                    <a:lnTo>
                      <a:pt x="382" y="432"/>
                    </a:lnTo>
                    <a:lnTo>
                      <a:pt x="384" y="430"/>
                    </a:lnTo>
                    <a:lnTo>
                      <a:pt x="386" y="428"/>
                    </a:lnTo>
                    <a:lnTo>
                      <a:pt x="386" y="424"/>
                    </a:lnTo>
                    <a:lnTo>
                      <a:pt x="384" y="420"/>
                    </a:lnTo>
                    <a:lnTo>
                      <a:pt x="382" y="418"/>
                    </a:lnTo>
                    <a:lnTo>
                      <a:pt x="382" y="416"/>
                    </a:lnTo>
                    <a:lnTo>
                      <a:pt x="380" y="416"/>
                    </a:lnTo>
                    <a:lnTo>
                      <a:pt x="378" y="414"/>
                    </a:lnTo>
                    <a:lnTo>
                      <a:pt x="380" y="411"/>
                    </a:lnTo>
                    <a:lnTo>
                      <a:pt x="378" y="407"/>
                    </a:lnTo>
                    <a:lnTo>
                      <a:pt x="378" y="405"/>
                    </a:lnTo>
                    <a:lnTo>
                      <a:pt x="382" y="409"/>
                    </a:lnTo>
                    <a:lnTo>
                      <a:pt x="382" y="403"/>
                    </a:lnTo>
                    <a:lnTo>
                      <a:pt x="382" y="399"/>
                    </a:lnTo>
                    <a:lnTo>
                      <a:pt x="384" y="397"/>
                    </a:lnTo>
                    <a:lnTo>
                      <a:pt x="387" y="395"/>
                    </a:lnTo>
                    <a:lnTo>
                      <a:pt x="386" y="394"/>
                    </a:lnTo>
                    <a:lnTo>
                      <a:pt x="382" y="394"/>
                    </a:lnTo>
                    <a:lnTo>
                      <a:pt x="382" y="392"/>
                    </a:lnTo>
                    <a:lnTo>
                      <a:pt x="382" y="392"/>
                    </a:lnTo>
                    <a:lnTo>
                      <a:pt x="384" y="392"/>
                    </a:lnTo>
                    <a:lnTo>
                      <a:pt x="386" y="390"/>
                    </a:lnTo>
                    <a:lnTo>
                      <a:pt x="386" y="390"/>
                    </a:lnTo>
                    <a:lnTo>
                      <a:pt x="386" y="388"/>
                    </a:lnTo>
                    <a:lnTo>
                      <a:pt x="386" y="388"/>
                    </a:lnTo>
                    <a:lnTo>
                      <a:pt x="386" y="386"/>
                    </a:lnTo>
                    <a:lnTo>
                      <a:pt x="387" y="386"/>
                    </a:lnTo>
                    <a:lnTo>
                      <a:pt x="386" y="386"/>
                    </a:lnTo>
                    <a:lnTo>
                      <a:pt x="382" y="384"/>
                    </a:lnTo>
                    <a:lnTo>
                      <a:pt x="382" y="384"/>
                    </a:lnTo>
                    <a:lnTo>
                      <a:pt x="380" y="382"/>
                    </a:lnTo>
                    <a:lnTo>
                      <a:pt x="380" y="380"/>
                    </a:lnTo>
                    <a:lnTo>
                      <a:pt x="380" y="378"/>
                    </a:lnTo>
                    <a:lnTo>
                      <a:pt x="378" y="376"/>
                    </a:lnTo>
                    <a:lnTo>
                      <a:pt x="378" y="373"/>
                    </a:lnTo>
                    <a:lnTo>
                      <a:pt x="382" y="365"/>
                    </a:lnTo>
                    <a:lnTo>
                      <a:pt x="380" y="365"/>
                    </a:lnTo>
                    <a:lnTo>
                      <a:pt x="378" y="365"/>
                    </a:lnTo>
                    <a:lnTo>
                      <a:pt x="378" y="361"/>
                    </a:lnTo>
                    <a:lnTo>
                      <a:pt x="378" y="359"/>
                    </a:lnTo>
                    <a:lnTo>
                      <a:pt x="376" y="359"/>
                    </a:lnTo>
                    <a:lnTo>
                      <a:pt x="374" y="359"/>
                    </a:lnTo>
                    <a:lnTo>
                      <a:pt x="372" y="359"/>
                    </a:lnTo>
                    <a:lnTo>
                      <a:pt x="372" y="359"/>
                    </a:lnTo>
                    <a:lnTo>
                      <a:pt x="372" y="357"/>
                    </a:lnTo>
                    <a:lnTo>
                      <a:pt x="372" y="357"/>
                    </a:lnTo>
                    <a:lnTo>
                      <a:pt x="372" y="355"/>
                    </a:lnTo>
                    <a:lnTo>
                      <a:pt x="372" y="355"/>
                    </a:lnTo>
                    <a:lnTo>
                      <a:pt x="370" y="354"/>
                    </a:lnTo>
                    <a:lnTo>
                      <a:pt x="370" y="355"/>
                    </a:lnTo>
                    <a:lnTo>
                      <a:pt x="368" y="355"/>
                    </a:lnTo>
                    <a:lnTo>
                      <a:pt x="367" y="355"/>
                    </a:lnTo>
                    <a:lnTo>
                      <a:pt x="367" y="355"/>
                    </a:lnTo>
                    <a:lnTo>
                      <a:pt x="367" y="354"/>
                    </a:lnTo>
                    <a:lnTo>
                      <a:pt x="367" y="352"/>
                    </a:lnTo>
                    <a:lnTo>
                      <a:pt x="365" y="352"/>
                    </a:lnTo>
                    <a:lnTo>
                      <a:pt x="363" y="352"/>
                    </a:lnTo>
                    <a:lnTo>
                      <a:pt x="363" y="350"/>
                    </a:lnTo>
                    <a:lnTo>
                      <a:pt x="361" y="348"/>
                    </a:lnTo>
                    <a:lnTo>
                      <a:pt x="361" y="348"/>
                    </a:lnTo>
                    <a:lnTo>
                      <a:pt x="353" y="348"/>
                    </a:lnTo>
                    <a:lnTo>
                      <a:pt x="351" y="350"/>
                    </a:lnTo>
                    <a:lnTo>
                      <a:pt x="349" y="350"/>
                    </a:lnTo>
                    <a:lnTo>
                      <a:pt x="347" y="352"/>
                    </a:lnTo>
                    <a:lnTo>
                      <a:pt x="347" y="354"/>
                    </a:lnTo>
                    <a:lnTo>
                      <a:pt x="347" y="354"/>
                    </a:lnTo>
                    <a:lnTo>
                      <a:pt x="349" y="355"/>
                    </a:lnTo>
                    <a:lnTo>
                      <a:pt x="349" y="355"/>
                    </a:lnTo>
                    <a:lnTo>
                      <a:pt x="349" y="357"/>
                    </a:lnTo>
                    <a:lnTo>
                      <a:pt x="349" y="357"/>
                    </a:lnTo>
                    <a:lnTo>
                      <a:pt x="349" y="357"/>
                    </a:lnTo>
                    <a:lnTo>
                      <a:pt x="347" y="359"/>
                    </a:lnTo>
                    <a:lnTo>
                      <a:pt x="344" y="359"/>
                    </a:lnTo>
                    <a:lnTo>
                      <a:pt x="338" y="357"/>
                    </a:lnTo>
                    <a:lnTo>
                      <a:pt x="336" y="355"/>
                    </a:lnTo>
                    <a:lnTo>
                      <a:pt x="334" y="355"/>
                    </a:lnTo>
                    <a:lnTo>
                      <a:pt x="332" y="354"/>
                    </a:lnTo>
                    <a:lnTo>
                      <a:pt x="330" y="352"/>
                    </a:lnTo>
                    <a:lnTo>
                      <a:pt x="330" y="352"/>
                    </a:lnTo>
                    <a:lnTo>
                      <a:pt x="328" y="348"/>
                    </a:lnTo>
                    <a:lnTo>
                      <a:pt x="328" y="346"/>
                    </a:lnTo>
                    <a:lnTo>
                      <a:pt x="328" y="346"/>
                    </a:lnTo>
                    <a:lnTo>
                      <a:pt x="319" y="342"/>
                    </a:lnTo>
                    <a:lnTo>
                      <a:pt x="319" y="342"/>
                    </a:lnTo>
                    <a:lnTo>
                      <a:pt x="319" y="342"/>
                    </a:lnTo>
                    <a:lnTo>
                      <a:pt x="317" y="342"/>
                    </a:lnTo>
                    <a:lnTo>
                      <a:pt x="317" y="344"/>
                    </a:lnTo>
                    <a:lnTo>
                      <a:pt x="317" y="344"/>
                    </a:lnTo>
                    <a:lnTo>
                      <a:pt x="315" y="346"/>
                    </a:lnTo>
                    <a:lnTo>
                      <a:pt x="307" y="346"/>
                    </a:lnTo>
                    <a:lnTo>
                      <a:pt x="304" y="348"/>
                    </a:lnTo>
                    <a:lnTo>
                      <a:pt x="304" y="346"/>
                    </a:lnTo>
                    <a:lnTo>
                      <a:pt x="304" y="346"/>
                    </a:lnTo>
                    <a:lnTo>
                      <a:pt x="304" y="344"/>
                    </a:lnTo>
                    <a:lnTo>
                      <a:pt x="302" y="344"/>
                    </a:lnTo>
                    <a:lnTo>
                      <a:pt x="302" y="342"/>
                    </a:lnTo>
                    <a:lnTo>
                      <a:pt x="300" y="340"/>
                    </a:lnTo>
                    <a:lnTo>
                      <a:pt x="298" y="340"/>
                    </a:lnTo>
                    <a:lnTo>
                      <a:pt x="298" y="338"/>
                    </a:lnTo>
                    <a:lnTo>
                      <a:pt x="300" y="338"/>
                    </a:lnTo>
                    <a:lnTo>
                      <a:pt x="302" y="335"/>
                    </a:lnTo>
                    <a:lnTo>
                      <a:pt x="304" y="333"/>
                    </a:lnTo>
                    <a:lnTo>
                      <a:pt x="304" y="331"/>
                    </a:lnTo>
                    <a:lnTo>
                      <a:pt x="305" y="331"/>
                    </a:lnTo>
                    <a:lnTo>
                      <a:pt x="307" y="331"/>
                    </a:lnTo>
                    <a:lnTo>
                      <a:pt x="307" y="331"/>
                    </a:lnTo>
                    <a:lnTo>
                      <a:pt x="309" y="329"/>
                    </a:lnTo>
                    <a:lnTo>
                      <a:pt x="309" y="327"/>
                    </a:lnTo>
                    <a:lnTo>
                      <a:pt x="309" y="325"/>
                    </a:lnTo>
                    <a:lnTo>
                      <a:pt x="311" y="323"/>
                    </a:lnTo>
                    <a:lnTo>
                      <a:pt x="313" y="321"/>
                    </a:lnTo>
                    <a:lnTo>
                      <a:pt x="313" y="321"/>
                    </a:lnTo>
                    <a:lnTo>
                      <a:pt x="311" y="319"/>
                    </a:lnTo>
                    <a:lnTo>
                      <a:pt x="311" y="317"/>
                    </a:lnTo>
                    <a:lnTo>
                      <a:pt x="311" y="316"/>
                    </a:lnTo>
                    <a:lnTo>
                      <a:pt x="311" y="308"/>
                    </a:lnTo>
                    <a:lnTo>
                      <a:pt x="311" y="306"/>
                    </a:lnTo>
                    <a:lnTo>
                      <a:pt x="311" y="306"/>
                    </a:lnTo>
                    <a:lnTo>
                      <a:pt x="313" y="304"/>
                    </a:lnTo>
                    <a:lnTo>
                      <a:pt x="313" y="302"/>
                    </a:lnTo>
                    <a:lnTo>
                      <a:pt x="317" y="300"/>
                    </a:lnTo>
                    <a:lnTo>
                      <a:pt x="319" y="300"/>
                    </a:lnTo>
                    <a:lnTo>
                      <a:pt x="325" y="300"/>
                    </a:lnTo>
                    <a:lnTo>
                      <a:pt x="326" y="298"/>
                    </a:lnTo>
                    <a:lnTo>
                      <a:pt x="326" y="296"/>
                    </a:lnTo>
                    <a:lnTo>
                      <a:pt x="328" y="295"/>
                    </a:lnTo>
                    <a:lnTo>
                      <a:pt x="328" y="295"/>
                    </a:lnTo>
                    <a:lnTo>
                      <a:pt x="334" y="296"/>
                    </a:lnTo>
                    <a:lnTo>
                      <a:pt x="336" y="298"/>
                    </a:lnTo>
                    <a:lnTo>
                      <a:pt x="338" y="298"/>
                    </a:lnTo>
                    <a:lnTo>
                      <a:pt x="338" y="298"/>
                    </a:lnTo>
                    <a:lnTo>
                      <a:pt x="344" y="296"/>
                    </a:lnTo>
                    <a:lnTo>
                      <a:pt x="346" y="293"/>
                    </a:lnTo>
                    <a:lnTo>
                      <a:pt x="347" y="293"/>
                    </a:lnTo>
                    <a:lnTo>
                      <a:pt x="347" y="291"/>
                    </a:lnTo>
                    <a:lnTo>
                      <a:pt x="347" y="289"/>
                    </a:lnTo>
                    <a:lnTo>
                      <a:pt x="346" y="287"/>
                    </a:lnTo>
                    <a:lnTo>
                      <a:pt x="346" y="287"/>
                    </a:lnTo>
                    <a:lnTo>
                      <a:pt x="342" y="283"/>
                    </a:lnTo>
                    <a:lnTo>
                      <a:pt x="342" y="281"/>
                    </a:lnTo>
                    <a:lnTo>
                      <a:pt x="344" y="279"/>
                    </a:lnTo>
                    <a:lnTo>
                      <a:pt x="344" y="279"/>
                    </a:lnTo>
                    <a:lnTo>
                      <a:pt x="340" y="274"/>
                    </a:lnTo>
                    <a:lnTo>
                      <a:pt x="338" y="264"/>
                    </a:lnTo>
                    <a:lnTo>
                      <a:pt x="338" y="264"/>
                    </a:lnTo>
                    <a:lnTo>
                      <a:pt x="336" y="264"/>
                    </a:lnTo>
                    <a:lnTo>
                      <a:pt x="336" y="262"/>
                    </a:lnTo>
                    <a:lnTo>
                      <a:pt x="336" y="262"/>
                    </a:lnTo>
                    <a:lnTo>
                      <a:pt x="336" y="262"/>
                    </a:lnTo>
                    <a:lnTo>
                      <a:pt x="336" y="260"/>
                    </a:lnTo>
                    <a:lnTo>
                      <a:pt x="336" y="260"/>
                    </a:lnTo>
                    <a:lnTo>
                      <a:pt x="338" y="260"/>
                    </a:lnTo>
                    <a:lnTo>
                      <a:pt x="336" y="237"/>
                    </a:lnTo>
                    <a:lnTo>
                      <a:pt x="336" y="237"/>
                    </a:lnTo>
                    <a:lnTo>
                      <a:pt x="338" y="236"/>
                    </a:lnTo>
                    <a:lnTo>
                      <a:pt x="338" y="234"/>
                    </a:lnTo>
                    <a:lnTo>
                      <a:pt x="338" y="232"/>
                    </a:lnTo>
                    <a:lnTo>
                      <a:pt x="336" y="230"/>
                    </a:lnTo>
                    <a:lnTo>
                      <a:pt x="336" y="230"/>
                    </a:lnTo>
                    <a:lnTo>
                      <a:pt x="336" y="226"/>
                    </a:lnTo>
                    <a:lnTo>
                      <a:pt x="336" y="224"/>
                    </a:lnTo>
                    <a:lnTo>
                      <a:pt x="336" y="222"/>
                    </a:lnTo>
                    <a:lnTo>
                      <a:pt x="338" y="222"/>
                    </a:lnTo>
                    <a:lnTo>
                      <a:pt x="338" y="220"/>
                    </a:lnTo>
                    <a:lnTo>
                      <a:pt x="338" y="218"/>
                    </a:lnTo>
                    <a:lnTo>
                      <a:pt x="336" y="217"/>
                    </a:lnTo>
                    <a:lnTo>
                      <a:pt x="332" y="217"/>
                    </a:lnTo>
                    <a:lnTo>
                      <a:pt x="328" y="218"/>
                    </a:lnTo>
                    <a:lnTo>
                      <a:pt x="328" y="218"/>
                    </a:lnTo>
                    <a:lnTo>
                      <a:pt x="328" y="215"/>
                    </a:lnTo>
                    <a:lnTo>
                      <a:pt x="332" y="211"/>
                    </a:lnTo>
                    <a:lnTo>
                      <a:pt x="334" y="209"/>
                    </a:lnTo>
                    <a:lnTo>
                      <a:pt x="332" y="207"/>
                    </a:lnTo>
                    <a:lnTo>
                      <a:pt x="328" y="207"/>
                    </a:lnTo>
                    <a:lnTo>
                      <a:pt x="328" y="207"/>
                    </a:lnTo>
                    <a:lnTo>
                      <a:pt x="328" y="207"/>
                    </a:lnTo>
                    <a:lnTo>
                      <a:pt x="328" y="205"/>
                    </a:lnTo>
                    <a:lnTo>
                      <a:pt x="328" y="203"/>
                    </a:lnTo>
                    <a:lnTo>
                      <a:pt x="328" y="201"/>
                    </a:lnTo>
                    <a:lnTo>
                      <a:pt x="326" y="199"/>
                    </a:lnTo>
                    <a:lnTo>
                      <a:pt x="326" y="199"/>
                    </a:lnTo>
                    <a:lnTo>
                      <a:pt x="328" y="198"/>
                    </a:lnTo>
                    <a:lnTo>
                      <a:pt x="328" y="196"/>
                    </a:lnTo>
                    <a:lnTo>
                      <a:pt x="330" y="196"/>
                    </a:lnTo>
                    <a:lnTo>
                      <a:pt x="332" y="194"/>
                    </a:lnTo>
                    <a:lnTo>
                      <a:pt x="332" y="192"/>
                    </a:lnTo>
                    <a:lnTo>
                      <a:pt x="330" y="190"/>
                    </a:lnTo>
                    <a:lnTo>
                      <a:pt x="330" y="188"/>
                    </a:lnTo>
                    <a:lnTo>
                      <a:pt x="330" y="186"/>
                    </a:lnTo>
                    <a:lnTo>
                      <a:pt x="330" y="184"/>
                    </a:lnTo>
                    <a:lnTo>
                      <a:pt x="334" y="180"/>
                    </a:lnTo>
                    <a:lnTo>
                      <a:pt x="332" y="179"/>
                    </a:lnTo>
                    <a:lnTo>
                      <a:pt x="336" y="177"/>
                    </a:lnTo>
                    <a:lnTo>
                      <a:pt x="336" y="175"/>
                    </a:lnTo>
                    <a:lnTo>
                      <a:pt x="338" y="173"/>
                    </a:lnTo>
                    <a:lnTo>
                      <a:pt x="336" y="173"/>
                    </a:lnTo>
                    <a:lnTo>
                      <a:pt x="336" y="171"/>
                    </a:lnTo>
                    <a:lnTo>
                      <a:pt x="336" y="171"/>
                    </a:lnTo>
                    <a:lnTo>
                      <a:pt x="336" y="169"/>
                    </a:lnTo>
                    <a:lnTo>
                      <a:pt x="336" y="167"/>
                    </a:lnTo>
                    <a:lnTo>
                      <a:pt x="338" y="167"/>
                    </a:lnTo>
                    <a:lnTo>
                      <a:pt x="340" y="169"/>
                    </a:lnTo>
                    <a:lnTo>
                      <a:pt x="340" y="167"/>
                    </a:lnTo>
                    <a:lnTo>
                      <a:pt x="342" y="163"/>
                    </a:lnTo>
                    <a:lnTo>
                      <a:pt x="346" y="144"/>
                    </a:lnTo>
                    <a:lnTo>
                      <a:pt x="347" y="140"/>
                    </a:lnTo>
                    <a:lnTo>
                      <a:pt x="347" y="139"/>
                    </a:lnTo>
                    <a:lnTo>
                      <a:pt x="349" y="137"/>
                    </a:lnTo>
                    <a:lnTo>
                      <a:pt x="353" y="133"/>
                    </a:lnTo>
                    <a:lnTo>
                      <a:pt x="355" y="131"/>
                    </a:lnTo>
                    <a:lnTo>
                      <a:pt x="355" y="131"/>
                    </a:lnTo>
                    <a:lnTo>
                      <a:pt x="355" y="129"/>
                    </a:lnTo>
                    <a:lnTo>
                      <a:pt x="355" y="129"/>
                    </a:lnTo>
                    <a:lnTo>
                      <a:pt x="355" y="129"/>
                    </a:lnTo>
                    <a:lnTo>
                      <a:pt x="357" y="129"/>
                    </a:lnTo>
                    <a:lnTo>
                      <a:pt x="357" y="129"/>
                    </a:lnTo>
                    <a:lnTo>
                      <a:pt x="359" y="129"/>
                    </a:lnTo>
                    <a:lnTo>
                      <a:pt x="359" y="129"/>
                    </a:lnTo>
                    <a:lnTo>
                      <a:pt x="359" y="129"/>
                    </a:lnTo>
                    <a:lnTo>
                      <a:pt x="359" y="127"/>
                    </a:lnTo>
                    <a:lnTo>
                      <a:pt x="359" y="125"/>
                    </a:lnTo>
                    <a:lnTo>
                      <a:pt x="361" y="125"/>
                    </a:lnTo>
                    <a:lnTo>
                      <a:pt x="363" y="125"/>
                    </a:lnTo>
                    <a:lnTo>
                      <a:pt x="367" y="121"/>
                    </a:lnTo>
                    <a:lnTo>
                      <a:pt x="370" y="118"/>
                    </a:lnTo>
                    <a:lnTo>
                      <a:pt x="370" y="114"/>
                    </a:lnTo>
                    <a:lnTo>
                      <a:pt x="372" y="112"/>
                    </a:lnTo>
                    <a:lnTo>
                      <a:pt x="374" y="110"/>
                    </a:lnTo>
                    <a:lnTo>
                      <a:pt x="384" y="101"/>
                    </a:lnTo>
                    <a:lnTo>
                      <a:pt x="389" y="97"/>
                    </a:lnTo>
                    <a:lnTo>
                      <a:pt x="391" y="95"/>
                    </a:lnTo>
                    <a:lnTo>
                      <a:pt x="393" y="87"/>
                    </a:lnTo>
                    <a:lnTo>
                      <a:pt x="393" y="81"/>
                    </a:lnTo>
                    <a:lnTo>
                      <a:pt x="393" y="8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7" name="Freeform 29">
                <a:extLst>
                  <a:ext uri="{FF2B5EF4-FFF2-40B4-BE49-F238E27FC236}">
                    <a16:creationId xmlns:a16="http://schemas.microsoft.com/office/drawing/2014/main" id="{4F905425-4FD4-4078-957D-19A0D77571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669" y="4310536"/>
                <a:ext cx="1255713" cy="995363"/>
              </a:xfrm>
              <a:custGeom>
                <a:avLst/>
                <a:gdLst>
                  <a:gd name="T0" fmla="*/ 753 w 791"/>
                  <a:gd name="T1" fmla="*/ 213 h 627"/>
                  <a:gd name="T2" fmla="*/ 696 w 791"/>
                  <a:gd name="T3" fmla="*/ 177 h 627"/>
                  <a:gd name="T4" fmla="*/ 671 w 791"/>
                  <a:gd name="T5" fmla="*/ 138 h 627"/>
                  <a:gd name="T6" fmla="*/ 658 w 791"/>
                  <a:gd name="T7" fmla="*/ 93 h 627"/>
                  <a:gd name="T8" fmla="*/ 622 w 791"/>
                  <a:gd name="T9" fmla="*/ 57 h 627"/>
                  <a:gd name="T10" fmla="*/ 622 w 791"/>
                  <a:gd name="T11" fmla="*/ 36 h 627"/>
                  <a:gd name="T12" fmla="*/ 603 w 791"/>
                  <a:gd name="T13" fmla="*/ 45 h 627"/>
                  <a:gd name="T14" fmla="*/ 543 w 791"/>
                  <a:gd name="T15" fmla="*/ 36 h 627"/>
                  <a:gd name="T16" fmla="*/ 517 w 791"/>
                  <a:gd name="T17" fmla="*/ 19 h 627"/>
                  <a:gd name="T18" fmla="*/ 475 w 791"/>
                  <a:gd name="T19" fmla="*/ 7 h 627"/>
                  <a:gd name="T20" fmla="*/ 414 w 791"/>
                  <a:gd name="T21" fmla="*/ 3 h 627"/>
                  <a:gd name="T22" fmla="*/ 355 w 791"/>
                  <a:gd name="T23" fmla="*/ 32 h 627"/>
                  <a:gd name="T24" fmla="*/ 301 w 791"/>
                  <a:gd name="T25" fmla="*/ 47 h 627"/>
                  <a:gd name="T26" fmla="*/ 128 w 791"/>
                  <a:gd name="T27" fmla="*/ 62 h 627"/>
                  <a:gd name="T28" fmla="*/ 31 w 791"/>
                  <a:gd name="T29" fmla="*/ 102 h 627"/>
                  <a:gd name="T30" fmla="*/ 8 w 791"/>
                  <a:gd name="T31" fmla="*/ 114 h 627"/>
                  <a:gd name="T32" fmla="*/ 4 w 791"/>
                  <a:gd name="T33" fmla="*/ 148 h 627"/>
                  <a:gd name="T34" fmla="*/ 63 w 791"/>
                  <a:gd name="T35" fmla="*/ 119 h 627"/>
                  <a:gd name="T36" fmla="*/ 44 w 791"/>
                  <a:gd name="T37" fmla="*/ 146 h 627"/>
                  <a:gd name="T38" fmla="*/ 38 w 791"/>
                  <a:gd name="T39" fmla="*/ 177 h 627"/>
                  <a:gd name="T40" fmla="*/ 57 w 791"/>
                  <a:gd name="T41" fmla="*/ 190 h 627"/>
                  <a:gd name="T42" fmla="*/ 160 w 791"/>
                  <a:gd name="T43" fmla="*/ 260 h 627"/>
                  <a:gd name="T44" fmla="*/ 248 w 791"/>
                  <a:gd name="T45" fmla="*/ 236 h 627"/>
                  <a:gd name="T46" fmla="*/ 276 w 791"/>
                  <a:gd name="T47" fmla="*/ 243 h 627"/>
                  <a:gd name="T48" fmla="*/ 294 w 791"/>
                  <a:gd name="T49" fmla="*/ 237 h 627"/>
                  <a:gd name="T50" fmla="*/ 215 w 791"/>
                  <a:gd name="T51" fmla="*/ 306 h 627"/>
                  <a:gd name="T52" fmla="*/ 177 w 791"/>
                  <a:gd name="T53" fmla="*/ 319 h 627"/>
                  <a:gd name="T54" fmla="*/ 128 w 791"/>
                  <a:gd name="T55" fmla="*/ 325 h 627"/>
                  <a:gd name="T56" fmla="*/ 103 w 791"/>
                  <a:gd name="T57" fmla="*/ 317 h 627"/>
                  <a:gd name="T58" fmla="*/ 175 w 791"/>
                  <a:gd name="T59" fmla="*/ 414 h 627"/>
                  <a:gd name="T60" fmla="*/ 330 w 791"/>
                  <a:gd name="T61" fmla="*/ 540 h 627"/>
                  <a:gd name="T62" fmla="*/ 427 w 791"/>
                  <a:gd name="T63" fmla="*/ 508 h 627"/>
                  <a:gd name="T64" fmla="*/ 496 w 791"/>
                  <a:gd name="T65" fmla="*/ 466 h 627"/>
                  <a:gd name="T66" fmla="*/ 509 w 791"/>
                  <a:gd name="T67" fmla="*/ 403 h 627"/>
                  <a:gd name="T68" fmla="*/ 490 w 791"/>
                  <a:gd name="T69" fmla="*/ 386 h 627"/>
                  <a:gd name="T70" fmla="*/ 496 w 791"/>
                  <a:gd name="T71" fmla="*/ 376 h 627"/>
                  <a:gd name="T72" fmla="*/ 521 w 791"/>
                  <a:gd name="T73" fmla="*/ 361 h 627"/>
                  <a:gd name="T74" fmla="*/ 524 w 791"/>
                  <a:gd name="T75" fmla="*/ 331 h 627"/>
                  <a:gd name="T76" fmla="*/ 564 w 791"/>
                  <a:gd name="T77" fmla="*/ 333 h 627"/>
                  <a:gd name="T78" fmla="*/ 566 w 791"/>
                  <a:gd name="T79" fmla="*/ 344 h 627"/>
                  <a:gd name="T80" fmla="*/ 572 w 791"/>
                  <a:gd name="T81" fmla="*/ 371 h 627"/>
                  <a:gd name="T82" fmla="*/ 584 w 791"/>
                  <a:gd name="T83" fmla="*/ 412 h 627"/>
                  <a:gd name="T84" fmla="*/ 580 w 791"/>
                  <a:gd name="T85" fmla="*/ 426 h 627"/>
                  <a:gd name="T86" fmla="*/ 559 w 791"/>
                  <a:gd name="T87" fmla="*/ 456 h 627"/>
                  <a:gd name="T88" fmla="*/ 568 w 791"/>
                  <a:gd name="T89" fmla="*/ 485 h 627"/>
                  <a:gd name="T90" fmla="*/ 585 w 791"/>
                  <a:gd name="T91" fmla="*/ 504 h 627"/>
                  <a:gd name="T92" fmla="*/ 603 w 791"/>
                  <a:gd name="T93" fmla="*/ 536 h 627"/>
                  <a:gd name="T94" fmla="*/ 580 w 791"/>
                  <a:gd name="T95" fmla="*/ 593 h 627"/>
                  <a:gd name="T96" fmla="*/ 593 w 791"/>
                  <a:gd name="T97" fmla="*/ 624 h 627"/>
                  <a:gd name="T98" fmla="*/ 610 w 791"/>
                  <a:gd name="T99" fmla="*/ 597 h 627"/>
                  <a:gd name="T100" fmla="*/ 616 w 791"/>
                  <a:gd name="T101" fmla="*/ 618 h 627"/>
                  <a:gd name="T102" fmla="*/ 654 w 791"/>
                  <a:gd name="T103" fmla="*/ 614 h 627"/>
                  <a:gd name="T104" fmla="*/ 662 w 791"/>
                  <a:gd name="T105" fmla="*/ 559 h 627"/>
                  <a:gd name="T106" fmla="*/ 681 w 791"/>
                  <a:gd name="T107" fmla="*/ 553 h 627"/>
                  <a:gd name="T108" fmla="*/ 717 w 791"/>
                  <a:gd name="T109" fmla="*/ 508 h 627"/>
                  <a:gd name="T110" fmla="*/ 690 w 791"/>
                  <a:gd name="T111" fmla="*/ 481 h 627"/>
                  <a:gd name="T112" fmla="*/ 738 w 791"/>
                  <a:gd name="T113" fmla="*/ 443 h 627"/>
                  <a:gd name="T114" fmla="*/ 753 w 791"/>
                  <a:gd name="T115" fmla="*/ 428 h 627"/>
                  <a:gd name="T116" fmla="*/ 713 w 791"/>
                  <a:gd name="T117" fmla="*/ 409 h 627"/>
                  <a:gd name="T118" fmla="*/ 746 w 791"/>
                  <a:gd name="T119" fmla="*/ 344 h 627"/>
                  <a:gd name="T120" fmla="*/ 761 w 791"/>
                  <a:gd name="T121" fmla="*/ 314 h 627"/>
                  <a:gd name="T122" fmla="*/ 782 w 791"/>
                  <a:gd name="T123" fmla="*/ 281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91" h="627">
                    <a:moveTo>
                      <a:pt x="791" y="255"/>
                    </a:moveTo>
                    <a:lnTo>
                      <a:pt x="788" y="251"/>
                    </a:lnTo>
                    <a:lnTo>
                      <a:pt x="786" y="251"/>
                    </a:lnTo>
                    <a:lnTo>
                      <a:pt x="784" y="249"/>
                    </a:lnTo>
                    <a:lnTo>
                      <a:pt x="784" y="251"/>
                    </a:lnTo>
                    <a:lnTo>
                      <a:pt x="782" y="251"/>
                    </a:lnTo>
                    <a:lnTo>
                      <a:pt x="782" y="251"/>
                    </a:lnTo>
                    <a:lnTo>
                      <a:pt x="780" y="251"/>
                    </a:lnTo>
                    <a:lnTo>
                      <a:pt x="780" y="251"/>
                    </a:lnTo>
                    <a:lnTo>
                      <a:pt x="780" y="249"/>
                    </a:lnTo>
                    <a:lnTo>
                      <a:pt x="778" y="247"/>
                    </a:lnTo>
                    <a:lnTo>
                      <a:pt x="778" y="236"/>
                    </a:lnTo>
                    <a:lnTo>
                      <a:pt x="774" y="228"/>
                    </a:lnTo>
                    <a:lnTo>
                      <a:pt x="774" y="226"/>
                    </a:lnTo>
                    <a:lnTo>
                      <a:pt x="772" y="224"/>
                    </a:lnTo>
                    <a:lnTo>
                      <a:pt x="772" y="224"/>
                    </a:lnTo>
                    <a:lnTo>
                      <a:pt x="770" y="222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67" y="218"/>
                    </a:lnTo>
                    <a:lnTo>
                      <a:pt x="767" y="216"/>
                    </a:lnTo>
                    <a:lnTo>
                      <a:pt x="765" y="215"/>
                    </a:lnTo>
                    <a:lnTo>
                      <a:pt x="763" y="213"/>
                    </a:lnTo>
                    <a:lnTo>
                      <a:pt x="759" y="211"/>
                    </a:lnTo>
                    <a:lnTo>
                      <a:pt x="759" y="209"/>
                    </a:lnTo>
                    <a:lnTo>
                      <a:pt x="757" y="209"/>
                    </a:lnTo>
                    <a:lnTo>
                      <a:pt x="755" y="211"/>
                    </a:lnTo>
                    <a:lnTo>
                      <a:pt x="755" y="211"/>
                    </a:lnTo>
                    <a:lnTo>
                      <a:pt x="753" y="213"/>
                    </a:lnTo>
                    <a:lnTo>
                      <a:pt x="753" y="213"/>
                    </a:lnTo>
                    <a:lnTo>
                      <a:pt x="751" y="211"/>
                    </a:lnTo>
                    <a:lnTo>
                      <a:pt x="749" y="211"/>
                    </a:lnTo>
                    <a:lnTo>
                      <a:pt x="748" y="207"/>
                    </a:lnTo>
                    <a:lnTo>
                      <a:pt x="748" y="205"/>
                    </a:lnTo>
                    <a:lnTo>
                      <a:pt x="748" y="203"/>
                    </a:lnTo>
                    <a:lnTo>
                      <a:pt x="748" y="201"/>
                    </a:lnTo>
                    <a:lnTo>
                      <a:pt x="748" y="199"/>
                    </a:lnTo>
                    <a:lnTo>
                      <a:pt x="746" y="197"/>
                    </a:lnTo>
                    <a:lnTo>
                      <a:pt x="744" y="197"/>
                    </a:lnTo>
                    <a:lnTo>
                      <a:pt x="738" y="194"/>
                    </a:lnTo>
                    <a:lnTo>
                      <a:pt x="734" y="188"/>
                    </a:lnTo>
                    <a:lnTo>
                      <a:pt x="728" y="184"/>
                    </a:lnTo>
                    <a:lnTo>
                      <a:pt x="727" y="184"/>
                    </a:lnTo>
                    <a:lnTo>
                      <a:pt x="727" y="184"/>
                    </a:lnTo>
                    <a:lnTo>
                      <a:pt x="727" y="184"/>
                    </a:lnTo>
                    <a:lnTo>
                      <a:pt x="725" y="186"/>
                    </a:lnTo>
                    <a:lnTo>
                      <a:pt x="725" y="186"/>
                    </a:lnTo>
                    <a:lnTo>
                      <a:pt x="725" y="188"/>
                    </a:lnTo>
                    <a:lnTo>
                      <a:pt x="725" y="188"/>
                    </a:lnTo>
                    <a:lnTo>
                      <a:pt x="723" y="188"/>
                    </a:lnTo>
                    <a:lnTo>
                      <a:pt x="723" y="188"/>
                    </a:lnTo>
                    <a:lnTo>
                      <a:pt x="721" y="188"/>
                    </a:lnTo>
                    <a:lnTo>
                      <a:pt x="719" y="188"/>
                    </a:lnTo>
                    <a:lnTo>
                      <a:pt x="715" y="184"/>
                    </a:lnTo>
                    <a:lnTo>
                      <a:pt x="711" y="177"/>
                    </a:lnTo>
                    <a:lnTo>
                      <a:pt x="711" y="175"/>
                    </a:lnTo>
                    <a:lnTo>
                      <a:pt x="709" y="175"/>
                    </a:lnTo>
                    <a:lnTo>
                      <a:pt x="707" y="175"/>
                    </a:lnTo>
                    <a:lnTo>
                      <a:pt x="698" y="177"/>
                    </a:lnTo>
                    <a:lnTo>
                      <a:pt x="696" y="177"/>
                    </a:lnTo>
                    <a:lnTo>
                      <a:pt x="694" y="175"/>
                    </a:lnTo>
                    <a:lnTo>
                      <a:pt x="692" y="173"/>
                    </a:lnTo>
                    <a:lnTo>
                      <a:pt x="686" y="175"/>
                    </a:lnTo>
                    <a:lnTo>
                      <a:pt x="686" y="173"/>
                    </a:lnTo>
                    <a:lnTo>
                      <a:pt x="688" y="169"/>
                    </a:lnTo>
                    <a:lnTo>
                      <a:pt x="688" y="167"/>
                    </a:lnTo>
                    <a:lnTo>
                      <a:pt x="688" y="165"/>
                    </a:lnTo>
                    <a:lnTo>
                      <a:pt x="686" y="163"/>
                    </a:lnTo>
                    <a:lnTo>
                      <a:pt x="686" y="161"/>
                    </a:lnTo>
                    <a:lnTo>
                      <a:pt x="686" y="159"/>
                    </a:lnTo>
                    <a:lnTo>
                      <a:pt x="686" y="158"/>
                    </a:lnTo>
                    <a:lnTo>
                      <a:pt x="686" y="154"/>
                    </a:lnTo>
                    <a:lnTo>
                      <a:pt x="686" y="152"/>
                    </a:lnTo>
                    <a:lnTo>
                      <a:pt x="683" y="148"/>
                    </a:lnTo>
                    <a:lnTo>
                      <a:pt x="681" y="148"/>
                    </a:lnTo>
                    <a:lnTo>
                      <a:pt x="679" y="148"/>
                    </a:lnTo>
                    <a:lnTo>
                      <a:pt x="679" y="148"/>
                    </a:lnTo>
                    <a:lnTo>
                      <a:pt x="675" y="150"/>
                    </a:lnTo>
                    <a:lnTo>
                      <a:pt x="675" y="152"/>
                    </a:lnTo>
                    <a:lnTo>
                      <a:pt x="673" y="152"/>
                    </a:lnTo>
                    <a:lnTo>
                      <a:pt x="671" y="152"/>
                    </a:lnTo>
                    <a:lnTo>
                      <a:pt x="671" y="152"/>
                    </a:lnTo>
                    <a:lnTo>
                      <a:pt x="671" y="150"/>
                    </a:lnTo>
                    <a:lnTo>
                      <a:pt x="671" y="148"/>
                    </a:lnTo>
                    <a:lnTo>
                      <a:pt x="671" y="144"/>
                    </a:lnTo>
                    <a:lnTo>
                      <a:pt x="671" y="142"/>
                    </a:lnTo>
                    <a:lnTo>
                      <a:pt x="673" y="140"/>
                    </a:lnTo>
                    <a:lnTo>
                      <a:pt x="673" y="140"/>
                    </a:lnTo>
                    <a:lnTo>
                      <a:pt x="673" y="138"/>
                    </a:lnTo>
                    <a:lnTo>
                      <a:pt x="671" y="138"/>
                    </a:lnTo>
                    <a:lnTo>
                      <a:pt x="671" y="137"/>
                    </a:lnTo>
                    <a:lnTo>
                      <a:pt x="669" y="137"/>
                    </a:lnTo>
                    <a:lnTo>
                      <a:pt x="667" y="137"/>
                    </a:lnTo>
                    <a:lnTo>
                      <a:pt x="666" y="135"/>
                    </a:lnTo>
                    <a:lnTo>
                      <a:pt x="664" y="135"/>
                    </a:lnTo>
                    <a:lnTo>
                      <a:pt x="662" y="133"/>
                    </a:lnTo>
                    <a:lnTo>
                      <a:pt x="662" y="131"/>
                    </a:lnTo>
                    <a:lnTo>
                      <a:pt x="662" y="129"/>
                    </a:lnTo>
                    <a:lnTo>
                      <a:pt x="660" y="127"/>
                    </a:lnTo>
                    <a:lnTo>
                      <a:pt x="660" y="127"/>
                    </a:lnTo>
                    <a:lnTo>
                      <a:pt x="658" y="127"/>
                    </a:lnTo>
                    <a:lnTo>
                      <a:pt x="654" y="127"/>
                    </a:lnTo>
                    <a:lnTo>
                      <a:pt x="654" y="127"/>
                    </a:lnTo>
                    <a:lnTo>
                      <a:pt x="654" y="125"/>
                    </a:lnTo>
                    <a:lnTo>
                      <a:pt x="654" y="119"/>
                    </a:lnTo>
                    <a:lnTo>
                      <a:pt x="654" y="118"/>
                    </a:lnTo>
                    <a:lnTo>
                      <a:pt x="654" y="114"/>
                    </a:lnTo>
                    <a:lnTo>
                      <a:pt x="654" y="112"/>
                    </a:lnTo>
                    <a:lnTo>
                      <a:pt x="654" y="112"/>
                    </a:lnTo>
                    <a:lnTo>
                      <a:pt x="656" y="110"/>
                    </a:lnTo>
                    <a:lnTo>
                      <a:pt x="658" y="108"/>
                    </a:lnTo>
                    <a:lnTo>
                      <a:pt x="660" y="108"/>
                    </a:lnTo>
                    <a:lnTo>
                      <a:pt x="662" y="106"/>
                    </a:lnTo>
                    <a:lnTo>
                      <a:pt x="662" y="106"/>
                    </a:lnTo>
                    <a:lnTo>
                      <a:pt x="662" y="102"/>
                    </a:lnTo>
                    <a:lnTo>
                      <a:pt x="660" y="99"/>
                    </a:lnTo>
                    <a:lnTo>
                      <a:pt x="658" y="97"/>
                    </a:lnTo>
                    <a:lnTo>
                      <a:pt x="658" y="97"/>
                    </a:lnTo>
                    <a:lnTo>
                      <a:pt x="658" y="97"/>
                    </a:lnTo>
                    <a:lnTo>
                      <a:pt x="658" y="93"/>
                    </a:lnTo>
                    <a:lnTo>
                      <a:pt x="658" y="91"/>
                    </a:lnTo>
                    <a:lnTo>
                      <a:pt x="658" y="89"/>
                    </a:lnTo>
                    <a:lnTo>
                      <a:pt x="652" y="83"/>
                    </a:lnTo>
                    <a:lnTo>
                      <a:pt x="652" y="81"/>
                    </a:lnTo>
                    <a:lnTo>
                      <a:pt x="650" y="83"/>
                    </a:lnTo>
                    <a:lnTo>
                      <a:pt x="650" y="85"/>
                    </a:lnTo>
                    <a:lnTo>
                      <a:pt x="648" y="87"/>
                    </a:lnTo>
                    <a:lnTo>
                      <a:pt x="648" y="89"/>
                    </a:lnTo>
                    <a:lnTo>
                      <a:pt x="646" y="91"/>
                    </a:lnTo>
                    <a:lnTo>
                      <a:pt x="645" y="91"/>
                    </a:lnTo>
                    <a:lnTo>
                      <a:pt x="641" y="95"/>
                    </a:lnTo>
                    <a:lnTo>
                      <a:pt x="639" y="95"/>
                    </a:lnTo>
                    <a:lnTo>
                      <a:pt x="637" y="93"/>
                    </a:lnTo>
                    <a:lnTo>
                      <a:pt x="635" y="89"/>
                    </a:lnTo>
                    <a:lnTo>
                      <a:pt x="635" y="89"/>
                    </a:lnTo>
                    <a:lnTo>
                      <a:pt x="633" y="87"/>
                    </a:lnTo>
                    <a:lnTo>
                      <a:pt x="633" y="85"/>
                    </a:lnTo>
                    <a:lnTo>
                      <a:pt x="633" y="85"/>
                    </a:lnTo>
                    <a:lnTo>
                      <a:pt x="629" y="83"/>
                    </a:lnTo>
                    <a:lnTo>
                      <a:pt x="629" y="83"/>
                    </a:lnTo>
                    <a:lnTo>
                      <a:pt x="627" y="79"/>
                    </a:lnTo>
                    <a:lnTo>
                      <a:pt x="625" y="79"/>
                    </a:lnTo>
                    <a:lnTo>
                      <a:pt x="624" y="78"/>
                    </a:lnTo>
                    <a:lnTo>
                      <a:pt x="622" y="78"/>
                    </a:lnTo>
                    <a:lnTo>
                      <a:pt x="622" y="76"/>
                    </a:lnTo>
                    <a:lnTo>
                      <a:pt x="620" y="72"/>
                    </a:lnTo>
                    <a:lnTo>
                      <a:pt x="618" y="70"/>
                    </a:lnTo>
                    <a:lnTo>
                      <a:pt x="618" y="68"/>
                    </a:lnTo>
                    <a:lnTo>
                      <a:pt x="618" y="66"/>
                    </a:lnTo>
                    <a:lnTo>
                      <a:pt x="622" y="57"/>
                    </a:lnTo>
                    <a:lnTo>
                      <a:pt x="624" y="57"/>
                    </a:lnTo>
                    <a:lnTo>
                      <a:pt x="624" y="55"/>
                    </a:lnTo>
                    <a:lnTo>
                      <a:pt x="625" y="55"/>
                    </a:lnTo>
                    <a:lnTo>
                      <a:pt x="625" y="53"/>
                    </a:lnTo>
                    <a:lnTo>
                      <a:pt x="625" y="51"/>
                    </a:lnTo>
                    <a:lnTo>
                      <a:pt x="625" y="51"/>
                    </a:lnTo>
                    <a:lnTo>
                      <a:pt x="625" y="51"/>
                    </a:lnTo>
                    <a:lnTo>
                      <a:pt x="627" y="51"/>
                    </a:lnTo>
                    <a:lnTo>
                      <a:pt x="629" y="51"/>
                    </a:lnTo>
                    <a:lnTo>
                      <a:pt x="631" y="51"/>
                    </a:lnTo>
                    <a:lnTo>
                      <a:pt x="633" y="51"/>
                    </a:lnTo>
                    <a:lnTo>
                      <a:pt x="633" y="51"/>
                    </a:lnTo>
                    <a:lnTo>
                      <a:pt x="635" y="49"/>
                    </a:lnTo>
                    <a:lnTo>
                      <a:pt x="635" y="49"/>
                    </a:lnTo>
                    <a:lnTo>
                      <a:pt x="635" y="47"/>
                    </a:lnTo>
                    <a:lnTo>
                      <a:pt x="635" y="45"/>
                    </a:lnTo>
                    <a:lnTo>
                      <a:pt x="635" y="43"/>
                    </a:lnTo>
                    <a:lnTo>
                      <a:pt x="635" y="43"/>
                    </a:lnTo>
                    <a:lnTo>
                      <a:pt x="633" y="43"/>
                    </a:lnTo>
                    <a:lnTo>
                      <a:pt x="631" y="45"/>
                    </a:lnTo>
                    <a:lnTo>
                      <a:pt x="631" y="45"/>
                    </a:lnTo>
                    <a:lnTo>
                      <a:pt x="631" y="45"/>
                    </a:lnTo>
                    <a:lnTo>
                      <a:pt x="629" y="45"/>
                    </a:lnTo>
                    <a:lnTo>
                      <a:pt x="624" y="43"/>
                    </a:lnTo>
                    <a:lnTo>
                      <a:pt x="622" y="43"/>
                    </a:lnTo>
                    <a:lnTo>
                      <a:pt x="622" y="41"/>
                    </a:lnTo>
                    <a:lnTo>
                      <a:pt x="620" y="41"/>
                    </a:lnTo>
                    <a:lnTo>
                      <a:pt x="620" y="40"/>
                    </a:lnTo>
                    <a:lnTo>
                      <a:pt x="620" y="40"/>
                    </a:lnTo>
                    <a:lnTo>
                      <a:pt x="622" y="36"/>
                    </a:lnTo>
                    <a:lnTo>
                      <a:pt x="622" y="34"/>
                    </a:lnTo>
                    <a:lnTo>
                      <a:pt x="622" y="30"/>
                    </a:lnTo>
                    <a:lnTo>
                      <a:pt x="622" y="30"/>
                    </a:lnTo>
                    <a:lnTo>
                      <a:pt x="622" y="28"/>
                    </a:lnTo>
                    <a:lnTo>
                      <a:pt x="620" y="28"/>
                    </a:lnTo>
                    <a:lnTo>
                      <a:pt x="620" y="28"/>
                    </a:lnTo>
                    <a:lnTo>
                      <a:pt x="620" y="28"/>
                    </a:lnTo>
                    <a:lnTo>
                      <a:pt x="618" y="28"/>
                    </a:lnTo>
                    <a:lnTo>
                      <a:pt x="616" y="28"/>
                    </a:lnTo>
                    <a:lnTo>
                      <a:pt x="612" y="28"/>
                    </a:lnTo>
                    <a:lnTo>
                      <a:pt x="610" y="30"/>
                    </a:lnTo>
                    <a:lnTo>
                      <a:pt x="608" y="30"/>
                    </a:lnTo>
                    <a:lnTo>
                      <a:pt x="608" y="30"/>
                    </a:lnTo>
                    <a:lnTo>
                      <a:pt x="608" y="30"/>
                    </a:lnTo>
                    <a:lnTo>
                      <a:pt x="606" y="32"/>
                    </a:lnTo>
                    <a:lnTo>
                      <a:pt x="606" y="32"/>
                    </a:lnTo>
                    <a:lnTo>
                      <a:pt x="604" y="34"/>
                    </a:lnTo>
                    <a:lnTo>
                      <a:pt x="604" y="34"/>
                    </a:lnTo>
                    <a:lnTo>
                      <a:pt x="604" y="36"/>
                    </a:lnTo>
                    <a:lnTo>
                      <a:pt x="604" y="38"/>
                    </a:lnTo>
                    <a:lnTo>
                      <a:pt x="604" y="38"/>
                    </a:lnTo>
                    <a:lnTo>
                      <a:pt x="604" y="38"/>
                    </a:lnTo>
                    <a:lnTo>
                      <a:pt x="604" y="40"/>
                    </a:lnTo>
                    <a:lnTo>
                      <a:pt x="604" y="40"/>
                    </a:lnTo>
                    <a:lnTo>
                      <a:pt x="604" y="40"/>
                    </a:lnTo>
                    <a:lnTo>
                      <a:pt x="604" y="41"/>
                    </a:lnTo>
                    <a:lnTo>
                      <a:pt x="604" y="41"/>
                    </a:lnTo>
                    <a:lnTo>
                      <a:pt x="604" y="43"/>
                    </a:lnTo>
                    <a:lnTo>
                      <a:pt x="603" y="43"/>
                    </a:lnTo>
                    <a:lnTo>
                      <a:pt x="603" y="45"/>
                    </a:lnTo>
                    <a:lnTo>
                      <a:pt x="603" y="45"/>
                    </a:lnTo>
                    <a:lnTo>
                      <a:pt x="599" y="47"/>
                    </a:lnTo>
                    <a:lnTo>
                      <a:pt x="597" y="47"/>
                    </a:lnTo>
                    <a:lnTo>
                      <a:pt x="595" y="47"/>
                    </a:lnTo>
                    <a:lnTo>
                      <a:pt x="591" y="45"/>
                    </a:lnTo>
                    <a:lnTo>
                      <a:pt x="587" y="45"/>
                    </a:lnTo>
                    <a:lnTo>
                      <a:pt x="584" y="45"/>
                    </a:lnTo>
                    <a:lnTo>
                      <a:pt x="576" y="45"/>
                    </a:lnTo>
                    <a:lnTo>
                      <a:pt x="576" y="45"/>
                    </a:lnTo>
                    <a:lnTo>
                      <a:pt x="574" y="43"/>
                    </a:lnTo>
                    <a:lnTo>
                      <a:pt x="572" y="41"/>
                    </a:lnTo>
                    <a:lnTo>
                      <a:pt x="570" y="41"/>
                    </a:lnTo>
                    <a:lnTo>
                      <a:pt x="570" y="40"/>
                    </a:lnTo>
                    <a:lnTo>
                      <a:pt x="568" y="36"/>
                    </a:lnTo>
                    <a:lnTo>
                      <a:pt x="568" y="36"/>
                    </a:lnTo>
                    <a:lnTo>
                      <a:pt x="566" y="34"/>
                    </a:lnTo>
                    <a:lnTo>
                      <a:pt x="566" y="34"/>
                    </a:lnTo>
                    <a:lnTo>
                      <a:pt x="564" y="32"/>
                    </a:lnTo>
                    <a:lnTo>
                      <a:pt x="563" y="32"/>
                    </a:lnTo>
                    <a:lnTo>
                      <a:pt x="561" y="32"/>
                    </a:lnTo>
                    <a:lnTo>
                      <a:pt x="559" y="32"/>
                    </a:lnTo>
                    <a:lnTo>
                      <a:pt x="553" y="28"/>
                    </a:lnTo>
                    <a:lnTo>
                      <a:pt x="551" y="26"/>
                    </a:lnTo>
                    <a:lnTo>
                      <a:pt x="549" y="26"/>
                    </a:lnTo>
                    <a:lnTo>
                      <a:pt x="547" y="28"/>
                    </a:lnTo>
                    <a:lnTo>
                      <a:pt x="547" y="28"/>
                    </a:lnTo>
                    <a:lnTo>
                      <a:pt x="547" y="28"/>
                    </a:lnTo>
                    <a:lnTo>
                      <a:pt x="545" y="28"/>
                    </a:lnTo>
                    <a:lnTo>
                      <a:pt x="545" y="28"/>
                    </a:lnTo>
                    <a:lnTo>
                      <a:pt x="543" y="36"/>
                    </a:lnTo>
                    <a:lnTo>
                      <a:pt x="543" y="38"/>
                    </a:lnTo>
                    <a:lnTo>
                      <a:pt x="543" y="38"/>
                    </a:lnTo>
                    <a:lnTo>
                      <a:pt x="543" y="38"/>
                    </a:lnTo>
                    <a:lnTo>
                      <a:pt x="542" y="38"/>
                    </a:lnTo>
                    <a:lnTo>
                      <a:pt x="542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8" y="36"/>
                    </a:lnTo>
                    <a:lnTo>
                      <a:pt x="538" y="34"/>
                    </a:lnTo>
                    <a:lnTo>
                      <a:pt x="536" y="32"/>
                    </a:lnTo>
                    <a:lnTo>
                      <a:pt x="536" y="30"/>
                    </a:lnTo>
                    <a:lnTo>
                      <a:pt x="536" y="28"/>
                    </a:lnTo>
                    <a:lnTo>
                      <a:pt x="536" y="28"/>
                    </a:lnTo>
                    <a:lnTo>
                      <a:pt x="536" y="28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2" y="24"/>
                    </a:lnTo>
                    <a:lnTo>
                      <a:pt x="532" y="24"/>
                    </a:lnTo>
                    <a:lnTo>
                      <a:pt x="530" y="26"/>
                    </a:lnTo>
                    <a:lnTo>
                      <a:pt x="528" y="26"/>
                    </a:lnTo>
                    <a:lnTo>
                      <a:pt x="528" y="24"/>
                    </a:lnTo>
                    <a:lnTo>
                      <a:pt x="526" y="24"/>
                    </a:lnTo>
                    <a:lnTo>
                      <a:pt x="526" y="22"/>
                    </a:lnTo>
                    <a:lnTo>
                      <a:pt x="526" y="22"/>
                    </a:lnTo>
                    <a:lnTo>
                      <a:pt x="526" y="21"/>
                    </a:lnTo>
                    <a:lnTo>
                      <a:pt x="524" y="21"/>
                    </a:lnTo>
                    <a:lnTo>
                      <a:pt x="522" y="21"/>
                    </a:lnTo>
                    <a:lnTo>
                      <a:pt x="521" y="21"/>
                    </a:lnTo>
                    <a:lnTo>
                      <a:pt x="519" y="21"/>
                    </a:lnTo>
                    <a:lnTo>
                      <a:pt x="517" y="19"/>
                    </a:lnTo>
                    <a:lnTo>
                      <a:pt x="515" y="17"/>
                    </a:lnTo>
                    <a:lnTo>
                      <a:pt x="515" y="17"/>
                    </a:lnTo>
                    <a:lnTo>
                      <a:pt x="515" y="15"/>
                    </a:lnTo>
                    <a:lnTo>
                      <a:pt x="515" y="15"/>
                    </a:lnTo>
                    <a:lnTo>
                      <a:pt x="515" y="15"/>
                    </a:lnTo>
                    <a:lnTo>
                      <a:pt x="517" y="13"/>
                    </a:lnTo>
                    <a:lnTo>
                      <a:pt x="522" y="13"/>
                    </a:lnTo>
                    <a:lnTo>
                      <a:pt x="522" y="13"/>
                    </a:lnTo>
                    <a:lnTo>
                      <a:pt x="524" y="13"/>
                    </a:lnTo>
                    <a:lnTo>
                      <a:pt x="524" y="11"/>
                    </a:lnTo>
                    <a:lnTo>
                      <a:pt x="524" y="11"/>
                    </a:lnTo>
                    <a:lnTo>
                      <a:pt x="524" y="9"/>
                    </a:lnTo>
                    <a:lnTo>
                      <a:pt x="524" y="9"/>
                    </a:lnTo>
                    <a:lnTo>
                      <a:pt x="522" y="9"/>
                    </a:lnTo>
                    <a:lnTo>
                      <a:pt x="521" y="9"/>
                    </a:lnTo>
                    <a:lnTo>
                      <a:pt x="517" y="9"/>
                    </a:lnTo>
                    <a:lnTo>
                      <a:pt x="509" y="11"/>
                    </a:lnTo>
                    <a:lnTo>
                      <a:pt x="505" y="11"/>
                    </a:lnTo>
                    <a:lnTo>
                      <a:pt x="496" y="7"/>
                    </a:lnTo>
                    <a:lnTo>
                      <a:pt x="494" y="5"/>
                    </a:lnTo>
                    <a:lnTo>
                      <a:pt x="492" y="1"/>
                    </a:lnTo>
                    <a:lnTo>
                      <a:pt x="490" y="1"/>
                    </a:lnTo>
                    <a:lnTo>
                      <a:pt x="490" y="0"/>
                    </a:lnTo>
                    <a:lnTo>
                      <a:pt x="488" y="0"/>
                    </a:lnTo>
                    <a:lnTo>
                      <a:pt x="481" y="1"/>
                    </a:lnTo>
                    <a:lnTo>
                      <a:pt x="481" y="1"/>
                    </a:lnTo>
                    <a:lnTo>
                      <a:pt x="481" y="3"/>
                    </a:lnTo>
                    <a:lnTo>
                      <a:pt x="479" y="5"/>
                    </a:lnTo>
                    <a:lnTo>
                      <a:pt x="477" y="5"/>
                    </a:lnTo>
                    <a:lnTo>
                      <a:pt x="475" y="7"/>
                    </a:lnTo>
                    <a:lnTo>
                      <a:pt x="473" y="7"/>
                    </a:lnTo>
                    <a:lnTo>
                      <a:pt x="471" y="7"/>
                    </a:lnTo>
                    <a:lnTo>
                      <a:pt x="469" y="5"/>
                    </a:lnTo>
                    <a:lnTo>
                      <a:pt x="469" y="3"/>
                    </a:lnTo>
                    <a:lnTo>
                      <a:pt x="467" y="3"/>
                    </a:lnTo>
                    <a:lnTo>
                      <a:pt x="467" y="3"/>
                    </a:lnTo>
                    <a:lnTo>
                      <a:pt x="465" y="3"/>
                    </a:lnTo>
                    <a:lnTo>
                      <a:pt x="463" y="3"/>
                    </a:lnTo>
                    <a:lnTo>
                      <a:pt x="461" y="5"/>
                    </a:lnTo>
                    <a:lnTo>
                      <a:pt x="461" y="5"/>
                    </a:lnTo>
                    <a:lnTo>
                      <a:pt x="461" y="7"/>
                    </a:lnTo>
                    <a:lnTo>
                      <a:pt x="461" y="9"/>
                    </a:lnTo>
                    <a:lnTo>
                      <a:pt x="461" y="9"/>
                    </a:lnTo>
                    <a:lnTo>
                      <a:pt x="461" y="9"/>
                    </a:lnTo>
                    <a:lnTo>
                      <a:pt x="460" y="9"/>
                    </a:lnTo>
                    <a:lnTo>
                      <a:pt x="456" y="9"/>
                    </a:lnTo>
                    <a:lnTo>
                      <a:pt x="456" y="7"/>
                    </a:lnTo>
                    <a:lnTo>
                      <a:pt x="454" y="7"/>
                    </a:lnTo>
                    <a:lnTo>
                      <a:pt x="454" y="5"/>
                    </a:lnTo>
                    <a:lnTo>
                      <a:pt x="454" y="3"/>
                    </a:lnTo>
                    <a:lnTo>
                      <a:pt x="452" y="3"/>
                    </a:lnTo>
                    <a:lnTo>
                      <a:pt x="439" y="7"/>
                    </a:lnTo>
                    <a:lnTo>
                      <a:pt x="437" y="7"/>
                    </a:lnTo>
                    <a:lnTo>
                      <a:pt x="435" y="5"/>
                    </a:lnTo>
                    <a:lnTo>
                      <a:pt x="435" y="5"/>
                    </a:lnTo>
                    <a:lnTo>
                      <a:pt x="431" y="3"/>
                    </a:lnTo>
                    <a:lnTo>
                      <a:pt x="429" y="3"/>
                    </a:lnTo>
                    <a:lnTo>
                      <a:pt x="425" y="3"/>
                    </a:lnTo>
                    <a:lnTo>
                      <a:pt x="416" y="3"/>
                    </a:lnTo>
                    <a:lnTo>
                      <a:pt x="414" y="3"/>
                    </a:lnTo>
                    <a:lnTo>
                      <a:pt x="412" y="3"/>
                    </a:lnTo>
                    <a:lnTo>
                      <a:pt x="408" y="7"/>
                    </a:lnTo>
                    <a:lnTo>
                      <a:pt x="406" y="7"/>
                    </a:lnTo>
                    <a:lnTo>
                      <a:pt x="404" y="9"/>
                    </a:lnTo>
                    <a:lnTo>
                      <a:pt x="402" y="7"/>
                    </a:lnTo>
                    <a:lnTo>
                      <a:pt x="400" y="7"/>
                    </a:lnTo>
                    <a:lnTo>
                      <a:pt x="399" y="5"/>
                    </a:lnTo>
                    <a:lnTo>
                      <a:pt x="395" y="7"/>
                    </a:lnTo>
                    <a:lnTo>
                      <a:pt x="393" y="7"/>
                    </a:lnTo>
                    <a:lnTo>
                      <a:pt x="391" y="9"/>
                    </a:lnTo>
                    <a:lnTo>
                      <a:pt x="389" y="9"/>
                    </a:lnTo>
                    <a:lnTo>
                      <a:pt x="387" y="9"/>
                    </a:lnTo>
                    <a:lnTo>
                      <a:pt x="385" y="9"/>
                    </a:lnTo>
                    <a:lnTo>
                      <a:pt x="374" y="7"/>
                    </a:lnTo>
                    <a:lnTo>
                      <a:pt x="368" y="3"/>
                    </a:lnTo>
                    <a:lnTo>
                      <a:pt x="364" y="1"/>
                    </a:lnTo>
                    <a:lnTo>
                      <a:pt x="366" y="3"/>
                    </a:lnTo>
                    <a:lnTo>
                      <a:pt x="362" y="5"/>
                    </a:lnTo>
                    <a:lnTo>
                      <a:pt x="355" y="9"/>
                    </a:lnTo>
                    <a:lnTo>
                      <a:pt x="353" y="13"/>
                    </a:lnTo>
                    <a:lnTo>
                      <a:pt x="353" y="17"/>
                    </a:lnTo>
                    <a:lnTo>
                      <a:pt x="353" y="21"/>
                    </a:lnTo>
                    <a:lnTo>
                      <a:pt x="355" y="22"/>
                    </a:lnTo>
                    <a:lnTo>
                      <a:pt x="355" y="24"/>
                    </a:lnTo>
                    <a:lnTo>
                      <a:pt x="355" y="24"/>
                    </a:lnTo>
                    <a:lnTo>
                      <a:pt x="355" y="26"/>
                    </a:lnTo>
                    <a:lnTo>
                      <a:pt x="355" y="26"/>
                    </a:lnTo>
                    <a:lnTo>
                      <a:pt x="355" y="30"/>
                    </a:lnTo>
                    <a:lnTo>
                      <a:pt x="355" y="30"/>
                    </a:lnTo>
                    <a:lnTo>
                      <a:pt x="355" y="32"/>
                    </a:lnTo>
                    <a:lnTo>
                      <a:pt x="355" y="32"/>
                    </a:lnTo>
                    <a:lnTo>
                      <a:pt x="355" y="34"/>
                    </a:lnTo>
                    <a:lnTo>
                      <a:pt x="358" y="36"/>
                    </a:lnTo>
                    <a:lnTo>
                      <a:pt x="362" y="36"/>
                    </a:lnTo>
                    <a:lnTo>
                      <a:pt x="366" y="38"/>
                    </a:lnTo>
                    <a:lnTo>
                      <a:pt x="368" y="41"/>
                    </a:lnTo>
                    <a:lnTo>
                      <a:pt x="366" y="41"/>
                    </a:lnTo>
                    <a:lnTo>
                      <a:pt x="360" y="43"/>
                    </a:lnTo>
                    <a:lnTo>
                      <a:pt x="358" y="45"/>
                    </a:lnTo>
                    <a:lnTo>
                      <a:pt x="358" y="47"/>
                    </a:lnTo>
                    <a:lnTo>
                      <a:pt x="357" y="49"/>
                    </a:lnTo>
                    <a:lnTo>
                      <a:pt x="355" y="49"/>
                    </a:lnTo>
                    <a:lnTo>
                      <a:pt x="353" y="47"/>
                    </a:lnTo>
                    <a:lnTo>
                      <a:pt x="349" y="47"/>
                    </a:lnTo>
                    <a:lnTo>
                      <a:pt x="347" y="47"/>
                    </a:lnTo>
                    <a:lnTo>
                      <a:pt x="339" y="53"/>
                    </a:lnTo>
                    <a:lnTo>
                      <a:pt x="338" y="55"/>
                    </a:lnTo>
                    <a:lnTo>
                      <a:pt x="338" y="59"/>
                    </a:lnTo>
                    <a:lnTo>
                      <a:pt x="339" y="60"/>
                    </a:lnTo>
                    <a:lnTo>
                      <a:pt x="339" y="60"/>
                    </a:lnTo>
                    <a:lnTo>
                      <a:pt x="338" y="60"/>
                    </a:lnTo>
                    <a:lnTo>
                      <a:pt x="334" y="62"/>
                    </a:lnTo>
                    <a:lnTo>
                      <a:pt x="330" y="64"/>
                    </a:lnTo>
                    <a:lnTo>
                      <a:pt x="326" y="66"/>
                    </a:lnTo>
                    <a:lnTo>
                      <a:pt x="311" y="64"/>
                    </a:lnTo>
                    <a:lnTo>
                      <a:pt x="305" y="62"/>
                    </a:lnTo>
                    <a:lnTo>
                      <a:pt x="303" y="60"/>
                    </a:lnTo>
                    <a:lnTo>
                      <a:pt x="303" y="59"/>
                    </a:lnTo>
                    <a:lnTo>
                      <a:pt x="301" y="53"/>
                    </a:lnTo>
                    <a:lnTo>
                      <a:pt x="301" y="47"/>
                    </a:lnTo>
                    <a:lnTo>
                      <a:pt x="301" y="45"/>
                    </a:lnTo>
                    <a:lnTo>
                      <a:pt x="301" y="45"/>
                    </a:lnTo>
                    <a:lnTo>
                      <a:pt x="303" y="43"/>
                    </a:lnTo>
                    <a:lnTo>
                      <a:pt x="305" y="41"/>
                    </a:lnTo>
                    <a:lnTo>
                      <a:pt x="303" y="40"/>
                    </a:lnTo>
                    <a:lnTo>
                      <a:pt x="297" y="40"/>
                    </a:lnTo>
                    <a:lnTo>
                      <a:pt x="284" y="41"/>
                    </a:lnTo>
                    <a:lnTo>
                      <a:pt x="278" y="45"/>
                    </a:lnTo>
                    <a:lnTo>
                      <a:pt x="276" y="47"/>
                    </a:lnTo>
                    <a:lnTo>
                      <a:pt x="269" y="47"/>
                    </a:lnTo>
                    <a:lnTo>
                      <a:pt x="267" y="49"/>
                    </a:lnTo>
                    <a:lnTo>
                      <a:pt x="263" y="51"/>
                    </a:lnTo>
                    <a:lnTo>
                      <a:pt x="259" y="53"/>
                    </a:lnTo>
                    <a:lnTo>
                      <a:pt x="257" y="53"/>
                    </a:lnTo>
                    <a:lnTo>
                      <a:pt x="250" y="55"/>
                    </a:lnTo>
                    <a:lnTo>
                      <a:pt x="246" y="55"/>
                    </a:lnTo>
                    <a:lnTo>
                      <a:pt x="244" y="57"/>
                    </a:lnTo>
                    <a:lnTo>
                      <a:pt x="242" y="59"/>
                    </a:lnTo>
                    <a:lnTo>
                      <a:pt x="240" y="66"/>
                    </a:lnTo>
                    <a:lnTo>
                      <a:pt x="238" y="70"/>
                    </a:lnTo>
                    <a:lnTo>
                      <a:pt x="235" y="74"/>
                    </a:lnTo>
                    <a:lnTo>
                      <a:pt x="229" y="74"/>
                    </a:lnTo>
                    <a:lnTo>
                      <a:pt x="204" y="76"/>
                    </a:lnTo>
                    <a:lnTo>
                      <a:pt x="196" y="74"/>
                    </a:lnTo>
                    <a:lnTo>
                      <a:pt x="191" y="72"/>
                    </a:lnTo>
                    <a:lnTo>
                      <a:pt x="181" y="60"/>
                    </a:lnTo>
                    <a:lnTo>
                      <a:pt x="177" y="59"/>
                    </a:lnTo>
                    <a:lnTo>
                      <a:pt x="141" y="59"/>
                    </a:lnTo>
                    <a:lnTo>
                      <a:pt x="133" y="62"/>
                    </a:lnTo>
                    <a:lnTo>
                      <a:pt x="128" y="62"/>
                    </a:lnTo>
                    <a:lnTo>
                      <a:pt x="126" y="62"/>
                    </a:lnTo>
                    <a:lnTo>
                      <a:pt x="118" y="59"/>
                    </a:lnTo>
                    <a:lnTo>
                      <a:pt x="114" y="57"/>
                    </a:lnTo>
                    <a:lnTo>
                      <a:pt x="113" y="59"/>
                    </a:lnTo>
                    <a:lnTo>
                      <a:pt x="107" y="60"/>
                    </a:lnTo>
                    <a:lnTo>
                      <a:pt x="105" y="62"/>
                    </a:lnTo>
                    <a:lnTo>
                      <a:pt x="103" y="62"/>
                    </a:lnTo>
                    <a:lnTo>
                      <a:pt x="101" y="60"/>
                    </a:lnTo>
                    <a:lnTo>
                      <a:pt x="97" y="55"/>
                    </a:lnTo>
                    <a:lnTo>
                      <a:pt x="97" y="55"/>
                    </a:lnTo>
                    <a:lnTo>
                      <a:pt x="95" y="53"/>
                    </a:lnTo>
                    <a:lnTo>
                      <a:pt x="95" y="53"/>
                    </a:lnTo>
                    <a:lnTo>
                      <a:pt x="93" y="53"/>
                    </a:lnTo>
                    <a:lnTo>
                      <a:pt x="92" y="55"/>
                    </a:lnTo>
                    <a:lnTo>
                      <a:pt x="92" y="55"/>
                    </a:lnTo>
                    <a:lnTo>
                      <a:pt x="92" y="57"/>
                    </a:lnTo>
                    <a:lnTo>
                      <a:pt x="88" y="64"/>
                    </a:lnTo>
                    <a:lnTo>
                      <a:pt x="86" y="64"/>
                    </a:lnTo>
                    <a:lnTo>
                      <a:pt x="84" y="62"/>
                    </a:lnTo>
                    <a:lnTo>
                      <a:pt x="84" y="55"/>
                    </a:lnTo>
                    <a:lnTo>
                      <a:pt x="82" y="53"/>
                    </a:lnTo>
                    <a:lnTo>
                      <a:pt x="74" y="51"/>
                    </a:lnTo>
                    <a:lnTo>
                      <a:pt x="72" y="57"/>
                    </a:lnTo>
                    <a:lnTo>
                      <a:pt x="72" y="68"/>
                    </a:lnTo>
                    <a:lnTo>
                      <a:pt x="72" y="83"/>
                    </a:lnTo>
                    <a:lnTo>
                      <a:pt x="72" y="102"/>
                    </a:lnTo>
                    <a:lnTo>
                      <a:pt x="63" y="102"/>
                    </a:lnTo>
                    <a:lnTo>
                      <a:pt x="50" y="102"/>
                    </a:lnTo>
                    <a:lnTo>
                      <a:pt x="36" y="102"/>
                    </a:lnTo>
                    <a:lnTo>
                      <a:pt x="31" y="102"/>
                    </a:lnTo>
                    <a:lnTo>
                      <a:pt x="25" y="106"/>
                    </a:lnTo>
                    <a:lnTo>
                      <a:pt x="25" y="104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3" y="102"/>
                    </a:lnTo>
                    <a:lnTo>
                      <a:pt x="23" y="102"/>
                    </a:lnTo>
                    <a:lnTo>
                      <a:pt x="23" y="104"/>
                    </a:lnTo>
                    <a:lnTo>
                      <a:pt x="23" y="106"/>
                    </a:lnTo>
                    <a:lnTo>
                      <a:pt x="23" y="106"/>
                    </a:lnTo>
                    <a:lnTo>
                      <a:pt x="21" y="108"/>
                    </a:lnTo>
                    <a:lnTo>
                      <a:pt x="19" y="110"/>
                    </a:lnTo>
                    <a:lnTo>
                      <a:pt x="17" y="108"/>
                    </a:lnTo>
                    <a:lnTo>
                      <a:pt x="17" y="108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3" y="106"/>
                    </a:lnTo>
                    <a:lnTo>
                      <a:pt x="13" y="108"/>
                    </a:lnTo>
                    <a:lnTo>
                      <a:pt x="13" y="110"/>
                    </a:lnTo>
                    <a:lnTo>
                      <a:pt x="13" y="110"/>
                    </a:lnTo>
                    <a:lnTo>
                      <a:pt x="13" y="110"/>
                    </a:lnTo>
                    <a:lnTo>
                      <a:pt x="13" y="112"/>
                    </a:lnTo>
                    <a:lnTo>
                      <a:pt x="13" y="112"/>
                    </a:lnTo>
                    <a:lnTo>
                      <a:pt x="13" y="112"/>
                    </a:lnTo>
                    <a:lnTo>
                      <a:pt x="13" y="112"/>
                    </a:lnTo>
                    <a:lnTo>
                      <a:pt x="11" y="112"/>
                    </a:lnTo>
                    <a:lnTo>
                      <a:pt x="11" y="112"/>
                    </a:lnTo>
                    <a:lnTo>
                      <a:pt x="11" y="112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4" y="119"/>
                    </a:lnTo>
                    <a:lnTo>
                      <a:pt x="4" y="119"/>
                    </a:lnTo>
                    <a:lnTo>
                      <a:pt x="4" y="119"/>
                    </a:lnTo>
                    <a:lnTo>
                      <a:pt x="4" y="119"/>
                    </a:lnTo>
                    <a:lnTo>
                      <a:pt x="4" y="121"/>
                    </a:lnTo>
                    <a:lnTo>
                      <a:pt x="4" y="125"/>
                    </a:lnTo>
                    <a:lnTo>
                      <a:pt x="2" y="129"/>
                    </a:lnTo>
                    <a:lnTo>
                      <a:pt x="2" y="131"/>
                    </a:lnTo>
                    <a:lnTo>
                      <a:pt x="2" y="131"/>
                    </a:lnTo>
                    <a:lnTo>
                      <a:pt x="4" y="131"/>
                    </a:lnTo>
                    <a:lnTo>
                      <a:pt x="6" y="127"/>
                    </a:lnTo>
                    <a:lnTo>
                      <a:pt x="6" y="131"/>
                    </a:lnTo>
                    <a:lnTo>
                      <a:pt x="6" y="133"/>
                    </a:lnTo>
                    <a:lnTo>
                      <a:pt x="6" y="137"/>
                    </a:lnTo>
                    <a:lnTo>
                      <a:pt x="8" y="138"/>
                    </a:lnTo>
                    <a:lnTo>
                      <a:pt x="10" y="140"/>
                    </a:lnTo>
                    <a:lnTo>
                      <a:pt x="11" y="142"/>
                    </a:lnTo>
                    <a:lnTo>
                      <a:pt x="13" y="142"/>
                    </a:lnTo>
                    <a:lnTo>
                      <a:pt x="17" y="140"/>
                    </a:lnTo>
                    <a:lnTo>
                      <a:pt x="15" y="142"/>
                    </a:lnTo>
                    <a:lnTo>
                      <a:pt x="13" y="144"/>
                    </a:lnTo>
                    <a:lnTo>
                      <a:pt x="11" y="144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8" y="144"/>
                    </a:lnTo>
                    <a:lnTo>
                      <a:pt x="6" y="144"/>
                    </a:lnTo>
                    <a:lnTo>
                      <a:pt x="4" y="144"/>
                    </a:lnTo>
                    <a:lnTo>
                      <a:pt x="4" y="146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0"/>
                    </a:lnTo>
                    <a:lnTo>
                      <a:pt x="2" y="152"/>
                    </a:lnTo>
                    <a:lnTo>
                      <a:pt x="4" y="152"/>
                    </a:lnTo>
                    <a:lnTo>
                      <a:pt x="10" y="154"/>
                    </a:lnTo>
                    <a:lnTo>
                      <a:pt x="19" y="154"/>
                    </a:lnTo>
                    <a:lnTo>
                      <a:pt x="19" y="154"/>
                    </a:lnTo>
                    <a:lnTo>
                      <a:pt x="21" y="154"/>
                    </a:lnTo>
                    <a:lnTo>
                      <a:pt x="23" y="154"/>
                    </a:lnTo>
                    <a:lnTo>
                      <a:pt x="25" y="152"/>
                    </a:lnTo>
                    <a:lnTo>
                      <a:pt x="25" y="152"/>
                    </a:lnTo>
                    <a:lnTo>
                      <a:pt x="25" y="150"/>
                    </a:lnTo>
                    <a:lnTo>
                      <a:pt x="25" y="150"/>
                    </a:lnTo>
                    <a:lnTo>
                      <a:pt x="25" y="148"/>
                    </a:lnTo>
                    <a:lnTo>
                      <a:pt x="32" y="138"/>
                    </a:lnTo>
                    <a:lnTo>
                      <a:pt x="34" y="137"/>
                    </a:lnTo>
                    <a:lnTo>
                      <a:pt x="38" y="135"/>
                    </a:lnTo>
                    <a:lnTo>
                      <a:pt x="40" y="133"/>
                    </a:lnTo>
                    <a:lnTo>
                      <a:pt x="46" y="133"/>
                    </a:lnTo>
                    <a:lnTo>
                      <a:pt x="48" y="131"/>
                    </a:lnTo>
                    <a:lnTo>
                      <a:pt x="50" y="129"/>
                    </a:lnTo>
                    <a:lnTo>
                      <a:pt x="51" y="129"/>
                    </a:lnTo>
                    <a:lnTo>
                      <a:pt x="55" y="127"/>
                    </a:lnTo>
                    <a:lnTo>
                      <a:pt x="57" y="127"/>
                    </a:lnTo>
                    <a:lnTo>
                      <a:pt x="57" y="125"/>
                    </a:lnTo>
                    <a:lnTo>
                      <a:pt x="59" y="121"/>
                    </a:lnTo>
                    <a:lnTo>
                      <a:pt x="61" y="119"/>
                    </a:lnTo>
                    <a:lnTo>
                      <a:pt x="63" y="119"/>
                    </a:lnTo>
                    <a:lnTo>
                      <a:pt x="69" y="119"/>
                    </a:lnTo>
                    <a:lnTo>
                      <a:pt x="71" y="119"/>
                    </a:lnTo>
                    <a:lnTo>
                      <a:pt x="74" y="118"/>
                    </a:lnTo>
                    <a:lnTo>
                      <a:pt x="78" y="114"/>
                    </a:lnTo>
                    <a:lnTo>
                      <a:pt x="80" y="114"/>
                    </a:lnTo>
                    <a:lnTo>
                      <a:pt x="82" y="114"/>
                    </a:lnTo>
                    <a:lnTo>
                      <a:pt x="84" y="114"/>
                    </a:lnTo>
                    <a:lnTo>
                      <a:pt x="78" y="119"/>
                    </a:lnTo>
                    <a:lnTo>
                      <a:pt x="76" y="119"/>
                    </a:lnTo>
                    <a:lnTo>
                      <a:pt x="74" y="119"/>
                    </a:lnTo>
                    <a:lnTo>
                      <a:pt x="72" y="121"/>
                    </a:lnTo>
                    <a:lnTo>
                      <a:pt x="71" y="123"/>
                    </a:lnTo>
                    <a:lnTo>
                      <a:pt x="67" y="121"/>
                    </a:lnTo>
                    <a:lnTo>
                      <a:pt x="65" y="123"/>
                    </a:lnTo>
                    <a:lnTo>
                      <a:pt x="63" y="125"/>
                    </a:lnTo>
                    <a:lnTo>
                      <a:pt x="61" y="129"/>
                    </a:lnTo>
                    <a:lnTo>
                      <a:pt x="57" y="131"/>
                    </a:lnTo>
                    <a:lnTo>
                      <a:pt x="55" y="133"/>
                    </a:lnTo>
                    <a:lnTo>
                      <a:pt x="51" y="137"/>
                    </a:lnTo>
                    <a:lnTo>
                      <a:pt x="50" y="140"/>
                    </a:lnTo>
                    <a:lnTo>
                      <a:pt x="48" y="140"/>
                    </a:lnTo>
                    <a:lnTo>
                      <a:pt x="48" y="142"/>
                    </a:lnTo>
                    <a:lnTo>
                      <a:pt x="44" y="142"/>
                    </a:lnTo>
                    <a:lnTo>
                      <a:pt x="42" y="142"/>
                    </a:lnTo>
                    <a:lnTo>
                      <a:pt x="40" y="144"/>
                    </a:lnTo>
                    <a:lnTo>
                      <a:pt x="40" y="144"/>
                    </a:lnTo>
                    <a:lnTo>
                      <a:pt x="40" y="146"/>
                    </a:lnTo>
                    <a:lnTo>
                      <a:pt x="42" y="146"/>
                    </a:lnTo>
                    <a:lnTo>
                      <a:pt x="42" y="146"/>
                    </a:lnTo>
                    <a:lnTo>
                      <a:pt x="44" y="146"/>
                    </a:lnTo>
                    <a:lnTo>
                      <a:pt x="44" y="150"/>
                    </a:lnTo>
                    <a:lnTo>
                      <a:pt x="40" y="150"/>
                    </a:lnTo>
                    <a:lnTo>
                      <a:pt x="34" y="148"/>
                    </a:lnTo>
                    <a:lnTo>
                      <a:pt x="32" y="150"/>
                    </a:lnTo>
                    <a:lnTo>
                      <a:pt x="32" y="152"/>
                    </a:lnTo>
                    <a:lnTo>
                      <a:pt x="32" y="159"/>
                    </a:lnTo>
                    <a:lnTo>
                      <a:pt x="32" y="165"/>
                    </a:lnTo>
                    <a:lnTo>
                      <a:pt x="32" y="167"/>
                    </a:lnTo>
                    <a:lnTo>
                      <a:pt x="36" y="167"/>
                    </a:lnTo>
                    <a:lnTo>
                      <a:pt x="38" y="165"/>
                    </a:lnTo>
                    <a:lnTo>
                      <a:pt x="38" y="163"/>
                    </a:lnTo>
                    <a:lnTo>
                      <a:pt x="36" y="161"/>
                    </a:lnTo>
                    <a:lnTo>
                      <a:pt x="36" y="159"/>
                    </a:lnTo>
                    <a:lnTo>
                      <a:pt x="36" y="159"/>
                    </a:lnTo>
                    <a:lnTo>
                      <a:pt x="38" y="161"/>
                    </a:lnTo>
                    <a:lnTo>
                      <a:pt x="38" y="163"/>
                    </a:lnTo>
                    <a:lnTo>
                      <a:pt x="40" y="163"/>
                    </a:lnTo>
                    <a:lnTo>
                      <a:pt x="40" y="161"/>
                    </a:lnTo>
                    <a:lnTo>
                      <a:pt x="42" y="161"/>
                    </a:lnTo>
                    <a:lnTo>
                      <a:pt x="42" y="163"/>
                    </a:lnTo>
                    <a:lnTo>
                      <a:pt x="40" y="165"/>
                    </a:lnTo>
                    <a:lnTo>
                      <a:pt x="38" y="167"/>
                    </a:lnTo>
                    <a:lnTo>
                      <a:pt x="36" y="171"/>
                    </a:lnTo>
                    <a:lnTo>
                      <a:pt x="34" y="173"/>
                    </a:lnTo>
                    <a:lnTo>
                      <a:pt x="36" y="175"/>
                    </a:lnTo>
                    <a:lnTo>
                      <a:pt x="36" y="175"/>
                    </a:lnTo>
                    <a:lnTo>
                      <a:pt x="38" y="175"/>
                    </a:lnTo>
                    <a:lnTo>
                      <a:pt x="40" y="173"/>
                    </a:lnTo>
                    <a:lnTo>
                      <a:pt x="40" y="175"/>
                    </a:lnTo>
                    <a:lnTo>
                      <a:pt x="38" y="177"/>
                    </a:lnTo>
                    <a:lnTo>
                      <a:pt x="40" y="178"/>
                    </a:lnTo>
                    <a:lnTo>
                      <a:pt x="40" y="178"/>
                    </a:lnTo>
                    <a:lnTo>
                      <a:pt x="42" y="178"/>
                    </a:lnTo>
                    <a:lnTo>
                      <a:pt x="44" y="177"/>
                    </a:lnTo>
                    <a:lnTo>
                      <a:pt x="44" y="177"/>
                    </a:lnTo>
                    <a:lnTo>
                      <a:pt x="46" y="177"/>
                    </a:lnTo>
                    <a:lnTo>
                      <a:pt x="48" y="177"/>
                    </a:lnTo>
                    <a:lnTo>
                      <a:pt x="48" y="177"/>
                    </a:lnTo>
                    <a:lnTo>
                      <a:pt x="48" y="177"/>
                    </a:lnTo>
                    <a:lnTo>
                      <a:pt x="50" y="178"/>
                    </a:lnTo>
                    <a:lnTo>
                      <a:pt x="48" y="178"/>
                    </a:lnTo>
                    <a:lnTo>
                      <a:pt x="46" y="178"/>
                    </a:lnTo>
                    <a:lnTo>
                      <a:pt x="46" y="178"/>
                    </a:lnTo>
                    <a:lnTo>
                      <a:pt x="46" y="180"/>
                    </a:lnTo>
                    <a:lnTo>
                      <a:pt x="46" y="182"/>
                    </a:lnTo>
                    <a:lnTo>
                      <a:pt x="46" y="184"/>
                    </a:lnTo>
                    <a:lnTo>
                      <a:pt x="48" y="184"/>
                    </a:lnTo>
                    <a:lnTo>
                      <a:pt x="50" y="184"/>
                    </a:lnTo>
                    <a:lnTo>
                      <a:pt x="50" y="184"/>
                    </a:lnTo>
                    <a:lnTo>
                      <a:pt x="50" y="184"/>
                    </a:lnTo>
                    <a:lnTo>
                      <a:pt x="51" y="184"/>
                    </a:lnTo>
                    <a:lnTo>
                      <a:pt x="51" y="184"/>
                    </a:lnTo>
                    <a:lnTo>
                      <a:pt x="51" y="184"/>
                    </a:lnTo>
                    <a:lnTo>
                      <a:pt x="51" y="186"/>
                    </a:lnTo>
                    <a:lnTo>
                      <a:pt x="53" y="186"/>
                    </a:lnTo>
                    <a:lnTo>
                      <a:pt x="53" y="186"/>
                    </a:lnTo>
                    <a:lnTo>
                      <a:pt x="55" y="188"/>
                    </a:lnTo>
                    <a:lnTo>
                      <a:pt x="57" y="188"/>
                    </a:lnTo>
                    <a:lnTo>
                      <a:pt x="57" y="190"/>
                    </a:lnTo>
                    <a:lnTo>
                      <a:pt x="57" y="190"/>
                    </a:lnTo>
                    <a:lnTo>
                      <a:pt x="53" y="190"/>
                    </a:lnTo>
                    <a:lnTo>
                      <a:pt x="51" y="190"/>
                    </a:lnTo>
                    <a:lnTo>
                      <a:pt x="50" y="196"/>
                    </a:lnTo>
                    <a:lnTo>
                      <a:pt x="51" y="197"/>
                    </a:lnTo>
                    <a:lnTo>
                      <a:pt x="53" y="199"/>
                    </a:lnTo>
                    <a:lnTo>
                      <a:pt x="57" y="197"/>
                    </a:lnTo>
                    <a:lnTo>
                      <a:pt x="59" y="197"/>
                    </a:lnTo>
                    <a:lnTo>
                      <a:pt x="59" y="199"/>
                    </a:lnTo>
                    <a:lnTo>
                      <a:pt x="59" y="199"/>
                    </a:lnTo>
                    <a:lnTo>
                      <a:pt x="57" y="203"/>
                    </a:lnTo>
                    <a:lnTo>
                      <a:pt x="57" y="201"/>
                    </a:lnTo>
                    <a:lnTo>
                      <a:pt x="55" y="201"/>
                    </a:lnTo>
                    <a:lnTo>
                      <a:pt x="57" y="203"/>
                    </a:lnTo>
                    <a:lnTo>
                      <a:pt x="57" y="205"/>
                    </a:lnTo>
                    <a:lnTo>
                      <a:pt x="59" y="207"/>
                    </a:lnTo>
                    <a:lnTo>
                      <a:pt x="63" y="209"/>
                    </a:lnTo>
                    <a:lnTo>
                      <a:pt x="63" y="211"/>
                    </a:lnTo>
                    <a:lnTo>
                      <a:pt x="63" y="211"/>
                    </a:lnTo>
                    <a:lnTo>
                      <a:pt x="63" y="213"/>
                    </a:lnTo>
                    <a:lnTo>
                      <a:pt x="65" y="213"/>
                    </a:lnTo>
                    <a:lnTo>
                      <a:pt x="69" y="216"/>
                    </a:lnTo>
                    <a:lnTo>
                      <a:pt x="90" y="232"/>
                    </a:lnTo>
                    <a:lnTo>
                      <a:pt x="113" y="241"/>
                    </a:lnTo>
                    <a:lnTo>
                      <a:pt x="124" y="249"/>
                    </a:lnTo>
                    <a:lnTo>
                      <a:pt x="132" y="255"/>
                    </a:lnTo>
                    <a:lnTo>
                      <a:pt x="137" y="255"/>
                    </a:lnTo>
                    <a:lnTo>
                      <a:pt x="149" y="256"/>
                    </a:lnTo>
                    <a:lnTo>
                      <a:pt x="153" y="258"/>
                    </a:lnTo>
                    <a:lnTo>
                      <a:pt x="158" y="258"/>
                    </a:lnTo>
                    <a:lnTo>
                      <a:pt x="160" y="260"/>
                    </a:lnTo>
                    <a:lnTo>
                      <a:pt x="166" y="262"/>
                    </a:lnTo>
                    <a:lnTo>
                      <a:pt x="166" y="262"/>
                    </a:lnTo>
                    <a:lnTo>
                      <a:pt x="168" y="262"/>
                    </a:lnTo>
                    <a:lnTo>
                      <a:pt x="168" y="262"/>
                    </a:lnTo>
                    <a:lnTo>
                      <a:pt x="170" y="264"/>
                    </a:lnTo>
                    <a:lnTo>
                      <a:pt x="172" y="264"/>
                    </a:lnTo>
                    <a:lnTo>
                      <a:pt x="175" y="264"/>
                    </a:lnTo>
                    <a:lnTo>
                      <a:pt x="177" y="264"/>
                    </a:lnTo>
                    <a:lnTo>
                      <a:pt x="179" y="266"/>
                    </a:lnTo>
                    <a:lnTo>
                      <a:pt x="181" y="266"/>
                    </a:lnTo>
                    <a:lnTo>
                      <a:pt x="189" y="266"/>
                    </a:lnTo>
                    <a:lnTo>
                      <a:pt x="195" y="268"/>
                    </a:lnTo>
                    <a:lnTo>
                      <a:pt x="196" y="268"/>
                    </a:lnTo>
                    <a:lnTo>
                      <a:pt x="198" y="268"/>
                    </a:lnTo>
                    <a:lnTo>
                      <a:pt x="202" y="260"/>
                    </a:lnTo>
                    <a:lnTo>
                      <a:pt x="204" y="256"/>
                    </a:lnTo>
                    <a:lnTo>
                      <a:pt x="208" y="255"/>
                    </a:lnTo>
                    <a:lnTo>
                      <a:pt x="212" y="253"/>
                    </a:lnTo>
                    <a:lnTo>
                      <a:pt x="214" y="253"/>
                    </a:lnTo>
                    <a:lnTo>
                      <a:pt x="217" y="251"/>
                    </a:lnTo>
                    <a:lnTo>
                      <a:pt x="225" y="249"/>
                    </a:lnTo>
                    <a:lnTo>
                      <a:pt x="233" y="249"/>
                    </a:lnTo>
                    <a:lnTo>
                      <a:pt x="240" y="245"/>
                    </a:lnTo>
                    <a:lnTo>
                      <a:pt x="248" y="243"/>
                    </a:lnTo>
                    <a:lnTo>
                      <a:pt x="250" y="243"/>
                    </a:lnTo>
                    <a:lnTo>
                      <a:pt x="248" y="241"/>
                    </a:lnTo>
                    <a:lnTo>
                      <a:pt x="248" y="239"/>
                    </a:lnTo>
                    <a:lnTo>
                      <a:pt x="246" y="239"/>
                    </a:lnTo>
                    <a:lnTo>
                      <a:pt x="248" y="234"/>
                    </a:lnTo>
                    <a:lnTo>
                      <a:pt x="248" y="236"/>
                    </a:lnTo>
                    <a:lnTo>
                      <a:pt x="248" y="237"/>
                    </a:lnTo>
                    <a:lnTo>
                      <a:pt x="248" y="237"/>
                    </a:lnTo>
                    <a:lnTo>
                      <a:pt x="250" y="237"/>
                    </a:lnTo>
                    <a:lnTo>
                      <a:pt x="250" y="237"/>
                    </a:lnTo>
                    <a:lnTo>
                      <a:pt x="252" y="239"/>
                    </a:lnTo>
                    <a:lnTo>
                      <a:pt x="252" y="239"/>
                    </a:lnTo>
                    <a:lnTo>
                      <a:pt x="252" y="239"/>
                    </a:lnTo>
                    <a:lnTo>
                      <a:pt x="252" y="241"/>
                    </a:lnTo>
                    <a:lnTo>
                      <a:pt x="254" y="241"/>
                    </a:lnTo>
                    <a:lnTo>
                      <a:pt x="254" y="239"/>
                    </a:lnTo>
                    <a:lnTo>
                      <a:pt x="254" y="239"/>
                    </a:lnTo>
                    <a:lnTo>
                      <a:pt x="257" y="239"/>
                    </a:lnTo>
                    <a:lnTo>
                      <a:pt x="259" y="239"/>
                    </a:lnTo>
                    <a:lnTo>
                      <a:pt x="261" y="237"/>
                    </a:lnTo>
                    <a:lnTo>
                      <a:pt x="261" y="234"/>
                    </a:lnTo>
                    <a:lnTo>
                      <a:pt x="263" y="236"/>
                    </a:lnTo>
                    <a:lnTo>
                      <a:pt x="265" y="237"/>
                    </a:lnTo>
                    <a:lnTo>
                      <a:pt x="265" y="239"/>
                    </a:lnTo>
                    <a:lnTo>
                      <a:pt x="269" y="239"/>
                    </a:lnTo>
                    <a:lnTo>
                      <a:pt x="269" y="239"/>
                    </a:lnTo>
                    <a:lnTo>
                      <a:pt x="269" y="241"/>
                    </a:lnTo>
                    <a:lnTo>
                      <a:pt x="271" y="241"/>
                    </a:lnTo>
                    <a:lnTo>
                      <a:pt x="271" y="241"/>
                    </a:lnTo>
                    <a:lnTo>
                      <a:pt x="271" y="241"/>
                    </a:lnTo>
                    <a:lnTo>
                      <a:pt x="273" y="241"/>
                    </a:lnTo>
                    <a:lnTo>
                      <a:pt x="273" y="241"/>
                    </a:lnTo>
                    <a:lnTo>
                      <a:pt x="273" y="241"/>
                    </a:lnTo>
                    <a:lnTo>
                      <a:pt x="275" y="241"/>
                    </a:lnTo>
                    <a:lnTo>
                      <a:pt x="275" y="243"/>
                    </a:lnTo>
                    <a:lnTo>
                      <a:pt x="276" y="243"/>
                    </a:lnTo>
                    <a:lnTo>
                      <a:pt x="276" y="243"/>
                    </a:lnTo>
                    <a:lnTo>
                      <a:pt x="276" y="243"/>
                    </a:lnTo>
                    <a:lnTo>
                      <a:pt x="278" y="241"/>
                    </a:lnTo>
                    <a:lnTo>
                      <a:pt x="280" y="241"/>
                    </a:lnTo>
                    <a:lnTo>
                      <a:pt x="282" y="241"/>
                    </a:lnTo>
                    <a:lnTo>
                      <a:pt x="282" y="241"/>
                    </a:lnTo>
                    <a:lnTo>
                      <a:pt x="282" y="239"/>
                    </a:lnTo>
                    <a:lnTo>
                      <a:pt x="282" y="237"/>
                    </a:lnTo>
                    <a:lnTo>
                      <a:pt x="282" y="236"/>
                    </a:lnTo>
                    <a:lnTo>
                      <a:pt x="282" y="236"/>
                    </a:lnTo>
                    <a:lnTo>
                      <a:pt x="282" y="234"/>
                    </a:lnTo>
                    <a:lnTo>
                      <a:pt x="284" y="230"/>
                    </a:lnTo>
                    <a:lnTo>
                      <a:pt x="282" y="230"/>
                    </a:lnTo>
                    <a:lnTo>
                      <a:pt x="282" y="228"/>
                    </a:lnTo>
                    <a:lnTo>
                      <a:pt x="282" y="226"/>
                    </a:lnTo>
                    <a:lnTo>
                      <a:pt x="282" y="224"/>
                    </a:lnTo>
                    <a:lnTo>
                      <a:pt x="284" y="222"/>
                    </a:lnTo>
                    <a:lnTo>
                      <a:pt x="288" y="218"/>
                    </a:lnTo>
                    <a:lnTo>
                      <a:pt x="290" y="218"/>
                    </a:lnTo>
                    <a:lnTo>
                      <a:pt x="290" y="216"/>
                    </a:lnTo>
                    <a:lnTo>
                      <a:pt x="294" y="216"/>
                    </a:lnTo>
                    <a:lnTo>
                      <a:pt x="296" y="220"/>
                    </a:lnTo>
                    <a:lnTo>
                      <a:pt x="297" y="222"/>
                    </a:lnTo>
                    <a:lnTo>
                      <a:pt x="297" y="224"/>
                    </a:lnTo>
                    <a:lnTo>
                      <a:pt x="299" y="228"/>
                    </a:lnTo>
                    <a:lnTo>
                      <a:pt x="297" y="230"/>
                    </a:lnTo>
                    <a:lnTo>
                      <a:pt x="297" y="234"/>
                    </a:lnTo>
                    <a:lnTo>
                      <a:pt x="296" y="234"/>
                    </a:lnTo>
                    <a:lnTo>
                      <a:pt x="296" y="236"/>
                    </a:lnTo>
                    <a:lnTo>
                      <a:pt x="294" y="237"/>
                    </a:lnTo>
                    <a:lnTo>
                      <a:pt x="294" y="239"/>
                    </a:lnTo>
                    <a:lnTo>
                      <a:pt x="292" y="239"/>
                    </a:lnTo>
                    <a:lnTo>
                      <a:pt x="290" y="237"/>
                    </a:lnTo>
                    <a:lnTo>
                      <a:pt x="290" y="237"/>
                    </a:lnTo>
                    <a:lnTo>
                      <a:pt x="286" y="239"/>
                    </a:lnTo>
                    <a:lnTo>
                      <a:pt x="282" y="245"/>
                    </a:lnTo>
                    <a:lnTo>
                      <a:pt x="280" y="245"/>
                    </a:lnTo>
                    <a:lnTo>
                      <a:pt x="278" y="247"/>
                    </a:lnTo>
                    <a:lnTo>
                      <a:pt x="275" y="255"/>
                    </a:lnTo>
                    <a:lnTo>
                      <a:pt x="273" y="256"/>
                    </a:lnTo>
                    <a:lnTo>
                      <a:pt x="273" y="258"/>
                    </a:lnTo>
                    <a:lnTo>
                      <a:pt x="273" y="258"/>
                    </a:lnTo>
                    <a:lnTo>
                      <a:pt x="273" y="262"/>
                    </a:lnTo>
                    <a:lnTo>
                      <a:pt x="273" y="264"/>
                    </a:lnTo>
                    <a:lnTo>
                      <a:pt x="265" y="274"/>
                    </a:lnTo>
                    <a:lnTo>
                      <a:pt x="261" y="281"/>
                    </a:lnTo>
                    <a:lnTo>
                      <a:pt x="257" y="285"/>
                    </a:lnTo>
                    <a:lnTo>
                      <a:pt x="256" y="291"/>
                    </a:lnTo>
                    <a:lnTo>
                      <a:pt x="254" y="293"/>
                    </a:lnTo>
                    <a:lnTo>
                      <a:pt x="250" y="294"/>
                    </a:lnTo>
                    <a:lnTo>
                      <a:pt x="240" y="294"/>
                    </a:lnTo>
                    <a:lnTo>
                      <a:pt x="235" y="294"/>
                    </a:lnTo>
                    <a:lnTo>
                      <a:pt x="233" y="296"/>
                    </a:lnTo>
                    <a:lnTo>
                      <a:pt x="233" y="296"/>
                    </a:lnTo>
                    <a:lnTo>
                      <a:pt x="229" y="296"/>
                    </a:lnTo>
                    <a:lnTo>
                      <a:pt x="229" y="296"/>
                    </a:lnTo>
                    <a:lnTo>
                      <a:pt x="227" y="296"/>
                    </a:lnTo>
                    <a:lnTo>
                      <a:pt x="221" y="304"/>
                    </a:lnTo>
                    <a:lnTo>
                      <a:pt x="217" y="306"/>
                    </a:lnTo>
                    <a:lnTo>
                      <a:pt x="215" y="306"/>
                    </a:lnTo>
                    <a:lnTo>
                      <a:pt x="214" y="306"/>
                    </a:lnTo>
                    <a:lnTo>
                      <a:pt x="212" y="306"/>
                    </a:lnTo>
                    <a:lnTo>
                      <a:pt x="212" y="306"/>
                    </a:lnTo>
                    <a:lnTo>
                      <a:pt x="210" y="308"/>
                    </a:lnTo>
                    <a:lnTo>
                      <a:pt x="210" y="310"/>
                    </a:lnTo>
                    <a:lnTo>
                      <a:pt x="208" y="312"/>
                    </a:lnTo>
                    <a:lnTo>
                      <a:pt x="208" y="312"/>
                    </a:lnTo>
                    <a:lnTo>
                      <a:pt x="206" y="312"/>
                    </a:lnTo>
                    <a:lnTo>
                      <a:pt x="206" y="312"/>
                    </a:lnTo>
                    <a:lnTo>
                      <a:pt x="200" y="306"/>
                    </a:lnTo>
                    <a:lnTo>
                      <a:pt x="198" y="304"/>
                    </a:lnTo>
                    <a:lnTo>
                      <a:pt x="198" y="306"/>
                    </a:lnTo>
                    <a:lnTo>
                      <a:pt x="196" y="312"/>
                    </a:lnTo>
                    <a:lnTo>
                      <a:pt x="195" y="314"/>
                    </a:lnTo>
                    <a:lnTo>
                      <a:pt x="195" y="315"/>
                    </a:lnTo>
                    <a:lnTo>
                      <a:pt x="193" y="314"/>
                    </a:lnTo>
                    <a:lnTo>
                      <a:pt x="191" y="314"/>
                    </a:lnTo>
                    <a:lnTo>
                      <a:pt x="191" y="314"/>
                    </a:lnTo>
                    <a:lnTo>
                      <a:pt x="191" y="314"/>
                    </a:lnTo>
                    <a:lnTo>
                      <a:pt x="189" y="315"/>
                    </a:lnTo>
                    <a:lnTo>
                      <a:pt x="189" y="315"/>
                    </a:lnTo>
                    <a:lnTo>
                      <a:pt x="189" y="317"/>
                    </a:lnTo>
                    <a:lnTo>
                      <a:pt x="189" y="317"/>
                    </a:lnTo>
                    <a:lnTo>
                      <a:pt x="187" y="319"/>
                    </a:lnTo>
                    <a:lnTo>
                      <a:pt x="185" y="317"/>
                    </a:lnTo>
                    <a:lnTo>
                      <a:pt x="185" y="319"/>
                    </a:lnTo>
                    <a:lnTo>
                      <a:pt x="185" y="319"/>
                    </a:lnTo>
                    <a:lnTo>
                      <a:pt x="185" y="321"/>
                    </a:lnTo>
                    <a:lnTo>
                      <a:pt x="183" y="319"/>
                    </a:lnTo>
                    <a:lnTo>
                      <a:pt x="177" y="319"/>
                    </a:lnTo>
                    <a:lnTo>
                      <a:pt x="175" y="317"/>
                    </a:lnTo>
                    <a:lnTo>
                      <a:pt x="177" y="315"/>
                    </a:lnTo>
                    <a:lnTo>
                      <a:pt x="177" y="314"/>
                    </a:lnTo>
                    <a:lnTo>
                      <a:pt x="175" y="308"/>
                    </a:lnTo>
                    <a:lnTo>
                      <a:pt x="175" y="308"/>
                    </a:lnTo>
                    <a:lnTo>
                      <a:pt x="174" y="310"/>
                    </a:lnTo>
                    <a:lnTo>
                      <a:pt x="172" y="308"/>
                    </a:lnTo>
                    <a:lnTo>
                      <a:pt x="172" y="308"/>
                    </a:lnTo>
                    <a:lnTo>
                      <a:pt x="172" y="312"/>
                    </a:lnTo>
                    <a:lnTo>
                      <a:pt x="172" y="314"/>
                    </a:lnTo>
                    <a:lnTo>
                      <a:pt x="172" y="315"/>
                    </a:lnTo>
                    <a:lnTo>
                      <a:pt x="174" y="315"/>
                    </a:lnTo>
                    <a:lnTo>
                      <a:pt x="172" y="317"/>
                    </a:lnTo>
                    <a:lnTo>
                      <a:pt x="172" y="319"/>
                    </a:lnTo>
                    <a:lnTo>
                      <a:pt x="170" y="319"/>
                    </a:lnTo>
                    <a:lnTo>
                      <a:pt x="170" y="319"/>
                    </a:lnTo>
                    <a:lnTo>
                      <a:pt x="170" y="319"/>
                    </a:lnTo>
                    <a:lnTo>
                      <a:pt x="168" y="323"/>
                    </a:lnTo>
                    <a:lnTo>
                      <a:pt x="168" y="323"/>
                    </a:lnTo>
                    <a:lnTo>
                      <a:pt x="166" y="323"/>
                    </a:lnTo>
                    <a:lnTo>
                      <a:pt x="162" y="325"/>
                    </a:lnTo>
                    <a:lnTo>
                      <a:pt x="153" y="325"/>
                    </a:lnTo>
                    <a:lnTo>
                      <a:pt x="151" y="325"/>
                    </a:lnTo>
                    <a:lnTo>
                      <a:pt x="149" y="327"/>
                    </a:lnTo>
                    <a:lnTo>
                      <a:pt x="143" y="331"/>
                    </a:lnTo>
                    <a:lnTo>
                      <a:pt x="133" y="333"/>
                    </a:lnTo>
                    <a:lnTo>
                      <a:pt x="133" y="331"/>
                    </a:lnTo>
                    <a:lnTo>
                      <a:pt x="132" y="329"/>
                    </a:lnTo>
                    <a:lnTo>
                      <a:pt x="128" y="327"/>
                    </a:lnTo>
                    <a:lnTo>
                      <a:pt x="128" y="325"/>
                    </a:lnTo>
                    <a:lnTo>
                      <a:pt x="130" y="321"/>
                    </a:lnTo>
                    <a:lnTo>
                      <a:pt x="130" y="319"/>
                    </a:lnTo>
                    <a:lnTo>
                      <a:pt x="133" y="315"/>
                    </a:lnTo>
                    <a:lnTo>
                      <a:pt x="132" y="314"/>
                    </a:lnTo>
                    <a:lnTo>
                      <a:pt x="130" y="312"/>
                    </a:lnTo>
                    <a:lnTo>
                      <a:pt x="130" y="312"/>
                    </a:lnTo>
                    <a:lnTo>
                      <a:pt x="128" y="312"/>
                    </a:lnTo>
                    <a:lnTo>
                      <a:pt x="126" y="314"/>
                    </a:lnTo>
                    <a:lnTo>
                      <a:pt x="126" y="314"/>
                    </a:lnTo>
                    <a:lnTo>
                      <a:pt x="124" y="314"/>
                    </a:lnTo>
                    <a:lnTo>
                      <a:pt x="124" y="314"/>
                    </a:lnTo>
                    <a:lnTo>
                      <a:pt x="122" y="314"/>
                    </a:lnTo>
                    <a:lnTo>
                      <a:pt x="120" y="314"/>
                    </a:lnTo>
                    <a:lnTo>
                      <a:pt x="118" y="315"/>
                    </a:lnTo>
                    <a:lnTo>
                      <a:pt x="118" y="315"/>
                    </a:lnTo>
                    <a:lnTo>
                      <a:pt x="116" y="315"/>
                    </a:lnTo>
                    <a:lnTo>
                      <a:pt x="114" y="314"/>
                    </a:lnTo>
                    <a:lnTo>
                      <a:pt x="113" y="312"/>
                    </a:lnTo>
                    <a:lnTo>
                      <a:pt x="114" y="310"/>
                    </a:lnTo>
                    <a:lnTo>
                      <a:pt x="116" y="308"/>
                    </a:lnTo>
                    <a:lnTo>
                      <a:pt x="116" y="308"/>
                    </a:lnTo>
                    <a:lnTo>
                      <a:pt x="118" y="306"/>
                    </a:lnTo>
                    <a:lnTo>
                      <a:pt x="116" y="304"/>
                    </a:lnTo>
                    <a:lnTo>
                      <a:pt x="116" y="304"/>
                    </a:lnTo>
                    <a:lnTo>
                      <a:pt x="113" y="306"/>
                    </a:lnTo>
                    <a:lnTo>
                      <a:pt x="107" y="310"/>
                    </a:lnTo>
                    <a:lnTo>
                      <a:pt x="107" y="312"/>
                    </a:lnTo>
                    <a:lnTo>
                      <a:pt x="105" y="312"/>
                    </a:lnTo>
                    <a:lnTo>
                      <a:pt x="103" y="314"/>
                    </a:lnTo>
                    <a:lnTo>
                      <a:pt x="103" y="317"/>
                    </a:lnTo>
                    <a:lnTo>
                      <a:pt x="103" y="319"/>
                    </a:lnTo>
                    <a:lnTo>
                      <a:pt x="101" y="321"/>
                    </a:lnTo>
                    <a:lnTo>
                      <a:pt x="101" y="323"/>
                    </a:lnTo>
                    <a:lnTo>
                      <a:pt x="99" y="327"/>
                    </a:lnTo>
                    <a:lnTo>
                      <a:pt x="99" y="329"/>
                    </a:lnTo>
                    <a:lnTo>
                      <a:pt x="101" y="333"/>
                    </a:lnTo>
                    <a:lnTo>
                      <a:pt x="105" y="336"/>
                    </a:lnTo>
                    <a:lnTo>
                      <a:pt x="107" y="342"/>
                    </a:lnTo>
                    <a:lnTo>
                      <a:pt x="109" y="344"/>
                    </a:lnTo>
                    <a:lnTo>
                      <a:pt x="113" y="348"/>
                    </a:lnTo>
                    <a:lnTo>
                      <a:pt x="118" y="355"/>
                    </a:lnTo>
                    <a:lnTo>
                      <a:pt x="120" y="359"/>
                    </a:lnTo>
                    <a:lnTo>
                      <a:pt x="122" y="361"/>
                    </a:lnTo>
                    <a:lnTo>
                      <a:pt x="126" y="363"/>
                    </a:lnTo>
                    <a:lnTo>
                      <a:pt x="132" y="372"/>
                    </a:lnTo>
                    <a:lnTo>
                      <a:pt x="133" y="374"/>
                    </a:lnTo>
                    <a:lnTo>
                      <a:pt x="137" y="376"/>
                    </a:lnTo>
                    <a:lnTo>
                      <a:pt x="149" y="388"/>
                    </a:lnTo>
                    <a:lnTo>
                      <a:pt x="151" y="390"/>
                    </a:lnTo>
                    <a:lnTo>
                      <a:pt x="153" y="388"/>
                    </a:lnTo>
                    <a:lnTo>
                      <a:pt x="156" y="386"/>
                    </a:lnTo>
                    <a:lnTo>
                      <a:pt x="156" y="388"/>
                    </a:lnTo>
                    <a:lnTo>
                      <a:pt x="156" y="392"/>
                    </a:lnTo>
                    <a:lnTo>
                      <a:pt x="156" y="393"/>
                    </a:lnTo>
                    <a:lnTo>
                      <a:pt x="160" y="399"/>
                    </a:lnTo>
                    <a:lnTo>
                      <a:pt x="162" y="401"/>
                    </a:lnTo>
                    <a:lnTo>
                      <a:pt x="166" y="403"/>
                    </a:lnTo>
                    <a:lnTo>
                      <a:pt x="170" y="407"/>
                    </a:lnTo>
                    <a:lnTo>
                      <a:pt x="172" y="409"/>
                    </a:lnTo>
                    <a:lnTo>
                      <a:pt x="175" y="414"/>
                    </a:lnTo>
                    <a:lnTo>
                      <a:pt x="177" y="416"/>
                    </a:lnTo>
                    <a:lnTo>
                      <a:pt x="185" y="420"/>
                    </a:lnTo>
                    <a:lnTo>
                      <a:pt x="202" y="437"/>
                    </a:lnTo>
                    <a:lnTo>
                      <a:pt x="204" y="439"/>
                    </a:lnTo>
                    <a:lnTo>
                      <a:pt x="206" y="441"/>
                    </a:lnTo>
                    <a:lnTo>
                      <a:pt x="208" y="441"/>
                    </a:lnTo>
                    <a:lnTo>
                      <a:pt x="210" y="445"/>
                    </a:lnTo>
                    <a:lnTo>
                      <a:pt x="214" y="451"/>
                    </a:lnTo>
                    <a:lnTo>
                      <a:pt x="221" y="462"/>
                    </a:lnTo>
                    <a:lnTo>
                      <a:pt x="227" y="468"/>
                    </a:lnTo>
                    <a:lnTo>
                      <a:pt x="229" y="468"/>
                    </a:lnTo>
                    <a:lnTo>
                      <a:pt x="229" y="470"/>
                    </a:lnTo>
                    <a:lnTo>
                      <a:pt x="240" y="483"/>
                    </a:lnTo>
                    <a:lnTo>
                      <a:pt x="252" y="492"/>
                    </a:lnTo>
                    <a:lnTo>
                      <a:pt x="265" y="506"/>
                    </a:lnTo>
                    <a:lnTo>
                      <a:pt x="269" y="509"/>
                    </a:lnTo>
                    <a:lnTo>
                      <a:pt x="275" y="513"/>
                    </a:lnTo>
                    <a:lnTo>
                      <a:pt x="282" y="517"/>
                    </a:lnTo>
                    <a:lnTo>
                      <a:pt x="284" y="519"/>
                    </a:lnTo>
                    <a:lnTo>
                      <a:pt x="288" y="523"/>
                    </a:lnTo>
                    <a:lnTo>
                      <a:pt x="290" y="525"/>
                    </a:lnTo>
                    <a:lnTo>
                      <a:pt x="294" y="525"/>
                    </a:lnTo>
                    <a:lnTo>
                      <a:pt x="299" y="529"/>
                    </a:lnTo>
                    <a:lnTo>
                      <a:pt x="320" y="538"/>
                    </a:lnTo>
                    <a:lnTo>
                      <a:pt x="324" y="540"/>
                    </a:lnTo>
                    <a:lnTo>
                      <a:pt x="324" y="542"/>
                    </a:lnTo>
                    <a:lnTo>
                      <a:pt x="326" y="542"/>
                    </a:lnTo>
                    <a:lnTo>
                      <a:pt x="328" y="540"/>
                    </a:lnTo>
                    <a:lnTo>
                      <a:pt x="330" y="540"/>
                    </a:lnTo>
                    <a:lnTo>
                      <a:pt x="330" y="540"/>
                    </a:lnTo>
                    <a:lnTo>
                      <a:pt x="332" y="542"/>
                    </a:lnTo>
                    <a:lnTo>
                      <a:pt x="336" y="544"/>
                    </a:lnTo>
                    <a:lnTo>
                      <a:pt x="338" y="544"/>
                    </a:lnTo>
                    <a:lnTo>
                      <a:pt x="355" y="542"/>
                    </a:lnTo>
                    <a:lnTo>
                      <a:pt x="355" y="542"/>
                    </a:lnTo>
                    <a:lnTo>
                      <a:pt x="355" y="542"/>
                    </a:lnTo>
                    <a:lnTo>
                      <a:pt x="355" y="540"/>
                    </a:lnTo>
                    <a:lnTo>
                      <a:pt x="355" y="540"/>
                    </a:lnTo>
                    <a:lnTo>
                      <a:pt x="355" y="538"/>
                    </a:lnTo>
                    <a:lnTo>
                      <a:pt x="357" y="538"/>
                    </a:lnTo>
                    <a:lnTo>
                      <a:pt x="357" y="538"/>
                    </a:lnTo>
                    <a:lnTo>
                      <a:pt x="358" y="538"/>
                    </a:lnTo>
                    <a:lnTo>
                      <a:pt x="358" y="538"/>
                    </a:lnTo>
                    <a:lnTo>
                      <a:pt x="360" y="538"/>
                    </a:lnTo>
                    <a:lnTo>
                      <a:pt x="362" y="538"/>
                    </a:lnTo>
                    <a:lnTo>
                      <a:pt x="366" y="538"/>
                    </a:lnTo>
                    <a:lnTo>
                      <a:pt x="366" y="538"/>
                    </a:lnTo>
                    <a:lnTo>
                      <a:pt x="368" y="536"/>
                    </a:lnTo>
                    <a:lnTo>
                      <a:pt x="370" y="536"/>
                    </a:lnTo>
                    <a:lnTo>
                      <a:pt x="372" y="536"/>
                    </a:lnTo>
                    <a:lnTo>
                      <a:pt x="372" y="534"/>
                    </a:lnTo>
                    <a:lnTo>
                      <a:pt x="376" y="534"/>
                    </a:lnTo>
                    <a:lnTo>
                      <a:pt x="399" y="525"/>
                    </a:lnTo>
                    <a:lnTo>
                      <a:pt x="404" y="523"/>
                    </a:lnTo>
                    <a:lnTo>
                      <a:pt x="416" y="519"/>
                    </a:lnTo>
                    <a:lnTo>
                      <a:pt x="418" y="517"/>
                    </a:lnTo>
                    <a:lnTo>
                      <a:pt x="418" y="515"/>
                    </a:lnTo>
                    <a:lnTo>
                      <a:pt x="420" y="513"/>
                    </a:lnTo>
                    <a:lnTo>
                      <a:pt x="425" y="508"/>
                    </a:lnTo>
                    <a:lnTo>
                      <a:pt x="427" y="508"/>
                    </a:lnTo>
                    <a:lnTo>
                      <a:pt x="429" y="506"/>
                    </a:lnTo>
                    <a:lnTo>
                      <a:pt x="429" y="508"/>
                    </a:lnTo>
                    <a:lnTo>
                      <a:pt x="427" y="508"/>
                    </a:lnTo>
                    <a:lnTo>
                      <a:pt x="427" y="509"/>
                    </a:lnTo>
                    <a:lnTo>
                      <a:pt x="431" y="509"/>
                    </a:lnTo>
                    <a:lnTo>
                      <a:pt x="439" y="504"/>
                    </a:lnTo>
                    <a:lnTo>
                      <a:pt x="442" y="502"/>
                    </a:lnTo>
                    <a:lnTo>
                      <a:pt x="448" y="500"/>
                    </a:lnTo>
                    <a:lnTo>
                      <a:pt x="450" y="500"/>
                    </a:lnTo>
                    <a:lnTo>
                      <a:pt x="450" y="500"/>
                    </a:lnTo>
                    <a:lnTo>
                      <a:pt x="454" y="500"/>
                    </a:lnTo>
                    <a:lnTo>
                      <a:pt x="456" y="498"/>
                    </a:lnTo>
                    <a:lnTo>
                      <a:pt x="460" y="496"/>
                    </a:lnTo>
                    <a:lnTo>
                      <a:pt x="473" y="487"/>
                    </a:lnTo>
                    <a:lnTo>
                      <a:pt x="481" y="487"/>
                    </a:lnTo>
                    <a:lnTo>
                      <a:pt x="482" y="485"/>
                    </a:lnTo>
                    <a:lnTo>
                      <a:pt x="490" y="481"/>
                    </a:lnTo>
                    <a:lnTo>
                      <a:pt x="490" y="481"/>
                    </a:lnTo>
                    <a:lnTo>
                      <a:pt x="492" y="479"/>
                    </a:lnTo>
                    <a:lnTo>
                      <a:pt x="492" y="479"/>
                    </a:lnTo>
                    <a:lnTo>
                      <a:pt x="494" y="479"/>
                    </a:lnTo>
                    <a:lnTo>
                      <a:pt x="494" y="477"/>
                    </a:lnTo>
                    <a:lnTo>
                      <a:pt x="496" y="475"/>
                    </a:lnTo>
                    <a:lnTo>
                      <a:pt x="496" y="473"/>
                    </a:lnTo>
                    <a:lnTo>
                      <a:pt x="494" y="471"/>
                    </a:lnTo>
                    <a:lnTo>
                      <a:pt x="494" y="470"/>
                    </a:lnTo>
                    <a:lnTo>
                      <a:pt x="494" y="470"/>
                    </a:lnTo>
                    <a:lnTo>
                      <a:pt x="496" y="468"/>
                    </a:lnTo>
                    <a:lnTo>
                      <a:pt x="496" y="468"/>
                    </a:lnTo>
                    <a:lnTo>
                      <a:pt x="496" y="466"/>
                    </a:lnTo>
                    <a:lnTo>
                      <a:pt x="496" y="464"/>
                    </a:lnTo>
                    <a:lnTo>
                      <a:pt x="498" y="464"/>
                    </a:lnTo>
                    <a:lnTo>
                      <a:pt x="498" y="462"/>
                    </a:lnTo>
                    <a:lnTo>
                      <a:pt x="496" y="462"/>
                    </a:lnTo>
                    <a:lnTo>
                      <a:pt x="498" y="460"/>
                    </a:lnTo>
                    <a:lnTo>
                      <a:pt x="502" y="456"/>
                    </a:lnTo>
                    <a:lnTo>
                      <a:pt x="503" y="454"/>
                    </a:lnTo>
                    <a:lnTo>
                      <a:pt x="503" y="451"/>
                    </a:lnTo>
                    <a:lnTo>
                      <a:pt x="511" y="445"/>
                    </a:lnTo>
                    <a:lnTo>
                      <a:pt x="513" y="439"/>
                    </a:lnTo>
                    <a:lnTo>
                      <a:pt x="517" y="424"/>
                    </a:lnTo>
                    <a:lnTo>
                      <a:pt x="519" y="424"/>
                    </a:lnTo>
                    <a:lnTo>
                      <a:pt x="521" y="422"/>
                    </a:lnTo>
                    <a:lnTo>
                      <a:pt x="521" y="420"/>
                    </a:lnTo>
                    <a:lnTo>
                      <a:pt x="521" y="420"/>
                    </a:lnTo>
                    <a:lnTo>
                      <a:pt x="521" y="418"/>
                    </a:lnTo>
                    <a:lnTo>
                      <a:pt x="521" y="418"/>
                    </a:lnTo>
                    <a:lnTo>
                      <a:pt x="521" y="416"/>
                    </a:lnTo>
                    <a:lnTo>
                      <a:pt x="521" y="414"/>
                    </a:lnTo>
                    <a:lnTo>
                      <a:pt x="519" y="414"/>
                    </a:lnTo>
                    <a:lnTo>
                      <a:pt x="519" y="412"/>
                    </a:lnTo>
                    <a:lnTo>
                      <a:pt x="517" y="411"/>
                    </a:lnTo>
                    <a:lnTo>
                      <a:pt x="517" y="411"/>
                    </a:lnTo>
                    <a:lnTo>
                      <a:pt x="515" y="411"/>
                    </a:lnTo>
                    <a:lnTo>
                      <a:pt x="513" y="411"/>
                    </a:lnTo>
                    <a:lnTo>
                      <a:pt x="511" y="411"/>
                    </a:lnTo>
                    <a:lnTo>
                      <a:pt x="511" y="409"/>
                    </a:lnTo>
                    <a:lnTo>
                      <a:pt x="511" y="409"/>
                    </a:lnTo>
                    <a:lnTo>
                      <a:pt x="509" y="409"/>
                    </a:lnTo>
                    <a:lnTo>
                      <a:pt x="509" y="403"/>
                    </a:lnTo>
                    <a:lnTo>
                      <a:pt x="507" y="403"/>
                    </a:lnTo>
                    <a:lnTo>
                      <a:pt x="507" y="401"/>
                    </a:lnTo>
                    <a:lnTo>
                      <a:pt x="505" y="401"/>
                    </a:lnTo>
                    <a:lnTo>
                      <a:pt x="505" y="399"/>
                    </a:lnTo>
                    <a:lnTo>
                      <a:pt x="505" y="397"/>
                    </a:lnTo>
                    <a:lnTo>
                      <a:pt x="503" y="397"/>
                    </a:lnTo>
                    <a:lnTo>
                      <a:pt x="498" y="399"/>
                    </a:lnTo>
                    <a:lnTo>
                      <a:pt x="496" y="399"/>
                    </a:lnTo>
                    <a:lnTo>
                      <a:pt x="494" y="399"/>
                    </a:lnTo>
                    <a:lnTo>
                      <a:pt x="492" y="397"/>
                    </a:lnTo>
                    <a:lnTo>
                      <a:pt x="490" y="397"/>
                    </a:lnTo>
                    <a:lnTo>
                      <a:pt x="486" y="399"/>
                    </a:lnTo>
                    <a:lnTo>
                      <a:pt x="486" y="399"/>
                    </a:lnTo>
                    <a:lnTo>
                      <a:pt x="486" y="397"/>
                    </a:lnTo>
                    <a:lnTo>
                      <a:pt x="486" y="395"/>
                    </a:lnTo>
                    <a:lnTo>
                      <a:pt x="484" y="397"/>
                    </a:lnTo>
                    <a:lnTo>
                      <a:pt x="484" y="397"/>
                    </a:lnTo>
                    <a:lnTo>
                      <a:pt x="482" y="397"/>
                    </a:lnTo>
                    <a:lnTo>
                      <a:pt x="482" y="395"/>
                    </a:lnTo>
                    <a:lnTo>
                      <a:pt x="482" y="395"/>
                    </a:lnTo>
                    <a:lnTo>
                      <a:pt x="482" y="392"/>
                    </a:lnTo>
                    <a:lnTo>
                      <a:pt x="482" y="390"/>
                    </a:lnTo>
                    <a:lnTo>
                      <a:pt x="484" y="388"/>
                    </a:lnTo>
                    <a:lnTo>
                      <a:pt x="490" y="392"/>
                    </a:lnTo>
                    <a:lnTo>
                      <a:pt x="494" y="392"/>
                    </a:lnTo>
                    <a:lnTo>
                      <a:pt x="496" y="392"/>
                    </a:lnTo>
                    <a:lnTo>
                      <a:pt x="494" y="388"/>
                    </a:lnTo>
                    <a:lnTo>
                      <a:pt x="494" y="386"/>
                    </a:lnTo>
                    <a:lnTo>
                      <a:pt x="492" y="386"/>
                    </a:lnTo>
                    <a:lnTo>
                      <a:pt x="490" y="386"/>
                    </a:lnTo>
                    <a:lnTo>
                      <a:pt x="490" y="386"/>
                    </a:lnTo>
                    <a:lnTo>
                      <a:pt x="490" y="386"/>
                    </a:lnTo>
                    <a:lnTo>
                      <a:pt x="490" y="382"/>
                    </a:lnTo>
                    <a:lnTo>
                      <a:pt x="492" y="384"/>
                    </a:lnTo>
                    <a:lnTo>
                      <a:pt x="496" y="386"/>
                    </a:lnTo>
                    <a:lnTo>
                      <a:pt x="498" y="386"/>
                    </a:lnTo>
                    <a:lnTo>
                      <a:pt x="498" y="390"/>
                    </a:lnTo>
                    <a:lnTo>
                      <a:pt x="500" y="390"/>
                    </a:lnTo>
                    <a:lnTo>
                      <a:pt x="503" y="392"/>
                    </a:lnTo>
                    <a:lnTo>
                      <a:pt x="503" y="390"/>
                    </a:lnTo>
                    <a:lnTo>
                      <a:pt x="503" y="390"/>
                    </a:lnTo>
                    <a:lnTo>
                      <a:pt x="503" y="388"/>
                    </a:lnTo>
                    <a:lnTo>
                      <a:pt x="503" y="386"/>
                    </a:lnTo>
                    <a:lnTo>
                      <a:pt x="503" y="384"/>
                    </a:lnTo>
                    <a:lnTo>
                      <a:pt x="502" y="382"/>
                    </a:lnTo>
                    <a:lnTo>
                      <a:pt x="503" y="382"/>
                    </a:lnTo>
                    <a:lnTo>
                      <a:pt x="502" y="382"/>
                    </a:lnTo>
                    <a:lnTo>
                      <a:pt x="502" y="380"/>
                    </a:lnTo>
                    <a:lnTo>
                      <a:pt x="503" y="378"/>
                    </a:lnTo>
                    <a:lnTo>
                      <a:pt x="502" y="380"/>
                    </a:lnTo>
                    <a:lnTo>
                      <a:pt x="496" y="380"/>
                    </a:lnTo>
                    <a:lnTo>
                      <a:pt x="494" y="380"/>
                    </a:lnTo>
                    <a:lnTo>
                      <a:pt x="486" y="378"/>
                    </a:lnTo>
                    <a:lnTo>
                      <a:pt x="488" y="376"/>
                    </a:lnTo>
                    <a:lnTo>
                      <a:pt x="490" y="376"/>
                    </a:lnTo>
                    <a:lnTo>
                      <a:pt x="492" y="374"/>
                    </a:lnTo>
                    <a:lnTo>
                      <a:pt x="494" y="376"/>
                    </a:lnTo>
                    <a:lnTo>
                      <a:pt x="496" y="376"/>
                    </a:lnTo>
                    <a:lnTo>
                      <a:pt x="496" y="376"/>
                    </a:lnTo>
                    <a:lnTo>
                      <a:pt x="496" y="376"/>
                    </a:lnTo>
                    <a:lnTo>
                      <a:pt x="496" y="374"/>
                    </a:lnTo>
                    <a:lnTo>
                      <a:pt x="494" y="372"/>
                    </a:lnTo>
                    <a:lnTo>
                      <a:pt x="492" y="372"/>
                    </a:lnTo>
                    <a:lnTo>
                      <a:pt x="498" y="372"/>
                    </a:lnTo>
                    <a:lnTo>
                      <a:pt x="500" y="372"/>
                    </a:lnTo>
                    <a:lnTo>
                      <a:pt x="500" y="371"/>
                    </a:lnTo>
                    <a:lnTo>
                      <a:pt x="498" y="371"/>
                    </a:lnTo>
                    <a:lnTo>
                      <a:pt x="496" y="369"/>
                    </a:lnTo>
                    <a:lnTo>
                      <a:pt x="498" y="367"/>
                    </a:lnTo>
                    <a:lnTo>
                      <a:pt x="500" y="369"/>
                    </a:lnTo>
                    <a:lnTo>
                      <a:pt x="502" y="371"/>
                    </a:lnTo>
                    <a:lnTo>
                      <a:pt x="503" y="371"/>
                    </a:lnTo>
                    <a:lnTo>
                      <a:pt x="503" y="372"/>
                    </a:lnTo>
                    <a:lnTo>
                      <a:pt x="505" y="372"/>
                    </a:lnTo>
                    <a:lnTo>
                      <a:pt x="505" y="371"/>
                    </a:lnTo>
                    <a:lnTo>
                      <a:pt x="507" y="371"/>
                    </a:lnTo>
                    <a:lnTo>
                      <a:pt x="507" y="371"/>
                    </a:lnTo>
                    <a:lnTo>
                      <a:pt x="507" y="369"/>
                    </a:lnTo>
                    <a:lnTo>
                      <a:pt x="507" y="369"/>
                    </a:lnTo>
                    <a:lnTo>
                      <a:pt x="509" y="371"/>
                    </a:lnTo>
                    <a:lnTo>
                      <a:pt x="509" y="371"/>
                    </a:lnTo>
                    <a:lnTo>
                      <a:pt x="511" y="369"/>
                    </a:lnTo>
                    <a:lnTo>
                      <a:pt x="511" y="367"/>
                    </a:lnTo>
                    <a:lnTo>
                      <a:pt x="513" y="369"/>
                    </a:lnTo>
                    <a:lnTo>
                      <a:pt x="515" y="369"/>
                    </a:lnTo>
                    <a:lnTo>
                      <a:pt x="515" y="367"/>
                    </a:lnTo>
                    <a:lnTo>
                      <a:pt x="517" y="365"/>
                    </a:lnTo>
                    <a:lnTo>
                      <a:pt x="517" y="365"/>
                    </a:lnTo>
                    <a:lnTo>
                      <a:pt x="519" y="363"/>
                    </a:lnTo>
                    <a:lnTo>
                      <a:pt x="521" y="361"/>
                    </a:lnTo>
                    <a:lnTo>
                      <a:pt x="521" y="363"/>
                    </a:lnTo>
                    <a:lnTo>
                      <a:pt x="521" y="361"/>
                    </a:lnTo>
                    <a:lnTo>
                      <a:pt x="522" y="359"/>
                    </a:lnTo>
                    <a:lnTo>
                      <a:pt x="522" y="344"/>
                    </a:lnTo>
                    <a:lnTo>
                      <a:pt x="521" y="338"/>
                    </a:lnTo>
                    <a:lnTo>
                      <a:pt x="517" y="338"/>
                    </a:lnTo>
                    <a:lnTo>
                      <a:pt x="513" y="336"/>
                    </a:lnTo>
                    <a:lnTo>
                      <a:pt x="513" y="336"/>
                    </a:lnTo>
                    <a:lnTo>
                      <a:pt x="513" y="334"/>
                    </a:lnTo>
                    <a:lnTo>
                      <a:pt x="513" y="333"/>
                    </a:lnTo>
                    <a:lnTo>
                      <a:pt x="515" y="333"/>
                    </a:lnTo>
                    <a:lnTo>
                      <a:pt x="513" y="331"/>
                    </a:lnTo>
                    <a:lnTo>
                      <a:pt x="509" y="334"/>
                    </a:lnTo>
                    <a:lnTo>
                      <a:pt x="507" y="334"/>
                    </a:lnTo>
                    <a:lnTo>
                      <a:pt x="503" y="334"/>
                    </a:lnTo>
                    <a:lnTo>
                      <a:pt x="502" y="331"/>
                    </a:lnTo>
                    <a:lnTo>
                      <a:pt x="503" y="331"/>
                    </a:lnTo>
                    <a:lnTo>
                      <a:pt x="509" y="333"/>
                    </a:lnTo>
                    <a:lnTo>
                      <a:pt x="509" y="331"/>
                    </a:lnTo>
                    <a:lnTo>
                      <a:pt x="509" y="329"/>
                    </a:lnTo>
                    <a:lnTo>
                      <a:pt x="511" y="329"/>
                    </a:lnTo>
                    <a:lnTo>
                      <a:pt x="513" y="329"/>
                    </a:lnTo>
                    <a:lnTo>
                      <a:pt x="517" y="329"/>
                    </a:lnTo>
                    <a:lnTo>
                      <a:pt x="517" y="331"/>
                    </a:lnTo>
                    <a:lnTo>
                      <a:pt x="517" y="333"/>
                    </a:lnTo>
                    <a:lnTo>
                      <a:pt x="517" y="334"/>
                    </a:lnTo>
                    <a:lnTo>
                      <a:pt x="519" y="334"/>
                    </a:lnTo>
                    <a:lnTo>
                      <a:pt x="522" y="334"/>
                    </a:lnTo>
                    <a:lnTo>
                      <a:pt x="524" y="334"/>
                    </a:lnTo>
                    <a:lnTo>
                      <a:pt x="524" y="331"/>
                    </a:lnTo>
                    <a:lnTo>
                      <a:pt x="526" y="329"/>
                    </a:lnTo>
                    <a:lnTo>
                      <a:pt x="526" y="325"/>
                    </a:lnTo>
                    <a:lnTo>
                      <a:pt x="528" y="323"/>
                    </a:lnTo>
                    <a:lnTo>
                      <a:pt x="530" y="321"/>
                    </a:lnTo>
                    <a:lnTo>
                      <a:pt x="532" y="319"/>
                    </a:lnTo>
                    <a:lnTo>
                      <a:pt x="534" y="321"/>
                    </a:lnTo>
                    <a:lnTo>
                      <a:pt x="534" y="325"/>
                    </a:lnTo>
                    <a:lnTo>
                      <a:pt x="532" y="325"/>
                    </a:lnTo>
                    <a:lnTo>
                      <a:pt x="530" y="327"/>
                    </a:lnTo>
                    <a:lnTo>
                      <a:pt x="530" y="331"/>
                    </a:lnTo>
                    <a:lnTo>
                      <a:pt x="532" y="333"/>
                    </a:lnTo>
                    <a:lnTo>
                      <a:pt x="532" y="334"/>
                    </a:lnTo>
                    <a:lnTo>
                      <a:pt x="536" y="336"/>
                    </a:lnTo>
                    <a:lnTo>
                      <a:pt x="538" y="334"/>
                    </a:lnTo>
                    <a:lnTo>
                      <a:pt x="540" y="333"/>
                    </a:lnTo>
                    <a:lnTo>
                      <a:pt x="542" y="333"/>
                    </a:lnTo>
                    <a:lnTo>
                      <a:pt x="542" y="334"/>
                    </a:lnTo>
                    <a:lnTo>
                      <a:pt x="540" y="336"/>
                    </a:lnTo>
                    <a:lnTo>
                      <a:pt x="540" y="336"/>
                    </a:lnTo>
                    <a:lnTo>
                      <a:pt x="542" y="338"/>
                    </a:lnTo>
                    <a:lnTo>
                      <a:pt x="543" y="338"/>
                    </a:lnTo>
                    <a:lnTo>
                      <a:pt x="545" y="336"/>
                    </a:lnTo>
                    <a:lnTo>
                      <a:pt x="549" y="334"/>
                    </a:lnTo>
                    <a:lnTo>
                      <a:pt x="553" y="331"/>
                    </a:lnTo>
                    <a:lnTo>
                      <a:pt x="555" y="331"/>
                    </a:lnTo>
                    <a:lnTo>
                      <a:pt x="559" y="331"/>
                    </a:lnTo>
                    <a:lnTo>
                      <a:pt x="559" y="331"/>
                    </a:lnTo>
                    <a:lnTo>
                      <a:pt x="561" y="333"/>
                    </a:lnTo>
                    <a:lnTo>
                      <a:pt x="563" y="333"/>
                    </a:lnTo>
                    <a:lnTo>
                      <a:pt x="564" y="333"/>
                    </a:lnTo>
                    <a:lnTo>
                      <a:pt x="566" y="333"/>
                    </a:lnTo>
                    <a:lnTo>
                      <a:pt x="574" y="336"/>
                    </a:lnTo>
                    <a:lnTo>
                      <a:pt x="578" y="336"/>
                    </a:lnTo>
                    <a:lnTo>
                      <a:pt x="582" y="334"/>
                    </a:lnTo>
                    <a:lnTo>
                      <a:pt x="584" y="333"/>
                    </a:lnTo>
                    <a:lnTo>
                      <a:pt x="585" y="333"/>
                    </a:lnTo>
                    <a:lnTo>
                      <a:pt x="587" y="333"/>
                    </a:lnTo>
                    <a:lnTo>
                      <a:pt x="591" y="333"/>
                    </a:lnTo>
                    <a:lnTo>
                      <a:pt x="593" y="334"/>
                    </a:lnTo>
                    <a:lnTo>
                      <a:pt x="595" y="334"/>
                    </a:lnTo>
                    <a:lnTo>
                      <a:pt x="597" y="333"/>
                    </a:lnTo>
                    <a:lnTo>
                      <a:pt x="597" y="331"/>
                    </a:lnTo>
                    <a:lnTo>
                      <a:pt x="599" y="333"/>
                    </a:lnTo>
                    <a:lnTo>
                      <a:pt x="599" y="334"/>
                    </a:lnTo>
                    <a:lnTo>
                      <a:pt x="599" y="336"/>
                    </a:lnTo>
                    <a:lnTo>
                      <a:pt x="599" y="338"/>
                    </a:lnTo>
                    <a:lnTo>
                      <a:pt x="595" y="340"/>
                    </a:lnTo>
                    <a:lnTo>
                      <a:pt x="593" y="340"/>
                    </a:lnTo>
                    <a:lnTo>
                      <a:pt x="591" y="338"/>
                    </a:lnTo>
                    <a:lnTo>
                      <a:pt x="589" y="336"/>
                    </a:lnTo>
                    <a:lnTo>
                      <a:pt x="585" y="338"/>
                    </a:lnTo>
                    <a:lnTo>
                      <a:pt x="582" y="340"/>
                    </a:lnTo>
                    <a:lnTo>
                      <a:pt x="578" y="348"/>
                    </a:lnTo>
                    <a:lnTo>
                      <a:pt x="574" y="346"/>
                    </a:lnTo>
                    <a:lnTo>
                      <a:pt x="574" y="344"/>
                    </a:lnTo>
                    <a:lnTo>
                      <a:pt x="572" y="344"/>
                    </a:lnTo>
                    <a:lnTo>
                      <a:pt x="570" y="344"/>
                    </a:lnTo>
                    <a:lnTo>
                      <a:pt x="570" y="344"/>
                    </a:lnTo>
                    <a:lnTo>
                      <a:pt x="568" y="344"/>
                    </a:lnTo>
                    <a:lnTo>
                      <a:pt x="566" y="344"/>
                    </a:lnTo>
                    <a:lnTo>
                      <a:pt x="564" y="342"/>
                    </a:lnTo>
                    <a:lnTo>
                      <a:pt x="563" y="340"/>
                    </a:lnTo>
                    <a:lnTo>
                      <a:pt x="561" y="340"/>
                    </a:lnTo>
                    <a:lnTo>
                      <a:pt x="557" y="342"/>
                    </a:lnTo>
                    <a:lnTo>
                      <a:pt x="555" y="342"/>
                    </a:lnTo>
                    <a:lnTo>
                      <a:pt x="553" y="346"/>
                    </a:lnTo>
                    <a:lnTo>
                      <a:pt x="551" y="348"/>
                    </a:lnTo>
                    <a:lnTo>
                      <a:pt x="551" y="350"/>
                    </a:lnTo>
                    <a:lnTo>
                      <a:pt x="549" y="353"/>
                    </a:lnTo>
                    <a:lnTo>
                      <a:pt x="549" y="355"/>
                    </a:lnTo>
                    <a:lnTo>
                      <a:pt x="549" y="357"/>
                    </a:lnTo>
                    <a:lnTo>
                      <a:pt x="549" y="359"/>
                    </a:lnTo>
                    <a:lnTo>
                      <a:pt x="549" y="361"/>
                    </a:lnTo>
                    <a:lnTo>
                      <a:pt x="549" y="361"/>
                    </a:lnTo>
                    <a:lnTo>
                      <a:pt x="547" y="365"/>
                    </a:lnTo>
                    <a:lnTo>
                      <a:pt x="547" y="371"/>
                    </a:lnTo>
                    <a:lnTo>
                      <a:pt x="545" y="372"/>
                    </a:lnTo>
                    <a:lnTo>
                      <a:pt x="547" y="374"/>
                    </a:lnTo>
                    <a:lnTo>
                      <a:pt x="549" y="380"/>
                    </a:lnTo>
                    <a:lnTo>
                      <a:pt x="551" y="382"/>
                    </a:lnTo>
                    <a:lnTo>
                      <a:pt x="553" y="380"/>
                    </a:lnTo>
                    <a:lnTo>
                      <a:pt x="557" y="378"/>
                    </a:lnTo>
                    <a:lnTo>
                      <a:pt x="559" y="376"/>
                    </a:lnTo>
                    <a:lnTo>
                      <a:pt x="561" y="374"/>
                    </a:lnTo>
                    <a:lnTo>
                      <a:pt x="561" y="374"/>
                    </a:lnTo>
                    <a:lnTo>
                      <a:pt x="570" y="372"/>
                    </a:lnTo>
                    <a:lnTo>
                      <a:pt x="570" y="372"/>
                    </a:lnTo>
                    <a:lnTo>
                      <a:pt x="570" y="371"/>
                    </a:lnTo>
                    <a:lnTo>
                      <a:pt x="570" y="371"/>
                    </a:lnTo>
                    <a:lnTo>
                      <a:pt x="572" y="371"/>
                    </a:lnTo>
                    <a:lnTo>
                      <a:pt x="572" y="371"/>
                    </a:lnTo>
                    <a:lnTo>
                      <a:pt x="574" y="369"/>
                    </a:lnTo>
                    <a:lnTo>
                      <a:pt x="574" y="371"/>
                    </a:lnTo>
                    <a:lnTo>
                      <a:pt x="576" y="371"/>
                    </a:lnTo>
                    <a:lnTo>
                      <a:pt x="576" y="371"/>
                    </a:lnTo>
                    <a:lnTo>
                      <a:pt x="572" y="371"/>
                    </a:lnTo>
                    <a:lnTo>
                      <a:pt x="572" y="374"/>
                    </a:lnTo>
                    <a:lnTo>
                      <a:pt x="572" y="376"/>
                    </a:lnTo>
                    <a:lnTo>
                      <a:pt x="570" y="378"/>
                    </a:lnTo>
                    <a:lnTo>
                      <a:pt x="564" y="376"/>
                    </a:lnTo>
                    <a:lnTo>
                      <a:pt x="563" y="378"/>
                    </a:lnTo>
                    <a:lnTo>
                      <a:pt x="561" y="380"/>
                    </a:lnTo>
                    <a:lnTo>
                      <a:pt x="559" y="386"/>
                    </a:lnTo>
                    <a:lnTo>
                      <a:pt x="557" y="388"/>
                    </a:lnTo>
                    <a:lnTo>
                      <a:pt x="555" y="390"/>
                    </a:lnTo>
                    <a:lnTo>
                      <a:pt x="553" y="392"/>
                    </a:lnTo>
                    <a:lnTo>
                      <a:pt x="553" y="399"/>
                    </a:lnTo>
                    <a:lnTo>
                      <a:pt x="553" y="403"/>
                    </a:lnTo>
                    <a:lnTo>
                      <a:pt x="549" y="409"/>
                    </a:lnTo>
                    <a:lnTo>
                      <a:pt x="549" y="411"/>
                    </a:lnTo>
                    <a:lnTo>
                      <a:pt x="551" y="412"/>
                    </a:lnTo>
                    <a:lnTo>
                      <a:pt x="553" y="414"/>
                    </a:lnTo>
                    <a:lnTo>
                      <a:pt x="555" y="414"/>
                    </a:lnTo>
                    <a:lnTo>
                      <a:pt x="561" y="412"/>
                    </a:lnTo>
                    <a:lnTo>
                      <a:pt x="563" y="412"/>
                    </a:lnTo>
                    <a:lnTo>
                      <a:pt x="564" y="412"/>
                    </a:lnTo>
                    <a:lnTo>
                      <a:pt x="568" y="412"/>
                    </a:lnTo>
                    <a:lnTo>
                      <a:pt x="576" y="411"/>
                    </a:lnTo>
                    <a:lnTo>
                      <a:pt x="578" y="412"/>
                    </a:lnTo>
                    <a:lnTo>
                      <a:pt x="584" y="412"/>
                    </a:lnTo>
                    <a:lnTo>
                      <a:pt x="585" y="412"/>
                    </a:lnTo>
                    <a:lnTo>
                      <a:pt x="589" y="411"/>
                    </a:lnTo>
                    <a:lnTo>
                      <a:pt x="591" y="411"/>
                    </a:lnTo>
                    <a:lnTo>
                      <a:pt x="593" y="411"/>
                    </a:lnTo>
                    <a:lnTo>
                      <a:pt x="599" y="412"/>
                    </a:lnTo>
                    <a:lnTo>
                      <a:pt x="603" y="411"/>
                    </a:lnTo>
                    <a:lnTo>
                      <a:pt x="608" y="409"/>
                    </a:lnTo>
                    <a:lnTo>
                      <a:pt x="610" y="409"/>
                    </a:lnTo>
                    <a:lnTo>
                      <a:pt x="612" y="407"/>
                    </a:lnTo>
                    <a:lnTo>
                      <a:pt x="614" y="405"/>
                    </a:lnTo>
                    <a:lnTo>
                      <a:pt x="614" y="405"/>
                    </a:lnTo>
                    <a:lnTo>
                      <a:pt x="620" y="403"/>
                    </a:lnTo>
                    <a:lnTo>
                      <a:pt x="624" y="401"/>
                    </a:lnTo>
                    <a:lnTo>
                      <a:pt x="624" y="401"/>
                    </a:lnTo>
                    <a:lnTo>
                      <a:pt x="625" y="401"/>
                    </a:lnTo>
                    <a:lnTo>
                      <a:pt x="624" y="403"/>
                    </a:lnTo>
                    <a:lnTo>
                      <a:pt x="624" y="405"/>
                    </a:lnTo>
                    <a:lnTo>
                      <a:pt x="622" y="405"/>
                    </a:lnTo>
                    <a:lnTo>
                      <a:pt x="620" y="405"/>
                    </a:lnTo>
                    <a:lnTo>
                      <a:pt x="612" y="411"/>
                    </a:lnTo>
                    <a:lnTo>
                      <a:pt x="604" y="412"/>
                    </a:lnTo>
                    <a:lnTo>
                      <a:pt x="601" y="414"/>
                    </a:lnTo>
                    <a:lnTo>
                      <a:pt x="595" y="418"/>
                    </a:lnTo>
                    <a:lnTo>
                      <a:pt x="593" y="418"/>
                    </a:lnTo>
                    <a:lnTo>
                      <a:pt x="591" y="418"/>
                    </a:lnTo>
                    <a:lnTo>
                      <a:pt x="587" y="416"/>
                    </a:lnTo>
                    <a:lnTo>
                      <a:pt x="585" y="416"/>
                    </a:lnTo>
                    <a:lnTo>
                      <a:pt x="585" y="418"/>
                    </a:lnTo>
                    <a:lnTo>
                      <a:pt x="582" y="424"/>
                    </a:lnTo>
                    <a:lnTo>
                      <a:pt x="580" y="426"/>
                    </a:lnTo>
                    <a:lnTo>
                      <a:pt x="578" y="428"/>
                    </a:lnTo>
                    <a:lnTo>
                      <a:pt x="574" y="430"/>
                    </a:lnTo>
                    <a:lnTo>
                      <a:pt x="572" y="430"/>
                    </a:lnTo>
                    <a:lnTo>
                      <a:pt x="570" y="431"/>
                    </a:lnTo>
                    <a:lnTo>
                      <a:pt x="564" y="435"/>
                    </a:lnTo>
                    <a:lnTo>
                      <a:pt x="563" y="437"/>
                    </a:lnTo>
                    <a:lnTo>
                      <a:pt x="561" y="439"/>
                    </a:lnTo>
                    <a:lnTo>
                      <a:pt x="557" y="445"/>
                    </a:lnTo>
                    <a:lnTo>
                      <a:pt x="557" y="447"/>
                    </a:lnTo>
                    <a:lnTo>
                      <a:pt x="561" y="447"/>
                    </a:lnTo>
                    <a:lnTo>
                      <a:pt x="566" y="443"/>
                    </a:lnTo>
                    <a:lnTo>
                      <a:pt x="568" y="441"/>
                    </a:lnTo>
                    <a:lnTo>
                      <a:pt x="576" y="439"/>
                    </a:lnTo>
                    <a:lnTo>
                      <a:pt x="578" y="439"/>
                    </a:lnTo>
                    <a:lnTo>
                      <a:pt x="578" y="441"/>
                    </a:lnTo>
                    <a:lnTo>
                      <a:pt x="576" y="443"/>
                    </a:lnTo>
                    <a:lnTo>
                      <a:pt x="574" y="441"/>
                    </a:lnTo>
                    <a:lnTo>
                      <a:pt x="568" y="445"/>
                    </a:lnTo>
                    <a:lnTo>
                      <a:pt x="568" y="447"/>
                    </a:lnTo>
                    <a:lnTo>
                      <a:pt x="563" y="449"/>
                    </a:lnTo>
                    <a:lnTo>
                      <a:pt x="555" y="451"/>
                    </a:lnTo>
                    <a:lnTo>
                      <a:pt x="553" y="452"/>
                    </a:lnTo>
                    <a:lnTo>
                      <a:pt x="555" y="452"/>
                    </a:lnTo>
                    <a:lnTo>
                      <a:pt x="555" y="454"/>
                    </a:lnTo>
                    <a:lnTo>
                      <a:pt x="557" y="454"/>
                    </a:lnTo>
                    <a:lnTo>
                      <a:pt x="561" y="454"/>
                    </a:lnTo>
                    <a:lnTo>
                      <a:pt x="563" y="454"/>
                    </a:lnTo>
                    <a:lnTo>
                      <a:pt x="564" y="454"/>
                    </a:lnTo>
                    <a:lnTo>
                      <a:pt x="563" y="456"/>
                    </a:lnTo>
                    <a:lnTo>
                      <a:pt x="559" y="456"/>
                    </a:lnTo>
                    <a:lnTo>
                      <a:pt x="557" y="456"/>
                    </a:lnTo>
                    <a:lnTo>
                      <a:pt x="557" y="458"/>
                    </a:lnTo>
                    <a:lnTo>
                      <a:pt x="557" y="460"/>
                    </a:lnTo>
                    <a:lnTo>
                      <a:pt x="559" y="462"/>
                    </a:lnTo>
                    <a:lnTo>
                      <a:pt x="559" y="466"/>
                    </a:lnTo>
                    <a:lnTo>
                      <a:pt x="559" y="468"/>
                    </a:lnTo>
                    <a:lnTo>
                      <a:pt x="561" y="470"/>
                    </a:lnTo>
                    <a:lnTo>
                      <a:pt x="561" y="470"/>
                    </a:lnTo>
                    <a:lnTo>
                      <a:pt x="564" y="468"/>
                    </a:lnTo>
                    <a:lnTo>
                      <a:pt x="564" y="470"/>
                    </a:lnTo>
                    <a:lnTo>
                      <a:pt x="566" y="471"/>
                    </a:lnTo>
                    <a:lnTo>
                      <a:pt x="568" y="471"/>
                    </a:lnTo>
                    <a:lnTo>
                      <a:pt x="568" y="473"/>
                    </a:lnTo>
                    <a:lnTo>
                      <a:pt x="570" y="473"/>
                    </a:lnTo>
                    <a:lnTo>
                      <a:pt x="574" y="475"/>
                    </a:lnTo>
                    <a:lnTo>
                      <a:pt x="576" y="477"/>
                    </a:lnTo>
                    <a:lnTo>
                      <a:pt x="574" y="477"/>
                    </a:lnTo>
                    <a:lnTo>
                      <a:pt x="572" y="477"/>
                    </a:lnTo>
                    <a:lnTo>
                      <a:pt x="570" y="479"/>
                    </a:lnTo>
                    <a:lnTo>
                      <a:pt x="563" y="485"/>
                    </a:lnTo>
                    <a:lnTo>
                      <a:pt x="561" y="487"/>
                    </a:lnTo>
                    <a:lnTo>
                      <a:pt x="561" y="489"/>
                    </a:lnTo>
                    <a:lnTo>
                      <a:pt x="563" y="492"/>
                    </a:lnTo>
                    <a:lnTo>
                      <a:pt x="563" y="492"/>
                    </a:lnTo>
                    <a:lnTo>
                      <a:pt x="566" y="490"/>
                    </a:lnTo>
                    <a:lnTo>
                      <a:pt x="566" y="490"/>
                    </a:lnTo>
                    <a:lnTo>
                      <a:pt x="566" y="490"/>
                    </a:lnTo>
                    <a:lnTo>
                      <a:pt x="568" y="489"/>
                    </a:lnTo>
                    <a:lnTo>
                      <a:pt x="568" y="485"/>
                    </a:lnTo>
                    <a:lnTo>
                      <a:pt x="568" y="485"/>
                    </a:lnTo>
                    <a:lnTo>
                      <a:pt x="568" y="483"/>
                    </a:lnTo>
                    <a:lnTo>
                      <a:pt x="570" y="483"/>
                    </a:lnTo>
                    <a:lnTo>
                      <a:pt x="572" y="483"/>
                    </a:lnTo>
                    <a:lnTo>
                      <a:pt x="572" y="481"/>
                    </a:lnTo>
                    <a:lnTo>
                      <a:pt x="574" y="483"/>
                    </a:lnTo>
                    <a:lnTo>
                      <a:pt x="574" y="487"/>
                    </a:lnTo>
                    <a:lnTo>
                      <a:pt x="572" y="489"/>
                    </a:lnTo>
                    <a:lnTo>
                      <a:pt x="570" y="494"/>
                    </a:lnTo>
                    <a:lnTo>
                      <a:pt x="574" y="492"/>
                    </a:lnTo>
                    <a:lnTo>
                      <a:pt x="576" y="490"/>
                    </a:lnTo>
                    <a:lnTo>
                      <a:pt x="576" y="489"/>
                    </a:lnTo>
                    <a:lnTo>
                      <a:pt x="576" y="489"/>
                    </a:lnTo>
                    <a:lnTo>
                      <a:pt x="576" y="487"/>
                    </a:lnTo>
                    <a:lnTo>
                      <a:pt x="576" y="489"/>
                    </a:lnTo>
                    <a:lnTo>
                      <a:pt x="578" y="489"/>
                    </a:lnTo>
                    <a:lnTo>
                      <a:pt x="578" y="489"/>
                    </a:lnTo>
                    <a:lnTo>
                      <a:pt x="584" y="487"/>
                    </a:lnTo>
                    <a:lnTo>
                      <a:pt x="585" y="487"/>
                    </a:lnTo>
                    <a:lnTo>
                      <a:pt x="585" y="487"/>
                    </a:lnTo>
                    <a:lnTo>
                      <a:pt x="589" y="498"/>
                    </a:lnTo>
                    <a:lnTo>
                      <a:pt x="589" y="498"/>
                    </a:lnTo>
                    <a:lnTo>
                      <a:pt x="585" y="500"/>
                    </a:lnTo>
                    <a:lnTo>
                      <a:pt x="582" y="498"/>
                    </a:lnTo>
                    <a:lnTo>
                      <a:pt x="580" y="498"/>
                    </a:lnTo>
                    <a:lnTo>
                      <a:pt x="580" y="500"/>
                    </a:lnTo>
                    <a:lnTo>
                      <a:pt x="582" y="502"/>
                    </a:lnTo>
                    <a:lnTo>
                      <a:pt x="582" y="502"/>
                    </a:lnTo>
                    <a:lnTo>
                      <a:pt x="584" y="504"/>
                    </a:lnTo>
                    <a:lnTo>
                      <a:pt x="585" y="504"/>
                    </a:lnTo>
                    <a:lnTo>
                      <a:pt x="585" y="504"/>
                    </a:lnTo>
                    <a:lnTo>
                      <a:pt x="585" y="506"/>
                    </a:lnTo>
                    <a:lnTo>
                      <a:pt x="585" y="506"/>
                    </a:lnTo>
                    <a:lnTo>
                      <a:pt x="587" y="508"/>
                    </a:lnTo>
                    <a:lnTo>
                      <a:pt x="589" y="508"/>
                    </a:lnTo>
                    <a:lnTo>
                      <a:pt x="593" y="506"/>
                    </a:lnTo>
                    <a:lnTo>
                      <a:pt x="595" y="506"/>
                    </a:lnTo>
                    <a:lnTo>
                      <a:pt x="595" y="509"/>
                    </a:lnTo>
                    <a:lnTo>
                      <a:pt x="591" y="511"/>
                    </a:lnTo>
                    <a:lnTo>
                      <a:pt x="587" y="513"/>
                    </a:lnTo>
                    <a:lnTo>
                      <a:pt x="591" y="517"/>
                    </a:lnTo>
                    <a:lnTo>
                      <a:pt x="591" y="519"/>
                    </a:lnTo>
                    <a:lnTo>
                      <a:pt x="589" y="523"/>
                    </a:lnTo>
                    <a:lnTo>
                      <a:pt x="587" y="525"/>
                    </a:lnTo>
                    <a:lnTo>
                      <a:pt x="593" y="523"/>
                    </a:lnTo>
                    <a:lnTo>
                      <a:pt x="593" y="521"/>
                    </a:lnTo>
                    <a:lnTo>
                      <a:pt x="595" y="521"/>
                    </a:lnTo>
                    <a:lnTo>
                      <a:pt x="597" y="521"/>
                    </a:lnTo>
                    <a:lnTo>
                      <a:pt x="595" y="523"/>
                    </a:lnTo>
                    <a:lnTo>
                      <a:pt x="593" y="527"/>
                    </a:lnTo>
                    <a:lnTo>
                      <a:pt x="595" y="530"/>
                    </a:lnTo>
                    <a:lnTo>
                      <a:pt x="597" y="530"/>
                    </a:lnTo>
                    <a:lnTo>
                      <a:pt x="599" y="527"/>
                    </a:lnTo>
                    <a:lnTo>
                      <a:pt x="599" y="529"/>
                    </a:lnTo>
                    <a:lnTo>
                      <a:pt x="599" y="530"/>
                    </a:lnTo>
                    <a:lnTo>
                      <a:pt x="599" y="530"/>
                    </a:lnTo>
                    <a:lnTo>
                      <a:pt x="599" y="532"/>
                    </a:lnTo>
                    <a:lnTo>
                      <a:pt x="599" y="532"/>
                    </a:lnTo>
                    <a:lnTo>
                      <a:pt x="601" y="534"/>
                    </a:lnTo>
                    <a:lnTo>
                      <a:pt x="601" y="534"/>
                    </a:lnTo>
                    <a:lnTo>
                      <a:pt x="603" y="536"/>
                    </a:lnTo>
                    <a:lnTo>
                      <a:pt x="601" y="536"/>
                    </a:lnTo>
                    <a:lnTo>
                      <a:pt x="595" y="540"/>
                    </a:lnTo>
                    <a:lnTo>
                      <a:pt x="597" y="542"/>
                    </a:lnTo>
                    <a:lnTo>
                      <a:pt x="597" y="544"/>
                    </a:lnTo>
                    <a:lnTo>
                      <a:pt x="597" y="549"/>
                    </a:lnTo>
                    <a:lnTo>
                      <a:pt x="597" y="551"/>
                    </a:lnTo>
                    <a:lnTo>
                      <a:pt x="595" y="553"/>
                    </a:lnTo>
                    <a:lnTo>
                      <a:pt x="595" y="555"/>
                    </a:lnTo>
                    <a:lnTo>
                      <a:pt x="595" y="555"/>
                    </a:lnTo>
                    <a:lnTo>
                      <a:pt x="595" y="559"/>
                    </a:lnTo>
                    <a:lnTo>
                      <a:pt x="595" y="561"/>
                    </a:lnTo>
                    <a:lnTo>
                      <a:pt x="595" y="563"/>
                    </a:lnTo>
                    <a:lnTo>
                      <a:pt x="595" y="567"/>
                    </a:lnTo>
                    <a:lnTo>
                      <a:pt x="593" y="568"/>
                    </a:lnTo>
                    <a:lnTo>
                      <a:pt x="589" y="574"/>
                    </a:lnTo>
                    <a:lnTo>
                      <a:pt x="589" y="574"/>
                    </a:lnTo>
                    <a:lnTo>
                      <a:pt x="591" y="576"/>
                    </a:lnTo>
                    <a:lnTo>
                      <a:pt x="593" y="578"/>
                    </a:lnTo>
                    <a:lnTo>
                      <a:pt x="593" y="582"/>
                    </a:lnTo>
                    <a:lnTo>
                      <a:pt x="593" y="586"/>
                    </a:lnTo>
                    <a:lnTo>
                      <a:pt x="591" y="586"/>
                    </a:lnTo>
                    <a:lnTo>
                      <a:pt x="589" y="587"/>
                    </a:lnTo>
                    <a:lnTo>
                      <a:pt x="585" y="587"/>
                    </a:lnTo>
                    <a:lnTo>
                      <a:pt x="585" y="587"/>
                    </a:lnTo>
                    <a:lnTo>
                      <a:pt x="585" y="587"/>
                    </a:lnTo>
                    <a:lnTo>
                      <a:pt x="585" y="587"/>
                    </a:lnTo>
                    <a:lnTo>
                      <a:pt x="584" y="589"/>
                    </a:lnTo>
                    <a:lnTo>
                      <a:pt x="582" y="589"/>
                    </a:lnTo>
                    <a:lnTo>
                      <a:pt x="582" y="589"/>
                    </a:lnTo>
                    <a:lnTo>
                      <a:pt x="580" y="593"/>
                    </a:lnTo>
                    <a:lnTo>
                      <a:pt x="580" y="595"/>
                    </a:lnTo>
                    <a:lnTo>
                      <a:pt x="578" y="597"/>
                    </a:lnTo>
                    <a:lnTo>
                      <a:pt x="578" y="601"/>
                    </a:lnTo>
                    <a:lnTo>
                      <a:pt x="576" y="605"/>
                    </a:lnTo>
                    <a:lnTo>
                      <a:pt x="576" y="605"/>
                    </a:lnTo>
                    <a:lnTo>
                      <a:pt x="576" y="607"/>
                    </a:lnTo>
                    <a:lnTo>
                      <a:pt x="576" y="608"/>
                    </a:lnTo>
                    <a:lnTo>
                      <a:pt x="578" y="608"/>
                    </a:lnTo>
                    <a:lnTo>
                      <a:pt x="578" y="608"/>
                    </a:lnTo>
                    <a:lnTo>
                      <a:pt x="578" y="608"/>
                    </a:lnTo>
                    <a:lnTo>
                      <a:pt x="578" y="610"/>
                    </a:lnTo>
                    <a:lnTo>
                      <a:pt x="576" y="612"/>
                    </a:lnTo>
                    <a:lnTo>
                      <a:pt x="576" y="614"/>
                    </a:lnTo>
                    <a:lnTo>
                      <a:pt x="574" y="620"/>
                    </a:lnTo>
                    <a:lnTo>
                      <a:pt x="572" y="626"/>
                    </a:lnTo>
                    <a:lnTo>
                      <a:pt x="572" y="627"/>
                    </a:lnTo>
                    <a:lnTo>
                      <a:pt x="572" y="627"/>
                    </a:lnTo>
                    <a:lnTo>
                      <a:pt x="574" y="627"/>
                    </a:lnTo>
                    <a:lnTo>
                      <a:pt x="578" y="626"/>
                    </a:lnTo>
                    <a:lnTo>
                      <a:pt x="578" y="626"/>
                    </a:lnTo>
                    <a:lnTo>
                      <a:pt x="580" y="624"/>
                    </a:lnTo>
                    <a:lnTo>
                      <a:pt x="580" y="624"/>
                    </a:lnTo>
                    <a:lnTo>
                      <a:pt x="582" y="624"/>
                    </a:lnTo>
                    <a:lnTo>
                      <a:pt x="584" y="626"/>
                    </a:lnTo>
                    <a:lnTo>
                      <a:pt x="585" y="626"/>
                    </a:lnTo>
                    <a:lnTo>
                      <a:pt x="585" y="624"/>
                    </a:lnTo>
                    <a:lnTo>
                      <a:pt x="585" y="624"/>
                    </a:lnTo>
                    <a:lnTo>
                      <a:pt x="587" y="624"/>
                    </a:lnTo>
                    <a:lnTo>
                      <a:pt x="591" y="624"/>
                    </a:lnTo>
                    <a:lnTo>
                      <a:pt x="593" y="624"/>
                    </a:lnTo>
                    <a:lnTo>
                      <a:pt x="595" y="624"/>
                    </a:lnTo>
                    <a:lnTo>
                      <a:pt x="603" y="620"/>
                    </a:lnTo>
                    <a:lnTo>
                      <a:pt x="601" y="618"/>
                    </a:lnTo>
                    <a:lnTo>
                      <a:pt x="601" y="614"/>
                    </a:lnTo>
                    <a:lnTo>
                      <a:pt x="601" y="612"/>
                    </a:lnTo>
                    <a:lnTo>
                      <a:pt x="601" y="612"/>
                    </a:lnTo>
                    <a:lnTo>
                      <a:pt x="599" y="610"/>
                    </a:lnTo>
                    <a:lnTo>
                      <a:pt x="599" y="610"/>
                    </a:lnTo>
                    <a:lnTo>
                      <a:pt x="597" y="608"/>
                    </a:lnTo>
                    <a:lnTo>
                      <a:pt x="595" y="608"/>
                    </a:lnTo>
                    <a:lnTo>
                      <a:pt x="595" y="607"/>
                    </a:lnTo>
                    <a:lnTo>
                      <a:pt x="595" y="607"/>
                    </a:lnTo>
                    <a:lnTo>
                      <a:pt x="595" y="605"/>
                    </a:lnTo>
                    <a:lnTo>
                      <a:pt x="595" y="605"/>
                    </a:lnTo>
                    <a:lnTo>
                      <a:pt x="595" y="605"/>
                    </a:lnTo>
                    <a:lnTo>
                      <a:pt x="595" y="603"/>
                    </a:lnTo>
                    <a:lnTo>
                      <a:pt x="597" y="603"/>
                    </a:lnTo>
                    <a:lnTo>
                      <a:pt x="597" y="603"/>
                    </a:lnTo>
                    <a:lnTo>
                      <a:pt x="599" y="603"/>
                    </a:lnTo>
                    <a:lnTo>
                      <a:pt x="601" y="603"/>
                    </a:lnTo>
                    <a:lnTo>
                      <a:pt x="601" y="603"/>
                    </a:lnTo>
                    <a:lnTo>
                      <a:pt x="603" y="603"/>
                    </a:lnTo>
                    <a:lnTo>
                      <a:pt x="603" y="599"/>
                    </a:lnTo>
                    <a:lnTo>
                      <a:pt x="604" y="597"/>
                    </a:lnTo>
                    <a:lnTo>
                      <a:pt x="604" y="597"/>
                    </a:lnTo>
                    <a:lnTo>
                      <a:pt x="604" y="597"/>
                    </a:lnTo>
                    <a:lnTo>
                      <a:pt x="606" y="599"/>
                    </a:lnTo>
                    <a:lnTo>
                      <a:pt x="608" y="599"/>
                    </a:lnTo>
                    <a:lnTo>
                      <a:pt x="608" y="599"/>
                    </a:lnTo>
                    <a:lnTo>
                      <a:pt x="610" y="597"/>
                    </a:lnTo>
                    <a:lnTo>
                      <a:pt x="614" y="593"/>
                    </a:lnTo>
                    <a:lnTo>
                      <a:pt x="616" y="593"/>
                    </a:lnTo>
                    <a:lnTo>
                      <a:pt x="616" y="593"/>
                    </a:lnTo>
                    <a:lnTo>
                      <a:pt x="618" y="593"/>
                    </a:lnTo>
                    <a:lnTo>
                      <a:pt x="618" y="593"/>
                    </a:lnTo>
                    <a:lnTo>
                      <a:pt x="618" y="595"/>
                    </a:lnTo>
                    <a:lnTo>
                      <a:pt x="618" y="597"/>
                    </a:lnTo>
                    <a:lnTo>
                      <a:pt x="618" y="597"/>
                    </a:lnTo>
                    <a:lnTo>
                      <a:pt x="618" y="599"/>
                    </a:lnTo>
                    <a:lnTo>
                      <a:pt x="620" y="599"/>
                    </a:lnTo>
                    <a:lnTo>
                      <a:pt x="620" y="599"/>
                    </a:lnTo>
                    <a:lnTo>
                      <a:pt x="622" y="599"/>
                    </a:lnTo>
                    <a:lnTo>
                      <a:pt x="622" y="599"/>
                    </a:lnTo>
                    <a:lnTo>
                      <a:pt x="624" y="599"/>
                    </a:lnTo>
                    <a:lnTo>
                      <a:pt x="624" y="599"/>
                    </a:lnTo>
                    <a:lnTo>
                      <a:pt x="624" y="601"/>
                    </a:lnTo>
                    <a:lnTo>
                      <a:pt x="624" y="601"/>
                    </a:lnTo>
                    <a:lnTo>
                      <a:pt x="624" y="603"/>
                    </a:lnTo>
                    <a:lnTo>
                      <a:pt x="622" y="603"/>
                    </a:lnTo>
                    <a:lnTo>
                      <a:pt x="614" y="608"/>
                    </a:lnTo>
                    <a:lnTo>
                      <a:pt x="614" y="608"/>
                    </a:lnTo>
                    <a:lnTo>
                      <a:pt x="614" y="608"/>
                    </a:lnTo>
                    <a:lnTo>
                      <a:pt x="612" y="610"/>
                    </a:lnTo>
                    <a:lnTo>
                      <a:pt x="612" y="610"/>
                    </a:lnTo>
                    <a:lnTo>
                      <a:pt x="612" y="610"/>
                    </a:lnTo>
                    <a:lnTo>
                      <a:pt x="612" y="612"/>
                    </a:lnTo>
                    <a:lnTo>
                      <a:pt x="614" y="616"/>
                    </a:lnTo>
                    <a:lnTo>
                      <a:pt x="614" y="618"/>
                    </a:lnTo>
                    <a:lnTo>
                      <a:pt x="616" y="618"/>
                    </a:lnTo>
                    <a:lnTo>
                      <a:pt x="616" y="618"/>
                    </a:lnTo>
                    <a:lnTo>
                      <a:pt x="620" y="618"/>
                    </a:lnTo>
                    <a:lnTo>
                      <a:pt x="620" y="618"/>
                    </a:lnTo>
                    <a:lnTo>
                      <a:pt x="622" y="618"/>
                    </a:lnTo>
                    <a:lnTo>
                      <a:pt x="622" y="618"/>
                    </a:lnTo>
                    <a:lnTo>
                      <a:pt x="622" y="616"/>
                    </a:lnTo>
                    <a:lnTo>
                      <a:pt x="622" y="614"/>
                    </a:lnTo>
                    <a:lnTo>
                      <a:pt x="622" y="614"/>
                    </a:lnTo>
                    <a:lnTo>
                      <a:pt x="624" y="612"/>
                    </a:lnTo>
                    <a:lnTo>
                      <a:pt x="624" y="612"/>
                    </a:lnTo>
                    <a:lnTo>
                      <a:pt x="627" y="614"/>
                    </a:lnTo>
                    <a:lnTo>
                      <a:pt x="629" y="614"/>
                    </a:lnTo>
                    <a:lnTo>
                      <a:pt x="629" y="616"/>
                    </a:lnTo>
                    <a:lnTo>
                      <a:pt x="629" y="622"/>
                    </a:lnTo>
                    <a:lnTo>
                      <a:pt x="633" y="622"/>
                    </a:lnTo>
                    <a:lnTo>
                      <a:pt x="633" y="622"/>
                    </a:lnTo>
                    <a:lnTo>
                      <a:pt x="635" y="622"/>
                    </a:lnTo>
                    <a:lnTo>
                      <a:pt x="637" y="620"/>
                    </a:lnTo>
                    <a:lnTo>
                      <a:pt x="639" y="620"/>
                    </a:lnTo>
                    <a:lnTo>
                      <a:pt x="639" y="618"/>
                    </a:lnTo>
                    <a:lnTo>
                      <a:pt x="639" y="618"/>
                    </a:lnTo>
                    <a:lnTo>
                      <a:pt x="639" y="616"/>
                    </a:lnTo>
                    <a:lnTo>
                      <a:pt x="639" y="616"/>
                    </a:lnTo>
                    <a:lnTo>
                      <a:pt x="639" y="614"/>
                    </a:lnTo>
                    <a:lnTo>
                      <a:pt x="639" y="614"/>
                    </a:lnTo>
                    <a:lnTo>
                      <a:pt x="641" y="612"/>
                    </a:lnTo>
                    <a:lnTo>
                      <a:pt x="641" y="612"/>
                    </a:lnTo>
                    <a:lnTo>
                      <a:pt x="643" y="612"/>
                    </a:lnTo>
                    <a:lnTo>
                      <a:pt x="650" y="612"/>
                    </a:lnTo>
                    <a:lnTo>
                      <a:pt x="652" y="614"/>
                    </a:lnTo>
                    <a:lnTo>
                      <a:pt x="654" y="614"/>
                    </a:lnTo>
                    <a:lnTo>
                      <a:pt x="656" y="614"/>
                    </a:lnTo>
                    <a:lnTo>
                      <a:pt x="656" y="612"/>
                    </a:lnTo>
                    <a:lnTo>
                      <a:pt x="656" y="612"/>
                    </a:lnTo>
                    <a:lnTo>
                      <a:pt x="656" y="608"/>
                    </a:lnTo>
                    <a:lnTo>
                      <a:pt x="656" y="608"/>
                    </a:lnTo>
                    <a:lnTo>
                      <a:pt x="656" y="607"/>
                    </a:lnTo>
                    <a:lnTo>
                      <a:pt x="658" y="605"/>
                    </a:lnTo>
                    <a:lnTo>
                      <a:pt x="658" y="603"/>
                    </a:lnTo>
                    <a:lnTo>
                      <a:pt x="658" y="601"/>
                    </a:lnTo>
                    <a:lnTo>
                      <a:pt x="658" y="595"/>
                    </a:lnTo>
                    <a:lnTo>
                      <a:pt x="658" y="593"/>
                    </a:lnTo>
                    <a:lnTo>
                      <a:pt x="656" y="591"/>
                    </a:lnTo>
                    <a:lnTo>
                      <a:pt x="656" y="591"/>
                    </a:lnTo>
                    <a:lnTo>
                      <a:pt x="656" y="589"/>
                    </a:lnTo>
                    <a:lnTo>
                      <a:pt x="656" y="589"/>
                    </a:lnTo>
                    <a:lnTo>
                      <a:pt x="654" y="589"/>
                    </a:lnTo>
                    <a:lnTo>
                      <a:pt x="654" y="589"/>
                    </a:lnTo>
                    <a:lnTo>
                      <a:pt x="654" y="587"/>
                    </a:lnTo>
                    <a:lnTo>
                      <a:pt x="654" y="586"/>
                    </a:lnTo>
                    <a:lnTo>
                      <a:pt x="658" y="582"/>
                    </a:lnTo>
                    <a:lnTo>
                      <a:pt x="664" y="570"/>
                    </a:lnTo>
                    <a:lnTo>
                      <a:pt x="666" y="568"/>
                    </a:lnTo>
                    <a:lnTo>
                      <a:pt x="666" y="565"/>
                    </a:lnTo>
                    <a:lnTo>
                      <a:pt x="666" y="561"/>
                    </a:lnTo>
                    <a:lnTo>
                      <a:pt x="666" y="559"/>
                    </a:lnTo>
                    <a:lnTo>
                      <a:pt x="664" y="559"/>
                    </a:lnTo>
                    <a:lnTo>
                      <a:pt x="664" y="559"/>
                    </a:lnTo>
                    <a:lnTo>
                      <a:pt x="664" y="559"/>
                    </a:lnTo>
                    <a:lnTo>
                      <a:pt x="662" y="559"/>
                    </a:lnTo>
                    <a:lnTo>
                      <a:pt x="662" y="559"/>
                    </a:lnTo>
                    <a:lnTo>
                      <a:pt x="662" y="559"/>
                    </a:lnTo>
                    <a:lnTo>
                      <a:pt x="660" y="557"/>
                    </a:lnTo>
                    <a:lnTo>
                      <a:pt x="660" y="557"/>
                    </a:lnTo>
                    <a:lnTo>
                      <a:pt x="660" y="553"/>
                    </a:lnTo>
                    <a:lnTo>
                      <a:pt x="660" y="553"/>
                    </a:lnTo>
                    <a:lnTo>
                      <a:pt x="660" y="553"/>
                    </a:lnTo>
                    <a:lnTo>
                      <a:pt x="658" y="553"/>
                    </a:lnTo>
                    <a:lnTo>
                      <a:pt x="658" y="553"/>
                    </a:lnTo>
                    <a:lnTo>
                      <a:pt x="656" y="551"/>
                    </a:lnTo>
                    <a:lnTo>
                      <a:pt x="656" y="551"/>
                    </a:lnTo>
                    <a:lnTo>
                      <a:pt x="654" y="551"/>
                    </a:lnTo>
                    <a:lnTo>
                      <a:pt x="654" y="551"/>
                    </a:lnTo>
                    <a:lnTo>
                      <a:pt x="654" y="549"/>
                    </a:lnTo>
                    <a:lnTo>
                      <a:pt x="656" y="549"/>
                    </a:lnTo>
                    <a:lnTo>
                      <a:pt x="660" y="548"/>
                    </a:lnTo>
                    <a:lnTo>
                      <a:pt x="662" y="546"/>
                    </a:lnTo>
                    <a:lnTo>
                      <a:pt x="662" y="542"/>
                    </a:lnTo>
                    <a:lnTo>
                      <a:pt x="664" y="542"/>
                    </a:lnTo>
                    <a:lnTo>
                      <a:pt x="664" y="542"/>
                    </a:lnTo>
                    <a:lnTo>
                      <a:pt x="666" y="542"/>
                    </a:lnTo>
                    <a:lnTo>
                      <a:pt x="666" y="542"/>
                    </a:lnTo>
                    <a:lnTo>
                      <a:pt x="666" y="542"/>
                    </a:lnTo>
                    <a:lnTo>
                      <a:pt x="667" y="544"/>
                    </a:lnTo>
                    <a:lnTo>
                      <a:pt x="667" y="548"/>
                    </a:lnTo>
                    <a:lnTo>
                      <a:pt x="669" y="548"/>
                    </a:lnTo>
                    <a:lnTo>
                      <a:pt x="669" y="548"/>
                    </a:lnTo>
                    <a:lnTo>
                      <a:pt x="671" y="548"/>
                    </a:lnTo>
                    <a:lnTo>
                      <a:pt x="671" y="549"/>
                    </a:lnTo>
                    <a:lnTo>
                      <a:pt x="677" y="551"/>
                    </a:lnTo>
                    <a:lnTo>
                      <a:pt x="681" y="553"/>
                    </a:lnTo>
                    <a:lnTo>
                      <a:pt x="683" y="555"/>
                    </a:lnTo>
                    <a:lnTo>
                      <a:pt x="685" y="557"/>
                    </a:lnTo>
                    <a:lnTo>
                      <a:pt x="686" y="561"/>
                    </a:lnTo>
                    <a:lnTo>
                      <a:pt x="688" y="563"/>
                    </a:lnTo>
                    <a:lnTo>
                      <a:pt x="688" y="563"/>
                    </a:lnTo>
                    <a:lnTo>
                      <a:pt x="690" y="563"/>
                    </a:lnTo>
                    <a:lnTo>
                      <a:pt x="696" y="563"/>
                    </a:lnTo>
                    <a:lnTo>
                      <a:pt x="698" y="561"/>
                    </a:lnTo>
                    <a:lnTo>
                      <a:pt x="702" y="559"/>
                    </a:lnTo>
                    <a:lnTo>
                      <a:pt x="704" y="559"/>
                    </a:lnTo>
                    <a:lnTo>
                      <a:pt x="706" y="557"/>
                    </a:lnTo>
                    <a:lnTo>
                      <a:pt x="707" y="557"/>
                    </a:lnTo>
                    <a:lnTo>
                      <a:pt x="709" y="555"/>
                    </a:lnTo>
                    <a:lnTo>
                      <a:pt x="709" y="553"/>
                    </a:lnTo>
                    <a:lnTo>
                      <a:pt x="709" y="551"/>
                    </a:lnTo>
                    <a:lnTo>
                      <a:pt x="711" y="549"/>
                    </a:lnTo>
                    <a:lnTo>
                      <a:pt x="709" y="548"/>
                    </a:lnTo>
                    <a:lnTo>
                      <a:pt x="709" y="548"/>
                    </a:lnTo>
                    <a:lnTo>
                      <a:pt x="713" y="544"/>
                    </a:lnTo>
                    <a:lnTo>
                      <a:pt x="721" y="538"/>
                    </a:lnTo>
                    <a:lnTo>
                      <a:pt x="721" y="536"/>
                    </a:lnTo>
                    <a:lnTo>
                      <a:pt x="723" y="536"/>
                    </a:lnTo>
                    <a:lnTo>
                      <a:pt x="723" y="534"/>
                    </a:lnTo>
                    <a:lnTo>
                      <a:pt x="723" y="532"/>
                    </a:lnTo>
                    <a:lnTo>
                      <a:pt x="723" y="530"/>
                    </a:lnTo>
                    <a:lnTo>
                      <a:pt x="723" y="519"/>
                    </a:lnTo>
                    <a:lnTo>
                      <a:pt x="721" y="515"/>
                    </a:lnTo>
                    <a:lnTo>
                      <a:pt x="719" y="513"/>
                    </a:lnTo>
                    <a:lnTo>
                      <a:pt x="719" y="509"/>
                    </a:lnTo>
                    <a:lnTo>
                      <a:pt x="717" y="508"/>
                    </a:lnTo>
                    <a:lnTo>
                      <a:pt x="717" y="506"/>
                    </a:lnTo>
                    <a:lnTo>
                      <a:pt x="715" y="506"/>
                    </a:lnTo>
                    <a:lnTo>
                      <a:pt x="713" y="504"/>
                    </a:lnTo>
                    <a:lnTo>
                      <a:pt x="711" y="500"/>
                    </a:lnTo>
                    <a:lnTo>
                      <a:pt x="709" y="498"/>
                    </a:lnTo>
                    <a:lnTo>
                      <a:pt x="707" y="496"/>
                    </a:lnTo>
                    <a:lnTo>
                      <a:pt x="706" y="496"/>
                    </a:lnTo>
                    <a:lnTo>
                      <a:pt x="702" y="494"/>
                    </a:lnTo>
                    <a:lnTo>
                      <a:pt x="700" y="492"/>
                    </a:lnTo>
                    <a:lnTo>
                      <a:pt x="700" y="490"/>
                    </a:lnTo>
                    <a:lnTo>
                      <a:pt x="698" y="489"/>
                    </a:lnTo>
                    <a:lnTo>
                      <a:pt x="696" y="489"/>
                    </a:lnTo>
                    <a:lnTo>
                      <a:pt x="696" y="487"/>
                    </a:lnTo>
                    <a:lnTo>
                      <a:pt x="694" y="487"/>
                    </a:lnTo>
                    <a:lnTo>
                      <a:pt x="694" y="487"/>
                    </a:lnTo>
                    <a:lnTo>
                      <a:pt x="692" y="489"/>
                    </a:lnTo>
                    <a:lnTo>
                      <a:pt x="690" y="489"/>
                    </a:lnTo>
                    <a:lnTo>
                      <a:pt x="688" y="489"/>
                    </a:lnTo>
                    <a:lnTo>
                      <a:pt x="683" y="485"/>
                    </a:lnTo>
                    <a:lnTo>
                      <a:pt x="679" y="481"/>
                    </a:lnTo>
                    <a:lnTo>
                      <a:pt x="677" y="479"/>
                    </a:lnTo>
                    <a:lnTo>
                      <a:pt x="677" y="477"/>
                    </a:lnTo>
                    <a:lnTo>
                      <a:pt x="679" y="477"/>
                    </a:lnTo>
                    <a:lnTo>
                      <a:pt x="679" y="477"/>
                    </a:lnTo>
                    <a:lnTo>
                      <a:pt x="679" y="477"/>
                    </a:lnTo>
                    <a:lnTo>
                      <a:pt x="681" y="477"/>
                    </a:lnTo>
                    <a:lnTo>
                      <a:pt x="688" y="481"/>
                    </a:lnTo>
                    <a:lnTo>
                      <a:pt x="688" y="481"/>
                    </a:lnTo>
                    <a:lnTo>
                      <a:pt x="690" y="481"/>
                    </a:lnTo>
                    <a:lnTo>
                      <a:pt x="690" y="481"/>
                    </a:lnTo>
                    <a:lnTo>
                      <a:pt x="692" y="481"/>
                    </a:lnTo>
                    <a:lnTo>
                      <a:pt x="692" y="481"/>
                    </a:lnTo>
                    <a:lnTo>
                      <a:pt x="694" y="481"/>
                    </a:lnTo>
                    <a:lnTo>
                      <a:pt x="694" y="481"/>
                    </a:lnTo>
                    <a:lnTo>
                      <a:pt x="696" y="481"/>
                    </a:lnTo>
                    <a:lnTo>
                      <a:pt x="696" y="481"/>
                    </a:lnTo>
                    <a:lnTo>
                      <a:pt x="696" y="481"/>
                    </a:lnTo>
                    <a:lnTo>
                      <a:pt x="698" y="479"/>
                    </a:lnTo>
                    <a:lnTo>
                      <a:pt x="700" y="479"/>
                    </a:lnTo>
                    <a:lnTo>
                      <a:pt x="700" y="477"/>
                    </a:lnTo>
                    <a:lnTo>
                      <a:pt x="702" y="477"/>
                    </a:lnTo>
                    <a:lnTo>
                      <a:pt x="704" y="477"/>
                    </a:lnTo>
                    <a:lnTo>
                      <a:pt x="706" y="477"/>
                    </a:lnTo>
                    <a:lnTo>
                      <a:pt x="706" y="475"/>
                    </a:lnTo>
                    <a:lnTo>
                      <a:pt x="707" y="468"/>
                    </a:lnTo>
                    <a:lnTo>
                      <a:pt x="709" y="466"/>
                    </a:lnTo>
                    <a:lnTo>
                      <a:pt x="709" y="466"/>
                    </a:lnTo>
                    <a:lnTo>
                      <a:pt x="711" y="466"/>
                    </a:lnTo>
                    <a:lnTo>
                      <a:pt x="713" y="468"/>
                    </a:lnTo>
                    <a:lnTo>
                      <a:pt x="713" y="468"/>
                    </a:lnTo>
                    <a:lnTo>
                      <a:pt x="715" y="468"/>
                    </a:lnTo>
                    <a:lnTo>
                      <a:pt x="723" y="466"/>
                    </a:lnTo>
                    <a:lnTo>
                      <a:pt x="725" y="464"/>
                    </a:lnTo>
                    <a:lnTo>
                      <a:pt x="725" y="462"/>
                    </a:lnTo>
                    <a:lnTo>
                      <a:pt x="727" y="454"/>
                    </a:lnTo>
                    <a:lnTo>
                      <a:pt x="728" y="451"/>
                    </a:lnTo>
                    <a:lnTo>
                      <a:pt x="730" y="449"/>
                    </a:lnTo>
                    <a:lnTo>
                      <a:pt x="732" y="449"/>
                    </a:lnTo>
                    <a:lnTo>
                      <a:pt x="734" y="447"/>
                    </a:lnTo>
                    <a:lnTo>
                      <a:pt x="738" y="443"/>
                    </a:lnTo>
                    <a:lnTo>
                      <a:pt x="740" y="441"/>
                    </a:lnTo>
                    <a:lnTo>
                      <a:pt x="740" y="441"/>
                    </a:lnTo>
                    <a:lnTo>
                      <a:pt x="742" y="441"/>
                    </a:lnTo>
                    <a:lnTo>
                      <a:pt x="746" y="443"/>
                    </a:lnTo>
                    <a:lnTo>
                      <a:pt x="746" y="443"/>
                    </a:lnTo>
                    <a:lnTo>
                      <a:pt x="748" y="443"/>
                    </a:lnTo>
                    <a:lnTo>
                      <a:pt x="765" y="439"/>
                    </a:lnTo>
                    <a:lnTo>
                      <a:pt x="767" y="437"/>
                    </a:lnTo>
                    <a:lnTo>
                      <a:pt x="768" y="435"/>
                    </a:lnTo>
                    <a:lnTo>
                      <a:pt x="770" y="435"/>
                    </a:lnTo>
                    <a:lnTo>
                      <a:pt x="770" y="433"/>
                    </a:lnTo>
                    <a:lnTo>
                      <a:pt x="772" y="433"/>
                    </a:lnTo>
                    <a:lnTo>
                      <a:pt x="772" y="431"/>
                    </a:lnTo>
                    <a:lnTo>
                      <a:pt x="772" y="430"/>
                    </a:lnTo>
                    <a:lnTo>
                      <a:pt x="770" y="430"/>
                    </a:lnTo>
                    <a:lnTo>
                      <a:pt x="770" y="428"/>
                    </a:lnTo>
                    <a:lnTo>
                      <a:pt x="770" y="428"/>
                    </a:lnTo>
                    <a:lnTo>
                      <a:pt x="770" y="426"/>
                    </a:lnTo>
                    <a:lnTo>
                      <a:pt x="768" y="426"/>
                    </a:lnTo>
                    <a:lnTo>
                      <a:pt x="768" y="426"/>
                    </a:lnTo>
                    <a:lnTo>
                      <a:pt x="767" y="428"/>
                    </a:lnTo>
                    <a:lnTo>
                      <a:pt x="765" y="428"/>
                    </a:lnTo>
                    <a:lnTo>
                      <a:pt x="765" y="430"/>
                    </a:lnTo>
                    <a:lnTo>
                      <a:pt x="763" y="430"/>
                    </a:lnTo>
                    <a:lnTo>
                      <a:pt x="757" y="430"/>
                    </a:lnTo>
                    <a:lnTo>
                      <a:pt x="757" y="430"/>
                    </a:lnTo>
                    <a:lnTo>
                      <a:pt x="755" y="430"/>
                    </a:lnTo>
                    <a:lnTo>
                      <a:pt x="755" y="428"/>
                    </a:lnTo>
                    <a:lnTo>
                      <a:pt x="755" y="428"/>
                    </a:lnTo>
                    <a:lnTo>
                      <a:pt x="753" y="428"/>
                    </a:lnTo>
                    <a:lnTo>
                      <a:pt x="753" y="428"/>
                    </a:lnTo>
                    <a:lnTo>
                      <a:pt x="751" y="428"/>
                    </a:lnTo>
                    <a:lnTo>
                      <a:pt x="751" y="428"/>
                    </a:lnTo>
                    <a:lnTo>
                      <a:pt x="749" y="428"/>
                    </a:lnTo>
                    <a:lnTo>
                      <a:pt x="749" y="428"/>
                    </a:lnTo>
                    <a:lnTo>
                      <a:pt x="749" y="430"/>
                    </a:lnTo>
                    <a:lnTo>
                      <a:pt x="748" y="430"/>
                    </a:lnTo>
                    <a:lnTo>
                      <a:pt x="738" y="428"/>
                    </a:lnTo>
                    <a:lnTo>
                      <a:pt x="736" y="428"/>
                    </a:lnTo>
                    <a:lnTo>
                      <a:pt x="734" y="430"/>
                    </a:lnTo>
                    <a:lnTo>
                      <a:pt x="728" y="431"/>
                    </a:lnTo>
                    <a:lnTo>
                      <a:pt x="725" y="431"/>
                    </a:lnTo>
                    <a:lnTo>
                      <a:pt x="715" y="433"/>
                    </a:lnTo>
                    <a:lnTo>
                      <a:pt x="713" y="435"/>
                    </a:lnTo>
                    <a:lnTo>
                      <a:pt x="711" y="435"/>
                    </a:lnTo>
                    <a:lnTo>
                      <a:pt x="711" y="435"/>
                    </a:lnTo>
                    <a:lnTo>
                      <a:pt x="709" y="433"/>
                    </a:lnTo>
                    <a:lnTo>
                      <a:pt x="709" y="431"/>
                    </a:lnTo>
                    <a:lnTo>
                      <a:pt x="707" y="430"/>
                    </a:lnTo>
                    <a:lnTo>
                      <a:pt x="704" y="426"/>
                    </a:lnTo>
                    <a:lnTo>
                      <a:pt x="704" y="424"/>
                    </a:lnTo>
                    <a:lnTo>
                      <a:pt x="704" y="422"/>
                    </a:lnTo>
                    <a:lnTo>
                      <a:pt x="704" y="420"/>
                    </a:lnTo>
                    <a:lnTo>
                      <a:pt x="704" y="420"/>
                    </a:lnTo>
                    <a:lnTo>
                      <a:pt x="707" y="420"/>
                    </a:lnTo>
                    <a:lnTo>
                      <a:pt x="709" y="418"/>
                    </a:lnTo>
                    <a:lnTo>
                      <a:pt x="713" y="416"/>
                    </a:lnTo>
                    <a:lnTo>
                      <a:pt x="713" y="412"/>
                    </a:lnTo>
                    <a:lnTo>
                      <a:pt x="713" y="411"/>
                    </a:lnTo>
                    <a:lnTo>
                      <a:pt x="713" y="409"/>
                    </a:lnTo>
                    <a:lnTo>
                      <a:pt x="711" y="407"/>
                    </a:lnTo>
                    <a:lnTo>
                      <a:pt x="709" y="407"/>
                    </a:lnTo>
                    <a:lnTo>
                      <a:pt x="709" y="405"/>
                    </a:lnTo>
                    <a:lnTo>
                      <a:pt x="709" y="403"/>
                    </a:lnTo>
                    <a:lnTo>
                      <a:pt x="709" y="401"/>
                    </a:lnTo>
                    <a:lnTo>
                      <a:pt x="709" y="397"/>
                    </a:lnTo>
                    <a:lnTo>
                      <a:pt x="707" y="395"/>
                    </a:lnTo>
                    <a:lnTo>
                      <a:pt x="709" y="393"/>
                    </a:lnTo>
                    <a:lnTo>
                      <a:pt x="709" y="392"/>
                    </a:lnTo>
                    <a:lnTo>
                      <a:pt x="711" y="390"/>
                    </a:lnTo>
                    <a:lnTo>
                      <a:pt x="713" y="390"/>
                    </a:lnTo>
                    <a:lnTo>
                      <a:pt x="717" y="390"/>
                    </a:lnTo>
                    <a:lnTo>
                      <a:pt x="721" y="386"/>
                    </a:lnTo>
                    <a:lnTo>
                      <a:pt x="723" y="388"/>
                    </a:lnTo>
                    <a:lnTo>
                      <a:pt x="727" y="386"/>
                    </a:lnTo>
                    <a:lnTo>
                      <a:pt x="730" y="384"/>
                    </a:lnTo>
                    <a:lnTo>
                      <a:pt x="730" y="382"/>
                    </a:lnTo>
                    <a:lnTo>
                      <a:pt x="742" y="376"/>
                    </a:lnTo>
                    <a:lnTo>
                      <a:pt x="749" y="376"/>
                    </a:lnTo>
                    <a:lnTo>
                      <a:pt x="749" y="365"/>
                    </a:lnTo>
                    <a:lnTo>
                      <a:pt x="751" y="361"/>
                    </a:lnTo>
                    <a:lnTo>
                      <a:pt x="751" y="359"/>
                    </a:lnTo>
                    <a:lnTo>
                      <a:pt x="751" y="357"/>
                    </a:lnTo>
                    <a:lnTo>
                      <a:pt x="749" y="357"/>
                    </a:lnTo>
                    <a:lnTo>
                      <a:pt x="749" y="355"/>
                    </a:lnTo>
                    <a:lnTo>
                      <a:pt x="748" y="353"/>
                    </a:lnTo>
                    <a:lnTo>
                      <a:pt x="748" y="352"/>
                    </a:lnTo>
                    <a:lnTo>
                      <a:pt x="748" y="348"/>
                    </a:lnTo>
                    <a:lnTo>
                      <a:pt x="746" y="346"/>
                    </a:lnTo>
                    <a:lnTo>
                      <a:pt x="746" y="344"/>
                    </a:lnTo>
                    <a:lnTo>
                      <a:pt x="744" y="342"/>
                    </a:lnTo>
                    <a:lnTo>
                      <a:pt x="742" y="342"/>
                    </a:lnTo>
                    <a:lnTo>
                      <a:pt x="742" y="340"/>
                    </a:lnTo>
                    <a:lnTo>
                      <a:pt x="742" y="336"/>
                    </a:lnTo>
                    <a:lnTo>
                      <a:pt x="742" y="334"/>
                    </a:lnTo>
                    <a:lnTo>
                      <a:pt x="742" y="333"/>
                    </a:lnTo>
                    <a:lnTo>
                      <a:pt x="742" y="329"/>
                    </a:lnTo>
                    <a:lnTo>
                      <a:pt x="742" y="325"/>
                    </a:lnTo>
                    <a:lnTo>
                      <a:pt x="742" y="323"/>
                    </a:lnTo>
                    <a:lnTo>
                      <a:pt x="744" y="323"/>
                    </a:lnTo>
                    <a:lnTo>
                      <a:pt x="744" y="323"/>
                    </a:lnTo>
                    <a:lnTo>
                      <a:pt x="744" y="321"/>
                    </a:lnTo>
                    <a:lnTo>
                      <a:pt x="746" y="321"/>
                    </a:lnTo>
                    <a:lnTo>
                      <a:pt x="746" y="323"/>
                    </a:lnTo>
                    <a:lnTo>
                      <a:pt x="748" y="323"/>
                    </a:lnTo>
                    <a:lnTo>
                      <a:pt x="749" y="325"/>
                    </a:lnTo>
                    <a:lnTo>
                      <a:pt x="749" y="325"/>
                    </a:lnTo>
                    <a:lnTo>
                      <a:pt x="751" y="325"/>
                    </a:lnTo>
                    <a:lnTo>
                      <a:pt x="753" y="325"/>
                    </a:lnTo>
                    <a:lnTo>
                      <a:pt x="757" y="325"/>
                    </a:lnTo>
                    <a:lnTo>
                      <a:pt x="759" y="325"/>
                    </a:lnTo>
                    <a:lnTo>
                      <a:pt x="761" y="323"/>
                    </a:lnTo>
                    <a:lnTo>
                      <a:pt x="763" y="321"/>
                    </a:lnTo>
                    <a:lnTo>
                      <a:pt x="763" y="321"/>
                    </a:lnTo>
                    <a:lnTo>
                      <a:pt x="765" y="319"/>
                    </a:lnTo>
                    <a:lnTo>
                      <a:pt x="765" y="319"/>
                    </a:lnTo>
                    <a:lnTo>
                      <a:pt x="765" y="317"/>
                    </a:lnTo>
                    <a:lnTo>
                      <a:pt x="765" y="315"/>
                    </a:lnTo>
                    <a:lnTo>
                      <a:pt x="763" y="315"/>
                    </a:lnTo>
                    <a:lnTo>
                      <a:pt x="761" y="314"/>
                    </a:lnTo>
                    <a:lnTo>
                      <a:pt x="759" y="314"/>
                    </a:lnTo>
                    <a:lnTo>
                      <a:pt x="755" y="314"/>
                    </a:lnTo>
                    <a:lnTo>
                      <a:pt x="749" y="314"/>
                    </a:lnTo>
                    <a:lnTo>
                      <a:pt x="748" y="314"/>
                    </a:lnTo>
                    <a:lnTo>
                      <a:pt x="746" y="314"/>
                    </a:lnTo>
                    <a:lnTo>
                      <a:pt x="744" y="312"/>
                    </a:lnTo>
                    <a:lnTo>
                      <a:pt x="738" y="306"/>
                    </a:lnTo>
                    <a:lnTo>
                      <a:pt x="738" y="304"/>
                    </a:lnTo>
                    <a:lnTo>
                      <a:pt x="738" y="302"/>
                    </a:lnTo>
                    <a:lnTo>
                      <a:pt x="738" y="300"/>
                    </a:lnTo>
                    <a:lnTo>
                      <a:pt x="740" y="300"/>
                    </a:lnTo>
                    <a:lnTo>
                      <a:pt x="740" y="298"/>
                    </a:lnTo>
                    <a:lnTo>
                      <a:pt x="742" y="298"/>
                    </a:lnTo>
                    <a:lnTo>
                      <a:pt x="742" y="298"/>
                    </a:lnTo>
                    <a:lnTo>
                      <a:pt x="749" y="300"/>
                    </a:lnTo>
                    <a:lnTo>
                      <a:pt x="749" y="300"/>
                    </a:lnTo>
                    <a:lnTo>
                      <a:pt x="751" y="300"/>
                    </a:lnTo>
                    <a:lnTo>
                      <a:pt x="753" y="300"/>
                    </a:lnTo>
                    <a:lnTo>
                      <a:pt x="753" y="298"/>
                    </a:lnTo>
                    <a:lnTo>
                      <a:pt x="759" y="294"/>
                    </a:lnTo>
                    <a:lnTo>
                      <a:pt x="768" y="287"/>
                    </a:lnTo>
                    <a:lnTo>
                      <a:pt x="768" y="287"/>
                    </a:lnTo>
                    <a:lnTo>
                      <a:pt x="770" y="287"/>
                    </a:lnTo>
                    <a:lnTo>
                      <a:pt x="774" y="287"/>
                    </a:lnTo>
                    <a:lnTo>
                      <a:pt x="776" y="285"/>
                    </a:lnTo>
                    <a:lnTo>
                      <a:pt x="776" y="285"/>
                    </a:lnTo>
                    <a:lnTo>
                      <a:pt x="778" y="285"/>
                    </a:lnTo>
                    <a:lnTo>
                      <a:pt x="780" y="283"/>
                    </a:lnTo>
                    <a:lnTo>
                      <a:pt x="780" y="283"/>
                    </a:lnTo>
                    <a:lnTo>
                      <a:pt x="782" y="281"/>
                    </a:lnTo>
                    <a:lnTo>
                      <a:pt x="791" y="260"/>
                    </a:lnTo>
                    <a:lnTo>
                      <a:pt x="791" y="258"/>
                    </a:lnTo>
                    <a:lnTo>
                      <a:pt x="791" y="255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8" name="Freeform 30">
                <a:extLst>
                  <a:ext uri="{FF2B5EF4-FFF2-40B4-BE49-F238E27FC236}">
                    <a16:creationId xmlns:a16="http://schemas.microsoft.com/office/drawing/2014/main" id="{3B07136B-EF12-4B1B-9375-1135574D7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4394" y="6204424"/>
                <a:ext cx="123825" cy="184150"/>
              </a:xfrm>
              <a:custGeom>
                <a:avLst/>
                <a:gdLst>
                  <a:gd name="T0" fmla="*/ 76 w 78"/>
                  <a:gd name="T1" fmla="*/ 55 h 116"/>
                  <a:gd name="T2" fmla="*/ 73 w 78"/>
                  <a:gd name="T3" fmla="*/ 49 h 116"/>
                  <a:gd name="T4" fmla="*/ 73 w 78"/>
                  <a:gd name="T5" fmla="*/ 43 h 116"/>
                  <a:gd name="T6" fmla="*/ 71 w 78"/>
                  <a:gd name="T7" fmla="*/ 38 h 116"/>
                  <a:gd name="T8" fmla="*/ 71 w 78"/>
                  <a:gd name="T9" fmla="*/ 24 h 116"/>
                  <a:gd name="T10" fmla="*/ 65 w 78"/>
                  <a:gd name="T11" fmla="*/ 17 h 116"/>
                  <a:gd name="T12" fmla="*/ 59 w 78"/>
                  <a:gd name="T13" fmla="*/ 17 h 116"/>
                  <a:gd name="T14" fmla="*/ 54 w 78"/>
                  <a:gd name="T15" fmla="*/ 19 h 116"/>
                  <a:gd name="T16" fmla="*/ 38 w 78"/>
                  <a:gd name="T17" fmla="*/ 20 h 116"/>
                  <a:gd name="T18" fmla="*/ 31 w 78"/>
                  <a:gd name="T19" fmla="*/ 17 h 116"/>
                  <a:gd name="T20" fmla="*/ 27 w 78"/>
                  <a:gd name="T21" fmla="*/ 5 h 116"/>
                  <a:gd name="T22" fmla="*/ 21 w 78"/>
                  <a:gd name="T23" fmla="*/ 3 h 116"/>
                  <a:gd name="T24" fmla="*/ 19 w 78"/>
                  <a:gd name="T25" fmla="*/ 0 h 116"/>
                  <a:gd name="T26" fmla="*/ 17 w 78"/>
                  <a:gd name="T27" fmla="*/ 1 h 116"/>
                  <a:gd name="T28" fmla="*/ 12 w 78"/>
                  <a:gd name="T29" fmla="*/ 5 h 116"/>
                  <a:gd name="T30" fmla="*/ 0 w 78"/>
                  <a:gd name="T31" fmla="*/ 9 h 116"/>
                  <a:gd name="T32" fmla="*/ 4 w 78"/>
                  <a:gd name="T33" fmla="*/ 19 h 116"/>
                  <a:gd name="T34" fmla="*/ 12 w 78"/>
                  <a:gd name="T35" fmla="*/ 17 h 116"/>
                  <a:gd name="T36" fmla="*/ 19 w 78"/>
                  <a:gd name="T37" fmla="*/ 17 h 116"/>
                  <a:gd name="T38" fmla="*/ 8 w 78"/>
                  <a:gd name="T39" fmla="*/ 22 h 116"/>
                  <a:gd name="T40" fmla="*/ 8 w 78"/>
                  <a:gd name="T41" fmla="*/ 26 h 116"/>
                  <a:gd name="T42" fmla="*/ 12 w 78"/>
                  <a:gd name="T43" fmla="*/ 36 h 116"/>
                  <a:gd name="T44" fmla="*/ 23 w 78"/>
                  <a:gd name="T45" fmla="*/ 32 h 116"/>
                  <a:gd name="T46" fmla="*/ 23 w 78"/>
                  <a:gd name="T47" fmla="*/ 34 h 116"/>
                  <a:gd name="T48" fmla="*/ 15 w 78"/>
                  <a:gd name="T49" fmla="*/ 39 h 116"/>
                  <a:gd name="T50" fmla="*/ 19 w 78"/>
                  <a:gd name="T51" fmla="*/ 43 h 116"/>
                  <a:gd name="T52" fmla="*/ 23 w 78"/>
                  <a:gd name="T53" fmla="*/ 45 h 116"/>
                  <a:gd name="T54" fmla="*/ 33 w 78"/>
                  <a:gd name="T55" fmla="*/ 47 h 116"/>
                  <a:gd name="T56" fmla="*/ 34 w 78"/>
                  <a:gd name="T57" fmla="*/ 53 h 116"/>
                  <a:gd name="T58" fmla="*/ 33 w 78"/>
                  <a:gd name="T59" fmla="*/ 49 h 116"/>
                  <a:gd name="T60" fmla="*/ 23 w 78"/>
                  <a:gd name="T61" fmla="*/ 47 h 116"/>
                  <a:gd name="T62" fmla="*/ 15 w 78"/>
                  <a:gd name="T63" fmla="*/ 51 h 116"/>
                  <a:gd name="T64" fmla="*/ 25 w 78"/>
                  <a:gd name="T65" fmla="*/ 55 h 116"/>
                  <a:gd name="T66" fmla="*/ 34 w 78"/>
                  <a:gd name="T67" fmla="*/ 81 h 116"/>
                  <a:gd name="T68" fmla="*/ 31 w 78"/>
                  <a:gd name="T69" fmla="*/ 87 h 116"/>
                  <a:gd name="T70" fmla="*/ 40 w 78"/>
                  <a:gd name="T71" fmla="*/ 98 h 116"/>
                  <a:gd name="T72" fmla="*/ 44 w 78"/>
                  <a:gd name="T73" fmla="*/ 104 h 116"/>
                  <a:gd name="T74" fmla="*/ 50 w 78"/>
                  <a:gd name="T75" fmla="*/ 114 h 116"/>
                  <a:gd name="T76" fmla="*/ 59 w 78"/>
                  <a:gd name="T77" fmla="*/ 110 h 116"/>
                  <a:gd name="T78" fmla="*/ 65 w 78"/>
                  <a:gd name="T79" fmla="*/ 110 h 116"/>
                  <a:gd name="T80" fmla="*/ 71 w 78"/>
                  <a:gd name="T81" fmla="*/ 106 h 116"/>
                  <a:gd name="T82" fmla="*/ 73 w 78"/>
                  <a:gd name="T83" fmla="*/ 98 h 116"/>
                  <a:gd name="T84" fmla="*/ 73 w 78"/>
                  <a:gd name="T85" fmla="*/ 95 h 116"/>
                  <a:gd name="T86" fmla="*/ 73 w 78"/>
                  <a:gd name="T87" fmla="*/ 85 h 116"/>
                  <a:gd name="T88" fmla="*/ 76 w 78"/>
                  <a:gd name="T89" fmla="*/ 76 h 116"/>
                  <a:gd name="T90" fmla="*/ 74 w 78"/>
                  <a:gd name="T91" fmla="*/ 74 h 116"/>
                  <a:gd name="T92" fmla="*/ 71 w 78"/>
                  <a:gd name="T93" fmla="*/ 68 h 116"/>
                  <a:gd name="T94" fmla="*/ 74 w 78"/>
                  <a:gd name="T95" fmla="*/ 66 h 116"/>
                  <a:gd name="T96" fmla="*/ 78 w 78"/>
                  <a:gd name="T97" fmla="*/ 62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8" h="116">
                    <a:moveTo>
                      <a:pt x="78" y="59"/>
                    </a:moveTo>
                    <a:lnTo>
                      <a:pt x="78" y="57"/>
                    </a:lnTo>
                    <a:lnTo>
                      <a:pt x="76" y="57"/>
                    </a:lnTo>
                    <a:lnTo>
                      <a:pt x="76" y="55"/>
                    </a:lnTo>
                    <a:lnTo>
                      <a:pt x="73" y="51"/>
                    </a:lnTo>
                    <a:lnTo>
                      <a:pt x="73" y="51"/>
                    </a:lnTo>
                    <a:lnTo>
                      <a:pt x="73" y="49"/>
                    </a:lnTo>
                    <a:lnTo>
                      <a:pt x="73" y="49"/>
                    </a:lnTo>
                    <a:lnTo>
                      <a:pt x="73" y="47"/>
                    </a:lnTo>
                    <a:lnTo>
                      <a:pt x="73" y="47"/>
                    </a:lnTo>
                    <a:lnTo>
                      <a:pt x="73" y="45"/>
                    </a:lnTo>
                    <a:lnTo>
                      <a:pt x="73" y="43"/>
                    </a:lnTo>
                    <a:lnTo>
                      <a:pt x="71" y="43"/>
                    </a:lnTo>
                    <a:lnTo>
                      <a:pt x="71" y="41"/>
                    </a:lnTo>
                    <a:lnTo>
                      <a:pt x="69" y="39"/>
                    </a:lnTo>
                    <a:lnTo>
                      <a:pt x="71" y="38"/>
                    </a:lnTo>
                    <a:lnTo>
                      <a:pt x="73" y="36"/>
                    </a:lnTo>
                    <a:lnTo>
                      <a:pt x="73" y="34"/>
                    </a:lnTo>
                    <a:lnTo>
                      <a:pt x="73" y="32"/>
                    </a:lnTo>
                    <a:lnTo>
                      <a:pt x="71" y="24"/>
                    </a:lnTo>
                    <a:lnTo>
                      <a:pt x="71" y="20"/>
                    </a:lnTo>
                    <a:lnTo>
                      <a:pt x="69" y="20"/>
                    </a:lnTo>
                    <a:lnTo>
                      <a:pt x="69" y="19"/>
                    </a:lnTo>
                    <a:lnTo>
                      <a:pt x="65" y="17"/>
                    </a:lnTo>
                    <a:lnTo>
                      <a:pt x="63" y="17"/>
                    </a:lnTo>
                    <a:lnTo>
                      <a:pt x="61" y="17"/>
                    </a:lnTo>
                    <a:lnTo>
                      <a:pt x="61" y="17"/>
                    </a:lnTo>
                    <a:lnTo>
                      <a:pt x="59" y="17"/>
                    </a:lnTo>
                    <a:lnTo>
                      <a:pt x="59" y="19"/>
                    </a:lnTo>
                    <a:lnTo>
                      <a:pt x="57" y="19"/>
                    </a:lnTo>
                    <a:lnTo>
                      <a:pt x="55" y="19"/>
                    </a:lnTo>
                    <a:lnTo>
                      <a:pt x="54" y="19"/>
                    </a:lnTo>
                    <a:lnTo>
                      <a:pt x="54" y="19"/>
                    </a:lnTo>
                    <a:lnTo>
                      <a:pt x="48" y="19"/>
                    </a:lnTo>
                    <a:lnTo>
                      <a:pt x="40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6" y="20"/>
                    </a:lnTo>
                    <a:lnTo>
                      <a:pt x="33" y="19"/>
                    </a:lnTo>
                    <a:lnTo>
                      <a:pt x="31" y="17"/>
                    </a:lnTo>
                    <a:lnTo>
                      <a:pt x="31" y="15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5" y="5"/>
                    </a:lnTo>
                    <a:lnTo>
                      <a:pt x="23" y="3"/>
                    </a:lnTo>
                    <a:lnTo>
                      <a:pt x="21" y="3"/>
                    </a:lnTo>
                    <a:lnTo>
                      <a:pt x="21" y="3"/>
                    </a:lnTo>
                    <a:lnTo>
                      <a:pt x="19" y="3"/>
                    </a:lnTo>
                    <a:lnTo>
                      <a:pt x="19" y="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1"/>
                    </a:lnTo>
                    <a:lnTo>
                      <a:pt x="15" y="3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4" y="19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12" y="17"/>
                    </a:lnTo>
                    <a:lnTo>
                      <a:pt x="12" y="17"/>
                    </a:lnTo>
                    <a:lnTo>
                      <a:pt x="13" y="15"/>
                    </a:lnTo>
                    <a:lnTo>
                      <a:pt x="15" y="15"/>
                    </a:lnTo>
                    <a:lnTo>
                      <a:pt x="19" y="15"/>
                    </a:lnTo>
                    <a:lnTo>
                      <a:pt x="19" y="17"/>
                    </a:lnTo>
                    <a:lnTo>
                      <a:pt x="13" y="17"/>
                    </a:lnTo>
                    <a:lnTo>
                      <a:pt x="10" y="19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6" y="24"/>
                    </a:lnTo>
                    <a:lnTo>
                      <a:pt x="8" y="26"/>
                    </a:lnTo>
                    <a:lnTo>
                      <a:pt x="8" y="28"/>
                    </a:lnTo>
                    <a:lnTo>
                      <a:pt x="10" y="32"/>
                    </a:lnTo>
                    <a:lnTo>
                      <a:pt x="10" y="34"/>
                    </a:lnTo>
                    <a:lnTo>
                      <a:pt x="12" y="36"/>
                    </a:lnTo>
                    <a:lnTo>
                      <a:pt x="13" y="38"/>
                    </a:lnTo>
                    <a:lnTo>
                      <a:pt x="15" y="36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4"/>
                    </a:lnTo>
                    <a:lnTo>
                      <a:pt x="23" y="34"/>
                    </a:lnTo>
                    <a:lnTo>
                      <a:pt x="23" y="34"/>
                    </a:lnTo>
                    <a:lnTo>
                      <a:pt x="19" y="36"/>
                    </a:lnTo>
                    <a:lnTo>
                      <a:pt x="17" y="36"/>
                    </a:lnTo>
                    <a:lnTo>
                      <a:pt x="15" y="38"/>
                    </a:lnTo>
                    <a:lnTo>
                      <a:pt x="15" y="39"/>
                    </a:lnTo>
                    <a:lnTo>
                      <a:pt x="13" y="41"/>
                    </a:lnTo>
                    <a:lnTo>
                      <a:pt x="15" y="43"/>
                    </a:lnTo>
                    <a:lnTo>
                      <a:pt x="15" y="41"/>
                    </a:lnTo>
                    <a:lnTo>
                      <a:pt x="19" y="43"/>
                    </a:lnTo>
                    <a:lnTo>
                      <a:pt x="21" y="43"/>
                    </a:lnTo>
                    <a:lnTo>
                      <a:pt x="21" y="43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25" y="43"/>
                    </a:lnTo>
                    <a:lnTo>
                      <a:pt x="25" y="45"/>
                    </a:lnTo>
                    <a:lnTo>
                      <a:pt x="31" y="47"/>
                    </a:lnTo>
                    <a:lnTo>
                      <a:pt x="33" y="47"/>
                    </a:lnTo>
                    <a:lnTo>
                      <a:pt x="34" y="51"/>
                    </a:lnTo>
                    <a:lnTo>
                      <a:pt x="36" y="53"/>
                    </a:lnTo>
                    <a:lnTo>
                      <a:pt x="36" y="53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33" y="51"/>
                    </a:lnTo>
                    <a:lnTo>
                      <a:pt x="33" y="49"/>
                    </a:lnTo>
                    <a:lnTo>
                      <a:pt x="27" y="47"/>
                    </a:lnTo>
                    <a:lnTo>
                      <a:pt x="25" y="49"/>
                    </a:lnTo>
                    <a:lnTo>
                      <a:pt x="23" y="49"/>
                    </a:lnTo>
                    <a:lnTo>
                      <a:pt x="23" y="47"/>
                    </a:lnTo>
                    <a:lnTo>
                      <a:pt x="21" y="49"/>
                    </a:lnTo>
                    <a:lnTo>
                      <a:pt x="19" y="49"/>
                    </a:lnTo>
                    <a:lnTo>
                      <a:pt x="13" y="47"/>
                    </a:lnTo>
                    <a:lnTo>
                      <a:pt x="15" y="51"/>
                    </a:lnTo>
                    <a:lnTo>
                      <a:pt x="19" y="53"/>
                    </a:lnTo>
                    <a:lnTo>
                      <a:pt x="21" y="55"/>
                    </a:lnTo>
                    <a:lnTo>
                      <a:pt x="23" y="55"/>
                    </a:lnTo>
                    <a:lnTo>
                      <a:pt x="25" y="55"/>
                    </a:lnTo>
                    <a:lnTo>
                      <a:pt x="27" y="57"/>
                    </a:lnTo>
                    <a:lnTo>
                      <a:pt x="33" y="79"/>
                    </a:lnTo>
                    <a:lnTo>
                      <a:pt x="34" y="79"/>
                    </a:lnTo>
                    <a:lnTo>
                      <a:pt x="34" y="81"/>
                    </a:lnTo>
                    <a:lnTo>
                      <a:pt x="34" y="81"/>
                    </a:lnTo>
                    <a:lnTo>
                      <a:pt x="33" y="83"/>
                    </a:lnTo>
                    <a:lnTo>
                      <a:pt x="31" y="85"/>
                    </a:lnTo>
                    <a:lnTo>
                      <a:pt x="31" y="87"/>
                    </a:lnTo>
                    <a:lnTo>
                      <a:pt x="29" y="91"/>
                    </a:lnTo>
                    <a:lnTo>
                      <a:pt x="36" y="93"/>
                    </a:lnTo>
                    <a:lnTo>
                      <a:pt x="36" y="93"/>
                    </a:lnTo>
                    <a:lnTo>
                      <a:pt x="40" y="98"/>
                    </a:lnTo>
                    <a:lnTo>
                      <a:pt x="40" y="100"/>
                    </a:lnTo>
                    <a:lnTo>
                      <a:pt x="42" y="100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4" y="108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2" y="116"/>
                    </a:lnTo>
                    <a:lnTo>
                      <a:pt x="55" y="114"/>
                    </a:lnTo>
                    <a:lnTo>
                      <a:pt x="59" y="110"/>
                    </a:lnTo>
                    <a:lnTo>
                      <a:pt x="59" y="110"/>
                    </a:lnTo>
                    <a:lnTo>
                      <a:pt x="59" y="110"/>
                    </a:lnTo>
                    <a:lnTo>
                      <a:pt x="63" y="110"/>
                    </a:lnTo>
                    <a:lnTo>
                      <a:pt x="65" y="110"/>
                    </a:lnTo>
                    <a:lnTo>
                      <a:pt x="67" y="110"/>
                    </a:lnTo>
                    <a:lnTo>
                      <a:pt x="69" y="108"/>
                    </a:lnTo>
                    <a:lnTo>
                      <a:pt x="71" y="106"/>
                    </a:lnTo>
                    <a:lnTo>
                      <a:pt x="71" y="106"/>
                    </a:lnTo>
                    <a:lnTo>
                      <a:pt x="71" y="106"/>
                    </a:lnTo>
                    <a:lnTo>
                      <a:pt x="71" y="104"/>
                    </a:lnTo>
                    <a:lnTo>
                      <a:pt x="73" y="100"/>
                    </a:lnTo>
                    <a:lnTo>
                      <a:pt x="73" y="98"/>
                    </a:lnTo>
                    <a:lnTo>
                      <a:pt x="73" y="98"/>
                    </a:lnTo>
                    <a:lnTo>
                      <a:pt x="73" y="97"/>
                    </a:lnTo>
                    <a:lnTo>
                      <a:pt x="73" y="95"/>
                    </a:lnTo>
                    <a:lnTo>
                      <a:pt x="73" y="95"/>
                    </a:lnTo>
                    <a:lnTo>
                      <a:pt x="73" y="91"/>
                    </a:lnTo>
                    <a:lnTo>
                      <a:pt x="73" y="89"/>
                    </a:lnTo>
                    <a:lnTo>
                      <a:pt x="73" y="89"/>
                    </a:lnTo>
                    <a:lnTo>
                      <a:pt x="73" y="85"/>
                    </a:lnTo>
                    <a:lnTo>
                      <a:pt x="73" y="85"/>
                    </a:lnTo>
                    <a:lnTo>
                      <a:pt x="76" y="79"/>
                    </a:lnTo>
                    <a:lnTo>
                      <a:pt x="76" y="78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76" y="74"/>
                    </a:lnTo>
                    <a:lnTo>
                      <a:pt x="74" y="74"/>
                    </a:lnTo>
                    <a:lnTo>
                      <a:pt x="71" y="72"/>
                    </a:lnTo>
                    <a:lnTo>
                      <a:pt x="71" y="70"/>
                    </a:lnTo>
                    <a:lnTo>
                      <a:pt x="71" y="70"/>
                    </a:lnTo>
                    <a:lnTo>
                      <a:pt x="71" y="68"/>
                    </a:lnTo>
                    <a:lnTo>
                      <a:pt x="71" y="68"/>
                    </a:lnTo>
                    <a:lnTo>
                      <a:pt x="71" y="68"/>
                    </a:lnTo>
                    <a:lnTo>
                      <a:pt x="71" y="68"/>
                    </a:lnTo>
                    <a:lnTo>
                      <a:pt x="74" y="66"/>
                    </a:lnTo>
                    <a:lnTo>
                      <a:pt x="76" y="66"/>
                    </a:lnTo>
                    <a:lnTo>
                      <a:pt x="78" y="66"/>
                    </a:lnTo>
                    <a:lnTo>
                      <a:pt x="78" y="64"/>
                    </a:lnTo>
                    <a:lnTo>
                      <a:pt x="78" y="62"/>
                    </a:lnTo>
                    <a:lnTo>
                      <a:pt x="78" y="5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29" name="Freeform 31">
                <a:extLst>
                  <a:ext uri="{FF2B5EF4-FFF2-40B4-BE49-F238E27FC236}">
                    <a16:creationId xmlns:a16="http://schemas.microsoft.com/office/drawing/2014/main" id="{114E5C18-6148-4FD8-A58F-ABB6497E73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56232" y="5164611"/>
                <a:ext cx="377825" cy="77788"/>
              </a:xfrm>
              <a:custGeom>
                <a:avLst/>
                <a:gdLst>
                  <a:gd name="T0" fmla="*/ 238 w 238"/>
                  <a:gd name="T1" fmla="*/ 40 h 49"/>
                  <a:gd name="T2" fmla="*/ 236 w 238"/>
                  <a:gd name="T3" fmla="*/ 38 h 49"/>
                  <a:gd name="T4" fmla="*/ 234 w 238"/>
                  <a:gd name="T5" fmla="*/ 36 h 49"/>
                  <a:gd name="T6" fmla="*/ 234 w 238"/>
                  <a:gd name="T7" fmla="*/ 36 h 49"/>
                  <a:gd name="T8" fmla="*/ 234 w 238"/>
                  <a:gd name="T9" fmla="*/ 38 h 49"/>
                  <a:gd name="T10" fmla="*/ 232 w 238"/>
                  <a:gd name="T11" fmla="*/ 40 h 49"/>
                  <a:gd name="T12" fmla="*/ 230 w 238"/>
                  <a:gd name="T13" fmla="*/ 44 h 49"/>
                  <a:gd name="T14" fmla="*/ 230 w 238"/>
                  <a:gd name="T15" fmla="*/ 48 h 49"/>
                  <a:gd name="T16" fmla="*/ 230 w 238"/>
                  <a:gd name="T17" fmla="*/ 49 h 49"/>
                  <a:gd name="T18" fmla="*/ 230 w 238"/>
                  <a:gd name="T19" fmla="*/ 49 h 49"/>
                  <a:gd name="T20" fmla="*/ 234 w 238"/>
                  <a:gd name="T21" fmla="*/ 49 h 49"/>
                  <a:gd name="T22" fmla="*/ 236 w 238"/>
                  <a:gd name="T23" fmla="*/ 48 h 49"/>
                  <a:gd name="T24" fmla="*/ 238 w 238"/>
                  <a:gd name="T25" fmla="*/ 48 h 49"/>
                  <a:gd name="T26" fmla="*/ 238 w 238"/>
                  <a:gd name="T27" fmla="*/ 44 h 49"/>
                  <a:gd name="T28" fmla="*/ 238 w 238"/>
                  <a:gd name="T29" fmla="*/ 40 h 49"/>
                  <a:gd name="T30" fmla="*/ 2 w 238"/>
                  <a:gd name="T31" fmla="*/ 0 h 49"/>
                  <a:gd name="T32" fmla="*/ 0 w 238"/>
                  <a:gd name="T33" fmla="*/ 0 h 49"/>
                  <a:gd name="T34" fmla="*/ 0 w 238"/>
                  <a:gd name="T35" fmla="*/ 2 h 49"/>
                  <a:gd name="T36" fmla="*/ 0 w 238"/>
                  <a:gd name="T37" fmla="*/ 2 h 49"/>
                  <a:gd name="T38" fmla="*/ 0 w 238"/>
                  <a:gd name="T39" fmla="*/ 4 h 49"/>
                  <a:gd name="T40" fmla="*/ 0 w 238"/>
                  <a:gd name="T41" fmla="*/ 4 h 49"/>
                  <a:gd name="T42" fmla="*/ 0 w 238"/>
                  <a:gd name="T43" fmla="*/ 4 h 49"/>
                  <a:gd name="T44" fmla="*/ 3 w 238"/>
                  <a:gd name="T45" fmla="*/ 2 h 49"/>
                  <a:gd name="T46" fmla="*/ 3 w 238"/>
                  <a:gd name="T47" fmla="*/ 0 h 49"/>
                  <a:gd name="T48" fmla="*/ 3 w 238"/>
                  <a:gd name="T49" fmla="*/ 0 h 49"/>
                  <a:gd name="T50" fmla="*/ 2 w 238"/>
                  <a:gd name="T51" fmla="*/ 0 h 49"/>
                  <a:gd name="T52" fmla="*/ 2 w 238"/>
                  <a:gd name="T5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8" h="49">
                    <a:moveTo>
                      <a:pt x="238" y="40"/>
                    </a:moveTo>
                    <a:lnTo>
                      <a:pt x="236" y="38"/>
                    </a:lnTo>
                    <a:lnTo>
                      <a:pt x="234" y="36"/>
                    </a:lnTo>
                    <a:lnTo>
                      <a:pt x="234" y="36"/>
                    </a:lnTo>
                    <a:lnTo>
                      <a:pt x="234" y="38"/>
                    </a:lnTo>
                    <a:lnTo>
                      <a:pt x="232" y="40"/>
                    </a:lnTo>
                    <a:lnTo>
                      <a:pt x="230" y="44"/>
                    </a:lnTo>
                    <a:lnTo>
                      <a:pt x="230" y="48"/>
                    </a:lnTo>
                    <a:lnTo>
                      <a:pt x="230" y="49"/>
                    </a:lnTo>
                    <a:lnTo>
                      <a:pt x="230" y="49"/>
                    </a:lnTo>
                    <a:lnTo>
                      <a:pt x="234" y="49"/>
                    </a:lnTo>
                    <a:lnTo>
                      <a:pt x="236" y="48"/>
                    </a:lnTo>
                    <a:lnTo>
                      <a:pt x="238" y="48"/>
                    </a:lnTo>
                    <a:lnTo>
                      <a:pt x="238" y="44"/>
                    </a:lnTo>
                    <a:lnTo>
                      <a:pt x="238" y="40"/>
                    </a:lnTo>
                    <a:close/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0" name="Freeform 32">
                <a:extLst>
                  <a:ext uri="{FF2B5EF4-FFF2-40B4-BE49-F238E27FC236}">
                    <a16:creationId xmlns:a16="http://schemas.microsoft.com/office/drawing/2014/main" id="{4E11076E-EFBA-4C2D-8A05-AD662A6EC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232" y="5251924"/>
                <a:ext cx="53975" cy="63500"/>
              </a:xfrm>
              <a:custGeom>
                <a:avLst/>
                <a:gdLst>
                  <a:gd name="T0" fmla="*/ 34 w 34"/>
                  <a:gd name="T1" fmla="*/ 21 h 40"/>
                  <a:gd name="T2" fmla="*/ 29 w 34"/>
                  <a:gd name="T3" fmla="*/ 19 h 40"/>
                  <a:gd name="T4" fmla="*/ 27 w 34"/>
                  <a:gd name="T5" fmla="*/ 21 h 40"/>
                  <a:gd name="T6" fmla="*/ 27 w 34"/>
                  <a:gd name="T7" fmla="*/ 23 h 40"/>
                  <a:gd name="T8" fmla="*/ 27 w 34"/>
                  <a:gd name="T9" fmla="*/ 25 h 40"/>
                  <a:gd name="T10" fmla="*/ 25 w 34"/>
                  <a:gd name="T11" fmla="*/ 25 h 40"/>
                  <a:gd name="T12" fmla="*/ 21 w 34"/>
                  <a:gd name="T13" fmla="*/ 25 h 40"/>
                  <a:gd name="T14" fmla="*/ 19 w 34"/>
                  <a:gd name="T15" fmla="*/ 23 h 40"/>
                  <a:gd name="T16" fmla="*/ 17 w 34"/>
                  <a:gd name="T17" fmla="*/ 17 h 40"/>
                  <a:gd name="T18" fmla="*/ 17 w 34"/>
                  <a:gd name="T19" fmla="*/ 17 h 40"/>
                  <a:gd name="T20" fmla="*/ 19 w 34"/>
                  <a:gd name="T21" fmla="*/ 15 h 40"/>
                  <a:gd name="T22" fmla="*/ 27 w 34"/>
                  <a:gd name="T23" fmla="*/ 10 h 40"/>
                  <a:gd name="T24" fmla="*/ 29 w 34"/>
                  <a:gd name="T25" fmla="*/ 8 h 40"/>
                  <a:gd name="T26" fmla="*/ 29 w 34"/>
                  <a:gd name="T27" fmla="*/ 6 h 40"/>
                  <a:gd name="T28" fmla="*/ 27 w 34"/>
                  <a:gd name="T29" fmla="*/ 6 h 40"/>
                  <a:gd name="T30" fmla="*/ 25 w 34"/>
                  <a:gd name="T31" fmla="*/ 6 h 40"/>
                  <a:gd name="T32" fmla="*/ 23 w 34"/>
                  <a:gd name="T33" fmla="*/ 6 h 40"/>
                  <a:gd name="T34" fmla="*/ 23 w 34"/>
                  <a:gd name="T35" fmla="*/ 4 h 40"/>
                  <a:gd name="T36" fmla="*/ 23 w 34"/>
                  <a:gd name="T37" fmla="*/ 0 h 40"/>
                  <a:gd name="T38" fmla="*/ 21 w 34"/>
                  <a:gd name="T39" fmla="*/ 0 h 40"/>
                  <a:gd name="T40" fmla="*/ 19 w 34"/>
                  <a:gd name="T41" fmla="*/ 0 h 40"/>
                  <a:gd name="T42" fmla="*/ 13 w 34"/>
                  <a:gd name="T43" fmla="*/ 6 h 40"/>
                  <a:gd name="T44" fmla="*/ 11 w 34"/>
                  <a:gd name="T45" fmla="*/ 6 h 40"/>
                  <a:gd name="T46" fmla="*/ 9 w 34"/>
                  <a:gd name="T47" fmla="*/ 4 h 40"/>
                  <a:gd name="T48" fmla="*/ 8 w 34"/>
                  <a:gd name="T49" fmla="*/ 6 h 40"/>
                  <a:gd name="T50" fmla="*/ 6 w 34"/>
                  <a:gd name="T51" fmla="*/ 10 h 40"/>
                  <a:gd name="T52" fmla="*/ 4 w 34"/>
                  <a:gd name="T53" fmla="*/ 10 h 40"/>
                  <a:gd name="T54" fmla="*/ 2 w 34"/>
                  <a:gd name="T55" fmla="*/ 10 h 40"/>
                  <a:gd name="T56" fmla="*/ 0 w 34"/>
                  <a:gd name="T57" fmla="*/ 12 h 40"/>
                  <a:gd name="T58" fmla="*/ 0 w 34"/>
                  <a:gd name="T59" fmla="*/ 12 h 40"/>
                  <a:gd name="T60" fmla="*/ 0 w 34"/>
                  <a:gd name="T61" fmla="*/ 14 h 40"/>
                  <a:gd name="T62" fmla="*/ 2 w 34"/>
                  <a:gd name="T63" fmla="*/ 15 h 40"/>
                  <a:gd name="T64" fmla="*/ 4 w 34"/>
                  <a:gd name="T65" fmla="*/ 17 h 40"/>
                  <a:gd name="T66" fmla="*/ 6 w 34"/>
                  <a:gd name="T67" fmla="*/ 19 h 40"/>
                  <a:gd name="T68" fmla="*/ 6 w 34"/>
                  <a:gd name="T69" fmla="*/ 25 h 40"/>
                  <a:gd name="T70" fmla="*/ 9 w 34"/>
                  <a:gd name="T71" fmla="*/ 33 h 40"/>
                  <a:gd name="T72" fmla="*/ 11 w 34"/>
                  <a:gd name="T73" fmla="*/ 38 h 40"/>
                  <a:gd name="T74" fmla="*/ 13 w 34"/>
                  <a:gd name="T75" fmla="*/ 38 h 40"/>
                  <a:gd name="T76" fmla="*/ 15 w 34"/>
                  <a:gd name="T77" fmla="*/ 38 h 40"/>
                  <a:gd name="T78" fmla="*/ 19 w 34"/>
                  <a:gd name="T79" fmla="*/ 36 h 40"/>
                  <a:gd name="T80" fmla="*/ 21 w 34"/>
                  <a:gd name="T81" fmla="*/ 38 h 40"/>
                  <a:gd name="T82" fmla="*/ 21 w 34"/>
                  <a:gd name="T83" fmla="*/ 38 h 40"/>
                  <a:gd name="T84" fmla="*/ 23 w 34"/>
                  <a:gd name="T85" fmla="*/ 38 h 40"/>
                  <a:gd name="T86" fmla="*/ 25 w 34"/>
                  <a:gd name="T87" fmla="*/ 36 h 40"/>
                  <a:gd name="T88" fmla="*/ 27 w 34"/>
                  <a:gd name="T89" fmla="*/ 36 h 40"/>
                  <a:gd name="T90" fmla="*/ 29 w 34"/>
                  <a:gd name="T91" fmla="*/ 38 h 40"/>
                  <a:gd name="T92" fmla="*/ 32 w 34"/>
                  <a:gd name="T93" fmla="*/ 40 h 40"/>
                  <a:gd name="T94" fmla="*/ 32 w 34"/>
                  <a:gd name="T95" fmla="*/ 40 h 40"/>
                  <a:gd name="T96" fmla="*/ 34 w 34"/>
                  <a:gd name="T97" fmla="*/ 36 h 40"/>
                  <a:gd name="T98" fmla="*/ 34 w 34"/>
                  <a:gd name="T99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40">
                    <a:moveTo>
                      <a:pt x="34" y="23"/>
                    </a:moveTo>
                    <a:lnTo>
                      <a:pt x="34" y="21"/>
                    </a:lnTo>
                    <a:lnTo>
                      <a:pt x="32" y="21"/>
                    </a:lnTo>
                    <a:lnTo>
                      <a:pt x="29" y="19"/>
                    </a:lnTo>
                    <a:lnTo>
                      <a:pt x="29" y="19"/>
                    </a:lnTo>
                    <a:lnTo>
                      <a:pt x="27" y="21"/>
                    </a:lnTo>
                    <a:lnTo>
                      <a:pt x="27" y="21"/>
                    </a:lnTo>
                    <a:lnTo>
                      <a:pt x="27" y="23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9" y="23"/>
                    </a:lnTo>
                    <a:lnTo>
                      <a:pt x="17" y="19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27" y="10"/>
                    </a:lnTo>
                    <a:lnTo>
                      <a:pt x="29" y="10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9" y="6"/>
                    </a:lnTo>
                    <a:lnTo>
                      <a:pt x="29" y="6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3" y="6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2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15" y="4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6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8" y="6"/>
                    </a:lnTo>
                    <a:lnTo>
                      <a:pt x="8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9"/>
                    </a:lnTo>
                    <a:lnTo>
                      <a:pt x="6" y="19"/>
                    </a:lnTo>
                    <a:lnTo>
                      <a:pt x="6" y="21"/>
                    </a:lnTo>
                    <a:lnTo>
                      <a:pt x="6" y="25"/>
                    </a:lnTo>
                    <a:lnTo>
                      <a:pt x="8" y="27"/>
                    </a:lnTo>
                    <a:lnTo>
                      <a:pt x="9" y="33"/>
                    </a:lnTo>
                    <a:lnTo>
                      <a:pt x="11" y="36"/>
                    </a:lnTo>
                    <a:lnTo>
                      <a:pt x="11" y="38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15" y="38"/>
                    </a:lnTo>
                    <a:lnTo>
                      <a:pt x="15" y="38"/>
                    </a:lnTo>
                    <a:lnTo>
                      <a:pt x="17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1" y="38"/>
                    </a:lnTo>
                    <a:lnTo>
                      <a:pt x="21" y="38"/>
                    </a:lnTo>
                    <a:lnTo>
                      <a:pt x="21" y="38"/>
                    </a:lnTo>
                    <a:lnTo>
                      <a:pt x="23" y="38"/>
                    </a:lnTo>
                    <a:lnTo>
                      <a:pt x="23" y="38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30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4" y="38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4" y="29"/>
                    </a:lnTo>
                    <a:lnTo>
                      <a:pt x="34" y="23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1" name="Freeform 33">
                <a:extLst>
                  <a:ext uri="{FF2B5EF4-FFF2-40B4-BE49-F238E27FC236}">
                    <a16:creationId xmlns:a16="http://schemas.microsoft.com/office/drawing/2014/main" id="{C2D4216C-0A54-44F3-8482-447B129B0D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669" y="4434361"/>
                <a:ext cx="814388" cy="1355725"/>
              </a:xfrm>
              <a:custGeom>
                <a:avLst/>
                <a:gdLst>
                  <a:gd name="T0" fmla="*/ 488 w 513"/>
                  <a:gd name="T1" fmla="*/ 152 h 854"/>
                  <a:gd name="T2" fmla="*/ 471 w 513"/>
                  <a:gd name="T3" fmla="*/ 131 h 854"/>
                  <a:gd name="T4" fmla="*/ 463 w 513"/>
                  <a:gd name="T5" fmla="*/ 93 h 854"/>
                  <a:gd name="T6" fmla="*/ 459 w 513"/>
                  <a:gd name="T7" fmla="*/ 70 h 854"/>
                  <a:gd name="T8" fmla="*/ 437 w 513"/>
                  <a:gd name="T9" fmla="*/ 74 h 854"/>
                  <a:gd name="T10" fmla="*/ 408 w 513"/>
                  <a:gd name="T11" fmla="*/ 9 h 854"/>
                  <a:gd name="T12" fmla="*/ 370 w 513"/>
                  <a:gd name="T13" fmla="*/ 26 h 854"/>
                  <a:gd name="T14" fmla="*/ 314 w 513"/>
                  <a:gd name="T15" fmla="*/ 28 h 854"/>
                  <a:gd name="T16" fmla="*/ 227 w 513"/>
                  <a:gd name="T17" fmla="*/ 47 h 854"/>
                  <a:gd name="T18" fmla="*/ 179 w 513"/>
                  <a:gd name="T19" fmla="*/ 59 h 854"/>
                  <a:gd name="T20" fmla="*/ 181 w 513"/>
                  <a:gd name="T21" fmla="*/ 85 h 854"/>
                  <a:gd name="T22" fmla="*/ 234 w 513"/>
                  <a:gd name="T23" fmla="*/ 108 h 854"/>
                  <a:gd name="T24" fmla="*/ 198 w 513"/>
                  <a:gd name="T25" fmla="*/ 173 h 854"/>
                  <a:gd name="T26" fmla="*/ 164 w 513"/>
                  <a:gd name="T27" fmla="*/ 218 h 854"/>
                  <a:gd name="T28" fmla="*/ 118 w 513"/>
                  <a:gd name="T29" fmla="*/ 230 h 854"/>
                  <a:gd name="T30" fmla="*/ 89 w 513"/>
                  <a:gd name="T31" fmla="*/ 275 h 854"/>
                  <a:gd name="T32" fmla="*/ 59 w 513"/>
                  <a:gd name="T33" fmla="*/ 327 h 854"/>
                  <a:gd name="T34" fmla="*/ 21 w 513"/>
                  <a:gd name="T35" fmla="*/ 422 h 854"/>
                  <a:gd name="T36" fmla="*/ 36 w 513"/>
                  <a:gd name="T37" fmla="*/ 454 h 854"/>
                  <a:gd name="T38" fmla="*/ 40 w 513"/>
                  <a:gd name="T39" fmla="*/ 477 h 854"/>
                  <a:gd name="T40" fmla="*/ 46 w 513"/>
                  <a:gd name="T41" fmla="*/ 513 h 854"/>
                  <a:gd name="T42" fmla="*/ 21 w 513"/>
                  <a:gd name="T43" fmla="*/ 540 h 854"/>
                  <a:gd name="T44" fmla="*/ 23 w 513"/>
                  <a:gd name="T45" fmla="*/ 568 h 854"/>
                  <a:gd name="T46" fmla="*/ 19 w 513"/>
                  <a:gd name="T47" fmla="*/ 588 h 854"/>
                  <a:gd name="T48" fmla="*/ 34 w 513"/>
                  <a:gd name="T49" fmla="*/ 586 h 854"/>
                  <a:gd name="T50" fmla="*/ 70 w 513"/>
                  <a:gd name="T51" fmla="*/ 620 h 854"/>
                  <a:gd name="T52" fmla="*/ 63 w 513"/>
                  <a:gd name="T53" fmla="*/ 652 h 854"/>
                  <a:gd name="T54" fmla="*/ 27 w 513"/>
                  <a:gd name="T55" fmla="*/ 648 h 854"/>
                  <a:gd name="T56" fmla="*/ 0 w 513"/>
                  <a:gd name="T57" fmla="*/ 724 h 854"/>
                  <a:gd name="T58" fmla="*/ 15 w 513"/>
                  <a:gd name="T59" fmla="*/ 744 h 854"/>
                  <a:gd name="T60" fmla="*/ 63 w 513"/>
                  <a:gd name="T61" fmla="*/ 789 h 854"/>
                  <a:gd name="T62" fmla="*/ 70 w 513"/>
                  <a:gd name="T63" fmla="*/ 797 h 854"/>
                  <a:gd name="T64" fmla="*/ 84 w 513"/>
                  <a:gd name="T65" fmla="*/ 816 h 854"/>
                  <a:gd name="T66" fmla="*/ 124 w 513"/>
                  <a:gd name="T67" fmla="*/ 850 h 854"/>
                  <a:gd name="T68" fmla="*/ 149 w 513"/>
                  <a:gd name="T69" fmla="*/ 837 h 854"/>
                  <a:gd name="T70" fmla="*/ 158 w 513"/>
                  <a:gd name="T71" fmla="*/ 802 h 854"/>
                  <a:gd name="T72" fmla="*/ 177 w 513"/>
                  <a:gd name="T73" fmla="*/ 780 h 854"/>
                  <a:gd name="T74" fmla="*/ 206 w 513"/>
                  <a:gd name="T75" fmla="*/ 744 h 854"/>
                  <a:gd name="T76" fmla="*/ 229 w 513"/>
                  <a:gd name="T77" fmla="*/ 723 h 854"/>
                  <a:gd name="T78" fmla="*/ 246 w 513"/>
                  <a:gd name="T79" fmla="*/ 704 h 854"/>
                  <a:gd name="T80" fmla="*/ 236 w 513"/>
                  <a:gd name="T81" fmla="*/ 660 h 854"/>
                  <a:gd name="T82" fmla="*/ 231 w 513"/>
                  <a:gd name="T83" fmla="*/ 633 h 854"/>
                  <a:gd name="T84" fmla="*/ 215 w 513"/>
                  <a:gd name="T85" fmla="*/ 588 h 854"/>
                  <a:gd name="T86" fmla="*/ 211 w 513"/>
                  <a:gd name="T87" fmla="*/ 546 h 854"/>
                  <a:gd name="T88" fmla="*/ 229 w 513"/>
                  <a:gd name="T89" fmla="*/ 553 h 854"/>
                  <a:gd name="T90" fmla="*/ 259 w 513"/>
                  <a:gd name="T91" fmla="*/ 578 h 854"/>
                  <a:gd name="T92" fmla="*/ 290 w 513"/>
                  <a:gd name="T93" fmla="*/ 589 h 854"/>
                  <a:gd name="T94" fmla="*/ 305 w 513"/>
                  <a:gd name="T95" fmla="*/ 563 h 854"/>
                  <a:gd name="T96" fmla="*/ 288 w 513"/>
                  <a:gd name="T97" fmla="*/ 555 h 854"/>
                  <a:gd name="T98" fmla="*/ 271 w 513"/>
                  <a:gd name="T99" fmla="*/ 502 h 854"/>
                  <a:gd name="T100" fmla="*/ 261 w 513"/>
                  <a:gd name="T101" fmla="*/ 487 h 854"/>
                  <a:gd name="T102" fmla="*/ 269 w 513"/>
                  <a:gd name="T103" fmla="*/ 443 h 854"/>
                  <a:gd name="T104" fmla="*/ 293 w 513"/>
                  <a:gd name="T105" fmla="*/ 422 h 854"/>
                  <a:gd name="T106" fmla="*/ 339 w 513"/>
                  <a:gd name="T107" fmla="*/ 401 h 854"/>
                  <a:gd name="T108" fmla="*/ 375 w 513"/>
                  <a:gd name="T109" fmla="*/ 386 h 854"/>
                  <a:gd name="T110" fmla="*/ 391 w 513"/>
                  <a:gd name="T111" fmla="*/ 373 h 854"/>
                  <a:gd name="T112" fmla="*/ 406 w 513"/>
                  <a:gd name="T113" fmla="*/ 317 h 854"/>
                  <a:gd name="T114" fmla="*/ 408 w 513"/>
                  <a:gd name="T115" fmla="*/ 296 h 854"/>
                  <a:gd name="T116" fmla="*/ 423 w 513"/>
                  <a:gd name="T117" fmla="*/ 260 h 854"/>
                  <a:gd name="T118" fmla="*/ 465 w 513"/>
                  <a:gd name="T119" fmla="*/ 218 h 854"/>
                  <a:gd name="T120" fmla="*/ 496 w 513"/>
                  <a:gd name="T121" fmla="*/ 188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13" h="854">
                    <a:moveTo>
                      <a:pt x="513" y="169"/>
                    </a:moveTo>
                    <a:lnTo>
                      <a:pt x="513" y="167"/>
                    </a:lnTo>
                    <a:lnTo>
                      <a:pt x="511" y="163"/>
                    </a:lnTo>
                    <a:lnTo>
                      <a:pt x="511" y="163"/>
                    </a:lnTo>
                    <a:lnTo>
                      <a:pt x="511" y="159"/>
                    </a:lnTo>
                    <a:lnTo>
                      <a:pt x="509" y="159"/>
                    </a:lnTo>
                    <a:lnTo>
                      <a:pt x="509" y="158"/>
                    </a:lnTo>
                    <a:lnTo>
                      <a:pt x="505" y="156"/>
                    </a:lnTo>
                    <a:lnTo>
                      <a:pt x="503" y="156"/>
                    </a:lnTo>
                    <a:lnTo>
                      <a:pt x="503" y="156"/>
                    </a:lnTo>
                    <a:lnTo>
                      <a:pt x="501" y="156"/>
                    </a:lnTo>
                    <a:lnTo>
                      <a:pt x="499" y="156"/>
                    </a:lnTo>
                    <a:lnTo>
                      <a:pt x="499" y="156"/>
                    </a:lnTo>
                    <a:lnTo>
                      <a:pt x="499" y="156"/>
                    </a:lnTo>
                    <a:lnTo>
                      <a:pt x="498" y="156"/>
                    </a:lnTo>
                    <a:lnTo>
                      <a:pt x="498" y="156"/>
                    </a:lnTo>
                    <a:lnTo>
                      <a:pt x="496" y="156"/>
                    </a:lnTo>
                    <a:lnTo>
                      <a:pt x="494" y="156"/>
                    </a:lnTo>
                    <a:lnTo>
                      <a:pt x="492" y="156"/>
                    </a:lnTo>
                    <a:lnTo>
                      <a:pt x="488" y="152"/>
                    </a:lnTo>
                    <a:lnTo>
                      <a:pt x="488" y="152"/>
                    </a:lnTo>
                    <a:lnTo>
                      <a:pt x="486" y="154"/>
                    </a:lnTo>
                    <a:lnTo>
                      <a:pt x="486" y="154"/>
                    </a:lnTo>
                    <a:lnTo>
                      <a:pt x="488" y="156"/>
                    </a:lnTo>
                    <a:lnTo>
                      <a:pt x="488" y="156"/>
                    </a:lnTo>
                    <a:lnTo>
                      <a:pt x="488" y="156"/>
                    </a:lnTo>
                    <a:lnTo>
                      <a:pt x="486" y="156"/>
                    </a:lnTo>
                    <a:lnTo>
                      <a:pt x="486" y="158"/>
                    </a:lnTo>
                    <a:lnTo>
                      <a:pt x="484" y="158"/>
                    </a:lnTo>
                    <a:lnTo>
                      <a:pt x="484" y="158"/>
                    </a:lnTo>
                    <a:lnTo>
                      <a:pt x="484" y="156"/>
                    </a:lnTo>
                    <a:lnTo>
                      <a:pt x="482" y="156"/>
                    </a:lnTo>
                    <a:lnTo>
                      <a:pt x="482" y="156"/>
                    </a:lnTo>
                    <a:lnTo>
                      <a:pt x="482" y="154"/>
                    </a:lnTo>
                    <a:lnTo>
                      <a:pt x="480" y="152"/>
                    </a:lnTo>
                    <a:lnTo>
                      <a:pt x="480" y="148"/>
                    </a:lnTo>
                    <a:lnTo>
                      <a:pt x="480" y="146"/>
                    </a:lnTo>
                    <a:lnTo>
                      <a:pt x="480" y="144"/>
                    </a:lnTo>
                    <a:lnTo>
                      <a:pt x="478" y="142"/>
                    </a:lnTo>
                    <a:lnTo>
                      <a:pt x="475" y="138"/>
                    </a:lnTo>
                    <a:lnTo>
                      <a:pt x="473" y="137"/>
                    </a:lnTo>
                    <a:lnTo>
                      <a:pt x="471" y="131"/>
                    </a:lnTo>
                    <a:lnTo>
                      <a:pt x="473" y="125"/>
                    </a:lnTo>
                    <a:lnTo>
                      <a:pt x="473" y="114"/>
                    </a:lnTo>
                    <a:lnTo>
                      <a:pt x="473" y="106"/>
                    </a:lnTo>
                    <a:lnTo>
                      <a:pt x="471" y="104"/>
                    </a:lnTo>
                    <a:lnTo>
                      <a:pt x="471" y="104"/>
                    </a:lnTo>
                    <a:lnTo>
                      <a:pt x="469" y="102"/>
                    </a:lnTo>
                    <a:lnTo>
                      <a:pt x="469" y="102"/>
                    </a:lnTo>
                    <a:lnTo>
                      <a:pt x="467" y="102"/>
                    </a:lnTo>
                    <a:lnTo>
                      <a:pt x="465" y="106"/>
                    </a:lnTo>
                    <a:lnTo>
                      <a:pt x="463" y="106"/>
                    </a:lnTo>
                    <a:lnTo>
                      <a:pt x="463" y="106"/>
                    </a:lnTo>
                    <a:lnTo>
                      <a:pt x="463" y="106"/>
                    </a:lnTo>
                    <a:lnTo>
                      <a:pt x="461" y="106"/>
                    </a:lnTo>
                    <a:lnTo>
                      <a:pt x="461" y="104"/>
                    </a:lnTo>
                    <a:lnTo>
                      <a:pt x="461" y="102"/>
                    </a:lnTo>
                    <a:lnTo>
                      <a:pt x="461" y="100"/>
                    </a:lnTo>
                    <a:lnTo>
                      <a:pt x="463" y="97"/>
                    </a:lnTo>
                    <a:lnTo>
                      <a:pt x="463" y="95"/>
                    </a:lnTo>
                    <a:lnTo>
                      <a:pt x="463" y="95"/>
                    </a:lnTo>
                    <a:lnTo>
                      <a:pt x="463" y="93"/>
                    </a:lnTo>
                    <a:lnTo>
                      <a:pt x="463" y="93"/>
                    </a:lnTo>
                    <a:lnTo>
                      <a:pt x="463" y="91"/>
                    </a:lnTo>
                    <a:lnTo>
                      <a:pt x="463" y="89"/>
                    </a:lnTo>
                    <a:lnTo>
                      <a:pt x="463" y="89"/>
                    </a:lnTo>
                    <a:lnTo>
                      <a:pt x="467" y="85"/>
                    </a:lnTo>
                    <a:lnTo>
                      <a:pt x="469" y="83"/>
                    </a:lnTo>
                    <a:lnTo>
                      <a:pt x="469" y="81"/>
                    </a:lnTo>
                    <a:lnTo>
                      <a:pt x="471" y="80"/>
                    </a:lnTo>
                    <a:lnTo>
                      <a:pt x="471" y="80"/>
                    </a:lnTo>
                    <a:lnTo>
                      <a:pt x="471" y="78"/>
                    </a:lnTo>
                    <a:lnTo>
                      <a:pt x="469" y="74"/>
                    </a:lnTo>
                    <a:lnTo>
                      <a:pt x="467" y="72"/>
                    </a:lnTo>
                    <a:lnTo>
                      <a:pt x="467" y="72"/>
                    </a:lnTo>
                    <a:lnTo>
                      <a:pt x="467" y="70"/>
                    </a:lnTo>
                    <a:lnTo>
                      <a:pt x="467" y="68"/>
                    </a:lnTo>
                    <a:lnTo>
                      <a:pt x="465" y="68"/>
                    </a:lnTo>
                    <a:lnTo>
                      <a:pt x="465" y="68"/>
                    </a:lnTo>
                    <a:lnTo>
                      <a:pt x="463" y="68"/>
                    </a:lnTo>
                    <a:lnTo>
                      <a:pt x="461" y="70"/>
                    </a:lnTo>
                    <a:lnTo>
                      <a:pt x="461" y="70"/>
                    </a:lnTo>
                    <a:lnTo>
                      <a:pt x="459" y="70"/>
                    </a:lnTo>
                    <a:lnTo>
                      <a:pt x="459" y="70"/>
                    </a:lnTo>
                    <a:lnTo>
                      <a:pt x="459" y="70"/>
                    </a:lnTo>
                    <a:lnTo>
                      <a:pt x="459" y="72"/>
                    </a:lnTo>
                    <a:lnTo>
                      <a:pt x="457" y="72"/>
                    </a:lnTo>
                    <a:lnTo>
                      <a:pt x="457" y="72"/>
                    </a:lnTo>
                    <a:lnTo>
                      <a:pt x="457" y="74"/>
                    </a:lnTo>
                    <a:lnTo>
                      <a:pt x="459" y="78"/>
                    </a:lnTo>
                    <a:lnTo>
                      <a:pt x="459" y="78"/>
                    </a:lnTo>
                    <a:lnTo>
                      <a:pt x="457" y="78"/>
                    </a:lnTo>
                    <a:lnTo>
                      <a:pt x="457" y="80"/>
                    </a:lnTo>
                    <a:lnTo>
                      <a:pt x="457" y="80"/>
                    </a:lnTo>
                    <a:lnTo>
                      <a:pt x="457" y="80"/>
                    </a:lnTo>
                    <a:lnTo>
                      <a:pt x="450" y="76"/>
                    </a:lnTo>
                    <a:lnTo>
                      <a:pt x="448" y="76"/>
                    </a:lnTo>
                    <a:lnTo>
                      <a:pt x="446" y="76"/>
                    </a:lnTo>
                    <a:lnTo>
                      <a:pt x="446" y="76"/>
                    </a:lnTo>
                    <a:lnTo>
                      <a:pt x="442" y="76"/>
                    </a:lnTo>
                    <a:lnTo>
                      <a:pt x="442" y="76"/>
                    </a:lnTo>
                    <a:lnTo>
                      <a:pt x="440" y="76"/>
                    </a:lnTo>
                    <a:lnTo>
                      <a:pt x="440" y="76"/>
                    </a:lnTo>
                    <a:lnTo>
                      <a:pt x="438" y="74"/>
                    </a:lnTo>
                    <a:lnTo>
                      <a:pt x="437" y="74"/>
                    </a:lnTo>
                    <a:lnTo>
                      <a:pt x="437" y="70"/>
                    </a:lnTo>
                    <a:lnTo>
                      <a:pt x="435" y="66"/>
                    </a:lnTo>
                    <a:lnTo>
                      <a:pt x="433" y="64"/>
                    </a:lnTo>
                    <a:lnTo>
                      <a:pt x="433" y="62"/>
                    </a:lnTo>
                    <a:lnTo>
                      <a:pt x="433" y="60"/>
                    </a:lnTo>
                    <a:lnTo>
                      <a:pt x="433" y="60"/>
                    </a:lnTo>
                    <a:lnTo>
                      <a:pt x="435" y="57"/>
                    </a:lnTo>
                    <a:lnTo>
                      <a:pt x="435" y="55"/>
                    </a:lnTo>
                    <a:lnTo>
                      <a:pt x="435" y="53"/>
                    </a:lnTo>
                    <a:lnTo>
                      <a:pt x="435" y="51"/>
                    </a:lnTo>
                    <a:lnTo>
                      <a:pt x="433" y="47"/>
                    </a:lnTo>
                    <a:lnTo>
                      <a:pt x="431" y="43"/>
                    </a:lnTo>
                    <a:lnTo>
                      <a:pt x="414" y="28"/>
                    </a:lnTo>
                    <a:lnTo>
                      <a:pt x="412" y="24"/>
                    </a:lnTo>
                    <a:lnTo>
                      <a:pt x="410" y="22"/>
                    </a:lnTo>
                    <a:lnTo>
                      <a:pt x="410" y="21"/>
                    </a:lnTo>
                    <a:lnTo>
                      <a:pt x="408" y="19"/>
                    </a:lnTo>
                    <a:lnTo>
                      <a:pt x="408" y="17"/>
                    </a:lnTo>
                    <a:lnTo>
                      <a:pt x="408" y="11"/>
                    </a:lnTo>
                    <a:lnTo>
                      <a:pt x="408" y="11"/>
                    </a:lnTo>
                    <a:lnTo>
                      <a:pt x="408" y="9"/>
                    </a:lnTo>
                    <a:lnTo>
                      <a:pt x="408" y="7"/>
                    </a:lnTo>
                    <a:lnTo>
                      <a:pt x="402" y="5"/>
                    </a:lnTo>
                    <a:lnTo>
                      <a:pt x="400" y="3"/>
                    </a:lnTo>
                    <a:lnTo>
                      <a:pt x="400" y="3"/>
                    </a:lnTo>
                    <a:lnTo>
                      <a:pt x="398" y="3"/>
                    </a:lnTo>
                    <a:lnTo>
                      <a:pt x="393" y="1"/>
                    </a:lnTo>
                    <a:lnTo>
                      <a:pt x="385" y="0"/>
                    </a:lnTo>
                    <a:lnTo>
                      <a:pt x="383" y="1"/>
                    </a:lnTo>
                    <a:lnTo>
                      <a:pt x="383" y="7"/>
                    </a:lnTo>
                    <a:lnTo>
                      <a:pt x="381" y="7"/>
                    </a:lnTo>
                    <a:lnTo>
                      <a:pt x="381" y="9"/>
                    </a:lnTo>
                    <a:lnTo>
                      <a:pt x="377" y="11"/>
                    </a:lnTo>
                    <a:lnTo>
                      <a:pt x="375" y="13"/>
                    </a:lnTo>
                    <a:lnTo>
                      <a:pt x="375" y="15"/>
                    </a:lnTo>
                    <a:lnTo>
                      <a:pt x="375" y="19"/>
                    </a:lnTo>
                    <a:lnTo>
                      <a:pt x="375" y="19"/>
                    </a:lnTo>
                    <a:lnTo>
                      <a:pt x="374" y="21"/>
                    </a:lnTo>
                    <a:lnTo>
                      <a:pt x="372" y="24"/>
                    </a:lnTo>
                    <a:lnTo>
                      <a:pt x="372" y="26"/>
                    </a:lnTo>
                    <a:lnTo>
                      <a:pt x="370" y="26"/>
                    </a:lnTo>
                    <a:lnTo>
                      <a:pt x="370" y="26"/>
                    </a:lnTo>
                    <a:lnTo>
                      <a:pt x="366" y="28"/>
                    </a:lnTo>
                    <a:lnTo>
                      <a:pt x="362" y="28"/>
                    </a:lnTo>
                    <a:lnTo>
                      <a:pt x="362" y="28"/>
                    </a:lnTo>
                    <a:lnTo>
                      <a:pt x="358" y="30"/>
                    </a:lnTo>
                    <a:lnTo>
                      <a:pt x="356" y="32"/>
                    </a:lnTo>
                    <a:lnTo>
                      <a:pt x="355" y="32"/>
                    </a:lnTo>
                    <a:lnTo>
                      <a:pt x="349" y="30"/>
                    </a:lnTo>
                    <a:lnTo>
                      <a:pt x="343" y="30"/>
                    </a:lnTo>
                    <a:lnTo>
                      <a:pt x="339" y="30"/>
                    </a:lnTo>
                    <a:lnTo>
                      <a:pt x="339" y="30"/>
                    </a:lnTo>
                    <a:lnTo>
                      <a:pt x="335" y="30"/>
                    </a:lnTo>
                    <a:lnTo>
                      <a:pt x="332" y="28"/>
                    </a:lnTo>
                    <a:lnTo>
                      <a:pt x="330" y="26"/>
                    </a:lnTo>
                    <a:lnTo>
                      <a:pt x="322" y="21"/>
                    </a:lnTo>
                    <a:lnTo>
                      <a:pt x="318" y="19"/>
                    </a:lnTo>
                    <a:lnTo>
                      <a:pt x="316" y="22"/>
                    </a:lnTo>
                    <a:lnTo>
                      <a:pt x="316" y="22"/>
                    </a:lnTo>
                    <a:lnTo>
                      <a:pt x="316" y="24"/>
                    </a:lnTo>
                    <a:lnTo>
                      <a:pt x="316" y="26"/>
                    </a:lnTo>
                    <a:lnTo>
                      <a:pt x="314" y="28"/>
                    </a:lnTo>
                    <a:lnTo>
                      <a:pt x="314" y="28"/>
                    </a:lnTo>
                    <a:lnTo>
                      <a:pt x="311" y="30"/>
                    </a:lnTo>
                    <a:lnTo>
                      <a:pt x="309" y="32"/>
                    </a:lnTo>
                    <a:lnTo>
                      <a:pt x="305" y="32"/>
                    </a:lnTo>
                    <a:lnTo>
                      <a:pt x="301" y="34"/>
                    </a:lnTo>
                    <a:lnTo>
                      <a:pt x="299" y="36"/>
                    </a:lnTo>
                    <a:lnTo>
                      <a:pt x="299" y="38"/>
                    </a:lnTo>
                    <a:lnTo>
                      <a:pt x="299" y="40"/>
                    </a:lnTo>
                    <a:lnTo>
                      <a:pt x="299" y="40"/>
                    </a:lnTo>
                    <a:lnTo>
                      <a:pt x="297" y="41"/>
                    </a:lnTo>
                    <a:lnTo>
                      <a:pt x="293" y="43"/>
                    </a:lnTo>
                    <a:lnTo>
                      <a:pt x="290" y="45"/>
                    </a:lnTo>
                    <a:lnTo>
                      <a:pt x="288" y="47"/>
                    </a:lnTo>
                    <a:lnTo>
                      <a:pt x="286" y="49"/>
                    </a:lnTo>
                    <a:lnTo>
                      <a:pt x="284" y="49"/>
                    </a:lnTo>
                    <a:lnTo>
                      <a:pt x="280" y="51"/>
                    </a:lnTo>
                    <a:lnTo>
                      <a:pt x="269" y="49"/>
                    </a:lnTo>
                    <a:lnTo>
                      <a:pt x="250" y="49"/>
                    </a:lnTo>
                    <a:lnTo>
                      <a:pt x="248" y="49"/>
                    </a:lnTo>
                    <a:lnTo>
                      <a:pt x="244" y="47"/>
                    </a:lnTo>
                    <a:lnTo>
                      <a:pt x="231" y="47"/>
                    </a:lnTo>
                    <a:lnTo>
                      <a:pt x="227" y="47"/>
                    </a:lnTo>
                    <a:lnTo>
                      <a:pt x="221" y="43"/>
                    </a:lnTo>
                    <a:lnTo>
                      <a:pt x="217" y="41"/>
                    </a:lnTo>
                    <a:lnTo>
                      <a:pt x="210" y="41"/>
                    </a:lnTo>
                    <a:lnTo>
                      <a:pt x="206" y="41"/>
                    </a:lnTo>
                    <a:lnTo>
                      <a:pt x="200" y="45"/>
                    </a:lnTo>
                    <a:lnTo>
                      <a:pt x="196" y="47"/>
                    </a:lnTo>
                    <a:lnTo>
                      <a:pt x="194" y="47"/>
                    </a:lnTo>
                    <a:lnTo>
                      <a:pt x="191" y="47"/>
                    </a:lnTo>
                    <a:lnTo>
                      <a:pt x="185" y="43"/>
                    </a:lnTo>
                    <a:lnTo>
                      <a:pt x="181" y="38"/>
                    </a:lnTo>
                    <a:lnTo>
                      <a:pt x="177" y="36"/>
                    </a:lnTo>
                    <a:lnTo>
                      <a:pt x="173" y="36"/>
                    </a:lnTo>
                    <a:lnTo>
                      <a:pt x="170" y="38"/>
                    </a:lnTo>
                    <a:lnTo>
                      <a:pt x="171" y="38"/>
                    </a:lnTo>
                    <a:lnTo>
                      <a:pt x="171" y="40"/>
                    </a:lnTo>
                    <a:lnTo>
                      <a:pt x="170" y="41"/>
                    </a:lnTo>
                    <a:lnTo>
                      <a:pt x="170" y="43"/>
                    </a:lnTo>
                    <a:lnTo>
                      <a:pt x="171" y="45"/>
                    </a:lnTo>
                    <a:lnTo>
                      <a:pt x="175" y="53"/>
                    </a:lnTo>
                    <a:lnTo>
                      <a:pt x="177" y="57"/>
                    </a:lnTo>
                    <a:lnTo>
                      <a:pt x="179" y="59"/>
                    </a:lnTo>
                    <a:lnTo>
                      <a:pt x="179" y="62"/>
                    </a:lnTo>
                    <a:lnTo>
                      <a:pt x="177" y="62"/>
                    </a:lnTo>
                    <a:lnTo>
                      <a:pt x="177" y="64"/>
                    </a:lnTo>
                    <a:lnTo>
                      <a:pt x="175" y="68"/>
                    </a:lnTo>
                    <a:lnTo>
                      <a:pt x="173" y="68"/>
                    </a:lnTo>
                    <a:lnTo>
                      <a:pt x="171" y="70"/>
                    </a:lnTo>
                    <a:lnTo>
                      <a:pt x="170" y="70"/>
                    </a:lnTo>
                    <a:lnTo>
                      <a:pt x="170" y="76"/>
                    </a:lnTo>
                    <a:lnTo>
                      <a:pt x="168" y="78"/>
                    </a:lnTo>
                    <a:lnTo>
                      <a:pt x="168" y="78"/>
                    </a:lnTo>
                    <a:lnTo>
                      <a:pt x="166" y="78"/>
                    </a:lnTo>
                    <a:lnTo>
                      <a:pt x="166" y="80"/>
                    </a:lnTo>
                    <a:lnTo>
                      <a:pt x="168" y="81"/>
                    </a:lnTo>
                    <a:lnTo>
                      <a:pt x="168" y="83"/>
                    </a:lnTo>
                    <a:lnTo>
                      <a:pt x="170" y="85"/>
                    </a:lnTo>
                    <a:lnTo>
                      <a:pt x="170" y="87"/>
                    </a:lnTo>
                    <a:lnTo>
                      <a:pt x="171" y="89"/>
                    </a:lnTo>
                    <a:lnTo>
                      <a:pt x="173" y="91"/>
                    </a:lnTo>
                    <a:lnTo>
                      <a:pt x="175" y="89"/>
                    </a:lnTo>
                    <a:lnTo>
                      <a:pt x="177" y="87"/>
                    </a:lnTo>
                    <a:lnTo>
                      <a:pt x="181" y="85"/>
                    </a:lnTo>
                    <a:lnTo>
                      <a:pt x="185" y="83"/>
                    </a:lnTo>
                    <a:lnTo>
                      <a:pt x="185" y="81"/>
                    </a:lnTo>
                    <a:lnTo>
                      <a:pt x="187" y="81"/>
                    </a:lnTo>
                    <a:lnTo>
                      <a:pt x="191" y="83"/>
                    </a:lnTo>
                    <a:lnTo>
                      <a:pt x="192" y="83"/>
                    </a:lnTo>
                    <a:lnTo>
                      <a:pt x="200" y="87"/>
                    </a:lnTo>
                    <a:lnTo>
                      <a:pt x="206" y="87"/>
                    </a:lnTo>
                    <a:lnTo>
                      <a:pt x="208" y="89"/>
                    </a:lnTo>
                    <a:lnTo>
                      <a:pt x="211" y="93"/>
                    </a:lnTo>
                    <a:lnTo>
                      <a:pt x="215" y="99"/>
                    </a:lnTo>
                    <a:lnTo>
                      <a:pt x="217" y="100"/>
                    </a:lnTo>
                    <a:lnTo>
                      <a:pt x="219" y="102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21" y="104"/>
                    </a:lnTo>
                    <a:lnTo>
                      <a:pt x="221" y="106"/>
                    </a:lnTo>
                    <a:lnTo>
                      <a:pt x="223" y="106"/>
                    </a:lnTo>
                    <a:lnTo>
                      <a:pt x="231" y="104"/>
                    </a:lnTo>
                    <a:lnTo>
                      <a:pt x="232" y="106"/>
                    </a:lnTo>
                    <a:lnTo>
                      <a:pt x="232" y="106"/>
                    </a:lnTo>
                    <a:lnTo>
                      <a:pt x="234" y="108"/>
                    </a:lnTo>
                    <a:lnTo>
                      <a:pt x="240" y="112"/>
                    </a:lnTo>
                    <a:lnTo>
                      <a:pt x="240" y="114"/>
                    </a:lnTo>
                    <a:lnTo>
                      <a:pt x="242" y="116"/>
                    </a:lnTo>
                    <a:lnTo>
                      <a:pt x="238" y="127"/>
                    </a:lnTo>
                    <a:lnTo>
                      <a:pt x="238" y="133"/>
                    </a:lnTo>
                    <a:lnTo>
                      <a:pt x="236" y="135"/>
                    </a:lnTo>
                    <a:lnTo>
                      <a:pt x="234" y="140"/>
                    </a:lnTo>
                    <a:lnTo>
                      <a:pt x="234" y="142"/>
                    </a:lnTo>
                    <a:lnTo>
                      <a:pt x="231" y="142"/>
                    </a:lnTo>
                    <a:lnTo>
                      <a:pt x="229" y="142"/>
                    </a:lnTo>
                    <a:lnTo>
                      <a:pt x="227" y="142"/>
                    </a:lnTo>
                    <a:lnTo>
                      <a:pt x="221" y="146"/>
                    </a:lnTo>
                    <a:lnTo>
                      <a:pt x="213" y="148"/>
                    </a:lnTo>
                    <a:lnTo>
                      <a:pt x="211" y="150"/>
                    </a:lnTo>
                    <a:lnTo>
                      <a:pt x="210" y="154"/>
                    </a:lnTo>
                    <a:lnTo>
                      <a:pt x="210" y="156"/>
                    </a:lnTo>
                    <a:lnTo>
                      <a:pt x="211" y="161"/>
                    </a:lnTo>
                    <a:lnTo>
                      <a:pt x="210" y="163"/>
                    </a:lnTo>
                    <a:lnTo>
                      <a:pt x="206" y="167"/>
                    </a:lnTo>
                    <a:lnTo>
                      <a:pt x="200" y="171"/>
                    </a:lnTo>
                    <a:lnTo>
                      <a:pt x="198" y="173"/>
                    </a:lnTo>
                    <a:lnTo>
                      <a:pt x="192" y="175"/>
                    </a:lnTo>
                    <a:lnTo>
                      <a:pt x="191" y="177"/>
                    </a:lnTo>
                    <a:lnTo>
                      <a:pt x="191" y="178"/>
                    </a:lnTo>
                    <a:lnTo>
                      <a:pt x="189" y="180"/>
                    </a:lnTo>
                    <a:lnTo>
                      <a:pt x="191" y="186"/>
                    </a:lnTo>
                    <a:lnTo>
                      <a:pt x="191" y="190"/>
                    </a:lnTo>
                    <a:lnTo>
                      <a:pt x="189" y="194"/>
                    </a:lnTo>
                    <a:lnTo>
                      <a:pt x="187" y="194"/>
                    </a:lnTo>
                    <a:lnTo>
                      <a:pt x="187" y="196"/>
                    </a:lnTo>
                    <a:lnTo>
                      <a:pt x="189" y="199"/>
                    </a:lnTo>
                    <a:lnTo>
                      <a:pt x="189" y="201"/>
                    </a:lnTo>
                    <a:lnTo>
                      <a:pt x="187" y="203"/>
                    </a:lnTo>
                    <a:lnTo>
                      <a:pt x="183" y="203"/>
                    </a:lnTo>
                    <a:lnTo>
                      <a:pt x="175" y="209"/>
                    </a:lnTo>
                    <a:lnTo>
                      <a:pt x="173" y="211"/>
                    </a:lnTo>
                    <a:lnTo>
                      <a:pt x="173" y="213"/>
                    </a:lnTo>
                    <a:lnTo>
                      <a:pt x="173" y="215"/>
                    </a:lnTo>
                    <a:lnTo>
                      <a:pt x="173" y="216"/>
                    </a:lnTo>
                    <a:lnTo>
                      <a:pt x="170" y="218"/>
                    </a:lnTo>
                    <a:lnTo>
                      <a:pt x="168" y="218"/>
                    </a:lnTo>
                    <a:lnTo>
                      <a:pt x="164" y="218"/>
                    </a:lnTo>
                    <a:lnTo>
                      <a:pt x="162" y="220"/>
                    </a:lnTo>
                    <a:lnTo>
                      <a:pt x="160" y="220"/>
                    </a:lnTo>
                    <a:lnTo>
                      <a:pt x="156" y="224"/>
                    </a:lnTo>
                    <a:lnTo>
                      <a:pt x="154" y="226"/>
                    </a:lnTo>
                    <a:lnTo>
                      <a:pt x="152" y="228"/>
                    </a:lnTo>
                    <a:lnTo>
                      <a:pt x="150" y="228"/>
                    </a:lnTo>
                    <a:lnTo>
                      <a:pt x="149" y="230"/>
                    </a:lnTo>
                    <a:lnTo>
                      <a:pt x="147" y="232"/>
                    </a:lnTo>
                    <a:lnTo>
                      <a:pt x="145" y="232"/>
                    </a:lnTo>
                    <a:lnTo>
                      <a:pt x="143" y="230"/>
                    </a:lnTo>
                    <a:lnTo>
                      <a:pt x="141" y="226"/>
                    </a:lnTo>
                    <a:lnTo>
                      <a:pt x="139" y="224"/>
                    </a:lnTo>
                    <a:lnTo>
                      <a:pt x="137" y="224"/>
                    </a:lnTo>
                    <a:lnTo>
                      <a:pt x="135" y="224"/>
                    </a:lnTo>
                    <a:lnTo>
                      <a:pt x="131" y="226"/>
                    </a:lnTo>
                    <a:lnTo>
                      <a:pt x="129" y="226"/>
                    </a:lnTo>
                    <a:lnTo>
                      <a:pt x="128" y="228"/>
                    </a:lnTo>
                    <a:lnTo>
                      <a:pt x="124" y="230"/>
                    </a:lnTo>
                    <a:lnTo>
                      <a:pt x="122" y="232"/>
                    </a:lnTo>
                    <a:lnTo>
                      <a:pt x="120" y="230"/>
                    </a:lnTo>
                    <a:lnTo>
                      <a:pt x="118" y="230"/>
                    </a:lnTo>
                    <a:lnTo>
                      <a:pt x="118" y="228"/>
                    </a:lnTo>
                    <a:lnTo>
                      <a:pt x="118" y="226"/>
                    </a:lnTo>
                    <a:lnTo>
                      <a:pt x="116" y="226"/>
                    </a:lnTo>
                    <a:lnTo>
                      <a:pt x="114" y="226"/>
                    </a:lnTo>
                    <a:lnTo>
                      <a:pt x="112" y="228"/>
                    </a:lnTo>
                    <a:lnTo>
                      <a:pt x="109" y="234"/>
                    </a:lnTo>
                    <a:lnTo>
                      <a:pt x="107" y="237"/>
                    </a:lnTo>
                    <a:lnTo>
                      <a:pt x="107" y="241"/>
                    </a:lnTo>
                    <a:lnTo>
                      <a:pt x="109" y="245"/>
                    </a:lnTo>
                    <a:lnTo>
                      <a:pt x="107" y="249"/>
                    </a:lnTo>
                    <a:lnTo>
                      <a:pt x="107" y="251"/>
                    </a:lnTo>
                    <a:lnTo>
                      <a:pt x="105" y="256"/>
                    </a:lnTo>
                    <a:lnTo>
                      <a:pt x="99" y="260"/>
                    </a:lnTo>
                    <a:lnTo>
                      <a:pt x="97" y="260"/>
                    </a:lnTo>
                    <a:lnTo>
                      <a:pt x="95" y="262"/>
                    </a:lnTo>
                    <a:lnTo>
                      <a:pt x="95" y="264"/>
                    </a:lnTo>
                    <a:lnTo>
                      <a:pt x="95" y="272"/>
                    </a:lnTo>
                    <a:lnTo>
                      <a:pt x="93" y="274"/>
                    </a:lnTo>
                    <a:lnTo>
                      <a:pt x="93" y="274"/>
                    </a:lnTo>
                    <a:lnTo>
                      <a:pt x="91" y="275"/>
                    </a:lnTo>
                    <a:lnTo>
                      <a:pt x="89" y="275"/>
                    </a:lnTo>
                    <a:lnTo>
                      <a:pt x="91" y="277"/>
                    </a:lnTo>
                    <a:lnTo>
                      <a:pt x="91" y="279"/>
                    </a:lnTo>
                    <a:lnTo>
                      <a:pt x="93" y="281"/>
                    </a:lnTo>
                    <a:lnTo>
                      <a:pt x="93" y="283"/>
                    </a:lnTo>
                    <a:lnTo>
                      <a:pt x="91" y="285"/>
                    </a:lnTo>
                    <a:lnTo>
                      <a:pt x="89" y="285"/>
                    </a:lnTo>
                    <a:lnTo>
                      <a:pt x="89" y="283"/>
                    </a:lnTo>
                    <a:lnTo>
                      <a:pt x="86" y="279"/>
                    </a:lnTo>
                    <a:lnTo>
                      <a:pt x="84" y="277"/>
                    </a:lnTo>
                    <a:lnTo>
                      <a:pt x="82" y="277"/>
                    </a:lnTo>
                    <a:lnTo>
                      <a:pt x="80" y="279"/>
                    </a:lnTo>
                    <a:lnTo>
                      <a:pt x="78" y="283"/>
                    </a:lnTo>
                    <a:lnTo>
                      <a:pt x="72" y="294"/>
                    </a:lnTo>
                    <a:lnTo>
                      <a:pt x="72" y="298"/>
                    </a:lnTo>
                    <a:lnTo>
                      <a:pt x="70" y="304"/>
                    </a:lnTo>
                    <a:lnTo>
                      <a:pt x="72" y="312"/>
                    </a:lnTo>
                    <a:lnTo>
                      <a:pt x="70" y="317"/>
                    </a:lnTo>
                    <a:lnTo>
                      <a:pt x="68" y="321"/>
                    </a:lnTo>
                    <a:lnTo>
                      <a:pt x="65" y="323"/>
                    </a:lnTo>
                    <a:lnTo>
                      <a:pt x="61" y="323"/>
                    </a:lnTo>
                    <a:lnTo>
                      <a:pt x="59" y="327"/>
                    </a:lnTo>
                    <a:lnTo>
                      <a:pt x="59" y="329"/>
                    </a:lnTo>
                    <a:lnTo>
                      <a:pt x="57" y="342"/>
                    </a:lnTo>
                    <a:lnTo>
                      <a:pt x="57" y="344"/>
                    </a:lnTo>
                    <a:lnTo>
                      <a:pt x="57" y="348"/>
                    </a:lnTo>
                    <a:lnTo>
                      <a:pt x="57" y="359"/>
                    </a:lnTo>
                    <a:lnTo>
                      <a:pt x="57" y="363"/>
                    </a:lnTo>
                    <a:lnTo>
                      <a:pt x="55" y="367"/>
                    </a:lnTo>
                    <a:lnTo>
                      <a:pt x="55" y="373"/>
                    </a:lnTo>
                    <a:lnTo>
                      <a:pt x="51" y="378"/>
                    </a:lnTo>
                    <a:lnTo>
                      <a:pt x="51" y="386"/>
                    </a:lnTo>
                    <a:lnTo>
                      <a:pt x="49" y="388"/>
                    </a:lnTo>
                    <a:lnTo>
                      <a:pt x="47" y="392"/>
                    </a:lnTo>
                    <a:lnTo>
                      <a:pt x="46" y="393"/>
                    </a:lnTo>
                    <a:lnTo>
                      <a:pt x="36" y="397"/>
                    </a:lnTo>
                    <a:lnTo>
                      <a:pt x="27" y="403"/>
                    </a:lnTo>
                    <a:lnTo>
                      <a:pt x="27" y="405"/>
                    </a:lnTo>
                    <a:lnTo>
                      <a:pt x="25" y="405"/>
                    </a:lnTo>
                    <a:lnTo>
                      <a:pt x="25" y="407"/>
                    </a:lnTo>
                    <a:lnTo>
                      <a:pt x="25" y="409"/>
                    </a:lnTo>
                    <a:lnTo>
                      <a:pt x="23" y="418"/>
                    </a:lnTo>
                    <a:lnTo>
                      <a:pt x="21" y="422"/>
                    </a:lnTo>
                    <a:lnTo>
                      <a:pt x="21" y="424"/>
                    </a:lnTo>
                    <a:lnTo>
                      <a:pt x="21" y="426"/>
                    </a:lnTo>
                    <a:lnTo>
                      <a:pt x="23" y="428"/>
                    </a:lnTo>
                    <a:lnTo>
                      <a:pt x="23" y="431"/>
                    </a:lnTo>
                    <a:lnTo>
                      <a:pt x="25" y="431"/>
                    </a:lnTo>
                    <a:lnTo>
                      <a:pt x="25" y="433"/>
                    </a:lnTo>
                    <a:lnTo>
                      <a:pt x="27" y="433"/>
                    </a:lnTo>
                    <a:lnTo>
                      <a:pt x="27" y="435"/>
                    </a:lnTo>
                    <a:lnTo>
                      <a:pt x="28" y="435"/>
                    </a:lnTo>
                    <a:lnTo>
                      <a:pt x="28" y="435"/>
                    </a:lnTo>
                    <a:lnTo>
                      <a:pt x="30" y="435"/>
                    </a:lnTo>
                    <a:lnTo>
                      <a:pt x="32" y="433"/>
                    </a:lnTo>
                    <a:lnTo>
                      <a:pt x="32" y="433"/>
                    </a:lnTo>
                    <a:lnTo>
                      <a:pt x="34" y="433"/>
                    </a:lnTo>
                    <a:lnTo>
                      <a:pt x="34" y="435"/>
                    </a:lnTo>
                    <a:lnTo>
                      <a:pt x="36" y="435"/>
                    </a:lnTo>
                    <a:lnTo>
                      <a:pt x="36" y="437"/>
                    </a:lnTo>
                    <a:lnTo>
                      <a:pt x="36" y="437"/>
                    </a:lnTo>
                    <a:lnTo>
                      <a:pt x="36" y="439"/>
                    </a:lnTo>
                    <a:lnTo>
                      <a:pt x="36" y="443"/>
                    </a:lnTo>
                    <a:lnTo>
                      <a:pt x="36" y="454"/>
                    </a:lnTo>
                    <a:lnTo>
                      <a:pt x="38" y="466"/>
                    </a:lnTo>
                    <a:lnTo>
                      <a:pt x="38" y="468"/>
                    </a:lnTo>
                    <a:lnTo>
                      <a:pt x="38" y="470"/>
                    </a:lnTo>
                    <a:lnTo>
                      <a:pt x="36" y="470"/>
                    </a:lnTo>
                    <a:lnTo>
                      <a:pt x="32" y="473"/>
                    </a:lnTo>
                    <a:lnTo>
                      <a:pt x="30" y="473"/>
                    </a:lnTo>
                    <a:lnTo>
                      <a:pt x="30" y="475"/>
                    </a:lnTo>
                    <a:lnTo>
                      <a:pt x="28" y="477"/>
                    </a:lnTo>
                    <a:lnTo>
                      <a:pt x="28" y="477"/>
                    </a:lnTo>
                    <a:lnTo>
                      <a:pt x="28" y="479"/>
                    </a:lnTo>
                    <a:lnTo>
                      <a:pt x="28" y="479"/>
                    </a:lnTo>
                    <a:lnTo>
                      <a:pt x="30" y="481"/>
                    </a:lnTo>
                    <a:lnTo>
                      <a:pt x="30" y="481"/>
                    </a:lnTo>
                    <a:lnTo>
                      <a:pt x="30" y="481"/>
                    </a:lnTo>
                    <a:lnTo>
                      <a:pt x="32" y="481"/>
                    </a:lnTo>
                    <a:lnTo>
                      <a:pt x="34" y="481"/>
                    </a:lnTo>
                    <a:lnTo>
                      <a:pt x="36" y="479"/>
                    </a:lnTo>
                    <a:lnTo>
                      <a:pt x="38" y="477"/>
                    </a:lnTo>
                    <a:lnTo>
                      <a:pt x="38" y="477"/>
                    </a:lnTo>
                    <a:lnTo>
                      <a:pt x="40" y="477"/>
                    </a:lnTo>
                    <a:lnTo>
                      <a:pt x="40" y="477"/>
                    </a:lnTo>
                    <a:lnTo>
                      <a:pt x="42" y="477"/>
                    </a:lnTo>
                    <a:lnTo>
                      <a:pt x="44" y="477"/>
                    </a:lnTo>
                    <a:lnTo>
                      <a:pt x="44" y="479"/>
                    </a:lnTo>
                    <a:lnTo>
                      <a:pt x="46" y="479"/>
                    </a:lnTo>
                    <a:lnTo>
                      <a:pt x="46" y="479"/>
                    </a:lnTo>
                    <a:lnTo>
                      <a:pt x="46" y="481"/>
                    </a:lnTo>
                    <a:lnTo>
                      <a:pt x="46" y="481"/>
                    </a:lnTo>
                    <a:lnTo>
                      <a:pt x="44" y="487"/>
                    </a:lnTo>
                    <a:lnTo>
                      <a:pt x="46" y="489"/>
                    </a:lnTo>
                    <a:lnTo>
                      <a:pt x="46" y="489"/>
                    </a:lnTo>
                    <a:lnTo>
                      <a:pt x="46" y="489"/>
                    </a:lnTo>
                    <a:lnTo>
                      <a:pt x="46" y="490"/>
                    </a:lnTo>
                    <a:lnTo>
                      <a:pt x="46" y="492"/>
                    </a:lnTo>
                    <a:lnTo>
                      <a:pt x="46" y="494"/>
                    </a:lnTo>
                    <a:lnTo>
                      <a:pt x="44" y="496"/>
                    </a:lnTo>
                    <a:lnTo>
                      <a:pt x="44" y="498"/>
                    </a:lnTo>
                    <a:lnTo>
                      <a:pt x="44" y="506"/>
                    </a:lnTo>
                    <a:lnTo>
                      <a:pt x="44" y="508"/>
                    </a:lnTo>
                    <a:lnTo>
                      <a:pt x="44" y="509"/>
                    </a:lnTo>
                    <a:lnTo>
                      <a:pt x="44" y="511"/>
                    </a:lnTo>
                    <a:lnTo>
                      <a:pt x="46" y="513"/>
                    </a:lnTo>
                    <a:lnTo>
                      <a:pt x="46" y="515"/>
                    </a:lnTo>
                    <a:lnTo>
                      <a:pt x="46" y="515"/>
                    </a:lnTo>
                    <a:lnTo>
                      <a:pt x="44" y="517"/>
                    </a:lnTo>
                    <a:lnTo>
                      <a:pt x="42" y="517"/>
                    </a:lnTo>
                    <a:lnTo>
                      <a:pt x="40" y="517"/>
                    </a:lnTo>
                    <a:lnTo>
                      <a:pt x="38" y="519"/>
                    </a:lnTo>
                    <a:lnTo>
                      <a:pt x="36" y="523"/>
                    </a:lnTo>
                    <a:lnTo>
                      <a:pt x="34" y="523"/>
                    </a:lnTo>
                    <a:lnTo>
                      <a:pt x="32" y="525"/>
                    </a:lnTo>
                    <a:lnTo>
                      <a:pt x="30" y="525"/>
                    </a:lnTo>
                    <a:lnTo>
                      <a:pt x="23" y="525"/>
                    </a:lnTo>
                    <a:lnTo>
                      <a:pt x="23" y="525"/>
                    </a:lnTo>
                    <a:lnTo>
                      <a:pt x="21" y="527"/>
                    </a:lnTo>
                    <a:lnTo>
                      <a:pt x="21" y="529"/>
                    </a:lnTo>
                    <a:lnTo>
                      <a:pt x="19" y="530"/>
                    </a:lnTo>
                    <a:lnTo>
                      <a:pt x="21" y="530"/>
                    </a:lnTo>
                    <a:lnTo>
                      <a:pt x="19" y="532"/>
                    </a:lnTo>
                    <a:lnTo>
                      <a:pt x="19" y="538"/>
                    </a:lnTo>
                    <a:lnTo>
                      <a:pt x="19" y="538"/>
                    </a:lnTo>
                    <a:lnTo>
                      <a:pt x="19" y="540"/>
                    </a:lnTo>
                    <a:lnTo>
                      <a:pt x="21" y="540"/>
                    </a:lnTo>
                    <a:lnTo>
                      <a:pt x="30" y="540"/>
                    </a:lnTo>
                    <a:lnTo>
                      <a:pt x="30" y="540"/>
                    </a:lnTo>
                    <a:lnTo>
                      <a:pt x="32" y="540"/>
                    </a:lnTo>
                    <a:lnTo>
                      <a:pt x="34" y="542"/>
                    </a:lnTo>
                    <a:lnTo>
                      <a:pt x="36" y="549"/>
                    </a:lnTo>
                    <a:lnTo>
                      <a:pt x="36" y="553"/>
                    </a:lnTo>
                    <a:lnTo>
                      <a:pt x="36" y="555"/>
                    </a:lnTo>
                    <a:lnTo>
                      <a:pt x="36" y="555"/>
                    </a:lnTo>
                    <a:lnTo>
                      <a:pt x="36" y="555"/>
                    </a:lnTo>
                    <a:lnTo>
                      <a:pt x="34" y="559"/>
                    </a:lnTo>
                    <a:lnTo>
                      <a:pt x="34" y="567"/>
                    </a:lnTo>
                    <a:lnTo>
                      <a:pt x="34" y="568"/>
                    </a:lnTo>
                    <a:lnTo>
                      <a:pt x="34" y="570"/>
                    </a:lnTo>
                    <a:lnTo>
                      <a:pt x="32" y="570"/>
                    </a:lnTo>
                    <a:lnTo>
                      <a:pt x="32" y="570"/>
                    </a:lnTo>
                    <a:lnTo>
                      <a:pt x="30" y="570"/>
                    </a:lnTo>
                    <a:lnTo>
                      <a:pt x="28" y="570"/>
                    </a:lnTo>
                    <a:lnTo>
                      <a:pt x="25" y="567"/>
                    </a:lnTo>
                    <a:lnTo>
                      <a:pt x="25" y="567"/>
                    </a:lnTo>
                    <a:lnTo>
                      <a:pt x="23" y="567"/>
                    </a:lnTo>
                    <a:lnTo>
                      <a:pt x="23" y="568"/>
                    </a:lnTo>
                    <a:lnTo>
                      <a:pt x="21" y="570"/>
                    </a:lnTo>
                    <a:lnTo>
                      <a:pt x="21" y="572"/>
                    </a:lnTo>
                    <a:lnTo>
                      <a:pt x="21" y="574"/>
                    </a:lnTo>
                    <a:lnTo>
                      <a:pt x="21" y="574"/>
                    </a:lnTo>
                    <a:lnTo>
                      <a:pt x="21" y="574"/>
                    </a:lnTo>
                    <a:lnTo>
                      <a:pt x="21" y="574"/>
                    </a:lnTo>
                    <a:lnTo>
                      <a:pt x="23" y="576"/>
                    </a:lnTo>
                    <a:lnTo>
                      <a:pt x="27" y="576"/>
                    </a:lnTo>
                    <a:lnTo>
                      <a:pt x="27" y="576"/>
                    </a:lnTo>
                    <a:lnTo>
                      <a:pt x="28" y="578"/>
                    </a:lnTo>
                    <a:lnTo>
                      <a:pt x="28" y="578"/>
                    </a:lnTo>
                    <a:lnTo>
                      <a:pt x="27" y="580"/>
                    </a:lnTo>
                    <a:lnTo>
                      <a:pt x="27" y="580"/>
                    </a:lnTo>
                    <a:lnTo>
                      <a:pt x="27" y="582"/>
                    </a:lnTo>
                    <a:lnTo>
                      <a:pt x="27" y="582"/>
                    </a:lnTo>
                    <a:lnTo>
                      <a:pt x="25" y="582"/>
                    </a:lnTo>
                    <a:lnTo>
                      <a:pt x="23" y="584"/>
                    </a:lnTo>
                    <a:lnTo>
                      <a:pt x="21" y="584"/>
                    </a:lnTo>
                    <a:lnTo>
                      <a:pt x="19" y="586"/>
                    </a:lnTo>
                    <a:lnTo>
                      <a:pt x="19" y="586"/>
                    </a:lnTo>
                    <a:lnTo>
                      <a:pt x="19" y="588"/>
                    </a:lnTo>
                    <a:lnTo>
                      <a:pt x="19" y="588"/>
                    </a:lnTo>
                    <a:lnTo>
                      <a:pt x="19" y="589"/>
                    </a:lnTo>
                    <a:lnTo>
                      <a:pt x="21" y="589"/>
                    </a:lnTo>
                    <a:lnTo>
                      <a:pt x="25" y="589"/>
                    </a:lnTo>
                    <a:lnTo>
                      <a:pt x="25" y="591"/>
                    </a:lnTo>
                    <a:lnTo>
                      <a:pt x="27" y="589"/>
                    </a:lnTo>
                    <a:lnTo>
                      <a:pt x="27" y="589"/>
                    </a:lnTo>
                    <a:lnTo>
                      <a:pt x="28" y="589"/>
                    </a:lnTo>
                    <a:lnTo>
                      <a:pt x="28" y="589"/>
                    </a:lnTo>
                    <a:lnTo>
                      <a:pt x="28" y="589"/>
                    </a:lnTo>
                    <a:lnTo>
                      <a:pt x="28" y="588"/>
                    </a:lnTo>
                    <a:lnTo>
                      <a:pt x="28" y="588"/>
                    </a:lnTo>
                    <a:lnTo>
                      <a:pt x="28" y="588"/>
                    </a:lnTo>
                    <a:lnTo>
                      <a:pt x="28" y="586"/>
                    </a:lnTo>
                    <a:lnTo>
                      <a:pt x="28" y="586"/>
                    </a:lnTo>
                    <a:lnTo>
                      <a:pt x="30" y="584"/>
                    </a:lnTo>
                    <a:lnTo>
                      <a:pt x="30" y="584"/>
                    </a:lnTo>
                    <a:lnTo>
                      <a:pt x="32" y="584"/>
                    </a:lnTo>
                    <a:lnTo>
                      <a:pt x="32" y="584"/>
                    </a:lnTo>
                    <a:lnTo>
                      <a:pt x="34" y="584"/>
                    </a:lnTo>
                    <a:lnTo>
                      <a:pt x="34" y="586"/>
                    </a:lnTo>
                    <a:lnTo>
                      <a:pt x="36" y="588"/>
                    </a:lnTo>
                    <a:lnTo>
                      <a:pt x="36" y="591"/>
                    </a:lnTo>
                    <a:lnTo>
                      <a:pt x="38" y="593"/>
                    </a:lnTo>
                    <a:lnTo>
                      <a:pt x="38" y="595"/>
                    </a:lnTo>
                    <a:lnTo>
                      <a:pt x="40" y="597"/>
                    </a:lnTo>
                    <a:lnTo>
                      <a:pt x="42" y="597"/>
                    </a:lnTo>
                    <a:lnTo>
                      <a:pt x="47" y="599"/>
                    </a:lnTo>
                    <a:lnTo>
                      <a:pt x="47" y="599"/>
                    </a:lnTo>
                    <a:lnTo>
                      <a:pt x="49" y="599"/>
                    </a:lnTo>
                    <a:lnTo>
                      <a:pt x="51" y="601"/>
                    </a:lnTo>
                    <a:lnTo>
                      <a:pt x="51" y="603"/>
                    </a:lnTo>
                    <a:lnTo>
                      <a:pt x="53" y="610"/>
                    </a:lnTo>
                    <a:lnTo>
                      <a:pt x="53" y="612"/>
                    </a:lnTo>
                    <a:lnTo>
                      <a:pt x="55" y="612"/>
                    </a:lnTo>
                    <a:lnTo>
                      <a:pt x="57" y="614"/>
                    </a:lnTo>
                    <a:lnTo>
                      <a:pt x="63" y="616"/>
                    </a:lnTo>
                    <a:lnTo>
                      <a:pt x="65" y="616"/>
                    </a:lnTo>
                    <a:lnTo>
                      <a:pt x="68" y="620"/>
                    </a:lnTo>
                    <a:lnTo>
                      <a:pt x="68" y="620"/>
                    </a:lnTo>
                    <a:lnTo>
                      <a:pt x="70" y="620"/>
                    </a:lnTo>
                    <a:lnTo>
                      <a:pt x="70" y="620"/>
                    </a:lnTo>
                    <a:lnTo>
                      <a:pt x="72" y="620"/>
                    </a:lnTo>
                    <a:lnTo>
                      <a:pt x="74" y="622"/>
                    </a:lnTo>
                    <a:lnTo>
                      <a:pt x="76" y="626"/>
                    </a:lnTo>
                    <a:lnTo>
                      <a:pt x="78" y="627"/>
                    </a:lnTo>
                    <a:lnTo>
                      <a:pt x="80" y="629"/>
                    </a:lnTo>
                    <a:lnTo>
                      <a:pt x="80" y="631"/>
                    </a:lnTo>
                    <a:lnTo>
                      <a:pt x="78" y="633"/>
                    </a:lnTo>
                    <a:lnTo>
                      <a:pt x="78" y="635"/>
                    </a:lnTo>
                    <a:lnTo>
                      <a:pt x="76" y="637"/>
                    </a:lnTo>
                    <a:lnTo>
                      <a:pt x="74" y="637"/>
                    </a:lnTo>
                    <a:lnTo>
                      <a:pt x="70" y="637"/>
                    </a:lnTo>
                    <a:lnTo>
                      <a:pt x="68" y="637"/>
                    </a:lnTo>
                    <a:lnTo>
                      <a:pt x="68" y="639"/>
                    </a:lnTo>
                    <a:lnTo>
                      <a:pt x="67" y="639"/>
                    </a:lnTo>
                    <a:lnTo>
                      <a:pt x="68" y="641"/>
                    </a:lnTo>
                    <a:lnTo>
                      <a:pt x="70" y="645"/>
                    </a:lnTo>
                    <a:lnTo>
                      <a:pt x="70" y="646"/>
                    </a:lnTo>
                    <a:lnTo>
                      <a:pt x="70" y="648"/>
                    </a:lnTo>
                    <a:lnTo>
                      <a:pt x="70" y="648"/>
                    </a:lnTo>
                    <a:lnTo>
                      <a:pt x="65" y="650"/>
                    </a:lnTo>
                    <a:lnTo>
                      <a:pt x="63" y="652"/>
                    </a:lnTo>
                    <a:lnTo>
                      <a:pt x="61" y="654"/>
                    </a:lnTo>
                    <a:lnTo>
                      <a:pt x="59" y="656"/>
                    </a:lnTo>
                    <a:lnTo>
                      <a:pt x="57" y="658"/>
                    </a:lnTo>
                    <a:lnTo>
                      <a:pt x="57" y="658"/>
                    </a:lnTo>
                    <a:lnTo>
                      <a:pt x="57" y="658"/>
                    </a:lnTo>
                    <a:lnTo>
                      <a:pt x="55" y="656"/>
                    </a:lnTo>
                    <a:lnTo>
                      <a:pt x="53" y="650"/>
                    </a:lnTo>
                    <a:lnTo>
                      <a:pt x="51" y="650"/>
                    </a:lnTo>
                    <a:lnTo>
                      <a:pt x="49" y="648"/>
                    </a:lnTo>
                    <a:lnTo>
                      <a:pt x="46" y="650"/>
                    </a:lnTo>
                    <a:lnTo>
                      <a:pt x="44" y="650"/>
                    </a:lnTo>
                    <a:lnTo>
                      <a:pt x="42" y="646"/>
                    </a:lnTo>
                    <a:lnTo>
                      <a:pt x="40" y="641"/>
                    </a:lnTo>
                    <a:lnTo>
                      <a:pt x="38" y="641"/>
                    </a:lnTo>
                    <a:lnTo>
                      <a:pt x="36" y="641"/>
                    </a:lnTo>
                    <a:lnTo>
                      <a:pt x="34" y="643"/>
                    </a:lnTo>
                    <a:lnTo>
                      <a:pt x="32" y="645"/>
                    </a:lnTo>
                    <a:lnTo>
                      <a:pt x="32" y="646"/>
                    </a:lnTo>
                    <a:lnTo>
                      <a:pt x="30" y="646"/>
                    </a:lnTo>
                    <a:lnTo>
                      <a:pt x="28" y="648"/>
                    </a:lnTo>
                    <a:lnTo>
                      <a:pt x="27" y="648"/>
                    </a:lnTo>
                    <a:lnTo>
                      <a:pt x="27" y="650"/>
                    </a:lnTo>
                    <a:lnTo>
                      <a:pt x="25" y="654"/>
                    </a:lnTo>
                    <a:lnTo>
                      <a:pt x="23" y="656"/>
                    </a:lnTo>
                    <a:lnTo>
                      <a:pt x="21" y="656"/>
                    </a:lnTo>
                    <a:lnTo>
                      <a:pt x="19" y="658"/>
                    </a:lnTo>
                    <a:lnTo>
                      <a:pt x="17" y="660"/>
                    </a:lnTo>
                    <a:lnTo>
                      <a:pt x="17" y="662"/>
                    </a:lnTo>
                    <a:lnTo>
                      <a:pt x="13" y="671"/>
                    </a:lnTo>
                    <a:lnTo>
                      <a:pt x="13" y="673"/>
                    </a:lnTo>
                    <a:lnTo>
                      <a:pt x="13" y="677"/>
                    </a:lnTo>
                    <a:lnTo>
                      <a:pt x="9" y="681"/>
                    </a:lnTo>
                    <a:lnTo>
                      <a:pt x="4" y="690"/>
                    </a:lnTo>
                    <a:lnTo>
                      <a:pt x="0" y="694"/>
                    </a:lnTo>
                    <a:lnTo>
                      <a:pt x="0" y="700"/>
                    </a:lnTo>
                    <a:lnTo>
                      <a:pt x="2" y="702"/>
                    </a:lnTo>
                    <a:lnTo>
                      <a:pt x="9" y="711"/>
                    </a:lnTo>
                    <a:lnTo>
                      <a:pt x="11" y="715"/>
                    </a:lnTo>
                    <a:lnTo>
                      <a:pt x="9" y="717"/>
                    </a:lnTo>
                    <a:lnTo>
                      <a:pt x="2" y="721"/>
                    </a:lnTo>
                    <a:lnTo>
                      <a:pt x="0" y="723"/>
                    </a:lnTo>
                    <a:lnTo>
                      <a:pt x="0" y="724"/>
                    </a:lnTo>
                    <a:lnTo>
                      <a:pt x="0" y="726"/>
                    </a:lnTo>
                    <a:lnTo>
                      <a:pt x="0" y="728"/>
                    </a:lnTo>
                    <a:lnTo>
                      <a:pt x="0" y="730"/>
                    </a:lnTo>
                    <a:lnTo>
                      <a:pt x="2" y="730"/>
                    </a:lnTo>
                    <a:lnTo>
                      <a:pt x="4" y="730"/>
                    </a:lnTo>
                    <a:lnTo>
                      <a:pt x="6" y="730"/>
                    </a:lnTo>
                    <a:lnTo>
                      <a:pt x="6" y="732"/>
                    </a:lnTo>
                    <a:lnTo>
                      <a:pt x="6" y="734"/>
                    </a:lnTo>
                    <a:lnTo>
                      <a:pt x="6" y="736"/>
                    </a:lnTo>
                    <a:lnTo>
                      <a:pt x="6" y="738"/>
                    </a:lnTo>
                    <a:lnTo>
                      <a:pt x="7" y="740"/>
                    </a:lnTo>
                    <a:lnTo>
                      <a:pt x="7" y="742"/>
                    </a:lnTo>
                    <a:lnTo>
                      <a:pt x="9" y="742"/>
                    </a:lnTo>
                    <a:lnTo>
                      <a:pt x="9" y="744"/>
                    </a:lnTo>
                    <a:lnTo>
                      <a:pt x="9" y="745"/>
                    </a:lnTo>
                    <a:lnTo>
                      <a:pt x="11" y="745"/>
                    </a:lnTo>
                    <a:lnTo>
                      <a:pt x="11" y="745"/>
                    </a:lnTo>
                    <a:lnTo>
                      <a:pt x="13" y="744"/>
                    </a:lnTo>
                    <a:lnTo>
                      <a:pt x="13" y="744"/>
                    </a:lnTo>
                    <a:lnTo>
                      <a:pt x="15" y="744"/>
                    </a:lnTo>
                    <a:lnTo>
                      <a:pt x="15" y="744"/>
                    </a:lnTo>
                    <a:lnTo>
                      <a:pt x="17" y="745"/>
                    </a:lnTo>
                    <a:lnTo>
                      <a:pt x="19" y="747"/>
                    </a:lnTo>
                    <a:lnTo>
                      <a:pt x="21" y="745"/>
                    </a:lnTo>
                    <a:lnTo>
                      <a:pt x="25" y="744"/>
                    </a:lnTo>
                    <a:lnTo>
                      <a:pt x="28" y="744"/>
                    </a:lnTo>
                    <a:lnTo>
                      <a:pt x="30" y="745"/>
                    </a:lnTo>
                    <a:lnTo>
                      <a:pt x="32" y="747"/>
                    </a:lnTo>
                    <a:lnTo>
                      <a:pt x="32" y="747"/>
                    </a:lnTo>
                    <a:lnTo>
                      <a:pt x="36" y="749"/>
                    </a:lnTo>
                    <a:lnTo>
                      <a:pt x="38" y="749"/>
                    </a:lnTo>
                    <a:lnTo>
                      <a:pt x="40" y="753"/>
                    </a:lnTo>
                    <a:lnTo>
                      <a:pt x="46" y="759"/>
                    </a:lnTo>
                    <a:lnTo>
                      <a:pt x="47" y="763"/>
                    </a:lnTo>
                    <a:lnTo>
                      <a:pt x="49" y="764"/>
                    </a:lnTo>
                    <a:lnTo>
                      <a:pt x="51" y="766"/>
                    </a:lnTo>
                    <a:lnTo>
                      <a:pt x="53" y="770"/>
                    </a:lnTo>
                    <a:lnTo>
                      <a:pt x="55" y="772"/>
                    </a:lnTo>
                    <a:lnTo>
                      <a:pt x="55" y="774"/>
                    </a:lnTo>
                    <a:lnTo>
                      <a:pt x="57" y="778"/>
                    </a:lnTo>
                    <a:lnTo>
                      <a:pt x="61" y="785"/>
                    </a:lnTo>
                    <a:lnTo>
                      <a:pt x="63" y="789"/>
                    </a:lnTo>
                    <a:lnTo>
                      <a:pt x="65" y="791"/>
                    </a:lnTo>
                    <a:lnTo>
                      <a:pt x="65" y="793"/>
                    </a:lnTo>
                    <a:lnTo>
                      <a:pt x="63" y="793"/>
                    </a:lnTo>
                    <a:lnTo>
                      <a:pt x="63" y="795"/>
                    </a:lnTo>
                    <a:lnTo>
                      <a:pt x="61" y="795"/>
                    </a:lnTo>
                    <a:lnTo>
                      <a:pt x="59" y="797"/>
                    </a:lnTo>
                    <a:lnTo>
                      <a:pt x="59" y="797"/>
                    </a:lnTo>
                    <a:lnTo>
                      <a:pt x="59" y="799"/>
                    </a:lnTo>
                    <a:lnTo>
                      <a:pt x="59" y="799"/>
                    </a:lnTo>
                    <a:lnTo>
                      <a:pt x="59" y="801"/>
                    </a:lnTo>
                    <a:lnTo>
                      <a:pt x="59" y="802"/>
                    </a:lnTo>
                    <a:lnTo>
                      <a:pt x="61" y="802"/>
                    </a:lnTo>
                    <a:lnTo>
                      <a:pt x="65" y="802"/>
                    </a:lnTo>
                    <a:lnTo>
                      <a:pt x="67" y="802"/>
                    </a:lnTo>
                    <a:lnTo>
                      <a:pt x="67" y="802"/>
                    </a:lnTo>
                    <a:lnTo>
                      <a:pt x="68" y="801"/>
                    </a:lnTo>
                    <a:lnTo>
                      <a:pt x="68" y="801"/>
                    </a:lnTo>
                    <a:lnTo>
                      <a:pt x="68" y="801"/>
                    </a:lnTo>
                    <a:lnTo>
                      <a:pt x="68" y="797"/>
                    </a:lnTo>
                    <a:lnTo>
                      <a:pt x="68" y="797"/>
                    </a:lnTo>
                    <a:lnTo>
                      <a:pt x="70" y="797"/>
                    </a:lnTo>
                    <a:lnTo>
                      <a:pt x="70" y="795"/>
                    </a:lnTo>
                    <a:lnTo>
                      <a:pt x="72" y="795"/>
                    </a:lnTo>
                    <a:lnTo>
                      <a:pt x="72" y="797"/>
                    </a:lnTo>
                    <a:lnTo>
                      <a:pt x="74" y="799"/>
                    </a:lnTo>
                    <a:lnTo>
                      <a:pt x="74" y="801"/>
                    </a:lnTo>
                    <a:lnTo>
                      <a:pt x="74" y="802"/>
                    </a:lnTo>
                    <a:lnTo>
                      <a:pt x="74" y="804"/>
                    </a:lnTo>
                    <a:lnTo>
                      <a:pt x="74" y="804"/>
                    </a:lnTo>
                    <a:lnTo>
                      <a:pt x="76" y="806"/>
                    </a:lnTo>
                    <a:lnTo>
                      <a:pt x="78" y="806"/>
                    </a:lnTo>
                    <a:lnTo>
                      <a:pt x="80" y="806"/>
                    </a:lnTo>
                    <a:lnTo>
                      <a:pt x="82" y="804"/>
                    </a:lnTo>
                    <a:lnTo>
                      <a:pt x="84" y="804"/>
                    </a:lnTo>
                    <a:lnTo>
                      <a:pt x="86" y="804"/>
                    </a:lnTo>
                    <a:lnTo>
                      <a:pt x="88" y="804"/>
                    </a:lnTo>
                    <a:lnTo>
                      <a:pt x="88" y="806"/>
                    </a:lnTo>
                    <a:lnTo>
                      <a:pt x="88" y="806"/>
                    </a:lnTo>
                    <a:lnTo>
                      <a:pt x="86" y="808"/>
                    </a:lnTo>
                    <a:lnTo>
                      <a:pt x="86" y="810"/>
                    </a:lnTo>
                    <a:lnTo>
                      <a:pt x="84" y="812"/>
                    </a:lnTo>
                    <a:lnTo>
                      <a:pt x="84" y="816"/>
                    </a:lnTo>
                    <a:lnTo>
                      <a:pt x="86" y="818"/>
                    </a:lnTo>
                    <a:lnTo>
                      <a:pt x="86" y="820"/>
                    </a:lnTo>
                    <a:lnTo>
                      <a:pt x="86" y="822"/>
                    </a:lnTo>
                    <a:lnTo>
                      <a:pt x="89" y="827"/>
                    </a:lnTo>
                    <a:lnTo>
                      <a:pt x="89" y="829"/>
                    </a:lnTo>
                    <a:lnTo>
                      <a:pt x="89" y="844"/>
                    </a:lnTo>
                    <a:lnTo>
                      <a:pt x="91" y="850"/>
                    </a:lnTo>
                    <a:lnTo>
                      <a:pt x="93" y="852"/>
                    </a:lnTo>
                    <a:lnTo>
                      <a:pt x="95" y="854"/>
                    </a:lnTo>
                    <a:lnTo>
                      <a:pt x="97" y="854"/>
                    </a:lnTo>
                    <a:lnTo>
                      <a:pt x="99" y="852"/>
                    </a:lnTo>
                    <a:lnTo>
                      <a:pt x="103" y="850"/>
                    </a:lnTo>
                    <a:lnTo>
                      <a:pt x="107" y="848"/>
                    </a:lnTo>
                    <a:lnTo>
                      <a:pt x="109" y="846"/>
                    </a:lnTo>
                    <a:lnTo>
                      <a:pt x="110" y="846"/>
                    </a:lnTo>
                    <a:lnTo>
                      <a:pt x="112" y="846"/>
                    </a:lnTo>
                    <a:lnTo>
                      <a:pt x="112" y="846"/>
                    </a:lnTo>
                    <a:lnTo>
                      <a:pt x="114" y="846"/>
                    </a:lnTo>
                    <a:lnTo>
                      <a:pt x="118" y="848"/>
                    </a:lnTo>
                    <a:lnTo>
                      <a:pt x="120" y="850"/>
                    </a:lnTo>
                    <a:lnTo>
                      <a:pt x="124" y="850"/>
                    </a:lnTo>
                    <a:lnTo>
                      <a:pt x="126" y="850"/>
                    </a:lnTo>
                    <a:lnTo>
                      <a:pt x="131" y="850"/>
                    </a:lnTo>
                    <a:lnTo>
                      <a:pt x="141" y="850"/>
                    </a:lnTo>
                    <a:lnTo>
                      <a:pt x="141" y="848"/>
                    </a:lnTo>
                    <a:lnTo>
                      <a:pt x="141" y="846"/>
                    </a:lnTo>
                    <a:lnTo>
                      <a:pt x="141" y="842"/>
                    </a:lnTo>
                    <a:lnTo>
                      <a:pt x="141" y="841"/>
                    </a:lnTo>
                    <a:lnTo>
                      <a:pt x="141" y="841"/>
                    </a:lnTo>
                    <a:lnTo>
                      <a:pt x="143" y="839"/>
                    </a:lnTo>
                    <a:lnTo>
                      <a:pt x="143" y="839"/>
                    </a:lnTo>
                    <a:lnTo>
                      <a:pt x="143" y="839"/>
                    </a:lnTo>
                    <a:lnTo>
                      <a:pt x="145" y="839"/>
                    </a:lnTo>
                    <a:lnTo>
                      <a:pt x="145" y="839"/>
                    </a:lnTo>
                    <a:lnTo>
                      <a:pt x="145" y="841"/>
                    </a:lnTo>
                    <a:lnTo>
                      <a:pt x="147" y="841"/>
                    </a:lnTo>
                    <a:lnTo>
                      <a:pt x="147" y="841"/>
                    </a:lnTo>
                    <a:lnTo>
                      <a:pt x="147" y="841"/>
                    </a:lnTo>
                    <a:lnTo>
                      <a:pt x="149" y="841"/>
                    </a:lnTo>
                    <a:lnTo>
                      <a:pt x="149" y="839"/>
                    </a:lnTo>
                    <a:lnTo>
                      <a:pt x="149" y="839"/>
                    </a:lnTo>
                    <a:lnTo>
                      <a:pt x="149" y="837"/>
                    </a:lnTo>
                    <a:lnTo>
                      <a:pt x="149" y="835"/>
                    </a:lnTo>
                    <a:lnTo>
                      <a:pt x="149" y="835"/>
                    </a:lnTo>
                    <a:lnTo>
                      <a:pt x="150" y="833"/>
                    </a:lnTo>
                    <a:lnTo>
                      <a:pt x="150" y="831"/>
                    </a:lnTo>
                    <a:lnTo>
                      <a:pt x="150" y="831"/>
                    </a:lnTo>
                    <a:lnTo>
                      <a:pt x="152" y="829"/>
                    </a:lnTo>
                    <a:lnTo>
                      <a:pt x="152" y="827"/>
                    </a:lnTo>
                    <a:lnTo>
                      <a:pt x="152" y="825"/>
                    </a:lnTo>
                    <a:lnTo>
                      <a:pt x="152" y="820"/>
                    </a:lnTo>
                    <a:lnTo>
                      <a:pt x="152" y="820"/>
                    </a:lnTo>
                    <a:lnTo>
                      <a:pt x="152" y="818"/>
                    </a:lnTo>
                    <a:lnTo>
                      <a:pt x="152" y="818"/>
                    </a:lnTo>
                    <a:lnTo>
                      <a:pt x="154" y="816"/>
                    </a:lnTo>
                    <a:lnTo>
                      <a:pt x="154" y="814"/>
                    </a:lnTo>
                    <a:lnTo>
                      <a:pt x="154" y="814"/>
                    </a:lnTo>
                    <a:lnTo>
                      <a:pt x="154" y="814"/>
                    </a:lnTo>
                    <a:lnTo>
                      <a:pt x="156" y="812"/>
                    </a:lnTo>
                    <a:lnTo>
                      <a:pt x="156" y="808"/>
                    </a:lnTo>
                    <a:lnTo>
                      <a:pt x="156" y="806"/>
                    </a:lnTo>
                    <a:lnTo>
                      <a:pt x="158" y="804"/>
                    </a:lnTo>
                    <a:lnTo>
                      <a:pt x="158" y="802"/>
                    </a:lnTo>
                    <a:lnTo>
                      <a:pt x="158" y="802"/>
                    </a:lnTo>
                    <a:lnTo>
                      <a:pt x="156" y="801"/>
                    </a:lnTo>
                    <a:lnTo>
                      <a:pt x="156" y="799"/>
                    </a:lnTo>
                    <a:lnTo>
                      <a:pt x="156" y="799"/>
                    </a:lnTo>
                    <a:lnTo>
                      <a:pt x="156" y="797"/>
                    </a:lnTo>
                    <a:lnTo>
                      <a:pt x="156" y="797"/>
                    </a:lnTo>
                    <a:lnTo>
                      <a:pt x="158" y="795"/>
                    </a:lnTo>
                    <a:lnTo>
                      <a:pt x="158" y="793"/>
                    </a:lnTo>
                    <a:lnTo>
                      <a:pt x="160" y="789"/>
                    </a:lnTo>
                    <a:lnTo>
                      <a:pt x="160" y="789"/>
                    </a:lnTo>
                    <a:lnTo>
                      <a:pt x="162" y="789"/>
                    </a:lnTo>
                    <a:lnTo>
                      <a:pt x="162" y="789"/>
                    </a:lnTo>
                    <a:lnTo>
                      <a:pt x="164" y="789"/>
                    </a:lnTo>
                    <a:lnTo>
                      <a:pt x="164" y="789"/>
                    </a:lnTo>
                    <a:lnTo>
                      <a:pt x="166" y="787"/>
                    </a:lnTo>
                    <a:lnTo>
                      <a:pt x="173" y="785"/>
                    </a:lnTo>
                    <a:lnTo>
                      <a:pt x="173" y="785"/>
                    </a:lnTo>
                    <a:lnTo>
                      <a:pt x="175" y="783"/>
                    </a:lnTo>
                    <a:lnTo>
                      <a:pt x="175" y="782"/>
                    </a:lnTo>
                    <a:lnTo>
                      <a:pt x="177" y="780"/>
                    </a:lnTo>
                    <a:lnTo>
                      <a:pt x="177" y="780"/>
                    </a:lnTo>
                    <a:lnTo>
                      <a:pt x="179" y="780"/>
                    </a:lnTo>
                    <a:lnTo>
                      <a:pt x="183" y="780"/>
                    </a:lnTo>
                    <a:lnTo>
                      <a:pt x="183" y="778"/>
                    </a:lnTo>
                    <a:lnTo>
                      <a:pt x="185" y="778"/>
                    </a:lnTo>
                    <a:lnTo>
                      <a:pt x="185" y="778"/>
                    </a:lnTo>
                    <a:lnTo>
                      <a:pt x="189" y="770"/>
                    </a:lnTo>
                    <a:lnTo>
                      <a:pt x="192" y="766"/>
                    </a:lnTo>
                    <a:lnTo>
                      <a:pt x="192" y="764"/>
                    </a:lnTo>
                    <a:lnTo>
                      <a:pt x="198" y="761"/>
                    </a:lnTo>
                    <a:lnTo>
                      <a:pt x="202" y="757"/>
                    </a:lnTo>
                    <a:lnTo>
                      <a:pt x="204" y="755"/>
                    </a:lnTo>
                    <a:lnTo>
                      <a:pt x="206" y="753"/>
                    </a:lnTo>
                    <a:lnTo>
                      <a:pt x="208" y="751"/>
                    </a:lnTo>
                    <a:lnTo>
                      <a:pt x="210" y="751"/>
                    </a:lnTo>
                    <a:lnTo>
                      <a:pt x="210" y="751"/>
                    </a:lnTo>
                    <a:lnTo>
                      <a:pt x="211" y="749"/>
                    </a:lnTo>
                    <a:lnTo>
                      <a:pt x="211" y="747"/>
                    </a:lnTo>
                    <a:lnTo>
                      <a:pt x="210" y="745"/>
                    </a:lnTo>
                    <a:lnTo>
                      <a:pt x="210" y="745"/>
                    </a:lnTo>
                    <a:lnTo>
                      <a:pt x="208" y="744"/>
                    </a:lnTo>
                    <a:lnTo>
                      <a:pt x="206" y="744"/>
                    </a:lnTo>
                    <a:lnTo>
                      <a:pt x="206" y="742"/>
                    </a:lnTo>
                    <a:lnTo>
                      <a:pt x="206" y="742"/>
                    </a:lnTo>
                    <a:lnTo>
                      <a:pt x="206" y="740"/>
                    </a:lnTo>
                    <a:lnTo>
                      <a:pt x="206" y="740"/>
                    </a:lnTo>
                    <a:lnTo>
                      <a:pt x="208" y="740"/>
                    </a:lnTo>
                    <a:lnTo>
                      <a:pt x="208" y="740"/>
                    </a:lnTo>
                    <a:lnTo>
                      <a:pt x="210" y="740"/>
                    </a:lnTo>
                    <a:lnTo>
                      <a:pt x="210" y="738"/>
                    </a:lnTo>
                    <a:lnTo>
                      <a:pt x="211" y="738"/>
                    </a:lnTo>
                    <a:lnTo>
                      <a:pt x="213" y="734"/>
                    </a:lnTo>
                    <a:lnTo>
                      <a:pt x="213" y="734"/>
                    </a:lnTo>
                    <a:lnTo>
                      <a:pt x="215" y="732"/>
                    </a:lnTo>
                    <a:lnTo>
                      <a:pt x="215" y="732"/>
                    </a:lnTo>
                    <a:lnTo>
                      <a:pt x="217" y="732"/>
                    </a:lnTo>
                    <a:lnTo>
                      <a:pt x="219" y="730"/>
                    </a:lnTo>
                    <a:lnTo>
                      <a:pt x="223" y="730"/>
                    </a:lnTo>
                    <a:lnTo>
                      <a:pt x="225" y="730"/>
                    </a:lnTo>
                    <a:lnTo>
                      <a:pt x="227" y="728"/>
                    </a:lnTo>
                    <a:lnTo>
                      <a:pt x="227" y="728"/>
                    </a:lnTo>
                    <a:lnTo>
                      <a:pt x="229" y="723"/>
                    </a:lnTo>
                    <a:lnTo>
                      <a:pt x="229" y="723"/>
                    </a:lnTo>
                    <a:lnTo>
                      <a:pt x="231" y="723"/>
                    </a:lnTo>
                    <a:lnTo>
                      <a:pt x="231" y="723"/>
                    </a:lnTo>
                    <a:lnTo>
                      <a:pt x="231" y="723"/>
                    </a:lnTo>
                    <a:lnTo>
                      <a:pt x="232" y="724"/>
                    </a:lnTo>
                    <a:lnTo>
                      <a:pt x="234" y="724"/>
                    </a:lnTo>
                    <a:lnTo>
                      <a:pt x="234" y="726"/>
                    </a:lnTo>
                    <a:lnTo>
                      <a:pt x="236" y="723"/>
                    </a:lnTo>
                    <a:lnTo>
                      <a:pt x="236" y="721"/>
                    </a:lnTo>
                    <a:lnTo>
                      <a:pt x="236" y="721"/>
                    </a:lnTo>
                    <a:lnTo>
                      <a:pt x="236" y="719"/>
                    </a:lnTo>
                    <a:lnTo>
                      <a:pt x="238" y="713"/>
                    </a:lnTo>
                    <a:lnTo>
                      <a:pt x="238" y="709"/>
                    </a:lnTo>
                    <a:lnTo>
                      <a:pt x="238" y="709"/>
                    </a:lnTo>
                    <a:lnTo>
                      <a:pt x="238" y="707"/>
                    </a:lnTo>
                    <a:lnTo>
                      <a:pt x="240" y="707"/>
                    </a:lnTo>
                    <a:lnTo>
                      <a:pt x="240" y="707"/>
                    </a:lnTo>
                    <a:lnTo>
                      <a:pt x="240" y="705"/>
                    </a:lnTo>
                    <a:lnTo>
                      <a:pt x="240" y="705"/>
                    </a:lnTo>
                    <a:lnTo>
                      <a:pt x="242" y="705"/>
                    </a:lnTo>
                    <a:lnTo>
                      <a:pt x="244" y="704"/>
                    </a:lnTo>
                    <a:lnTo>
                      <a:pt x="246" y="704"/>
                    </a:lnTo>
                    <a:lnTo>
                      <a:pt x="246" y="702"/>
                    </a:lnTo>
                    <a:lnTo>
                      <a:pt x="246" y="702"/>
                    </a:lnTo>
                    <a:lnTo>
                      <a:pt x="246" y="692"/>
                    </a:lnTo>
                    <a:lnTo>
                      <a:pt x="246" y="692"/>
                    </a:lnTo>
                    <a:lnTo>
                      <a:pt x="246" y="690"/>
                    </a:lnTo>
                    <a:lnTo>
                      <a:pt x="246" y="688"/>
                    </a:lnTo>
                    <a:lnTo>
                      <a:pt x="244" y="686"/>
                    </a:lnTo>
                    <a:lnTo>
                      <a:pt x="242" y="685"/>
                    </a:lnTo>
                    <a:lnTo>
                      <a:pt x="242" y="681"/>
                    </a:lnTo>
                    <a:lnTo>
                      <a:pt x="242" y="681"/>
                    </a:lnTo>
                    <a:lnTo>
                      <a:pt x="242" y="679"/>
                    </a:lnTo>
                    <a:lnTo>
                      <a:pt x="238" y="677"/>
                    </a:lnTo>
                    <a:lnTo>
                      <a:pt x="238" y="675"/>
                    </a:lnTo>
                    <a:lnTo>
                      <a:pt x="238" y="675"/>
                    </a:lnTo>
                    <a:lnTo>
                      <a:pt x="238" y="671"/>
                    </a:lnTo>
                    <a:lnTo>
                      <a:pt x="238" y="669"/>
                    </a:lnTo>
                    <a:lnTo>
                      <a:pt x="238" y="667"/>
                    </a:lnTo>
                    <a:lnTo>
                      <a:pt x="236" y="666"/>
                    </a:lnTo>
                    <a:lnTo>
                      <a:pt x="236" y="664"/>
                    </a:lnTo>
                    <a:lnTo>
                      <a:pt x="236" y="662"/>
                    </a:lnTo>
                    <a:lnTo>
                      <a:pt x="236" y="660"/>
                    </a:lnTo>
                    <a:lnTo>
                      <a:pt x="236" y="658"/>
                    </a:lnTo>
                    <a:lnTo>
                      <a:pt x="236" y="656"/>
                    </a:lnTo>
                    <a:lnTo>
                      <a:pt x="238" y="652"/>
                    </a:lnTo>
                    <a:lnTo>
                      <a:pt x="238" y="650"/>
                    </a:lnTo>
                    <a:lnTo>
                      <a:pt x="238" y="648"/>
                    </a:lnTo>
                    <a:lnTo>
                      <a:pt x="238" y="648"/>
                    </a:lnTo>
                    <a:lnTo>
                      <a:pt x="234" y="646"/>
                    </a:lnTo>
                    <a:lnTo>
                      <a:pt x="234" y="646"/>
                    </a:lnTo>
                    <a:lnTo>
                      <a:pt x="234" y="645"/>
                    </a:lnTo>
                    <a:lnTo>
                      <a:pt x="234" y="645"/>
                    </a:lnTo>
                    <a:lnTo>
                      <a:pt x="236" y="643"/>
                    </a:lnTo>
                    <a:lnTo>
                      <a:pt x="238" y="641"/>
                    </a:lnTo>
                    <a:lnTo>
                      <a:pt x="238" y="641"/>
                    </a:lnTo>
                    <a:lnTo>
                      <a:pt x="238" y="639"/>
                    </a:lnTo>
                    <a:lnTo>
                      <a:pt x="238" y="639"/>
                    </a:lnTo>
                    <a:lnTo>
                      <a:pt x="238" y="637"/>
                    </a:lnTo>
                    <a:lnTo>
                      <a:pt x="236" y="635"/>
                    </a:lnTo>
                    <a:lnTo>
                      <a:pt x="236" y="635"/>
                    </a:lnTo>
                    <a:lnTo>
                      <a:pt x="232" y="635"/>
                    </a:lnTo>
                    <a:lnTo>
                      <a:pt x="231" y="635"/>
                    </a:lnTo>
                    <a:lnTo>
                      <a:pt x="231" y="633"/>
                    </a:lnTo>
                    <a:lnTo>
                      <a:pt x="231" y="633"/>
                    </a:lnTo>
                    <a:lnTo>
                      <a:pt x="229" y="627"/>
                    </a:lnTo>
                    <a:lnTo>
                      <a:pt x="227" y="627"/>
                    </a:lnTo>
                    <a:lnTo>
                      <a:pt x="227" y="627"/>
                    </a:lnTo>
                    <a:lnTo>
                      <a:pt x="227" y="626"/>
                    </a:lnTo>
                    <a:lnTo>
                      <a:pt x="223" y="626"/>
                    </a:lnTo>
                    <a:lnTo>
                      <a:pt x="221" y="626"/>
                    </a:lnTo>
                    <a:lnTo>
                      <a:pt x="221" y="624"/>
                    </a:lnTo>
                    <a:lnTo>
                      <a:pt x="221" y="612"/>
                    </a:lnTo>
                    <a:lnTo>
                      <a:pt x="223" y="608"/>
                    </a:lnTo>
                    <a:lnTo>
                      <a:pt x="223" y="608"/>
                    </a:lnTo>
                    <a:lnTo>
                      <a:pt x="223" y="607"/>
                    </a:lnTo>
                    <a:lnTo>
                      <a:pt x="221" y="603"/>
                    </a:lnTo>
                    <a:lnTo>
                      <a:pt x="221" y="599"/>
                    </a:lnTo>
                    <a:lnTo>
                      <a:pt x="221" y="597"/>
                    </a:lnTo>
                    <a:lnTo>
                      <a:pt x="223" y="591"/>
                    </a:lnTo>
                    <a:lnTo>
                      <a:pt x="223" y="589"/>
                    </a:lnTo>
                    <a:lnTo>
                      <a:pt x="221" y="589"/>
                    </a:lnTo>
                    <a:lnTo>
                      <a:pt x="219" y="588"/>
                    </a:lnTo>
                    <a:lnTo>
                      <a:pt x="219" y="588"/>
                    </a:lnTo>
                    <a:lnTo>
                      <a:pt x="215" y="588"/>
                    </a:lnTo>
                    <a:lnTo>
                      <a:pt x="213" y="588"/>
                    </a:lnTo>
                    <a:lnTo>
                      <a:pt x="213" y="586"/>
                    </a:lnTo>
                    <a:lnTo>
                      <a:pt x="211" y="586"/>
                    </a:lnTo>
                    <a:lnTo>
                      <a:pt x="210" y="582"/>
                    </a:lnTo>
                    <a:lnTo>
                      <a:pt x="210" y="580"/>
                    </a:lnTo>
                    <a:lnTo>
                      <a:pt x="210" y="580"/>
                    </a:lnTo>
                    <a:lnTo>
                      <a:pt x="198" y="574"/>
                    </a:lnTo>
                    <a:lnTo>
                      <a:pt x="196" y="572"/>
                    </a:lnTo>
                    <a:lnTo>
                      <a:pt x="196" y="570"/>
                    </a:lnTo>
                    <a:lnTo>
                      <a:pt x="194" y="568"/>
                    </a:lnTo>
                    <a:lnTo>
                      <a:pt x="194" y="568"/>
                    </a:lnTo>
                    <a:lnTo>
                      <a:pt x="194" y="567"/>
                    </a:lnTo>
                    <a:lnTo>
                      <a:pt x="194" y="565"/>
                    </a:lnTo>
                    <a:lnTo>
                      <a:pt x="194" y="565"/>
                    </a:lnTo>
                    <a:lnTo>
                      <a:pt x="200" y="555"/>
                    </a:lnTo>
                    <a:lnTo>
                      <a:pt x="200" y="553"/>
                    </a:lnTo>
                    <a:lnTo>
                      <a:pt x="202" y="553"/>
                    </a:lnTo>
                    <a:lnTo>
                      <a:pt x="204" y="551"/>
                    </a:lnTo>
                    <a:lnTo>
                      <a:pt x="210" y="546"/>
                    </a:lnTo>
                    <a:lnTo>
                      <a:pt x="210" y="546"/>
                    </a:lnTo>
                    <a:lnTo>
                      <a:pt x="211" y="546"/>
                    </a:lnTo>
                    <a:lnTo>
                      <a:pt x="211" y="546"/>
                    </a:lnTo>
                    <a:lnTo>
                      <a:pt x="213" y="546"/>
                    </a:lnTo>
                    <a:lnTo>
                      <a:pt x="219" y="553"/>
                    </a:lnTo>
                    <a:lnTo>
                      <a:pt x="219" y="555"/>
                    </a:lnTo>
                    <a:lnTo>
                      <a:pt x="219" y="555"/>
                    </a:lnTo>
                    <a:lnTo>
                      <a:pt x="219" y="557"/>
                    </a:lnTo>
                    <a:lnTo>
                      <a:pt x="219" y="557"/>
                    </a:lnTo>
                    <a:lnTo>
                      <a:pt x="221" y="557"/>
                    </a:lnTo>
                    <a:lnTo>
                      <a:pt x="221" y="557"/>
                    </a:lnTo>
                    <a:lnTo>
                      <a:pt x="223" y="557"/>
                    </a:lnTo>
                    <a:lnTo>
                      <a:pt x="223" y="557"/>
                    </a:lnTo>
                    <a:lnTo>
                      <a:pt x="223" y="557"/>
                    </a:lnTo>
                    <a:lnTo>
                      <a:pt x="225" y="553"/>
                    </a:lnTo>
                    <a:lnTo>
                      <a:pt x="225" y="553"/>
                    </a:lnTo>
                    <a:lnTo>
                      <a:pt x="227" y="551"/>
                    </a:lnTo>
                    <a:lnTo>
                      <a:pt x="227" y="551"/>
                    </a:lnTo>
                    <a:lnTo>
                      <a:pt x="227" y="551"/>
                    </a:lnTo>
                    <a:lnTo>
                      <a:pt x="229" y="551"/>
                    </a:lnTo>
                    <a:lnTo>
                      <a:pt x="229" y="551"/>
                    </a:lnTo>
                    <a:lnTo>
                      <a:pt x="229" y="551"/>
                    </a:lnTo>
                    <a:lnTo>
                      <a:pt x="229" y="553"/>
                    </a:lnTo>
                    <a:lnTo>
                      <a:pt x="234" y="557"/>
                    </a:lnTo>
                    <a:lnTo>
                      <a:pt x="234" y="557"/>
                    </a:lnTo>
                    <a:lnTo>
                      <a:pt x="236" y="559"/>
                    </a:lnTo>
                    <a:lnTo>
                      <a:pt x="236" y="559"/>
                    </a:lnTo>
                    <a:lnTo>
                      <a:pt x="236" y="559"/>
                    </a:lnTo>
                    <a:lnTo>
                      <a:pt x="236" y="561"/>
                    </a:lnTo>
                    <a:lnTo>
                      <a:pt x="238" y="561"/>
                    </a:lnTo>
                    <a:lnTo>
                      <a:pt x="238" y="561"/>
                    </a:lnTo>
                    <a:lnTo>
                      <a:pt x="238" y="563"/>
                    </a:lnTo>
                    <a:lnTo>
                      <a:pt x="238" y="563"/>
                    </a:lnTo>
                    <a:lnTo>
                      <a:pt x="240" y="563"/>
                    </a:lnTo>
                    <a:lnTo>
                      <a:pt x="244" y="563"/>
                    </a:lnTo>
                    <a:lnTo>
                      <a:pt x="244" y="563"/>
                    </a:lnTo>
                    <a:lnTo>
                      <a:pt x="246" y="563"/>
                    </a:lnTo>
                    <a:lnTo>
                      <a:pt x="246" y="565"/>
                    </a:lnTo>
                    <a:lnTo>
                      <a:pt x="253" y="582"/>
                    </a:lnTo>
                    <a:lnTo>
                      <a:pt x="255" y="582"/>
                    </a:lnTo>
                    <a:lnTo>
                      <a:pt x="255" y="584"/>
                    </a:lnTo>
                    <a:lnTo>
                      <a:pt x="257" y="582"/>
                    </a:lnTo>
                    <a:lnTo>
                      <a:pt x="257" y="582"/>
                    </a:lnTo>
                    <a:lnTo>
                      <a:pt x="259" y="578"/>
                    </a:lnTo>
                    <a:lnTo>
                      <a:pt x="259" y="576"/>
                    </a:lnTo>
                    <a:lnTo>
                      <a:pt x="261" y="576"/>
                    </a:lnTo>
                    <a:lnTo>
                      <a:pt x="261" y="576"/>
                    </a:lnTo>
                    <a:lnTo>
                      <a:pt x="261" y="576"/>
                    </a:lnTo>
                    <a:lnTo>
                      <a:pt x="263" y="574"/>
                    </a:lnTo>
                    <a:lnTo>
                      <a:pt x="265" y="574"/>
                    </a:lnTo>
                    <a:lnTo>
                      <a:pt x="265" y="574"/>
                    </a:lnTo>
                    <a:lnTo>
                      <a:pt x="276" y="576"/>
                    </a:lnTo>
                    <a:lnTo>
                      <a:pt x="278" y="576"/>
                    </a:lnTo>
                    <a:lnTo>
                      <a:pt x="282" y="578"/>
                    </a:lnTo>
                    <a:lnTo>
                      <a:pt x="284" y="580"/>
                    </a:lnTo>
                    <a:lnTo>
                      <a:pt x="288" y="580"/>
                    </a:lnTo>
                    <a:lnTo>
                      <a:pt x="290" y="580"/>
                    </a:lnTo>
                    <a:lnTo>
                      <a:pt x="290" y="580"/>
                    </a:lnTo>
                    <a:lnTo>
                      <a:pt x="290" y="582"/>
                    </a:lnTo>
                    <a:lnTo>
                      <a:pt x="290" y="582"/>
                    </a:lnTo>
                    <a:lnTo>
                      <a:pt x="290" y="584"/>
                    </a:lnTo>
                    <a:lnTo>
                      <a:pt x="290" y="586"/>
                    </a:lnTo>
                    <a:lnTo>
                      <a:pt x="290" y="588"/>
                    </a:lnTo>
                    <a:lnTo>
                      <a:pt x="290" y="588"/>
                    </a:lnTo>
                    <a:lnTo>
                      <a:pt x="290" y="589"/>
                    </a:lnTo>
                    <a:lnTo>
                      <a:pt x="290" y="589"/>
                    </a:lnTo>
                    <a:lnTo>
                      <a:pt x="290" y="589"/>
                    </a:lnTo>
                    <a:lnTo>
                      <a:pt x="292" y="589"/>
                    </a:lnTo>
                    <a:lnTo>
                      <a:pt x="293" y="589"/>
                    </a:lnTo>
                    <a:lnTo>
                      <a:pt x="297" y="586"/>
                    </a:lnTo>
                    <a:lnTo>
                      <a:pt x="299" y="584"/>
                    </a:lnTo>
                    <a:lnTo>
                      <a:pt x="301" y="584"/>
                    </a:lnTo>
                    <a:lnTo>
                      <a:pt x="303" y="584"/>
                    </a:lnTo>
                    <a:lnTo>
                      <a:pt x="305" y="582"/>
                    </a:lnTo>
                    <a:lnTo>
                      <a:pt x="307" y="580"/>
                    </a:lnTo>
                    <a:lnTo>
                      <a:pt x="307" y="580"/>
                    </a:lnTo>
                    <a:lnTo>
                      <a:pt x="307" y="578"/>
                    </a:lnTo>
                    <a:lnTo>
                      <a:pt x="307" y="578"/>
                    </a:lnTo>
                    <a:lnTo>
                      <a:pt x="305" y="576"/>
                    </a:lnTo>
                    <a:lnTo>
                      <a:pt x="303" y="574"/>
                    </a:lnTo>
                    <a:lnTo>
                      <a:pt x="303" y="574"/>
                    </a:lnTo>
                    <a:lnTo>
                      <a:pt x="303" y="572"/>
                    </a:lnTo>
                    <a:lnTo>
                      <a:pt x="303" y="572"/>
                    </a:lnTo>
                    <a:lnTo>
                      <a:pt x="305" y="565"/>
                    </a:lnTo>
                    <a:lnTo>
                      <a:pt x="305" y="563"/>
                    </a:lnTo>
                    <a:lnTo>
                      <a:pt x="305" y="563"/>
                    </a:lnTo>
                    <a:lnTo>
                      <a:pt x="305" y="559"/>
                    </a:lnTo>
                    <a:lnTo>
                      <a:pt x="305" y="559"/>
                    </a:lnTo>
                    <a:lnTo>
                      <a:pt x="305" y="559"/>
                    </a:lnTo>
                    <a:lnTo>
                      <a:pt x="303" y="559"/>
                    </a:lnTo>
                    <a:lnTo>
                      <a:pt x="301" y="559"/>
                    </a:lnTo>
                    <a:lnTo>
                      <a:pt x="299" y="559"/>
                    </a:lnTo>
                    <a:lnTo>
                      <a:pt x="299" y="559"/>
                    </a:lnTo>
                    <a:lnTo>
                      <a:pt x="297" y="559"/>
                    </a:lnTo>
                    <a:lnTo>
                      <a:pt x="297" y="559"/>
                    </a:lnTo>
                    <a:lnTo>
                      <a:pt x="297" y="559"/>
                    </a:lnTo>
                    <a:lnTo>
                      <a:pt x="295" y="561"/>
                    </a:lnTo>
                    <a:lnTo>
                      <a:pt x="295" y="561"/>
                    </a:lnTo>
                    <a:lnTo>
                      <a:pt x="293" y="561"/>
                    </a:lnTo>
                    <a:lnTo>
                      <a:pt x="293" y="561"/>
                    </a:lnTo>
                    <a:lnTo>
                      <a:pt x="293" y="561"/>
                    </a:lnTo>
                    <a:lnTo>
                      <a:pt x="292" y="559"/>
                    </a:lnTo>
                    <a:lnTo>
                      <a:pt x="292" y="559"/>
                    </a:lnTo>
                    <a:lnTo>
                      <a:pt x="290" y="557"/>
                    </a:lnTo>
                    <a:lnTo>
                      <a:pt x="290" y="557"/>
                    </a:lnTo>
                    <a:lnTo>
                      <a:pt x="288" y="557"/>
                    </a:lnTo>
                    <a:lnTo>
                      <a:pt x="288" y="555"/>
                    </a:lnTo>
                    <a:lnTo>
                      <a:pt x="286" y="555"/>
                    </a:lnTo>
                    <a:lnTo>
                      <a:pt x="282" y="557"/>
                    </a:lnTo>
                    <a:lnTo>
                      <a:pt x="280" y="557"/>
                    </a:lnTo>
                    <a:lnTo>
                      <a:pt x="278" y="555"/>
                    </a:lnTo>
                    <a:lnTo>
                      <a:pt x="278" y="555"/>
                    </a:lnTo>
                    <a:lnTo>
                      <a:pt x="276" y="553"/>
                    </a:lnTo>
                    <a:lnTo>
                      <a:pt x="276" y="553"/>
                    </a:lnTo>
                    <a:lnTo>
                      <a:pt x="271" y="549"/>
                    </a:lnTo>
                    <a:lnTo>
                      <a:pt x="269" y="549"/>
                    </a:lnTo>
                    <a:lnTo>
                      <a:pt x="269" y="548"/>
                    </a:lnTo>
                    <a:lnTo>
                      <a:pt x="273" y="538"/>
                    </a:lnTo>
                    <a:lnTo>
                      <a:pt x="273" y="536"/>
                    </a:lnTo>
                    <a:lnTo>
                      <a:pt x="273" y="532"/>
                    </a:lnTo>
                    <a:lnTo>
                      <a:pt x="271" y="527"/>
                    </a:lnTo>
                    <a:lnTo>
                      <a:pt x="271" y="521"/>
                    </a:lnTo>
                    <a:lnTo>
                      <a:pt x="271" y="519"/>
                    </a:lnTo>
                    <a:lnTo>
                      <a:pt x="271" y="517"/>
                    </a:lnTo>
                    <a:lnTo>
                      <a:pt x="269" y="517"/>
                    </a:lnTo>
                    <a:lnTo>
                      <a:pt x="269" y="515"/>
                    </a:lnTo>
                    <a:lnTo>
                      <a:pt x="269" y="513"/>
                    </a:lnTo>
                    <a:lnTo>
                      <a:pt x="271" y="502"/>
                    </a:lnTo>
                    <a:lnTo>
                      <a:pt x="271" y="500"/>
                    </a:lnTo>
                    <a:lnTo>
                      <a:pt x="271" y="498"/>
                    </a:lnTo>
                    <a:lnTo>
                      <a:pt x="269" y="498"/>
                    </a:lnTo>
                    <a:lnTo>
                      <a:pt x="269" y="498"/>
                    </a:lnTo>
                    <a:lnTo>
                      <a:pt x="269" y="498"/>
                    </a:lnTo>
                    <a:lnTo>
                      <a:pt x="267" y="498"/>
                    </a:lnTo>
                    <a:lnTo>
                      <a:pt x="267" y="498"/>
                    </a:lnTo>
                    <a:lnTo>
                      <a:pt x="267" y="496"/>
                    </a:lnTo>
                    <a:lnTo>
                      <a:pt x="265" y="494"/>
                    </a:lnTo>
                    <a:lnTo>
                      <a:pt x="265" y="492"/>
                    </a:lnTo>
                    <a:lnTo>
                      <a:pt x="265" y="492"/>
                    </a:lnTo>
                    <a:lnTo>
                      <a:pt x="265" y="492"/>
                    </a:lnTo>
                    <a:lnTo>
                      <a:pt x="265" y="492"/>
                    </a:lnTo>
                    <a:lnTo>
                      <a:pt x="263" y="492"/>
                    </a:lnTo>
                    <a:lnTo>
                      <a:pt x="263" y="492"/>
                    </a:lnTo>
                    <a:lnTo>
                      <a:pt x="263" y="492"/>
                    </a:lnTo>
                    <a:lnTo>
                      <a:pt x="263" y="492"/>
                    </a:lnTo>
                    <a:lnTo>
                      <a:pt x="263" y="492"/>
                    </a:lnTo>
                    <a:lnTo>
                      <a:pt x="263" y="492"/>
                    </a:lnTo>
                    <a:lnTo>
                      <a:pt x="261" y="489"/>
                    </a:lnTo>
                    <a:lnTo>
                      <a:pt x="261" y="487"/>
                    </a:lnTo>
                    <a:lnTo>
                      <a:pt x="261" y="485"/>
                    </a:lnTo>
                    <a:lnTo>
                      <a:pt x="263" y="475"/>
                    </a:lnTo>
                    <a:lnTo>
                      <a:pt x="263" y="473"/>
                    </a:lnTo>
                    <a:lnTo>
                      <a:pt x="263" y="471"/>
                    </a:lnTo>
                    <a:lnTo>
                      <a:pt x="263" y="470"/>
                    </a:lnTo>
                    <a:lnTo>
                      <a:pt x="263" y="468"/>
                    </a:lnTo>
                    <a:lnTo>
                      <a:pt x="263" y="466"/>
                    </a:lnTo>
                    <a:lnTo>
                      <a:pt x="263" y="466"/>
                    </a:lnTo>
                    <a:lnTo>
                      <a:pt x="261" y="462"/>
                    </a:lnTo>
                    <a:lnTo>
                      <a:pt x="261" y="460"/>
                    </a:lnTo>
                    <a:lnTo>
                      <a:pt x="261" y="460"/>
                    </a:lnTo>
                    <a:lnTo>
                      <a:pt x="261" y="445"/>
                    </a:lnTo>
                    <a:lnTo>
                      <a:pt x="261" y="443"/>
                    </a:lnTo>
                    <a:lnTo>
                      <a:pt x="261" y="443"/>
                    </a:lnTo>
                    <a:lnTo>
                      <a:pt x="261" y="443"/>
                    </a:lnTo>
                    <a:lnTo>
                      <a:pt x="261" y="441"/>
                    </a:lnTo>
                    <a:lnTo>
                      <a:pt x="263" y="441"/>
                    </a:lnTo>
                    <a:lnTo>
                      <a:pt x="263" y="441"/>
                    </a:lnTo>
                    <a:lnTo>
                      <a:pt x="267" y="443"/>
                    </a:lnTo>
                    <a:lnTo>
                      <a:pt x="269" y="443"/>
                    </a:lnTo>
                    <a:lnTo>
                      <a:pt x="269" y="443"/>
                    </a:lnTo>
                    <a:lnTo>
                      <a:pt x="269" y="443"/>
                    </a:lnTo>
                    <a:lnTo>
                      <a:pt x="269" y="445"/>
                    </a:lnTo>
                    <a:lnTo>
                      <a:pt x="269" y="447"/>
                    </a:lnTo>
                    <a:lnTo>
                      <a:pt x="269" y="447"/>
                    </a:lnTo>
                    <a:lnTo>
                      <a:pt x="269" y="447"/>
                    </a:lnTo>
                    <a:lnTo>
                      <a:pt x="269" y="449"/>
                    </a:lnTo>
                    <a:lnTo>
                      <a:pt x="271" y="449"/>
                    </a:lnTo>
                    <a:lnTo>
                      <a:pt x="271" y="449"/>
                    </a:lnTo>
                    <a:lnTo>
                      <a:pt x="273" y="447"/>
                    </a:lnTo>
                    <a:lnTo>
                      <a:pt x="274" y="447"/>
                    </a:lnTo>
                    <a:lnTo>
                      <a:pt x="276" y="445"/>
                    </a:lnTo>
                    <a:lnTo>
                      <a:pt x="276" y="443"/>
                    </a:lnTo>
                    <a:lnTo>
                      <a:pt x="278" y="441"/>
                    </a:lnTo>
                    <a:lnTo>
                      <a:pt x="280" y="437"/>
                    </a:lnTo>
                    <a:lnTo>
                      <a:pt x="282" y="435"/>
                    </a:lnTo>
                    <a:lnTo>
                      <a:pt x="284" y="435"/>
                    </a:lnTo>
                    <a:lnTo>
                      <a:pt x="284" y="435"/>
                    </a:lnTo>
                    <a:lnTo>
                      <a:pt x="286" y="435"/>
                    </a:lnTo>
                    <a:lnTo>
                      <a:pt x="286" y="433"/>
                    </a:lnTo>
                    <a:lnTo>
                      <a:pt x="288" y="431"/>
                    </a:lnTo>
                    <a:lnTo>
                      <a:pt x="293" y="422"/>
                    </a:lnTo>
                    <a:lnTo>
                      <a:pt x="295" y="414"/>
                    </a:lnTo>
                    <a:lnTo>
                      <a:pt x="299" y="412"/>
                    </a:lnTo>
                    <a:lnTo>
                      <a:pt x="299" y="409"/>
                    </a:lnTo>
                    <a:lnTo>
                      <a:pt x="297" y="407"/>
                    </a:lnTo>
                    <a:lnTo>
                      <a:pt x="297" y="407"/>
                    </a:lnTo>
                    <a:lnTo>
                      <a:pt x="299" y="407"/>
                    </a:lnTo>
                    <a:lnTo>
                      <a:pt x="299" y="405"/>
                    </a:lnTo>
                    <a:lnTo>
                      <a:pt x="299" y="405"/>
                    </a:lnTo>
                    <a:lnTo>
                      <a:pt x="301" y="405"/>
                    </a:lnTo>
                    <a:lnTo>
                      <a:pt x="313" y="405"/>
                    </a:lnTo>
                    <a:lnTo>
                      <a:pt x="313" y="405"/>
                    </a:lnTo>
                    <a:lnTo>
                      <a:pt x="314" y="405"/>
                    </a:lnTo>
                    <a:lnTo>
                      <a:pt x="314" y="405"/>
                    </a:lnTo>
                    <a:lnTo>
                      <a:pt x="316" y="407"/>
                    </a:lnTo>
                    <a:lnTo>
                      <a:pt x="316" y="407"/>
                    </a:lnTo>
                    <a:lnTo>
                      <a:pt x="318" y="407"/>
                    </a:lnTo>
                    <a:lnTo>
                      <a:pt x="318" y="405"/>
                    </a:lnTo>
                    <a:lnTo>
                      <a:pt x="320" y="405"/>
                    </a:lnTo>
                    <a:lnTo>
                      <a:pt x="324" y="405"/>
                    </a:lnTo>
                    <a:lnTo>
                      <a:pt x="326" y="405"/>
                    </a:lnTo>
                    <a:lnTo>
                      <a:pt x="339" y="401"/>
                    </a:lnTo>
                    <a:lnTo>
                      <a:pt x="339" y="403"/>
                    </a:lnTo>
                    <a:lnTo>
                      <a:pt x="341" y="403"/>
                    </a:lnTo>
                    <a:lnTo>
                      <a:pt x="343" y="405"/>
                    </a:lnTo>
                    <a:lnTo>
                      <a:pt x="343" y="405"/>
                    </a:lnTo>
                    <a:lnTo>
                      <a:pt x="345" y="405"/>
                    </a:lnTo>
                    <a:lnTo>
                      <a:pt x="345" y="407"/>
                    </a:lnTo>
                    <a:lnTo>
                      <a:pt x="347" y="407"/>
                    </a:lnTo>
                    <a:lnTo>
                      <a:pt x="349" y="407"/>
                    </a:lnTo>
                    <a:lnTo>
                      <a:pt x="349" y="407"/>
                    </a:lnTo>
                    <a:lnTo>
                      <a:pt x="351" y="409"/>
                    </a:lnTo>
                    <a:lnTo>
                      <a:pt x="353" y="411"/>
                    </a:lnTo>
                    <a:lnTo>
                      <a:pt x="353" y="411"/>
                    </a:lnTo>
                    <a:lnTo>
                      <a:pt x="358" y="411"/>
                    </a:lnTo>
                    <a:lnTo>
                      <a:pt x="360" y="409"/>
                    </a:lnTo>
                    <a:lnTo>
                      <a:pt x="362" y="409"/>
                    </a:lnTo>
                    <a:lnTo>
                      <a:pt x="364" y="407"/>
                    </a:lnTo>
                    <a:lnTo>
                      <a:pt x="366" y="405"/>
                    </a:lnTo>
                    <a:lnTo>
                      <a:pt x="368" y="403"/>
                    </a:lnTo>
                    <a:lnTo>
                      <a:pt x="372" y="392"/>
                    </a:lnTo>
                    <a:lnTo>
                      <a:pt x="372" y="390"/>
                    </a:lnTo>
                    <a:lnTo>
                      <a:pt x="375" y="386"/>
                    </a:lnTo>
                    <a:lnTo>
                      <a:pt x="375" y="386"/>
                    </a:lnTo>
                    <a:lnTo>
                      <a:pt x="375" y="384"/>
                    </a:lnTo>
                    <a:lnTo>
                      <a:pt x="375" y="384"/>
                    </a:lnTo>
                    <a:lnTo>
                      <a:pt x="375" y="384"/>
                    </a:lnTo>
                    <a:lnTo>
                      <a:pt x="375" y="384"/>
                    </a:lnTo>
                    <a:lnTo>
                      <a:pt x="375" y="382"/>
                    </a:lnTo>
                    <a:lnTo>
                      <a:pt x="375" y="380"/>
                    </a:lnTo>
                    <a:lnTo>
                      <a:pt x="375" y="380"/>
                    </a:lnTo>
                    <a:lnTo>
                      <a:pt x="377" y="378"/>
                    </a:lnTo>
                    <a:lnTo>
                      <a:pt x="377" y="378"/>
                    </a:lnTo>
                    <a:lnTo>
                      <a:pt x="379" y="378"/>
                    </a:lnTo>
                    <a:lnTo>
                      <a:pt x="381" y="378"/>
                    </a:lnTo>
                    <a:lnTo>
                      <a:pt x="387" y="380"/>
                    </a:lnTo>
                    <a:lnTo>
                      <a:pt x="387" y="380"/>
                    </a:lnTo>
                    <a:lnTo>
                      <a:pt x="389" y="380"/>
                    </a:lnTo>
                    <a:lnTo>
                      <a:pt x="389" y="380"/>
                    </a:lnTo>
                    <a:lnTo>
                      <a:pt x="391" y="380"/>
                    </a:lnTo>
                    <a:lnTo>
                      <a:pt x="391" y="378"/>
                    </a:lnTo>
                    <a:lnTo>
                      <a:pt x="393" y="378"/>
                    </a:lnTo>
                    <a:lnTo>
                      <a:pt x="391" y="374"/>
                    </a:lnTo>
                    <a:lnTo>
                      <a:pt x="391" y="373"/>
                    </a:lnTo>
                    <a:lnTo>
                      <a:pt x="391" y="373"/>
                    </a:lnTo>
                    <a:lnTo>
                      <a:pt x="391" y="371"/>
                    </a:lnTo>
                    <a:lnTo>
                      <a:pt x="385" y="367"/>
                    </a:lnTo>
                    <a:lnTo>
                      <a:pt x="385" y="367"/>
                    </a:lnTo>
                    <a:lnTo>
                      <a:pt x="385" y="365"/>
                    </a:lnTo>
                    <a:lnTo>
                      <a:pt x="383" y="363"/>
                    </a:lnTo>
                    <a:lnTo>
                      <a:pt x="383" y="359"/>
                    </a:lnTo>
                    <a:lnTo>
                      <a:pt x="385" y="359"/>
                    </a:lnTo>
                    <a:lnTo>
                      <a:pt x="385" y="355"/>
                    </a:lnTo>
                    <a:lnTo>
                      <a:pt x="385" y="352"/>
                    </a:lnTo>
                    <a:lnTo>
                      <a:pt x="387" y="350"/>
                    </a:lnTo>
                    <a:lnTo>
                      <a:pt x="387" y="348"/>
                    </a:lnTo>
                    <a:lnTo>
                      <a:pt x="398" y="329"/>
                    </a:lnTo>
                    <a:lnTo>
                      <a:pt x="400" y="325"/>
                    </a:lnTo>
                    <a:lnTo>
                      <a:pt x="400" y="323"/>
                    </a:lnTo>
                    <a:lnTo>
                      <a:pt x="400" y="319"/>
                    </a:lnTo>
                    <a:lnTo>
                      <a:pt x="402" y="317"/>
                    </a:lnTo>
                    <a:lnTo>
                      <a:pt x="402" y="317"/>
                    </a:lnTo>
                    <a:lnTo>
                      <a:pt x="404" y="317"/>
                    </a:lnTo>
                    <a:lnTo>
                      <a:pt x="404" y="317"/>
                    </a:lnTo>
                    <a:lnTo>
                      <a:pt x="406" y="317"/>
                    </a:lnTo>
                    <a:lnTo>
                      <a:pt x="406" y="319"/>
                    </a:lnTo>
                    <a:lnTo>
                      <a:pt x="408" y="319"/>
                    </a:lnTo>
                    <a:lnTo>
                      <a:pt x="408" y="317"/>
                    </a:lnTo>
                    <a:lnTo>
                      <a:pt x="408" y="317"/>
                    </a:lnTo>
                    <a:lnTo>
                      <a:pt x="408" y="315"/>
                    </a:lnTo>
                    <a:lnTo>
                      <a:pt x="408" y="314"/>
                    </a:lnTo>
                    <a:lnTo>
                      <a:pt x="410" y="314"/>
                    </a:lnTo>
                    <a:lnTo>
                      <a:pt x="412" y="314"/>
                    </a:lnTo>
                    <a:lnTo>
                      <a:pt x="412" y="314"/>
                    </a:lnTo>
                    <a:lnTo>
                      <a:pt x="414" y="314"/>
                    </a:lnTo>
                    <a:lnTo>
                      <a:pt x="414" y="312"/>
                    </a:lnTo>
                    <a:lnTo>
                      <a:pt x="414" y="308"/>
                    </a:lnTo>
                    <a:lnTo>
                      <a:pt x="414" y="308"/>
                    </a:lnTo>
                    <a:lnTo>
                      <a:pt x="414" y="306"/>
                    </a:lnTo>
                    <a:lnTo>
                      <a:pt x="414" y="304"/>
                    </a:lnTo>
                    <a:lnTo>
                      <a:pt x="416" y="302"/>
                    </a:lnTo>
                    <a:lnTo>
                      <a:pt x="414" y="302"/>
                    </a:lnTo>
                    <a:lnTo>
                      <a:pt x="414" y="300"/>
                    </a:lnTo>
                    <a:lnTo>
                      <a:pt x="414" y="300"/>
                    </a:lnTo>
                    <a:lnTo>
                      <a:pt x="410" y="298"/>
                    </a:lnTo>
                    <a:lnTo>
                      <a:pt x="408" y="296"/>
                    </a:lnTo>
                    <a:lnTo>
                      <a:pt x="408" y="296"/>
                    </a:lnTo>
                    <a:lnTo>
                      <a:pt x="408" y="294"/>
                    </a:lnTo>
                    <a:lnTo>
                      <a:pt x="408" y="293"/>
                    </a:lnTo>
                    <a:lnTo>
                      <a:pt x="408" y="289"/>
                    </a:lnTo>
                    <a:lnTo>
                      <a:pt x="408" y="287"/>
                    </a:lnTo>
                    <a:lnTo>
                      <a:pt x="410" y="287"/>
                    </a:lnTo>
                    <a:lnTo>
                      <a:pt x="412" y="285"/>
                    </a:lnTo>
                    <a:lnTo>
                      <a:pt x="414" y="285"/>
                    </a:lnTo>
                    <a:lnTo>
                      <a:pt x="414" y="285"/>
                    </a:lnTo>
                    <a:lnTo>
                      <a:pt x="416" y="283"/>
                    </a:lnTo>
                    <a:lnTo>
                      <a:pt x="416" y="281"/>
                    </a:lnTo>
                    <a:lnTo>
                      <a:pt x="414" y="281"/>
                    </a:lnTo>
                    <a:lnTo>
                      <a:pt x="414" y="281"/>
                    </a:lnTo>
                    <a:lnTo>
                      <a:pt x="414" y="279"/>
                    </a:lnTo>
                    <a:lnTo>
                      <a:pt x="412" y="277"/>
                    </a:lnTo>
                    <a:lnTo>
                      <a:pt x="412" y="277"/>
                    </a:lnTo>
                    <a:lnTo>
                      <a:pt x="412" y="275"/>
                    </a:lnTo>
                    <a:lnTo>
                      <a:pt x="414" y="274"/>
                    </a:lnTo>
                    <a:lnTo>
                      <a:pt x="419" y="264"/>
                    </a:lnTo>
                    <a:lnTo>
                      <a:pt x="421" y="262"/>
                    </a:lnTo>
                    <a:lnTo>
                      <a:pt x="423" y="260"/>
                    </a:lnTo>
                    <a:lnTo>
                      <a:pt x="427" y="260"/>
                    </a:lnTo>
                    <a:lnTo>
                      <a:pt x="433" y="256"/>
                    </a:lnTo>
                    <a:lnTo>
                      <a:pt x="435" y="256"/>
                    </a:lnTo>
                    <a:lnTo>
                      <a:pt x="446" y="247"/>
                    </a:lnTo>
                    <a:lnTo>
                      <a:pt x="448" y="243"/>
                    </a:lnTo>
                    <a:lnTo>
                      <a:pt x="454" y="243"/>
                    </a:lnTo>
                    <a:lnTo>
                      <a:pt x="457" y="241"/>
                    </a:lnTo>
                    <a:lnTo>
                      <a:pt x="459" y="241"/>
                    </a:lnTo>
                    <a:lnTo>
                      <a:pt x="461" y="241"/>
                    </a:lnTo>
                    <a:lnTo>
                      <a:pt x="463" y="239"/>
                    </a:lnTo>
                    <a:lnTo>
                      <a:pt x="467" y="236"/>
                    </a:lnTo>
                    <a:lnTo>
                      <a:pt x="467" y="236"/>
                    </a:lnTo>
                    <a:lnTo>
                      <a:pt x="467" y="234"/>
                    </a:lnTo>
                    <a:lnTo>
                      <a:pt x="467" y="234"/>
                    </a:lnTo>
                    <a:lnTo>
                      <a:pt x="469" y="232"/>
                    </a:lnTo>
                    <a:lnTo>
                      <a:pt x="469" y="230"/>
                    </a:lnTo>
                    <a:lnTo>
                      <a:pt x="467" y="228"/>
                    </a:lnTo>
                    <a:lnTo>
                      <a:pt x="467" y="226"/>
                    </a:lnTo>
                    <a:lnTo>
                      <a:pt x="465" y="222"/>
                    </a:lnTo>
                    <a:lnTo>
                      <a:pt x="465" y="220"/>
                    </a:lnTo>
                    <a:lnTo>
                      <a:pt x="465" y="218"/>
                    </a:lnTo>
                    <a:lnTo>
                      <a:pt x="465" y="216"/>
                    </a:lnTo>
                    <a:lnTo>
                      <a:pt x="467" y="213"/>
                    </a:lnTo>
                    <a:lnTo>
                      <a:pt x="467" y="213"/>
                    </a:lnTo>
                    <a:lnTo>
                      <a:pt x="467" y="213"/>
                    </a:lnTo>
                    <a:lnTo>
                      <a:pt x="467" y="211"/>
                    </a:lnTo>
                    <a:lnTo>
                      <a:pt x="467" y="211"/>
                    </a:lnTo>
                    <a:lnTo>
                      <a:pt x="471" y="211"/>
                    </a:lnTo>
                    <a:lnTo>
                      <a:pt x="471" y="209"/>
                    </a:lnTo>
                    <a:lnTo>
                      <a:pt x="471" y="209"/>
                    </a:lnTo>
                    <a:lnTo>
                      <a:pt x="475" y="207"/>
                    </a:lnTo>
                    <a:lnTo>
                      <a:pt x="475" y="205"/>
                    </a:lnTo>
                    <a:lnTo>
                      <a:pt x="477" y="205"/>
                    </a:lnTo>
                    <a:lnTo>
                      <a:pt x="480" y="205"/>
                    </a:lnTo>
                    <a:lnTo>
                      <a:pt x="482" y="205"/>
                    </a:lnTo>
                    <a:lnTo>
                      <a:pt x="482" y="203"/>
                    </a:lnTo>
                    <a:lnTo>
                      <a:pt x="484" y="203"/>
                    </a:lnTo>
                    <a:lnTo>
                      <a:pt x="486" y="201"/>
                    </a:lnTo>
                    <a:lnTo>
                      <a:pt x="492" y="196"/>
                    </a:lnTo>
                    <a:lnTo>
                      <a:pt x="494" y="196"/>
                    </a:lnTo>
                    <a:lnTo>
                      <a:pt x="494" y="194"/>
                    </a:lnTo>
                    <a:lnTo>
                      <a:pt x="496" y="188"/>
                    </a:lnTo>
                    <a:lnTo>
                      <a:pt x="496" y="186"/>
                    </a:lnTo>
                    <a:lnTo>
                      <a:pt x="498" y="186"/>
                    </a:lnTo>
                    <a:lnTo>
                      <a:pt x="498" y="184"/>
                    </a:lnTo>
                    <a:lnTo>
                      <a:pt x="499" y="184"/>
                    </a:lnTo>
                    <a:lnTo>
                      <a:pt x="501" y="182"/>
                    </a:lnTo>
                    <a:lnTo>
                      <a:pt x="501" y="182"/>
                    </a:lnTo>
                    <a:lnTo>
                      <a:pt x="503" y="180"/>
                    </a:lnTo>
                    <a:lnTo>
                      <a:pt x="505" y="180"/>
                    </a:lnTo>
                    <a:lnTo>
                      <a:pt x="509" y="177"/>
                    </a:lnTo>
                    <a:lnTo>
                      <a:pt x="511" y="175"/>
                    </a:lnTo>
                    <a:lnTo>
                      <a:pt x="513" y="173"/>
                    </a:lnTo>
                    <a:lnTo>
                      <a:pt x="513" y="171"/>
                    </a:lnTo>
                    <a:lnTo>
                      <a:pt x="513" y="169"/>
                    </a:lnTo>
                    <a:lnTo>
                      <a:pt x="513" y="16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2" name="Freeform 34">
                <a:extLst>
                  <a:ext uri="{FF2B5EF4-FFF2-40B4-BE49-F238E27FC236}">
                    <a16:creationId xmlns:a16="http://schemas.microsoft.com/office/drawing/2014/main" id="{D8212624-A1BE-4847-BA0B-CF0D699A1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4469" y="2942111"/>
                <a:ext cx="26988" cy="30163"/>
              </a:xfrm>
              <a:custGeom>
                <a:avLst/>
                <a:gdLst>
                  <a:gd name="T0" fmla="*/ 15 w 17"/>
                  <a:gd name="T1" fmla="*/ 13 h 19"/>
                  <a:gd name="T2" fmla="*/ 17 w 17"/>
                  <a:gd name="T3" fmla="*/ 11 h 19"/>
                  <a:gd name="T4" fmla="*/ 17 w 17"/>
                  <a:gd name="T5" fmla="*/ 9 h 19"/>
                  <a:gd name="T6" fmla="*/ 17 w 17"/>
                  <a:gd name="T7" fmla="*/ 7 h 19"/>
                  <a:gd name="T8" fmla="*/ 17 w 17"/>
                  <a:gd name="T9" fmla="*/ 7 h 19"/>
                  <a:gd name="T10" fmla="*/ 15 w 17"/>
                  <a:gd name="T11" fmla="*/ 5 h 19"/>
                  <a:gd name="T12" fmla="*/ 15 w 17"/>
                  <a:gd name="T13" fmla="*/ 4 h 19"/>
                  <a:gd name="T14" fmla="*/ 15 w 17"/>
                  <a:gd name="T15" fmla="*/ 4 h 19"/>
                  <a:gd name="T16" fmla="*/ 15 w 17"/>
                  <a:gd name="T17" fmla="*/ 2 h 19"/>
                  <a:gd name="T18" fmla="*/ 9 w 17"/>
                  <a:gd name="T19" fmla="*/ 0 h 19"/>
                  <a:gd name="T20" fmla="*/ 7 w 17"/>
                  <a:gd name="T21" fmla="*/ 0 h 19"/>
                  <a:gd name="T22" fmla="*/ 5 w 17"/>
                  <a:gd name="T23" fmla="*/ 0 h 19"/>
                  <a:gd name="T24" fmla="*/ 2 w 17"/>
                  <a:gd name="T25" fmla="*/ 2 h 19"/>
                  <a:gd name="T26" fmla="*/ 0 w 17"/>
                  <a:gd name="T27" fmla="*/ 4 h 19"/>
                  <a:gd name="T28" fmla="*/ 0 w 17"/>
                  <a:gd name="T29" fmla="*/ 4 h 19"/>
                  <a:gd name="T30" fmla="*/ 0 w 17"/>
                  <a:gd name="T31" fmla="*/ 5 h 19"/>
                  <a:gd name="T32" fmla="*/ 0 w 17"/>
                  <a:gd name="T33" fmla="*/ 5 h 19"/>
                  <a:gd name="T34" fmla="*/ 0 w 17"/>
                  <a:gd name="T35" fmla="*/ 7 h 19"/>
                  <a:gd name="T36" fmla="*/ 2 w 17"/>
                  <a:gd name="T37" fmla="*/ 7 h 19"/>
                  <a:gd name="T38" fmla="*/ 5 w 17"/>
                  <a:gd name="T39" fmla="*/ 11 h 19"/>
                  <a:gd name="T40" fmla="*/ 7 w 17"/>
                  <a:gd name="T41" fmla="*/ 15 h 19"/>
                  <a:gd name="T42" fmla="*/ 9 w 17"/>
                  <a:gd name="T43" fmla="*/ 17 h 19"/>
                  <a:gd name="T44" fmla="*/ 9 w 17"/>
                  <a:gd name="T45" fmla="*/ 17 h 19"/>
                  <a:gd name="T46" fmla="*/ 11 w 17"/>
                  <a:gd name="T47" fmla="*/ 19 h 19"/>
                  <a:gd name="T48" fmla="*/ 11 w 17"/>
                  <a:gd name="T49" fmla="*/ 19 h 19"/>
                  <a:gd name="T50" fmla="*/ 13 w 17"/>
                  <a:gd name="T51" fmla="*/ 17 h 19"/>
                  <a:gd name="T52" fmla="*/ 13 w 17"/>
                  <a:gd name="T53" fmla="*/ 17 h 19"/>
                  <a:gd name="T54" fmla="*/ 15 w 17"/>
                  <a:gd name="T55" fmla="*/ 17 h 19"/>
                  <a:gd name="T56" fmla="*/ 15 w 17"/>
                  <a:gd name="T57" fmla="*/ 17 h 19"/>
                  <a:gd name="T58" fmla="*/ 17 w 17"/>
                  <a:gd name="T59" fmla="*/ 17 h 19"/>
                  <a:gd name="T60" fmla="*/ 15 w 17"/>
                  <a:gd name="T61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" h="19">
                    <a:moveTo>
                      <a:pt x="15" y="13"/>
                    </a:moveTo>
                    <a:lnTo>
                      <a:pt x="17" y="11"/>
                    </a:lnTo>
                    <a:lnTo>
                      <a:pt x="17" y="9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5" y="11"/>
                    </a:lnTo>
                    <a:lnTo>
                      <a:pt x="7" y="15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3" y="17"/>
                    </a:lnTo>
                    <a:lnTo>
                      <a:pt x="13" y="17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7" y="17"/>
                    </a:lnTo>
                    <a:lnTo>
                      <a:pt x="15" y="13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3" name="Freeform 35">
                <a:extLst>
                  <a:ext uri="{FF2B5EF4-FFF2-40B4-BE49-F238E27FC236}">
                    <a16:creationId xmlns:a16="http://schemas.microsoft.com/office/drawing/2014/main" id="{691B4D33-E8CD-4CE7-BDB0-186DD14C8F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3682" y="3688236"/>
                <a:ext cx="993775" cy="712788"/>
              </a:xfrm>
              <a:custGeom>
                <a:avLst/>
                <a:gdLst>
                  <a:gd name="T0" fmla="*/ 616 w 626"/>
                  <a:gd name="T1" fmla="*/ 146 h 449"/>
                  <a:gd name="T2" fmla="*/ 597 w 626"/>
                  <a:gd name="T3" fmla="*/ 140 h 449"/>
                  <a:gd name="T4" fmla="*/ 570 w 626"/>
                  <a:gd name="T5" fmla="*/ 148 h 449"/>
                  <a:gd name="T6" fmla="*/ 536 w 626"/>
                  <a:gd name="T7" fmla="*/ 159 h 449"/>
                  <a:gd name="T8" fmla="*/ 484 w 626"/>
                  <a:gd name="T9" fmla="*/ 158 h 449"/>
                  <a:gd name="T10" fmla="*/ 450 w 626"/>
                  <a:gd name="T11" fmla="*/ 142 h 449"/>
                  <a:gd name="T12" fmla="*/ 404 w 626"/>
                  <a:gd name="T13" fmla="*/ 144 h 449"/>
                  <a:gd name="T14" fmla="*/ 364 w 626"/>
                  <a:gd name="T15" fmla="*/ 129 h 449"/>
                  <a:gd name="T16" fmla="*/ 330 w 626"/>
                  <a:gd name="T17" fmla="*/ 123 h 449"/>
                  <a:gd name="T18" fmla="*/ 300 w 626"/>
                  <a:gd name="T19" fmla="*/ 106 h 449"/>
                  <a:gd name="T20" fmla="*/ 246 w 626"/>
                  <a:gd name="T21" fmla="*/ 110 h 449"/>
                  <a:gd name="T22" fmla="*/ 202 w 626"/>
                  <a:gd name="T23" fmla="*/ 81 h 449"/>
                  <a:gd name="T24" fmla="*/ 168 w 626"/>
                  <a:gd name="T25" fmla="*/ 55 h 449"/>
                  <a:gd name="T26" fmla="*/ 103 w 626"/>
                  <a:gd name="T27" fmla="*/ 5 h 449"/>
                  <a:gd name="T28" fmla="*/ 69 w 626"/>
                  <a:gd name="T29" fmla="*/ 19 h 449"/>
                  <a:gd name="T30" fmla="*/ 73 w 626"/>
                  <a:gd name="T31" fmla="*/ 28 h 449"/>
                  <a:gd name="T32" fmla="*/ 84 w 626"/>
                  <a:gd name="T33" fmla="*/ 61 h 449"/>
                  <a:gd name="T34" fmla="*/ 107 w 626"/>
                  <a:gd name="T35" fmla="*/ 89 h 449"/>
                  <a:gd name="T36" fmla="*/ 118 w 626"/>
                  <a:gd name="T37" fmla="*/ 108 h 449"/>
                  <a:gd name="T38" fmla="*/ 99 w 626"/>
                  <a:gd name="T39" fmla="*/ 121 h 449"/>
                  <a:gd name="T40" fmla="*/ 82 w 626"/>
                  <a:gd name="T41" fmla="*/ 140 h 449"/>
                  <a:gd name="T42" fmla="*/ 74 w 626"/>
                  <a:gd name="T43" fmla="*/ 146 h 449"/>
                  <a:gd name="T44" fmla="*/ 95 w 626"/>
                  <a:gd name="T45" fmla="*/ 154 h 449"/>
                  <a:gd name="T46" fmla="*/ 103 w 626"/>
                  <a:gd name="T47" fmla="*/ 175 h 449"/>
                  <a:gd name="T48" fmla="*/ 84 w 626"/>
                  <a:gd name="T49" fmla="*/ 184 h 449"/>
                  <a:gd name="T50" fmla="*/ 111 w 626"/>
                  <a:gd name="T51" fmla="*/ 211 h 449"/>
                  <a:gd name="T52" fmla="*/ 137 w 626"/>
                  <a:gd name="T53" fmla="*/ 228 h 449"/>
                  <a:gd name="T54" fmla="*/ 153 w 626"/>
                  <a:gd name="T55" fmla="*/ 255 h 449"/>
                  <a:gd name="T56" fmla="*/ 126 w 626"/>
                  <a:gd name="T57" fmla="*/ 256 h 449"/>
                  <a:gd name="T58" fmla="*/ 113 w 626"/>
                  <a:gd name="T59" fmla="*/ 260 h 449"/>
                  <a:gd name="T60" fmla="*/ 74 w 626"/>
                  <a:gd name="T61" fmla="*/ 276 h 449"/>
                  <a:gd name="T62" fmla="*/ 8 w 626"/>
                  <a:gd name="T63" fmla="*/ 319 h 449"/>
                  <a:gd name="T64" fmla="*/ 6 w 626"/>
                  <a:gd name="T65" fmla="*/ 355 h 449"/>
                  <a:gd name="T66" fmla="*/ 19 w 626"/>
                  <a:gd name="T67" fmla="*/ 384 h 449"/>
                  <a:gd name="T68" fmla="*/ 27 w 626"/>
                  <a:gd name="T69" fmla="*/ 416 h 449"/>
                  <a:gd name="T70" fmla="*/ 82 w 626"/>
                  <a:gd name="T71" fmla="*/ 409 h 449"/>
                  <a:gd name="T72" fmla="*/ 103 w 626"/>
                  <a:gd name="T73" fmla="*/ 424 h 449"/>
                  <a:gd name="T74" fmla="*/ 111 w 626"/>
                  <a:gd name="T75" fmla="*/ 418 h 449"/>
                  <a:gd name="T76" fmla="*/ 126 w 626"/>
                  <a:gd name="T77" fmla="*/ 424 h 449"/>
                  <a:gd name="T78" fmla="*/ 149 w 626"/>
                  <a:gd name="T79" fmla="*/ 447 h 449"/>
                  <a:gd name="T80" fmla="*/ 168 w 626"/>
                  <a:gd name="T81" fmla="*/ 437 h 449"/>
                  <a:gd name="T82" fmla="*/ 197 w 626"/>
                  <a:gd name="T83" fmla="*/ 432 h 449"/>
                  <a:gd name="T84" fmla="*/ 229 w 626"/>
                  <a:gd name="T85" fmla="*/ 435 h 449"/>
                  <a:gd name="T86" fmla="*/ 271 w 626"/>
                  <a:gd name="T87" fmla="*/ 420 h 449"/>
                  <a:gd name="T88" fmla="*/ 294 w 626"/>
                  <a:gd name="T89" fmla="*/ 407 h 449"/>
                  <a:gd name="T90" fmla="*/ 315 w 626"/>
                  <a:gd name="T91" fmla="*/ 384 h 449"/>
                  <a:gd name="T92" fmla="*/ 349 w 626"/>
                  <a:gd name="T93" fmla="*/ 393 h 449"/>
                  <a:gd name="T94" fmla="*/ 374 w 626"/>
                  <a:gd name="T95" fmla="*/ 424 h 449"/>
                  <a:gd name="T96" fmla="*/ 397 w 626"/>
                  <a:gd name="T97" fmla="*/ 428 h 449"/>
                  <a:gd name="T98" fmla="*/ 435 w 626"/>
                  <a:gd name="T99" fmla="*/ 411 h 449"/>
                  <a:gd name="T100" fmla="*/ 469 w 626"/>
                  <a:gd name="T101" fmla="*/ 403 h 449"/>
                  <a:gd name="T102" fmla="*/ 479 w 626"/>
                  <a:gd name="T103" fmla="*/ 352 h 449"/>
                  <a:gd name="T104" fmla="*/ 505 w 626"/>
                  <a:gd name="T105" fmla="*/ 325 h 449"/>
                  <a:gd name="T106" fmla="*/ 528 w 626"/>
                  <a:gd name="T107" fmla="*/ 308 h 449"/>
                  <a:gd name="T108" fmla="*/ 565 w 626"/>
                  <a:gd name="T109" fmla="*/ 317 h 449"/>
                  <a:gd name="T110" fmla="*/ 559 w 626"/>
                  <a:gd name="T111" fmla="*/ 300 h 449"/>
                  <a:gd name="T112" fmla="*/ 561 w 626"/>
                  <a:gd name="T113" fmla="*/ 291 h 449"/>
                  <a:gd name="T114" fmla="*/ 586 w 626"/>
                  <a:gd name="T115" fmla="*/ 281 h 449"/>
                  <a:gd name="T116" fmla="*/ 593 w 626"/>
                  <a:gd name="T117" fmla="*/ 258 h 449"/>
                  <a:gd name="T118" fmla="*/ 563 w 626"/>
                  <a:gd name="T119" fmla="*/ 230 h 449"/>
                  <a:gd name="T120" fmla="*/ 566 w 626"/>
                  <a:gd name="T121" fmla="*/ 217 h 449"/>
                  <a:gd name="T122" fmla="*/ 591 w 626"/>
                  <a:gd name="T123" fmla="*/ 190 h 449"/>
                  <a:gd name="T124" fmla="*/ 626 w 626"/>
                  <a:gd name="T125" fmla="*/ 165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6" h="449">
                    <a:moveTo>
                      <a:pt x="626" y="163"/>
                    </a:moveTo>
                    <a:lnTo>
                      <a:pt x="626" y="161"/>
                    </a:lnTo>
                    <a:lnTo>
                      <a:pt x="624" y="161"/>
                    </a:lnTo>
                    <a:lnTo>
                      <a:pt x="622" y="159"/>
                    </a:lnTo>
                    <a:lnTo>
                      <a:pt x="620" y="158"/>
                    </a:lnTo>
                    <a:lnTo>
                      <a:pt x="620" y="158"/>
                    </a:lnTo>
                    <a:lnTo>
                      <a:pt x="620" y="158"/>
                    </a:lnTo>
                    <a:lnTo>
                      <a:pt x="620" y="156"/>
                    </a:lnTo>
                    <a:lnTo>
                      <a:pt x="620" y="156"/>
                    </a:lnTo>
                    <a:lnTo>
                      <a:pt x="622" y="154"/>
                    </a:lnTo>
                    <a:lnTo>
                      <a:pt x="622" y="154"/>
                    </a:lnTo>
                    <a:lnTo>
                      <a:pt x="622" y="154"/>
                    </a:lnTo>
                    <a:lnTo>
                      <a:pt x="622" y="152"/>
                    </a:lnTo>
                    <a:lnTo>
                      <a:pt x="622" y="152"/>
                    </a:lnTo>
                    <a:lnTo>
                      <a:pt x="616" y="146"/>
                    </a:lnTo>
                    <a:lnTo>
                      <a:pt x="616" y="146"/>
                    </a:lnTo>
                    <a:lnTo>
                      <a:pt x="614" y="146"/>
                    </a:lnTo>
                    <a:lnTo>
                      <a:pt x="614" y="144"/>
                    </a:lnTo>
                    <a:lnTo>
                      <a:pt x="612" y="144"/>
                    </a:lnTo>
                    <a:lnTo>
                      <a:pt x="612" y="142"/>
                    </a:lnTo>
                    <a:lnTo>
                      <a:pt x="612" y="142"/>
                    </a:lnTo>
                    <a:lnTo>
                      <a:pt x="612" y="142"/>
                    </a:lnTo>
                    <a:lnTo>
                      <a:pt x="612" y="142"/>
                    </a:lnTo>
                    <a:lnTo>
                      <a:pt x="612" y="139"/>
                    </a:lnTo>
                    <a:lnTo>
                      <a:pt x="612" y="137"/>
                    </a:lnTo>
                    <a:lnTo>
                      <a:pt x="612" y="137"/>
                    </a:lnTo>
                    <a:lnTo>
                      <a:pt x="607" y="139"/>
                    </a:lnTo>
                    <a:lnTo>
                      <a:pt x="603" y="139"/>
                    </a:lnTo>
                    <a:lnTo>
                      <a:pt x="603" y="139"/>
                    </a:lnTo>
                    <a:lnTo>
                      <a:pt x="601" y="139"/>
                    </a:lnTo>
                    <a:lnTo>
                      <a:pt x="599" y="139"/>
                    </a:lnTo>
                    <a:lnTo>
                      <a:pt x="597" y="140"/>
                    </a:lnTo>
                    <a:lnTo>
                      <a:pt x="597" y="142"/>
                    </a:lnTo>
                    <a:lnTo>
                      <a:pt x="597" y="144"/>
                    </a:lnTo>
                    <a:lnTo>
                      <a:pt x="597" y="144"/>
                    </a:lnTo>
                    <a:lnTo>
                      <a:pt x="597" y="150"/>
                    </a:lnTo>
                    <a:lnTo>
                      <a:pt x="593" y="156"/>
                    </a:lnTo>
                    <a:lnTo>
                      <a:pt x="587" y="161"/>
                    </a:lnTo>
                    <a:lnTo>
                      <a:pt x="584" y="161"/>
                    </a:lnTo>
                    <a:lnTo>
                      <a:pt x="582" y="159"/>
                    </a:lnTo>
                    <a:lnTo>
                      <a:pt x="578" y="158"/>
                    </a:lnTo>
                    <a:lnTo>
                      <a:pt x="576" y="156"/>
                    </a:lnTo>
                    <a:lnTo>
                      <a:pt x="576" y="154"/>
                    </a:lnTo>
                    <a:lnTo>
                      <a:pt x="574" y="152"/>
                    </a:lnTo>
                    <a:lnTo>
                      <a:pt x="574" y="152"/>
                    </a:lnTo>
                    <a:lnTo>
                      <a:pt x="574" y="152"/>
                    </a:lnTo>
                    <a:lnTo>
                      <a:pt x="570" y="148"/>
                    </a:lnTo>
                    <a:lnTo>
                      <a:pt x="570" y="148"/>
                    </a:lnTo>
                    <a:lnTo>
                      <a:pt x="568" y="148"/>
                    </a:lnTo>
                    <a:lnTo>
                      <a:pt x="565" y="152"/>
                    </a:lnTo>
                    <a:lnTo>
                      <a:pt x="563" y="152"/>
                    </a:lnTo>
                    <a:lnTo>
                      <a:pt x="561" y="150"/>
                    </a:lnTo>
                    <a:lnTo>
                      <a:pt x="559" y="150"/>
                    </a:lnTo>
                    <a:lnTo>
                      <a:pt x="557" y="150"/>
                    </a:lnTo>
                    <a:lnTo>
                      <a:pt x="555" y="154"/>
                    </a:lnTo>
                    <a:lnTo>
                      <a:pt x="555" y="156"/>
                    </a:lnTo>
                    <a:lnTo>
                      <a:pt x="553" y="156"/>
                    </a:lnTo>
                    <a:lnTo>
                      <a:pt x="551" y="156"/>
                    </a:lnTo>
                    <a:lnTo>
                      <a:pt x="549" y="156"/>
                    </a:lnTo>
                    <a:lnTo>
                      <a:pt x="547" y="154"/>
                    </a:lnTo>
                    <a:lnTo>
                      <a:pt x="544" y="154"/>
                    </a:lnTo>
                    <a:lnTo>
                      <a:pt x="544" y="156"/>
                    </a:lnTo>
                    <a:lnTo>
                      <a:pt x="540" y="158"/>
                    </a:lnTo>
                    <a:lnTo>
                      <a:pt x="536" y="159"/>
                    </a:lnTo>
                    <a:lnTo>
                      <a:pt x="530" y="159"/>
                    </a:lnTo>
                    <a:lnTo>
                      <a:pt x="523" y="154"/>
                    </a:lnTo>
                    <a:lnTo>
                      <a:pt x="519" y="154"/>
                    </a:lnTo>
                    <a:lnTo>
                      <a:pt x="513" y="154"/>
                    </a:lnTo>
                    <a:lnTo>
                      <a:pt x="509" y="154"/>
                    </a:lnTo>
                    <a:lnTo>
                      <a:pt x="507" y="158"/>
                    </a:lnTo>
                    <a:lnTo>
                      <a:pt x="505" y="159"/>
                    </a:lnTo>
                    <a:lnTo>
                      <a:pt x="504" y="163"/>
                    </a:lnTo>
                    <a:lnTo>
                      <a:pt x="502" y="165"/>
                    </a:lnTo>
                    <a:lnTo>
                      <a:pt x="500" y="165"/>
                    </a:lnTo>
                    <a:lnTo>
                      <a:pt x="494" y="161"/>
                    </a:lnTo>
                    <a:lnTo>
                      <a:pt x="492" y="161"/>
                    </a:lnTo>
                    <a:lnTo>
                      <a:pt x="492" y="159"/>
                    </a:lnTo>
                    <a:lnTo>
                      <a:pt x="490" y="158"/>
                    </a:lnTo>
                    <a:lnTo>
                      <a:pt x="490" y="156"/>
                    </a:lnTo>
                    <a:lnTo>
                      <a:pt x="484" y="158"/>
                    </a:lnTo>
                    <a:lnTo>
                      <a:pt x="479" y="158"/>
                    </a:lnTo>
                    <a:lnTo>
                      <a:pt x="475" y="156"/>
                    </a:lnTo>
                    <a:lnTo>
                      <a:pt x="473" y="152"/>
                    </a:lnTo>
                    <a:lnTo>
                      <a:pt x="469" y="148"/>
                    </a:lnTo>
                    <a:lnTo>
                      <a:pt x="469" y="144"/>
                    </a:lnTo>
                    <a:lnTo>
                      <a:pt x="469" y="144"/>
                    </a:lnTo>
                    <a:lnTo>
                      <a:pt x="469" y="144"/>
                    </a:lnTo>
                    <a:lnTo>
                      <a:pt x="467" y="137"/>
                    </a:lnTo>
                    <a:lnTo>
                      <a:pt x="467" y="135"/>
                    </a:lnTo>
                    <a:lnTo>
                      <a:pt x="467" y="133"/>
                    </a:lnTo>
                    <a:lnTo>
                      <a:pt x="465" y="133"/>
                    </a:lnTo>
                    <a:lnTo>
                      <a:pt x="464" y="133"/>
                    </a:lnTo>
                    <a:lnTo>
                      <a:pt x="460" y="137"/>
                    </a:lnTo>
                    <a:lnTo>
                      <a:pt x="458" y="139"/>
                    </a:lnTo>
                    <a:lnTo>
                      <a:pt x="454" y="140"/>
                    </a:lnTo>
                    <a:lnTo>
                      <a:pt x="450" y="142"/>
                    </a:lnTo>
                    <a:lnTo>
                      <a:pt x="446" y="144"/>
                    </a:lnTo>
                    <a:lnTo>
                      <a:pt x="444" y="146"/>
                    </a:lnTo>
                    <a:lnTo>
                      <a:pt x="443" y="150"/>
                    </a:lnTo>
                    <a:lnTo>
                      <a:pt x="439" y="152"/>
                    </a:lnTo>
                    <a:lnTo>
                      <a:pt x="437" y="152"/>
                    </a:lnTo>
                    <a:lnTo>
                      <a:pt x="435" y="152"/>
                    </a:lnTo>
                    <a:lnTo>
                      <a:pt x="431" y="150"/>
                    </a:lnTo>
                    <a:lnTo>
                      <a:pt x="429" y="152"/>
                    </a:lnTo>
                    <a:lnTo>
                      <a:pt x="427" y="152"/>
                    </a:lnTo>
                    <a:lnTo>
                      <a:pt x="427" y="154"/>
                    </a:lnTo>
                    <a:lnTo>
                      <a:pt x="425" y="156"/>
                    </a:lnTo>
                    <a:lnTo>
                      <a:pt x="423" y="154"/>
                    </a:lnTo>
                    <a:lnTo>
                      <a:pt x="414" y="150"/>
                    </a:lnTo>
                    <a:lnTo>
                      <a:pt x="406" y="146"/>
                    </a:lnTo>
                    <a:lnTo>
                      <a:pt x="404" y="144"/>
                    </a:lnTo>
                    <a:lnTo>
                      <a:pt x="404" y="144"/>
                    </a:lnTo>
                    <a:lnTo>
                      <a:pt x="402" y="142"/>
                    </a:lnTo>
                    <a:lnTo>
                      <a:pt x="401" y="140"/>
                    </a:lnTo>
                    <a:lnTo>
                      <a:pt x="399" y="139"/>
                    </a:lnTo>
                    <a:lnTo>
                      <a:pt x="397" y="139"/>
                    </a:lnTo>
                    <a:lnTo>
                      <a:pt x="393" y="137"/>
                    </a:lnTo>
                    <a:lnTo>
                      <a:pt x="385" y="133"/>
                    </a:lnTo>
                    <a:lnTo>
                      <a:pt x="382" y="131"/>
                    </a:lnTo>
                    <a:lnTo>
                      <a:pt x="380" y="131"/>
                    </a:lnTo>
                    <a:lnTo>
                      <a:pt x="378" y="133"/>
                    </a:lnTo>
                    <a:lnTo>
                      <a:pt x="376" y="131"/>
                    </a:lnTo>
                    <a:lnTo>
                      <a:pt x="376" y="131"/>
                    </a:lnTo>
                    <a:lnTo>
                      <a:pt x="376" y="129"/>
                    </a:lnTo>
                    <a:lnTo>
                      <a:pt x="374" y="127"/>
                    </a:lnTo>
                    <a:lnTo>
                      <a:pt x="372" y="127"/>
                    </a:lnTo>
                    <a:lnTo>
                      <a:pt x="370" y="127"/>
                    </a:lnTo>
                    <a:lnTo>
                      <a:pt x="364" y="129"/>
                    </a:lnTo>
                    <a:lnTo>
                      <a:pt x="362" y="131"/>
                    </a:lnTo>
                    <a:lnTo>
                      <a:pt x="361" y="131"/>
                    </a:lnTo>
                    <a:lnTo>
                      <a:pt x="361" y="131"/>
                    </a:lnTo>
                    <a:lnTo>
                      <a:pt x="359" y="131"/>
                    </a:lnTo>
                    <a:lnTo>
                      <a:pt x="359" y="131"/>
                    </a:lnTo>
                    <a:lnTo>
                      <a:pt x="357" y="129"/>
                    </a:lnTo>
                    <a:lnTo>
                      <a:pt x="355" y="129"/>
                    </a:lnTo>
                    <a:lnTo>
                      <a:pt x="355" y="129"/>
                    </a:lnTo>
                    <a:lnTo>
                      <a:pt x="355" y="129"/>
                    </a:lnTo>
                    <a:lnTo>
                      <a:pt x="351" y="129"/>
                    </a:lnTo>
                    <a:lnTo>
                      <a:pt x="351" y="129"/>
                    </a:lnTo>
                    <a:lnTo>
                      <a:pt x="351" y="129"/>
                    </a:lnTo>
                    <a:lnTo>
                      <a:pt x="341" y="123"/>
                    </a:lnTo>
                    <a:lnTo>
                      <a:pt x="338" y="121"/>
                    </a:lnTo>
                    <a:lnTo>
                      <a:pt x="334" y="123"/>
                    </a:lnTo>
                    <a:lnTo>
                      <a:pt x="330" y="123"/>
                    </a:lnTo>
                    <a:lnTo>
                      <a:pt x="328" y="125"/>
                    </a:lnTo>
                    <a:lnTo>
                      <a:pt x="320" y="133"/>
                    </a:lnTo>
                    <a:lnTo>
                      <a:pt x="317" y="133"/>
                    </a:lnTo>
                    <a:lnTo>
                      <a:pt x="315" y="135"/>
                    </a:lnTo>
                    <a:lnTo>
                      <a:pt x="315" y="133"/>
                    </a:lnTo>
                    <a:lnTo>
                      <a:pt x="313" y="133"/>
                    </a:lnTo>
                    <a:lnTo>
                      <a:pt x="313" y="131"/>
                    </a:lnTo>
                    <a:lnTo>
                      <a:pt x="313" y="129"/>
                    </a:lnTo>
                    <a:lnTo>
                      <a:pt x="313" y="129"/>
                    </a:lnTo>
                    <a:lnTo>
                      <a:pt x="311" y="129"/>
                    </a:lnTo>
                    <a:lnTo>
                      <a:pt x="309" y="129"/>
                    </a:lnTo>
                    <a:lnTo>
                      <a:pt x="309" y="129"/>
                    </a:lnTo>
                    <a:lnTo>
                      <a:pt x="301" y="123"/>
                    </a:lnTo>
                    <a:lnTo>
                      <a:pt x="300" y="121"/>
                    </a:lnTo>
                    <a:lnTo>
                      <a:pt x="300" y="118"/>
                    </a:lnTo>
                    <a:lnTo>
                      <a:pt x="300" y="106"/>
                    </a:lnTo>
                    <a:lnTo>
                      <a:pt x="300" y="102"/>
                    </a:lnTo>
                    <a:lnTo>
                      <a:pt x="298" y="99"/>
                    </a:lnTo>
                    <a:lnTo>
                      <a:pt x="288" y="95"/>
                    </a:lnTo>
                    <a:lnTo>
                      <a:pt x="286" y="93"/>
                    </a:lnTo>
                    <a:lnTo>
                      <a:pt x="277" y="97"/>
                    </a:lnTo>
                    <a:lnTo>
                      <a:pt x="271" y="100"/>
                    </a:lnTo>
                    <a:lnTo>
                      <a:pt x="265" y="102"/>
                    </a:lnTo>
                    <a:lnTo>
                      <a:pt x="263" y="104"/>
                    </a:lnTo>
                    <a:lnTo>
                      <a:pt x="261" y="102"/>
                    </a:lnTo>
                    <a:lnTo>
                      <a:pt x="259" y="102"/>
                    </a:lnTo>
                    <a:lnTo>
                      <a:pt x="258" y="104"/>
                    </a:lnTo>
                    <a:lnTo>
                      <a:pt x="256" y="106"/>
                    </a:lnTo>
                    <a:lnTo>
                      <a:pt x="256" y="106"/>
                    </a:lnTo>
                    <a:lnTo>
                      <a:pt x="254" y="108"/>
                    </a:lnTo>
                    <a:lnTo>
                      <a:pt x="248" y="110"/>
                    </a:lnTo>
                    <a:lnTo>
                      <a:pt x="246" y="110"/>
                    </a:lnTo>
                    <a:lnTo>
                      <a:pt x="235" y="106"/>
                    </a:lnTo>
                    <a:lnTo>
                      <a:pt x="231" y="102"/>
                    </a:lnTo>
                    <a:lnTo>
                      <a:pt x="231" y="99"/>
                    </a:lnTo>
                    <a:lnTo>
                      <a:pt x="231" y="95"/>
                    </a:lnTo>
                    <a:lnTo>
                      <a:pt x="227" y="93"/>
                    </a:lnTo>
                    <a:lnTo>
                      <a:pt x="223" y="93"/>
                    </a:lnTo>
                    <a:lnTo>
                      <a:pt x="216" y="95"/>
                    </a:lnTo>
                    <a:lnTo>
                      <a:pt x="214" y="95"/>
                    </a:lnTo>
                    <a:lnTo>
                      <a:pt x="214" y="93"/>
                    </a:lnTo>
                    <a:lnTo>
                      <a:pt x="214" y="91"/>
                    </a:lnTo>
                    <a:lnTo>
                      <a:pt x="212" y="89"/>
                    </a:lnTo>
                    <a:lnTo>
                      <a:pt x="210" y="89"/>
                    </a:lnTo>
                    <a:lnTo>
                      <a:pt x="208" y="89"/>
                    </a:lnTo>
                    <a:lnTo>
                      <a:pt x="204" y="87"/>
                    </a:lnTo>
                    <a:lnTo>
                      <a:pt x="204" y="85"/>
                    </a:lnTo>
                    <a:lnTo>
                      <a:pt x="202" y="81"/>
                    </a:lnTo>
                    <a:lnTo>
                      <a:pt x="202" y="80"/>
                    </a:lnTo>
                    <a:lnTo>
                      <a:pt x="198" y="78"/>
                    </a:lnTo>
                    <a:lnTo>
                      <a:pt x="193" y="76"/>
                    </a:lnTo>
                    <a:lnTo>
                      <a:pt x="189" y="74"/>
                    </a:lnTo>
                    <a:lnTo>
                      <a:pt x="189" y="74"/>
                    </a:lnTo>
                    <a:lnTo>
                      <a:pt x="189" y="72"/>
                    </a:lnTo>
                    <a:lnTo>
                      <a:pt x="185" y="72"/>
                    </a:lnTo>
                    <a:lnTo>
                      <a:pt x="183" y="72"/>
                    </a:lnTo>
                    <a:lnTo>
                      <a:pt x="183" y="74"/>
                    </a:lnTo>
                    <a:lnTo>
                      <a:pt x="181" y="7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4" y="62"/>
                    </a:lnTo>
                    <a:lnTo>
                      <a:pt x="166" y="59"/>
                    </a:lnTo>
                    <a:lnTo>
                      <a:pt x="168" y="55"/>
                    </a:lnTo>
                    <a:lnTo>
                      <a:pt x="168" y="49"/>
                    </a:lnTo>
                    <a:lnTo>
                      <a:pt x="168" y="45"/>
                    </a:lnTo>
                    <a:lnTo>
                      <a:pt x="166" y="40"/>
                    </a:lnTo>
                    <a:lnTo>
                      <a:pt x="164" y="34"/>
                    </a:lnTo>
                    <a:lnTo>
                      <a:pt x="162" y="30"/>
                    </a:lnTo>
                    <a:lnTo>
                      <a:pt x="158" y="26"/>
                    </a:lnTo>
                    <a:lnTo>
                      <a:pt x="122" y="21"/>
                    </a:lnTo>
                    <a:lnTo>
                      <a:pt x="118" y="19"/>
                    </a:lnTo>
                    <a:lnTo>
                      <a:pt x="116" y="15"/>
                    </a:lnTo>
                    <a:lnTo>
                      <a:pt x="115" y="13"/>
                    </a:lnTo>
                    <a:lnTo>
                      <a:pt x="115" y="11"/>
                    </a:lnTo>
                    <a:lnTo>
                      <a:pt x="111" y="11"/>
                    </a:lnTo>
                    <a:lnTo>
                      <a:pt x="109" y="11"/>
                    </a:lnTo>
                    <a:lnTo>
                      <a:pt x="107" y="7"/>
                    </a:lnTo>
                    <a:lnTo>
                      <a:pt x="107" y="7"/>
                    </a:lnTo>
                    <a:lnTo>
                      <a:pt x="103" y="5"/>
                    </a:lnTo>
                    <a:lnTo>
                      <a:pt x="101" y="5"/>
                    </a:lnTo>
                    <a:lnTo>
                      <a:pt x="101" y="3"/>
                    </a:lnTo>
                    <a:lnTo>
                      <a:pt x="99" y="2"/>
                    </a:lnTo>
                    <a:lnTo>
                      <a:pt x="97" y="0"/>
                    </a:lnTo>
                    <a:lnTo>
                      <a:pt x="95" y="2"/>
                    </a:lnTo>
                    <a:lnTo>
                      <a:pt x="90" y="9"/>
                    </a:lnTo>
                    <a:lnTo>
                      <a:pt x="86" y="11"/>
                    </a:lnTo>
                    <a:lnTo>
                      <a:pt x="82" y="11"/>
                    </a:lnTo>
                    <a:lnTo>
                      <a:pt x="78" y="11"/>
                    </a:lnTo>
                    <a:lnTo>
                      <a:pt x="76" y="9"/>
                    </a:lnTo>
                    <a:lnTo>
                      <a:pt x="76" y="9"/>
                    </a:lnTo>
                    <a:lnTo>
                      <a:pt x="73" y="11"/>
                    </a:lnTo>
                    <a:lnTo>
                      <a:pt x="67" y="11"/>
                    </a:lnTo>
                    <a:lnTo>
                      <a:pt x="65" y="11"/>
                    </a:lnTo>
                    <a:lnTo>
                      <a:pt x="65" y="15"/>
                    </a:lnTo>
                    <a:lnTo>
                      <a:pt x="69" y="19"/>
                    </a:lnTo>
                    <a:lnTo>
                      <a:pt x="69" y="19"/>
                    </a:lnTo>
                    <a:lnTo>
                      <a:pt x="71" y="21"/>
                    </a:lnTo>
                    <a:lnTo>
                      <a:pt x="71" y="22"/>
                    </a:lnTo>
                    <a:lnTo>
                      <a:pt x="69" y="22"/>
                    </a:lnTo>
                    <a:lnTo>
                      <a:pt x="69" y="22"/>
                    </a:lnTo>
                    <a:lnTo>
                      <a:pt x="67" y="24"/>
                    </a:lnTo>
                    <a:lnTo>
                      <a:pt x="67" y="24"/>
                    </a:lnTo>
                    <a:lnTo>
                      <a:pt x="67" y="24"/>
                    </a:lnTo>
                    <a:lnTo>
                      <a:pt x="67" y="26"/>
                    </a:lnTo>
                    <a:lnTo>
                      <a:pt x="67" y="26"/>
                    </a:lnTo>
                    <a:lnTo>
                      <a:pt x="67" y="26"/>
                    </a:lnTo>
                    <a:lnTo>
                      <a:pt x="67" y="26"/>
                    </a:lnTo>
                    <a:lnTo>
                      <a:pt x="71" y="26"/>
                    </a:lnTo>
                    <a:lnTo>
                      <a:pt x="73" y="26"/>
                    </a:lnTo>
                    <a:lnTo>
                      <a:pt x="73" y="28"/>
                    </a:lnTo>
                    <a:lnTo>
                      <a:pt x="73" y="28"/>
                    </a:lnTo>
                    <a:lnTo>
                      <a:pt x="71" y="32"/>
                    </a:lnTo>
                    <a:lnTo>
                      <a:pt x="71" y="34"/>
                    </a:lnTo>
                    <a:lnTo>
                      <a:pt x="73" y="34"/>
                    </a:lnTo>
                    <a:lnTo>
                      <a:pt x="73" y="36"/>
                    </a:lnTo>
                    <a:lnTo>
                      <a:pt x="74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8" y="42"/>
                    </a:lnTo>
                    <a:lnTo>
                      <a:pt x="78" y="43"/>
                    </a:lnTo>
                    <a:lnTo>
                      <a:pt x="78" y="47"/>
                    </a:lnTo>
                    <a:lnTo>
                      <a:pt x="78" y="49"/>
                    </a:lnTo>
                    <a:lnTo>
                      <a:pt x="78" y="51"/>
                    </a:lnTo>
                    <a:lnTo>
                      <a:pt x="78" y="53"/>
                    </a:lnTo>
                    <a:lnTo>
                      <a:pt x="82" y="55"/>
                    </a:lnTo>
                    <a:lnTo>
                      <a:pt x="82" y="57"/>
                    </a:lnTo>
                    <a:lnTo>
                      <a:pt x="84" y="61"/>
                    </a:lnTo>
                    <a:lnTo>
                      <a:pt x="86" y="62"/>
                    </a:lnTo>
                    <a:lnTo>
                      <a:pt x="88" y="62"/>
                    </a:lnTo>
                    <a:lnTo>
                      <a:pt x="88" y="64"/>
                    </a:lnTo>
                    <a:lnTo>
                      <a:pt x="90" y="66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4"/>
                    </a:lnTo>
                    <a:lnTo>
                      <a:pt x="94" y="81"/>
                    </a:lnTo>
                    <a:lnTo>
                      <a:pt x="94" y="83"/>
                    </a:lnTo>
                    <a:lnTo>
                      <a:pt x="95" y="85"/>
                    </a:lnTo>
                    <a:lnTo>
                      <a:pt x="97" y="85"/>
                    </a:lnTo>
                    <a:lnTo>
                      <a:pt x="99" y="87"/>
                    </a:lnTo>
                    <a:lnTo>
                      <a:pt x="101" y="87"/>
                    </a:lnTo>
                    <a:lnTo>
                      <a:pt x="105" y="91"/>
                    </a:lnTo>
                    <a:lnTo>
                      <a:pt x="105" y="91"/>
                    </a:lnTo>
                    <a:lnTo>
                      <a:pt x="107" y="89"/>
                    </a:lnTo>
                    <a:lnTo>
                      <a:pt x="107" y="89"/>
                    </a:lnTo>
                    <a:lnTo>
                      <a:pt x="107" y="89"/>
                    </a:lnTo>
                    <a:lnTo>
                      <a:pt x="109" y="87"/>
                    </a:lnTo>
                    <a:lnTo>
                      <a:pt x="111" y="87"/>
                    </a:lnTo>
                    <a:lnTo>
                      <a:pt x="111" y="87"/>
                    </a:lnTo>
                    <a:lnTo>
                      <a:pt x="113" y="87"/>
                    </a:lnTo>
                    <a:lnTo>
                      <a:pt x="115" y="89"/>
                    </a:lnTo>
                    <a:lnTo>
                      <a:pt x="115" y="89"/>
                    </a:lnTo>
                    <a:lnTo>
                      <a:pt x="116" y="91"/>
                    </a:lnTo>
                    <a:lnTo>
                      <a:pt x="116" y="93"/>
                    </a:lnTo>
                    <a:lnTo>
                      <a:pt x="116" y="97"/>
                    </a:lnTo>
                    <a:lnTo>
                      <a:pt x="116" y="99"/>
                    </a:lnTo>
                    <a:lnTo>
                      <a:pt x="116" y="104"/>
                    </a:lnTo>
                    <a:lnTo>
                      <a:pt x="116" y="106"/>
                    </a:lnTo>
                    <a:lnTo>
                      <a:pt x="116" y="108"/>
                    </a:lnTo>
                    <a:lnTo>
                      <a:pt x="118" y="108"/>
                    </a:lnTo>
                    <a:lnTo>
                      <a:pt x="120" y="108"/>
                    </a:lnTo>
                    <a:lnTo>
                      <a:pt x="120" y="108"/>
                    </a:lnTo>
                    <a:lnTo>
                      <a:pt x="122" y="108"/>
                    </a:lnTo>
                    <a:lnTo>
                      <a:pt x="124" y="108"/>
                    </a:lnTo>
                    <a:lnTo>
                      <a:pt x="134" y="118"/>
                    </a:lnTo>
                    <a:lnTo>
                      <a:pt x="134" y="120"/>
                    </a:lnTo>
                    <a:lnTo>
                      <a:pt x="136" y="121"/>
                    </a:lnTo>
                    <a:lnTo>
                      <a:pt x="136" y="121"/>
                    </a:lnTo>
                    <a:lnTo>
                      <a:pt x="136" y="121"/>
                    </a:lnTo>
                    <a:lnTo>
                      <a:pt x="134" y="123"/>
                    </a:lnTo>
                    <a:lnTo>
                      <a:pt x="115" y="123"/>
                    </a:lnTo>
                    <a:lnTo>
                      <a:pt x="109" y="123"/>
                    </a:lnTo>
                    <a:lnTo>
                      <a:pt x="107" y="121"/>
                    </a:lnTo>
                    <a:lnTo>
                      <a:pt x="105" y="121"/>
                    </a:lnTo>
                    <a:lnTo>
                      <a:pt x="103" y="121"/>
                    </a:lnTo>
                    <a:lnTo>
                      <a:pt x="99" y="121"/>
                    </a:lnTo>
                    <a:lnTo>
                      <a:pt x="97" y="121"/>
                    </a:lnTo>
                    <a:lnTo>
                      <a:pt x="97" y="123"/>
                    </a:lnTo>
                    <a:lnTo>
                      <a:pt x="95" y="123"/>
                    </a:lnTo>
                    <a:lnTo>
                      <a:pt x="95" y="125"/>
                    </a:lnTo>
                    <a:lnTo>
                      <a:pt x="94" y="131"/>
                    </a:lnTo>
                    <a:lnTo>
                      <a:pt x="94" y="131"/>
                    </a:lnTo>
                    <a:lnTo>
                      <a:pt x="94" y="133"/>
                    </a:lnTo>
                    <a:lnTo>
                      <a:pt x="92" y="135"/>
                    </a:lnTo>
                    <a:lnTo>
                      <a:pt x="92" y="135"/>
                    </a:lnTo>
                    <a:lnTo>
                      <a:pt x="90" y="135"/>
                    </a:lnTo>
                    <a:lnTo>
                      <a:pt x="84" y="137"/>
                    </a:lnTo>
                    <a:lnTo>
                      <a:pt x="84" y="137"/>
                    </a:lnTo>
                    <a:lnTo>
                      <a:pt x="84" y="137"/>
                    </a:lnTo>
                    <a:lnTo>
                      <a:pt x="84" y="139"/>
                    </a:lnTo>
                    <a:lnTo>
                      <a:pt x="82" y="140"/>
                    </a:lnTo>
                    <a:lnTo>
                      <a:pt x="82" y="140"/>
                    </a:lnTo>
                    <a:lnTo>
                      <a:pt x="80" y="140"/>
                    </a:lnTo>
                    <a:lnTo>
                      <a:pt x="80" y="140"/>
                    </a:lnTo>
                    <a:lnTo>
                      <a:pt x="80" y="140"/>
                    </a:lnTo>
                    <a:lnTo>
                      <a:pt x="80" y="139"/>
                    </a:lnTo>
                    <a:lnTo>
                      <a:pt x="80" y="139"/>
                    </a:lnTo>
                    <a:lnTo>
                      <a:pt x="78" y="137"/>
                    </a:lnTo>
                    <a:lnTo>
                      <a:pt x="78" y="137"/>
                    </a:lnTo>
                    <a:lnTo>
                      <a:pt x="78" y="137"/>
                    </a:lnTo>
                    <a:lnTo>
                      <a:pt x="78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4" y="139"/>
                    </a:lnTo>
                    <a:lnTo>
                      <a:pt x="74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4" y="146"/>
                    </a:lnTo>
                    <a:lnTo>
                      <a:pt x="76" y="148"/>
                    </a:lnTo>
                    <a:lnTo>
                      <a:pt x="78" y="150"/>
                    </a:lnTo>
                    <a:lnTo>
                      <a:pt x="80" y="150"/>
                    </a:lnTo>
                    <a:lnTo>
                      <a:pt x="82" y="150"/>
                    </a:lnTo>
                    <a:lnTo>
                      <a:pt x="82" y="150"/>
                    </a:lnTo>
                    <a:lnTo>
                      <a:pt x="84" y="150"/>
                    </a:lnTo>
                    <a:lnTo>
                      <a:pt x="86" y="148"/>
                    </a:lnTo>
                    <a:lnTo>
                      <a:pt x="86" y="148"/>
                    </a:lnTo>
                    <a:lnTo>
                      <a:pt x="86" y="148"/>
                    </a:lnTo>
                    <a:lnTo>
                      <a:pt x="86" y="146"/>
                    </a:lnTo>
                    <a:lnTo>
                      <a:pt x="88" y="146"/>
                    </a:lnTo>
                    <a:lnTo>
                      <a:pt x="88" y="148"/>
                    </a:lnTo>
                    <a:lnTo>
                      <a:pt x="90" y="148"/>
                    </a:lnTo>
                    <a:lnTo>
                      <a:pt x="94" y="152"/>
                    </a:lnTo>
                    <a:lnTo>
                      <a:pt x="95" y="154"/>
                    </a:lnTo>
                    <a:lnTo>
                      <a:pt x="99" y="154"/>
                    </a:lnTo>
                    <a:lnTo>
                      <a:pt x="107" y="156"/>
                    </a:lnTo>
                    <a:lnTo>
                      <a:pt x="109" y="158"/>
                    </a:lnTo>
                    <a:lnTo>
                      <a:pt x="109" y="158"/>
                    </a:lnTo>
                    <a:lnTo>
                      <a:pt x="109" y="159"/>
                    </a:lnTo>
                    <a:lnTo>
                      <a:pt x="109" y="161"/>
                    </a:lnTo>
                    <a:lnTo>
                      <a:pt x="105" y="165"/>
                    </a:lnTo>
                    <a:lnTo>
                      <a:pt x="105" y="165"/>
                    </a:lnTo>
                    <a:lnTo>
                      <a:pt x="105" y="167"/>
                    </a:lnTo>
                    <a:lnTo>
                      <a:pt x="107" y="169"/>
                    </a:lnTo>
                    <a:lnTo>
                      <a:pt x="109" y="173"/>
                    </a:lnTo>
                    <a:lnTo>
                      <a:pt x="109" y="173"/>
                    </a:lnTo>
                    <a:lnTo>
                      <a:pt x="109" y="173"/>
                    </a:lnTo>
                    <a:lnTo>
                      <a:pt x="107" y="175"/>
                    </a:lnTo>
                    <a:lnTo>
                      <a:pt x="103" y="175"/>
                    </a:lnTo>
                    <a:lnTo>
                      <a:pt x="103" y="175"/>
                    </a:lnTo>
                    <a:lnTo>
                      <a:pt x="101" y="175"/>
                    </a:lnTo>
                    <a:lnTo>
                      <a:pt x="101" y="175"/>
                    </a:lnTo>
                    <a:lnTo>
                      <a:pt x="99" y="175"/>
                    </a:lnTo>
                    <a:lnTo>
                      <a:pt x="99" y="175"/>
                    </a:lnTo>
                    <a:lnTo>
                      <a:pt x="97" y="177"/>
                    </a:lnTo>
                    <a:lnTo>
                      <a:pt x="97" y="177"/>
                    </a:lnTo>
                    <a:lnTo>
                      <a:pt x="95" y="177"/>
                    </a:lnTo>
                    <a:lnTo>
                      <a:pt x="88" y="177"/>
                    </a:lnTo>
                    <a:lnTo>
                      <a:pt x="86" y="178"/>
                    </a:lnTo>
                    <a:lnTo>
                      <a:pt x="86" y="178"/>
                    </a:lnTo>
                    <a:lnTo>
                      <a:pt x="86" y="178"/>
                    </a:lnTo>
                    <a:lnTo>
                      <a:pt x="84" y="178"/>
                    </a:lnTo>
                    <a:lnTo>
                      <a:pt x="84" y="180"/>
                    </a:lnTo>
                    <a:lnTo>
                      <a:pt x="84" y="180"/>
                    </a:lnTo>
                    <a:lnTo>
                      <a:pt x="84" y="182"/>
                    </a:lnTo>
                    <a:lnTo>
                      <a:pt x="84" y="184"/>
                    </a:lnTo>
                    <a:lnTo>
                      <a:pt x="86" y="184"/>
                    </a:lnTo>
                    <a:lnTo>
                      <a:pt x="88" y="188"/>
                    </a:lnTo>
                    <a:lnTo>
                      <a:pt x="90" y="190"/>
                    </a:lnTo>
                    <a:lnTo>
                      <a:pt x="94" y="199"/>
                    </a:lnTo>
                    <a:lnTo>
                      <a:pt x="95" y="199"/>
                    </a:lnTo>
                    <a:lnTo>
                      <a:pt x="97" y="199"/>
                    </a:lnTo>
                    <a:lnTo>
                      <a:pt x="97" y="199"/>
                    </a:lnTo>
                    <a:lnTo>
                      <a:pt x="99" y="201"/>
                    </a:lnTo>
                    <a:lnTo>
                      <a:pt x="101" y="203"/>
                    </a:lnTo>
                    <a:lnTo>
                      <a:pt x="103" y="203"/>
                    </a:lnTo>
                    <a:lnTo>
                      <a:pt x="105" y="203"/>
                    </a:lnTo>
                    <a:lnTo>
                      <a:pt x="105" y="205"/>
                    </a:lnTo>
                    <a:lnTo>
                      <a:pt x="107" y="207"/>
                    </a:lnTo>
                    <a:lnTo>
                      <a:pt x="107" y="209"/>
                    </a:lnTo>
                    <a:lnTo>
                      <a:pt x="109" y="211"/>
                    </a:lnTo>
                    <a:lnTo>
                      <a:pt x="111" y="211"/>
                    </a:lnTo>
                    <a:lnTo>
                      <a:pt x="111" y="211"/>
                    </a:lnTo>
                    <a:lnTo>
                      <a:pt x="113" y="213"/>
                    </a:lnTo>
                    <a:lnTo>
                      <a:pt x="113" y="217"/>
                    </a:lnTo>
                    <a:lnTo>
                      <a:pt x="115" y="218"/>
                    </a:lnTo>
                    <a:lnTo>
                      <a:pt x="115" y="218"/>
                    </a:lnTo>
                    <a:lnTo>
                      <a:pt x="116" y="220"/>
                    </a:lnTo>
                    <a:lnTo>
                      <a:pt x="118" y="222"/>
                    </a:lnTo>
                    <a:lnTo>
                      <a:pt x="120" y="222"/>
                    </a:lnTo>
                    <a:lnTo>
                      <a:pt x="122" y="222"/>
                    </a:lnTo>
                    <a:lnTo>
                      <a:pt x="128" y="222"/>
                    </a:lnTo>
                    <a:lnTo>
                      <a:pt x="128" y="220"/>
                    </a:lnTo>
                    <a:lnTo>
                      <a:pt x="132" y="220"/>
                    </a:lnTo>
                    <a:lnTo>
                      <a:pt x="134" y="222"/>
                    </a:lnTo>
                    <a:lnTo>
                      <a:pt x="136" y="224"/>
                    </a:lnTo>
                    <a:lnTo>
                      <a:pt x="137" y="226"/>
                    </a:lnTo>
                    <a:lnTo>
                      <a:pt x="137" y="228"/>
                    </a:lnTo>
                    <a:lnTo>
                      <a:pt x="137" y="228"/>
                    </a:lnTo>
                    <a:lnTo>
                      <a:pt x="143" y="232"/>
                    </a:lnTo>
                    <a:lnTo>
                      <a:pt x="145" y="232"/>
                    </a:lnTo>
                    <a:lnTo>
                      <a:pt x="149" y="232"/>
                    </a:lnTo>
                    <a:lnTo>
                      <a:pt x="151" y="232"/>
                    </a:lnTo>
                    <a:lnTo>
                      <a:pt x="153" y="232"/>
                    </a:lnTo>
                    <a:lnTo>
                      <a:pt x="162" y="241"/>
                    </a:lnTo>
                    <a:lnTo>
                      <a:pt x="162" y="241"/>
                    </a:lnTo>
                    <a:lnTo>
                      <a:pt x="162" y="243"/>
                    </a:lnTo>
                    <a:lnTo>
                      <a:pt x="162" y="245"/>
                    </a:lnTo>
                    <a:lnTo>
                      <a:pt x="160" y="247"/>
                    </a:lnTo>
                    <a:lnTo>
                      <a:pt x="160" y="249"/>
                    </a:lnTo>
                    <a:lnTo>
                      <a:pt x="160" y="249"/>
                    </a:lnTo>
                    <a:lnTo>
                      <a:pt x="158" y="249"/>
                    </a:lnTo>
                    <a:lnTo>
                      <a:pt x="153" y="255"/>
                    </a:lnTo>
                    <a:lnTo>
                      <a:pt x="153" y="255"/>
                    </a:lnTo>
                    <a:lnTo>
                      <a:pt x="151" y="255"/>
                    </a:lnTo>
                    <a:lnTo>
                      <a:pt x="149" y="255"/>
                    </a:lnTo>
                    <a:lnTo>
                      <a:pt x="147" y="255"/>
                    </a:lnTo>
                    <a:lnTo>
                      <a:pt x="145" y="255"/>
                    </a:lnTo>
                    <a:lnTo>
                      <a:pt x="143" y="253"/>
                    </a:lnTo>
                    <a:lnTo>
                      <a:pt x="141" y="253"/>
                    </a:lnTo>
                    <a:lnTo>
                      <a:pt x="137" y="251"/>
                    </a:lnTo>
                    <a:lnTo>
                      <a:pt x="134" y="247"/>
                    </a:lnTo>
                    <a:lnTo>
                      <a:pt x="132" y="245"/>
                    </a:lnTo>
                    <a:lnTo>
                      <a:pt x="130" y="247"/>
                    </a:lnTo>
                    <a:lnTo>
                      <a:pt x="128" y="247"/>
                    </a:lnTo>
                    <a:lnTo>
                      <a:pt x="126" y="247"/>
                    </a:lnTo>
                    <a:lnTo>
                      <a:pt x="124" y="249"/>
                    </a:lnTo>
                    <a:lnTo>
                      <a:pt x="124" y="253"/>
                    </a:lnTo>
                    <a:lnTo>
                      <a:pt x="126" y="256"/>
                    </a:lnTo>
                    <a:lnTo>
                      <a:pt x="126" y="256"/>
                    </a:lnTo>
                    <a:lnTo>
                      <a:pt x="126" y="256"/>
                    </a:lnTo>
                    <a:lnTo>
                      <a:pt x="126" y="258"/>
                    </a:lnTo>
                    <a:lnTo>
                      <a:pt x="126" y="258"/>
                    </a:lnTo>
                    <a:lnTo>
                      <a:pt x="126" y="260"/>
                    </a:lnTo>
                    <a:lnTo>
                      <a:pt x="126" y="260"/>
                    </a:lnTo>
                    <a:lnTo>
                      <a:pt x="126" y="260"/>
                    </a:lnTo>
                    <a:lnTo>
                      <a:pt x="124" y="262"/>
                    </a:lnTo>
                    <a:lnTo>
                      <a:pt x="122" y="262"/>
                    </a:lnTo>
                    <a:lnTo>
                      <a:pt x="120" y="262"/>
                    </a:lnTo>
                    <a:lnTo>
                      <a:pt x="118" y="262"/>
                    </a:lnTo>
                    <a:lnTo>
                      <a:pt x="116" y="262"/>
                    </a:lnTo>
                    <a:lnTo>
                      <a:pt x="116" y="262"/>
                    </a:lnTo>
                    <a:lnTo>
                      <a:pt x="115" y="262"/>
                    </a:lnTo>
                    <a:lnTo>
                      <a:pt x="115" y="260"/>
                    </a:lnTo>
                    <a:lnTo>
                      <a:pt x="115" y="260"/>
                    </a:lnTo>
                    <a:lnTo>
                      <a:pt x="113" y="260"/>
                    </a:lnTo>
                    <a:lnTo>
                      <a:pt x="113" y="260"/>
                    </a:lnTo>
                    <a:lnTo>
                      <a:pt x="113" y="258"/>
                    </a:lnTo>
                    <a:lnTo>
                      <a:pt x="113" y="258"/>
                    </a:lnTo>
                    <a:lnTo>
                      <a:pt x="113" y="256"/>
                    </a:lnTo>
                    <a:lnTo>
                      <a:pt x="113" y="256"/>
                    </a:lnTo>
                    <a:lnTo>
                      <a:pt x="113" y="255"/>
                    </a:lnTo>
                    <a:lnTo>
                      <a:pt x="113" y="255"/>
                    </a:lnTo>
                    <a:lnTo>
                      <a:pt x="113" y="253"/>
                    </a:lnTo>
                    <a:lnTo>
                      <a:pt x="113" y="251"/>
                    </a:lnTo>
                    <a:lnTo>
                      <a:pt x="113" y="251"/>
                    </a:lnTo>
                    <a:lnTo>
                      <a:pt x="109" y="249"/>
                    </a:lnTo>
                    <a:lnTo>
                      <a:pt x="103" y="249"/>
                    </a:lnTo>
                    <a:lnTo>
                      <a:pt x="94" y="258"/>
                    </a:lnTo>
                    <a:lnTo>
                      <a:pt x="86" y="268"/>
                    </a:lnTo>
                    <a:lnTo>
                      <a:pt x="84" y="270"/>
                    </a:lnTo>
                    <a:lnTo>
                      <a:pt x="74" y="276"/>
                    </a:lnTo>
                    <a:lnTo>
                      <a:pt x="74" y="277"/>
                    </a:lnTo>
                    <a:lnTo>
                      <a:pt x="73" y="277"/>
                    </a:lnTo>
                    <a:lnTo>
                      <a:pt x="71" y="279"/>
                    </a:lnTo>
                    <a:lnTo>
                      <a:pt x="67" y="281"/>
                    </a:lnTo>
                    <a:lnTo>
                      <a:pt x="63" y="283"/>
                    </a:lnTo>
                    <a:lnTo>
                      <a:pt x="61" y="285"/>
                    </a:lnTo>
                    <a:lnTo>
                      <a:pt x="61" y="285"/>
                    </a:lnTo>
                    <a:lnTo>
                      <a:pt x="61" y="287"/>
                    </a:lnTo>
                    <a:lnTo>
                      <a:pt x="57" y="291"/>
                    </a:lnTo>
                    <a:lnTo>
                      <a:pt x="44" y="298"/>
                    </a:lnTo>
                    <a:lnTo>
                      <a:pt x="27" y="308"/>
                    </a:lnTo>
                    <a:lnTo>
                      <a:pt x="25" y="310"/>
                    </a:lnTo>
                    <a:lnTo>
                      <a:pt x="21" y="312"/>
                    </a:lnTo>
                    <a:lnTo>
                      <a:pt x="19" y="314"/>
                    </a:lnTo>
                    <a:lnTo>
                      <a:pt x="12" y="317"/>
                    </a:lnTo>
                    <a:lnTo>
                      <a:pt x="8" y="319"/>
                    </a:lnTo>
                    <a:lnTo>
                      <a:pt x="6" y="321"/>
                    </a:lnTo>
                    <a:lnTo>
                      <a:pt x="4" y="323"/>
                    </a:lnTo>
                    <a:lnTo>
                      <a:pt x="4" y="325"/>
                    </a:lnTo>
                    <a:lnTo>
                      <a:pt x="2" y="325"/>
                    </a:lnTo>
                    <a:lnTo>
                      <a:pt x="2" y="327"/>
                    </a:lnTo>
                    <a:lnTo>
                      <a:pt x="2" y="327"/>
                    </a:lnTo>
                    <a:lnTo>
                      <a:pt x="2" y="331"/>
                    </a:lnTo>
                    <a:lnTo>
                      <a:pt x="0" y="338"/>
                    </a:lnTo>
                    <a:lnTo>
                      <a:pt x="0" y="340"/>
                    </a:lnTo>
                    <a:lnTo>
                      <a:pt x="0" y="342"/>
                    </a:lnTo>
                    <a:lnTo>
                      <a:pt x="0" y="344"/>
                    </a:lnTo>
                    <a:lnTo>
                      <a:pt x="2" y="346"/>
                    </a:lnTo>
                    <a:lnTo>
                      <a:pt x="6" y="350"/>
                    </a:lnTo>
                    <a:lnTo>
                      <a:pt x="6" y="352"/>
                    </a:lnTo>
                    <a:lnTo>
                      <a:pt x="6" y="352"/>
                    </a:lnTo>
                    <a:lnTo>
                      <a:pt x="6" y="355"/>
                    </a:lnTo>
                    <a:lnTo>
                      <a:pt x="6" y="361"/>
                    </a:lnTo>
                    <a:lnTo>
                      <a:pt x="6" y="363"/>
                    </a:lnTo>
                    <a:lnTo>
                      <a:pt x="6" y="365"/>
                    </a:lnTo>
                    <a:lnTo>
                      <a:pt x="4" y="365"/>
                    </a:lnTo>
                    <a:lnTo>
                      <a:pt x="4" y="367"/>
                    </a:lnTo>
                    <a:lnTo>
                      <a:pt x="4" y="369"/>
                    </a:lnTo>
                    <a:lnTo>
                      <a:pt x="6" y="371"/>
                    </a:lnTo>
                    <a:lnTo>
                      <a:pt x="8" y="373"/>
                    </a:lnTo>
                    <a:lnTo>
                      <a:pt x="10" y="374"/>
                    </a:lnTo>
                    <a:lnTo>
                      <a:pt x="10" y="374"/>
                    </a:lnTo>
                    <a:lnTo>
                      <a:pt x="12" y="374"/>
                    </a:lnTo>
                    <a:lnTo>
                      <a:pt x="13" y="378"/>
                    </a:lnTo>
                    <a:lnTo>
                      <a:pt x="13" y="380"/>
                    </a:lnTo>
                    <a:lnTo>
                      <a:pt x="15" y="382"/>
                    </a:lnTo>
                    <a:lnTo>
                      <a:pt x="17" y="382"/>
                    </a:lnTo>
                    <a:lnTo>
                      <a:pt x="19" y="384"/>
                    </a:lnTo>
                    <a:lnTo>
                      <a:pt x="23" y="384"/>
                    </a:lnTo>
                    <a:lnTo>
                      <a:pt x="25" y="386"/>
                    </a:lnTo>
                    <a:lnTo>
                      <a:pt x="25" y="386"/>
                    </a:lnTo>
                    <a:lnTo>
                      <a:pt x="27" y="390"/>
                    </a:lnTo>
                    <a:lnTo>
                      <a:pt x="27" y="392"/>
                    </a:lnTo>
                    <a:lnTo>
                      <a:pt x="27" y="392"/>
                    </a:lnTo>
                    <a:lnTo>
                      <a:pt x="25" y="397"/>
                    </a:lnTo>
                    <a:lnTo>
                      <a:pt x="25" y="397"/>
                    </a:lnTo>
                    <a:lnTo>
                      <a:pt x="25" y="399"/>
                    </a:lnTo>
                    <a:lnTo>
                      <a:pt x="25" y="401"/>
                    </a:lnTo>
                    <a:lnTo>
                      <a:pt x="27" y="403"/>
                    </a:lnTo>
                    <a:lnTo>
                      <a:pt x="25" y="405"/>
                    </a:lnTo>
                    <a:lnTo>
                      <a:pt x="25" y="409"/>
                    </a:lnTo>
                    <a:lnTo>
                      <a:pt x="27" y="413"/>
                    </a:lnTo>
                    <a:lnTo>
                      <a:pt x="25" y="416"/>
                    </a:lnTo>
                    <a:lnTo>
                      <a:pt x="27" y="416"/>
                    </a:lnTo>
                    <a:lnTo>
                      <a:pt x="40" y="418"/>
                    </a:lnTo>
                    <a:lnTo>
                      <a:pt x="48" y="420"/>
                    </a:lnTo>
                    <a:lnTo>
                      <a:pt x="54" y="420"/>
                    </a:lnTo>
                    <a:lnTo>
                      <a:pt x="55" y="418"/>
                    </a:lnTo>
                    <a:lnTo>
                      <a:pt x="59" y="416"/>
                    </a:lnTo>
                    <a:lnTo>
                      <a:pt x="61" y="414"/>
                    </a:lnTo>
                    <a:lnTo>
                      <a:pt x="63" y="414"/>
                    </a:lnTo>
                    <a:lnTo>
                      <a:pt x="65" y="416"/>
                    </a:lnTo>
                    <a:lnTo>
                      <a:pt x="67" y="416"/>
                    </a:lnTo>
                    <a:lnTo>
                      <a:pt x="69" y="416"/>
                    </a:lnTo>
                    <a:lnTo>
                      <a:pt x="71" y="414"/>
                    </a:lnTo>
                    <a:lnTo>
                      <a:pt x="74" y="414"/>
                    </a:lnTo>
                    <a:lnTo>
                      <a:pt x="78" y="414"/>
                    </a:lnTo>
                    <a:lnTo>
                      <a:pt x="80" y="413"/>
                    </a:lnTo>
                    <a:lnTo>
                      <a:pt x="80" y="411"/>
                    </a:lnTo>
                    <a:lnTo>
                      <a:pt x="82" y="409"/>
                    </a:lnTo>
                    <a:lnTo>
                      <a:pt x="84" y="409"/>
                    </a:lnTo>
                    <a:lnTo>
                      <a:pt x="84" y="409"/>
                    </a:lnTo>
                    <a:lnTo>
                      <a:pt x="84" y="407"/>
                    </a:lnTo>
                    <a:lnTo>
                      <a:pt x="86" y="407"/>
                    </a:lnTo>
                    <a:lnTo>
                      <a:pt x="88" y="403"/>
                    </a:lnTo>
                    <a:lnTo>
                      <a:pt x="88" y="401"/>
                    </a:lnTo>
                    <a:lnTo>
                      <a:pt x="88" y="401"/>
                    </a:lnTo>
                    <a:lnTo>
                      <a:pt x="90" y="401"/>
                    </a:lnTo>
                    <a:lnTo>
                      <a:pt x="92" y="403"/>
                    </a:lnTo>
                    <a:lnTo>
                      <a:pt x="95" y="413"/>
                    </a:lnTo>
                    <a:lnTo>
                      <a:pt x="97" y="420"/>
                    </a:lnTo>
                    <a:lnTo>
                      <a:pt x="99" y="422"/>
                    </a:lnTo>
                    <a:lnTo>
                      <a:pt x="101" y="424"/>
                    </a:lnTo>
                    <a:lnTo>
                      <a:pt x="101" y="424"/>
                    </a:lnTo>
                    <a:lnTo>
                      <a:pt x="103" y="424"/>
                    </a:lnTo>
                    <a:lnTo>
                      <a:pt x="103" y="424"/>
                    </a:lnTo>
                    <a:lnTo>
                      <a:pt x="105" y="422"/>
                    </a:lnTo>
                    <a:lnTo>
                      <a:pt x="105" y="422"/>
                    </a:lnTo>
                    <a:lnTo>
                      <a:pt x="105" y="420"/>
                    </a:lnTo>
                    <a:lnTo>
                      <a:pt x="105" y="420"/>
                    </a:lnTo>
                    <a:lnTo>
                      <a:pt x="105" y="418"/>
                    </a:lnTo>
                    <a:lnTo>
                      <a:pt x="107" y="418"/>
                    </a:lnTo>
                    <a:lnTo>
                      <a:pt x="107" y="420"/>
                    </a:lnTo>
                    <a:lnTo>
                      <a:pt x="107" y="420"/>
                    </a:lnTo>
                    <a:lnTo>
                      <a:pt x="107" y="422"/>
                    </a:lnTo>
                    <a:lnTo>
                      <a:pt x="107" y="424"/>
                    </a:lnTo>
                    <a:lnTo>
                      <a:pt x="109" y="424"/>
                    </a:lnTo>
                    <a:lnTo>
                      <a:pt x="109" y="424"/>
                    </a:lnTo>
                    <a:lnTo>
                      <a:pt x="111" y="424"/>
                    </a:lnTo>
                    <a:lnTo>
                      <a:pt x="111" y="422"/>
                    </a:lnTo>
                    <a:lnTo>
                      <a:pt x="111" y="418"/>
                    </a:lnTo>
                    <a:lnTo>
                      <a:pt x="111" y="418"/>
                    </a:lnTo>
                    <a:lnTo>
                      <a:pt x="111" y="418"/>
                    </a:lnTo>
                    <a:lnTo>
                      <a:pt x="113" y="418"/>
                    </a:lnTo>
                    <a:lnTo>
                      <a:pt x="115" y="418"/>
                    </a:lnTo>
                    <a:lnTo>
                      <a:pt x="115" y="418"/>
                    </a:lnTo>
                    <a:lnTo>
                      <a:pt x="116" y="416"/>
                    </a:lnTo>
                    <a:lnTo>
                      <a:pt x="116" y="416"/>
                    </a:lnTo>
                    <a:lnTo>
                      <a:pt x="116" y="416"/>
                    </a:lnTo>
                    <a:lnTo>
                      <a:pt x="118" y="418"/>
                    </a:lnTo>
                    <a:lnTo>
                      <a:pt x="118" y="418"/>
                    </a:lnTo>
                    <a:lnTo>
                      <a:pt x="120" y="418"/>
                    </a:lnTo>
                    <a:lnTo>
                      <a:pt x="122" y="416"/>
                    </a:lnTo>
                    <a:lnTo>
                      <a:pt x="122" y="416"/>
                    </a:lnTo>
                    <a:lnTo>
                      <a:pt x="124" y="416"/>
                    </a:lnTo>
                    <a:lnTo>
                      <a:pt x="124" y="418"/>
                    </a:lnTo>
                    <a:lnTo>
                      <a:pt x="126" y="420"/>
                    </a:lnTo>
                    <a:lnTo>
                      <a:pt x="126" y="424"/>
                    </a:lnTo>
                    <a:lnTo>
                      <a:pt x="126" y="426"/>
                    </a:lnTo>
                    <a:lnTo>
                      <a:pt x="124" y="428"/>
                    </a:lnTo>
                    <a:lnTo>
                      <a:pt x="124" y="428"/>
                    </a:lnTo>
                    <a:lnTo>
                      <a:pt x="128" y="432"/>
                    </a:lnTo>
                    <a:lnTo>
                      <a:pt x="130" y="433"/>
                    </a:lnTo>
                    <a:lnTo>
                      <a:pt x="132" y="435"/>
                    </a:lnTo>
                    <a:lnTo>
                      <a:pt x="134" y="437"/>
                    </a:lnTo>
                    <a:lnTo>
                      <a:pt x="137" y="439"/>
                    </a:lnTo>
                    <a:lnTo>
                      <a:pt x="139" y="441"/>
                    </a:lnTo>
                    <a:lnTo>
                      <a:pt x="141" y="443"/>
                    </a:lnTo>
                    <a:lnTo>
                      <a:pt x="141" y="445"/>
                    </a:lnTo>
                    <a:lnTo>
                      <a:pt x="143" y="445"/>
                    </a:lnTo>
                    <a:lnTo>
                      <a:pt x="145" y="447"/>
                    </a:lnTo>
                    <a:lnTo>
                      <a:pt x="147" y="447"/>
                    </a:lnTo>
                    <a:lnTo>
                      <a:pt x="147" y="449"/>
                    </a:lnTo>
                    <a:lnTo>
                      <a:pt x="149" y="447"/>
                    </a:lnTo>
                    <a:lnTo>
                      <a:pt x="151" y="447"/>
                    </a:lnTo>
                    <a:lnTo>
                      <a:pt x="153" y="445"/>
                    </a:lnTo>
                    <a:lnTo>
                      <a:pt x="153" y="443"/>
                    </a:lnTo>
                    <a:lnTo>
                      <a:pt x="155" y="443"/>
                    </a:lnTo>
                    <a:lnTo>
                      <a:pt x="155" y="441"/>
                    </a:lnTo>
                    <a:lnTo>
                      <a:pt x="156" y="437"/>
                    </a:lnTo>
                    <a:lnTo>
                      <a:pt x="158" y="437"/>
                    </a:lnTo>
                    <a:lnTo>
                      <a:pt x="158" y="435"/>
                    </a:lnTo>
                    <a:lnTo>
                      <a:pt x="158" y="435"/>
                    </a:lnTo>
                    <a:lnTo>
                      <a:pt x="160" y="435"/>
                    </a:lnTo>
                    <a:lnTo>
                      <a:pt x="160" y="435"/>
                    </a:lnTo>
                    <a:lnTo>
                      <a:pt x="162" y="437"/>
                    </a:lnTo>
                    <a:lnTo>
                      <a:pt x="164" y="437"/>
                    </a:lnTo>
                    <a:lnTo>
                      <a:pt x="166" y="437"/>
                    </a:lnTo>
                    <a:lnTo>
                      <a:pt x="168" y="437"/>
                    </a:lnTo>
                    <a:lnTo>
                      <a:pt x="168" y="437"/>
                    </a:lnTo>
                    <a:lnTo>
                      <a:pt x="170" y="433"/>
                    </a:lnTo>
                    <a:lnTo>
                      <a:pt x="172" y="430"/>
                    </a:lnTo>
                    <a:lnTo>
                      <a:pt x="174" y="428"/>
                    </a:lnTo>
                    <a:lnTo>
                      <a:pt x="179" y="426"/>
                    </a:lnTo>
                    <a:lnTo>
                      <a:pt x="181" y="424"/>
                    </a:lnTo>
                    <a:lnTo>
                      <a:pt x="183" y="422"/>
                    </a:lnTo>
                    <a:lnTo>
                      <a:pt x="185" y="422"/>
                    </a:lnTo>
                    <a:lnTo>
                      <a:pt x="185" y="420"/>
                    </a:lnTo>
                    <a:lnTo>
                      <a:pt x="187" y="422"/>
                    </a:lnTo>
                    <a:lnTo>
                      <a:pt x="189" y="422"/>
                    </a:lnTo>
                    <a:lnTo>
                      <a:pt x="191" y="430"/>
                    </a:lnTo>
                    <a:lnTo>
                      <a:pt x="191" y="430"/>
                    </a:lnTo>
                    <a:lnTo>
                      <a:pt x="193" y="430"/>
                    </a:lnTo>
                    <a:lnTo>
                      <a:pt x="195" y="430"/>
                    </a:lnTo>
                    <a:lnTo>
                      <a:pt x="195" y="430"/>
                    </a:lnTo>
                    <a:lnTo>
                      <a:pt x="197" y="432"/>
                    </a:lnTo>
                    <a:lnTo>
                      <a:pt x="197" y="437"/>
                    </a:lnTo>
                    <a:lnTo>
                      <a:pt x="198" y="439"/>
                    </a:lnTo>
                    <a:lnTo>
                      <a:pt x="200" y="441"/>
                    </a:lnTo>
                    <a:lnTo>
                      <a:pt x="206" y="441"/>
                    </a:lnTo>
                    <a:lnTo>
                      <a:pt x="208" y="441"/>
                    </a:lnTo>
                    <a:lnTo>
                      <a:pt x="210" y="439"/>
                    </a:lnTo>
                    <a:lnTo>
                      <a:pt x="214" y="437"/>
                    </a:lnTo>
                    <a:lnTo>
                      <a:pt x="221" y="435"/>
                    </a:lnTo>
                    <a:lnTo>
                      <a:pt x="221" y="435"/>
                    </a:lnTo>
                    <a:lnTo>
                      <a:pt x="221" y="437"/>
                    </a:lnTo>
                    <a:lnTo>
                      <a:pt x="221" y="439"/>
                    </a:lnTo>
                    <a:lnTo>
                      <a:pt x="221" y="441"/>
                    </a:lnTo>
                    <a:lnTo>
                      <a:pt x="221" y="443"/>
                    </a:lnTo>
                    <a:lnTo>
                      <a:pt x="223" y="441"/>
                    </a:lnTo>
                    <a:lnTo>
                      <a:pt x="227" y="437"/>
                    </a:lnTo>
                    <a:lnTo>
                      <a:pt x="229" y="435"/>
                    </a:lnTo>
                    <a:lnTo>
                      <a:pt x="231" y="435"/>
                    </a:lnTo>
                    <a:lnTo>
                      <a:pt x="231" y="433"/>
                    </a:lnTo>
                    <a:lnTo>
                      <a:pt x="231" y="433"/>
                    </a:lnTo>
                    <a:lnTo>
                      <a:pt x="231" y="432"/>
                    </a:lnTo>
                    <a:lnTo>
                      <a:pt x="233" y="430"/>
                    </a:lnTo>
                    <a:lnTo>
                      <a:pt x="244" y="426"/>
                    </a:lnTo>
                    <a:lnTo>
                      <a:pt x="244" y="426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46" y="422"/>
                    </a:lnTo>
                    <a:lnTo>
                      <a:pt x="248" y="422"/>
                    </a:lnTo>
                    <a:lnTo>
                      <a:pt x="258" y="420"/>
                    </a:lnTo>
                    <a:lnTo>
                      <a:pt x="259" y="420"/>
                    </a:lnTo>
                    <a:lnTo>
                      <a:pt x="265" y="420"/>
                    </a:lnTo>
                    <a:lnTo>
                      <a:pt x="269" y="420"/>
                    </a:lnTo>
                    <a:lnTo>
                      <a:pt x="271" y="420"/>
                    </a:lnTo>
                    <a:lnTo>
                      <a:pt x="273" y="420"/>
                    </a:lnTo>
                    <a:lnTo>
                      <a:pt x="275" y="420"/>
                    </a:lnTo>
                    <a:lnTo>
                      <a:pt x="277" y="420"/>
                    </a:lnTo>
                    <a:lnTo>
                      <a:pt x="277" y="420"/>
                    </a:lnTo>
                    <a:lnTo>
                      <a:pt x="280" y="416"/>
                    </a:lnTo>
                    <a:lnTo>
                      <a:pt x="280" y="416"/>
                    </a:lnTo>
                    <a:lnTo>
                      <a:pt x="282" y="414"/>
                    </a:lnTo>
                    <a:lnTo>
                      <a:pt x="282" y="414"/>
                    </a:lnTo>
                    <a:lnTo>
                      <a:pt x="284" y="413"/>
                    </a:lnTo>
                    <a:lnTo>
                      <a:pt x="284" y="413"/>
                    </a:lnTo>
                    <a:lnTo>
                      <a:pt x="286" y="413"/>
                    </a:lnTo>
                    <a:lnTo>
                      <a:pt x="288" y="414"/>
                    </a:lnTo>
                    <a:lnTo>
                      <a:pt x="292" y="414"/>
                    </a:lnTo>
                    <a:lnTo>
                      <a:pt x="294" y="413"/>
                    </a:lnTo>
                    <a:lnTo>
                      <a:pt x="294" y="411"/>
                    </a:lnTo>
                    <a:lnTo>
                      <a:pt x="294" y="407"/>
                    </a:lnTo>
                    <a:lnTo>
                      <a:pt x="294" y="405"/>
                    </a:lnTo>
                    <a:lnTo>
                      <a:pt x="294" y="403"/>
                    </a:lnTo>
                    <a:lnTo>
                      <a:pt x="292" y="401"/>
                    </a:lnTo>
                    <a:lnTo>
                      <a:pt x="292" y="401"/>
                    </a:lnTo>
                    <a:lnTo>
                      <a:pt x="292" y="399"/>
                    </a:lnTo>
                    <a:lnTo>
                      <a:pt x="294" y="399"/>
                    </a:lnTo>
                    <a:lnTo>
                      <a:pt x="296" y="399"/>
                    </a:lnTo>
                    <a:lnTo>
                      <a:pt x="298" y="397"/>
                    </a:lnTo>
                    <a:lnTo>
                      <a:pt x="298" y="395"/>
                    </a:lnTo>
                    <a:lnTo>
                      <a:pt x="298" y="392"/>
                    </a:lnTo>
                    <a:lnTo>
                      <a:pt x="300" y="390"/>
                    </a:lnTo>
                    <a:lnTo>
                      <a:pt x="300" y="388"/>
                    </a:lnTo>
                    <a:lnTo>
                      <a:pt x="301" y="386"/>
                    </a:lnTo>
                    <a:lnTo>
                      <a:pt x="303" y="384"/>
                    </a:lnTo>
                    <a:lnTo>
                      <a:pt x="305" y="384"/>
                    </a:lnTo>
                    <a:lnTo>
                      <a:pt x="315" y="384"/>
                    </a:lnTo>
                    <a:lnTo>
                      <a:pt x="317" y="384"/>
                    </a:lnTo>
                    <a:lnTo>
                      <a:pt x="319" y="386"/>
                    </a:lnTo>
                    <a:lnTo>
                      <a:pt x="324" y="393"/>
                    </a:lnTo>
                    <a:lnTo>
                      <a:pt x="332" y="393"/>
                    </a:lnTo>
                    <a:lnTo>
                      <a:pt x="336" y="390"/>
                    </a:lnTo>
                    <a:lnTo>
                      <a:pt x="340" y="388"/>
                    </a:lnTo>
                    <a:lnTo>
                      <a:pt x="341" y="386"/>
                    </a:lnTo>
                    <a:lnTo>
                      <a:pt x="341" y="388"/>
                    </a:lnTo>
                    <a:lnTo>
                      <a:pt x="341" y="388"/>
                    </a:lnTo>
                    <a:lnTo>
                      <a:pt x="341" y="390"/>
                    </a:lnTo>
                    <a:lnTo>
                      <a:pt x="340" y="392"/>
                    </a:lnTo>
                    <a:lnTo>
                      <a:pt x="341" y="392"/>
                    </a:lnTo>
                    <a:lnTo>
                      <a:pt x="343" y="392"/>
                    </a:lnTo>
                    <a:lnTo>
                      <a:pt x="345" y="392"/>
                    </a:lnTo>
                    <a:lnTo>
                      <a:pt x="347" y="393"/>
                    </a:lnTo>
                    <a:lnTo>
                      <a:pt x="349" y="393"/>
                    </a:lnTo>
                    <a:lnTo>
                      <a:pt x="349" y="397"/>
                    </a:lnTo>
                    <a:lnTo>
                      <a:pt x="351" y="407"/>
                    </a:lnTo>
                    <a:lnTo>
                      <a:pt x="353" y="409"/>
                    </a:lnTo>
                    <a:lnTo>
                      <a:pt x="353" y="411"/>
                    </a:lnTo>
                    <a:lnTo>
                      <a:pt x="355" y="413"/>
                    </a:lnTo>
                    <a:lnTo>
                      <a:pt x="359" y="413"/>
                    </a:lnTo>
                    <a:lnTo>
                      <a:pt x="361" y="413"/>
                    </a:lnTo>
                    <a:lnTo>
                      <a:pt x="362" y="411"/>
                    </a:lnTo>
                    <a:lnTo>
                      <a:pt x="364" y="411"/>
                    </a:lnTo>
                    <a:lnTo>
                      <a:pt x="370" y="413"/>
                    </a:lnTo>
                    <a:lnTo>
                      <a:pt x="372" y="413"/>
                    </a:lnTo>
                    <a:lnTo>
                      <a:pt x="374" y="414"/>
                    </a:lnTo>
                    <a:lnTo>
                      <a:pt x="374" y="416"/>
                    </a:lnTo>
                    <a:lnTo>
                      <a:pt x="374" y="420"/>
                    </a:lnTo>
                    <a:lnTo>
                      <a:pt x="374" y="422"/>
                    </a:lnTo>
                    <a:lnTo>
                      <a:pt x="374" y="424"/>
                    </a:lnTo>
                    <a:lnTo>
                      <a:pt x="370" y="428"/>
                    </a:lnTo>
                    <a:lnTo>
                      <a:pt x="370" y="428"/>
                    </a:lnTo>
                    <a:lnTo>
                      <a:pt x="370" y="430"/>
                    </a:lnTo>
                    <a:lnTo>
                      <a:pt x="382" y="435"/>
                    </a:lnTo>
                    <a:lnTo>
                      <a:pt x="389" y="441"/>
                    </a:lnTo>
                    <a:lnTo>
                      <a:pt x="391" y="443"/>
                    </a:lnTo>
                    <a:lnTo>
                      <a:pt x="393" y="443"/>
                    </a:lnTo>
                    <a:lnTo>
                      <a:pt x="393" y="441"/>
                    </a:lnTo>
                    <a:lnTo>
                      <a:pt x="395" y="439"/>
                    </a:lnTo>
                    <a:lnTo>
                      <a:pt x="395" y="437"/>
                    </a:lnTo>
                    <a:lnTo>
                      <a:pt x="395" y="437"/>
                    </a:lnTo>
                    <a:lnTo>
                      <a:pt x="395" y="435"/>
                    </a:lnTo>
                    <a:lnTo>
                      <a:pt x="395" y="433"/>
                    </a:lnTo>
                    <a:lnTo>
                      <a:pt x="397" y="433"/>
                    </a:lnTo>
                    <a:lnTo>
                      <a:pt x="397" y="433"/>
                    </a:lnTo>
                    <a:lnTo>
                      <a:pt x="397" y="428"/>
                    </a:lnTo>
                    <a:lnTo>
                      <a:pt x="399" y="424"/>
                    </a:lnTo>
                    <a:lnTo>
                      <a:pt x="399" y="422"/>
                    </a:lnTo>
                    <a:lnTo>
                      <a:pt x="404" y="418"/>
                    </a:lnTo>
                    <a:lnTo>
                      <a:pt x="410" y="413"/>
                    </a:lnTo>
                    <a:lnTo>
                      <a:pt x="412" y="413"/>
                    </a:lnTo>
                    <a:lnTo>
                      <a:pt x="416" y="413"/>
                    </a:lnTo>
                    <a:lnTo>
                      <a:pt x="418" y="414"/>
                    </a:lnTo>
                    <a:lnTo>
                      <a:pt x="420" y="414"/>
                    </a:lnTo>
                    <a:lnTo>
                      <a:pt x="423" y="414"/>
                    </a:lnTo>
                    <a:lnTo>
                      <a:pt x="425" y="414"/>
                    </a:lnTo>
                    <a:lnTo>
                      <a:pt x="427" y="413"/>
                    </a:lnTo>
                    <a:lnTo>
                      <a:pt x="429" y="409"/>
                    </a:lnTo>
                    <a:lnTo>
                      <a:pt x="429" y="409"/>
                    </a:lnTo>
                    <a:lnTo>
                      <a:pt x="431" y="409"/>
                    </a:lnTo>
                    <a:lnTo>
                      <a:pt x="433" y="409"/>
                    </a:lnTo>
                    <a:lnTo>
                      <a:pt x="435" y="411"/>
                    </a:lnTo>
                    <a:lnTo>
                      <a:pt x="439" y="413"/>
                    </a:lnTo>
                    <a:lnTo>
                      <a:pt x="448" y="416"/>
                    </a:lnTo>
                    <a:lnTo>
                      <a:pt x="448" y="416"/>
                    </a:lnTo>
                    <a:lnTo>
                      <a:pt x="448" y="413"/>
                    </a:lnTo>
                    <a:lnTo>
                      <a:pt x="448" y="413"/>
                    </a:lnTo>
                    <a:lnTo>
                      <a:pt x="450" y="411"/>
                    </a:lnTo>
                    <a:lnTo>
                      <a:pt x="452" y="407"/>
                    </a:lnTo>
                    <a:lnTo>
                      <a:pt x="452" y="405"/>
                    </a:lnTo>
                    <a:lnTo>
                      <a:pt x="452" y="405"/>
                    </a:lnTo>
                    <a:lnTo>
                      <a:pt x="458" y="407"/>
                    </a:lnTo>
                    <a:lnTo>
                      <a:pt x="464" y="409"/>
                    </a:lnTo>
                    <a:lnTo>
                      <a:pt x="465" y="409"/>
                    </a:lnTo>
                    <a:lnTo>
                      <a:pt x="467" y="409"/>
                    </a:lnTo>
                    <a:lnTo>
                      <a:pt x="467" y="407"/>
                    </a:lnTo>
                    <a:lnTo>
                      <a:pt x="469" y="405"/>
                    </a:lnTo>
                    <a:lnTo>
                      <a:pt x="469" y="403"/>
                    </a:lnTo>
                    <a:lnTo>
                      <a:pt x="471" y="397"/>
                    </a:lnTo>
                    <a:lnTo>
                      <a:pt x="469" y="393"/>
                    </a:lnTo>
                    <a:lnTo>
                      <a:pt x="471" y="386"/>
                    </a:lnTo>
                    <a:lnTo>
                      <a:pt x="471" y="384"/>
                    </a:lnTo>
                    <a:lnTo>
                      <a:pt x="471" y="384"/>
                    </a:lnTo>
                    <a:lnTo>
                      <a:pt x="471" y="382"/>
                    </a:lnTo>
                    <a:lnTo>
                      <a:pt x="471" y="382"/>
                    </a:lnTo>
                    <a:lnTo>
                      <a:pt x="471" y="380"/>
                    </a:lnTo>
                    <a:lnTo>
                      <a:pt x="473" y="380"/>
                    </a:lnTo>
                    <a:lnTo>
                      <a:pt x="475" y="376"/>
                    </a:lnTo>
                    <a:lnTo>
                      <a:pt x="475" y="374"/>
                    </a:lnTo>
                    <a:lnTo>
                      <a:pt x="477" y="373"/>
                    </a:lnTo>
                    <a:lnTo>
                      <a:pt x="477" y="371"/>
                    </a:lnTo>
                    <a:lnTo>
                      <a:pt x="477" y="355"/>
                    </a:lnTo>
                    <a:lnTo>
                      <a:pt x="477" y="354"/>
                    </a:lnTo>
                    <a:lnTo>
                      <a:pt x="479" y="352"/>
                    </a:lnTo>
                    <a:lnTo>
                      <a:pt x="481" y="348"/>
                    </a:lnTo>
                    <a:lnTo>
                      <a:pt x="484" y="344"/>
                    </a:lnTo>
                    <a:lnTo>
                      <a:pt x="484" y="342"/>
                    </a:lnTo>
                    <a:lnTo>
                      <a:pt x="488" y="342"/>
                    </a:lnTo>
                    <a:lnTo>
                      <a:pt x="490" y="342"/>
                    </a:lnTo>
                    <a:lnTo>
                      <a:pt x="494" y="342"/>
                    </a:lnTo>
                    <a:lnTo>
                      <a:pt x="494" y="342"/>
                    </a:lnTo>
                    <a:lnTo>
                      <a:pt x="496" y="342"/>
                    </a:lnTo>
                    <a:lnTo>
                      <a:pt x="498" y="333"/>
                    </a:lnTo>
                    <a:lnTo>
                      <a:pt x="498" y="331"/>
                    </a:lnTo>
                    <a:lnTo>
                      <a:pt x="498" y="327"/>
                    </a:lnTo>
                    <a:lnTo>
                      <a:pt x="500" y="327"/>
                    </a:lnTo>
                    <a:lnTo>
                      <a:pt x="502" y="325"/>
                    </a:lnTo>
                    <a:lnTo>
                      <a:pt x="504" y="325"/>
                    </a:lnTo>
                    <a:lnTo>
                      <a:pt x="505" y="325"/>
                    </a:lnTo>
                    <a:lnTo>
                      <a:pt x="505" y="325"/>
                    </a:lnTo>
                    <a:lnTo>
                      <a:pt x="505" y="325"/>
                    </a:lnTo>
                    <a:lnTo>
                      <a:pt x="507" y="325"/>
                    </a:lnTo>
                    <a:lnTo>
                      <a:pt x="509" y="325"/>
                    </a:lnTo>
                    <a:lnTo>
                      <a:pt x="511" y="327"/>
                    </a:lnTo>
                    <a:lnTo>
                      <a:pt x="513" y="327"/>
                    </a:lnTo>
                    <a:lnTo>
                      <a:pt x="515" y="325"/>
                    </a:lnTo>
                    <a:lnTo>
                      <a:pt x="515" y="323"/>
                    </a:lnTo>
                    <a:lnTo>
                      <a:pt x="517" y="319"/>
                    </a:lnTo>
                    <a:lnTo>
                      <a:pt x="517" y="319"/>
                    </a:lnTo>
                    <a:lnTo>
                      <a:pt x="519" y="317"/>
                    </a:lnTo>
                    <a:lnTo>
                      <a:pt x="519" y="317"/>
                    </a:lnTo>
                    <a:lnTo>
                      <a:pt x="519" y="315"/>
                    </a:lnTo>
                    <a:lnTo>
                      <a:pt x="521" y="312"/>
                    </a:lnTo>
                    <a:lnTo>
                      <a:pt x="526" y="308"/>
                    </a:lnTo>
                    <a:lnTo>
                      <a:pt x="528" y="306"/>
                    </a:lnTo>
                    <a:lnTo>
                      <a:pt x="528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32" y="308"/>
                    </a:lnTo>
                    <a:lnTo>
                      <a:pt x="534" y="310"/>
                    </a:lnTo>
                    <a:lnTo>
                      <a:pt x="534" y="312"/>
                    </a:lnTo>
                    <a:lnTo>
                      <a:pt x="536" y="314"/>
                    </a:lnTo>
                    <a:lnTo>
                      <a:pt x="536" y="315"/>
                    </a:lnTo>
                    <a:lnTo>
                      <a:pt x="544" y="315"/>
                    </a:lnTo>
                    <a:lnTo>
                      <a:pt x="547" y="317"/>
                    </a:lnTo>
                    <a:lnTo>
                      <a:pt x="553" y="317"/>
                    </a:lnTo>
                    <a:lnTo>
                      <a:pt x="555" y="317"/>
                    </a:lnTo>
                    <a:lnTo>
                      <a:pt x="557" y="317"/>
                    </a:lnTo>
                    <a:lnTo>
                      <a:pt x="559" y="319"/>
                    </a:lnTo>
                    <a:lnTo>
                      <a:pt x="559" y="319"/>
                    </a:lnTo>
                    <a:lnTo>
                      <a:pt x="561" y="321"/>
                    </a:lnTo>
                    <a:lnTo>
                      <a:pt x="565" y="317"/>
                    </a:lnTo>
                    <a:lnTo>
                      <a:pt x="566" y="314"/>
                    </a:lnTo>
                    <a:lnTo>
                      <a:pt x="566" y="312"/>
                    </a:lnTo>
                    <a:lnTo>
                      <a:pt x="566" y="310"/>
                    </a:lnTo>
                    <a:lnTo>
                      <a:pt x="565" y="308"/>
                    </a:lnTo>
                    <a:lnTo>
                      <a:pt x="565" y="304"/>
                    </a:lnTo>
                    <a:lnTo>
                      <a:pt x="565" y="304"/>
                    </a:lnTo>
                    <a:lnTo>
                      <a:pt x="563" y="302"/>
                    </a:lnTo>
                    <a:lnTo>
                      <a:pt x="563" y="300"/>
                    </a:lnTo>
                    <a:lnTo>
                      <a:pt x="561" y="300"/>
                    </a:lnTo>
                    <a:lnTo>
                      <a:pt x="561" y="300"/>
                    </a:lnTo>
                    <a:lnTo>
                      <a:pt x="561" y="300"/>
                    </a:lnTo>
                    <a:lnTo>
                      <a:pt x="561" y="300"/>
                    </a:lnTo>
                    <a:lnTo>
                      <a:pt x="559" y="300"/>
                    </a:lnTo>
                    <a:lnTo>
                      <a:pt x="559" y="300"/>
                    </a:lnTo>
                    <a:lnTo>
                      <a:pt x="559" y="300"/>
                    </a:lnTo>
                    <a:lnTo>
                      <a:pt x="559" y="300"/>
                    </a:lnTo>
                    <a:lnTo>
                      <a:pt x="559" y="298"/>
                    </a:lnTo>
                    <a:lnTo>
                      <a:pt x="557" y="298"/>
                    </a:lnTo>
                    <a:lnTo>
                      <a:pt x="557" y="298"/>
                    </a:lnTo>
                    <a:lnTo>
                      <a:pt x="557" y="296"/>
                    </a:lnTo>
                    <a:lnTo>
                      <a:pt x="555" y="296"/>
                    </a:lnTo>
                    <a:lnTo>
                      <a:pt x="555" y="296"/>
                    </a:lnTo>
                    <a:lnTo>
                      <a:pt x="555" y="296"/>
                    </a:lnTo>
                    <a:lnTo>
                      <a:pt x="555" y="295"/>
                    </a:lnTo>
                    <a:lnTo>
                      <a:pt x="555" y="295"/>
                    </a:lnTo>
                    <a:lnTo>
                      <a:pt x="557" y="295"/>
                    </a:lnTo>
                    <a:lnTo>
                      <a:pt x="557" y="293"/>
                    </a:lnTo>
                    <a:lnTo>
                      <a:pt x="559" y="293"/>
                    </a:lnTo>
                    <a:lnTo>
                      <a:pt x="559" y="293"/>
                    </a:lnTo>
                    <a:lnTo>
                      <a:pt x="559" y="291"/>
                    </a:lnTo>
                    <a:lnTo>
                      <a:pt x="559" y="291"/>
                    </a:lnTo>
                    <a:lnTo>
                      <a:pt x="561" y="291"/>
                    </a:lnTo>
                    <a:lnTo>
                      <a:pt x="565" y="289"/>
                    </a:lnTo>
                    <a:lnTo>
                      <a:pt x="568" y="287"/>
                    </a:lnTo>
                    <a:lnTo>
                      <a:pt x="570" y="285"/>
                    </a:lnTo>
                    <a:lnTo>
                      <a:pt x="570" y="285"/>
                    </a:lnTo>
                    <a:lnTo>
                      <a:pt x="572" y="283"/>
                    </a:lnTo>
                    <a:lnTo>
                      <a:pt x="572" y="283"/>
                    </a:lnTo>
                    <a:lnTo>
                      <a:pt x="572" y="283"/>
                    </a:lnTo>
                    <a:lnTo>
                      <a:pt x="572" y="283"/>
                    </a:lnTo>
                    <a:lnTo>
                      <a:pt x="572" y="281"/>
                    </a:lnTo>
                    <a:lnTo>
                      <a:pt x="578" y="281"/>
                    </a:lnTo>
                    <a:lnTo>
                      <a:pt x="580" y="279"/>
                    </a:lnTo>
                    <a:lnTo>
                      <a:pt x="582" y="277"/>
                    </a:lnTo>
                    <a:lnTo>
                      <a:pt x="584" y="279"/>
                    </a:lnTo>
                    <a:lnTo>
                      <a:pt x="586" y="279"/>
                    </a:lnTo>
                    <a:lnTo>
                      <a:pt x="586" y="281"/>
                    </a:lnTo>
                    <a:lnTo>
                      <a:pt x="586" y="281"/>
                    </a:lnTo>
                    <a:lnTo>
                      <a:pt x="587" y="283"/>
                    </a:lnTo>
                    <a:lnTo>
                      <a:pt x="595" y="283"/>
                    </a:lnTo>
                    <a:lnTo>
                      <a:pt x="595" y="281"/>
                    </a:lnTo>
                    <a:lnTo>
                      <a:pt x="595" y="279"/>
                    </a:lnTo>
                    <a:lnTo>
                      <a:pt x="595" y="279"/>
                    </a:lnTo>
                    <a:lnTo>
                      <a:pt x="595" y="277"/>
                    </a:lnTo>
                    <a:lnTo>
                      <a:pt x="593" y="277"/>
                    </a:lnTo>
                    <a:lnTo>
                      <a:pt x="593" y="277"/>
                    </a:lnTo>
                    <a:lnTo>
                      <a:pt x="593" y="276"/>
                    </a:lnTo>
                    <a:lnTo>
                      <a:pt x="593" y="274"/>
                    </a:lnTo>
                    <a:lnTo>
                      <a:pt x="593" y="270"/>
                    </a:lnTo>
                    <a:lnTo>
                      <a:pt x="595" y="266"/>
                    </a:lnTo>
                    <a:lnTo>
                      <a:pt x="595" y="266"/>
                    </a:lnTo>
                    <a:lnTo>
                      <a:pt x="595" y="264"/>
                    </a:lnTo>
                    <a:lnTo>
                      <a:pt x="593" y="262"/>
                    </a:lnTo>
                    <a:lnTo>
                      <a:pt x="593" y="258"/>
                    </a:lnTo>
                    <a:lnTo>
                      <a:pt x="593" y="258"/>
                    </a:lnTo>
                    <a:lnTo>
                      <a:pt x="591" y="256"/>
                    </a:lnTo>
                    <a:lnTo>
                      <a:pt x="587" y="253"/>
                    </a:lnTo>
                    <a:lnTo>
                      <a:pt x="580" y="249"/>
                    </a:lnTo>
                    <a:lnTo>
                      <a:pt x="578" y="247"/>
                    </a:lnTo>
                    <a:lnTo>
                      <a:pt x="576" y="245"/>
                    </a:lnTo>
                    <a:lnTo>
                      <a:pt x="576" y="245"/>
                    </a:lnTo>
                    <a:lnTo>
                      <a:pt x="574" y="243"/>
                    </a:lnTo>
                    <a:lnTo>
                      <a:pt x="574" y="239"/>
                    </a:lnTo>
                    <a:lnTo>
                      <a:pt x="572" y="239"/>
                    </a:lnTo>
                    <a:lnTo>
                      <a:pt x="572" y="237"/>
                    </a:lnTo>
                    <a:lnTo>
                      <a:pt x="572" y="237"/>
                    </a:lnTo>
                    <a:lnTo>
                      <a:pt x="570" y="236"/>
                    </a:lnTo>
                    <a:lnTo>
                      <a:pt x="568" y="234"/>
                    </a:lnTo>
                    <a:lnTo>
                      <a:pt x="565" y="232"/>
                    </a:lnTo>
                    <a:lnTo>
                      <a:pt x="563" y="230"/>
                    </a:lnTo>
                    <a:lnTo>
                      <a:pt x="563" y="230"/>
                    </a:lnTo>
                    <a:lnTo>
                      <a:pt x="563" y="230"/>
                    </a:lnTo>
                    <a:lnTo>
                      <a:pt x="563" y="228"/>
                    </a:lnTo>
                    <a:lnTo>
                      <a:pt x="561" y="228"/>
                    </a:lnTo>
                    <a:lnTo>
                      <a:pt x="561" y="228"/>
                    </a:lnTo>
                    <a:lnTo>
                      <a:pt x="561" y="226"/>
                    </a:lnTo>
                    <a:lnTo>
                      <a:pt x="561" y="226"/>
                    </a:lnTo>
                    <a:lnTo>
                      <a:pt x="561" y="226"/>
                    </a:lnTo>
                    <a:lnTo>
                      <a:pt x="561" y="224"/>
                    </a:lnTo>
                    <a:lnTo>
                      <a:pt x="561" y="224"/>
                    </a:lnTo>
                    <a:lnTo>
                      <a:pt x="563" y="224"/>
                    </a:lnTo>
                    <a:lnTo>
                      <a:pt x="563" y="222"/>
                    </a:lnTo>
                    <a:lnTo>
                      <a:pt x="565" y="222"/>
                    </a:lnTo>
                    <a:lnTo>
                      <a:pt x="565" y="222"/>
                    </a:lnTo>
                    <a:lnTo>
                      <a:pt x="565" y="218"/>
                    </a:lnTo>
                    <a:lnTo>
                      <a:pt x="566" y="217"/>
                    </a:lnTo>
                    <a:lnTo>
                      <a:pt x="566" y="215"/>
                    </a:lnTo>
                    <a:lnTo>
                      <a:pt x="566" y="213"/>
                    </a:lnTo>
                    <a:lnTo>
                      <a:pt x="566" y="213"/>
                    </a:lnTo>
                    <a:lnTo>
                      <a:pt x="566" y="213"/>
                    </a:lnTo>
                    <a:lnTo>
                      <a:pt x="566" y="211"/>
                    </a:lnTo>
                    <a:lnTo>
                      <a:pt x="566" y="209"/>
                    </a:lnTo>
                    <a:lnTo>
                      <a:pt x="570" y="207"/>
                    </a:lnTo>
                    <a:lnTo>
                      <a:pt x="580" y="199"/>
                    </a:lnTo>
                    <a:lnTo>
                      <a:pt x="584" y="194"/>
                    </a:lnTo>
                    <a:lnTo>
                      <a:pt x="586" y="192"/>
                    </a:lnTo>
                    <a:lnTo>
                      <a:pt x="586" y="192"/>
                    </a:lnTo>
                    <a:lnTo>
                      <a:pt x="586" y="192"/>
                    </a:lnTo>
                    <a:lnTo>
                      <a:pt x="587" y="192"/>
                    </a:lnTo>
                    <a:lnTo>
                      <a:pt x="587" y="192"/>
                    </a:lnTo>
                    <a:lnTo>
                      <a:pt x="589" y="192"/>
                    </a:lnTo>
                    <a:lnTo>
                      <a:pt x="591" y="190"/>
                    </a:lnTo>
                    <a:lnTo>
                      <a:pt x="593" y="188"/>
                    </a:lnTo>
                    <a:lnTo>
                      <a:pt x="595" y="188"/>
                    </a:lnTo>
                    <a:lnTo>
                      <a:pt x="597" y="186"/>
                    </a:lnTo>
                    <a:lnTo>
                      <a:pt x="599" y="184"/>
                    </a:lnTo>
                    <a:lnTo>
                      <a:pt x="603" y="182"/>
                    </a:lnTo>
                    <a:lnTo>
                      <a:pt x="607" y="177"/>
                    </a:lnTo>
                    <a:lnTo>
                      <a:pt x="608" y="175"/>
                    </a:lnTo>
                    <a:lnTo>
                      <a:pt x="610" y="173"/>
                    </a:lnTo>
                    <a:lnTo>
                      <a:pt x="614" y="173"/>
                    </a:lnTo>
                    <a:lnTo>
                      <a:pt x="614" y="171"/>
                    </a:lnTo>
                    <a:lnTo>
                      <a:pt x="618" y="167"/>
                    </a:lnTo>
                    <a:lnTo>
                      <a:pt x="620" y="167"/>
                    </a:lnTo>
                    <a:lnTo>
                      <a:pt x="622" y="167"/>
                    </a:lnTo>
                    <a:lnTo>
                      <a:pt x="624" y="167"/>
                    </a:lnTo>
                    <a:lnTo>
                      <a:pt x="624" y="165"/>
                    </a:lnTo>
                    <a:lnTo>
                      <a:pt x="626" y="165"/>
                    </a:lnTo>
                    <a:lnTo>
                      <a:pt x="626" y="165"/>
                    </a:lnTo>
                    <a:lnTo>
                      <a:pt x="626" y="163"/>
                    </a:lnTo>
                    <a:lnTo>
                      <a:pt x="626" y="163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4" name="Freeform 36">
                <a:extLst>
                  <a:ext uri="{FF2B5EF4-FFF2-40B4-BE49-F238E27FC236}">
                    <a16:creationId xmlns:a16="http://schemas.microsoft.com/office/drawing/2014/main" id="{305F5CAC-1934-4CC0-A2EB-B510D71DED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744" y="3581874"/>
                <a:ext cx="1265238" cy="854075"/>
              </a:xfrm>
              <a:custGeom>
                <a:avLst/>
                <a:gdLst>
                  <a:gd name="T0" fmla="*/ 782 w 797"/>
                  <a:gd name="T1" fmla="*/ 78 h 538"/>
                  <a:gd name="T2" fmla="*/ 771 w 797"/>
                  <a:gd name="T3" fmla="*/ 50 h 538"/>
                  <a:gd name="T4" fmla="*/ 738 w 797"/>
                  <a:gd name="T5" fmla="*/ 13 h 538"/>
                  <a:gd name="T6" fmla="*/ 628 w 797"/>
                  <a:gd name="T7" fmla="*/ 46 h 538"/>
                  <a:gd name="T8" fmla="*/ 576 w 797"/>
                  <a:gd name="T9" fmla="*/ 50 h 538"/>
                  <a:gd name="T10" fmla="*/ 540 w 797"/>
                  <a:gd name="T11" fmla="*/ 97 h 538"/>
                  <a:gd name="T12" fmla="*/ 488 w 797"/>
                  <a:gd name="T13" fmla="*/ 145 h 538"/>
                  <a:gd name="T14" fmla="*/ 397 w 797"/>
                  <a:gd name="T15" fmla="*/ 133 h 538"/>
                  <a:gd name="T16" fmla="*/ 304 w 797"/>
                  <a:gd name="T17" fmla="*/ 150 h 538"/>
                  <a:gd name="T18" fmla="*/ 275 w 797"/>
                  <a:gd name="T19" fmla="*/ 162 h 538"/>
                  <a:gd name="T20" fmla="*/ 218 w 797"/>
                  <a:gd name="T21" fmla="*/ 160 h 538"/>
                  <a:gd name="T22" fmla="*/ 162 w 797"/>
                  <a:gd name="T23" fmla="*/ 171 h 538"/>
                  <a:gd name="T24" fmla="*/ 40 w 797"/>
                  <a:gd name="T25" fmla="*/ 177 h 538"/>
                  <a:gd name="T26" fmla="*/ 23 w 797"/>
                  <a:gd name="T27" fmla="*/ 226 h 538"/>
                  <a:gd name="T28" fmla="*/ 10 w 797"/>
                  <a:gd name="T29" fmla="*/ 245 h 538"/>
                  <a:gd name="T30" fmla="*/ 8 w 797"/>
                  <a:gd name="T31" fmla="*/ 259 h 538"/>
                  <a:gd name="T32" fmla="*/ 19 w 797"/>
                  <a:gd name="T33" fmla="*/ 280 h 538"/>
                  <a:gd name="T34" fmla="*/ 21 w 797"/>
                  <a:gd name="T35" fmla="*/ 341 h 538"/>
                  <a:gd name="T36" fmla="*/ 42 w 797"/>
                  <a:gd name="T37" fmla="*/ 339 h 538"/>
                  <a:gd name="T38" fmla="*/ 40 w 797"/>
                  <a:gd name="T39" fmla="*/ 312 h 538"/>
                  <a:gd name="T40" fmla="*/ 84 w 797"/>
                  <a:gd name="T41" fmla="*/ 282 h 538"/>
                  <a:gd name="T42" fmla="*/ 111 w 797"/>
                  <a:gd name="T43" fmla="*/ 289 h 538"/>
                  <a:gd name="T44" fmla="*/ 124 w 797"/>
                  <a:gd name="T45" fmla="*/ 289 h 538"/>
                  <a:gd name="T46" fmla="*/ 166 w 797"/>
                  <a:gd name="T47" fmla="*/ 287 h 538"/>
                  <a:gd name="T48" fmla="*/ 178 w 797"/>
                  <a:gd name="T49" fmla="*/ 303 h 538"/>
                  <a:gd name="T50" fmla="*/ 212 w 797"/>
                  <a:gd name="T51" fmla="*/ 303 h 538"/>
                  <a:gd name="T52" fmla="*/ 237 w 797"/>
                  <a:gd name="T53" fmla="*/ 285 h 538"/>
                  <a:gd name="T54" fmla="*/ 248 w 797"/>
                  <a:gd name="T55" fmla="*/ 289 h 538"/>
                  <a:gd name="T56" fmla="*/ 283 w 797"/>
                  <a:gd name="T57" fmla="*/ 274 h 538"/>
                  <a:gd name="T58" fmla="*/ 317 w 797"/>
                  <a:gd name="T59" fmla="*/ 284 h 538"/>
                  <a:gd name="T60" fmla="*/ 315 w 797"/>
                  <a:gd name="T61" fmla="*/ 323 h 538"/>
                  <a:gd name="T62" fmla="*/ 359 w 797"/>
                  <a:gd name="T63" fmla="*/ 327 h 538"/>
                  <a:gd name="T64" fmla="*/ 378 w 797"/>
                  <a:gd name="T65" fmla="*/ 339 h 538"/>
                  <a:gd name="T66" fmla="*/ 380 w 797"/>
                  <a:gd name="T67" fmla="*/ 358 h 538"/>
                  <a:gd name="T68" fmla="*/ 393 w 797"/>
                  <a:gd name="T69" fmla="*/ 382 h 538"/>
                  <a:gd name="T70" fmla="*/ 359 w 797"/>
                  <a:gd name="T71" fmla="*/ 402 h 538"/>
                  <a:gd name="T72" fmla="*/ 351 w 797"/>
                  <a:gd name="T73" fmla="*/ 424 h 538"/>
                  <a:gd name="T74" fmla="*/ 340 w 797"/>
                  <a:gd name="T75" fmla="*/ 441 h 538"/>
                  <a:gd name="T76" fmla="*/ 324 w 797"/>
                  <a:gd name="T77" fmla="*/ 447 h 538"/>
                  <a:gd name="T78" fmla="*/ 326 w 797"/>
                  <a:gd name="T79" fmla="*/ 502 h 538"/>
                  <a:gd name="T80" fmla="*/ 345 w 797"/>
                  <a:gd name="T81" fmla="*/ 529 h 538"/>
                  <a:gd name="T82" fmla="*/ 370 w 797"/>
                  <a:gd name="T83" fmla="*/ 523 h 538"/>
                  <a:gd name="T84" fmla="*/ 391 w 797"/>
                  <a:gd name="T85" fmla="*/ 491 h 538"/>
                  <a:gd name="T86" fmla="*/ 431 w 797"/>
                  <a:gd name="T87" fmla="*/ 478 h 538"/>
                  <a:gd name="T88" fmla="*/ 435 w 797"/>
                  <a:gd name="T89" fmla="*/ 443 h 538"/>
                  <a:gd name="T90" fmla="*/ 450 w 797"/>
                  <a:gd name="T91" fmla="*/ 428 h 538"/>
                  <a:gd name="T92" fmla="*/ 454 w 797"/>
                  <a:gd name="T93" fmla="*/ 411 h 538"/>
                  <a:gd name="T94" fmla="*/ 477 w 797"/>
                  <a:gd name="T95" fmla="*/ 369 h 538"/>
                  <a:gd name="T96" fmla="*/ 466 w 797"/>
                  <a:gd name="T97" fmla="*/ 348 h 538"/>
                  <a:gd name="T98" fmla="*/ 506 w 797"/>
                  <a:gd name="T99" fmla="*/ 295 h 538"/>
                  <a:gd name="T100" fmla="*/ 521 w 797"/>
                  <a:gd name="T101" fmla="*/ 295 h 538"/>
                  <a:gd name="T102" fmla="*/ 544 w 797"/>
                  <a:gd name="T103" fmla="*/ 289 h 538"/>
                  <a:gd name="T104" fmla="*/ 546 w 797"/>
                  <a:gd name="T105" fmla="*/ 255 h 538"/>
                  <a:gd name="T106" fmla="*/ 582 w 797"/>
                  <a:gd name="T107" fmla="*/ 211 h 538"/>
                  <a:gd name="T108" fmla="*/ 607 w 797"/>
                  <a:gd name="T109" fmla="*/ 185 h 538"/>
                  <a:gd name="T110" fmla="*/ 658 w 797"/>
                  <a:gd name="T111" fmla="*/ 148 h 538"/>
                  <a:gd name="T112" fmla="*/ 694 w 797"/>
                  <a:gd name="T113" fmla="*/ 133 h 538"/>
                  <a:gd name="T114" fmla="*/ 731 w 797"/>
                  <a:gd name="T115" fmla="*/ 109 h 538"/>
                  <a:gd name="T116" fmla="*/ 780 w 797"/>
                  <a:gd name="T117" fmla="*/ 99 h 538"/>
                  <a:gd name="T118" fmla="*/ 794 w 797"/>
                  <a:gd name="T119" fmla="*/ 91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97" h="538">
                    <a:moveTo>
                      <a:pt x="797" y="82"/>
                    </a:moveTo>
                    <a:lnTo>
                      <a:pt x="796" y="80"/>
                    </a:lnTo>
                    <a:lnTo>
                      <a:pt x="794" y="78"/>
                    </a:lnTo>
                    <a:lnTo>
                      <a:pt x="794" y="76"/>
                    </a:lnTo>
                    <a:lnTo>
                      <a:pt x="792" y="76"/>
                    </a:lnTo>
                    <a:lnTo>
                      <a:pt x="792" y="76"/>
                    </a:lnTo>
                    <a:lnTo>
                      <a:pt x="790" y="76"/>
                    </a:lnTo>
                    <a:lnTo>
                      <a:pt x="790" y="76"/>
                    </a:lnTo>
                    <a:lnTo>
                      <a:pt x="788" y="78"/>
                    </a:lnTo>
                    <a:lnTo>
                      <a:pt x="788" y="78"/>
                    </a:lnTo>
                    <a:lnTo>
                      <a:pt x="788" y="78"/>
                    </a:lnTo>
                    <a:lnTo>
                      <a:pt x="784" y="84"/>
                    </a:lnTo>
                    <a:lnTo>
                      <a:pt x="782" y="84"/>
                    </a:lnTo>
                    <a:lnTo>
                      <a:pt x="782" y="84"/>
                    </a:lnTo>
                    <a:lnTo>
                      <a:pt x="782" y="82"/>
                    </a:lnTo>
                    <a:lnTo>
                      <a:pt x="782" y="80"/>
                    </a:lnTo>
                    <a:lnTo>
                      <a:pt x="782" y="78"/>
                    </a:lnTo>
                    <a:lnTo>
                      <a:pt x="782" y="76"/>
                    </a:lnTo>
                    <a:lnTo>
                      <a:pt x="780" y="76"/>
                    </a:lnTo>
                    <a:lnTo>
                      <a:pt x="780" y="76"/>
                    </a:lnTo>
                    <a:lnTo>
                      <a:pt x="780" y="74"/>
                    </a:lnTo>
                    <a:lnTo>
                      <a:pt x="782" y="70"/>
                    </a:lnTo>
                    <a:lnTo>
                      <a:pt x="782" y="69"/>
                    </a:lnTo>
                    <a:lnTo>
                      <a:pt x="782" y="61"/>
                    </a:lnTo>
                    <a:lnTo>
                      <a:pt x="780" y="59"/>
                    </a:lnTo>
                    <a:lnTo>
                      <a:pt x="780" y="59"/>
                    </a:lnTo>
                    <a:lnTo>
                      <a:pt x="776" y="57"/>
                    </a:lnTo>
                    <a:lnTo>
                      <a:pt x="775" y="57"/>
                    </a:lnTo>
                    <a:lnTo>
                      <a:pt x="775" y="55"/>
                    </a:lnTo>
                    <a:lnTo>
                      <a:pt x="775" y="55"/>
                    </a:lnTo>
                    <a:lnTo>
                      <a:pt x="773" y="53"/>
                    </a:lnTo>
                    <a:lnTo>
                      <a:pt x="771" y="53"/>
                    </a:lnTo>
                    <a:lnTo>
                      <a:pt x="771" y="51"/>
                    </a:lnTo>
                    <a:lnTo>
                      <a:pt x="771" y="50"/>
                    </a:lnTo>
                    <a:lnTo>
                      <a:pt x="769" y="42"/>
                    </a:lnTo>
                    <a:lnTo>
                      <a:pt x="769" y="40"/>
                    </a:lnTo>
                    <a:lnTo>
                      <a:pt x="767" y="38"/>
                    </a:lnTo>
                    <a:lnTo>
                      <a:pt x="769" y="36"/>
                    </a:lnTo>
                    <a:lnTo>
                      <a:pt x="773" y="30"/>
                    </a:lnTo>
                    <a:lnTo>
                      <a:pt x="784" y="17"/>
                    </a:lnTo>
                    <a:lnTo>
                      <a:pt x="788" y="10"/>
                    </a:lnTo>
                    <a:lnTo>
                      <a:pt x="790" y="6"/>
                    </a:lnTo>
                    <a:lnTo>
                      <a:pt x="792" y="4"/>
                    </a:lnTo>
                    <a:lnTo>
                      <a:pt x="792" y="2"/>
                    </a:lnTo>
                    <a:lnTo>
                      <a:pt x="792" y="0"/>
                    </a:lnTo>
                    <a:lnTo>
                      <a:pt x="792" y="0"/>
                    </a:lnTo>
                    <a:lnTo>
                      <a:pt x="761" y="0"/>
                    </a:lnTo>
                    <a:lnTo>
                      <a:pt x="755" y="2"/>
                    </a:lnTo>
                    <a:lnTo>
                      <a:pt x="744" y="10"/>
                    </a:lnTo>
                    <a:lnTo>
                      <a:pt x="742" y="11"/>
                    </a:lnTo>
                    <a:lnTo>
                      <a:pt x="738" y="13"/>
                    </a:lnTo>
                    <a:lnTo>
                      <a:pt x="733" y="15"/>
                    </a:lnTo>
                    <a:lnTo>
                      <a:pt x="721" y="17"/>
                    </a:lnTo>
                    <a:lnTo>
                      <a:pt x="719" y="17"/>
                    </a:lnTo>
                    <a:lnTo>
                      <a:pt x="715" y="17"/>
                    </a:lnTo>
                    <a:lnTo>
                      <a:pt x="715" y="17"/>
                    </a:lnTo>
                    <a:lnTo>
                      <a:pt x="714" y="15"/>
                    </a:lnTo>
                    <a:lnTo>
                      <a:pt x="710" y="13"/>
                    </a:lnTo>
                    <a:lnTo>
                      <a:pt x="708" y="13"/>
                    </a:lnTo>
                    <a:lnTo>
                      <a:pt x="708" y="13"/>
                    </a:lnTo>
                    <a:lnTo>
                      <a:pt x="702" y="17"/>
                    </a:lnTo>
                    <a:lnTo>
                      <a:pt x="664" y="32"/>
                    </a:lnTo>
                    <a:lnTo>
                      <a:pt x="658" y="34"/>
                    </a:lnTo>
                    <a:lnTo>
                      <a:pt x="649" y="40"/>
                    </a:lnTo>
                    <a:lnTo>
                      <a:pt x="645" y="42"/>
                    </a:lnTo>
                    <a:lnTo>
                      <a:pt x="643" y="42"/>
                    </a:lnTo>
                    <a:lnTo>
                      <a:pt x="635" y="44"/>
                    </a:lnTo>
                    <a:lnTo>
                      <a:pt x="628" y="46"/>
                    </a:lnTo>
                    <a:lnTo>
                      <a:pt x="622" y="50"/>
                    </a:lnTo>
                    <a:lnTo>
                      <a:pt x="616" y="53"/>
                    </a:lnTo>
                    <a:lnTo>
                      <a:pt x="614" y="53"/>
                    </a:lnTo>
                    <a:lnTo>
                      <a:pt x="611" y="55"/>
                    </a:lnTo>
                    <a:lnTo>
                      <a:pt x="611" y="55"/>
                    </a:lnTo>
                    <a:lnTo>
                      <a:pt x="607" y="55"/>
                    </a:lnTo>
                    <a:lnTo>
                      <a:pt x="605" y="57"/>
                    </a:lnTo>
                    <a:lnTo>
                      <a:pt x="601" y="53"/>
                    </a:lnTo>
                    <a:lnTo>
                      <a:pt x="590" y="57"/>
                    </a:lnTo>
                    <a:lnTo>
                      <a:pt x="586" y="55"/>
                    </a:lnTo>
                    <a:lnTo>
                      <a:pt x="584" y="53"/>
                    </a:lnTo>
                    <a:lnTo>
                      <a:pt x="582" y="53"/>
                    </a:lnTo>
                    <a:lnTo>
                      <a:pt x="580" y="53"/>
                    </a:lnTo>
                    <a:lnTo>
                      <a:pt x="578" y="51"/>
                    </a:lnTo>
                    <a:lnTo>
                      <a:pt x="578" y="50"/>
                    </a:lnTo>
                    <a:lnTo>
                      <a:pt x="576" y="50"/>
                    </a:lnTo>
                    <a:lnTo>
                      <a:pt x="576" y="50"/>
                    </a:lnTo>
                    <a:lnTo>
                      <a:pt x="576" y="50"/>
                    </a:lnTo>
                    <a:lnTo>
                      <a:pt x="572" y="51"/>
                    </a:lnTo>
                    <a:lnTo>
                      <a:pt x="572" y="53"/>
                    </a:lnTo>
                    <a:lnTo>
                      <a:pt x="572" y="55"/>
                    </a:lnTo>
                    <a:lnTo>
                      <a:pt x="574" y="57"/>
                    </a:lnTo>
                    <a:lnTo>
                      <a:pt x="574" y="59"/>
                    </a:lnTo>
                    <a:lnTo>
                      <a:pt x="576" y="61"/>
                    </a:lnTo>
                    <a:lnTo>
                      <a:pt x="576" y="63"/>
                    </a:lnTo>
                    <a:lnTo>
                      <a:pt x="576" y="63"/>
                    </a:lnTo>
                    <a:lnTo>
                      <a:pt x="576" y="65"/>
                    </a:lnTo>
                    <a:lnTo>
                      <a:pt x="576" y="67"/>
                    </a:lnTo>
                    <a:lnTo>
                      <a:pt x="559" y="80"/>
                    </a:lnTo>
                    <a:lnTo>
                      <a:pt x="553" y="86"/>
                    </a:lnTo>
                    <a:lnTo>
                      <a:pt x="548" y="89"/>
                    </a:lnTo>
                    <a:lnTo>
                      <a:pt x="544" y="93"/>
                    </a:lnTo>
                    <a:lnTo>
                      <a:pt x="542" y="93"/>
                    </a:lnTo>
                    <a:lnTo>
                      <a:pt x="540" y="97"/>
                    </a:lnTo>
                    <a:lnTo>
                      <a:pt x="525" y="112"/>
                    </a:lnTo>
                    <a:lnTo>
                      <a:pt x="525" y="112"/>
                    </a:lnTo>
                    <a:lnTo>
                      <a:pt x="525" y="114"/>
                    </a:lnTo>
                    <a:lnTo>
                      <a:pt x="523" y="116"/>
                    </a:lnTo>
                    <a:lnTo>
                      <a:pt x="523" y="120"/>
                    </a:lnTo>
                    <a:lnTo>
                      <a:pt x="525" y="124"/>
                    </a:lnTo>
                    <a:lnTo>
                      <a:pt x="525" y="126"/>
                    </a:lnTo>
                    <a:lnTo>
                      <a:pt x="523" y="128"/>
                    </a:lnTo>
                    <a:lnTo>
                      <a:pt x="519" y="129"/>
                    </a:lnTo>
                    <a:lnTo>
                      <a:pt x="517" y="131"/>
                    </a:lnTo>
                    <a:lnTo>
                      <a:pt x="515" y="131"/>
                    </a:lnTo>
                    <a:lnTo>
                      <a:pt x="511" y="135"/>
                    </a:lnTo>
                    <a:lnTo>
                      <a:pt x="509" y="137"/>
                    </a:lnTo>
                    <a:lnTo>
                      <a:pt x="506" y="139"/>
                    </a:lnTo>
                    <a:lnTo>
                      <a:pt x="498" y="143"/>
                    </a:lnTo>
                    <a:lnTo>
                      <a:pt x="494" y="143"/>
                    </a:lnTo>
                    <a:lnTo>
                      <a:pt x="488" y="145"/>
                    </a:lnTo>
                    <a:lnTo>
                      <a:pt x="485" y="145"/>
                    </a:lnTo>
                    <a:lnTo>
                      <a:pt x="479" y="147"/>
                    </a:lnTo>
                    <a:lnTo>
                      <a:pt x="477" y="147"/>
                    </a:lnTo>
                    <a:lnTo>
                      <a:pt x="473" y="145"/>
                    </a:lnTo>
                    <a:lnTo>
                      <a:pt x="471" y="143"/>
                    </a:lnTo>
                    <a:lnTo>
                      <a:pt x="469" y="143"/>
                    </a:lnTo>
                    <a:lnTo>
                      <a:pt x="466" y="141"/>
                    </a:lnTo>
                    <a:lnTo>
                      <a:pt x="422" y="147"/>
                    </a:lnTo>
                    <a:lnTo>
                      <a:pt x="418" y="147"/>
                    </a:lnTo>
                    <a:lnTo>
                      <a:pt x="414" y="145"/>
                    </a:lnTo>
                    <a:lnTo>
                      <a:pt x="412" y="143"/>
                    </a:lnTo>
                    <a:lnTo>
                      <a:pt x="412" y="143"/>
                    </a:lnTo>
                    <a:lnTo>
                      <a:pt x="412" y="141"/>
                    </a:lnTo>
                    <a:lnTo>
                      <a:pt x="412" y="141"/>
                    </a:lnTo>
                    <a:lnTo>
                      <a:pt x="412" y="139"/>
                    </a:lnTo>
                    <a:lnTo>
                      <a:pt x="406" y="137"/>
                    </a:lnTo>
                    <a:lnTo>
                      <a:pt x="397" y="133"/>
                    </a:lnTo>
                    <a:lnTo>
                      <a:pt x="387" y="131"/>
                    </a:lnTo>
                    <a:lnTo>
                      <a:pt x="382" y="131"/>
                    </a:lnTo>
                    <a:lnTo>
                      <a:pt x="380" y="131"/>
                    </a:lnTo>
                    <a:lnTo>
                      <a:pt x="376" y="133"/>
                    </a:lnTo>
                    <a:lnTo>
                      <a:pt x="374" y="135"/>
                    </a:lnTo>
                    <a:lnTo>
                      <a:pt x="372" y="137"/>
                    </a:lnTo>
                    <a:lnTo>
                      <a:pt x="370" y="139"/>
                    </a:lnTo>
                    <a:lnTo>
                      <a:pt x="363" y="141"/>
                    </a:lnTo>
                    <a:lnTo>
                      <a:pt x="353" y="143"/>
                    </a:lnTo>
                    <a:lnTo>
                      <a:pt x="340" y="147"/>
                    </a:lnTo>
                    <a:lnTo>
                      <a:pt x="336" y="148"/>
                    </a:lnTo>
                    <a:lnTo>
                      <a:pt x="334" y="150"/>
                    </a:lnTo>
                    <a:lnTo>
                      <a:pt x="328" y="150"/>
                    </a:lnTo>
                    <a:lnTo>
                      <a:pt x="326" y="150"/>
                    </a:lnTo>
                    <a:lnTo>
                      <a:pt x="321" y="152"/>
                    </a:lnTo>
                    <a:lnTo>
                      <a:pt x="307" y="150"/>
                    </a:lnTo>
                    <a:lnTo>
                      <a:pt x="304" y="150"/>
                    </a:lnTo>
                    <a:lnTo>
                      <a:pt x="304" y="156"/>
                    </a:lnTo>
                    <a:lnTo>
                      <a:pt x="298" y="160"/>
                    </a:lnTo>
                    <a:lnTo>
                      <a:pt x="290" y="162"/>
                    </a:lnTo>
                    <a:lnTo>
                      <a:pt x="288" y="160"/>
                    </a:lnTo>
                    <a:lnTo>
                      <a:pt x="284" y="158"/>
                    </a:lnTo>
                    <a:lnTo>
                      <a:pt x="283" y="156"/>
                    </a:lnTo>
                    <a:lnTo>
                      <a:pt x="281" y="156"/>
                    </a:lnTo>
                    <a:lnTo>
                      <a:pt x="281" y="158"/>
                    </a:lnTo>
                    <a:lnTo>
                      <a:pt x="281" y="160"/>
                    </a:lnTo>
                    <a:lnTo>
                      <a:pt x="279" y="162"/>
                    </a:lnTo>
                    <a:lnTo>
                      <a:pt x="281" y="164"/>
                    </a:lnTo>
                    <a:lnTo>
                      <a:pt x="281" y="166"/>
                    </a:lnTo>
                    <a:lnTo>
                      <a:pt x="279" y="167"/>
                    </a:lnTo>
                    <a:lnTo>
                      <a:pt x="277" y="167"/>
                    </a:lnTo>
                    <a:lnTo>
                      <a:pt x="275" y="166"/>
                    </a:lnTo>
                    <a:lnTo>
                      <a:pt x="275" y="164"/>
                    </a:lnTo>
                    <a:lnTo>
                      <a:pt x="275" y="162"/>
                    </a:lnTo>
                    <a:lnTo>
                      <a:pt x="273" y="160"/>
                    </a:lnTo>
                    <a:lnTo>
                      <a:pt x="269" y="160"/>
                    </a:lnTo>
                    <a:lnTo>
                      <a:pt x="260" y="166"/>
                    </a:lnTo>
                    <a:lnTo>
                      <a:pt x="256" y="167"/>
                    </a:lnTo>
                    <a:lnTo>
                      <a:pt x="250" y="167"/>
                    </a:lnTo>
                    <a:lnTo>
                      <a:pt x="248" y="167"/>
                    </a:lnTo>
                    <a:lnTo>
                      <a:pt x="242" y="167"/>
                    </a:lnTo>
                    <a:lnTo>
                      <a:pt x="241" y="167"/>
                    </a:lnTo>
                    <a:lnTo>
                      <a:pt x="237" y="167"/>
                    </a:lnTo>
                    <a:lnTo>
                      <a:pt x="233" y="169"/>
                    </a:lnTo>
                    <a:lnTo>
                      <a:pt x="233" y="167"/>
                    </a:lnTo>
                    <a:lnTo>
                      <a:pt x="229" y="160"/>
                    </a:lnTo>
                    <a:lnTo>
                      <a:pt x="227" y="160"/>
                    </a:lnTo>
                    <a:lnTo>
                      <a:pt x="227" y="158"/>
                    </a:lnTo>
                    <a:lnTo>
                      <a:pt x="222" y="158"/>
                    </a:lnTo>
                    <a:lnTo>
                      <a:pt x="220" y="158"/>
                    </a:lnTo>
                    <a:lnTo>
                      <a:pt x="218" y="160"/>
                    </a:lnTo>
                    <a:lnTo>
                      <a:pt x="216" y="162"/>
                    </a:lnTo>
                    <a:lnTo>
                      <a:pt x="216" y="166"/>
                    </a:lnTo>
                    <a:lnTo>
                      <a:pt x="214" y="167"/>
                    </a:lnTo>
                    <a:lnTo>
                      <a:pt x="212" y="169"/>
                    </a:lnTo>
                    <a:lnTo>
                      <a:pt x="210" y="169"/>
                    </a:lnTo>
                    <a:lnTo>
                      <a:pt x="208" y="171"/>
                    </a:lnTo>
                    <a:lnTo>
                      <a:pt x="206" y="171"/>
                    </a:lnTo>
                    <a:lnTo>
                      <a:pt x="202" y="171"/>
                    </a:lnTo>
                    <a:lnTo>
                      <a:pt x="201" y="171"/>
                    </a:lnTo>
                    <a:lnTo>
                      <a:pt x="199" y="169"/>
                    </a:lnTo>
                    <a:lnTo>
                      <a:pt x="193" y="167"/>
                    </a:lnTo>
                    <a:lnTo>
                      <a:pt x="185" y="167"/>
                    </a:lnTo>
                    <a:lnTo>
                      <a:pt x="180" y="167"/>
                    </a:lnTo>
                    <a:lnTo>
                      <a:pt x="176" y="167"/>
                    </a:lnTo>
                    <a:lnTo>
                      <a:pt x="170" y="171"/>
                    </a:lnTo>
                    <a:lnTo>
                      <a:pt x="170" y="171"/>
                    </a:lnTo>
                    <a:lnTo>
                      <a:pt x="162" y="171"/>
                    </a:lnTo>
                    <a:lnTo>
                      <a:pt x="134" y="173"/>
                    </a:lnTo>
                    <a:lnTo>
                      <a:pt x="117" y="171"/>
                    </a:lnTo>
                    <a:lnTo>
                      <a:pt x="103" y="164"/>
                    </a:lnTo>
                    <a:lnTo>
                      <a:pt x="92" y="156"/>
                    </a:lnTo>
                    <a:lnTo>
                      <a:pt x="86" y="154"/>
                    </a:lnTo>
                    <a:lnTo>
                      <a:pt x="84" y="156"/>
                    </a:lnTo>
                    <a:lnTo>
                      <a:pt x="82" y="156"/>
                    </a:lnTo>
                    <a:lnTo>
                      <a:pt x="80" y="158"/>
                    </a:lnTo>
                    <a:lnTo>
                      <a:pt x="78" y="160"/>
                    </a:lnTo>
                    <a:lnTo>
                      <a:pt x="77" y="162"/>
                    </a:lnTo>
                    <a:lnTo>
                      <a:pt x="73" y="160"/>
                    </a:lnTo>
                    <a:lnTo>
                      <a:pt x="69" y="162"/>
                    </a:lnTo>
                    <a:lnTo>
                      <a:pt x="65" y="164"/>
                    </a:lnTo>
                    <a:lnTo>
                      <a:pt x="61" y="171"/>
                    </a:lnTo>
                    <a:lnTo>
                      <a:pt x="59" y="175"/>
                    </a:lnTo>
                    <a:lnTo>
                      <a:pt x="54" y="177"/>
                    </a:lnTo>
                    <a:lnTo>
                      <a:pt x="40" y="177"/>
                    </a:lnTo>
                    <a:lnTo>
                      <a:pt x="33" y="179"/>
                    </a:lnTo>
                    <a:lnTo>
                      <a:pt x="29" y="181"/>
                    </a:lnTo>
                    <a:lnTo>
                      <a:pt x="29" y="181"/>
                    </a:lnTo>
                    <a:lnTo>
                      <a:pt x="25" y="179"/>
                    </a:lnTo>
                    <a:lnTo>
                      <a:pt x="25" y="179"/>
                    </a:lnTo>
                    <a:lnTo>
                      <a:pt x="25" y="181"/>
                    </a:lnTo>
                    <a:lnTo>
                      <a:pt x="27" y="188"/>
                    </a:lnTo>
                    <a:lnTo>
                      <a:pt x="27" y="190"/>
                    </a:lnTo>
                    <a:lnTo>
                      <a:pt x="29" y="206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5" y="215"/>
                    </a:lnTo>
                    <a:lnTo>
                      <a:pt x="25" y="217"/>
                    </a:lnTo>
                    <a:lnTo>
                      <a:pt x="23" y="226"/>
                    </a:lnTo>
                    <a:lnTo>
                      <a:pt x="23" y="226"/>
                    </a:lnTo>
                    <a:lnTo>
                      <a:pt x="23" y="226"/>
                    </a:lnTo>
                    <a:lnTo>
                      <a:pt x="21" y="228"/>
                    </a:lnTo>
                    <a:lnTo>
                      <a:pt x="19" y="228"/>
                    </a:lnTo>
                    <a:lnTo>
                      <a:pt x="19" y="230"/>
                    </a:lnTo>
                    <a:lnTo>
                      <a:pt x="19" y="230"/>
                    </a:lnTo>
                    <a:lnTo>
                      <a:pt x="19" y="232"/>
                    </a:lnTo>
                    <a:lnTo>
                      <a:pt x="21" y="232"/>
                    </a:lnTo>
                    <a:lnTo>
                      <a:pt x="21" y="234"/>
                    </a:lnTo>
                    <a:lnTo>
                      <a:pt x="21" y="234"/>
                    </a:lnTo>
                    <a:lnTo>
                      <a:pt x="21" y="234"/>
                    </a:lnTo>
                    <a:lnTo>
                      <a:pt x="19" y="236"/>
                    </a:lnTo>
                    <a:lnTo>
                      <a:pt x="16" y="236"/>
                    </a:lnTo>
                    <a:lnTo>
                      <a:pt x="16" y="238"/>
                    </a:lnTo>
                    <a:lnTo>
                      <a:pt x="16" y="238"/>
                    </a:lnTo>
                    <a:lnTo>
                      <a:pt x="14" y="244"/>
                    </a:lnTo>
                    <a:lnTo>
                      <a:pt x="12" y="245"/>
                    </a:lnTo>
                    <a:lnTo>
                      <a:pt x="10" y="245"/>
                    </a:lnTo>
                    <a:lnTo>
                      <a:pt x="10" y="245"/>
                    </a:lnTo>
                    <a:lnTo>
                      <a:pt x="10" y="247"/>
                    </a:lnTo>
                    <a:lnTo>
                      <a:pt x="10" y="247"/>
                    </a:lnTo>
                    <a:lnTo>
                      <a:pt x="10" y="249"/>
                    </a:lnTo>
                    <a:lnTo>
                      <a:pt x="10" y="251"/>
                    </a:lnTo>
                    <a:lnTo>
                      <a:pt x="10" y="251"/>
                    </a:lnTo>
                    <a:lnTo>
                      <a:pt x="6" y="251"/>
                    </a:lnTo>
                    <a:lnTo>
                      <a:pt x="4" y="253"/>
                    </a:lnTo>
                    <a:lnTo>
                      <a:pt x="0" y="253"/>
                    </a:lnTo>
                    <a:lnTo>
                      <a:pt x="0" y="257"/>
                    </a:lnTo>
                    <a:lnTo>
                      <a:pt x="0" y="257"/>
                    </a:lnTo>
                    <a:lnTo>
                      <a:pt x="0" y="257"/>
                    </a:lnTo>
                    <a:lnTo>
                      <a:pt x="2" y="259"/>
                    </a:lnTo>
                    <a:lnTo>
                      <a:pt x="2" y="259"/>
                    </a:lnTo>
                    <a:lnTo>
                      <a:pt x="6" y="259"/>
                    </a:lnTo>
                    <a:lnTo>
                      <a:pt x="6" y="259"/>
                    </a:lnTo>
                    <a:lnTo>
                      <a:pt x="8" y="259"/>
                    </a:lnTo>
                    <a:lnTo>
                      <a:pt x="8" y="263"/>
                    </a:lnTo>
                    <a:lnTo>
                      <a:pt x="10" y="265"/>
                    </a:lnTo>
                    <a:lnTo>
                      <a:pt x="10" y="266"/>
                    </a:lnTo>
                    <a:lnTo>
                      <a:pt x="12" y="268"/>
                    </a:lnTo>
                    <a:lnTo>
                      <a:pt x="12" y="270"/>
                    </a:lnTo>
                    <a:lnTo>
                      <a:pt x="12" y="272"/>
                    </a:lnTo>
                    <a:lnTo>
                      <a:pt x="12" y="274"/>
                    </a:lnTo>
                    <a:lnTo>
                      <a:pt x="12" y="276"/>
                    </a:lnTo>
                    <a:lnTo>
                      <a:pt x="16" y="280"/>
                    </a:lnTo>
                    <a:lnTo>
                      <a:pt x="16" y="280"/>
                    </a:lnTo>
                    <a:lnTo>
                      <a:pt x="17" y="282"/>
                    </a:lnTo>
                    <a:lnTo>
                      <a:pt x="17" y="282"/>
                    </a:lnTo>
                    <a:lnTo>
                      <a:pt x="17" y="282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19" y="280"/>
                    </a:lnTo>
                    <a:lnTo>
                      <a:pt x="21" y="284"/>
                    </a:lnTo>
                    <a:lnTo>
                      <a:pt x="21" y="285"/>
                    </a:lnTo>
                    <a:lnTo>
                      <a:pt x="19" y="285"/>
                    </a:lnTo>
                    <a:lnTo>
                      <a:pt x="17" y="287"/>
                    </a:lnTo>
                    <a:lnTo>
                      <a:pt x="19" y="289"/>
                    </a:lnTo>
                    <a:lnTo>
                      <a:pt x="21" y="289"/>
                    </a:lnTo>
                    <a:lnTo>
                      <a:pt x="23" y="289"/>
                    </a:lnTo>
                    <a:lnTo>
                      <a:pt x="21" y="293"/>
                    </a:lnTo>
                    <a:lnTo>
                      <a:pt x="16" y="303"/>
                    </a:lnTo>
                    <a:lnTo>
                      <a:pt x="16" y="306"/>
                    </a:lnTo>
                    <a:lnTo>
                      <a:pt x="17" y="318"/>
                    </a:lnTo>
                    <a:lnTo>
                      <a:pt x="21" y="325"/>
                    </a:lnTo>
                    <a:lnTo>
                      <a:pt x="23" y="331"/>
                    </a:lnTo>
                    <a:lnTo>
                      <a:pt x="21" y="341"/>
                    </a:lnTo>
                    <a:lnTo>
                      <a:pt x="21" y="350"/>
                    </a:lnTo>
                    <a:lnTo>
                      <a:pt x="19" y="358"/>
                    </a:lnTo>
                    <a:lnTo>
                      <a:pt x="23" y="356"/>
                    </a:lnTo>
                    <a:lnTo>
                      <a:pt x="27" y="356"/>
                    </a:lnTo>
                    <a:lnTo>
                      <a:pt x="29" y="354"/>
                    </a:lnTo>
                    <a:lnTo>
                      <a:pt x="29" y="354"/>
                    </a:lnTo>
                    <a:lnTo>
                      <a:pt x="29" y="352"/>
                    </a:lnTo>
                    <a:lnTo>
                      <a:pt x="31" y="350"/>
                    </a:lnTo>
                    <a:lnTo>
                      <a:pt x="31" y="346"/>
                    </a:lnTo>
                    <a:lnTo>
                      <a:pt x="31" y="344"/>
                    </a:lnTo>
                    <a:lnTo>
                      <a:pt x="31" y="343"/>
                    </a:lnTo>
                    <a:lnTo>
                      <a:pt x="33" y="341"/>
                    </a:lnTo>
                    <a:lnTo>
                      <a:pt x="37" y="341"/>
                    </a:lnTo>
                    <a:lnTo>
                      <a:pt x="38" y="341"/>
                    </a:lnTo>
                    <a:lnTo>
                      <a:pt x="40" y="341"/>
                    </a:lnTo>
                    <a:lnTo>
                      <a:pt x="42" y="339"/>
                    </a:lnTo>
                    <a:lnTo>
                      <a:pt x="42" y="339"/>
                    </a:lnTo>
                    <a:lnTo>
                      <a:pt x="44" y="337"/>
                    </a:lnTo>
                    <a:lnTo>
                      <a:pt x="44" y="335"/>
                    </a:lnTo>
                    <a:lnTo>
                      <a:pt x="44" y="335"/>
                    </a:lnTo>
                    <a:lnTo>
                      <a:pt x="42" y="335"/>
                    </a:lnTo>
                    <a:lnTo>
                      <a:pt x="42" y="333"/>
                    </a:lnTo>
                    <a:lnTo>
                      <a:pt x="38" y="331"/>
                    </a:lnTo>
                    <a:lnTo>
                      <a:pt x="38" y="329"/>
                    </a:lnTo>
                    <a:lnTo>
                      <a:pt x="37" y="327"/>
                    </a:lnTo>
                    <a:lnTo>
                      <a:pt x="37" y="327"/>
                    </a:lnTo>
                    <a:lnTo>
                      <a:pt x="37" y="323"/>
                    </a:lnTo>
                    <a:lnTo>
                      <a:pt x="37" y="322"/>
                    </a:lnTo>
                    <a:lnTo>
                      <a:pt x="37" y="320"/>
                    </a:lnTo>
                    <a:lnTo>
                      <a:pt x="37" y="318"/>
                    </a:lnTo>
                    <a:lnTo>
                      <a:pt x="37" y="316"/>
                    </a:lnTo>
                    <a:lnTo>
                      <a:pt x="38" y="314"/>
                    </a:lnTo>
                    <a:lnTo>
                      <a:pt x="38" y="312"/>
                    </a:lnTo>
                    <a:lnTo>
                      <a:pt x="40" y="312"/>
                    </a:lnTo>
                    <a:lnTo>
                      <a:pt x="40" y="310"/>
                    </a:lnTo>
                    <a:lnTo>
                      <a:pt x="40" y="308"/>
                    </a:lnTo>
                    <a:lnTo>
                      <a:pt x="40" y="306"/>
                    </a:lnTo>
                    <a:lnTo>
                      <a:pt x="42" y="304"/>
                    </a:lnTo>
                    <a:lnTo>
                      <a:pt x="46" y="301"/>
                    </a:lnTo>
                    <a:lnTo>
                      <a:pt x="46" y="299"/>
                    </a:lnTo>
                    <a:lnTo>
                      <a:pt x="48" y="297"/>
                    </a:lnTo>
                    <a:lnTo>
                      <a:pt x="48" y="295"/>
                    </a:lnTo>
                    <a:lnTo>
                      <a:pt x="50" y="293"/>
                    </a:lnTo>
                    <a:lnTo>
                      <a:pt x="54" y="291"/>
                    </a:lnTo>
                    <a:lnTo>
                      <a:pt x="58" y="287"/>
                    </a:lnTo>
                    <a:lnTo>
                      <a:pt x="58" y="287"/>
                    </a:lnTo>
                    <a:lnTo>
                      <a:pt x="59" y="285"/>
                    </a:lnTo>
                    <a:lnTo>
                      <a:pt x="71" y="284"/>
                    </a:lnTo>
                    <a:lnTo>
                      <a:pt x="78" y="284"/>
                    </a:lnTo>
                    <a:lnTo>
                      <a:pt x="80" y="284"/>
                    </a:lnTo>
                    <a:lnTo>
                      <a:pt x="84" y="282"/>
                    </a:lnTo>
                    <a:lnTo>
                      <a:pt x="84" y="282"/>
                    </a:lnTo>
                    <a:lnTo>
                      <a:pt x="86" y="282"/>
                    </a:lnTo>
                    <a:lnTo>
                      <a:pt x="88" y="280"/>
                    </a:lnTo>
                    <a:lnTo>
                      <a:pt x="90" y="278"/>
                    </a:lnTo>
                    <a:lnTo>
                      <a:pt x="92" y="278"/>
                    </a:lnTo>
                    <a:lnTo>
                      <a:pt x="94" y="278"/>
                    </a:lnTo>
                    <a:lnTo>
                      <a:pt x="99" y="278"/>
                    </a:lnTo>
                    <a:lnTo>
                      <a:pt x="101" y="278"/>
                    </a:lnTo>
                    <a:lnTo>
                      <a:pt x="103" y="278"/>
                    </a:lnTo>
                    <a:lnTo>
                      <a:pt x="103" y="278"/>
                    </a:lnTo>
                    <a:lnTo>
                      <a:pt x="105" y="278"/>
                    </a:lnTo>
                    <a:lnTo>
                      <a:pt x="107" y="280"/>
                    </a:lnTo>
                    <a:lnTo>
                      <a:pt x="111" y="284"/>
                    </a:lnTo>
                    <a:lnTo>
                      <a:pt x="113" y="284"/>
                    </a:lnTo>
                    <a:lnTo>
                      <a:pt x="113" y="285"/>
                    </a:lnTo>
                    <a:lnTo>
                      <a:pt x="113" y="287"/>
                    </a:lnTo>
                    <a:lnTo>
                      <a:pt x="111" y="289"/>
                    </a:lnTo>
                    <a:lnTo>
                      <a:pt x="111" y="291"/>
                    </a:lnTo>
                    <a:lnTo>
                      <a:pt x="109" y="291"/>
                    </a:lnTo>
                    <a:lnTo>
                      <a:pt x="109" y="293"/>
                    </a:lnTo>
                    <a:lnTo>
                      <a:pt x="111" y="293"/>
                    </a:lnTo>
                    <a:lnTo>
                      <a:pt x="111" y="293"/>
                    </a:lnTo>
                    <a:lnTo>
                      <a:pt x="117" y="289"/>
                    </a:lnTo>
                    <a:lnTo>
                      <a:pt x="117" y="287"/>
                    </a:lnTo>
                    <a:lnTo>
                      <a:pt x="119" y="287"/>
                    </a:lnTo>
                    <a:lnTo>
                      <a:pt x="119" y="285"/>
                    </a:lnTo>
                    <a:lnTo>
                      <a:pt x="120" y="284"/>
                    </a:lnTo>
                    <a:lnTo>
                      <a:pt x="120" y="284"/>
                    </a:lnTo>
                    <a:lnTo>
                      <a:pt x="122" y="285"/>
                    </a:lnTo>
                    <a:lnTo>
                      <a:pt x="122" y="285"/>
                    </a:lnTo>
                    <a:lnTo>
                      <a:pt x="122" y="287"/>
                    </a:lnTo>
                    <a:lnTo>
                      <a:pt x="122" y="289"/>
                    </a:lnTo>
                    <a:lnTo>
                      <a:pt x="122" y="289"/>
                    </a:lnTo>
                    <a:lnTo>
                      <a:pt x="124" y="289"/>
                    </a:lnTo>
                    <a:lnTo>
                      <a:pt x="126" y="287"/>
                    </a:lnTo>
                    <a:lnTo>
                      <a:pt x="130" y="287"/>
                    </a:lnTo>
                    <a:lnTo>
                      <a:pt x="138" y="285"/>
                    </a:lnTo>
                    <a:lnTo>
                      <a:pt x="140" y="285"/>
                    </a:lnTo>
                    <a:lnTo>
                      <a:pt x="140" y="285"/>
                    </a:lnTo>
                    <a:lnTo>
                      <a:pt x="140" y="285"/>
                    </a:lnTo>
                    <a:lnTo>
                      <a:pt x="140" y="289"/>
                    </a:lnTo>
                    <a:lnTo>
                      <a:pt x="140" y="289"/>
                    </a:lnTo>
                    <a:lnTo>
                      <a:pt x="141" y="291"/>
                    </a:lnTo>
                    <a:lnTo>
                      <a:pt x="141" y="289"/>
                    </a:lnTo>
                    <a:lnTo>
                      <a:pt x="145" y="287"/>
                    </a:lnTo>
                    <a:lnTo>
                      <a:pt x="147" y="287"/>
                    </a:lnTo>
                    <a:lnTo>
                      <a:pt x="153" y="287"/>
                    </a:lnTo>
                    <a:lnTo>
                      <a:pt x="157" y="287"/>
                    </a:lnTo>
                    <a:lnTo>
                      <a:pt x="159" y="287"/>
                    </a:lnTo>
                    <a:lnTo>
                      <a:pt x="164" y="287"/>
                    </a:lnTo>
                    <a:lnTo>
                      <a:pt x="166" y="287"/>
                    </a:lnTo>
                    <a:lnTo>
                      <a:pt x="166" y="289"/>
                    </a:lnTo>
                    <a:lnTo>
                      <a:pt x="166" y="291"/>
                    </a:lnTo>
                    <a:lnTo>
                      <a:pt x="168" y="291"/>
                    </a:lnTo>
                    <a:lnTo>
                      <a:pt x="170" y="291"/>
                    </a:lnTo>
                    <a:lnTo>
                      <a:pt x="170" y="291"/>
                    </a:lnTo>
                    <a:lnTo>
                      <a:pt x="172" y="293"/>
                    </a:lnTo>
                    <a:lnTo>
                      <a:pt x="172" y="293"/>
                    </a:lnTo>
                    <a:lnTo>
                      <a:pt x="172" y="295"/>
                    </a:lnTo>
                    <a:lnTo>
                      <a:pt x="172" y="297"/>
                    </a:lnTo>
                    <a:lnTo>
                      <a:pt x="172" y="301"/>
                    </a:lnTo>
                    <a:lnTo>
                      <a:pt x="172" y="303"/>
                    </a:lnTo>
                    <a:lnTo>
                      <a:pt x="172" y="303"/>
                    </a:lnTo>
                    <a:lnTo>
                      <a:pt x="174" y="303"/>
                    </a:lnTo>
                    <a:lnTo>
                      <a:pt x="176" y="301"/>
                    </a:lnTo>
                    <a:lnTo>
                      <a:pt x="176" y="301"/>
                    </a:lnTo>
                    <a:lnTo>
                      <a:pt x="178" y="301"/>
                    </a:lnTo>
                    <a:lnTo>
                      <a:pt x="178" y="303"/>
                    </a:lnTo>
                    <a:lnTo>
                      <a:pt x="180" y="303"/>
                    </a:lnTo>
                    <a:lnTo>
                      <a:pt x="181" y="303"/>
                    </a:lnTo>
                    <a:lnTo>
                      <a:pt x="191" y="299"/>
                    </a:lnTo>
                    <a:lnTo>
                      <a:pt x="193" y="299"/>
                    </a:lnTo>
                    <a:lnTo>
                      <a:pt x="193" y="301"/>
                    </a:lnTo>
                    <a:lnTo>
                      <a:pt x="193" y="304"/>
                    </a:lnTo>
                    <a:lnTo>
                      <a:pt x="193" y="306"/>
                    </a:lnTo>
                    <a:lnTo>
                      <a:pt x="193" y="308"/>
                    </a:lnTo>
                    <a:lnTo>
                      <a:pt x="193" y="314"/>
                    </a:lnTo>
                    <a:lnTo>
                      <a:pt x="195" y="316"/>
                    </a:lnTo>
                    <a:lnTo>
                      <a:pt x="197" y="318"/>
                    </a:lnTo>
                    <a:lnTo>
                      <a:pt x="199" y="318"/>
                    </a:lnTo>
                    <a:lnTo>
                      <a:pt x="201" y="316"/>
                    </a:lnTo>
                    <a:lnTo>
                      <a:pt x="202" y="314"/>
                    </a:lnTo>
                    <a:lnTo>
                      <a:pt x="208" y="308"/>
                    </a:lnTo>
                    <a:lnTo>
                      <a:pt x="210" y="304"/>
                    </a:lnTo>
                    <a:lnTo>
                      <a:pt x="212" y="303"/>
                    </a:lnTo>
                    <a:lnTo>
                      <a:pt x="214" y="303"/>
                    </a:lnTo>
                    <a:lnTo>
                      <a:pt x="222" y="299"/>
                    </a:lnTo>
                    <a:lnTo>
                      <a:pt x="227" y="299"/>
                    </a:lnTo>
                    <a:lnTo>
                      <a:pt x="235" y="295"/>
                    </a:lnTo>
                    <a:lnTo>
                      <a:pt x="235" y="295"/>
                    </a:lnTo>
                    <a:lnTo>
                      <a:pt x="235" y="293"/>
                    </a:lnTo>
                    <a:lnTo>
                      <a:pt x="235" y="293"/>
                    </a:lnTo>
                    <a:lnTo>
                      <a:pt x="231" y="297"/>
                    </a:lnTo>
                    <a:lnTo>
                      <a:pt x="231" y="297"/>
                    </a:lnTo>
                    <a:lnTo>
                      <a:pt x="229" y="297"/>
                    </a:lnTo>
                    <a:lnTo>
                      <a:pt x="227" y="297"/>
                    </a:lnTo>
                    <a:lnTo>
                      <a:pt x="227" y="295"/>
                    </a:lnTo>
                    <a:lnTo>
                      <a:pt x="227" y="295"/>
                    </a:lnTo>
                    <a:lnTo>
                      <a:pt x="231" y="293"/>
                    </a:lnTo>
                    <a:lnTo>
                      <a:pt x="231" y="291"/>
                    </a:lnTo>
                    <a:lnTo>
                      <a:pt x="235" y="287"/>
                    </a:lnTo>
                    <a:lnTo>
                      <a:pt x="237" y="285"/>
                    </a:lnTo>
                    <a:lnTo>
                      <a:pt x="239" y="282"/>
                    </a:lnTo>
                    <a:lnTo>
                      <a:pt x="241" y="280"/>
                    </a:lnTo>
                    <a:lnTo>
                      <a:pt x="241" y="280"/>
                    </a:lnTo>
                    <a:lnTo>
                      <a:pt x="242" y="276"/>
                    </a:lnTo>
                    <a:lnTo>
                      <a:pt x="242" y="276"/>
                    </a:lnTo>
                    <a:lnTo>
                      <a:pt x="244" y="274"/>
                    </a:lnTo>
                    <a:lnTo>
                      <a:pt x="246" y="276"/>
                    </a:lnTo>
                    <a:lnTo>
                      <a:pt x="248" y="276"/>
                    </a:lnTo>
                    <a:lnTo>
                      <a:pt x="250" y="278"/>
                    </a:lnTo>
                    <a:lnTo>
                      <a:pt x="250" y="280"/>
                    </a:lnTo>
                    <a:lnTo>
                      <a:pt x="250" y="280"/>
                    </a:lnTo>
                    <a:lnTo>
                      <a:pt x="250" y="282"/>
                    </a:lnTo>
                    <a:lnTo>
                      <a:pt x="248" y="284"/>
                    </a:lnTo>
                    <a:lnTo>
                      <a:pt x="248" y="285"/>
                    </a:lnTo>
                    <a:lnTo>
                      <a:pt x="248" y="287"/>
                    </a:lnTo>
                    <a:lnTo>
                      <a:pt x="248" y="289"/>
                    </a:lnTo>
                    <a:lnTo>
                      <a:pt x="248" y="289"/>
                    </a:lnTo>
                    <a:lnTo>
                      <a:pt x="250" y="289"/>
                    </a:lnTo>
                    <a:lnTo>
                      <a:pt x="252" y="289"/>
                    </a:lnTo>
                    <a:lnTo>
                      <a:pt x="256" y="287"/>
                    </a:lnTo>
                    <a:lnTo>
                      <a:pt x="258" y="285"/>
                    </a:lnTo>
                    <a:lnTo>
                      <a:pt x="258" y="284"/>
                    </a:lnTo>
                    <a:lnTo>
                      <a:pt x="260" y="282"/>
                    </a:lnTo>
                    <a:lnTo>
                      <a:pt x="262" y="280"/>
                    </a:lnTo>
                    <a:lnTo>
                      <a:pt x="262" y="276"/>
                    </a:lnTo>
                    <a:lnTo>
                      <a:pt x="262" y="274"/>
                    </a:lnTo>
                    <a:lnTo>
                      <a:pt x="263" y="274"/>
                    </a:lnTo>
                    <a:lnTo>
                      <a:pt x="267" y="268"/>
                    </a:lnTo>
                    <a:lnTo>
                      <a:pt x="269" y="268"/>
                    </a:lnTo>
                    <a:lnTo>
                      <a:pt x="273" y="268"/>
                    </a:lnTo>
                    <a:lnTo>
                      <a:pt x="275" y="268"/>
                    </a:lnTo>
                    <a:lnTo>
                      <a:pt x="279" y="272"/>
                    </a:lnTo>
                    <a:lnTo>
                      <a:pt x="281" y="274"/>
                    </a:lnTo>
                    <a:lnTo>
                      <a:pt x="283" y="274"/>
                    </a:lnTo>
                    <a:lnTo>
                      <a:pt x="284" y="274"/>
                    </a:lnTo>
                    <a:lnTo>
                      <a:pt x="288" y="274"/>
                    </a:lnTo>
                    <a:lnTo>
                      <a:pt x="296" y="272"/>
                    </a:lnTo>
                    <a:lnTo>
                      <a:pt x="298" y="272"/>
                    </a:lnTo>
                    <a:lnTo>
                      <a:pt x="300" y="272"/>
                    </a:lnTo>
                    <a:lnTo>
                      <a:pt x="302" y="272"/>
                    </a:lnTo>
                    <a:lnTo>
                      <a:pt x="309" y="270"/>
                    </a:lnTo>
                    <a:lnTo>
                      <a:pt x="313" y="268"/>
                    </a:lnTo>
                    <a:lnTo>
                      <a:pt x="315" y="268"/>
                    </a:lnTo>
                    <a:lnTo>
                      <a:pt x="326" y="268"/>
                    </a:lnTo>
                    <a:lnTo>
                      <a:pt x="326" y="268"/>
                    </a:lnTo>
                    <a:lnTo>
                      <a:pt x="328" y="268"/>
                    </a:lnTo>
                    <a:lnTo>
                      <a:pt x="328" y="270"/>
                    </a:lnTo>
                    <a:lnTo>
                      <a:pt x="326" y="272"/>
                    </a:lnTo>
                    <a:lnTo>
                      <a:pt x="317" y="282"/>
                    </a:lnTo>
                    <a:lnTo>
                      <a:pt x="317" y="282"/>
                    </a:lnTo>
                    <a:lnTo>
                      <a:pt x="317" y="284"/>
                    </a:lnTo>
                    <a:lnTo>
                      <a:pt x="315" y="284"/>
                    </a:lnTo>
                    <a:lnTo>
                      <a:pt x="317" y="285"/>
                    </a:lnTo>
                    <a:lnTo>
                      <a:pt x="317" y="287"/>
                    </a:lnTo>
                    <a:lnTo>
                      <a:pt x="317" y="287"/>
                    </a:lnTo>
                    <a:lnTo>
                      <a:pt x="321" y="289"/>
                    </a:lnTo>
                    <a:lnTo>
                      <a:pt x="321" y="289"/>
                    </a:lnTo>
                    <a:lnTo>
                      <a:pt x="321" y="291"/>
                    </a:lnTo>
                    <a:lnTo>
                      <a:pt x="319" y="297"/>
                    </a:lnTo>
                    <a:lnTo>
                      <a:pt x="317" y="301"/>
                    </a:lnTo>
                    <a:lnTo>
                      <a:pt x="315" y="304"/>
                    </a:lnTo>
                    <a:lnTo>
                      <a:pt x="315" y="306"/>
                    </a:lnTo>
                    <a:lnTo>
                      <a:pt x="315" y="308"/>
                    </a:lnTo>
                    <a:lnTo>
                      <a:pt x="315" y="310"/>
                    </a:lnTo>
                    <a:lnTo>
                      <a:pt x="315" y="312"/>
                    </a:lnTo>
                    <a:lnTo>
                      <a:pt x="315" y="314"/>
                    </a:lnTo>
                    <a:lnTo>
                      <a:pt x="315" y="322"/>
                    </a:lnTo>
                    <a:lnTo>
                      <a:pt x="315" y="323"/>
                    </a:lnTo>
                    <a:lnTo>
                      <a:pt x="315" y="323"/>
                    </a:lnTo>
                    <a:lnTo>
                      <a:pt x="317" y="323"/>
                    </a:lnTo>
                    <a:lnTo>
                      <a:pt x="317" y="323"/>
                    </a:lnTo>
                    <a:lnTo>
                      <a:pt x="319" y="322"/>
                    </a:lnTo>
                    <a:lnTo>
                      <a:pt x="323" y="320"/>
                    </a:lnTo>
                    <a:lnTo>
                      <a:pt x="328" y="318"/>
                    </a:lnTo>
                    <a:lnTo>
                      <a:pt x="334" y="318"/>
                    </a:lnTo>
                    <a:lnTo>
                      <a:pt x="336" y="316"/>
                    </a:lnTo>
                    <a:lnTo>
                      <a:pt x="336" y="316"/>
                    </a:lnTo>
                    <a:lnTo>
                      <a:pt x="338" y="314"/>
                    </a:lnTo>
                    <a:lnTo>
                      <a:pt x="340" y="314"/>
                    </a:lnTo>
                    <a:lnTo>
                      <a:pt x="342" y="312"/>
                    </a:lnTo>
                    <a:lnTo>
                      <a:pt x="344" y="314"/>
                    </a:lnTo>
                    <a:lnTo>
                      <a:pt x="345" y="314"/>
                    </a:lnTo>
                    <a:lnTo>
                      <a:pt x="349" y="318"/>
                    </a:lnTo>
                    <a:lnTo>
                      <a:pt x="353" y="322"/>
                    </a:lnTo>
                    <a:lnTo>
                      <a:pt x="359" y="327"/>
                    </a:lnTo>
                    <a:lnTo>
                      <a:pt x="368" y="337"/>
                    </a:lnTo>
                    <a:lnTo>
                      <a:pt x="368" y="337"/>
                    </a:lnTo>
                    <a:lnTo>
                      <a:pt x="368" y="337"/>
                    </a:lnTo>
                    <a:lnTo>
                      <a:pt x="368" y="339"/>
                    </a:lnTo>
                    <a:lnTo>
                      <a:pt x="370" y="337"/>
                    </a:lnTo>
                    <a:lnTo>
                      <a:pt x="372" y="337"/>
                    </a:lnTo>
                    <a:lnTo>
                      <a:pt x="372" y="337"/>
                    </a:lnTo>
                    <a:lnTo>
                      <a:pt x="374" y="335"/>
                    </a:lnTo>
                    <a:lnTo>
                      <a:pt x="376" y="333"/>
                    </a:lnTo>
                    <a:lnTo>
                      <a:pt x="378" y="333"/>
                    </a:lnTo>
                    <a:lnTo>
                      <a:pt x="378" y="333"/>
                    </a:lnTo>
                    <a:lnTo>
                      <a:pt x="380" y="335"/>
                    </a:lnTo>
                    <a:lnTo>
                      <a:pt x="380" y="335"/>
                    </a:lnTo>
                    <a:lnTo>
                      <a:pt x="380" y="337"/>
                    </a:lnTo>
                    <a:lnTo>
                      <a:pt x="380" y="337"/>
                    </a:lnTo>
                    <a:lnTo>
                      <a:pt x="378" y="339"/>
                    </a:lnTo>
                    <a:lnTo>
                      <a:pt x="378" y="339"/>
                    </a:lnTo>
                    <a:lnTo>
                      <a:pt x="376" y="341"/>
                    </a:lnTo>
                    <a:lnTo>
                      <a:pt x="376" y="341"/>
                    </a:lnTo>
                    <a:lnTo>
                      <a:pt x="374" y="343"/>
                    </a:lnTo>
                    <a:lnTo>
                      <a:pt x="374" y="344"/>
                    </a:lnTo>
                    <a:lnTo>
                      <a:pt x="372" y="346"/>
                    </a:lnTo>
                    <a:lnTo>
                      <a:pt x="370" y="348"/>
                    </a:lnTo>
                    <a:lnTo>
                      <a:pt x="368" y="350"/>
                    </a:lnTo>
                    <a:lnTo>
                      <a:pt x="368" y="350"/>
                    </a:lnTo>
                    <a:lnTo>
                      <a:pt x="366" y="350"/>
                    </a:lnTo>
                    <a:lnTo>
                      <a:pt x="368" y="352"/>
                    </a:lnTo>
                    <a:lnTo>
                      <a:pt x="370" y="352"/>
                    </a:lnTo>
                    <a:lnTo>
                      <a:pt x="372" y="354"/>
                    </a:lnTo>
                    <a:lnTo>
                      <a:pt x="372" y="356"/>
                    </a:lnTo>
                    <a:lnTo>
                      <a:pt x="374" y="356"/>
                    </a:lnTo>
                    <a:lnTo>
                      <a:pt x="374" y="356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0" y="360"/>
                    </a:lnTo>
                    <a:lnTo>
                      <a:pt x="382" y="360"/>
                    </a:lnTo>
                    <a:lnTo>
                      <a:pt x="387" y="363"/>
                    </a:lnTo>
                    <a:lnTo>
                      <a:pt x="389" y="367"/>
                    </a:lnTo>
                    <a:lnTo>
                      <a:pt x="389" y="367"/>
                    </a:lnTo>
                    <a:lnTo>
                      <a:pt x="391" y="369"/>
                    </a:lnTo>
                    <a:lnTo>
                      <a:pt x="393" y="371"/>
                    </a:lnTo>
                    <a:lnTo>
                      <a:pt x="393" y="371"/>
                    </a:lnTo>
                    <a:lnTo>
                      <a:pt x="395" y="373"/>
                    </a:lnTo>
                    <a:lnTo>
                      <a:pt x="393" y="375"/>
                    </a:lnTo>
                    <a:lnTo>
                      <a:pt x="393" y="377"/>
                    </a:lnTo>
                    <a:lnTo>
                      <a:pt x="393" y="379"/>
                    </a:lnTo>
                    <a:lnTo>
                      <a:pt x="393" y="379"/>
                    </a:lnTo>
                    <a:lnTo>
                      <a:pt x="393" y="381"/>
                    </a:lnTo>
                    <a:lnTo>
                      <a:pt x="393" y="381"/>
                    </a:lnTo>
                    <a:lnTo>
                      <a:pt x="393" y="382"/>
                    </a:lnTo>
                    <a:lnTo>
                      <a:pt x="393" y="382"/>
                    </a:lnTo>
                    <a:lnTo>
                      <a:pt x="395" y="384"/>
                    </a:lnTo>
                    <a:lnTo>
                      <a:pt x="395" y="386"/>
                    </a:lnTo>
                    <a:lnTo>
                      <a:pt x="395" y="386"/>
                    </a:lnTo>
                    <a:lnTo>
                      <a:pt x="395" y="386"/>
                    </a:lnTo>
                    <a:lnTo>
                      <a:pt x="380" y="392"/>
                    </a:lnTo>
                    <a:lnTo>
                      <a:pt x="376" y="398"/>
                    </a:lnTo>
                    <a:lnTo>
                      <a:pt x="374" y="398"/>
                    </a:lnTo>
                    <a:lnTo>
                      <a:pt x="370" y="398"/>
                    </a:lnTo>
                    <a:lnTo>
                      <a:pt x="368" y="398"/>
                    </a:lnTo>
                    <a:lnTo>
                      <a:pt x="365" y="398"/>
                    </a:lnTo>
                    <a:lnTo>
                      <a:pt x="365" y="398"/>
                    </a:lnTo>
                    <a:lnTo>
                      <a:pt x="365" y="400"/>
                    </a:lnTo>
                    <a:lnTo>
                      <a:pt x="365" y="400"/>
                    </a:lnTo>
                    <a:lnTo>
                      <a:pt x="365" y="402"/>
                    </a:lnTo>
                    <a:lnTo>
                      <a:pt x="363" y="402"/>
                    </a:lnTo>
                    <a:lnTo>
                      <a:pt x="361" y="402"/>
                    </a:lnTo>
                    <a:lnTo>
                      <a:pt x="359" y="402"/>
                    </a:lnTo>
                    <a:lnTo>
                      <a:pt x="359" y="403"/>
                    </a:lnTo>
                    <a:lnTo>
                      <a:pt x="355" y="405"/>
                    </a:lnTo>
                    <a:lnTo>
                      <a:pt x="351" y="409"/>
                    </a:lnTo>
                    <a:lnTo>
                      <a:pt x="345" y="415"/>
                    </a:lnTo>
                    <a:lnTo>
                      <a:pt x="342" y="419"/>
                    </a:lnTo>
                    <a:lnTo>
                      <a:pt x="342" y="419"/>
                    </a:lnTo>
                    <a:lnTo>
                      <a:pt x="342" y="419"/>
                    </a:lnTo>
                    <a:lnTo>
                      <a:pt x="342" y="419"/>
                    </a:lnTo>
                    <a:lnTo>
                      <a:pt x="344" y="419"/>
                    </a:lnTo>
                    <a:lnTo>
                      <a:pt x="345" y="421"/>
                    </a:lnTo>
                    <a:lnTo>
                      <a:pt x="345" y="421"/>
                    </a:lnTo>
                    <a:lnTo>
                      <a:pt x="345" y="421"/>
                    </a:lnTo>
                    <a:lnTo>
                      <a:pt x="345" y="421"/>
                    </a:lnTo>
                    <a:lnTo>
                      <a:pt x="345" y="421"/>
                    </a:lnTo>
                    <a:lnTo>
                      <a:pt x="349" y="424"/>
                    </a:lnTo>
                    <a:lnTo>
                      <a:pt x="349" y="424"/>
                    </a:lnTo>
                    <a:lnTo>
                      <a:pt x="351" y="424"/>
                    </a:lnTo>
                    <a:lnTo>
                      <a:pt x="351" y="424"/>
                    </a:lnTo>
                    <a:lnTo>
                      <a:pt x="351" y="424"/>
                    </a:lnTo>
                    <a:lnTo>
                      <a:pt x="351" y="424"/>
                    </a:lnTo>
                    <a:lnTo>
                      <a:pt x="351" y="426"/>
                    </a:lnTo>
                    <a:lnTo>
                      <a:pt x="351" y="426"/>
                    </a:lnTo>
                    <a:lnTo>
                      <a:pt x="351" y="426"/>
                    </a:lnTo>
                    <a:lnTo>
                      <a:pt x="353" y="428"/>
                    </a:lnTo>
                    <a:lnTo>
                      <a:pt x="353" y="428"/>
                    </a:lnTo>
                    <a:lnTo>
                      <a:pt x="355" y="428"/>
                    </a:lnTo>
                    <a:lnTo>
                      <a:pt x="355" y="430"/>
                    </a:lnTo>
                    <a:lnTo>
                      <a:pt x="355" y="430"/>
                    </a:lnTo>
                    <a:lnTo>
                      <a:pt x="357" y="434"/>
                    </a:lnTo>
                    <a:lnTo>
                      <a:pt x="355" y="434"/>
                    </a:lnTo>
                    <a:lnTo>
                      <a:pt x="353" y="438"/>
                    </a:lnTo>
                    <a:lnTo>
                      <a:pt x="349" y="438"/>
                    </a:lnTo>
                    <a:lnTo>
                      <a:pt x="342" y="441"/>
                    </a:lnTo>
                    <a:lnTo>
                      <a:pt x="340" y="441"/>
                    </a:lnTo>
                    <a:lnTo>
                      <a:pt x="340" y="441"/>
                    </a:lnTo>
                    <a:lnTo>
                      <a:pt x="340" y="441"/>
                    </a:lnTo>
                    <a:lnTo>
                      <a:pt x="340" y="440"/>
                    </a:lnTo>
                    <a:lnTo>
                      <a:pt x="340" y="440"/>
                    </a:lnTo>
                    <a:lnTo>
                      <a:pt x="340" y="440"/>
                    </a:lnTo>
                    <a:lnTo>
                      <a:pt x="340" y="440"/>
                    </a:lnTo>
                    <a:lnTo>
                      <a:pt x="330" y="434"/>
                    </a:lnTo>
                    <a:lnTo>
                      <a:pt x="330" y="434"/>
                    </a:lnTo>
                    <a:lnTo>
                      <a:pt x="326" y="432"/>
                    </a:lnTo>
                    <a:lnTo>
                      <a:pt x="323" y="434"/>
                    </a:lnTo>
                    <a:lnTo>
                      <a:pt x="321" y="436"/>
                    </a:lnTo>
                    <a:lnTo>
                      <a:pt x="323" y="438"/>
                    </a:lnTo>
                    <a:lnTo>
                      <a:pt x="323" y="438"/>
                    </a:lnTo>
                    <a:lnTo>
                      <a:pt x="323" y="443"/>
                    </a:lnTo>
                    <a:lnTo>
                      <a:pt x="323" y="443"/>
                    </a:lnTo>
                    <a:lnTo>
                      <a:pt x="324" y="445"/>
                    </a:lnTo>
                    <a:lnTo>
                      <a:pt x="324" y="447"/>
                    </a:lnTo>
                    <a:lnTo>
                      <a:pt x="323" y="449"/>
                    </a:lnTo>
                    <a:lnTo>
                      <a:pt x="317" y="468"/>
                    </a:lnTo>
                    <a:lnTo>
                      <a:pt x="315" y="472"/>
                    </a:lnTo>
                    <a:lnTo>
                      <a:pt x="315" y="478"/>
                    </a:lnTo>
                    <a:lnTo>
                      <a:pt x="315" y="480"/>
                    </a:lnTo>
                    <a:lnTo>
                      <a:pt x="313" y="481"/>
                    </a:lnTo>
                    <a:lnTo>
                      <a:pt x="313" y="481"/>
                    </a:lnTo>
                    <a:lnTo>
                      <a:pt x="313" y="481"/>
                    </a:lnTo>
                    <a:lnTo>
                      <a:pt x="323" y="487"/>
                    </a:lnTo>
                    <a:lnTo>
                      <a:pt x="323" y="489"/>
                    </a:lnTo>
                    <a:lnTo>
                      <a:pt x="323" y="489"/>
                    </a:lnTo>
                    <a:lnTo>
                      <a:pt x="323" y="491"/>
                    </a:lnTo>
                    <a:lnTo>
                      <a:pt x="323" y="495"/>
                    </a:lnTo>
                    <a:lnTo>
                      <a:pt x="324" y="497"/>
                    </a:lnTo>
                    <a:lnTo>
                      <a:pt x="324" y="497"/>
                    </a:lnTo>
                    <a:lnTo>
                      <a:pt x="326" y="502"/>
                    </a:lnTo>
                    <a:lnTo>
                      <a:pt x="326" y="502"/>
                    </a:lnTo>
                    <a:lnTo>
                      <a:pt x="326" y="506"/>
                    </a:lnTo>
                    <a:lnTo>
                      <a:pt x="326" y="508"/>
                    </a:lnTo>
                    <a:lnTo>
                      <a:pt x="326" y="510"/>
                    </a:lnTo>
                    <a:lnTo>
                      <a:pt x="323" y="519"/>
                    </a:lnTo>
                    <a:lnTo>
                      <a:pt x="323" y="521"/>
                    </a:lnTo>
                    <a:lnTo>
                      <a:pt x="323" y="521"/>
                    </a:lnTo>
                    <a:lnTo>
                      <a:pt x="332" y="523"/>
                    </a:lnTo>
                    <a:lnTo>
                      <a:pt x="340" y="523"/>
                    </a:lnTo>
                    <a:lnTo>
                      <a:pt x="345" y="523"/>
                    </a:lnTo>
                    <a:lnTo>
                      <a:pt x="347" y="523"/>
                    </a:lnTo>
                    <a:lnTo>
                      <a:pt x="347" y="523"/>
                    </a:lnTo>
                    <a:lnTo>
                      <a:pt x="347" y="525"/>
                    </a:lnTo>
                    <a:lnTo>
                      <a:pt x="347" y="525"/>
                    </a:lnTo>
                    <a:lnTo>
                      <a:pt x="347" y="525"/>
                    </a:lnTo>
                    <a:lnTo>
                      <a:pt x="347" y="525"/>
                    </a:lnTo>
                    <a:lnTo>
                      <a:pt x="345" y="527"/>
                    </a:lnTo>
                    <a:lnTo>
                      <a:pt x="345" y="529"/>
                    </a:lnTo>
                    <a:lnTo>
                      <a:pt x="345" y="529"/>
                    </a:lnTo>
                    <a:lnTo>
                      <a:pt x="347" y="533"/>
                    </a:lnTo>
                    <a:lnTo>
                      <a:pt x="347" y="535"/>
                    </a:lnTo>
                    <a:lnTo>
                      <a:pt x="349" y="537"/>
                    </a:lnTo>
                    <a:lnTo>
                      <a:pt x="349" y="537"/>
                    </a:lnTo>
                    <a:lnTo>
                      <a:pt x="351" y="538"/>
                    </a:lnTo>
                    <a:lnTo>
                      <a:pt x="353" y="538"/>
                    </a:lnTo>
                    <a:lnTo>
                      <a:pt x="353" y="538"/>
                    </a:lnTo>
                    <a:lnTo>
                      <a:pt x="355" y="538"/>
                    </a:lnTo>
                    <a:lnTo>
                      <a:pt x="355" y="538"/>
                    </a:lnTo>
                    <a:lnTo>
                      <a:pt x="357" y="537"/>
                    </a:lnTo>
                    <a:lnTo>
                      <a:pt x="359" y="537"/>
                    </a:lnTo>
                    <a:lnTo>
                      <a:pt x="361" y="533"/>
                    </a:lnTo>
                    <a:lnTo>
                      <a:pt x="365" y="529"/>
                    </a:lnTo>
                    <a:lnTo>
                      <a:pt x="368" y="525"/>
                    </a:lnTo>
                    <a:lnTo>
                      <a:pt x="368" y="525"/>
                    </a:lnTo>
                    <a:lnTo>
                      <a:pt x="370" y="523"/>
                    </a:lnTo>
                    <a:lnTo>
                      <a:pt x="372" y="523"/>
                    </a:lnTo>
                    <a:lnTo>
                      <a:pt x="372" y="523"/>
                    </a:lnTo>
                    <a:lnTo>
                      <a:pt x="372" y="523"/>
                    </a:lnTo>
                    <a:lnTo>
                      <a:pt x="372" y="521"/>
                    </a:lnTo>
                    <a:lnTo>
                      <a:pt x="372" y="519"/>
                    </a:lnTo>
                    <a:lnTo>
                      <a:pt x="372" y="518"/>
                    </a:lnTo>
                    <a:lnTo>
                      <a:pt x="374" y="516"/>
                    </a:lnTo>
                    <a:lnTo>
                      <a:pt x="380" y="510"/>
                    </a:lnTo>
                    <a:lnTo>
                      <a:pt x="382" y="506"/>
                    </a:lnTo>
                    <a:lnTo>
                      <a:pt x="384" y="506"/>
                    </a:lnTo>
                    <a:lnTo>
                      <a:pt x="384" y="504"/>
                    </a:lnTo>
                    <a:lnTo>
                      <a:pt x="384" y="502"/>
                    </a:lnTo>
                    <a:lnTo>
                      <a:pt x="387" y="491"/>
                    </a:lnTo>
                    <a:lnTo>
                      <a:pt x="387" y="491"/>
                    </a:lnTo>
                    <a:lnTo>
                      <a:pt x="389" y="489"/>
                    </a:lnTo>
                    <a:lnTo>
                      <a:pt x="389" y="491"/>
                    </a:lnTo>
                    <a:lnTo>
                      <a:pt x="391" y="491"/>
                    </a:lnTo>
                    <a:lnTo>
                      <a:pt x="393" y="493"/>
                    </a:lnTo>
                    <a:lnTo>
                      <a:pt x="399" y="504"/>
                    </a:lnTo>
                    <a:lnTo>
                      <a:pt x="399" y="506"/>
                    </a:lnTo>
                    <a:lnTo>
                      <a:pt x="401" y="506"/>
                    </a:lnTo>
                    <a:lnTo>
                      <a:pt x="403" y="506"/>
                    </a:lnTo>
                    <a:lnTo>
                      <a:pt x="410" y="502"/>
                    </a:lnTo>
                    <a:lnTo>
                      <a:pt x="412" y="502"/>
                    </a:lnTo>
                    <a:lnTo>
                      <a:pt x="416" y="504"/>
                    </a:lnTo>
                    <a:lnTo>
                      <a:pt x="418" y="504"/>
                    </a:lnTo>
                    <a:lnTo>
                      <a:pt x="422" y="500"/>
                    </a:lnTo>
                    <a:lnTo>
                      <a:pt x="422" y="500"/>
                    </a:lnTo>
                    <a:lnTo>
                      <a:pt x="424" y="499"/>
                    </a:lnTo>
                    <a:lnTo>
                      <a:pt x="426" y="495"/>
                    </a:lnTo>
                    <a:lnTo>
                      <a:pt x="426" y="485"/>
                    </a:lnTo>
                    <a:lnTo>
                      <a:pt x="427" y="480"/>
                    </a:lnTo>
                    <a:lnTo>
                      <a:pt x="429" y="478"/>
                    </a:lnTo>
                    <a:lnTo>
                      <a:pt x="431" y="478"/>
                    </a:lnTo>
                    <a:lnTo>
                      <a:pt x="431" y="478"/>
                    </a:lnTo>
                    <a:lnTo>
                      <a:pt x="431" y="474"/>
                    </a:lnTo>
                    <a:lnTo>
                      <a:pt x="429" y="470"/>
                    </a:lnTo>
                    <a:lnTo>
                      <a:pt x="431" y="466"/>
                    </a:lnTo>
                    <a:lnTo>
                      <a:pt x="433" y="464"/>
                    </a:lnTo>
                    <a:lnTo>
                      <a:pt x="431" y="462"/>
                    </a:lnTo>
                    <a:lnTo>
                      <a:pt x="431" y="462"/>
                    </a:lnTo>
                    <a:lnTo>
                      <a:pt x="431" y="460"/>
                    </a:lnTo>
                    <a:lnTo>
                      <a:pt x="431" y="459"/>
                    </a:lnTo>
                    <a:lnTo>
                      <a:pt x="431" y="459"/>
                    </a:lnTo>
                    <a:lnTo>
                      <a:pt x="431" y="459"/>
                    </a:lnTo>
                    <a:lnTo>
                      <a:pt x="431" y="457"/>
                    </a:lnTo>
                    <a:lnTo>
                      <a:pt x="433" y="455"/>
                    </a:lnTo>
                    <a:lnTo>
                      <a:pt x="433" y="449"/>
                    </a:lnTo>
                    <a:lnTo>
                      <a:pt x="435" y="447"/>
                    </a:lnTo>
                    <a:lnTo>
                      <a:pt x="435" y="445"/>
                    </a:lnTo>
                    <a:lnTo>
                      <a:pt x="435" y="443"/>
                    </a:lnTo>
                    <a:lnTo>
                      <a:pt x="437" y="443"/>
                    </a:lnTo>
                    <a:lnTo>
                      <a:pt x="437" y="443"/>
                    </a:lnTo>
                    <a:lnTo>
                      <a:pt x="439" y="443"/>
                    </a:lnTo>
                    <a:lnTo>
                      <a:pt x="439" y="443"/>
                    </a:lnTo>
                    <a:lnTo>
                      <a:pt x="439" y="443"/>
                    </a:lnTo>
                    <a:lnTo>
                      <a:pt x="439" y="443"/>
                    </a:lnTo>
                    <a:lnTo>
                      <a:pt x="441" y="445"/>
                    </a:lnTo>
                    <a:lnTo>
                      <a:pt x="441" y="445"/>
                    </a:lnTo>
                    <a:lnTo>
                      <a:pt x="443" y="445"/>
                    </a:lnTo>
                    <a:lnTo>
                      <a:pt x="443" y="445"/>
                    </a:lnTo>
                    <a:lnTo>
                      <a:pt x="445" y="443"/>
                    </a:lnTo>
                    <a:lnTo>
                      <a:pt x="445" y="443"/>
                    </a:lnTo>
                    <a:lnTo>
                      <a:pt x="445" y="441"/>
                    </a:lnTo>
                    <a:lnTo>
                      <a:pt x="445" y="440"/>
                    </a:lnTo>
                    <a:lnTo>
                      <a:pt x="448" y="436"/>
                    </a:lnTo>
                    <a:lnTo>
                      <a:pt x="450" y="430"/>
                    </a:lnTo>
                    <a:lnTo>
                      <a:pt x="450" y="428"/>
                    </a:lnTo>
                    <a:lnTo>
                      <a:pt x="450" y="428"/>
                    </a:lnTo>
                    <a:lnTo>
                      <a:pt x="450" y="426"/>
                    </a:lnTo>
                    <a:lnTo>
                      <a:pt x="450" y="426"/>
                    </a:lnTo>
                    <a:lnTo>
                      <a:pt x="450" y="426"/>
                    </a:lnTo>
                    <a:lnTo>
                      <a:pt x="450" y="424"/>
                    </a:lnTo>
                    <a:lnTo>
                      <a:pt x="450" y="424"/>
                    </a:lnTo>
                    <a:lnTo>
                      <a:pt x="452" y="424"/>
                    </a:lnTo>
                    <a:lnTo>
                      <a:pt x="452" y="424"/>
                    </a:lnTo>
                    <a:lnTo>
                      <a:pt x="454" y="422"/>
                    </a:lnTo>
                    <a:lnTo>
                      <a:pt x="454" y="422"/>
                    </a:lnTo>
                    <a:lnTo>
                      <a:pt x="454" y="421"/>
                    </a:lnTo>
                    <a:lnTo>
                      <a:pt x="452" y="417"/>
                    </a:lnTo>
                    <a:lnTo>
                      <a:pt x="452" y="415"/>
                    </a:lnTo>
                    <a:lnTo>
                      <a:pt x="452" y="413"/>
                    </a:lnTo>
                    <a:lnTo>
                      <a:pt x="452" y="413"/>
                    </a:lnTo>
                    <a:lnTo>
                      <a:pt x="454" y="411"/>
                    </a:lnTo>
                    <a:lnTo>
                      <a:pt x="454" y="411"/>
                    </a:lnTo>
                    <a:lnTo>
                      <a:pt x="456" y="411"/>
                    </a:lnTo>
                    <a:lnTo>
                      <a:pt x="458" y="411"/>
                    </a:lnTo>
                    <a:lnTo>
                      <a:pt x="458" y="409"/>
                    </a:lnTo>
                    <a:lnTo>
                      <a:pt x="460" y="409"/>
                    </a:lnTo>
                    <a:lnTo>
                      <a:pt x="460" y="407"/>
                    </a:lnTo>
                    <a:lnTo>
                      <a:pt x="460" y="405"/>
                    </a:lnTo>
                    <a:lnTo>
                      <a:pt x="462" y="403"/>
                    </a:lnTo>
                    <a:lnTo>
                      <a:pt x="464" y="402"/>
                    </a:lnTo>
                    <a:lnTo>
                      <a:pt x="466" y="394"/>
                    </a:lnTo>
                    <a:lnTo>
                      <a:pt x="469" y="386"/>
                    </a:lnTo>
                    <a:lnTo>
                      <a:pt x="471" y="382"/>
                    </a:lnTo>
                    <a:lnTo>
                      <a:pt x="473" y="381"/>
                    </a:lnTo>
                    <a:lnTo>
                      <a:pt x="475" y="377"/>
                    </a:lnTo>
                    <a:lnTo>
                      <a:pt x="475" y="377"/>
                    </a:lnTo>
                    <a:lnTo>
                      <a:pt x="477" y="375"/>
                    </a:lnTo>
                    <a:lnTo>
                      <a:pt x="477" y="371"/>
                    </a:lnTo>
                    <a:lnTo>
                      <a:pt x="477" y="369"/>
                    </a:lnTo>
                    <a:lnTo>
                      <a:pt x="477" y="365"/>
                    </a:lnTo>
                    <a:lnTo>
                      <a:pt x="477" y="363"/>
                    </a:lnTo>
                    <a:lnTo>
                      <a:pt x="475" y="363"/>
                    </a:lnTo>
                    <a:lnTo>
                      <a:pt x="475" y="360"/>
                    </a:lnTo>
                    <a:lnTo>
                      <a:pt x="475" y="360"/>
                    </a:lnTo>
                    <a:lnTo>
                      <a:pt x="473" y="358"/>
                    </a:lnTo>
                    <a:lnTo>
                      <a:pt x="471" y="356"/>
                    </a:lnTo>
                    <a:lnTo>
                      <a:pt x="471" y="356"/>
                    </a:lnTo>
                    <a:lnTo>
                      <a:pt x="469" y="354"/>
                    </a:lnTo>
                    <a:lnTo>
                      <a:pt x="468" y="354"/>
                    </a:lnTo>
                    <a:lnTo>
                      <a:pt x="468" y="352"/>
                    </a:lnTo>
                    <a:lnTo>
                      <a:pt x="468" y="350"/>
                    </a:lnTo>
                    <a:lnTo>
                      <a:pt x="466" y="350"/>
                    </a:lnTo>
                    <a:lnTo>
                      <a:pt x="466" y="350"/>
                    </a:lnTo>
                    <a:lnTo>
                      <a:pt x="466" y="350"/>
                    </a:lnTo>
                    <a:lnTo>
                      <a:pt x="466" y="350"/>
                    </a:lnTo>
                    <a:lnTo>
                      <a:pt x="466" y="348"/>
                    </a:lnTo>
                    <a:lnTo>
                      <a:pt x="464" y="348"/>
                    </a:lnTo>
                    <a:lnTo>
                      <a:pt x="462" y="344"/>
                    </a:lnTo>
                    <a:lnTo>
                      <a:pt x="462" y="344"/>
                    </a:lnTo>
                    <a:lnTo>
                      <a:pt x="462" y="343"/>
                    </a:lnTo>
                    <a:lnTo>
                      <a:pt x="464" y="341"/>
                    </a:lnTo>
                    <a:lnTo>
                      <a:pt x="468" y="339"/>
                    </a:lnTo>
                    <a:lnTo>
                      <a:pt x="471" y="333"/>
                    </a:lnTo>
                    <a:lnTo>
                      <a:pt x="479" y="327"/>
                    </a:lnTo>
                    <a:lnTo>
                      <a:pt x="485" y="323"/>
                    </a:lnTo>
                    <a:lnTo>
                      <a:pt x="492" y="312"/>
                    </a:lnTo>
                    <a:lnTo>
                      <a:pt x="494" y="310"/>
                    </a:lnTo>
                    <a:lnTo>
                      <a:pt x="508" y="301"/>
                    </a:lnTo>
                    <a:lnTo>
                      <a:pt x="508" y="299"/>
                    </a:lnTo>
                    <a:lnTo>
                      <a:pt x="508" y="299"/>
                    </a:lnTo>
                    <a:lnTo>
                      <a:pt x="508" y="297"/>
                    </a:lnTo>
                    <a:lnTo>
                      <a:pt x="508" y="297"/>
                    </a:lnTo>
                    <a:lnTo>
                      <a:pt x="506" y="295"/>
                    </a:lnTo>
                    <a:lnTo>
                      <a:pt x="506" y="293"/>
                    </a:lnTo>
                    <a:lnTo>
                      <a:pt x="504" y="293"/>
                    </a:lnTo>
                    <a:lnTo>
                      <a:pt x="504" y="291"/>
                    </a:lnTo>
                    <a:lnTo>
                      <a:pt x="506" y="289"/>
                    </a:lnTo>
                    <a:lnTo>
                      <a:pt x="508" y="289"/>
                    </a:lnTo>
                    <a:lnTo>
                      <a:pt x="509" y="287"/>
                    </a:lnTo>
                    <a:lnTo>
                      <a:pt x="513" y="285"/>
                    </a:lnTo>
                    <a:lnTo>
                      <a:pt x="513" y="285"/>
                    </a:lnTo>
                    <a:lnTo>
                      <a:pt x="515" y="285"/>
                    </a:lnTo>
                    <a:lnTo>
                      <a:pt x="515" y="285"/>
                    </a:lnTo>
                    <a:lnTo>
                      <a:pt x="519" y="285"/>
                    </a:lnTo>
                    <a:lnTo>
                      <a:pt x="519" y="287"/>
                    </a:lnTo>
                    <a:lnTo>
                      <a:pt x="521" y="287"/>
                    </a:lnTo>
                    <a:lnTo>
                      <a:pt x="521" y="289"/>
                    </a:lnTo>
                    <a:lnTo>
                      <a:pt x="521" y="291"/>
                    </a:lnTo>
                    <a:lnTo>
                      <a:pt x="521" y="293"/>
                    </a:lnTo>
                    <a:lnTo>
                      <a:pt x="521" y="295"/>
                    </a:lnTo>
                    <a:lnTo>
                      <a:pt x="521" y="297"/>
                    </a:lnTo>
                    <a:lnTo>
                      <a:pt x="519" y="299"/>
                    </a:lnTo>
                    <a:lnTo>
                      <a:pt x="517" y="301"/>
                    </a:lnTo>
                    <a:lnTo>
                      <a:pt x="517" y="301"/>
                    </a:lnTo>
                    <a:lnTo>
                      <a:pt x="517" y="303"/>
                    </a:lnTo>
                    <a:lnTo>
                      <a:pt x="517" y="303"/>
                    </a:lnTo>
                    <a:lnTo>
                      <a:pt x="517" y="303"/>
                    </a:lnTo>
                    <a:lnTo>
                      <a:pt x="519" y="303"/>
                    </a:lnTo>
                    <a:lnTo>
                      <a:pt x="521" y="303"/>
                    </a:lnTo>
                    <a:lnTo>
                      <a:pt x="525" y="301"/>
                    </a:lnTo>
                    <a:lnTo>
                      <a:pt x="530" y="301"/>
                    </a:lnTo>
                    <a:lnTo>
                      <a:pt x="532" y="301"/>
                    </a:lnTo>
                    <a:lnTo>
                      <a:pt x="536" y="297"/>
                    </a:lnTo>
                    <a:lnTo>
                      <a:pt x="538" y="295"/>
                    </a:lnTo>
                    <a:lnTo>
                      <a:pt x="542" y="291"/>
                    </a:lnTo>
                    <a:lnTo>
                      <a:pt x="542" y="289"/>
                    </a:lnTo>
                    <a:lnTo>
                      <a:pt x="544" y="289"/>
                    </a:lnTo>
                    <a:lnTo>
                      <a:pt x="544" y="287"/>
                    </a:lnTo>
                    <a:lnTo>
                      <a:pt x="542" y="285"/>
                    </a:lnTo>
                    <a:lnTo>
                      <a:pt x="542" y="284"/>
                    </a:lnTo>
                    <a:lnTo>
                      <a:pt x="542" y="282"/>
                    </a:lnTo>
                    <a:lnTo>
                      <a:pt x="542" y="282"/>
                    </a:lnTo>
                    <a:lnTo>
                      <a:pt x="542" y="280"/>
                    </a:lnTo>
                    <a:lnTo>
                      <a:pt x="542" y="276"/>
                    </a:lnTo>
                    <a:lnTo>
                      <a:pt x="542" y="274"/>
                    </a:lnTo>
                    <a:lnTo>
                      <a:pt x="542" y="272"/>
                    </a:lnTo>
                    <a:lnTo>
                      <a:pt x="544" y="272"/>
                    </a:lnTo>
                    <a:lnTo>
                      <a:pt x="546" y="270"/>
                    </a:lnTo>
                    <a:lnTo>
                      <a:pt x="546" y="268"/>
                    </a:lnTo>
                    <a:lnTo>
                      <a:pt x="546" y="261"/>
                    </a:lnTo>
                    <a:lnTo>
                      <a:pt x="546" y="261"/>
                    </a:lnTo>
                    <a:lnTo>
                      <a:pt x="546" y="257"/>
                    </a:lnTo>
                    <a:lnTo>
                      <a:pt x="546" y="255"/>
                    </a:lnTo>
                    <a:lnTo>
                      <a:pt x="546" y="255"/>
                    </a:lnTo>
                    <a:lnTo>
                      <a:pt x="557" y="238"/>
                    </a:lnTo>
                    <a:lnTo>
                      <a:pt x="561" y="234"/>
                    </a:lnTo>
                    <a:lnTo>
                      <a:pt x="565" y="230"/>
                    </a:lnTo>
                    <a:lnTo>
                      <a:pt x="567" y="230"/>
                    </a:lnTo>
                    <a:lnTo>
                      <a:pt x="567" y="228"/>
                    </a:lnTo>
                    <a:lnTo>
                      <a:pt x="569" y="225"/>
                    </a:lnTo>
                    <a:lnTo>
                      <a:pt x="569" y="217"/>
                    </a:lnTo>
                    <a:lnTo>
                      <a:pt x="569" y="215"/>
                    </a:lnTo>
                    <a:lnTo>
                      <a:pt x="570" y="213"/>
                    </a:lnTo>
                    <a:lnTo>
                      <a:pt x="576" y="207"/>
                    </a:lnTo>
                    <a:lnTo>
                      <a:pt x="578" y="202"/>
                    </a:lnTo>
                    <a:lnTo>
                      <a:pt x="582" y="204"/>
                    </a:lnTo>
                    <a:lnTo>
                      <a:pt x="582" y="206"/>
                    </a:lnTo>
                    <a:lnTo>
                      <a:pt x="582" y="209"/>
                    </a:lnTo>
                    <a:lnTo>
                      <a:pt x="582" y="209"/>
                    </a:lnTo>
                    <a:lnTo>
                      <a:pt x="582" y="209"/>
                    </a:lnTo>
                    <a:lnTo>
                      <a:pt x="582" y="211"/>
                    </a:lnTo>
                    <a:lnTo>
                      <a:pt x="584" y="213"/>
                    </a:lnTo>
                    <a:lnTo>
                      <a:pt x="584" y="213"/>
                    </a:lnTo>
                    <a:lnTo>
                      <a:pt x="586" y="213"/>
                    </a:lnTo>
                    <a:lnTo>
                      <a:pt x="588" y="211"/>
                    </a:lnTo>
                    <a:lnTo>
                      <a:pt x="590" y="211"/>
                    </a:lnTo>
                    <a:lnTo>
                      <a:pt x="591" y="209"/>
                    </a:lnTo>
                    <a:lnTo>
                      <a:pt x="593" y="207"/>
                    </a:lnTo>
                    <a:lnTo>
                      <a:pt x="595" y="206"/>
                    </a:lnTo>
                    <a:lnTo>
                      <a:pt x="597" y="200"/>
                    </a:lnTo>
                    <a:lnTo>
                      <a:pt x="597" y="198"/>
                    </a:lnTo>
                    <a:lnTo>
                      <a:pt x="597" y="198"/>
                    </a:lnTo>
                    <a:lnTo>
                      <a:pt x="597" y="196"/>
                    </a:lnTo>
                    <a:lnTo>
                      <a:pt x="599" y="194"/>
                    </a:lnTo>
                    <a:lnTo>
                      <a:pt x="603" y="190"/>
                    </a:lnTo>
                    <a:lnTo>
                      <a:pt x="603" y="188"/>
                    </a:lnTo>
                    <a:lnTo>
                      <a:pt x="605" y="187"/>
                    </a:lnTo>
                    <a:lnTo>
                      <a:pt x="607" y="185"/>
                    </a:lnTo>
                    <a:lnTo>
                      <a:pt x="607" y="185"/>
                    </a:lnTo>
                    <a:lnTo>
                      <a:pt x="609" y="185"/>
                    </a:lnTo>
                    <a:lnTo>
                      <a:pt x="611" y="185"/>
                    </a:lnTo>
                    <a:lnTo>
                      <a:pt x="612" y="185"/>
                    </a:lnTo>
                    <a:lnTo>
                      <a:pt x="612" y="183"/>
                    </a:lnTo>
                    <a:lnTo>
                      <a:pt x="614" y="183"/>
                    </a:lnTo>
                    <a:lnTo>
                      <a:pt x="614" y="183"/>
                    </a:lnTo>
                    <a:lnTo>
                      <a:pt x="618" y="183"/>
                    </a:lnTo>
                    <a:lnTo>
                      <a:pt x="630" y="177"/>
                    </a:lnTo>
                    <a:lnTo>
                      <a:pt x="632" y="177"/>
                    </a:lnTo>
                    <a:lnTo>
                      <a:pt x="641" y="169"/>
                    </a:lnTo>
                    <a:lnTo>
                      <a:pt x="645" y="166"/>
                    </a:lnTo>
                    <a:lnTo>
                      <a:pt x="649" y="160"/>
                    </a:lnTo>
                    <a:lnTo>
                      <a:pt x="652" y="154"/>
                    </a:lnTo>
                    <a:lnTo>
                      <a:pt x="654" y="152"/>
                    </a:lnTo>
                    <a:lnTo>
                      <a:pt x="658" y="148"/>
                    </a:lnTo>
                    <a:lnTo>
                      <a:pt x="658" y="148"/>
                    </a:lnTo>
                    <a:lnTo>
                      <a:pt x="660" y="147"/>
                    </a:lnTo>
                    <a:lnTo>
                      <a:pt x="660" y="147"/>
                    </a:lnTo>
                    <a:lnTo>
                      <a:pt x="662" y="147"/>
                    </a:lnTo>
                    <a:lnTo>
                      <a:pt x="664" y="150"/>
                    </a:lnTo>
                    <a:lnTo>
                      <a:pt x="666" y="150"/>
                    </a:lnTo>
                    <a:lnTo>
                      <a:pt x="668" y="150"/>
                    </a:lnTo>
                    <a:lnTo>
                      <a:pt x="670" y="150"/>
                    </a:lnTo>
                    <a:lnTo>
                      <a:pt x="673" y="150"/>
                    </a:lnTo>
                    <a:lnTo>
                      <a:pt x="673" y="150"/>
                    </a:lnTo>
                    <a:lnTo>
                      <a:pt x="689" y="141"/>
                    </a:lnTo>
                    <a:lnTo>
                      <a:pt x="689" y="141"/>
                    </a:lnTo>
                    <a:lnTo>
                      <a:pt x="689" y="141"/>
                    </a:lnTo>
                    <a:lnTo>
                      <a:pt x="689" y="139"/>
                    </a:lnTo>
                    <a:lnTo>
                      <a:pt x="691" y="139"/>
                    </a:lnTo>
                    <a:lnTo>
                      <a:pt x="691" y="137"/>
                    </a:lnTo>
                    <a:lnTo>
                      <a:pt x="693" y="135"/>
                    </a:lnTo>
                    <a:lnTo>
                      <a:pt x="694" y="133"/>
                    </a:lnTo>
                    <a:lnTo>
                      <a:pt x="694" y="133"/>
                    </a:lnTo>
                    <a:lnTo>
                      <a:pt x="696" y="133"/>
                    </a:lnTo>
                    <a:lnTo>
                      <a:pt x="698" y="133"/>
                    </a:lnTo>
                    <a:lnTo>
                      <a:pt x="700" y="133"/>
                    </a:lnTo>
                    <a:lnTo>
                      <a:pt x="702" y="133"/>
                    </a:lnTo>
                    <a:lnTo>
                      <a:pt x="704" y="133"/>
                    </a:lnTo>
                    <a:lnTo>
                      <a:pt x="708" y="129"/>
                    </a:lnTo>
                    <a:lnTo>
                      <a:pt x="715" y="124"/>
                    </a:lnTo>
                    <a:lnTo>
                      <a:pt x="717" y="124"/>
                    </a:lnTo>
                    <a:lnTo>
                      <a:pt x="719" y="122"/>
                    </a:lnTo>
                    <a:lnTo>
                      <a:pt x="721" y="122"/>
                    </a:lnTo>
                    <a:lnTo>
                      <a:pt x="723" y="120"/>
                    </a:lnTo>
                    <a:lnTo>
                      <a:pt x="727" y="118"/>
                    </a:lnTo>
                    <a:lnTo>
                      <a:pt x="729" y="116"/>
                    </a:lnTo>
                    <a:lnTo>
                      <a:pt x="731" y="112"/>
                    </a:lnTo>
                    <a:lnTo>
                      <a:pt x="731" y="110"/>
                    </a:lnTo>
                    <a:lnTo>
                      <a:pt x="731" y="109"/>
                    </a:lnTo>
                    <a:lnTo>
                      <a:pt x="731" y="107"/>
                    </a:lnTo>
                    <a:lnTo>
                      <a:pt x="733" y="105"/>
                    </a:lnTo>
                    <a:lnTo>
                      <a:pt x="733" y="105"/>
                    </a:lnTo>
                    <a:lnTo>
                      <a:pt x="734" y="103"/>
                    </a:lnTo>
                    <a:lnTo>
                      <a:pt x="738" y="103"/>
                    </a:lnTo>
                    <a:lnTo>
                      <a:pt x="738" y="101"/>
                    </a:lnTo>
                    <a:lnTo>
                      <a:pt x="740" y="103"/>
                    </a:lnTo>
                    <a:lnTo>
                      <a:pt x="742" y="103"/>
                    </a:lnTo>
                    <a:lnTo>
                      <a:pt x="746" y="105"/>
                    </a:lnTo>
                    <a:lnTo>
                      <a:pt x="748" y="107"/>
                    </a:lnTo>
                    <a:lnTo>
                      <a:pt x="752" y="109"/>
                    </a:lnTo>
                    <a:lnTo>
                      <a:pt x="771" y="99"/>
                    </a:lnTo>
                    <a:lnTo>
                      <a:pt x="773" y="99"/>
                    </a:lnTo>
                    <a:lnTo>
                      <a:pt x="776" y="101"/>
                    </a:lnTo>
                    <a:lnTo>
                      <a:pt x="776" y="101"/>
                    </a:lnTo>
                    <a:lnTo>
                      <a:pt x="778" y="99"/>
                    </a:lnTo>
                    <a:lnTo>
                      <a:pt x="780" y="99"/>
                    </a:lnTo>
                    <a:lnTo>
                      <a:pt x="780" y="99"/>
                    </a:lnTo>
                    <a:lnTo>
                      <a:pt x="784" y="101"/>
                    </a:lnTo>
                    <a:lnTo>
                      <a:pt x="784" y="101"/>
                    </a:lnTo>
                    <a:lnTo>
                      <a:pt x="786" y="101"/>
                    </a:lnTo>
                    <a:lnTo>
                      <a:pt x="786" y="99"/>
                    </a:lnTo>
                    <a:lnTo>
                      <a:pt x="786" y="99"/>
                    </a:lnTo>
                    <a:lnTo>
                      <a:pt x="786" y="97"/>
                    </a:lnTo>
                    <a:lnTo>
                      <a:pt x="788" y="97"/>
                    </a:lnTo>
                    <a:lnTo>
                      <a:pt x="790" y="97"/>
                    </a:lnTo>
                    <a:lnTo>
                      <a:pt x="790" y="95"/>
                    </a:lnTo>
                    <a:lnTo>
                      <a:pt x="790" y="95"/>
                    </a:lnTo>
                    <a:lnTo>
                      <a:pt x="792" y="95"/>
                    </a:lnTo>
                    <a:lnTo>
                      <a:pt x="792" y="95"/>
                    </a:lnTo>
                    <a:lnTo>
                      <a:pt x="792" y="93"/>
                    </a:lnTo>
                    <a:lnTo>
                      <a:pt x="792" y="91"/>
                    </a:lnTo>
                    <a:lnTo>
                      <a:pt x="794" y="91"/>
                    </a:lnTo>
                    <a:lnTo>
                      <a:pt x="794" y="91"/>
                    </a:lnTo>
                    <a:lnTo>
                      <a:pt x="796" y="89"/>
                    </a:lnTo>
                    <a:lnTo>
                      <a:pt x="796" y="89"/>
                    </a:lnTo>
                    <a:lnTo>
                      <a:pt x="797" y="89"/>
                    </a:lnTo>
                    <a:lnTo>
                      <a:pt x="797" y="88"/>
                    </a:lnTo>
                    <a:lnTo>
                      <a:pt x="797" y="88"/>
                    </a:lnTo>
                    <a:lnTo>
                      <a:pt x="797" y="84"/>
                    </a:lnTo>
                    <a:lnTo>
                      <a:pt x="797" y="82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5" name="Freeform 37">
                <a:extLst>
                  <a:ext uri="{FF2B5EF4-FFF2-40B4-BE49-F238E27FC236}">
                    <a16:creationId xmlns:a16="http://schemas.microsoft.com/office/drawing/2014/main" id="{7F062741-94B5-46B4-AC4D-D96481C3E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8332" y="3270724"/>
                <a:ext cx="1152525" cy="612775"/>
              </a:xfrm>
              <a:custGeom>
                <a:avLst/>
                <a:gdLst>
                  <a:gd name="T0" fmla="*/ 705 w 726"/>
                  <a:gd name="T1" fmla="*/ 150 h 386"/>
                  <a:gd name="T2" fmla="*/ 659 w 726"/>
                  <a:gd name="T3" fmla="*/ 128 h 386"/>
                  <a:gd name="T4" fmla="*/ 614 w 726"/>
                  <a:gd name="T5" fmla="*/ 114 h 386"/>
                  <a:gd name="T6" fmla="*/ 612 w 726"/>
                  <a:gd name="T7" fmla="*/ 57 h 386"/>
                  <a:gd name="T8" fmla="*/ 581 w 726"/>
                  <a:gd name="T9" fmla="*/ 32 h 386"/>
                  <a:gd name="T10" fmla="*/ 585 w 726"/>
                  <a:gd name="T11" fmla="*/ 17 h 386"/>
                  <a:gd name="T12" fmla="*/ 526 w 726"/>
                  <a:gd name="T13" fmla="*/ 4 h 386"/>
                  <a:gd name="T14" fmla="*/ 499 w 726"/>
                  <a:gd name="T15" fmla="*/ 21 h 386"/>
                  <a:gd name="T16" fmla="*/ 482 w 726"/>
                  <a:gd name="T17" fmla="*/ 27 h 386"/>
                  <a:gd name="T18" fmla="*/ 455 w 726"/>
                  <a:gd name="T19" fmla="*/ 38 h 386"/>
                  <a:gd name="T20" fmla="*/ 425 w 726"/>
                  <a:gd name="T21" fmla="*/ 34 h 386"/>
                  <a:gd name="T22" fmla="*/ 383 w 726"/>
                  <a:gd name="T23" fmla="*/ 8 h 386"/>
                  <a:gd name="T24" fmla="*/ 347 w 726"/>
                  <a:gd name="T25" fmla="*/ 31 h 386"/>
                  <a:gd name="T26" fmla="*/ 314 w 726"/>
                  <a:gd name="T27" fmla="*/ 69 h 386"/>
                  <a:gd name="T28" fmla="*/ 293 w 726"/>
                  <a:gd name="T29" fmla="*/ 80 h 386"/>
                  <a:gd name="T30" fmla="*/ 265 w 726"/>
                  <a:gd name="T31" fmla="*/ 95 h 386"/>
                  <a:gd name="T32" fmla="*/ 206 w 726"/>
                  <a:gd name="T33" fmla="*/ 118 h 386"/>
                  <a:gd name="T34" fmla="*/ 165 w 726"/>
                  <a:gd name="T35" fmla="*/ 160 h 386"/>
                  <a:gd name="T36" fmla="*/ 150 w 726"/>
                  <a:gd name="T37" fmla="*/ 168 h 386"/>
                  <a:gd name="T38" fmla="*/ 139 w 726"/>
                  <a:gd name="T39" fmla="*/ 196 h 386"/>
                  <a:gd name="T40" fmla="*/ 112 w 726"/>
                  <a:gd name="T41" fmla="*/ 217 h 386"/>
                  <a:gd name="T42" fmla="*/ 95 w 726"/>
                  <a:gd name="T43" fmla="*/ 219 h 386"/>
                  <a:gd name="T44" fmla="*/ 82 w 726"/>
                  <a:gd name="T45" fmla="*/ 219 h 386"/>
                  <a:gd name="T46" fmla="*/ 42 w 726"/>
                  <a:gd name="T47" fmla="*/ 232 h 386"/>
                  <a:gd name="T48" fmla="*/ 7 w 726"/>
                  <a:gd name="T49" fmla="*/ 265 h 386"/>
                  <a:gd name="T50" fmla="*/ 36 w 726"/>
                  <a:gd name="T51" fmla="*/ 274 h 386"/>
                  <a:gd name="T52" fmla="*/ 57 w 726"/>
                  <a:gd name="T53" fmla="*/ 303 h 386"/>
                  <a:gd name="T54" fmla="*/ 51 w 726"/>
                  <a:gd name="T55" fmla="*/ 322 h 386"/>
                  <a:gd name="T56" fmla="*/ 93 w 726"/>
                  <a:gd name="T57" fmla="*/ 346 h 386"/>
                  <a:gd name="T58" fmla="*/ 146 w 726"/>
                  <a:gd name="T59" fmla="*/ 327 h 386"/>
                  <a:gd name="T60" fmla="*/ 225 w 726"/>
                  <a:gd name="T61" fmla="*/ 337 h 386"/>
                  <a:gd name="T62" fmla="*/ 268 w 726"/>
                  <a:gd name="T63" fmla="*/ 333 h 386"/>
                  <a:gd name="T64" fmla="*/ 284 w 726"/>
                  <a:gd name="T65" fmla="*/ 308 h 386"/>
                  <a:gd name="T66" fmla="*/ 335 w 726"/>
                  <a:gd name="T67" fmla="*/ 259 h 386"/>
                  <a:gd name="T68" fmla="*/ 337 w 726"/>
                  <a:gd name="T69" fmla="*/ 247 h 386"/>
                  <a:gd name="T70" fmla="*/ 373 w 726"/>
                  <a:gd name="T71" fmla="*/ 249 h 386"/>
                  <a:gd name="T72" fmla="*/ 467 w 726"/>
                  <a:gd name="T73" fmla="*/ 209 h 386"/>
                  <a:gd name="T74" fmla="*/ 503 w 726"/>
                  <a:gd name="T75" fmla="*/ 206 h 386"/>
                  <a:gd name="T76" fmla="*/ 528 w 726"/>
                  <a:gd name="T77" fmla="*/ 232 h 386"/>
                  <a:gd name="T78" fmla="*/ 535 w 726"/>
                  <a:gd name="T79" fmla="*/ 253 h 386"/>
                  <a:gd name="T80" fmla="*/ 541 w 726"/>
                  <a:gd name="T81" fmla="*/ 276 h 386"/>
                  <a:gd name="T82" fmla="*/ 551 w 726"/>
                  <a:gd name="T83" fmla="*/ 272 h 386"/>
                  <a:gd name="T84" fmla="*/ 553 w 726"/>
                  <a:gd name="T85" fmla="*/ 287 h 386"/>
                  <a:gd name="T86" fmla="*/ 545 w 726"/>
                  <a:gd name="T87" fmla="*/ 295 h 386"/>
                  <a:gd name="T88" fmla="*/ 530 w 726"/>
                  <a:gd name="T89" fmla="*/ 295 h 386"/>
                  <a:gd name="T90" fmla="*/ 490 w 726"/>
                  <a:gd name="T91" fmla="*/ 303 h 386"/>
                  <a:gd name="T92" fmla="*/ 467 w 726"/>
                  <a:gd name="T93" fmla="*/ 325 h 386"/>
                  <a:gd name="T94" fmla="*/ 453 w 726"/>
                  <a:gd name="T95" fmla="*/ 337 h 386"/>
                  <a:gd name="T96" fmla="*/ 455 w 726"/>
                  <a:gd name="T97" fmla="*/ 354 h 386"/>
                  <a:gd name="T98" fmla="*/ 457 w 726"/>
                  <a:gd name="T99" fmla="*/ 375 h 386"/>
                  <a:gd name="T100" fmla="*/ 492 w 726"/>
                  <a:gd name="T101" fmla="*/ 363 h 386"/>
                  <a:gd name="T102" fmla="*/ 518 w 726"/>
                  <a:gd name="T103" fmla="*/ 348 h 386"/>
                  <a:gd name="T104" fmla="*/ 574 w 726"/>
                  <a:gd name="T105" fmla="*/ 301 h 386"/>
                  <a:gd name="T106" fmla="*/ 633 w 726"/>
                  <a:gd name="T107" fmla="*/ 287 h 386"/>
                  <a:gd name="T108" fmla="*/ 654 w 726"/>
                  <a:gd name="T109" fmla="*/ 291 h 386"/>
                  <a:gd name="T110" fmla="*/ 682 w 726"/>
                  <a:gd name="T111" fmla="*/ 322 h 386"/>
                  <a:gd name="T112" fmla="*/ 696 w 726"/>
                  <a:gd name="T113" fmla="*/ 324 h 386"/>
                  <a:gd name="T114" fmla="*/ 669 w 726"/>
                  <a:gd name="T115" fmla="*/ 278 h 386"/>
                  <a:gd name="T116" fmla="*/ 663 w 726"/>
                  <a:gd name="T117" fmla="*/ 251 h 386"/>
                  <a:gd name="T118" fmla="*/ 688 w 726"/>
                  <a:gd name="T119" fmla="*/ 230 h 386"/>
                  <a:gd name="T120" fmla="*/ 705 w 726"/>
                  <a:gd name="T121" fmla="*/ 213 h 386"/>
                  <a:gd name="T122" fmla="*/ 722 w 726"/>
                  <a:gd name="T123" fmla="*/ 209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26" h="386">
                    <a:moveTo>
                      <a:pt x="724" y="192"/>
                    </a:moveTo>
                    <a:lnTo>
                      <a:pt x="719" y="185"/>
                    </a:lnTo>
                    <a:lnTo>
                      <a:pt x="717" y="181"/>
                    </a:lnTo>
                    <a:lnTo>
                      <a:pt x="719" y="177"/>
                    </a:lnTo>
                    <a:lnTo>
                      <a:pt x="722" y="168"/>
                    </a:lnTo>
                    <a:lnTo>
                      <a:pt x="720" y="164"/>
                    </a:lnTo>
                    <a:lnTo>
                      <a:pt x="717" y="162"/>
                    </a:lnTo>
                    <a:lnTo>
                      <a:pt x="709" y="156"/>
                    </a:lnTo>
                    <a:lnTo>
                      <a:pt x="707" y="154"/>
                    </a:lnTo>
                    <a:lnTo>
                      <a:pt x="707" y="150"/>
                    </a:lnTo>
                    <a:lnTo>
                      <a:pt x="705" y="150"/>
                    </a:lnTo>
                    <a:lnTo>
                      <a:pt x="705" y="150"/>
                    </a:lnTo>
                    <a:lnTo>
                      <a:pt x="703" y="150"/>
                    </a:lnTo>
                    <a:lnTo>
                      <a:pt x="696" y="143"/>
                    </a:lnTo>
                    <a:lnTo>
                      <a:pt x="690" y="141"/>
                    </a:lnTo>
                    <a:lnTo>
                      <a:pt x="684" y="145"/>
                    </a:lnTo>
                    <a:lnTo>
                      <a:pt x="680" y="147"/>
                    </a:lnTo>
                    <a:lnTo>
                      <a:pt x="677" y="148"/>
                    </a:lnTo>
                    <a:lnTo>
                      <a:pt x="673" y="147"/>
                    </a:lnTo>
                    <a:lnTo>
                      <a:pt x="667" y="145"/>
                    </a:lnTo>
                    <a:lnTo>
                      <a:pt x="665" y="133"/>
                    </a:lnTo>
                    <a:lnTo>
                      <a:pt x="659" y="128"/>
                    </a:lnTo>
                    <a:lnTo>
                      <a:pt x="652" y="122"/>
                    </a:lnTo>
                    <a:lnTo>
                      <a:pt x="642" y="110"/>
                    </a:lnTo>
                    <a:lnTo>
                      <a:pt x="631" y="109"/>
                    </a:lnTo>
                    <a:lnTo>
                      <a:pt x="625" y="112"/>
                    </a:lnTo>
                    <a:lnTo>
                      <a:pt x="621" y="120"/>
                    </a:lnTo>
                    <a:lnTo>
                      <a:pt x="619" y="126"/>
                    </a:lnTo>
                    <a:lnTo>
                      <a:pt x="619" y="133"/>
                    </a:lnTo>
                    <a:lnTo>
                      <a:pt x="617" y="135"/>
                    </a:lnTo>
                    <a:lnTo>
                      <a:pt x="614" y="126"/>
                    </a:lnTo>
                    <a:lnTo>
                      <a:pt x="608" y="122"/>
                    </a:lnTo>
                    <a:lnTo>
                      <a:pt x="614" y="114"/>
                    </a:lnTo>
                    <a:lnTo>
                      <a:pt x="610" y="109"/>
                    </a:lnTo>
                    <a:lnTo>
                      <a:pt x="617" y="103"/>
                    </a:lnTo>
                    <a:lnTo>
                      <a:pt x="629" y="93"/>
                    </a:lnTo>
                    <a:lnTo>
                      <a:pt x="629" y="88"/>
                    </a:lnTo>
                    <a:lnTo>
                      <a:pt x="627" y="80"/>
                    </a:lnTo>
                    <a:lnTo>
                      <a:pt x="621" y="72"/>
                    </a:lnTo>
                    <a:lnTo>
                      <a:pt x="619" y="69"/>
                    </a:lnTo>
                    <a:lnTo>
                      <a:pt x="617" y="63"/>
                    </a:lnTo>
                    <a:lnTo>
                      <a:pt x="617" y="59"/>
                    </a:lnTo>
                    <a:lnTo>
                      <a:pt x="614" y="57"/>
                    </a:lnTo>
                    <a:lnTo>
                      <a:pt x="612" y="57"/>
                    </a:lnTo>
                    <a:lnTo>
                      <a:pt x="612" y="57"/>
                    </a:lnTo>
                    <a:lnTo>
                      <a:pt x="612" y="55"/>
                    </a:lnTo>
                    <a:lnTo>
                      <a:pt x="612" y="53"/>
                    </a:lnTo>
                    <a:lnTo>
                      <a:pt x="600" y="48"/>
                    </a:lnTo>
                    <a:lnTo>
                      <a:pt x="598" y="38"/>
                    </a:lnTo>
                    <a:lnTo>
                      <a:pt x="591" y="42"/>
                    </a:lnTo>
                    <a:lnTo>
                      <a:pt x="579" y="50"/>
                    </a:lnTo>
                    <a:lnTo>
                      <a:pt x="577" y="36"/>
                    </a:lnTo>
                    <a:lnTo>
                      <a:pt x="577" y="34"/>
                    </a:lnTo>
                    <a:lnTo>
                      <a:pt x="579" y="32"/>
                    </a:lnTo>
                    <a:lnTo>
                      <a:pt x="581" y="32"/>
                    </a:lnTo>
                    <a:lnTo>
                      <a:pt x="595" y="29"/>
                    </a:lnTo>
                    <a:lnTo>
                      <a:pt x="596" y="27"/>
                    </a:lnTo>
                    <a:lnTo>
                      <a:pt x="598" y="23"/>
                    </a:lnTo>
                    <a:lnTo>
                      <a:pt x="600" y="17"/>
                    </a:lnTo>
                    <a:lnTo>
                      <a:pt x="600" y="15"/>
                    </a:lnTo>
                    <a:lnTo>
                      <a:pt x="598" y="13"/>
                    </a:lnTo>
                    <a:lnTo>
                      <a:pt x="596" y="13"/>
                    </a:lnTo>
                    <a:lnTo>
                      <a:pt x="595" y="13"/>
                    </a:lnTo>
                    <a:lnTo>
                      <a:pt x="593" y="15"/>
                    </a:lnTo>
                    <a:lnTo>
                      <a:pt x="589" y="17"/>
                    </a:lnTo>
                    <a:lnTo>
                      <a:pt x="585" y="17"/>
                    </a:lnTo>
                    <a:lnTo>
                      <a:pt x="581" y="15"/>
                    </a:lnTo>
                    <a:lnTo>
                      <a:pt x="577" y="11"/>
                    </a:lnTo>
                    <a:lnTo>
                      <a:pt x="575" y="10"/>
                    </a:lnTo>
                    <a:lnTo>
                      <a:pt x="574" y="2"/>
                    </a:lnTo>
                    <a:lnTo>
                      <a:pt x="572" y="0"/>
                    </a:lnTo>
                    <a:lnTo>
                      <a:pt x="564" y="0"/>
                    </a:lnTo>
                    <a:lnTo>
                      <a:pt x="556" y="0"/>
                    </a:lnTo>
                    <a:lnTo>
                      <a:pt x="549" y="2"/>
                    </a:lnTo>
                    <a:lnTo>
                      <a:pt x="537" y="6"/>
                    </a:lnTo>
                    <a:lnTo>
                      <a:pt x="530" y="2"/>
                    </a:lnTo>
                    <a:lnTo>
                      <a:pt x="526" y="4"/>
                    </a:lnTo>
                    <a:lnTo>
                      <a:pt x="522" y="4"/>
                    </a:lnTo>
                    <a:lnTo>
                      <a:pt x="524" y="13"/>
                    </a:lnTo>
                    <a:lnTo>
                      <a:pt x="520" y="21"/>
                    </a:lnTo>
                    <a:lnTo>
                      <a:pt x="511" y="19"/>
                    </a:lnTo>
                    <a:lnTo>
                      <a:pt x="503" y="17"/>
                    </a:lnTo>
                    <a:lnTo>
                      <a:pt x="503" y="17"/>
                    </a:lnTo>
                    <a:lnTo>
                      <a:pt x="501" y="17"/>
                    </a:lnTo>
                    <a:lnTo>
                      <a:pt x="499" y="17"/>
                    </a:lnTo>
                    <a:lnTo>
                      <a:pt x="499" y="19"/>
                    </a:lnTo>
                    <a:lnTo>
                      <a:pt x="499" y="19"/>
                    </a:lnTo>
                    <a:lnTo>
                      <a:pt x="499" y="21"/>
                    </a:lnTo>
                    <a:lnTo>
                      <a:pt x="499" y="23"/>
                    </a:lnTo>
                    <a:lnTo>
                      <a:pt x="493" y="23"/>
                    </a:lnTo>
                    <a:lnTo>
                      <a:pt x="493" y="25"/>
                    </a:lnTo>
                    <a:lnTo>
                      <a:pt x="495" y="29"/>
                    </a:lnTo>
                    <a:lnTo>
                      <a:pt x="495" y="32"/>
                    </a:lnTo>
                    <a:lnTo>
                      <a:pt x="493" y="34"/>
                    </a:lnTo>
                    <a:lnTo>
                      <a:pt x="490" y="32"/>
                    </a:lnTo>
                    <a:lnTo>
                      <a:pt x="488" y="34"/>
                    </a:lnTo>
                    <a:lnTo>
                      <a:pt x="486" y="31"/>
                    </a:lnTo>
                    <a:lnTo>
                      <a:pt x="486" y="27"/>
                    </a:lnTo>
                    <a:lnTo>
                      <a:pt x="482" y="27"/>
                    </a:lnTo>
                    <a:lnTo>
                      <a:pt x="480" y="34"/>
                    </a:lnTo>
                    <a:lnTo>
                      <a:pt x="476" y="32"/>
                    </a:lnTo>
                    <a:lnTo>
                      <a:pt x="469" y="32"/>
                    </a:lnTo>
                    <a:lnTo>
                      <a:pt x="463" y="36"/>
                    </a:lnTo>
                    <a:lnTo>
                      <a:pt x="465" y="46"/>
                    </a:lnTo>
                    <a:lnTo>
                      <a:pt x="457" y="44"/>
                    </a:lnTo>
                    <a:lnTo>
                      <a:pt x="457" y="44"/>
                    </a:lnTo>
                    <a:lnTo>
                      <a:pt x="455" y="42"/>
                    </a:lnTo>
                    <a:lnTo>
                      <a:pt x="455" y="40"/>
                    </a:lnTo>
                    <a:lnTo>
                      <a:pt x="455" y="40"/>
                    </a:lnTo>
                    <a:lnTo>
                      <a:pt x="455" y="38"/>
                    </a:lnTo>
                    <a:lnTo>
                      <a:pt x="453" y="38"/>
                    </a:lnTo>
                    <a:lnTo>
                      <a:pt x="444" y="36"/>
                    </a:lnTo>
                    <a:lnTo>
                      <a:pt x="442" y="36"/>
                    </a:lnTo>
                    <a:lnTo>
                      <a:pt x="436" y="32"/>
                    </a:lnTo>
                    <a:lnTo>
                      <a:pt x="429" y="31"/>
                    </a:lnTo>
                    <a:lnTo>
                      <a:pt x="427" y="31"/>
                    </a:lnTo>
                    <a:lnTo>
                      <a:pt x="423" y="29"/>
                    </a:lnTo>
                    <a:lnTo>
                      <a:pt x="425" y="31"/>
                    </a:lnTo>
                    <a:lnTo>
                      <a:pt x="427" y="34"/>
                    </a:lnTo>
                    <a:lnTo>
                      <a:pt x="429" y="34"/>
                    </a:lnTo>
                    <a:lnTo>
                      <a:pt x="425" y="34"/>
                    </a:lnTo>
                    <a:lnTo>
                      <a:pt x="415" y="29"/>
                    </a:lnTo>
                    <a:lnTo>
                      <a:pt x="411" y="29"/>
                    </a:lnTo>
                    <a:lnTo>
                      <a:pt x="406" y="29"/>
                    </a:lnTo>
                    <a:lnTo>
                      <a:pt x="404" y="29"/>
                    </a:lnTo>
                    <a:lnTo>
                      <a:pt x="402" y="29"/>
                    </a:lnTo>
                    <a:lnTo>
                      <a:pt x="400" y="27"/>
                    </a:lnTo>
                    <a:lnTo>
                      <a:pt x="400" y="21"/>
                    </a:lnTo>
                    <a:lnTo>
                      <a:pt x="398" y="19"/>
                    </a:lnTo>
                    <a:lnTo>
                      <a:pt x="392" y="11"/>
                    </a:lnTo>
                    <a:lnTo>
                      <a:pt x="389" y="8"/>
                    </a:lnTo>
                    <a:lnTo>
                      <a:pt x="383" y="8"/>
                    </a:lnTo>
                    <a:lnTo>
                      <a:pt x="379" y="8"/>
                    </a:lnTo>
                    <a:lnTo>
                      <a:pt x="377" y="10"/>
                    </a:lnTo>
                    <a:lnTo>
                      <a:pt x="370" y="19"/>
                    </a:lnTo>
                    <a:lnTo>
                      <a:pt x="368" y="21"/>
                    </a:lnTo>
                    <a:lnTo>
                      <a:pt x="366" y="21"/>
                    </a:lnTo>
                    <a:lnTo>
                      <a:pt x="364" y="23"/>
                    </a:lnTo>
                    <a:lnTo>
                      <a:pt x="356" y="23"/>
                    </a:lnTo>
                    <a:lnTo>
                      <a:pt x="354" y="23"/>
                    </a:lnTo>
                    <a:lnTo>
                      <a:pt x="350" y="25"/>
                    </a:lnTo>
                    <a:lnTo>
                      <a:pt x="349" y="27"/>
                    </a:lnTo>
                    <a:lnTo>
                      <a:pt x="347" y="31"/>
                    </a:lnTo>
                    <a:lnTo>
                      <a:pt x="347" y="31"/>
                    </a:lnTo>
                    <a:lnTo>
                      <a:pt x="345" y="32"/>
                    </a:lnTo>
                    <a:lnTo>
                      <a:pt x="339" y="31"/>
                    </a:lnTo>
                    <a:lnTo>
                      <a:pt x="337" y="38"/>
                    </a:lnTo>
                    <a:lnTo>
                      <a:pt x="343" y="44"/>
                    </a:lnTo>
                    <a:lnTo>
                      <a:pt x="347" y="50"/>
                    </a:lnTo>
                    <a:lnTo>
                      <a:pt x="341" y="55"/>
                    </a:lnTo>
                    <a:lnTo>
                      <a:pt x="335" y="63"/>
                    </a:lnTo>
                    <a:lnTo>
                      <a:pt x="326" y="63"/>
                    </a:lnTo>
                    <a:lnTo>
                      <a:pt x="320" y="67"/>
                    </a:lnTo>
                    <a:lnTo>
                      <a:pt x="314" y="69"/>
                    </a:lnTo>
                    <a:lnTo>
                      <a:pt x="307" y="72"/>
                    </a:lnTo>
                    <a:lnTo>
                      <a:pt x="305" y="74"/>
                    </a:lnTo>
                    <a:lnTo>
                      <a:pt x="303" y="74"/>
                    </a:lnTo>
                    <a:lnTo>
                      <a:pt x="301" y="76"/>
                    </a:lnTo>
                    <a:lnTo>
                      <a:pt x="299" y="76"/>
                    </a:lnTo>
                    <a:lnTo>
                      <a:pt x="297" y="76"/>
                    </a:lnTo>
                    <a:lnTo>
                      <a:pt x="293" y="76"/>
                    </a:lnTo>
                    <a:lnTo>
                      <a:pt x="291" y="78"/>
                    </a:lnTo>
                    <a:lnTo>
                      <a:pt x="291" y="78"/>
                    </a:lnTo>
                    <a:lnTo>
                      <a:pt x="293" y="80"/>
                    </a:lnTo>
                    <a:lnTo>
                      <a:pt x="293" y="80"/>
                    </a:lnTo>
                    <a:lnTo>
                      <a:pt x="293" y="82"/>
                    </a:lnTo>
                    <a:lnTo>
                      <a:pt x="291" y="82"/>
                    </a:lnTo>
                    <a:lnTo>
                      <a:pt x="289" y="82"/>
                    </a:lnTo>
                    <a:lnTo>
                      <a:pt x="289" y="82"/>
                    </a:lnTo>
                    <a:lnTo>
                      <a:pt x="288" y="84"/>
                    </a:lnTo>
                    <a:lnTo>
                      <a:pt x="288" y="84"/>
                    </a:lnTo>
                    <a:lnTo>
                      <a:pt x="280" y="88"/>
                    </a:lnTo>
                    <a:lnTo>
                      <a:pt x="278" y="88"/>
                    </a:lnTo>
                    <a:lnTo>
                      <a:pt x="268" y="95"/>
                    </a:lnTo>
                    <a:lnTo>
                      <a:pt x="267" y="97"/>
                    </a:lnTo>
                    <a:lnTo>
                      <a:pt x="265" y="95"/>
                    </a:lnTo>
                    <a:lnTo>
                      <a:pt x="263" y="95"/>
                    </a:lnTo>
                    <a:lnTo>
                      <a:pt x="261" y="97"/>
                    </a:lnTo>
                    <a:lnTo>
                      <a:pt x="259" y="99"/>
                    </a:lnTo>
                    <a:lnTo>
                      <a:pt x="257" y="99"/>
                    </a:lnTo>
                    <a:lnTo>
                      <a:pt x="255" y="99"/>
                    </a:lnTo>
                    <a:lnTo>
                      <a:pt x="247" y="99"/>
                    </a:lnTo>
                    <a:lnTo>
                      <a:pt x="234" y="99"/>
                    </a:lnTo>
                    <a:lnTo>
                      <a:pt x="223" y="107"/>
                    </a:lnTo>
                    <a:lnTo>
                      <a:pt x="219" y="109"/>
                    </a:lnTo>
                    <a:lnTo>
                      <a:pt x="211" y="114"/>
                    </a:lnTo>
                    <a:lnTo>
                      <a:pt x="206" y="118"/>
                    </a:lnTo>
                    <a:lnTo>
                      <a:pt x="202" y="122"/>
                    </a:lnTo>
                    <a:lnTo>
                      <a:pt x="198" y="124"/>
                    </a:lnTo>
                    <a:lnTo>
                      <a:pt x="198" y="129"/>
                    </a:lnTo>
                    <a:lnTo>
                      <a:pt x="196" y="135"/>
                    </a:lnTo>
                    <a:lnTo>
                      <a:pt x="192" y="139"/>
                    </a:lnTo>
                    <a:lnTo>
                      <a:pt x="190" y="143"/>
                    </a:lnTo>
                    <a:lnTo>
                      <a:pt x="179" y="150"/>
                    </a:lnTo>
                    <a:lnTo>
                      <a:pt x="175" y="154"/>
                    </a:lnTo>
                    <a:lnTo>
                      <a:pt x="173" y="156"/>
                    </a:lnTo>
                    <a:lnTo>
                      <a:pt x="169" y="158"/>
                    </a:lnTo>
                    <a:lnTo>
                      <a:pt x="165" y="160"/>
                    </a:lnTo>
                    <a:lnTo>
                      <a:pt x="165" y="162"/>
                    </a:lnTo>
                    <a:lnTo>
                      <a:pt x="162" y="166"/>
                    </a:lnTo>
                    <a:lnTo>
                      <a:pt x="160" y="168"/>
                    </a:lnTo>
                    <a:lnTo>
                      <a:pt x="158" y="169"/>
                    </a:lnTo>
                    <a:lnTo>
                      <a:pt x="156" y="169"/>
                    </a:lnTo>
                    <a:lnTo>
                      <a:pt x="154" y="169"/>
                    </a:lnTo>
                    <a:lnTo>
                      <a:pt x="152" y="169"/>
                    </a:lnTo>
                    <a:lnTo>
                      <a:pt x="152" y="169"/>
                    </a:lnTo>
                    <a:lnTo>
                      <a:pt x="152" y="168"/>
                    </a:lnTo>
                    <a:lnTo>
                      <a:pt x="150" y="168"/>
                    </a:lnTo>
                    <a:lnTo>
                      <a:pt x="150" y="168"/>
                    </a:lnTo>
                    <a:lnTo>
                      <a:pt x="143" y="173"/>
                    </a:lnTo>
                    <a:lnTo>
                      <a:pt x="139" y="177"/>
                    </a:lnTo>
                    <a:lnTo>
                      <a:pt x="135" y="181"/>
                    </a:lnTo>
                    <a:lnTo>
                      <a:pt x="133" y="185"/>
                    </a:lnTo>
                    <a:lnTo>
                      <a:pt x="133" y="187"/>
                    </a:lnTo>
                    <a:lnTo>
                      <a:pt x="135" y="188"/>
                    </a:lnTo>
                    <a:lnTo>
                      <a:pt x="139" y="188"/>
                    </a:lnTo>
                    <a:lnTo>
                      <a:pt x="141" y="190"/>
                    </a:lnTo>
                    <a:lnTo>
                      <a:pt x="141" y="192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39" y="200"/>
                    </a:lnTo>
                    <a:lnTo>
                      <a:pt x="137" y="204"/>
                    </a:lnTo>
                    <a:lnTo>
                      <a:pt x="131" y="207"/>
                    </a:lnTo>
                    <a:lnTo>
                      <a:pt x="129" y="209"/>
                    </a:lnTo>
                    <a:lnTo>
                      <a:pt x="125" y="209"/>
                    </a:lnTo>
                    <a:lnTo>
                      <a:pt x="124" y="209"/>
                    </a:lnTo>
                    <a:lnTo>
                      <a:pt x="120" y="213"/>
                    </a:lnTo>
                    <a:lnTo>
                      <a:pt x="118" y="215"/>
                    </a:lnTo>
                    <a:lnTo>
                      <a:pt x="112" y="217"/>
                    </a:lnTo>
                    <a:lnTo>
                      <a:pt x="108" y="221"/>
                    </a:lnTo>
                    <a:lnTo>
                      <a:pt x="106" y="221"/>
                    </a:lnTo>
                    <a:lnTo>
                      <a:pt x="104" y="219"/>
                    </a:lnTo>
                    <a:lnTo>
                      <a:pt x="104" y="215"/>
                    </a:lnTo>
                    <a:lnTo>
                      <a:pt x="103" y="215"/>
                    </a:lnTo>
                    <a:lnTo>
                      <a:pt x="101" y="217"/>
                    </a:lnTo>
                    <a:lnTo>
                      <a:pt x="101" y="221"/>
                    </a:lnTo>
                    <a:lnTo>
                      <a:pt x="99" y="223"/>
                    </a:lnTo>
                    <a:lnTo>
                      <a:pt x="97" y="223"/>
                    </a:lnTo>
                    <a:lnTo>
                      <a:pt x="95" y="221"/>
                    </a:lnTo>
                    <a:lnTo>
                      <a:pt x="95" y="219"/>
                    </a:lnTo>
                    <a:lnTo>
                      <a:pt x="95" y="219"/>
                    </a:lnTo>
                    <a:lnTo>
                      <a:pt x="93" y="223"/>
                    </a:lnTo>
                    <a:lnTo>
                      <a:pt x="91" y="225"/>
                    </a:lnTo>
                    <a:lnTo>
                      <a:pt x="89" y="225"/>
                    </a:lnTo>
                    <a:lnTo>
                      <a:pt x="87" y="221"/>
                    </a:lnTo>
                    <a:lnTo>
                      <a:pt x="85" y="217"/>
                    </a:lnTo>
                    <a:lnTo>
                      <a:pt x="83" y="215"/>
                    </a:lnTo>
                    <a:lnTo>
                      <a:pt x="83" y="213"/>
                    </a:lnTo>
                    <a:lnTo>
                      <a:pt x="82" y="217"/>
                    </a:lnTo>
                    <a:lnTo>
                      <a:pt x="82" y="217"/>
                    </a:lnTo>
                    <a:lnTo>
                      <a:pt x="82" y="219"/>
                    </a:lnTo>
                    <a:lnTo>
                      <a:pt x="82" y="221"/>
                    </a:lnTo>
                    <a:lnTo>
                      <a:pt x="82" y="223"/>
                    </a:lnTo>
                    <a:lnTo>
                      <a:pt x="82" y="223"/>
                    </a:lnTo>
                    <a:lnTo>
                      <a:pt x="80" y="223"/>
                    </a:lnTo>
                    <a:lnTo>
                      <a:pt x="68" y="221"/>
                    </a:lnTo>
                    <a:lnTo>
                      <a:pt x="66" y="223"/>
                    </a:lnTo>
                    <a:lnTo>
                      <a:pt x="63" y="225"/>
                    </a:lnTo>
                    <a:lnTo>
                      <a:pt x="55" y="232"/>
                    </a:lnTo>
                    <a:lnTo>
                      <a:pt x="49" y="234"/>
                    </a:lnTo>
                    <a:lnTo>
                      <a:pt x="47" y="234"/>
                    </a:lnTo>
                    <a:lnTo>
                      <a:pt x="42" y="232"/>
                    </a:lnTo>
                    <a:lnTo>
                      <a:pt x="36" y="234"/>
                    </a:lnTo>
                    <a:lnTo>
                      <a:pt x="34" y="232"/>
                    </a:lnTo>
                    <a:lnTo>
                      <a:pt x="30" y="230"/>
                    </a:lnTo>
                    <a:lnTo>
                      <a:pt x="24" y="228"/>
                    </a:lnTo>
                    <a:lnTo>
                      <a:pt x="7" y="228"/>
                    </a:lnTo>
                    <a:lnTo>
                      <a:pt x="5" y="236"/>
                    </a:lnTo>
                    <a:lnTo>
                      <a:pt x="0" y="244"/>
                    </a:lnTo>
                    <a:lnTo>
                      <a:pt x="0" y="249"/>
                    </a:lnTo>
                    <a:lnTo>
                      <a:pt x="1" y="259"/>
                    </a:lnTo>
                    <a:lnTo>
                      <a:pt x="3" y="261"/>
                    </a:lnTo>
                    <a:lnTo>
                      <a:pt x="7" y="265"/>
                    </a:lnTo>
                    <a:lnTo>
                      <a:pt x="7" y="266"/>
                    </a:lnTo>
                    <a:lnTo>
                      <a:pt x="9" y="268"/>
                    </a:lnTo>
                    <a:lnTo>
                      <a:pt x="13" y="270"/>
                    </a:lnTo>
                    <a:lnTo>
                      <a:pt x="17" y="270"/>
                    </a:lnTo>
                    <a:lnTo>
                      <a:pt x="19" y="272"/>
                    </a:lnTo>
                    <a:lnTo>
                      <a:pt x="19" y="272"/>
                    </a:lnTo>
                    <a:lnTo>
                      <a:pt x="21" y="274"/>
                    </a:lnTo>
                    <a:lnTo>
                      <a:pt x="21" y="276"/>
                    </a:lnTo>
                    <a:lnTo>
                      <a:pt x="22" y="278"/>
                    </a:lnTo>
                    <a:lnTo>
                      <a:pt x="26" y="278"/>
                    </a:lnTo>
                    <a:lnTo>
                      <a:pt x="36" y="274"/>
                    </a:lnTo>
                    <a:lnTo>
                      <a:pt x="38" y="274"/>
                    </a:lnTo>
                    <a:lnTo>
                      <a:pt x="43" y="274"/>
                    </a:lnTo>
                    <a:lnTo>
                      <a:pt x="45" y="272"/>
                    </a:lnTo>
                    <a:lnTo>
                      <a:pt x="49" y="270"/>
                    </a:lnTo>
                    <a:lnTo>
                      <a:pt x="49" y="270"/>
                    </a:lnTo>
                    <a:lnTo>
                      <a:pt x="53" y="272"/>
                    </a:lnTo>
                    <a:lnTo>
                      <a:pt x="64" y="293"/>
                    </a:lnTo>
                    <a:lnTo>
                      <a:pt x="64" y="295"/>
                    </a:lnTo>
                    <a:lnTo>
                      <a:pt x="63" y="297"/>
                    </a:lnTo>
                    <a:lnTo>
                      <a:pt x="59" y="301"/>
                    </a:lnTo>
                    <a:lnTo>
                      <a:pt x="57" y="303"/>
                    </a:lnTo>
                    <a:lnTo>
                      <a:pt x="57" y="305"/>
                    </a:lnTo>
                    <a:lnTo>
                      <a:pt x="57" y="306"/>
                    </a:lnTo>
                    <a:lnTo>
                      <a:pt x="57" y="308"/>
                    </a:lnTo>
                    <a:lnTo>
                      <a:pt x="55" y="308"/>
                    </a:lnTo>
                    <a:lnTo>
                      <a:pt x="55" y="310"/>
                    </a:lnTo>
                    <a:lnTo>
                      <a:pt x="53" y="312"/>
                    </a:lnTo>
                    <a:lnTo>
                      <a:pt x="53" y="312"/>
                    </a:lnTo>
                    <a:lnTo>
                      <a:pt x="53" y="314"/>
                    </a:lnTo>
                    <a:lnTo>
                      <a:pt x="51" y="316"/>
                    </a:lnTo>
                    <a:lnTo>
                      <a:pt x="51" y="320"/>
                    </a:lnTo>
                    <a:lnTo>
                      <a:pt x="51" y="322"/>
                    </a:lnTo>
                    <a:lnTo>
                      <a:pt x="53" y="325"/>
                    </a:lnTo>
                    <a:lnTo>
                      <a:pt x="59" y="333"/>
                    </a:lnTo>
                    <a:lnTo>
                      <a:pt x="61" y="337"/>
                    </a:lnTo>
                    <a:lnTo>
                      <a:pt x="61" y="337"/>
                    </a:lnTo>
                    <a:lnTo>
                      <a:pt x="64" y="344"/>
                    </a:lnTo>
                    <a:lnTo>
                      <a:pt x="63" y="346"/>
                    </a:lnTo>
                    <a:lnTo>
                      <a:pt x="66" y="346"/>
                    </a:lnTo>
                    <a:lnTo>
                      <a:pt x="80" y="348"/>
                    </a:lnTo>
                    <a:lnTo>
                      <a:pt x="85" y="346"/>
                    </a:lnTo>
                    <a:lnTo>
                      <a:pt x="87" y="346"/>
                    </a:lnTo>
                    <a:lnTo>
                      <a:pt x="93" y="346"/>
                    </a:lnTo>
                    <a:lnTo>
                      <a:pt x="95" y="344"/>
                    </a:lnTo>
                    <a:lnTo>
                      <a:pt x="99" y="343"/>
                    </a:lnTo>
                    <a:lnTo>
                      <a:pt x="112" y="339"/>
                    </a:lnTo>
                    <a:lnTo>
                      <a:pt x="122" y="337"/>
                    </a:lnTo>
                    <a:lnTo>
                      <a:pt x="129" y="335"/>
                    </a:lnTo>
                    <a:lnTo>
                      <a:pt x="131" y="333"/>
                    </a:lnTo>
                    <a:lnTo>
                      <a:pt x="133" y="331"/>
                    </a:lnTo>
                    <a:lnTo>
                      <a:pt x="135" y="329"/>
                    </a:lnTo>
                    <a:lnTo>
                      <a:pt x="139" y="327"/>
                    </a:lnTo>
                    <a:lnTo>
                      <a:pt x="141" y="327"/>
                    </a:lnTo>
                    <a:lnTo>
                      <a:pt x="146" y="327"/>
                    </a:lnTo>
                    <a:lnTo>
                      <a:pt x="156" y="329"/>
                    </a:lnTo>
                    <a:lnTo>
                      <a:pt x="165" y="333"/>
                    </a:lnTo>
                    <a:lnTo>
                      <a:pt x="171" y="335"/>
                    </a:lnTo>
                    <a:lnTo>
                      <a:pt x="171" y="337"/>
                    </a:lnTo>
                    <a:lnTo>
                      <a:pt x="171" y="337"/>
                    </a:lnTo>
                    <a:lnTo>
                      <a:pt x="171" y="339"/>
                    </a:lnTo>
                    <a:lnTo>
                      <a:pt x="171" y="339"/>
                    </a:lnTo>
                    <a:lnTo>
                      <a:pt x="173" y="341"/>
                    </a:lnTo>
                    <a:lnTo>
                      <a:pt x="177" y="343"/>
                    </a:lnTo>
                    <a:lnTo>
                      <a:pt x="181" y="343"/>
                    </a:lnTo>
                    <a:lnTo>
                      <a:pt x="225" y="337"/>
                    </a:lnTo>
                    <a:lnTo>
                      <a:pt x="228" y="339"/>
                    </a:lnTo>
                    <a:lnTo>
                      <a:pt x="230" y="339"/>
                    </a:lnTo>
                    <a:lnTo>
                      <a:pt x="232" y="341"/>
                    </a:lnTo>
                    <a:lnTo>
                      <a:pt x="236" y="343"/>
                    </a:lnTo>
                    <a:lnTo>
                      <a:pt x="238" y="343"/>
                    </a:lnTo>
                    <a:lnTo>
                      <a:pt x="244" y="341"/>
                    </a:lnTo>
                    <a:lnTo>
                      <a:pt x="247" y="341"/>
                    </a:lnTo>
                    <a:lnTo>
                      <a:pt x="253" y="339"/>
                    </a:lnTo>
                    <a:lnTo>
                      <a:pt x="257" y="339"/>
                    </a:lnTo>
                    <a:lnTo>
                      <a:pt x="265" y="335"/>
                    </a:lnTo>
                    <a:lnTo>
                      <a:pt x="268" y="333"/>
                    </a:lnTo>
                    <a:lnTo>
                      <a:pt x="270" y="331"/>
                    </a:lnTo>
                    <a:lnTo>
                      <a:pt x="274" y="327"/>
                    </a:lnTo>
                    <a:lnTo>
                      <a:pt x="276" y="327"/>
                    </a:lnTo>
                    <a:lnTo>
                      <a:pt x="278" y="325"/>
                    </a:lnTo>
                    <a:lnTo>
                      <a:pt x="282" y="324"/>
                    </a:lnTo>
                    <a:lnTo>
                      <a:pt x="284" y="322"/>
                    </a:lnTo>
                    <a:lnTo>
                      <a:pt x="284" y="320"/>
                    </a:lnTo>
                    <a:lnTo>
                      <a:pt x="282" y="316"/>
                    </a:lnTo>
                    <a:lnTo>
                      <a:pt x="282" y="312"/>
                    </a:lnTo>
                    <a:lnTo>
                      <a:pt x="284" y="310"/>
                    </a:lnTo>
                    <a:lnTo>
                      <a:pt x="284" y="308"/>
                    </a:lnTo>
                    <a:lnTo>
                      <a:pt x="284" y="308"/>
                    </a:lnTo>
                    <a:lnTo>
                      <a:pt x="299" y="293"/>
                    </a:lnTo>
                    <a:lnTo>
                      <a:pt x="301" y="289"/>
                    </a:lnTo>
                    <a:lnTo>
                      <a:pt x="303" y="289"/>
                    </a:lnTo>
                    <a:lnTo>
                      <a:pt x="307" y="285"/>
                    </a:lnTo>
                    <a:lnTo>
                      <a:pt x="312" y="282"/>
                    </a:lnTo>
                    <a:lnTo>
                      <a:pt x="318" y="276"/>
                    </a:lnTo>
                    <a:lnTo>
                      <a:pt x="335" y="263"/>
                    </a:lnTo>
                    <a:lnTo>
                      <a:pt x="335" y="261"/>
                    </a:lnTo>
                    <a:lnTo>
                      <a:pt x="335" y="259"/>
                    </a:lnTo>
                    <a:lnTo>
                      <a:pt x="335" y="259"/>
                    </a:lnTo>
                    <a:lnTo>
                      <a:pt x="335" y="257"/>
                    </a:lnTo>
                    <a:lnTo>
                      <a:pt x="333" y="255"/>
                    </a:lnTo>
                    <a:lnTo>
                      <a:pt x="333" y="253"/>
                    </a:lnTo>
                    <a:lnTo>
                      <a:pt x="331" y="251"/>
                    </a:lnTo>
                    <a:lnTo>
                      <a:pt x="331" y="249"/>
                    </a:lnTo>
                    <a:lnTo>
                      <a:pt x="331" y="247"/>
                    </a:lnTo>
                    <a:lnTo>
                      <a:pt x="335" y="246"/>
                    </a:lnTo>
                    <a:lnTo>
                      <a:pt x="335" y="246"/>
                    </a:lnTo>
                    <a:lnTo>
                      <a:pt x="335" y="246"/>
                    </a:lnTo>
                    <a:lnTo>
                      <a:pt x="337" y="246"/>
                    </a:lnTo>
                    <a:lnTo>
                      <a:pt x="337" y="247"/>
                    </a:lnTo>
                    <a:lnTo>
                      <a:pt x="339" y="249"/>
                    </a:lnTo>
                    <a:lnTo>
                      <a:pt x="341" y="249"/>
                    </a:lnTo>
                    <a:lnTo>
                      <a:pt x="343" y="249"/>
                    </a:lnTo>
                    <a:lnTo>
                      <a:pt x="345" y="251"/>
                    </a:lnTo>
                    <a:lnTo>
                      <a:pt x="349" y="253"/>
                    </a:lnTo>
                    <a:lnTo>
                      <a:pt x="360" y="249"/>
                    </a:lnTo>
                    <a:lnTo>
                      <a:pt x="364" y="253"/>
                    </a:lnTo>
                    <a:lnTo>
                      <a:pt x="366" y="251"/>
                    </a:lnTo>
                    <a:lnTo>
                      <a:pt x="370" y="251"/>
                    </a:lnTo>
                    <a:lnTo>
                      <a:pt x="370" y="251"/>
                    </a:lnTo>
                    <a:lnTo>
                      <a:pt x="373" y="249"/>
                    </a:lnTo>
                    <a:lnTo>
                      <a:pt x="375" y="249"/>
                    </a:lnTo>
                    <a:lnTo>
                      <a:pt x="381" y="246"/>
                    </a:lnTo>
                    <a:lnTo>
                      <a:pt x="387" y="242"/>
                    </a:lnTo>
                    <a:lnTo>
                      <a:pt x="394" y="240"/>
                    </a:lnTo>
                    <a:lnTo>
                      <a:pt x="402" y="238"/>
                    </a:lnTo>
                    <a:lnTo>
                      <a:pt x="404" y="238"/>
                    </a:lnTo>
                    <a:lnTo>
                      <a:pt x="408" y="236"/>
                    </a:lnTo>
                    <a:lnTo>
                      <a:pt x="417" y="230"/>
                    </a:lnTo>
                    <a:lnTo>
                      <a:pt x="423" y="228"/>
                    </a:lnTo>
                    <a:lnTo>
                      <a:pt x="461" y="213"/>
                    </a:lnTo>
                    <a:lnTo>
                      <a:pt x="467" y="209"/>
                    </a:lnTo>
                    <a:lnTo>
                      <a:pt x="467" y="209"/>
                    </a:lnTo>
                    <a:lnTo>
                      <a:pt x="469" y="209"/>
                    </a:lnTo>
                    <a:lnTo>
                      <a:pt x="473" y="211"/>
                    </a:lnTo>
                    <a:lnTo>
                      <a:pt x="474" y="213"/>
                    </a:lnTo>
                    <a:lnTo>
                      <a:pt x="474" y="213"/>
                    </a:lnTo>
                    <a:lnTo>
                      <a:pt x="478" y="213"/>
                    </a:lnTo>
                    <a:lnTo>
                      <a:pt x="480" y="213"/>
                    </a:lnTo>
                    <a:lnTo>
                      <a:pt x="492" y="211"/>
                    </a:lnTo>
                    <a:lnTo>
                      <a:pt x="497" y="209"/>
                    </a:lnTo>
                    <a:lnTo>
                      <a:pt x="501" y="207"/>
                    </a:lnTo>
                    <a:lnTo>
                      <a:pt x="503" y="206"/>
                    </a:lnTo>
                    <a:lnTo>
                      <a:pt x="514" y="198"/>
                    </a:lnTo>
                    <a:lnTo>
                      <a:pt x="520" y="196"/>
                    </a:lnTo>
                    <a:lnTo>
                      <a:pt x="551" y="196"/>
                    </a:lnTo>
                    <a:lnTo>
                      <a:pt x="551" y="196"/>
                    </a:lnTo>
                    <a:lnTo>
                      <a:pt x="551" y="198"/>
                    </a:lnTo>
                    <a:lnTo>
                      <a:pt x="551" y="200"/>
                    </a:lnTo>
                    <a:lnTo>
                      <a:pt x="549" y="202"/>
                    </a:lnTo>
                    <a:lnTo>
                      <a:pt x="547" y="206"/>
                    </a:lnTo>
                    <a:lnTo>
                      <a:pt x="543" y="213"/>
                    </a:lnTo>
                    <a:lnTo>
                      <a:pt x="532" y="226"/>
                    </a:lnTo>
                    <a:lnTo>
                      <a:pt x="528" y="232"/>
                    </a:lnTo>
                    <a:lnTo>
                      <a:pt x="526" y="234"/>
                    </a:lnTo>
                    <a:lnTo>
                      <a:pt x="528" y="236"/>
                    </a:lnTo>
                    <a:lnTo>
                      <a:pt x="528" y="238"/>
                    </a:lnTo>
                    <a:lnTo>
                      <a:pt x="530" y="246"/>
                    </a:lnTo>
                    <a:lnTo>
                      <a:pt x="530" y="247"/>
                    </a:lnTo>
                    <a:lnTo>
                      <a:pt x="530" y="249"/>
                    </a:lnTo>
                    <a:lnTo>
                      <a:pt x="532" y="249"/>
                    </a:lnTo>
                    <a:lnTo>
                      <a:pt x="534" y="251"/>
                    </a:lnTo>
                    <a:lnTo>
                      <a:pt x="534" y="251"/>
                    </a:lnTo>
                    <a:lnTo>
                      <a:pt x="534" y="253"/>
                    </a:lnTo>
                    <a:lnTo>
                      <a:pt x="535" y="253"/>
                    </a:lnTo>
                    <a:lnTo>
                      <a:pt x="539" y="255"/>
                    </a:lnTo>
                    <a:lnTo>
                      <a:pt x="539" y="255"/>
                    </a:lnTo>
                    <a:lnTo>
                      <a:pt x="541" y="257"/>
                    </a:lnTo>
                    <a:lnTo>
                      <a:pt x="541" y="265"/>
                    </a:lnTo>
                    <a:lnTo>
                      <a:pt x="541" y="266"/>
                    </a:lnTo>
                    <a:lnTo>
                      <a:pt x="539" y="270"/>
                    </a:lnTo>
                    <a:lnTo>
                      <a:pt x="539" y="272"/>
                    </a:lnTo>
                    <a:lnTo>
                      <a:pt x="539" y="272"/>
                    </a:lnTo>
                    <a:lnTo>
                      <a:pt x="541" y="272"/>
                    </a:lnTo>
                    <a:lnTo>
                      <a:pt x="541" y="274"/>
                    </a:lnTo>
                    <a:lnTo>
                      <a:pt x="541" y="276"/>
                    </a:lnTo>
                    <a:lnTo>
                      <a:pt x="541" y="278"/>
                    </a:lnTo>
                    <a:lnTo>
                      <a:pt x="541" y="280"/>
                    </a:lnTo>
                    <a:lnTo>
                      <a:pt x="541" y="280"/>
                    </a:lnTo>
                    <a:lnTo>
                      <a:pt x="543" y="280"/>
                    </a:lnTo>
                    <a:lnTo>
                      <a:pt x="547" y="274"/>
                    </a:lnTo>
                    <a:lnTo>
                      <a:pt x="547" y="274"/>
                    </a:lnTo>
                    <a:lnTo>
                      <a:pt x="547" y="274"/>
                    </a:lnTo>
                    <a:lnTo>
                      <a:pt x="549" y="272"/>
                    </a:lnTo>
                    <a:lnTo>
                      <a:pt x="549" y="272"/>
                    </a:lnTo>
                    <a:lnTo>
                      <a:pt x="551" y="272"/>
                    </a:lnTo>
                    <a:lnTo>
                      <a:pt x="551" y="272"/>
                    </a:lnTo>
                    <a:lnTo>
                      <a:pt x="553" y="272"/>
                    </a:lnTo>
                    <a:lnTo>
                      <a:pt x="553" y="274"/>
                    </a:lnTo>
                    <a:lnTo>
                      <a:pt x="555" y="276"/>
                    </a:lnTo>
                    <a:lnTo>
                      <a:pt x="556" y="278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56" y="284"/>
                    </a:lnTo>
                    <a:lnTo>
                      <a:pt x="556" y="285"/>
                    </a:lnTo>
                    <a:lnTo>
                      <a:pt x="555" y="285"/>
                    </a:lnTo>
                    <a:lnTo>
                      <a:pt x="555" y="285"/>
                    </a:lnTo>
                    <a:lnTo>
                      <a:pt x="553" y="287"/>
                    </a:lnTo>
                    <a:lnTo>
                      <a:pt x="553" y="287"/>
                    </a:lnTo>
                    <a:lnTo>
                      <a:pt x="551" y="287"/>
                    </a:lnTo>
                    <a:lnTo>
                      <a:pt x="551" y="289"/>
                    </a:lnTo>
                    <a:lnTo>
                      <a:pt x="551" y="291"/>
                    </a:lnTo>
                    <a:lnTo>
                      <a:pt x="551" y="291"/>
                    </a:lnTo>
                    <a:lnTo>
                      <a:pt x="549" y="291"/>
                    </a:lnTo>
                    <a:lnTo>
                      <a:pt x="549" y="291"/>
                    </a:lnTo>
                    <a:lnTo>
                      <a:pt x="549" y="293"/>
                    </a:lnTo>
                    <a:lnTo>
                      <a:pt x="547" y="293"/>
                    </a:lnTo>
                    <a:lnTo>
                      <a:pt x="545" y="293"/>
                    </a:lnTo>
                    <a:lnTo>
                      <a:pt x="545" y="295"/>
                    </a:lnTo>
                    <a:lnTo>
                      <a:pt x="545" y="295"/>
                    </a:lnTo>
                    <a:lnTo>
                      <a:pt x="545" y="297"/>
                    </a:lnTo>
                    <a:lnTo>
                      <a:pt x="543" y="297"/>
                    </a:lnTo>
                    <a:lnTo>
                      <a:pt x="543" y="297"/>
                    </a:lnTo>
                    <a:lnTo>
                      <a:pt x="539" y="295"/>
                    </a:lnTo>
                    <a:lnTo>
                      <a:pt x="539" y="295"/>
                    </a:lnTo>
                    <a:lnTo>
                      <a:pt x="537" y="295"/>
                    </a:lnTo>
                    <a:lnTo>
                      <a:pt x="535" y="297"/>
                    </a:lnTo>
                    <a:lnTo>
                      <a:pt x="535" y="297"/>
                    </a:lnTo>
                    <a:lnTo>
                      <a:pt x="532" y="295"/>
                    </a:lnTo>
                    <a:lnTo>
                      <a:pt x="530" y="295"/>
                    </a:lnTo>
                    <a:lnTo>
                      <a:pt x="511" y="305"/>
                    </a:lnTo>
                    <a:lnTo>
                      <a:pt x="507" y="303"/>
                    </a:lnTo>
                    <a:lnTo>
                      <a:pt x="505" y="301"/>
                    </a:lnTo>
                    <a:lnTo>
                      <a:pt x="501" y="299"/>
                    </a:lnTo>
                    <a:lnTo>
                      <a:pt x="499" y="299"/>
                    </a:lnTo>
                    <a:lnTo>
                      <a:pt x="497" y="297"/>
                    </a:lnTo>
                    <a:lnTo>
                      <a:pt x="497" y="299"/>
                    </a:lnTo>
                    <a:lnTo>
                      <a:pt x="493" y="299"/>
                    </a:lnTo>
                    <a:lnTo>
                      <a:pt x="492" y="301"/>
                    </a:lnTo>
                    <a:lnTo>
                      <a:pt x="492" y="301"/>
                    </a:lnTo>
                    <a:lnTo>
                      <a:pt x="490" y="303"/>
                    </a:lnTo>
                    <a:lnTo>
                      <a:pt x="490" y="305"/>
                    </a:lnTo>
                    <a:lnTo>
                      <a:pt x="490" y="306"/>
                    </a:lnTo>
                    <a:lnTo>
                      <a:pt x="490" y="308"/>
                    </a:lnTo>
                    <a:lnTo>
                      <a:pt x="488" y="312"/>
                    </a:lnTo>
                    <a:lnTo>
                      <a:pt x="486" y="314"/>
                    </a:lnTo>
                    <a:lnTo>
                      <a:pt x="482" y="316"/>
                    </a:lnTo>
                    <a:lnTo>
                      <a:pt x="480" y="318"/>
                    </a:lnTo>
                    <a:lnTo>
                      <a:pt x="478" y="318"/>
                    </a:lnTo>
                    <a:lnTo>
                      <a:pt x="476" y="320"/>
                    </a:lnTo>
                    <a:lnTo>
                      <a:pt x="474" y="320"/>
                    </a:lnTo>
                    <a:lnTo>
                      <a:pt x="467" y="325"/>
                    </a:lnTo>
                    <a:lnTo>
                      <a:pt x="463" y="329"/>
                    </a:lnTo>
                    <a:lnTo>
                      <a:pt x="461" y="329"/>
                    </a:lnTo>
                    <a:lnTo>
                      <a:pt x="459" y="329"/>
                    </a:lnTo>
                    <a:lnTo>
                      <a:pt x="457" y="329"/>
                    </a:lnTo>
                    <a:lnTo>
                      <a:pt x="455" y="329"/>
                    </a:lnTo>
                    <a:lnTo>
                      <a:pt x="453" y="329"/>
                    </a:lnTo>
                    <a:lnTo>
                      <a:pt x="453" y="329"/>
                    </a:lnTo>
                    <a:lnTo>
                      <a:pt x="452" y="331"/>
                    </a:lnTo>
                    <a:lnTo>
                      <a:pt x="452" y="335"/>
                    </a:lnTo>
                    <a:lnTo>
                      <a:pt x="453" y="337"/>
                    </a:lnTo>
                    <a:lnTo>
                      <a:pt x="453" y="337"/>
                    </a:lnTo>
                    <a:lnTo>
                      <a:pt x="455" y="337"/>
                    </a:lnTo>
                    <a:lnTo>
                      <a:pt x="457" y="339"/>
                    </a:lnTo>
                    <a:lnTo>
                      <a:pt x="459" y="343"/>
                    </a:lnTo>
                    <a:lnTo>
                      <a:pt x="459" y="344"/>
                    </a:lnTo>
                    <a:lnTo>
                      <a:pt x="459" y="348"/>
                    </a:lnTo>
                    <a:lnTo>
                      <a:pt x="457" y="350"/>
                    </a:lnTo>
                    <a:lnTo>
                      <a:pt x="457" y="352"/>
                    </a:lnTo>
                    <a:lnTo>
                      <a:pt x="457" y="352"/>
                    </a:lnTo>
                    <a:lnTo>
                      <a:pt x="455" y="354"/>
                    </a:lnTo>
                    <a:lnTo>
                      <a:pt x="455" y="354"/>
                    </a:lnTo>
                    <a:lnTo>
                      <a:pt x="455" y="354"/>
                    </a:lnTo>
                    <a:lnTo>
                      <a:pt x="453" y="356"/>
                    </a:lnTo>
                    <a:lnTo>
                      <a:pt x="453" y="358"/>
                    </a:lnTo>
                    <a:lnTo>
                      <a:pt x="455" y="360"/>
                    </a:lnTo>
                    <a:lnTo>
                      <a:pt x="455" y="362"/>
                    </a:lnTo>
                    <a:lnTo>
                      <a:pt x="457" y="363"/>
                    </a:lnTo>
                    <a:lnTo>
                      <a:pt x="459" y="363"/>
                    </a:lnTo>
                    <a:lnTo>
                      <a:pt x="459" y="365"/>
                    </a:lnTo>
                    <a:lnTo>
                      <a:pt x="457" y="369"/>
                    </a:lnTo>
                    <a:lnTo>
                      <a:pt x="457" y="373"/>
                    </a:lnTo>
                    <a:lnTo>
                      <a:pt x="457" y="373"/>
                    </a:lnTo>
                    <a:lnTo>
                      <a:pt x="457" y="375"/>
                    </a:lnTo>
                    <a:lnTo>
                      <a:pt x="461" y="381"/>
                    </a:lnTo>
                    <a:lnTo>
                      <a:pt x="461" y="384"/>
                    </a:lnTo>
                    <a:lnTo>
                      <a:pt x="461" y="384"/>
                    </a:lnTo>
                    <a:lnTo>
                      <a:pt x="463" y="386"/>
                    </a:lnTo>
                    <a:lnTo>
                      <a:pt x="465" y="384"/>
                    </a:lnTo>
                    <a:lnTo>
                      <a:pt x="469" y="383"/>
                    </a:lnTo>
                    <a:lnTo>
                      <a:pt x="478" y="379"/>
                    </a:lnTo>
                    <a:lnTo>
                      <a:pt x="480" y="379"/>
                    </a:lnTo>
                    <a:lnTo>
                      <a:pt x="484" y="373"/>
                    </a:lnTo>
                    <a:lnTo>
                      <a:pt x="488" y="367"/>
                    </a:lnTo>
                    <a:lnTo>
                      <a:pt x="492" y="363"/>
                    </a:lnTo>
                    <a:lnTo>
                      <a:pt x="495" y="362"/>
                    </a:lnTo>
                    <a:lnTo>
                      <a:pt x="499" y="362"/>
                    </a:lnTo>
                    <a:lnTo>
                      <a:pt x="501" y="362"/>
                    </a:lnTo>
                    <a:lnTo>
                      <a:pt x="503" y="362"/>
                    </a:lnTo>
                    <a:lnTo>
                      <a:pt x="505" y="358"/>
                    </a:lnTo>
                    <a:lnTo>
                      <a:pt x="507" y="354"/>
                    </a:lnTo>
                    <a:lnTo>
                      <a:pt x="507" y="352"/>
                    </a:lnTo>
                    <a:lnTo>
                      <a:pt x="509" y="352"/>
                    </a:lnTo>
                    <a:lnTo>
                      <a:pt x="514" y="352"/>
                    </a:lnTo>
                    <a:lnTo>
                      <a:pt x="516" y="350"/>
                    </a:lnTo>
                    <a:lnTo>
                      <a:pt x="518" y="348"/>
                    </a:lnTo>
                    <a:lnTo>
                      <a:pt x="522" y="343"/>
                    </a:lnTo>
                    <a:lnTo>
                      <a:pt x="528" y="337"/>
                    </a:lnTo>
                    <a:lnTo>
                      <a:pt x="530" y="335"/>
                    </a:lnTo>
                    <a:lnTo>
                      <a:pt x="537" y="335"/>
                    </a:lnTo>
                    <a:lnTo>
                      <a:pt x="541" y="333"/>
                    </a:lnTo>
                    <a:lnTo>
                      <a:pt x="545" y="329"/>
                    </a:lnTo>
                    <a:lnTo>
                      <a:pt x="547" y="325"/>
                    </a:lnTo>
                    <a:lnTo>
                      <a:pt x="551" y="316"/>
                    </a:lnTo>
                    <a:lnTo>
                      <a:pt x="556" y="308"/>
                    </a:lnTo>
                    <a:lnTo>
                      <a:pt x="564" y="305"/>
                    </a:lnTo>
                    <a:lnTo>
                      <a:pt x="574" y="301"/>
                    </a:lnTo>
                    <a:lnTo>
                      <a:pt x="606" y="295"/>
                    </a:lnTo>
                    <a:lnTo>
                      <a:pt x="614" y="295"/>
                    </a:lnTo>
                    <a:lnTo>
                      <a:pt x="616" y="295"/>
                    </a:lnTo>
                    <a:lnTo>
                      <a:pt x="619" y="295"/>
                    </a:lnTo>
                    <a:lnTo>
                      <a:pt x="621" y="295"/>
                    </a:lnTo>
                    <a:lnTo>
                      <a:pt x="623" y="293"/>
                    </a:lnTo>
                    <a:lnTo>
                      <a:pt x="625" y="289"/>
                    </a:lnTo>
                    <a:lnTo>
                      <a:pt x="627" y="287"/>
                    </a:lnTo>
                    <a:lnTo>
                      <a:pt x="629" y="285"/>
                    </a:lnTo>
                    <a:lnTo>
                      <a:pt x="633" y="287"/>
                    </a:lnTo>
                    <a:lnTo>
                      <a:pt x="633" y="287"/>
                    </a:lnTo>
                    <a:lnTo>
                      <a:pt x="635" y="289"/>
                    </a:lnTo>
                    <a:lnTo>
                      <a:pt x="635" y="289"/>
                    </a:lnTo>
                    <a:lnTo>
                      <a:pt x="637" y="289"/>
                    </a:lnTo>
                    <a:lnTo>
                      <a:pt x="638" y="287"/>
                    </a:lnTo>
                    <a:lnTo>
                      <a:pt x="640" y="285"/>
                    </a:lnTo>
                    <a:lnTo>
                      <a:pt x="640" y="285"/>
                    </a:lnTo>
                    <a:lnTo>
                      <a:pt x="644" y="285"/>
                    </a:lnTo>
                    <a:lnTo>
                      <a:pt x="646" y="285"/>
                    </a:lnTo>
                    <a:lnTo>
                      <a:pt x="650" y="287"/>
                    </a:lnTo>
                    <a:lnTo>
                      <a:pt x="652" y="289"/>
                    </a:lnTo>
                    <a:lnTo>
                      <a:pt x="654" y="291"/>
                    </a:lnTo>
                    <a:lnTo>
                      <a:pt x="656" y="295"/>
                    </a:lnTo>
                    <a:lnTo>
                      <a:pt x="657" y="297"/>
                    </a:lnTo>
                    <a:lnTo>
                      <a:pt x="661" y="301"/>
                    </a:lnTo>
                    <a:lnTo>
                      <a:pt x="663" y="303"/>
                    </a:lnTo>
                    <a:lnTo>
                      <a:pt x="661" y="305"/>
                    </a:lnTo>
                    <a:lnTo>
                      <a:pt x="661" y="306"/>
                    </a:lnTo>
                    <a:lnTo>
                      <a:pt x="661" y="310"/>
                    </a:lnTo>
                    <a:lnTo>
                      <a:pt x="663" y="312"/>
                    </a:lnTo>
                    <a:lnTo>
                      <a:pt x="680" y="320"/>
                    </a:lnTo>
                    <a:lnTo>
                      <a:pt x="682" y="322"/>
                    </a:lnTo>
                    <a:lnTo>
                      <a:pt x="682" y="322"/>
                    </a:lnTo>
                    <a:lnTo>
                      <a:pt x="684" y="324"/>
                    </a:lnTo>
                    <a:lnTo>
                      <a:pt x="684" y="324"/>
                    </a:lnTo>
                    <a:lnTo>
                      <a:pt x="686" y="324"/>
                    </a:lnTo>
                    <a:lnTo>
                      <a:pt x="688" y="324"/>
                    </a:lnTo>
                    <a:lnTo>
                      <a:pt x="688" y="324"/>
                    </a:lnTo>
                    <a:lnTo>
                      <a:pt x="690" y="322"/>
                    </a:lnTo>
                    <a:lnTo>
                      <a:pt x="692" y="324"/>
                    </a:lnTo>
                    <a:lnTo>
                      <a:pt x="692" y="324"/>
                    </a:lnTo>
                    <a:lnTo>
                      <a:pt x="694" y="324"/>
                    </a:lnTo>
                    <a:lnTo>
                      <a:pt x="696" y="324"/>
                    </a:lnTo>
                    <a:lnTo>
                      <a:pt x="696" y="324"/>
                    </a:lnTo>
                    <a:lnTo>
                      <a:pt x="698" y="320"/>
                    </a:lnTo>
                    <a:lnTo>
                      <a:pt x="698" y="318"/>
                    </a:lnTo>
                    <a:lnTo>
                      <a:pt x="696" y="316"/>
                    </a:lnTo>
                    <a:lnTo>
                      <a:pt x="696" y="316"/>
                    </a:lnTo>
                    <a:lnTo>
                      <a:pt x="694" y="316"/>
                    </a:lnTo>
                    <a:lnTo>
                      <a:pt x="694" y="314"/>
                    </a:lnTo>
                    <a:lnTo>
                      <a:pt x="694" y="312"/>
                    </a:lnTo>
                    <a:lnTo>
                      <a:pt x="694" y="310"/>
                    </a:lnTo>
                    <a:lnTo>
                      <a:pt x="692" y="308"/>
                    </a:lnTo>
                    <a:lnTo>
                      <a:pt x="688" y="306"/>
                    </a:lnTo>
                    <a:lnTo>
                      <a:pt x="669" y="278"/>
                    </a:lnTo>
                    <a:lnTo>
                      <a:pt x="665" y="274"/>
                    </a:lnTo>
                    <a:lnTo>
                      <a:pt x="665" y="270"/>
                    </a:lnTo>
                    <a:lnTo>
                      <a:pt x="667" y="266"/>
                    </a:lnTo>
                    <a:lnTo>
                      <a:pt x="667" y="265"/>
                    </a:lnTo>
                    <a:lnTo>
                      <a:pt x="665" y="263"/>
                    </a:lnTo>
                    <a:lnTo>
                      <a:pt x="665" y="261"/>
                    </a:lnTo>
                    <a:lnTo>
                      <a:pt x="665" y="259"/>
                    </a:lnTo>
                    <a:lnTo>
                      <a:pt x="665" y="259"/>
                    </a:lnTo>
                    <a:lnTo>
                      <a:pt x="663" y="257"/>
                    </a:lnTo>
                    <a:lnTo>
                      <a:pt x="663" y="255"/>
                    </a:lnTo>
                    <a:lnTo>
                      <a:pt x="663" y="251"/>
                    </a:lnTo>
                    <a:lnTo>
                      <a:pt x="663" y="249"/>
                    </a:lnTo>
                    <a:lnTo>
                      <a:pt x="665" y="246"/>
                    </a:lnTo>
                    <a:lnTo>
                      <a:pt x="667" y="246"/>
                    </a:lnTo>
                    <a:lnTo>
                      <a:pt x="673" y="242"/>
                    </a:lnTo>
                    <a:lnTo>
                      <a:pt x="675" y="240"/>
                    </a:lnTo>
                    <a:lnTo>
                      <a:pt x="678" y="234"/>
                    </a:lnTo>
                    <a:lnTo>
                      <a:pt x="680" y="232"/>
                    </a:lnTo>
                    <a:lnTo>
                      <a:pt x="684" y="232"/>
                    </a:lnTo>
                    <a:lnTo>
                      <a:pt x="686" y="230"/>
                    </a:lnTo>
                    <a:lnTo>
                      <a:pt x="688" y="230"/>
                    </a:lnTo>
                    <a:lnTo>
                      <a:pt x="688" y="230"/>
                    </a:lnTo>
                    <a:lnTo>
                      <a:pt x="688" y="228"/>
                    </a:lnTo>
                    <a:lnTo>
                      <a:pt x="688" y="226"/>
                    </a:lnTo>
                    <a:lnTo>
                      <a:pt x="690" y="226"/>
                    </a:lnTo>
                    <a:lnTo>
                      <a:pt x="692" y="225"/>
                    </a:lnTo>
                    <a:lnTo>
                      <a:pt x="692" y="225"/>
                    </a:lnTo>
                    <a:lnTo>
                      <a:pt x="694" y="223"/>
                    </a:lnTo>
                    <a:lnTo>
                      <a:pt x="694" y="223"/>
                    </a:lnTo>
                    <a:lnTo>
                      <a:pt x="696" y="221"/>
                    </a:lnTo>
                    <a:lnTo>
                      <a:pt x="698" y="221"/>
                    </a:lnTo>
                    <a:lnTo>
                      <a:pt x="703" y="215"/>
                    </a:lnTo>
                    <a:lnTo>
                      <a:pt x="705" y="213"/>
                    </a:lnTo>
                    <a:lnTo>
                      <a:pt x="707" y="211"/>
                    </a:lnTo>
                    <a:lnTo>
                      <a:pt x="709" y="209"/>
                    </a:lnTo>
                    <a:lnTo>
                      <a:pt x="711" y="207"/>
                    </a:lnTo>
                    <a:lnTo>
                      <a:pt x="713" y="207"/>
                    </a:lnTo>
                    <a:lnTo>
                      <a:pt x="715" y="207"/>
                    </a:lnTo>
                    <a:lnTo>
                      <a:pt x="717" y="209"/>
                    </a:lnTo>
                    <a:lnTo>
                      <a:pt x="717" y="211"/>
                    </a:lnTo>
                    <a:lnTo>
                      <a:pt x="717" y="213"/>
                    </a:lnTo>
                    <a:lnTo>
                      <a:pt x="720" y="211"/>
                    </a:lnTo>
                    <a:lnTo>
                      <a:pt x="722" y="209"/>
                    </a:lnTo>
                    <a:lnTo>
                      <a:pt x="722" y="209"/>
                    </a:lnTo>
                    <a:lnTo>
                      <a:pt x="722" y="207"/>
                    </a:lnTo>
                    <a:lnTo>
                      <a:pt x="722" y="204"/>
                    </a:lnTo>
                    <a:lnTo>
                      <a:pt x="722" y="202"/>
                    </a:lnTo>
                    <a:lnTo>
                      <a:pt x="724" y="198"/>
                    </a:lnTo>
                    <a:lnTo>
                      <a:pt x="726" y="196"/>
                    </a:lnTo>
                    <a:lnTo>
                      <a:pt x="724" y="192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6" name="Freeform 38">
                <a:extLst>
                  <a:ext uri="{FF2B5EF4-FFF2-40B4-BE49-F238E27FC236}">
                    <a16:creationId xmlns:a16="http://schemas.microsoft.com/office/drawing/2014/main" id="{C367108B-04E6-4564-B6FE-E903ED9DCD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0819" y="5499574"/>
                <a:ext cx="1603375" cy="1350963"/>
              </a:xfrm>
              <a:custGeom>
                <a:avLst/>
                <a:gdLst>
                  <a:gd name="T0" fmla="*/ 983 w 1010"/>
                  <a:gd name="T1" fmla="*/ 12 h 851"/>
                  <a:gd name="T2" fmla="*/ 926 w 1010"/>
                  <a:gd name="T3" fmla="*/ 48 h 851"/>
                  <a:gd name="T4" fmla="*/ 881 w 1010"/>
                  <a:gd name="T5" fmla="*/ 31 h 851"/>
                  <a:gd name="T6" fmla="*/ 844 w 1010"/>
                  <a:gd name="T7" fmla="*/ 21 h 851"/>
                  <a:gd name="T8" fmla="*/ 837 w 1010"/>
                  <a:gd name="T9" fmla="*/ 38 h 851"/>
                  <a:gd name="T10" fmla="*/ 797 w 1010"/>
                  <a:gd name="T11" fmla="*/ 82 h 851"/>
                  <a:gd name="T12" fmla="*/ 757 w 1010"/>
                  <a:gd name="T13" fmla="*/ 109 h 851"/>
                  <a:gd name="T14" fmla="*/ 726 w 1010"/>
                  <a:gd name="T15" fmla="*/ 88 h 851"/>
                  <a:gd name="T16" fmla="*/ 703 w 1010"/>
                  <a:gd name="T17" fmla="*/ 145 h 851"/>
                  <a:gd name="T18" fmla="*/ 631 w 1010"/>
                  <a:gd name="T19" fmla="*/ 177 h 851"/>
                  <a:gd name="T20" fmla="*/ 602 w 1010"/>
                  <a:gd name="T21" fmla="*/ 210 h 851"/>
                  <a:gd name="T22" fmla="*/ 572 w 1010"/>
                  <a:gd name="T23" fmla="*/ 240 h 851"/>
                  <a:gd name="T24" fmla="*/ 526 w 1010"/>
                  <a:gd name="T25" fmla="*/ 257 h 851"/>
                  <a:gd name="T26" fmla="*/ 497 w 1010"/>
                  <a:gd name="T27" fmla="*/ 276 h 851"/>
                  <a:gd name="T28" fmla="*/ 471 w 1010"/>
                  <a:gd name="T29" fmla="*/ 276 h 851"/>
                  <a:gd name="T30" fmla="*/ 459 w 1010"/>
                  <a:gd name="T31" fmla="*/ 289 h 851"/>
                  <a:gd name="T32" fmla="*/ 486 w 1010"/>
                  <a:gd name="T33" fmla="*/ 312 h 851"/>
                  <a:gd name="T34" fmla="*/ 451 w 1010"/>
                  <a:gd name="T35" fmla="*/ 301 h 851"/>
                  <a:gd name="T36" fmla="*/ 417 w 1010"/>
                  <a:gd name="T37" fmla="*/ 289 h 851"/>
                  <a:gd name="T38" fmla="*/ 389 w 1010"/>
                  <a:gd name="T39" fmla="*/ 326 h 851"/>
                  <a:gd name="T40" fmla="*/ 314 w 1010"/>
                  <a:gd name="T41" fmla="*/ 352 h 851"/>
                  <a:gd name="T42" fmla="*/ 274 w 1010"/>
                  <a:gd name="T43" fmla="*/ 400 h 851"/>
                  <a:gd name="T44" fmla="*/ 234 w 1010"/>
                  <a:gd name="T45" fmla="*/ 404 h 851"/>
                  <a:gd name="T46" fmla="*/ 183 w 1010"/>
                  <a:gd name="T47" fmla="*/ 430 h 851"/>
                  <a:gd name="T48" fmla="*/ 139 w 1010"/>
                  <a:gd name="T49" fmla="*/ 432 h 851"/>
                  <a:gd name="T50" fmla="*/ 62 w 1010"/>
                  <a:gd name="T51" fmla="*/ 419 h 851"/>
                  <a:gd name="T52" fmla="*/ 30 w 1010"/>
                  <a:gd name="T53" fmla="*/ 478 h 851"/>
                  <a:gd name="T54" fmla="*/ 38 w 1010"/>
                  <a:gd name="T55" fmla="*/ 544 h 851"/>
                  <a:gd name="T56" fmla="*/ 13 w 1010"/>
                  <a:gd name="T57" fmla="*/ 556 h 851"/>
                  <a:gd name="T58" fmla="*/ 24 w 1010"/>
                  <a:gd name="T59" fmla="*/ 611 h 851"/>
                  <a:gd name="T60" fmla="*/ 41 w 1010"/>
                  <a:gd name="T61" fmla="*/ 643 h 851"/>
                  <a:gd name="T62" fmla="*/ 80 w 1010"/>
                  <a:gd name="T63" fmla="*/ 634 h 851"/>
                  <a:gd name="T64" fmla="*/ 76 w 1010"/>
                  <a:gd name="T65" fmla="*/ 659 h 851"/>
                  <a:gd name="T66" fmla="*/ 76 w 1010"/>
                  <a:gd name="T67" fmla="*/ 681 h 851"/>
                  <a:gd name="T68" fmla="*/ 26 w 1010"/>
                  <a:gd name="T69" fmla="*/ 651 h 851"/>
                  <a:gd name="T70" fmla="*/ 32 w 1010"/>
                  <a:gd name="T71" fmla="*/ 691 h 851"/>
                  <a:gd name="T72" fmla="*/ 51 w 1010"/>
                  <a:gd name="T73" fmla="*/ 697 h 851"/>
                  <a:gd name="T74" fmla="*/ 70 w 1010"/>
                  <a:gd name="T75" fmla="*/ 693 h 851"/>
                  <a:gd name="T76" fmla="*/ 112 w 1010"/>
                  <a:gd name="T77" fmla="*/ 702 h 851"/>
                  <a:gd name="T78" fmla="*/ 143 w 1010"/>
                  <a:gd name="T79" fmla="*/ 683 h 851"/>
                  <a:gd name="T80" fmla="*/ 171 w 1010"/>
                  <a:gd name="T81" fmla="*/ 697 h 851"/>
                  <a:gd name="T82" fmla="*/ 196 w 1010"/>
                  <a:gd name="T83" fmla="*/ 725 h 851"/>
                  <a:gd name="T84" fmla="*/ 211 w 1010"/>
                  <a:gd name="T85" fmla="*/ 761 h 851"/>
                  <a:gd name="T86" fmla="*/ 225 w 1010"/>
                  <a:gd name="T87" fmla="*/ 794 h 851"/>
                  <a:gd name="T88" fmla="*/ 198 w 1010"/>
                  <a:gd name="T89" fmla="*/ 820 h 851"/>
                  <a:gd name="T90" fmla="*/ 225 w 1010"/>
                  <a:gd name="T91" fmla="*/ 837 h 851"/>
                  <a:gd name="T92" fmla="*/ 278 w 1010"/>
                  <a:gd name="T93" fmla="*/ 792 h 851"/>
                  <a:gd name="T94" fmla="*/ 339 w 1010"/>
                  <a:gd name="T95" fmla="*/ 771 h 851"/>
                  <a:gd name="T96" fmla="*/ 383 w 1010"/>
                  <a:gd name="T97" fmla="*/ 769 h 851"/>
                  <a:gd name="T98" fmla="*/ 419 w 1010"/>
                  <a:gd name="T99" fmla="*/ 737 h 851"/>
                  <a:gd name="T100" fmla="*/ 423 w 1010"/>
                  <a:gd name="T101" fmla="*/ 714 h 851"/>
                  <a:gd name="T102" fmla="*/ 417 w 1010"/>
                  <a:gd name="T103" fmla="*/ 645 h 851"/>
                  <a:gd name="T104" fmla="*/ 417 w 1010"/>
                  <a:gd name="T105" fmla="*/ 533 h 851"/>
                  <a:gd name="T106" fmla="*/ 495 w 1010"/>
                  <a:gd name="T107" fmla="*/ 426 h 851"/>
                  <a:gd name="T108" fmla="*/ 537 w 1010"/>
                  <a:gd name="T109" fmla="*/ 440 h 851"/>
                  <a:gd name="T110" fmla="*/ 604 w 1010"/>
                  <a:gd name="T111" fmla="*/ 369 h 851"/>
                  <a:gd name="T112" fmla="*/ 697 w 1010"/>
                  <a:gd name="T113" fmla="*/ 335 h 851"/>
                  <a:gd name="T114" fmla="*/ 709 w 1010"/>
                  <a:gd name="T115" fmla="*/ 270 h 851"/>
                  <a:gd name="T116" fmla="*/ 818 w 1010"/>
                  <a:gd name="T117" fmla="*/ 192 h 851"/>
                  <a:gd name="T118" fmla="*/ 922 w 1010"/>
                  <a:gd name="T119" fmla="*/ 118 h 851"/>
                  <a:gd name="T120" fmla="*/ 997 w 1010"/>
                  <a:gd name="T121" fmla="*/ 29 h 851"/>
                  <a:gd name="T122" fmla="*/ 690 w 1010"/>
                  <a:gd name="T123" fmla="*/ 322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10" h="851">
                    <a:moveTo>
                      <a:pt x="1010" y="8"/>
                    </a:moveTo>
                    <a:lnTo>
                      <a:pt x="1008" y="8"/>
                    </a:lnTo>
                    <a:lnTo>
                      <a:pt x="1008" y="8"/>
                    </a:lnTo>
                    <a:lnTo>
                      <a:pt x="1008" y="8"/>
                    </a:lnTo>
                    <a:lnTo>
                      <a:pt x="1004" y="12"/>
                    </a:lnTo>
                    <a:lnTo>
                      <a:pt x="1004" y="10"/>
                    </a:lnTo>
                    <a:lnTo>
                      <a:pt x="1003" y="8"/>
                    </a:lnTo>
                    <a:lnTo>
                      <a:pt x="1003" y="8"/>
                    </a:lnTo>
                    <a:lnTo>
                      <a:pt x="1003" y="6"/>
                    </a:lnTo>
                    <a:lnTo>
                      <a:pt x="1004" y="4"/>
                    </a:lnTo>
                    <a:lnTo>
                      <a:pt x="1004" y="2"/>
                    </a:lnTo>
                    <a:lnTo>
                      <a:pt x="1004" y="2"/>
                    </a:lnTo>
                    <a:lnTo>
                      <a:pt x="1006" y="2"/>
                    </a:lnTo>
                    <a:lnTo>
                      <a:pt x="1008" y="4"/>
                    </a:lnTo>
                    <a:lnTo>
                      <a:pt x="1010" y="6"/>
                    </a:lnTo>
                    <a:lnTo>
                      <a:pt x="1010" y="6"/>
                    </a:lnTo>
                    <a:lnTo>
                      <a:pt x="1010" y="6"/>
                    </a:lnTo>
                    <a:lnTo>
                      <a:pt x="1010" y="2"/>
                    </a:lnTo>
                    <a:lnTo>
                      <a:pt x="1008" y="2"/>
                    </a:lnTo>
                    <a:lnTo>
                      <a:pt x="1008" y="0"/>
                    </a:lnTo>
                    <a:lnTo>
                      <a:pt x="1006" y="0"/>
                    </a:lnTo>
                    <a:lnTo>
                      <a:pt x="1006" y="0"/>
                    </a:lnTo>
                    <a:lnTo>
                      <a:pt x="1001" y="0"/>
                    </a:lnTo>
                    <a:lnTo>
                      <a:pt x="999" y="0"/>
                    </a:lnTo>
                    <a:lnTo>
                      <a:pt x="999" y="0"/>
                    </a:lnTo>
                    <a:lnTo>
                      <a:pt x="999" y="0"/>
                    </a:lnTo>
                    <a:lnTo>
                      <a:pt x="999" y="2"/>
                    </a:lnTo>
                    <a:lnTo>
                      <a:pt x="999" y="2"/>
                    </a:lnTo>
                    <a:lnTo>
                      <a:pt x="999" y="4"/>
                    </a:lnTo>
                    <a:lnTo>
                      <a:pt x="999" y="4"/>
                    </a:lnTo>
                    <a:lnTo>
                      <a:pt x="999" y="6"/>
                    </a:lnTo>
                    <a:lnTo>
                      <a:pt x="999" y="8"/>
                    </a:lnTo>
                    <a:lnTo>
                      <a:pt x="997" y="10"/>
                    </a:lnTo>
                    <a:lnTo>
                      <a:pt x="995" y="10"/>
                    </a:lnTo>
                    <a:lnTo>
                      <a:pt x="995" y="8"/>
                    </a:lnTo>
                    <a:lnTo>
                      <a:pt x="995" y="8"/>
                    </a:lnTo>
                    <a:lnTo>
                      <a:pt x="993" y="8"/>
                    </a:lnTo>
                    <a:lnTo>
                      <a:pt x="983" y="12"/>
                    </a:lnTo>
                    <a:lnTo>
                      <a:pt x="982" y="14"/>
                    </a:lnTo>
                    <a:lnTo>
                      <a:pt x="978" y="17"/>
                    </a:lnTo>
                    <a:lnTo>
                      <a:pt x="978" y="17"/>
                    </a:lnTo>
                    <a:lnTo>
                      <a:pt x="976" y="17"/>
                    </a:lnTo>
                    <a:lnTo>
                      <a:pt x="974" y="17"/>
                    </a:lnTo>
                    <a:lnTo>
                      <a:pt x="972" y="17"/>
                    </a:lnTo>
                    <a:lnTo>
                      <a:pt x="972" y="17"/>
                    </a:lnTo>
                    <a:lnTo>
                      <a:pt x="970" y="17"/>
                    </a:lnTo>
                    <a:lnTo>
                      <a:pt x="972" y="19"/>
                    </a:lnTo>
                    <a:lnTo>
                      <a:pt x="972" y="19"/>
                    </a:lnTo>
                    <a:lnTo>
                      <a:pt x="972" y="21"/>
                    </a:lnTo>
                    <a:lnTo>
                      <a:pt x="972" y="21"/>
                    </a:lnTo>
                    <a:lnTo>
                      <a:pt x="970" y="23"/>
                    </a:lnTo>
                    <a:lnTo>
                      <a:pt x="970" y="23"/>
                    </a:lnTo>
                    <a:lnTo>
                      <a:pt x="970" y="25"/>
                    </a:lnTo>
                    <a:lnTo>
                      <a:pt x="970" y="25"/>
                    </a:lnTo>
                    <a:lnTo>
                      <a:pt x="970" y="25"/>
                    </a:lnTo>
                    <a:lnTo>
                      <a:pt x="972" y="27"/>
                    </a:lnTo>
                    <a:lnTo>
                      <a:pt x="970" y="27"/>
                    </a:lnTo>
                    <a:lnTo>
                      <a:pt x="970" y="29"/>
                    </a:lnTo>
                    <a:lnTo>
                      <a:pt x="966" y="34"/>
                    </a:lnTo>
                    <a:lnTo>
                      <a:pt x="964" y="34"/>
                    </a:lnTo>
                    <a:lnTo>
                      <a:pt x="964" y="34"/>
                    </a:lnTo>
                    <a:lnTo>
                      <a:pt x="963" y="34"/>
                    </a:lnTo>
                    <a:lnTo>
                      <a:pt x="961" y="34"/>
                    </a:lnTo>
                    <a:lnTo>
                      <a:pt x="961" y="34"/>
                    </a:lnTo>
                    <a:lnTo>
                      <a:pt x="961" y="38"/>
                    </a:lnTo>
                    <a:lnTo>
                      <a:pt x="959" y="40"/>
                    </a:lnTo>
                    <a:lnTo>
                      <a:pt x="957" y="44"/>
                    </a:lnTo>
                    <a:lnTo>
                      <a:pt x="955" y="46"/>
                    </a:lnTo>
                    <a:lnTo>
                      <a:pt x="953" y="46"/>
                    </a:lnTo>
                    <a:lnTo>
                      <a:pt x="943" y="46"/>
                    </a:lnTo>
                    <a:lnTo>
                      <a:pt x="936" y="50"/>
                    </a:lnTo>
                    <a:lnTo>
                      <a:pt x="932" y="50"/>
                    </a:lnTo>
                    <a:lnTo>
                      <a:pt x="932" y="50"/>
                    </a:lnTo>
                    <a:lnTo>
                      <a:pt x="930" y="48"/>
                    </a:lnTo>
                    <a:lnTo>
                      <a:pt x="928" y="48"/>
                    </a:lnTo>
                    <a:lnTo>
                      <a:pt x="926" y="48"/>
                    </a:lnTo>
                    <a:lnTo>
                      <a:pt x="924" y="46"/>
                    </a:lnTo>
                    <a:lnTo>
                      <a:pt x="922" y="46"/>
                    </a:lnTo>
                    <a:lnTo>
                      <a:pt x="921" y="46"/>
                    </a:lnTo>
                    <a:lnTo>
                      <a:pt x="919" y="46"/>
                    </a:lnTo>
                    <a:lnTo>
                      <a:pt x="913" y="46"/>
                    </a:lnTo>
                    <a:lnTo>
                      <a:pt x="905" y="46"/>
                    </a:lnTo>
                    <a:lnTo>
                      <a:pt x="900" y="46"/>
                    </a:lnTo>
                    <a:lnTo>
                      <a:pt x="900" y="46"/>
                    </a:lnTo>
                    <a:lnTo>
                      <a:pt x="898" y="46"/>
                    </a:lnTo>
                    <a:lnTo>
                      <a:pt x="898" y="46"/>
                    </a:lnTo>
                    <a:lnTo>
                      <a:pt x="898" y="44"/>
                    </a:lnTo>
                    <a:lnTo>
                      <a:pt x="898" y="44"/>
                    </a:lnTo>
                    <a:lnTo>
                      <a:pt x="896" y="42"/>
                    </a:lnTo>
                    <a:lnTo>
                      <a:pt x="896" y="42"/>
                    </a:lnTo>
                    <a:lnTo>
                      <a:pt x="896" y="40"/>
                    </a:lnTo>
                    <a:lnTo>
                      <a:pt x="894" y="40"/>
                    </a:lnTo>
                    <a:lnTo>
                      <a:pt x="894" y="40"/>
                    </a:lnTo>
                    <a:lnTo>
                      <a:pt x="894" y="38"/>
                    </a:lnTo>
                    <a:lnTo>
                      <a:pt x="892" y="34"/>
                    </a:lnTo>
                    <a:lnTo>
                      <a:pt x="890" y="33"/>
                    </a:lnTo>
                    <a:lnTo>
                      <a:pt x="890" y="31"/>
                    </a:lnTo>
                    <a:lnTo>
                      <a:pt x="890" y="27"/>
                    </a:lnTo>
                    <a:lnTo>
                      <a:pt x="888" y="21"/>
                    </a:lnTo>
                    <a:lnTo>
                      <a:pt x="884" y="19"/>
                    </a:lnTo>
                    <a:lnTo>
                      <a:pt x="884" y="19"/>
                    </a:lnTo>
                    <a:lnTo>
                      <a:pt x="882" y="19"/>
                    </a:lnTo>
                    <a:lnTo>
                      <a:pt x="882" y="21"/>
                    </a:lnTo>
                    <a:lnTo>
                      <a:pt x="881" y="21"/>
                    </a:lnTo>
                    <a:lnTo>
                      <a:pt x="881" y="21"/>
                    </a:lnTo>
                    <a:lnTo>
                      <a:pt x="881" y="21"/>
                    </a:lnTo>
                    <a:lnTo>
                      <a:pt x="881" y="23"/>
                    </a:lnTo>
                    <a:lnTo>
                      <a:pt x="881" y="23"/>
                    </a:lnTo>
                    <a:lnTo>
                      <a:pt x="881" y="25"/>
                    </a:lnTo>
                    <a:lnTo>
                      <a:pt x="881" y="25"/>
                    </a:lnTo>
                    <a:lnTo>
                      <a:pt x="881" y="27"/>
                    </a:lnTo>
                    <a:lnTo>
                      <a:pt x="881" y="29"/>
                    </a:lnTo>
                    <a:lnTo>
                      <a:pt x="881" y="29"/>
                    </a:lnTo>
                    <a:lnTo>
                      <a:pt x="881" y="31"/>
                    </a:lnTo>
                    <a:lnTo>
                      <a:pt x="881" y="31"/>
                    </a:lnTo>
                    <a:lnTo>
                      <a:pt x="879" y="31"/>
                    </a:lnTo>
                    <a:lnTo>
                      <a:pt x="879" y="29"/>
                    </a:lnTo>
                    <a:lnTo>
                      <a:pt x="875" y="21"/>
                    </a:lnTo>
                    <a:lnTo>
                      <a:pt x="875" y="19"/>
                    </a:lnTo>
                    <a:lnTo>
                      <a:pt x="873" y="17"/>
                    </a:lnTo>
                    <a:lnTo>
                      <a:pt x="867" y="12"/>
                    </a:lnTo>
                    <a:lnTo>
                      <a:pt x="867" y="10"/>
                    </a:lnTo>
                    <a:lnTo>
                      <a:pt x="865" y="6"/>
                    </a:lnTo>
                    <a:lnTo>
                      <a:pt x="863" y="4"/>
                    </a:lnTo>
                    <a:lnTo>
                      <a:pt x="863" y="4"/>
                    </a:lnTo>
                    <a:lnTo>
                      <a:pt x="861" y="4"/>
                    </a:lnTo>
                    <a:lnTo>
                      <a:pt x="861" y="6"/>
                    </a:lnTo>
                    <a:lnTo>
                      <a:pt x="861" y="8"/>
                    </a:lnTo>
                    <a:lnTo>
                      <a:pt x="861" y="10"/>
                    </a:lnTo>
                    <a:lnTo>
                      <a:pt x="860" y="10"/>
                    </a:lnTo>
                    <a:lnTo>
                      <a:pt x="860" y="12"/>
                    </a:lnTo>
                    <a:lnTo>
                      <a:pt x="856" y="12"/>
                    </a:lnTo>
                    <a:lnTo>
                      <a:pt x="856" y="14"/>
                    </a:lnTo>
                    <a:lnTo>
                      <a:pt x="854" y="14"/>
                    </a:lnTo>
                    <a:lnTo>
                      <a:pt x="854" y="17"/>
                    </a:lnTo>
                    <a:lnTo>
                      <a:pt x="852" y="19"/>
                    </a:lnTo>
                    <a:lnTo>
                      <a:pt x="852" y="19"/>
                    </a:lnTo>
                    <a:lnTo>
                      <a:pt x="850" y="19"/>
                    </a:lnTo>
                    <a:lnTo>
                      <a:pt x="850" y="19"/>
                    </a:lnTo>
                    <a:lnTo>
                      <a:pt x="850" y="19"/>
                    </a:lnTo>
                    <a:lnTo>
                      <a:pt x="848" y="15"/>
                    </a:lnTo>
                    <a:lnTo>
                      <a:pt x="848" y="14"/>
                    </a:lnTo>
                    <a:lnTo>
                      <a:pt x="848" y="14"/>
                    </a:lnTo>
                    <a:lnTo>
                      <a:pt x="846" y="12"/>
                    </a:lnTo>
                    <a:lnTo>
                      <a:pt x="844" y="12"/>
                    </a:lnTo>
                    <a:lnTo>
                      <a:pt x="844" y="12"/>
                    </a:lnTo>
                    <a:lnTo>
                      <a:pt x="844" y="14"/>
                    </a:lnTo>
                    <a:lnTo>
                      <a:pt x="846" y="17"/>
                    </a:lnTo>
                    <a:lnTo>
                      <a:pt x="846" y="19"/>
                    </a:lnTo>
                    <a:lnTo>
                      <a:pt x="844" y="19"/>
                    </a:lnTo>
                    <a:lnTo>
                      <a:pt x="844" y="21"/>
                    </a:lnTo>
                    <a:lnTo>
                      <a:pt x="844" y="21"/>
                    </a:lnTo>
                    <a:lnTo>
                      <a:pt x="842" y="21"/>
                    </a:lnTo>
                    <a:lnTo>
                      <a:pt x="842" y="21"/>
                    </a:lnTo>
                    <a:lnTo>
                      <a:pt x="844" y="21"/>
                    </a:lnTo>
                    <a:lnTo>
                      <a:pt x="844" y="23"/>
                    </a:lnTo>
                    <a:lnTo>
                      <a:pt x="844" y="25"/>
                    </a:lnTo>
                    <a:lnTo>
                      <a:pt x="844" y="25"/>
                    </a:lnTo>
                    <a:lnTo>
                      <a:pt x="842" y="27"/>
                    </a:lnTo>
                    <a:lnTo>
                      <a:pt x="840" y="25"/>
                    </a:lnTo>
                    <a:lnTo>
                      <a:pt x="837" y="23"/>
                    </a:lnTo>
                    <a:lnTo>
                      <a:pt x="837" y="23"/>
                    </a:lnTo>
                    <a:lnTo>
                      <a:pt x="833" y="21"/>
                    </a:lnTo>
                    <a:lnTo>
                      <a:pt x="831" y="21"/>
                    </a:lnTo>
                    <a:lnTo>
                      <a:pt x="831" y="21"/>
                    </a:lnTo>
                    <a:lnTo>
                      <a:pt x="829" y="21"/>
                    </a:lnTo>
                    <a:lnTo>
                      <a:pt x="829" y="21"/>
                    </a:lnTo>
                    <a:lnTo>
                      <a:pt x="827" y="21"/>
                    </a:lnTo>
                    <a:lnTo>
                      <a:pt x="827" y="21"/>
                    </a:lnTo>
                    <a:lnTo>
                      <a:pt x="825" y="23"/>
                    </a:lnTo>
                    <a:lnTo>
                      <a:pt x="825" y="23"/>
                    </a:lnTo>
                    <a:lnTo>
                      <a:pt x="825" y="25"/>
                    </a:lnTo>
                    <a:lnTo>
                      <a:pt x="825" y="25"/>
                    </a:lnTo>
                    <a:lnTo>
                      <a:pt x="825" y="25"/>
                    </a:lnTo>
                    <a:lnTo>
                      <a:pt x="827" y="27"/>
                    </a:lnTo>
                    <a:lnTo>
                      <a:pt x="827" y="27"/>
                    </a:lnTo>
                    <a:lnTo>
                      <a:pt x="827" y="29"/>
                    </a:lnTo>
                    <a:lnTo>
                      <a:pt x="827" y="31"/>
                    </a:lnTo>
                    <a:lnTo>
                      <a:pt x="831" y="34"/>
                    </a:lnTo>
                    <a:lnTo>
                      <a:pt x="831" y="34"/>
                    </a:lnTo>
                    <a:lnTo>
                      <a:pt x="831" y="34"/>
                    </a:lnTo>
                    <a:lnTo>
                      <a:pt x="833" y="34"/>
                    </a:lnTo>
                    <a:lnTo>
                      <a:pt x="833" y="34"/>
                    </a:lnTo>
                    <a:lnTo>
                      <a:pt x="833" y="34"/>
                    </a:lnTo>
                    <a:lnTo>
                      <a:pt x="835" y="34"/>
                    </a:lnTo>
                    <a:lnTo>
                      <a:pt x="835" y="36"/>
                    </a:lnTo>
                    <a:lnTo>
                      <a:pt x="835" y="36"/>
                    </a:lnTo>
                    <a:lnTo>
                      <a:pt x="835" y="38"/>
                    </a:lnTo>
                    <a:lnTo>
                      <a:pt x="837" y="38"/>
                    </a:lnTo>
                    <a:lnTo>
                      <a:pt x="837" y="38"/>
                    </a:lnTo>
                    <a:lnTo>
                      <a:pt x="837" y="38"/>
                    </a:lnTo>
                    <a:lnTo>
                      <a:pt x="837" y="40"/>
                    </a:lnTo>
                    <a:lnTo>
                      <a:pt x="835" y="42"/>
                    </a:lnTo>
                    <a:lnTo>
                      <a:pt x="833" y="42"/>
                    </a:lnTo>
                    <a:lnTo>
                      <a:pt x="831" y="44"/>
                    </a:lnTo>
                    <a:lnTo>
                      <a:pt x="829" y="44"/>
                    </a:lnTo>
                    <a:lnTo>
                      <a:pt x="825" y="48"/>
                    </a:lnTo>
                    <a:lnTo>
                      <a:pt x="821" y="50"/>
                    </a:lnTo>
                    <a:lnTo>
                      <a:pt x="819" y="52"/>
                    </a:lnTo>
                    <a:lnTo>
                      <a:pt x="812" y="55"/>
                    </a:lnTo>
                    <a:lnTo>
                      <a:pt x="812" y="55"/>
                    </a:lnTo>
                    <a:lnTo>
                      <a:pt x="810" y="53"/>
                    </a:lnTo>
                    <a:lnTo>
                      <a:pt x="808" y="53"/>
                    </a:lnTo>
                    <a:lnTo>
                      <a:pt x="808" y="52"/>
                    </a:lnTo>
                    <a:lnTo>
                      <a:pt x="806" y="52"/>
                    </a:lnTo>
                    <a:lnTo>
                      <a:pt x="804" y="52"/>
                    </a:lnTo>
                    <a:lnTo>
                      <a:pt x="802" y="53"/>
                    </a:lnTo>
                    <a:lnTo>
                      <a:pt x="800" y="55"/>
                    </a:lnTo>
                    <a:lnTo>
                      <a:pt x="799" y="57"/>
                    </a:lnTo>
                    <a:lnTo>
                      <a:pt x="797" y="61"/>
                    </a:lnTo>
                    <a:lnTo>
                      <a:pt x="795" y="63"/>
                    </a:lnTo>
                    <a:lnTo>
                      <a:pt x="793" y="65"/>
                    </a:lnTo>
                    <a:lnTo>
                      <a:pt x="791" y="69"/>
                    </a:lnTo>
                    <a:lnTo>
                      <a:pt x="791" y="69"/>
                    </a:lnTo>
                    <a:lnTo>
                      <a:pt x="791" y="71"/>
                    </a:lnTo>
                    <a:lnTo>
                      <a:pt x="791" y="71"/>
                    </a:lnTo>
                    <a:lnTo>
                      <a:pt x="791" y="73"/>
                    </a:lnTo>
                    <a:lnTo>
                      <a:pt x="789" y="74"/>
                    </a:lnTo>
                    <a:lnTo>
                      <a:pt x="789" y="74"/>
                    </a:lnTo>
                    <a:lnTo>
                      <a:pt x="789" y="76"/>
                    </a:lnTo>
                    <a:lnTo>
                      <a:pt x="791" y="78"/>
                    </a:lnTo>
                    <a:lnTo>
                      <a:pt x="793" y="80"/>
                    </a:lnTo>
                    <a:lnTo>
                      <a:pt x="793" y="82"/>
                    </a:lnTo>
                    <a:lnTo>
                      <a:pt x="793" y="82"/>
                    </a:lnTo>
                    <a:lnTo>
                      <a:pt x="797" y="82"/>
                    </a:lnTo>
                    <a:lnTo>
                      <a:pt x="797" y="82"/>
                    </a:lnTo>
                    <a:lnTo>
                      <a:pt x="797" y="82"/>
                    </a:lnTo>
                    <a:lnTo>
                      <a:pt x="797" y="82"/>
                    </a:lnTo>
                    <a:lnTo>
                      <a:pt x="797" y="84"/>
                    </a:lnTo>
                    <a:lnTo>
                      <a:pt x="791" y="92"/>
                    </a:lnTo>
                    <a:lnTo>
                      <a:pt x="791" y="92"/>
                    </a:lnTo>
                    <a:lnTo>
                      <a:pt x="791" y="93"/>
                    </a:lnTo>
                    <a:lnTo>
                      <a:pt x="791" y="95"/>
                    </a:lnTo>
                    <a:lnTo>
                      <a:pt x="793" y="95"/>
                    </a:lnTo>
                    <a:lnTo>
                      <a:pt x="793" y="97"/>
                    </a:lnTo>
                    <a:lnTo>
                      <a:pt x="793" y="97"/>
                    </a:lnTo>
                    <a:lnTo>
                      <a:pt x="793" y="101"/>
                    </a:lnTo>
                    <a:lnTo>
                      <a:pt x="791" y="103"/>
                    </a:lnTo>
                    <a:lnTo>
                      <a:pt x="789" y="103"/>
                    </a:lnTo>
                    <a:lnTo>
                      <a:pt x="787" y="103"/>
                    </a:lnTo>
                    <a:lnTo>
                      <a:pt x="787" y="103"/>
                    </a:lnTo>
                    <a:lnTo>
                      <a:pt x="785" y="103"/>
                    </a:lnTo>
                    <a:lnTo>
                      <a:pt x="781" y="107"/>
                    </a:lnTo>
                    <a:lnTo>
                      <a:pt x="779" y="107"/>
                    </a:lnTo>
                    <a:lnTo>
                      <a:pt x="776" y="107"/>
                    </a:lnTo>
                    <a:lnTo>
                      <a:pt x="774" y="107"/>
                    </a:lnTo>
                    <a:lnTo>
                      <a:pt x="774" y="105"/>
                    </a:lnTo>
                    <a:lnTo>
                      <a:pt x="772" y="105"/>
                    </a:lnTo>
                    <a:lnTo>
                      <a:pt x="772" y="103"/>
                    </a:lnTo>
                    <a:lnTo>
                      <a:pt x="774" y="101"/>
                    </a:lnTo>
                    <a:lnTo>
                      <a:pt x="772" y="99"/>
                    </a:lnTo>
                    <a:lnTo>
                      <a:pt x="772" y="99"/>
                    </a:lnTo>
                    <a:lnTo>
                      <a:pt x="770" y="99"/>
                    </a:lnTo>
                    <a:lnTo>
                      <a:pt x="768" y="99"/>
                    </a:lnTo>
                    <a:lnTo>
                      <a:pt x="766" y="97"/>
                    </a:lnTo>
                    <a:lnTo>
                      <a:pt x="766" y="97"/>
                    </a:lnTo>
                    <a:lnTo>
                      <a:pt x="764" y="95"/>
                    </a:lnTo>
                    <a:lnTo>
                      <a:pt x="760" y="97"/>
                    </a:lnTo>
                    <a:lnTo>
                      <a:pt x="760" y="97"/>
                    </a:lnTo>
                    <a:lnTo>
                      <a:pt x="758" y="97"/>
                    </a:lnTo>
                    <a:lnTo>
                      <a:pt x="760" y="99"/>
                    </a:lnTo>
                    <a:lnTo>
                      <a:pt x="760" y="103"/>
                    </a:lnTo>
                    <a:lnTo>
                      <a:pt x="760" y="105"/>
                    </a:lnTo>
                    <a:lnTo>
                      <a:pt x="760" y="107"/>
                    </a:lnTo>
                    <a:lnTo>
                      <a:pt x="758" y="107"/>
                    </a:lnTo>
                    <a:lnTo>
                      <a:pt x="757" y="109"/>
                    </a:lnTo>
                    <a:lnTo>
                      <a:pt x="753" y="111"/>
                    </a:lnTo>
                    <a:lnTo>
                      <a:pt x="749" y="112"/>
                    </a:lnTo>
                    <a:lnTo>
                      <a:pt x="747" y="114"/>
                    </a:lnTo>
                    <a:lnTo>
                      <a:pt x="745" y="114"/>
                    </a:lnTo>
                    <a:lnTo>
                      <a:pt x="745" y="116"/>
                    </a:lnTo>
                    <a:lnTo>
                      <a:pt x="745" y="116"/>
                    </a:lnTo>
                    <a:lnTo>
                      <a:pt x="743" y="120"/>
                    </a:lnTo>
                    <a:lnTo>
                      <a:pt x="743" y="122"/>
                    </a:lnTo>
                    <a:lnTo>
                      <a:pt x="741" y="122"/>
                    </a:lnTo>
                    <a:lnTo>
                      <a:pt x="741" y="122"/>
                    </a:lnTo>
                    <a:lnTo>
                      <a:pt x="739" y="122"/>
                    </a:lnTo>
                    <a:lnTo>
                      <a:pt x="739" y="122"/>
                    </a:lnTo>
                    <a:lnTo>
                      <a:pt x="737" y="122"/>
                    </a:lnTo>
                    <a:lnTo>
                      <a:pt x="736" y="122"/>
                    </a:lnTo>
                    <a:lnTo>
                      <a:pt x="736" y="120"/>
                    </a:lnTo>
                    <a:lnTo>
                      <a:pt x="734" y="120"/>
                    </a:lnTo>
                    <a:lnTo>
                      <a:pt x="734" y="118"/>
                    </a:lnTo>
                    <a:lnTo>
                      <a:pt x="734" y="118"/>
                    </a:lnTo>
                    <a:lnTo>
                      <a:pt x="734" y="116"/>
                    </a:lnTo>
                    <a:lnTo>
                      <a:pt x="736" y="112"/>
                    </a:lnTo>
                    <a:lnTo>
                      <a:pt x="736" y="111"/>
                    </a:lnTo>
                    <a:lnTo>
                      <a:pt x="736" y="111"/>
                    </a:lnTo>
                    <a:lnTo>
                      <a:pt x="736" y="109"/>
                    </a:lnTo>
                    <a:lnTo>
                      <a:pt x="736" y="109"/>
                    </a:lnTo>
                    <a:lnTo>
                      <a:pt x="736" y="107"/>
                    </a:lnTo>
                    <a:lnTo>
                      <a:pt x="734" y="107"/>
                    </a:lnTo>
                    <a:lnTo>
                      <a:pt x="728" y="101"/>
                    </a:lnTo>
                    <a:lnTo>
                      <a:pt x="726" y="99"/>
                    </a:lnTo>
                    <a:lnTo>
                      <a:pt x="726" y="97"/>
                    </a:lnTo>
                    <a:lnTo>
                      <a:pt x="726" y="95"/>
                    </a:lnTo>
                    <a:lnTo>
                      <a:pt x="726" y="93"/>
                    </a:lnTo>
                    <a:lnTo>
                      <a:pt x="726" y="92"/>
                    </a:lnTo>
                    <a:lnTo>
                      <a:pt x="726" y="92"/>
                    </a:lnTo>
                    <a:lnTo>
                      <a:pt x="726" y="90"/>
                    </a:lnTo>
                    <a:lnTo>
                      <a:pt x="724" y="90"/>
                    </a:lnTo>
                    <a:lnTo>
                      <a:pt x="724" y="90"/>
                    </a:lnTo>
                    <a:lnTo>
                      <a:pt x="726" y="88"/>
                    </a:lnTo>
                    <a:lnTo>
                      <a:pt x="726" y="88"/>
                    </a:lnTo>
                    <a:lnTo>
                      <a:pt x="724" y="86"/>
                    </a:lnTo>
                    <a:lnTo>
                      <a:pt x="724" y="86"/>
                    </a:lnTo>
                    <a:lnTo>
                      <a:pt x="722" y="86"/>
                    </a:lnTo>
                    <a:lnTo>
                      <a:pt x="722" y="86"/>
                    </a:lnTo>
                    <a:lnTo>
                      <a:pt x="720" y="84"/>
                    </a:lnTo>
                    <a:lnTo>
                      <a:pt x="718" y="84"/>
                    </a:lnTo>
                    <a:lnTo>
                      <a:pt x="717" y="84"/>
                    </a:lnTo>
                    <a:lnTo>
                      <a:pt x="715" y="86"/>
                    </a:lnTo>
                    <a:lnTo>
                      <a:pt x="715" y="90"/>
                    </a:lnTo>
                    <a:lnTo>
                      <a:pt x="713" y="92"/>
                    </a:lnTo>
                    <a:lnTo>
                      <a:pt x="709" y="97"/>
                    </a:lnTo>
                    <a:lnTo>
                      <a:pt x="709" y="97"/>
                    </a:lnTo>
                    <a:lnTo>
                      <a:pt x="707" y="99"/>
                    </a:lnTo>
                    <a:lnTo>
                      <a:pt x="709" y="101"/>
                    </a:lnTo>
                    <a:lnTo>
                      <a:pt x="709" y="103"/>
                    </a:lnTo>
                    <a:lnTo>
                      <a:pt x="707" y="105"/>
                    </a:lnTo>
                    <a:lnTo>
                      <a:pt x="705" y="109"/>
                    </a:lnTo>
                    <a:lnTo>
                      <a:pt x="705" y="111"/>
                    </a:lnTo>
                    <a:lnTo>
                      <a:pt x="705" y="111"/>
                    </a:lnTo>
                    <a:lnTo>
                      <a:pt x="707" y="112"/>
                    </a:lnTo>
                    <a:lnTo>
                      <a:pt x="707" y="114"/>
                    </a:lnTo>
                    <a:lnTo>
                      <a:pt x="707" y="116"/>
                    </a:lnTo>
                    <a:lnTo>
                      <a:pt x="705" y="118"/>
                    </a:lnTo>
                    <a:lnTo>
                      <a:pt x="701" y="124"/>
                    </a:lnTo>
                    <a:lnTo>
                      <a:pt x="701" y="126"/>
                    </a:lnTo>
                    <a:lnTo>
                      <a:pt x="701" y="128"/>
                    </a:lnTo>
                    <a:lnTo>
                      <a:pt x="701" y="128"/>
                    </a:lnTo>
                    <a:lnTo>
                      <a:pt x="701" y="130"/>
                    </a:lnTo>
                    <a:lnTo>
                      <a:pt x="705" y="133"/>
                    </a:lnTo>
                    <a:lnTo>
                      <a:pt x="707" y="133"/>
                    </a:lnTo>
                    <a:lnTo>
                      <a:pt x="707" y="135"/>
                    </a:lnTo>
                    <a:lnTo>
                      <a:pt x="707" y="135"/>
                    </a:lnTo>
                    <a:lnTo>
                      <a:pt x="705" y="137"/>
                    </a:lnTo>
                    <a:lnTo>
                      <a:pt x="703" y="137"/>
                    </a:lnTo>
                    <a:lnTo>
                      <a:pt x="703" y="139"/>
                    </a:lnTo>
                    <a:lnTo>
                      <a:pt x="703" y="139"/>
                    </a:lnTo>
                    <a:lnTo>
                      <a:pt x="703" y="143"/>
                    </a:lnTo>
                    <a:lnTo>
                      <a:pt x="703" y="145"/>
                    </a:lnTo>
                    <a:lnTo>
                      <a:pt x="703" y="147"/>
                    </a:lnTo>
                    <a:lnTo>
                      <a:pt x="703" y="147"/>
                    </a:lnTo>
                    <a:lnTo>
                      <a:pt x="701" y="147"/>
                    </a:lnTo>
                    <a:lnTo>
                      <a:pt x="697" y="147"/>
                    </a:lnTo>
                    <a:lnTo>
                      <a:pt x="696" y="149"/>
                    </a:lnTo>
                    <a:lnTo>
                      <a:pt x="696" y="149"/>
                    </a:lnTo>
                    <a:lnTo>
                      <a:pt x="694" y="151"/>
                    </a:lnTo>
                    <a:lnTo>
                      <a:pt x="694" y="152"/>
                    </a:lnTo>
                    <a:lnTo>
                      <a:pt x="694" y="154"/>
                    </a:lnTo>
                    <a:lnTo>
                      <a:pt x="692" y="154"/>
                    </a:lnTo>
                    <a:lnTo>
                      <a:pt x="690" y="154"/>
                    </a:lnTo>
                    <a:lnTo>
                      <a:pt x="690" y="152"/>
                    </a:lnTo>
                    <a:lnTo>
                      <a:pt x="688" y="152"/>
                    </a:lnTo>
                    <a:lnTo>
                      <a:pt x="688" y="152"/>
                    </a:lnTo>
                    <a:lnTo>
                      <a:pt x="686" y="152"/>
                    </a:lnTo>
                    <a:lnTo>
                      <a:pt x="684" y="152"/>
                    </a:lnTo>
                    <a:lnTo>
                      <a:pt x="684" y="152"/>
                    </a:lnTo>
                    <a:lnTo>
                      <a:pt x="682" y="151"/>
                    </a:lnTo>
                    <a:lnTo>
                      <a:pt x="680" y="149"/>
                    </a:lnTo>
                    <a:lnTo>
                      <a:pt x="678" y="149"/>
                    </a:lnTo>
                    <a:lnTo>
                      <a:pt x="673" y="147"/>
                    </a:lnTo>
                    <a:lnTo>
                      <a:pt x="667" y="147"/>
                    </a:lnTo>
                    <a:lnTo>
                      <a:pt x="661" y="152"/>
                    </a:lnTo>
                    <a:lnTo>
                      <a:pt x="655" y="152"/>
                    </a:lnTo>
                    <a:lnTo>
                      <a:pt x="652" y="152"/>
                    </a:lnTo>
                    <a:lnTo>
                      <a:pt x="640" y="162"/>
                    </a:lnTo>
                    <a:lnTo>
                      <a:pt x="631" y="166"/>
                    </a:lnTo>
                    <a:lnTo>
                      <a:pt x="631" y="166"/>
                    </a:lnTo>
                    <a:lnTo>
                      <a:pt x="633" y="168"/>
                    </a:lnTo>
                    <a:lnTo>
                      <a:pt x="633" y="170"/>
                    </a:lnTo>
                    <a:lnTo>
                      <a:pt x="635" y="170"/>
                    </a:lnTo>
                    <a:lnTo>
                      <a:pt x="635" y="171"/>
                    </a:lnTo>
                    <a:lnTo>
                      <a:pt x="636" y="173"/>
                    </a:lnTo>
                    <a:lnTo>
                      <a:pt x="636" y="173"/>
                    </a:lnTo>
                    <a:lnTo>
                      <a:pt x="635" y="173"/>
                    </a:lnTo>
                    <a:lnTo>
                      <a:pt x="635" y="175"/>
                    </a:lnTo>
                    <a:lnTo>
                      <a:pt x="633" y="175"/>
                    </a:lnTo>
                    <a:lnTo>
                      <a:pt x="631" y="177"/>
                    </a:lnTo>
                    <a:lnTo>
                      <a:pt x="629" y="177"/>
                    </a:lnTo>
                    <a:lnTo>
                      <a:pt x="627" y="177"/>
                    </a:lnTo>
                    <a:lnTo>
                      <a:pt x="627" y="177"/>
                    </a:lnTo>
                    <a:lnTo>
                      <a:pt x="625" y="179"/>
                    </a:lnTo>
                    <a:lnTo>
                      <a:pt x="625" y="179"/>
                    </a:lnTo>
                    <a:lnTo>
                      <a:pt x="623" y="181"/>
                    </a:lnTo>
                    <a:lnTo>
                      <a:pt x="623" y="183"/>
                    </a:lnTo>
                    <a:lnTo>
                      <a:pt x="621" y="183"/>
                    </a:lnTo>
                    <a:lnTo>
                      <a:pt x="621" y="183"/>
                    </a:lnTo>
                    <a:lnTo>
                      <a:pt x="617" y="185"/>
                    </a:lnTo>
                    <a:lnTo>
                      <a:pt x="617" y="185"/>
                    </a:lnTo>
                    <a:lnTo>
                      <a:pt x="614" y="185"/>
                    </a:lnTo>
                    <a:lnTo>
                      <a:pt x="614" y="185"/>
                    </a:lnTo>
                    <a:lnTo>
                      <a:pt x="614" y="187"/>
                    </a:lnTo>
                    <a:lnTo>
                      <a:pt x="612" y="187"/>
                    </a:lnTo>
                    <a:lnTo>
                      <a:pt x="610" y="189"/>
                    </a:lnTo>
                    <a:lnTo>
                      <a:pt x="608" y="189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8" y="192"/>
                    </a:lnTo>
                    <a:lnTo>
                      <a:pt x="608" y="194"/>
                    </a:lnTo>
                    <a:lnTo>
                      <a:pt x="608" y="194"/>
                    </a:lnTo>
                    <a:lnTo>
                      <a:pt x="606" y="196"/>
                    </a:lnTo>
                    <a:lnTo>
                      <a:pt x="606" y="196"/>
                    </a:lnTo>
                    <a:lnTo>
                      <a:pt x="604" y="198"/>
                    </a:lnTo>
                    <a:lnTo>
                      <a:pt x="604" y="200"/>
                    </a:lnTo>
                    <a:lnTo>
                      <a:pt x="604" y="202"/>
                    </a:lnTo>
                    <a:lnTo>
                      <a:pt x="602" y="204"/>
                    </a:lnTo>
                    <a:lnTo>
                      <a:pt x="600" y="204"/>
                    </a:lnTo>
                    <a:lnTo>
                      <a:pt x="600" y="206"/>
                    </a:lnTo>
                    <a:lnTo>
                      <a:pt x="600" y="206"/>
                    </a:lnTo>
                    <a:lnTo>
                      <a:pt x="600" y="206"/>
                    </a:lnTo>
                    <a:lnTo>
                      <a:pt x="598" y="208"/>
                    </a:lnTo>
                    <a:lnTo>
                      <a:pt x="600" y="208"/>
                    </a:lnTo>
                    <a:lnTo>
                      <a:pt x="602" y="210"/>
                    </a:lnTo>
                    <a:lnTo>
                      <a:pt x="602" y="210"/>
                    </a:lnTo>
                    <a:lnTo>
                      <a:pt x="602" y="210"/>
                    </a:lnTo>
                    <a:lnTo>
                      <a:pt x="602" y="210"/>
                    </a:lnTo>
                    <a:lnTo>
                      <a:pt x="600" y="211"/>
                    </a:lnTo>
                    <a:lnTo>
                      <a:pt x="600" y="211"/>
                    </a:lnTo>
                    <a:lnTo>
                      <a:pt x="598" y="213"/>
                    </a:lnTo>
                    <a:lnTo>
                      <a:pt x="598" y="215"/>
                    </a:lnTo>
                    <a:lnTo>
                      <a:pt x="598" y="217"/>
                    </a:lnTo>
                    <a:lnTo>
                      <a:pt x="598" y="219"/>
                    </a:lnTo>
                    <a:lnTo>
                      <a:pt x="598" y="221"/>
                    </a:lnTo>
                    <a:lnTo>
                      <a:pt x="598" y="221"/>
                    </a:lnTo>
                    <a:lnTo>
                      <a:pt x="598" y="223"/>
                    </a:lnTo>
                    <a:lnTo>
                      <a:pt x="598" y="225"/>
                    </a:lnTo>
                    <a:lnTo>
                      <a:pt x="598" y="225"/>
                    </a:lnTo>
                    <a:lnTo>
                      <a:pt x="598" y="225"/>
                    </a:lnTo>
                    <a:lnTo>
                      <a:pt x="596" y="229"/>
                    </a:lnTo>
                    <a:lnTo>
                      <a:pt x="594" y="229"/>
                    </a:lnTo>
                    <a:lnTo>
                      <a:pt x="593" y="230"/>
                    </a:lnTo>
                    <a:lnTo>
                      <a:pt x="593" y="232"/>
                    </a:lnTo>
                    <a:lnTo>
                      <a:pt x="593" y="232"/>
                    </a:lnTo>
                    <a:lnTo>
                      <a:pt x="591" y="234"/>
                    </a:lnTo>
                    <a:lnTo>
                      <a:pt x="591" y="234"/>
                    </a:lnTo>
                    <a:lnTo>
                      <a:pt x="589" y="236"/>
                    </a:lnTo>
                    <a:lnTo>
                      <a:pt x="589" y="236"/>
                    </a:lnTo>
                    <a:lnTo>
                      <a:pt x="589" y="236"/>
                    </a:lnTo>
                    <a:lnTo>
                      <a:pt x="587" y="236"/>
                    </a:lnTo>
                    <a:lnTo>
                      <a:pt x="585" y="238"/>
                    </a:lnTo>
                    <a:lnTo>
                      <a:pt x="583" y="238"/>
                    </a:lnTo>
                    <a:lnTo>
                      <a:pt x="583" y="238"/>
                    </a:lnTo>
                    <a:lnTo>
                      <a:pt x="581" y="236"/>
                    </a:lnTo>
                    <a:lnTo>
                      <a:pt x="579" y="236"/>
                    </a:lnTo>
                    <a:lnTo>
                      <a:pt x="579" y="234"/>
                    </a:lnTo>
                    <a:lnTo>
                      <a:pt x="579" y="234"/>
                    </a:lnTo>
                    <a:lnTo>
                      <a:pt x="579" y="232"/>
                    </a:lnTo>
                    <a:lnTo>
                      <a:pt x="577" y="232"/>
                    </a:lnTo>
                    <a:lnTo>
                      <a:pt x="577" y="232"/>
                    </a:lnTo>
                    <a:lnTo>
                      <a:pt x="577" y="234"/>
                    </a:lnTo>
                    <a:lnTo>
                      <a:pt x="575" y="234"/>
                    </a:lnTo>
                    <a:lnTo>
                      <a:pt x="573" y="238"/>
                    </a:lnTo>
                    <a:lnTo>
                      <a:pt x="573" y="238"/>
                    </a:lnTo>
                    <a:lnTo>
                      <a:pt x="572" y="240"/>
                    </a:lnTo>
                    <a:lnTo>
                      <a:pt x="572" y="242"/>
                    </a:lnTo>
                    <a:lnTo>
                      <a:pt x="570" y="242"/>
                    </a:lnTo>
                    <a:lnTo>
                      <a:pt x="570" y="242"/>
                    </a:lnTo>
                    <a:lnTo>
                      <a:pt x="568" y="242"/>
                    </a:lnTo>
                    <a:lnTo>
                      <a:pt x="566" y="242"/>
                    </a:lnTo>
                    <a:lnTo>
                      <a:pt x="564" y="242"/>
                    </a:lnTo>
                    <a:lnTo>
                      <a:pt x="560" y="242"/>
                    </a:lnTo>
                    <a:lnTo>
                      <a:pt x="558" y="242"/>
                    </a:lnTo>
                    <a:lnTo>
                      <a:pt x="558" y="244"/>
                    </a:lnTo>
                    <a:lnTo>
                      <a:pt x="558" y="244"/>
                    </a:lnTo>
                    <a:lnTo>
                      <a:pt x="558" y="246"/>
                    </a:lnTo>
                    <a:lnTo>
                      <a:pt x="558" y="249"/>
                    </a:lnTo>
                    <a:lnTo>
                      <a:pt x="558" y="249"/>
                    </a:lnTo>
                    <a:lnTo>
                      <a:pt x="558" y="251"/>
                    </a:lnTo>
                    <a:lnTo>
                      <a:pt x="556" y="253"/>
                    </a:lnTo>
                    <a:lnTo>
                      <a:pt x="556" y="253"/>
                    </a:lnTo>
                    <a:lnTo>
                      <a:pt x="554" y="253"/>
                    </a:lnTo>
                    <a:lnTo>
                      <a:pt x="551" y="255"/>
                    </a:lnTo>
                    <a:lnTo>
                      <a:pt x="547" y="257"/>
                    </a:lnTo>
                    <a:lnTo>
                      <a:pt x="543" y="257"/>
                    </a:lnTo>
                    <a:lnTo>
                      <a:pt x="543" y="257"/>
                    </a:lnTo>
                    <a:lnTo>
                      <a:pt x="541" y="257"/>
                    </a:lnTo>
                    <a:lnTo>
                      <a:pt x="541" y="257"/>
                    </a:lnTo>
                    <a:lnTo>
                      <a:pt x="541" y="259"/>
                    </a:lnTo>
                    <a:lnTo>
                      <a:pt x="541" y="259"/>
                    </a:lnTo>
                    <a:lnTo>
                      <a:pt x="539" y="259"/>
                    </a:lnTo>
                    <a:lnTo>
                      <a:pt x="539" y="259"/>
                    </a:lnTo>
                    <a:lnTo>
                      <a:pt x="537" y="261"/>
                    </a:lnTo>
                    <a:lnTo>
                      <a:pt x="535" y="261"/>
                    </a:lnTo>
                    <a:lnTo>
                      <a:pt x="535" y="261"/>
                    </a:lnTo>
                    <a:lnTo>
                      <a:pt x="533" y="261"/>
                    </a:lnTo>
                    <a:lnTo>
                      <a:pt x="532" y="261"/>
                    </a:lnTo>
                    <a:lnTo>
                      <a:pt x="530" y="259"/>
                    </a:lnTo>
                    <a:lnTo>
                      <a:pt x="530" y="259"/>
                    </a:lnTo>
                    <a:lnTo>
                      <a:pt x="528" y="259"/>
                    </a:lnTo>
                    <a:lnTo>
                      <a:pt x="528" y="257"/>
                    </a:lnTo>
                    <a:lnTo>
                      <a:pt x="526" y="257"/>
                    </a:lnTo>
                    <a:lnTo>
                      <a:pt x="526" y="257"/>
                    </a:lnTo>
                    <a:lnTo>
                      <a:pt x="524" y="257"/>
                    </a:lnTo>
                    <a:lnTo>
                      <a:pt x="524" y="259"/>
                    </a:lnTo>
                    <a:lnTo>
                      <a:pt x="524" y="261"/>
                    </a:lnTo>
                    <a:lnTo>
                      <a:pt x="524" y="261"/>
                    </a:lnTo>
                    <a:lnTo>
                      <a:pt x="526" y="261"/>
                    </a:lnTo>
                    <a:lnTo>
                      <a:pt x="526" y="263"/>
                    </a:lnTo>
                    <a:lnTo>
                      <a:pt x="526" y="263"/>
                    </a:lnTo>
                    <a:lnTo>
                      <a:pt x="526" y="265"/>
                    </a:lnTo>
                    <a:lnTo>
                      <a:pt x="526" y="265"/>
                    </a:lnTo>
                    <a:lnTo>
                      <a:pt x="524" y="265"/>
                    </a:lnTo>
                    <a:lnTo>
                      <a:pt x="524" y="267"/>
                    </a:lnTo>
                    <a:lnTo>
                      <a:pt x="524" y="267"/>
                    </a:lnTo>
                    <a:lnTo>
                      <a:pt x="522" y="267"/>
                    </a:lnTo>
                    <a:lnTo>
                      <a:pt x="520" y="265"/>
                    </a:lnTo>
                    <a:lnTo>
                      <a:pt x="520" y="265"/>
                    </a:lnTo>
                    <a:lnTo>
                      <a:pt x="520" y="268"/>
                    </a:lnTo>
                    <a:lnTo>
                      <a:pt x="518" y="268"/>
                    </a:lnTo>
                    <a:lnTo>
                      <a:pt x="518" y="270"/>
                    </a:lnTo>
                    <a:lnTo>
                      <a:pt x="518" y="272"/>
                    </a:lnTo>
                    <a:lnTo>
                      <a:pt x="518" y="272"/>
                    </a:lnTo>
                    <a:lnTo>
                      <a:pt x="518" y="274"/>
                    </a:lnTo>
                    <a:lnTo>
                      <a:pt x="518" y="276"/>
                    </a:lnTo>
                    <a:lnTo>
                      <a:pt x="518" y="278"/>
                    </a:lnTo>
                    <a:lnTo>
                      <a:pt x="518" y="278"/>
                    </a:lnTo>
                    <a:lnTo>
                      <a:pt x="518" y="280"/>
                    </a:lnTo>
                    <a:lnTo>
                      <a:pt x="516" y="280"/>
                    </a:lnTo>
                    <a:lnTo>
                      <a:pt x="514" y="282"/>
                    </a:lnTo>
                    <a:lnTo>
                      <a:pt x="514" y="280"/>
                    </a:lnTo>
                    <a:lnTo>
                      <a:pt x="514" y="280"/>
                    </a:lnTo>
                    <a:lnTo>
                      <a:pt x="511" y="278"/>
                    </a:lnTo>
                    <a:lnTo>
                      <a:pt x="511" y="278"/>
                    </a:lnTo>
                    <a:lnTo>
                      <a:pt x="509" y="278"/>
                    </a:lnTo>
                    <a:lnTo>
                      <a:pt x="509" y="278"/>
                    </a:lnTo>
                    <a:lnTo>
                      <a:pt x="507" y="278"/>
                    </a:lnTo>
                    <a:lnTo>
                      <a:pt x="505" y="278"/>
                    </a:lnTo>
                    <a:lnTo>
                      <a:pt x="501" y="276"/>
                    </a:lnTo>
                    <a:lnTo>
                      <a:pt x="499" y="276"/>
                    </a:lnTo>
                    <a:lnTo>
                      <a:pt x="497" y="276"/>
                    </a:lnTo>
                    <a:lnTo>
                      <a:pt x="497" y="276"/>
                    </a:lnTo>
                    <a:lnTo>
                      <a:pt x="495" y="276"/>
                    </a:lnTo>
                    <a:lnTo>
                      <a:pt x="495" y="276"/>
                    </a:lnTo>
                    <a:lnTo>
                      <a:pt x="495" y="276"/>
                    </a:lnTo>
                    <a:lnTo>
                      <a:pt x="493" y="276"/>
                    </a:lnTo>
                    <a:lnTo>
                      <a:pt x="491" y="278"/>
                    </a:lnTo>
                    <a:lnTo>
                      <a:pt x="491" y="278"/>
                    </a:lnTo>
                    <a:lnTo>
                      <a:pt x="490" y="276"/>
                    </a:lnTo>
                    <a:lnTo>
                      <a:pt x="491" y="276"/>
                    </a:lnTo>
                    <a:lnTo>
                      <a:pt x="491" y="274"/>
                    </a:lnTo>
                    <a:lnTo>
                      <a:pt x="491" y="274"/>
                    </a:lnTo>
                    <a:lnTo>
                      <a:pt x="493" y="274"/>
                    </a:lnTo>
                    <a:lnTo>
                      <a:pt x="493" y="272"/>
                    </a:lnTo>
                    <a:lnTo>
                      <a:pt x="491" y="272"/>
                    </a:lnTo>
                    <a:lnTo>
                      <a:pt x="490" y="272"/>
                    </a:lnTo>
                    <a:lnTo>
                      <a:pt x="490" y="270"/>
                    </a:lnTo>
                    <a:lnTo>
                      <a:pt x="490" y="270"/>
                    </a:lnTo>
                    <a:lnTo>
                      <a:pt x="490" y="270"/>
                    </a:lnTo>
                    <a:lnTo>
                      <a:pt x="488" y="268"/>
                    </a:lnTo>
                    <a:lnTo>
                      <a:pt x="488" y="268"/>
                    </a:lnTo>
                    <a:lnTo>
                      <a:pt x="486" y="268"/>
                    </a:lnTo>
                    <a:lnTo>
                      <a:pt x="486" y="268"/>
                    </a:lnTo>
                    <a:lnTo>
                      <a:pt x="484" y="267"/>
                    </a:lnTo>
                    <a:lnTo>
                      <a:pt x="482" y="267"/>
                    </a:lnTo>
                    <a:lnTo>
                      <a:pt x="480" y="267"/>
                    </a:lnTo>
                    <a:lnTo>
                      <a:pt x="480" y="268"/>
                    </a:lnTo>
                    <a:lnTo>
                      <a:pt x="478" y="268"/>
                    </a:lnTo>
                    <a:lnTo>
                      <a:pt x="478" y="268"/>
                    </a:lnTo>
                    <a:lnTo>
                      <a:pt x="476" y="268"/>
                    </a:lnTo>
                    <a:lnTo>
                      <a:pt x="476" y="270"/>
                    </a:lnTo>
                    <a:lnTo>
                      <a:pt x="474" y="270"/>
                    </a:lnTo>
                    <a:lnTo>
                      <a:pt x="472" y="270"/>
                    </a:lnTo>
                    <a:lnTo>
                      <a:pt x="472" y="270"/>
                    </a:lnTo>
                    <a:lnTo>
                      <a:pt x="472" y="272"/>
                    </a:lnTo>
                    <a:lnTo>
                      <a:pt x="472" y="272"/>
                    </a:lnTo>
                    <a:lnTo>
                      <a:pt x="472" y="274"/>
                    </a:lnTo>
                    <a:lnTo>
                      <a:pt x="471" y="276"/>
                    </a:lnTo>
                    <a:lnTo>
                      <a:pt x="471" y="276"/>
                    </a:lnTo>
                    <a:lnTo>
                      <a:pt x="471" y="278"/>
                    </a:lnTo>
                    <a:lnTo>
                      <a:pt x="471" y="278"/>
                    </a:lnTo>
                    <a:lnTo>
                      <a:pt x="471" y="280"/>
                    </a:lnTo>
                    <a:lnTo>
                      <a:pt x="469" y="280"/>
                    </a:lnTo>
                    <a:lnTo>
                      <a:pt x="467" y="280"/>
                    </a:lnTo>
                    <a:lnTo>
                      <a:pt x="467" y="282"/>
                    </a:lnTo>
                    <a:lnTo>
                      <a:pt x="465" y="282"/>
                    </a:lnTo>
                    <a:lnTo>
                      <a:pt x="463" y="282"/>
                    </a:lnTo>
                    <a:lnTo>
                      <a:pt x="463" y="280"/>
                    </a:lnTo>
                    <a:lnTo>
                      <a:pt x="463" y="278"/>
                    </a:lnTo>
                    <a:lnTo>
                      <a:pt x="461" y="278"/>
                    </a:lnTo>
                    <a:lnTo>
                      <a:pt x="461" y="276"/>
                    </a:lnTo>
                    <a:lnTo>
                      <a:pt x="461" y="276"/>
                    </a:lnTo>
                    <a:lnTo>
                      <a:pt x="461" y="274"/>
                    </a:lnTo>
                    <a:lnTo>
                      <a:pt x="461" y="274"/>
                    </a:lnTo>
                    <a:lnTo>
                      <a:pt x="459" y="274"/>
                    </a:lnTo>
                    <a:lnTo>
                      <a:pt x="459" y="274"/>
                    </a:lnTo>
                    <a:lnTo>
                      <a:pt x="459" y="276"/>
                    </a:lnTo>
                    <a:lnTo>
                      <a:pt x="457" y="276"/>
                    </a:lnTo>
                    <a:lnTo>
                      <a:pt x="457" y="276"/>
                    </a:lnTo>
                    <a:lnTo>
                      <a:pt x="457" y="278"/>
                    </a:lnTo>
                    <a:lnTo>
                      <a:pt x="457" y="278"/>
                    </a:lnTo>
                    <a:lnTo>
                      <a:pt x="457" y="280"/>
                    </a:lnTo>
                    <a:lnTo>
                      <a:pt x="457" y="280"/>
                    </a:lnTo>
                    <a:lnTo>
                      <a:pt x="457" y="282"/>
                    </a:lnTo>
                    <a:lnTo>
                      <a:pt x="459" y="282"/>
                    </a:lnTo>
                    <a:lnTo>
                      <a:pt x="459" y="282"/>
                    </a:lnTo>
                    <a:lnTo>
                      <a:pt x="459" y="284"/>
                    </a:lnTo>
                    <a:lnTo>
                      <a:pt x="459" y="284"/>
                    </a:lnTo>
                    <a:lnTo>
                      <a:pt x="459" y="284"/>
                    </a:lnTo>
                    <a:lnTo>
                      <a:pt x="457" y="286"/>
                    </a:lnTo>
                    <a:lnTo>
                      <a:pt x="457" y="286"/>
                    </a:lnTo>
                    <a:lnTo>
                      <a:pt x="457" y="286"/>
                    </a:lnTo>
                    <a:lnTo>
                      <a:pt x="457" y="286"/>
                    </a:lnTo>
                    <a:lnTo>
                      <a:pt x="455" y="288"/>
                    </a:lnTo>
                    <a:lnTo>
                      <a:pt x="455" y="288"/>
                    </a:lnTo>
                    <a:lnTo>
                      <a:pt x="455" y="288"/>
                    </a:lnTo>
                    <a:lnTo>
                      <a:pt x="459" y="289"/>
                    </a:lnTo>
                    <a:lnTo>
                      <a:pt x="461" y="289"/>
                    </a:lnTo>
                    <a:lnTo>
                      <a:pt x="463" y="289"/>
                    </a:lnTo>
                    <a:lnTo>
                      <a:pt x="467" y="291"/>
                    </a:lnTo>
                    <a:lnTo>
                      <a:pt x="467" y="293"/>
                    </a:lnTo>
                    <a:lnTo>
                      <a:pt x="469" y="293"/>
                    </a:lnTo>
                    <a:lnTo>
                      <a:pt x="471" y="293"/>
                    </a:lnTo>
                    <a:lnTo>
                      <a:pt x="471" y="295"/>
                    </a:lnTo>
                    <a:lnTo>
                      <a:pt x="472" y="295"/>
                    </a:lnTo>
                    <a:lnTo>
                      <a:pt x="472" y="293"/>
                    </a:lnTo>
                    <a:lnTo>
                      <a:pt x="472" y="293"/>
                    </a:lnTo>
                    <a:lnTo>
                      <a:pt x="472" y="291"/>
                    </a:lnTo>
                    <a:lnTo>
                      <a:pt x="474" y="291"/>
                    </a:lnTo>
                    <a:lnTo>
                      <a:pt x="476" y="293"/>
                    </a:lnTo>
                    <a:lnTo>
                      <a:pt x="478" y="291"/>
                    </a:lnTo>
                    <a:lnTo>
                      <a:pt x="482" y="293"/>
                    </a:lnTo>
                    <a:lnTo>
                      <a:pt x="484" y="293"/>
                    </a:lnTo>
                    <a:lnTo>
                      <a:pt x="484" y="295"/>
                    </a:lnTo>
                    <a:lnTo>
                      <a:pt x="484" y="295"/>
                    </a:lnTo>
                    <a:lnTo>
                      <a:pt x="484" y="297"/>
                    </a:lnTo>
                    <a:lnTo>
                      <a:pt x="484" y="297"/>
                    </a:lnTo>
                    <a:lnTo>
                      <a:pt x="484" y="297"/>
                    </a:lnTo>
                    <a:lnTo>
                      <a:pt x="484" y="297"/>
                    </a:lnTo>
                    <a:lnTo>
                      <a:pt x="484" y="299"/>
                    </a:lnTo>
                    <a:lnTo>
                      <a:pt x="484" y="299"/>
                    </a:lnTo>
                    <a:lnTo>
                      <a:pt x="484" y="301"/>
                    </a:lnTo>
                    <a:lnTo>
                      <a:pt x="484" y="301"/>
                    </a:lnTo>
                    <a:lnTo>
                      <a:pt x="482" y="301"/>
                    </a:lnTo>
                    <a:lnTo>
                      <a:pt x="482" y="305"/>
                    </a:lnTo>
                    <a:lnTo>
                      <a:pt x="482" y="305"/>
                    </a:lnTo>
                    <a:lnTo>
                      <a:pt x="482" y="307"/>
                    </a:lnTo>
                    <a:lnTo>
                      <a:pt x="480" y="307"/>
                    </a:lnTo>
                    <a:lnTo>
                      <a:pt x="480" y="308"/>
                    </a:lnTo>
                    <a:lnTo>
                      <a:pt x="482" y="308"/>
                    </a:lnTo>
                    <a:lnTo>
                      <a:pt x="482" y="308"/>
                    </a:lnTo>
                    <a:lnTo>
                      <a:pt x="482" y="308"/>
                    </a:lnTo>
                    <a:lnTo>
                      <a:pt x="484" y="310"/>
                    </a:lnTo>
                    <a:lnTo>
                      <a:pt x="486" y="310"/>
                    </a:lnTo>
                    <a:lnTo>
                      <a:pt x="486" y="312"/>
                    </a:lnTo>
                    <a:lnTo>
                      <a:pt x="486" y="312"/>
                    </a:lnTo>
                    <a:lnTo>
                      <a:pt x="486" y="312"/>
                    </a:lnTo>
                    <a:lnTo>
                      <a:pt x="482" y="314"/>
                    </a:lnTo>
                    <a:lnTo>
                      <a:pt x="482" y="316"/>
                    </a:lnTo>
                    <a:lnTo>
                      <a:pt x="480" y="314"/>
                    </a:lnTo>
                    <a:lnTo>
                      <a:pt x="476" y="314"/>
                    </a:lnTo>
                    <a:lnTo>
                      <a:pt x="476" y="314"/>
                    </a:lnTo>
                    <a:lnTo>
                      <a:pt x="474" y="314"/>
                    </a:lnTo>
                    <a:lnTo>
                      <a:pt x="472" y="314"/>
                    </a:lnTo>
                    <a:lnTo>
                      <a:pt x="471" y="312"/>
                    </a:lnTo>
                    <a:lnTo>
                      <a:pt x="471" y="312"/>
                    </a:lnTo>
                    <a:lnTo>
                      <a:pt x="471" y="312"/>
                    </a:lnTo>
                    <a:lnTo>
                      <a:pt x="469" y="312"/>
                    </a:lnTo>
                    <a:lnTo>
                      <a:pt x="469" y="310"/>
                    </a:lnTo>
                    <a:lnTo>
                      <a:pt x="467" y="308"/>
                    </a:lnTo>
                    <a:lnTo>
                      <a:pt x="467" y="308"/>
                    </a:lnTo>
                    <a:lnTo>
                      <a:pt x="465" y="307"/>
                    </a:lnTo>
                    <a:lnTo>
                      <a:pt x="465" y="307"/>
                    </a:lnTo>
                    <a:lnTo>
                      <a:pt x="463" y="307"/>
                    </a:lnTo>
                    <a:lnTo>
                      <a:pt x="463" y="307"/>
                    </a:lnTo>
                    <a:lnTo>
                      <a:pt x="463" y="305"/>
                    </a:lnTo>
                    <a:lnTo>
                      <a:pt x="461" y="305"/>
                    </a:lnTo>
                    <a:lnTo>
                      <a:pt x="461" y="307"/>
                    </a:lnTo>
                    <a:lnTo>
                      <a:pt x="461" y="307"/>
                    </a:lnTo>
                    <a:lnTo>
                      <a:pt x="461" y="307"/>
                    </a:lnTo>
                    <a:lnTo>
                      <a:pt x="459" y="308"/>
                    </a:lnTo>
                    <a:lnTo>
                      <a:pt x="457" y="308"/>
                    </a:lnTo>
                    <a:lnTo>
                      <a:pt x="457" y="308"/>
                    </a:lnTo>
                    <a:lnTo>
                      <a:pt x="457" y="308"/>
                    </a:lnTo>
                    <a:lnTo>
                      <a:pt x="457" y="307"/>
                    </a:lnTo>
                    <a:lnTo>
                      <a:pt x="457" y="305"/>
                    </a:lnTo>
                    <a:lnTo>
                      <a:pt x="455" y="305"/>
                    </a:lnTo>
                    <a:lnTo>
                      <a:pt x="455" y="303"/>
                    </a:lnTo>
                    <a:lnTo>
                      <a:pt x="455" y="303"/>
                    </a:lnTo>
                    <a:lnTo>
                      <a:pt x="453" y="303"/>
                    </a:lnTo>
                    <a:lnTo>
                      <a:pt x="453" y="301"/>
                    </a:lnTo>
                    <a:lnTo>
                      <a:pt x="451" y="301"/>
                    </a:lnTo>
                    <a:lnTo>
                      <a:pt x="451" y="301"/>
                    </a:lnTo>
                    <a:lnTo>
                      <a:pt x="451" y="301"/>
                    </a:lnTo>
                    <a:lnTo>
                      <a:pt x="450" y="299"/>
                    </a:lnTo>
                    <a:lnTo>
                      <a:pt x="450" y="299"/>
                    </a:lnTo>
                    <a:lnTo>
                      <a:pt x="450" y="295"/>
                    </a:lnTo>
                    <a:lnTo>
                      <a:pt x="450" y="295"/>
                    </a:lnTo>
                    <a:lnTo>
                      <a:pt x="450" y="295"/>
                    </a:lnTo>
                    <a:lnTo>
                      <a:pt x="450" y="291"/>
                    </a:lnTo>
                    <a:lnTo>
                      <a:pt x="448" y="289"/>
                    </a:lnTo>
                    <a:lnTo>
                      <a:pt x="448" y="288"/>
                    </a:lnTo>
                    <a:lnTo>
                      <a:pt x="446" y="286"/>
                    </a:lnTo>
                    <a:lnTo>
                      <a:pt x="444" y="284"/>
                    </a:lnTo>
                    <a:lnTo>
                      <a:pt x="442" y="284"/>
                    </a:lnTo>
                    <a:lnTo>
                      <a:pt x="440" y="284"/>
                    </a:lnTo>
                    <a:lnTo>
                      <a:pt x="440" y="284"/>
                    </a:lnTo>
                    <a:lnTo>
                      <a:pt x="440" y="284"/>
                    </a:lnTo>
                    <a:lnTo>
                      <a:pt x="438" y="282"/>
                    </a:lnTo>
                    <a:lnTo>
                      <a:pt x="438" y="282"/>
                    </a:lnTo>
                    <a:lnTo>
                      <a:pt x="436" y="282"/>
                    </a:lnTo>
                    <a:lnTo>
                      <a:pt x="434" y="282"/>
                    </a:lnTo>
                    <a:lnTo>
                      <a:pt x="436" y="282"/>
                    </a:lnTo>
                    <a:lnTo>
                      <a:pt x="434" y="278"/>
                    </a:lnTo>
                    <a:lnTo>
                      <a:pt x="434" y="278"/>
                    </a:lnTo>
                    <a:lnTo>
                      <a:pt x="432" y="280"/>
                    </a:lnTo>
                    <a:lnTo>
                      <a:pt x="432" y="282"/>
                    </a:lnTo>
                    <a:lnTo>
                      <a:pt x="429" y="284"/>
                    </a:lnTo>
                    <a:lnTo>
                      <a:pt x="429" y="284"/>
                    </a:lnTo>
                    <a:lnTo>
                      <a:pt x="429" y="286"/>
                    </a:lnTo>
                    <a:lnTo>
                      <a:pt x="427" y="286"/>
                    </a:lnTo>
                    <a:lnTo>
                      <a:pt x="427" y="286"/>
                    </a:lnTo>
                    <a:lnTo>
                      <a:pt x="427" y="286"/>
                    </a:lnTo>
                    <a:lnTo>
                      <a:pt x="425" y="286"/>
                    </a:lnTo>
                    <a:lnTo>
                      <a:pt x="425" y="288"/>
                    </a:lnTo>
                    <a:lnTo>
                      <a:pt x="425" y="288"/>
                    </a:lnTo>
                    <a:lnTo>
                      <a:pt x="423" y="286"/>
                    </a:lnTo>
                    <a:lnTo>
                      <a:pt x="421" y="286"/>
                    </a:lnTo>
                    <a:lnTo>
                      <a:pt x="421" y="288"/>
                    </a:lnTo>
                    <a:lnTo>
                      <a:pt x="421" y="289"/>
                    </a:lnTo>
                    <a:lnTo>
                      <a:pt x="417" y="289"/>
                    </a:lnTo>
                    <a:lnTo>
                      <a:pt x="415" y="293"/>
                    </a:lnTo>
                    <a:lnTo>
                      <a:pt x="413" y="293"/>
                    </a:lnTo>
                    <a:lnTo>
                      <a:pt x="413" y="295"/>
                    </a:lnTo>
                    <a:lnTo>
                      <a:pt x="411" y="297"/>
                    </a:lnTo>
                    <a:lnTo>
                      <a:pt x="411" y="299"/>
                    </a:lnTo>
                    <a:lnTo>
                      <a:pt x="409" y="301"/>
                    </a:lnTo>
                    <a:lnTo>
                      <a:pt x="409" y="303"/>
                    </a:lnTo>
                    <a:lnTo>
                      <a:pt x="409" y="303"/>
                    </a:lnTo>
                    <a:lnTo>
                      <a:pt x="413" y="303"/>
                    </a:lnTo>
                    <a:lnTo>
                      <a:pt x="415" y="303"/>
                    </a:lnTo>
                    <a:lnTo>
                      <a:pt x="415" y="305"/>
                    </a:lnTo>
                    <a:lnTo>
                      <a:pt x="415" y="305"/>
                    </a:lnTo>
                    <a:lnTo>
                      <a:pt x="415" y="307"/>
                    </a:lnTo>
                    <a:lnTo>
                      <a:pt x="415" y="307"/>
                    </a:lnTo>
                    <a:lnTo>
                      <a:pt x="419" y="308"/>
                    </a:lnTo>
                    <a:lnTo>
                      <a:pt x="419" y="310"/>
                    </a:lnTo>
                    <a:lnTo>
                      <a:pt x="417" y="312"/>
                    </a:lnTo>
                    <a:lnTo>
                      <a:pt x="417" y="314"/>
                    </a:lnTo>
                    <a:lnTo>
                      <a:pt x="417" y="318"/>
                    </a:lnTo>
                    <a:lnTo>
                      <a:pt x="415" y="318"/>
                    </a:lnTo>
                    <a:lnTo>
                      <a:pt x="415" y="320"/>
                    </a:lnTo>
                    <a:lnTo>
                      <a:pt x="413" y="322"/>
                    </a:lnTo>
                    <a:lnTo>
                      <a:pt x="413" y="322"/>
                    </a:lnTo>
                    <a:lnTo>
                      <a:pt x="411" y="324"/>
                    </a:lnTo>
                    <a:lnTo>
                      <a:pt x="409" y="324"/>
                    </a:lnTo>
                    <a:lnTo>
                      <a:pt x="409" y="324"/>
                    </a:lnTo>
                    <a:lnTo>
                      <a:pt x="408" y="329"/>
                    </a:lnTo>
                    <a:lnTo>
                      <a:pt x="406" y="331"/>
                    </a:lnTo>
                    <a:lnTo>
                      <a:pt x="404" y="333"/>
                    </a:lnTo>
                    <a:lnTo>
                      <a:pt x="402" y="333"/>
                    </a:lnTo>
                    <a:lnTo>
                      <a:pt x="400" y="333"/>
                    </a:lnTo>
                    <a:lnTo>
                      <a:pt x="398" y="331"/>
                    </a:lnTo>
                    <a:lnTo>
                      <a:pt x="396" y="329"/>
                    </a:lnTo>
                    <a:lnTo>
                      <a:pt x="396" y="327"/>
                    </a:lnTo>
                    <a:lnTo>
                      <a:pt x="394" y="326"/>
                    </a:lnTo>
                    <a:lnTo>
                      <a:pt x="394" y="324"/>
                    </a:lnTo>
                    <a:lnTo>
                      <a:pt x="390" y="324"/>
                    </a:lnTo>
                    <a:lnTo>
                      <a:pt x="389" y="326"/>
                    </a:lnTo>
                    <a:lnTo>
                      <a:pt x="387" y="326"/>
                    </a:lnTo>
                    <a:lnTo>
                      <a:pt x="383" y="320"/>
                    </a:lnTo>
                    <a:lnTo>
                      <a:pt x="383" y="320"/>
                    </a:lnTo>
                    <a:lnTo>
                      <a:pt x="381" y="320"/>
                    </a:lnTo>
                    <a:lnTo>
                      <a:pt x="379" y="322"/>
                    </a:lnTo>
                    <a:lnTo>
                      <a:pt x="377" y="324"/>
                    </a:lnTo>
                    <a:lnTo>
                      <a:pt x="375" y="324"/>
                    </a:lnTo>
                    <a:lnTo>
                      <a:pt x="371" y="326"/>
                    </a:lnTo>
                    <a:lnTo>
                      <a:pt x="369" y="326"/>
                    </a:lnTo>
                    <a:lnTo>
                      <a:pt x="368" y="327"/>
                    </a:lnTo>
                    <a:lnTo>
                      <a:pt x="366" y="329"/>
                    </a:lnTo>
                    <a:lnTo>
                      <a:pt x="364" y="329"/>
                    </a:lnTo>
                    <a:lnTo>
                      <a:pt x="362" y="327"/>
                    </a:lnTo>
                    <a:lnTo>
                      <a:pt x="360" y="327"/>
                    </a:lnTo>
                    <a:lnTo>
                      <a:pt x="358" y="329"/>
                    </a:lnTo>
                    <a:lnTo>
                      <a:pt x="358" y="331"/>
                    </a:lnTo>
                    <a:lnTo>
                      <a:pt x="356" y="331"/>
                    </a:lnTo>
                    <a:lnTo>
                      <a:pt x="354" y="331"/>
                    </a:lnTo>
                    <a:lnTo>
                      <a:pt x="352" y="333"/>
                    </a:lnTo>
                    <a:lnTo>
                      <a:pt x="350" y="331"/>
                    </a:lnTo>
                    <a:lnTo>
                      <a:pt x="348" y="333"/>
                    </a:lnTo>
                    <a:lnTo>
                      <a:pt x="345" y="335"/>
                    </a:lnTo>
                    <a:lnTo>
                      <a:pt x="341" y="335"/>
                    </a:lnTo>
                    <a:lnTo>
                      <a:pt x="341" y="337"/>
                    </a:lnTo>
                    <a:lnTo>
                      <a:pt x="339" y="339"/>
                    </a:lnTo>
                    <a:lnTo>
                      <a:pt x="339" y="339"/>
                    </a:lnTo>
                    <a:lnTo>
                      <a:pt x="335" y="339"/>
                    </a:lnTo>
                    <a:lnTo>
                      <a:pt x="329" y="339"/>
                    </a:lnTo>
                    <a:lnTo>
                      <a:pt x="328" y="339"/>
                    </a:lnTo>
                    <a:lnTo>
                      <a:pt x="326" y="339"/>
                    </a:lnTo>
                    <a:lnTo>
                      <a:pt x="322" y="341"/>
                    </a:lnTo>
                    <a:lnTo>
                      <a:pt x="320" y="341"/>
                    </a:lnTo>
                    <a:lnTo>
                      <a:pt x="318" y="341"/>
                    </a:lnTo>
                    <a:lnTo>
                      <a:pt x="318" y="343"/>
                    </a:lnTo>
                    <a:lnTo>
                      <a:pt x="314" y="346"/>
                    </a:lnTo>
                    <a:lnTo>
                      <a:pt x="314" y="348"/>
                    </a:lnTo>
                    <a:lnTo>
                      <a:pt x="314" y="350"/>
                    </a:lnTo>
                    <a:lnTo>
                      <a:pt x="314" y="352"/>
                    </a:lnTo>
                    <a:lnTo>
                      <a:pt x="314" y="354"/>
                    </a:lnTo>
                    <a:lnTo>
                      <a:pt x="314" y="354"/>
                    </a:lnTo>
                    <a:lnTo>
                      <a:pt x="314" y="356"/>
                    </a:lnTo>
                    <a:lnTo>
                      <a:pt x="312" y="358"/>
                    </a:lnTo>
                    <a:lnTo>
                      <a:pt x="312" y="360"/>
                    </a:lnTo>
                    <a:lnTo>
                      <a:pt x="312" y="364"/>
                    </a:lnTo>
                    <a:lnTo>
                      <a:pt x="312" y="366"/>
                    </a:lnTo>
                    <a:lnTo>
                      <a:pt x="312" y="367"/>
                    </a:lnTo>
                    <a:lnTo>
                      <a:pt x="314" y="369"/>
                    </a:lnTo>
                    <a:lnTo>
                      <a:pt x="314" y="371"/>
                    </a:lnTo>
                    <a:lnTo>
                      <a:pt x="314" y="375"/>
                    </a:lnTo>
                    <a:lnTo>
                      <a:pt x="314" y="383"/>
                    </a:lnTo>
                    <a:lnTo>
                      <a:pt x="312" y="385"/>
                    </a:lnTo>
                    <a:lnTo>
                      <a:pt x="310" y="385"/>
                    </a:lnTo>
                    <a:lnTo>
                      <a:pt x="308" y="386"/>
                    </a:lnTo>
                    <a:lnTo>
                      <a:pt x="307" y="386"/>
                    </a:lnTo>
                    <a:lnTo>
                      <a:pt x="307" y="386"/>
                    </a:lnTo>
                    <a:lnTo>
                      <a:pt x="305" y="386"/>
                    </a:lnTo>
                    <a:lnTo>
                      <a:pt x="303" y="385"/>
                    </a:lnTo>
                    <a:lnTo>
                      <a:pt x="303" y="385"/>
                    </a:lnTo>
                    <a:lnTo>
                      <a:pt x="301" y="385"/>
                    </a:lnTo>
                    <a:lnTo>
                      <a:pt x="293" y="385"/>
                    </a:lnTo>
                    <a:lnTo>
                      <a:pt x="291" y="383"/>
                    </a:lnTo>
                    <a:lnTo>
                      <a:pt x="291" y="383"/>
                    </a:lnTo>
                    <a:lnTo>
                      <a:pt x="289" y="383"/>
                    </a:lnTo>
                    <a:lnTo>
                      <a:pt x="287" y="383"/>
                    </a:lnTo>
                    <a:lnTo>
                      <a:pt x="286" y="383"/>
                    </a:lnTo>
                    <a:lnTo>
                      <a:pt x="284" y="385"/>
                    </a:lnTo>
                    <a:lnTo>
                      <a:pt x="282" y="386"/>
                    </a:lnTo>
                    <a:lnTo>
                      <a:pt x="280" y="386"/>
                    </a:lnTo>
                    <a:lnTo>
                      <a:pt x="278" y="388"/>
                    </a:lnTo>
                    <a:lnTo>
                      <a:pt x="276" y="388"/>
                    </a:lnTo>
                    <a:lnTo>
                      <a:pt x="274" y="390"/>
                    </a:lnTo>
                    <a:lnTo>
                      <a:pt x="274" y="390"/>
                    </a:lnTo>
                    <a:lnTo>
                      <a:pt x="274" y="394"/>
                    </a:lnTo>
                    <a:lnTo>
                      <a:pt x="276" y="398"/>
                    </a:lnTo>
                    <a:lnTo>
                      <a:pt x="276" y="400"/>
                    </a:lnTo>
                    <a:lnTo>
                      <a:pt x="274" y="400"/>
                    </a:lnTo>
                    <a:lnTo>
                      <a:pt x="274" y="400"/>
                    </a:lnTo>
                    <a:lnTo>
                      <a:pt x="274" y="402"/>
                    </a:lnTo>
                    <a:lnTo>
                      <a:pt x="272" y="402"/>
                    </a:lnTo>
                    <a:lnTo>
                      <a:pt x="272" y="402"/>
                    </a:lnTo>
                    <a:lnTo>
                      <a:pt x="268" y="400"/>
                    </a:lnTo>
                    <a:lnTo>
                      <a:pt x="268" y="400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8" y="394"/>
                    </a:lnTo>
                    <a:lnTo>
                      <a:pt x="266" y="394"/>
                    </a:lnTo>
                    <a:lnTo>
                      <a:pt x="266" y="394"/>
                    </a:lnTo>
                    <a:lnTo>
                      <a:pt x="265" y="394"/>
                    </a:lnTo>
                    <a:lnTo>
                      <a:pt x="265" y="396"/>
                    </a:lnTo>
                    <a:lnTo>
                      <a:pt x="265" y="396"/>
                    </a:lnTo>
                    <a:lnTo>
                      <a:pt x="265" y="398"/>
                    </a:lnTo>
                    <a:lnTo>
                      <a:pt x="265" y="400"/>
                    </a:lnTo>
                    <a:lnTo>
                      <a:pt x="265" y="400"/>
                    </a:lnTo>
                    <a:lnTo>
                      <a:pt x="265" y="402"/>
                    </a:lnTo>
                    <a:lnTo>
                      <a:pt x="265" y="402"/>
                    </a:lnTo>
                    <a:lnTo>
                      <a:pt x="265" y="404"/>
                    </a:lnTo>
                    <a:lnTo>
                      <a:pt x="263" y="407"/>
                    </a:lnTo>
                    <a:lnTo>
                      <a:pt x="263" y="407"/>
                    </a:lnTo>
                    <a:lnTo>
                      <a:pt x="261" y="409"/>
                    </a:lnTo>
                    <a:lnTo>
                      <a:pt x="259" y="411"/>
                    </a:lnTo>
                    <a:lnTo>
                      <a:pt x="257" y="411"/>
                    </a:lnTo>
                    <a:lnTo>
                      <a:pt x="255" y="411"/>
                    </a:lnTo>
                    <a:lnTo>
                      <a:pt x="253" y="411"/>
                    </a:lnTo>
                    <a:lnTo>
                      <a:pt x="251" y="411"/>
                    </a:lnTo>
                    <a:lnTo>
                      <a:pt x="249" y="411"/>
                    </a:lnTo>
                    <a:lnTo>
                      <a:pt x="246" y="409"/>
                    </a:lnTo>
                    <a:lnTo>
                      <a:pt x="244" y="409"/>
                    </a:lnTo>
                    <a:lnTo>
                      <a:pt x="244" y="407"/>
                    </a:lnTo>
                    <a:lnTo>
                      <a:pt x="242" y="405"/>
                    </a:lnTo>
                    <a:lnTo>
                      <a:pt x="242" y="404"/>
                    </a:lnTo>
                    <a:lnTo>
                      <a:pt x="240" y="404"/>
                    </a:lnTo>
                    <a:lnTo>
                      <a:pt x="238" y="402"/>
                    </a:lnTo>
                    <a:lnTo>
                      <a:pt x="236" y="402"/>
                    </a:lnTo>
                    <a:lnTo>
                      <a:pt x="234" y="404"/>
                    </a:lnTo>
                    <a:lnTo>
                      <a:pt x="232" y="405"/>
                    </a:lnTo>
                    <a:lnTo>
                      <a:pt x="230" y="407"/>
                    </a:lnTo>
                    <a:lnTo>
                      <a:pt x="230" y="407"/>
                    </a:lnTo>
                    <a:lnTo>
                      <a:pt x="228" y="407"/>
                    </a:lnTo>
                    <a:lnTo>
                      <a:pt x="226" y="407"/>
                    </a:lnTo>
                    <a:lnTo>
                      <a:pt x="225" y="405"/>
                    </a:lnTo>
                    <a:lnTo>
                      <a:pt x="223" y="405"/>
                    </a:lnTo>
                    <a:lnTo>
                      <a:pt x="217" y="404"/>
                    </a:lnTo>
                    <a:lnTo>
                      <a:pt x="213" y="404"/>
                    </a:lnTo>
                    <a:lnTo>
                      <a:pt x="211" y="404"/>
                    </a:lnTo>
                    <a:lnTo>
                      <a:pt x="207" y="405"/>
                    </a:lnTo>
                    <a:lnTo>
                      <a:pt x="205" y="407"/>
                    </a:lnTo>
                    <a:lnTo>
                      <a:pt x="204" y="407"/>
                    </a:lnTo>
                    <a:lnTo>
                      <a:pt x="202" y="407"/>
                    </a:lnTo>
                    <a:lnTo>
                      <a:pt x="202" y="409"/>
                    </a:lnTo>
                    <a:lnTo>
                      <a:pt x="200" y="409"/>
                    </a:lnTo>
                    <a:lnTo>
                      <a:pt x="200" y="411"/>
                    </a:lnTo>
                    <a:lnTo>
                      <a:pt x="196" y="411"/>
                    </a:lnTo>
                    <a:lnTo>
                      <a:pt x="196" y="411"/>
                    </a:lnTo>
                    <a:lnTo>
                      <a:pt x="194" y="411"/>
                    </a:lnTo>
                    <a:lnTo>
                      <a:pt x="192" y="411"/>
                    </a:lnTo>
                    <a:lnTo>
                      <a:pt x="192" y="411"/>
                    </a:lnTo>
                    <a:lnTo>
                      <a:pt x="192" y="415"/>
                    </a:lnTo>
                    <a:lnTo>
                      <a:pt x="192" y="415"/>
                    </a:lnTo>
                    <a:lnTo>
                      <a:pt x="192" y="417"/>
                    </a:lnTo>
                    <a:lnTo>
                      <a:pt x="192" y="419"/>
                    </a:lnTo>
                    <a:lnTo>
                      <a:pt x="190" y="419"/>
                    </a:lnTo>
                    <a:lnTo>
                      <a:pt x="190" y="421"/>
                    </a:lnTo>
                    <a:lnTo>
                      <a:pt x="190" y="423"/>
                    </a:lnTo>
                    <a:lnTo>
                      <a:pt x="190" y="423"/>
                    </a:lnTo>
                    <a:lnTo>
                      <a:pt x="190" y="425"/>
                    </a:lnTo>
                    <a:lnTo>
                      <a:pt x="188" y="425"/>
                    </a:lnTo>
                    <a:lnTo>
                      <a:pt x="186" y="426"/>
                    </a:lnTo>
                    <a:lnTo>
                      <a:pt x="184" y="426"/>
                    </a:lnTo>
                    <a:lnTo>
                      <a:pt x="183" y="428"/>
                    </a:lnTo>
                    <a:lnTo>
                      <a:pt x="183" y="428"/>
                    </a:lnTo>
                    <a:lnTo>
                      <a:pt x="183" y="430"/>
                    </a:lnTo>
                    <a:lnTo>
                      <a:pt x="183" y="430"/>
                    </a:lnTo>
                    <a:lnTo>
                      <a:pt x="181" y="432"/>
                    </a:lnTo>
                    <a:lnTo>
                      <a:pt x="181" y="432"/>
                    </a:lnTo>
                    <a:lnTo>
                      <a:pt x="181" y="434"/>
                    </a:lnTo>
                    <a:lnTo>
                      <a:pt x="181" y="434"/>
                    </a:lnTo>
                    <a:lnTo>
                      <a:pt x="179" y="434"/>
                    </a:lnTo>
                    <a:lnTo>
                      <a:pt x="179" y="434"/>
                    </a:lnTo>
                    <a:lnTo>
                      <a:pt x="177" y="434"/>
                    </a:lnTo>
                    <a:lnTo>
                      <a:pt x="175" y="434"/>
                    </a:lnTo>
                    <a:lnTo>
                      <a:pt x="175" y="436"/>
                    </a:lnTo>
                    <a:lnTo>
                      <a:pt x="175" y="438"/>
                    </a:lnTo>
                    <a:lnTo>
                      <a:pt x="173" y="438"/>
                    </a:lnTo>
                    <a:lnTo>
                      <a:pt x="173" y="438"/>
                    </a:lnTo>
                    <a:lnTo>
                      <a:pt x="167" y="436"/>
                    </a:lnTo>
                    <a:lnTo>
                      <a:pt x="167" y="434"/>
                    </a:lnTo>
                    <a:lnTo>
                      <a:pt x="165" y="432"/>
                    </a:lnTo>
                    <a:lnTo>
                      <a:pt x="165" y="432"/>
                    </a:lnTo>
                    <a:lnTo>
                      <a:pt x="165" y="428"/>
                    </a:lnTo>
                    <a:lnTo>
                      <a:pt x="164" y="428"/>
                    </a:lnTo>
                    <a:lnTo>
                      <a:pt x="164" y="428"/>
                    </a:lnTo>
                    <a:lnTo>
                      <a:pt x="164" y="428"/>
                    </a:lnTo>
                    <a:lnTo>
                      <a:pt x="162" y="428"/>
                    </a:lnTo>
                    <a:lnTo>
                      <a:pt x="162" y="430"/>
                    </a:lnTo>
                    <a:lnTo>
                      <a:pt x="160" y="432"/>
                    </a:lnTo>
                    <a:lnTo>
                      <a:pt x="160" y="434"/>
                    </a:lnTo>
                    <a:lnTo>
                      <a:pt x="160" y="432"/>
                    </a:lnTo>
                    <a:lnTo>
                      <a:pt x="156" y="432"/>
                    </a:lnTo>
                    <a:lnTo>
                      <a:pt x="156" y="430"/>
                    </a:lnTo>
                    <a:lnTo>
                      <a:pt x="152" y="430"/>
                    </a:lnTo>
                    <a:lnTo>
                      <a:pt x="150" y="430"/>
                    </a:lnTo>
                    <a:lnTo>
                      <a:pt x="148" y="430"/>
                    </a:lnTo>
                    <a:lnTo>
                      <a:pt x="146" y="428"/>
                    </a:lnTo>
                    <a:lnTo>
                      <a:pt x="144" y="428"/>
                    </a:lnTo>
                    <a:lnTo>
                      <a:pt x="143" y="428"/>
                    </a:lnTo>
                    <a:lnTo>
                      <a:pt x="143" y="430"/>
                    </a:lnTo>
                    <a:lnTo>
                      <a:pt x="141" y="432"/>
                    </a:lnTo>
                    <a:lnTo>
                      <a:pt x="139" y="432"/>
                    </a:lnTo>
                    <a:lnTo>
                      <a:pt x="139" y="430"/>
                    </a:lnTo>
                    <a:lnTo>
                      <a:pt x="139" y="432"/>
                    </a:lnTo>
                    <a:lnTo>
                      <a:pt x="137" y="432"/>
                    </a:lnTo>
                    <a:lnTo>
                      <a:pt x="135" y="432"/>
                    </a:lnTo>
                    <a:lnTo>
                      <a:pt x="135" y="432"/>
                    </a:lnTo>
                    <a:lnTo>
                      <a:pt x="133" y="432"/>
                    </a:lnTo>
                    <a:lnTo>
                      <a:pt x="131" y="432"/>
                    </a:lnTo>
                    <a:lnTo>
                      <a:pt x="131" y="432"/>
                    </a:lnTo>
                    <a:lnTo>
                      <a:pt x="129" y="430"/>
                    </a:lnTo>
                    <a:lnTo>
                      <a:pt x="129" y="430"/>
                    </a:lnTo>
                    <a:lnTo>
                      <a:pt x="127" y="430"/>
                    </a:lnTo>
                    <a:lnTo>
                      <a:pt x="125" y="430"/>
                    </a:lnTo>
                    <a:lnTo>
                      <a:pt x="125" y="430"/>
                    </a:lnTo>
                    <a:lnTo>
                      <a:pt x="123" y="430"/>
                    </a:lnTo>
                    <a:lnTo>
                      <a:pt x="123" y="430"/>
                    </a:lnTo>
                    <a:lnTo>
                      <a:pt x="122" y="430"/>
                    </a:lnTo>
                    <a:lnTo>
                      <a:pt x="122" y="430"/>
                    </a:lnTo>
                    <a:lnTo>
                      <a:pt x="120" y="432"/>
                    </a:lnTo>
                    <a:lnTo>
                      <a:pt x="118" y="430"/>
                    </a:lnTo>
                    <a:lnTo>
                      <a:pt x="116" y="430"/>
                    </a:lnTo>
                    <a:lnTo>
                      <a:pt x="114" y="430"/>
                    </a:lnTo>
                    <a:lnTo>
                      <a:pt x="114" y="428"/>
                    </a:lnTo>
                    <a:lnTo>
                      <a:pt x="112" y="428"/>
                    </a:lnTo>
                    <a:lnTo>
                      <a:pt x="112" y="426"/>
                    </a:lnTo>
                    <a:lnTo>
                      <a:pt x="112" y="426"/>
                    </a:lnTo>
                    <a:lnTo>
                      <a:pt x="110" y="426"/>
                    </a:lnTo>
                    <a:lnTo>
                      <a:pt x="110" y="426"/>
                    </a:lnTo>
                    <a:lnTo>
                      <a:pt x="108" y="426"/>
                    </a:lnTo>
                    <a:lnTo>
                      <a:pt x="106" y="426"/>
                    </a:lnTo>
                    <a:lnTo>
                      <a:pt x="104" y="426"/>
                    </a:lnTo>
                    <a:lnTo>
                      <a:pt x="101" y="426"/>
                    </a:lnTo>
                    <a:lnTo>
                      <a:pt x="95" y="425"/>
                    </a:lnTo>
                    <a:lnTo>
                      <a:pt x="91" y="421"/>
                    </a:lnTo>
                    <a:lnTo>
                      <a:pt x="89" y="421"/>
                    </a:lnTo>
                    <a:lnTo>
                      <a:pt x="87" y="421"/>
                    </a:lnTo>
                    <a:lnTo>
                      <a:pt x="72" y="421"/>
                    </a:lnTo>
                    <a:lnTo>
                      <a:pt x="68" y="421"/>
                    </a:lnTo>
                    <a:lnTo>
                      <a:pt x="66" y="419"/>
                    </a:lnTo>
                    <a:lnTo>
                      <a:pt x="64" y="419"/>
                    </a:lnTo>
                    <a:lnTo>
                      <a:pt x="62" y="419"/>
                    </a:lnTo>
                    <a:lnTo>
                      <a:pt x="55" y="419"/>
                    </a:lnTo>
                    <a:lnTo>
                      <a:pt x="53" y="421"/>
                    </a:lnTo>
                    <a:lnTo>
                      <a:pt x="43" y="425"/>
                    </a:lnTo>
                    <a:lnTo>
                      <a:pt x="38" y="432"/>
                    </a:lnTo>
                    <a:lnTo>
                      <a:pt x="40" y="434"/>
                    </a:lnTo>
                    <a:lnTo>
                      <a:pt x="38" y="434"/>
                    </a:lnTo>
                    <a:lnTo>
                      <a:pt x="38" y="438"/>
                    </a:lnTo>
                    <a:lnTo>
                      <a:pt x="38" y="444"/>
                    </a:lnTo>
                    <a:lnTo>
                      <a:pt x="38" y="445"/>
                    </a:lnTo>
                    <a:lnTo>
                      <a:pt x="38" y="447"/>
                    </a:lnTo>
                    <a:lnTo>
                      <a:pt x="40" y="447"/>
                    </a:lnTo>
                    <a:lnTo>
                      <a:pt x="40" y="447"/>
                    </a:lnTo>
                    <a:lnTo>
                      <a:pt x="40" y="449"/>
                    </a:lnTo>
                    <a:lnTo>
                      <a:pt x="41" y="449"/>
                    </a:lnTo>
                    <a:lnTo>
                      <a:pt x="41" y="453"/>
                    </a:lnTo>
                    <a:lnTo>
                      <a:pt x="43" y="455"/>
                    </a:lnTo>
                    <a:lnTo>
                      <a:pt x="45" y="459"/>
                    </a:lnTo>
                    <a:lnTo>
                      <a:pt x="45" y="459"/>
                    </a:lnTo>
                    <a:lnTo>
                      <a:pt x="43" y="461"/>
                    </a:lnTo>
                    <a:lnTo>
                      <a:pt x="43" y="459"/>
                    </a:lnTo>
                    <a:lnTo>
                      <a:pt x="41" y="459"/>
                    </a:lnTo>
                    <a:lnTo>
                      <a:pt x="40" y="459"/>
                    </a:lnTo>
                    <a:lnTo>
                      <a:pt x="40" y="459"/>
                    </a:lnTo>
                    <a:lnTo>
                      <a:pt x="38" y="459"/>
                    </a:lnTo>
                    <a:lnTo>
                      <a:pt x="38" y="461"/>
                    </a:lnTo>
                    <a:lnTo>
                      <a:pt x="36" y="461"/>
                    </a:lnTo>
                    <a:lnTo>
                      <a:pt x="34" y="463"/>
                    </a:lnTo>
                    <a:lnTo>
                      <a:pt x="34" y="464"/>
                    </a:lnTo>
                    <a:lnTo>
                      <a:pt x="34" y="464"/>
                    </a:lnTo>
                    <a:lnTo>
                      <a:pt x="34" y="464"/>
                    </a:lnTo>
                    <a:lnTo>
                      <a:pt x="36" y="470"/>
                    </a:lnTo>
                    <a:lnTo>
                      <a:pt x="36" y="476"/>
                    </a:lnTo>
                    <a:lnTo>
                      <a:pt x="36" y="478"/>
                    </a:lnTo>
                    <a:lnTo>
                      <a:pt x="36" y="480"/>
                    </a:lnTo>
                    <a:lnTo>
                      <a:pt x="34" y="480"/>
                    </a:lnTo>
                    <a:lnTo>
                      <a:pt x="34" y="480"/>
                    </a:lnTo>
                    <a:lnTo>
                      <a:pt x="32" y="478"/>
                    </a:lnTo>
                    <a:lnTo>
                      <a:pt x="30" y="478"/>
                    </a:lnTo>
                    <a:lnTo>
                      <a:pt x="30" y="478"/>
                    </a:lnTo>
                    <a:lnTo>
                      <a:pt x="30" y="480"/>
                    </a:lnTo>
                    <a:lnTo>
                      <a:pt x="30" y="480"/>
                    </a:lnTo>
                    <a:lnTo>
                      <a:pt x="30" y="480"/>
                    </a:lnTo>
                    <a:lnTo>
                      <a:pt x="32" y="482"/>
                    </a:lnTo>
                    <a:lnTo>
                      <a:pt x="32" y="485"/>
                    </a:lnTo>
                    <a:lnTo>
                      <a:pt x="34" y="485"/>
                    </a:lnTo>
                    <a:lnTo>
                      <a:pt x="34" y="487"/>
                    </a:lnTo>
                    <a:lnTo>
                      <a:pt x="34" y="487"/>
                    </a:lnTo>
                    <a:lnTo>
                      <a:pt x="36" y="489"/>
                    </a:lnTo>
                    <a:lnTo>
                      <a:pt x="36" y="491"/>
                    </a:lnTo>
                    <a:lnTo>
                      <a:pt x="38" y="497"/>
                    </a:lnTo>
                    <a:lnTo>
                      <a:pt x="38" y="499"/>
                    </a:lnTo>
                    <a:lnTo>
                      <a:pt x="38" y="501"/>
                    </a:lnTo>
                    <a:lnTo>
                      <a:pt x="40" y="501"/>
                    </a:lnTo>
                    <a:lnTo>
                      <a:pt x="43" y="501"/>
                    </a:lnTo>
                    <a:lnTo>
                      <a:pt x="45" y="503"/>
                    </a:lnTo>
                    <a:lnTo>
                      <a:pt x="45" y="503"/>
                    </a:lnTo>
                    <a:lnTo>
                      <a:pt x="47" y="504"/>
                    </a:lnTo>
                    <a:lnTo>
                      <a:pt x="49" y="514"/>
                    </a:lnTo>
                    <a:lnTo>
                      <a:pt x="51" y="520"/>
                    </a:lnTo>
                    <a:lnTo>
                      <a:pt x="51" y="522"/>
                    </a:lnTo>
                    <a:lnTo>
                      <a:pt x="51" y="525"/>
                    </a:lnTo>
                    <a:lnTo>
                      <a:pt x="51" y="527"/>
                    </a:lnTo>
                    <a:lnTo>
                      <a:pt x="51" y="527"/>
                    </a:lnTo>
                    <a:lnTo>
                      <a:pt x="49" y="529"/>
                    </a:lnTo>
                    <a:lnTo>
                      <a:pt x="49" y="529"/>
                    </a:lnTo>
                    <a:lnTo>
                      <a:pt x="49" y="531"/>
                    </a:lnTo>
                    <a:lnTo>
                      <a:pt x="47" y="533"/>
                    </a:lnTo>
                    <a:lnTo>
                      <a:pt x="47" y="533"/>
                    </a:lnTo>
                    <a:lnTo>
                      <a:pt x="45" y="537"/>
                    </a:lnTo>
                    <a:lnTo>
                      <a:pt x="45" y="539"/>
                    </a:lnTo>
                    <a:lnTo>
                      <a:pt x="45" y="541"/>
                    </a:lnTo>
                    <a:lnTo>
                      <a:pt x="41" y="542"/>
                    </a:lnTo>
                    <a:lnTo>
                      <a:pt x="41" y="544"/>
                    </a:lnTo>
                    <a:lnTo>
                      <a:pt x="40" y="544"/>
                    </a:lnTo>
                    <a:lnTo>
                      <a:pt x="40" y="544"/>
                    </a:lnTo>
                    <a:lnTo>
                      <a:pt x="38" y="544"/>
                    </a:lnTo>
                    <a:lnTo>
                      <a:pt x="38" y="542"/>
                    </a:lnTo>
                    <a:lnTo>
                      <a:pt x="36" y="542"/>
                    </a:lnTo>
                    <a:lnTo>
                      <a:pt x="36" y="541"/>
                    </a:lnTo>
                    <a:lnTo>
                      <a:pt x="36" y="541"/>
                    </a:lnTo>
                    <a:lnTo>
                      <a:pt x="34" y="541"/>
                    </a:lnTo>
                    <a:lnTo>
                      <a:pt x="34" y="541"/>
                    </a:lnTo>
                    <a:lnTo>
                      <a:pt x="32" y="541"/>
                    </a:lnTo>
                    <a:lnTo>
                      <a:pt x="30" y="541"/>
                    </a:lnTo>
                    <a:lnTo>
                      <a:pt x="28" y="542"/>
                    </a:lnTo>
                    <a:lnTo>
                      <a:pt x="28" y="542"/>
                    </a:lnTo>
                    <a:lnTo>
                      <a:pt x="26" y="542"/>
                    </a:lnTo>
                    <a:lnTo>
                      <a:pt x="24" y="541"/>
                    </a:lnTo>
                    <a:lnTo>
                      <a:pt x="22" y="541"/>
                    </a:lnTo>
                    <a:lnTo>
                      <a:pt x="19" y="541"/>
                    </a:lnTo>
                    <a:lnTo>
                      <a:pt x="17" y="539"/>
                    </a:lnTo>
                    <a:lnTo>
                      <a:pt x="7" y="533"/>
                    </a:lnTo>
                    <a:lnTo>
                      <a:pt x="5" y="533"/>
                    </a:lnTo>
                    <a:lnTo>
                      <a:pt x="3" y="537"/>
                    </a:lnTo>
                    <a:lnTo>
                      <a:pt x="1" y="539"/>
                    </a:lnTo>
                    <a:lnTo>
                      <a:pt x="1" y="541"/>
                    </a:lnTo>
                    <a:lnTo>
                      <a:pt x="1" y="542"/>
                    </a:lnTo>
                    <a:lnTo>
                      <a:pt x="1" y="542"/>
                    </a:lnTo>
                    <a:lnTo>
                      <a:pt x="1" y="544"/>
                    </a:lnTo>
                    <a:lnTo>
                      <a:pt x="0" y="544"/>
                    </a:lnTo>
                    <a:lnTo>
                      <a:pt x="0" y="546"/>
                    </a:lnTo>
                    <a:lnTo>
                      <a:pt x="0" y="546"/>
                    </a:lnTo>
                    <a:lnTo>
                      <a:pt x="0" y="546"/>
                    </a:lnTo>
                    <a:lnTo>
                      <a:pt x="0" y="548"/>
                    </a:lnTo>
                    <a:lnTo>
                      <a:pt x="3" y="548"/>
                    </a:lnTo>
                    <a:lnTo>
                      <a:pt x="5" y="548"/>
                    </a:lnTo>
                    <a:lnTo>
                      <a:pt x="7" y="550"/>
                    </a:lnTo>
                    <a:lnTo>
                      <a:pt x="7" y="550"/>
                    </a:lnTo>
                    <a:lnTo>
                      <a:pt x="9" y="550"/>
                    </a:lnTo>
                    <a:lnTo>
                      <a:pt x="9" y="550"/>
                    </a:lnTo>
                    <a:lnTo>
                      <a:pt x="11" y="552"/>
                    </a:lnTo>
                    <a:lnTo>
                      <a:pt x="11" y="552"/>
                    </a:lnTo>
                    <a:lnTo>
                      <a:pt x="13" y="554"/>
                    </a:lnTo>
                    <a:lnTo>
                      <a:pt x="13" y="556"/>
                    </a:lnTo>
                    <a:lnTo>
                      <a:pt x="11" y="558"/>
                    </a:lnTo>
                    <a:lnTo>
                      <a:pt x="11" y="560"/>
                    </a:lnTo>
                    <a:lnTo>
                      <a:pt x="11" y="563"/>
                    </a:lnTo>
                    <a:lnTo>
                      <a:pt x="9" y="571"/>
                    </a:lnTo>
                    <a:lnTo>
                      <a:pt x="9" y="573"/>
                    </a:lnTo>
                    <a:lnTo>
                      <a:pt x="9" y="573"/>
                    </a:lnTo>
                    <a:lnTo>
                      <a:pt x="7" y="573"/>
                    </a:lnTo>
                    <a:lnTo>
                      <a:pt x="5" y="573"/>
                    </a:lnTo>
                    <a:lnTo>
                      <a:pt x="5" y="575"/>
                    </a:lnTo>
                    <a:lnTo>
                      <a:pt x="5" y="575"/>
                    </a:lnTo>
                    <a:lnTo>
                      <a:pt x="5" y="579"/>
                    </a:lnTo>
                    <a:lnTo>
                      <a:pt x="5" y="581"/>
                    </a:lnTo>
                    <a:lnTo>
                      <a:pt x="5" y="582"/>
                    </a:lnTo>
                    <a:lnTo>
                      <a:pt x="3" y="584"/>
                    </a:lnTo>
                    <a:lnTo>
                      <a:pt x="1" y="588"/>
                    </a:lnTo>
                    <a:lnTo>
                      <a:pt x="1" y="590"/>
                    </a:lnTo>
                    <a:lnTo>
                      <a:pt x="1" y="592"/>
                    </a:lnTo>
                    <a:lnTo>
                      <a:pt x="1" y="596"/>
                    </a:lnTo>
                    <a:lnTo>
                      <a:pt x="3" y="601"/>
                    </a:lnTo>
                    <a:lnTo>
                      <a:pt x="3" y="601"/>
                    </a:lnTo>
                    <a:lnTo>
                      <a:pt x="5" y="601"/>
                    </a:lnTo>
                    <a:lnTo>
                      <a:pt x="7" y="603"/>
                    </a:lnTo>
                    <a:lnTo>
                      <a:pt x="7" y="603"/>
                    </a:lnTo>
                    <a:lnTo>
                      <a:pt x="9" y="603"/>
                    </a:lnTo>
                    <a:lnTo>
                      <a:pt x="9" y="605"/>
                    </a:lnTo>
                    <a:lnTo>
                      <a:pt x="9" y="607"/>
                    </a:lnTo>
                    <a:lnTo>
                      <a:pt x="11" y="609"/>
                    </a:lnTo>
                    <a:lnTo>
                      <a:pt x="13" y="611"/>
                    </a:lnTo>
                    <a:lnTo>
                      <a:pt x="13" y="611"/>
                    </a:lnTo>
                    <a:lnTo>
                      <a:pt x="13" y="613"/>
                    </a:lnTo>
                    <a:lnTo>
                      <a:pt x="13" y="613"/>
                    </a:lnTo>
                    <a:lnTo>
                      <a:pt x="15" y="613"/>
                    </a:lnTo>
                    <a:lnTo>
                      <a:pt x="17" y="611"/>
                    </a:lnTo>
                    <a:lnTo>
                      <a:pt x="17" y="611"/>
                    </a:lnTo>
                    <a:lnTo>
                      <a:pt x="19" y="611"/>
                    </a:lnTo>
                    <a:lnTo>
                      <a:pt x="20" y="611"/>
                    </a:lnTo>
                    <a:lnTo>
                      <a:pt x="22" y="611"/>
                    </a:lnTo>
                    <a:lnTo>
                      <a:pt x="24" y="611"/>
                    </a:lnTo>
                    <a:lnTo>
                      <a:pt x="24" y="613"/>
                    </a:lnTo>
                    <a:lnTo>
                      <a:pt x="26" y="613"/>
                    </a:lnTo>
                    <a:lnTo>
                      <a:pt x="26" y="615"/>
                    </a:lnTo>
                    <a:lnTo>
                      <a:pt x="26" y="617"/>
                    </a:lnTo>
                    <a:lnTo>
                      <a:pt x="26" y="617"/>
                    </a:lnTo>
                    <a:lnTo>
                      <a:pt x="24" y="619"/>
                    </a:lnTo>
                    <a:lnTo>
                      <a:pt x="24" y="619"/>
                    </a:lnTo>
                    <a:lnTo>
                      <a:pt x="22" y="620"/>
                    </a:lnTo>
                    <a:lnTo>
                      <a:pt x="22" y="620"/>
                    </a:lnTo>
                    <a:lnTo>
                      <a:pt x="22" y="620"/>
                    </a:lnTo>
                    <a:lnTo>
                      <a:pt x="20" y="622"/>
                    </a:lnTo>
                    <a:lnTo>
                      <a:pt x="20" y="620"/>
                    </a:lnTo>
                    <a:lnTo>
                      <a:pt x="20" y="620"/>
                    </a:lnTo>
                    <a:lnTo>
                      <a:pt x="19" y="620"/>
                    </a:lnTo>
                    <a:lnTo>
                      <a:pt x="19" y="622"/>
                    </a:lnTo>
                    <a:lnTo>
                      <a:pt x="19" y="622"/>
                    </a:lnTo>
                    <a:lnTo>
                      <a:pt x="17" y="622"/>
                    </a:lnTo>
                    <a:lnTo>
                      <a:pt x="17" y="624"/>
                    </a:lnTo>
                    <a:lnTo>
                      <a:pt x="17" y="624"/>
                    </a:lnTo>
                    <a:lnTo>
                      <a:pt x="17" y="626"/>
                    </a:lnTo>
                    <a:lnTo>
                      <a:pt x="17" y="628"/>
                    </a:lnTo>
                    <a:lnTo>
                      <a:pt x="17" y="630"/>
                    </a:lnTo>
                    <a:lnTo>
                      <a:pt x="19" y="630"/>
                    </a:lnTo>
                    <a:lnTo>
                      <a:pt x="19" y="632"/>
                    </a:lnTo>
                    <a:lnTo>
                      <a:pt x="20" y="632"/>
                    </a:lnTo>
                    <a:lnTo>
                      <a:pt x="24" y="634"/>
                    </a:lnTo>
                    <a:lnTo>
                      <a:pt x="24" y="634"/>
                    </a:lnTo>
                    <a:lnTo>
                      <a:pt x="24" y="636"/>
                    </a:lnTo>
                    <a:lnTo>
                      <a:pt x="24" y="636"/>
                    </a:lnTo>
                    <a:lnTo>
                      <a:pt x="24" y="638"/>
                    </a:lnTo>
                    <a:lnTo>
                      <a:pt x="22" y="638"/>
                    </a:lnTo>
                    <a:lnTo>
                      <a:pt x="22" y="640"/>
                    </a:lnTo>
                    <a:lnTo>
                      <a:pt x="22" y="641"/>
                    </a:lnTo>
                    <a:lnTo>
                      <a:pt x="30" y="641"/>
                    </a:lnTo>
                    <a:lnTo>
                      <a:pt x="34" y="643"/>
                    </a:lnTo>
                    <a:lnTo>
                      <a:pt x="38" y="643"/>
                    </a:lnTo>
                    <a:lnTo>
                      <a:pt x="40" y="643"/>
                    </a:lnTo>
                    <a:lnTo>
                      <a:pt x="41" y="643"/>
                    </a:lnTo>
                    <a:lnTo>
                      <a:pt x="43" y="643"/>
                    </a:lnTo>
                    <a:lnTo>
                      <a:pt x="43" y="643"/>
                    </a:lnTo>
                    <a:lnTo>
                      <a:pt x="45" y="643"/>
                    </a:lnTo>
                    <a:lnTo>
                      <a:pt x="45" y="641"/>
                    </a:lnTo>
                    <a:lnTo>
                      <a:pt x="45" y="638"/>
                    </a:lnTo>
                    <a:lnTo>
                      <a:pt x="45" y="638"/>
                    </a:lnTo>
                    <a:lnTo>
                      <a:pt x="45" y="636"/>
                    </a:lnTo>
                    <a:lnTo>
                      <a:pt x="47" y="634"/>
                    </a:lnTo>
                    <a:lnTo>
                      <a:pt x="49" y="632"/>
                    </a:lnTo>
                    <a:lnTo>
                      <a:pt x="49" y="630"/>
                    </a:lnTo>
                    <a:lnTo>
                      <a:pt x="51" y="630"/>
                    </a:lnTo>
                    <a:lnTo>
                      <a:pt x="53" y="630"/>
                    </a:lnTo>
                    <a:lnTo>
                      <a:pt x="55" y="632"/>
                    </a:lnTo>
                    <a:lnTo>
                      <a:pt x="55" y="632"/>
                    </a:lnTo>
                    <a:lnTo>
                      <a:pt x="57" y="632"/>
                    </a:lnTo>
                    <a:lnTo>
                      <a:pt x="61" y="632"/>
                    </a:lnTo>
                    <a:lnTo>
                      <a:pt x="64" y="632"/>
                    </a:lnTo>
                    <a:lnTo>
                      <a:pt x="66" y="630"/>
                    </a:lnTo>
                    <a:lnTo>
                      <a:pt x="66" y="630"/>
                    </a:lnTo>
                    <a:lnTo>
                      <a:pt x="66" y="632"/>
                    </a:lnTo>
                    <a:lnTo>
                      <a:pt x="68" y="632"/>
                    </a:lnTo>
                    <a:lnTo>
                      <a:pt x="68" y="634"/>
                    </a:lnTo>
                    <a:lnTo>
                      <a:pt x="68" y="634"/>
                    </a:lnTo>
                    <a:lnTo>
                      <a:pt x="68" y="636"/>
                    </a:lnTo>
                    <a:lnTo>
                      <a:pt x="70" y="636"/>
                    </a:lnTo>
                    <a:lnTo>
                      <a:pt x="72" y="636"/>
                    </a:lnTo>
                    <a:lnTo>
                      <a:pt x="74" y="638"/>
                    </a:lnTo>
                    <a:lnTo>
                      <a:pt x="76" y="638"/>
                    </a:lnTo>
                    <a:lnTo>
                      <a:pt x="78" y="641"/>
                    </a:lnTo>
                    <a:lnTo>
                      <a:pt x="80" y="641"/>
                    </a:lnTo>
                    <a:lnTo>
                      <a:pt x="80" y="643"/>
                    </a:lnTo>
                    <a:lnTo>
                      <a:pt x="82" y="643"/>
                    </a:lnTo>
                    <a:lnTo>
                      <a:pt x="83" y="643"/>
                    </a:lnTo>
                    <a:lnTo>
                      <a:pt x="83" y="641"/>
                    </a:lnTo>
                    <a:lnTo>
                      <a:pt x="83" y="640"/>
                    </a:lnTo>
                    <a:lnTo>
                      <a:pt x="80" y="638"/>
                    </a:lnTo>
                    <a:lnTo>
                      <a:pt x="80" y="636"/>
                    </a:lnTo>
                    <a:lnTo>
                      <a:pt x="80" y="634"/>
                    </a:lnTo>
                    <a:lnTo>
                      <a:pt x="80" y="634"/>
                    </a:lnTo>
                    <a:lnTo>
                      <a:pt x="80" y="632"/>
                    </a:lnTo>
                    <a:lnTo>
                      <a:pt x="80" y="632"/>
                    </a:lnTo>
                    <a:lnTo>
                      <a:pt x="82" y="630"/>
                    </a:lnTo>
                    <a:lnTo>
                      <a:pt x="82" y="630"/>
                    </a:lnTo>
                    <a:lnTo>
                      <a:pt x="83" y="630"/>
                    </a:lnTo>
                    <a:lnTo>
                      <a:pt x="85" y="632"/>
                    </a:lnTo>
                    <a:lnTo>
                      <a:pt x="85" y="632"/>
                    </a:lnTo>
                    <a:lnTo>
                      <a:pt x="85" y="632"/>
                    </a:lnTo>
                    <a:lnTo>
                      <a:pt x="85" y="634"/>
                    </a:lnTo>
                    <a:lnTo>
                      <a:pt x="87" y="634"/>
                    </a:lnTo>
                    <a:lnTo>
                      <a:pt x="87" y="636"/>
                    </a:lnTo>
                    <a:lnTo>
                      <a:pt x="87" y="636"/>
                    </a:lnTo>
                    <a:lnTo>
                      <a:pt x="87" y="636"/>
                    </a:lnTo>
                    <a:lnTo>
                      <a:pt x="91" y="636"/>
                    </a:lnTo>
                    <a:lnTo>
                      <a:pt x="93" y="636"/>
                    </a:lnTo>
                    <a:lnTo>
                      <a:pt x="93" y="638"/>
                    </a:lnTo>
                    <a:lnTo>
                      <a:pt x="93" y="638"/>
                    </a:lnTo>
                    <a:lnTo>
                      <a:pt x="91" y="641"/>
                    </a:lnTo>
                    <a:lnTo>
                      <a:pt x="91" y="641"/>
                    </a:lnTo>
                    <a:lnTo>
                      <a:pt x="91" y="643"/>
                    </a:lnTo>
                    <a:lnTo>
                      <a:pt x="91" y="645"/>
                    </a:lnTo>
                    <a:lnTo>
                      <a:pt x="93" y="647"/>
                    </a:lnTo>
                    <a:lnTo>
                      <a:pt x="93" y="649"/>
                    </a:lnTo>
                    <a:lnTo>
                      <a:pt x="93" y="649"/>
                    </a:lnTo>
                    <a:lnTo>
                      <a:pt x="93" y="649"/>
                    </a:lnTo>
                    <a:lnTo>
                      <a:pt x="93" y="651"/>
                    </a:lnTo>
                    <a:lnTo>
                      <a:pt x="91" y="651"/>
                    </a:lnTo>
                    <a:lnTo>
                      <a:pt x="89" y="651"/>
                    </a:lnTo>
                    <a:lnTo>
                      <a:pt x="83" y="651"/>
                    </a:lnTo>
                    <a:lnTo>
                      <a:pt x="82" y="653"/>
                    </a:lnTo>
                    <a:lnTo>
                      <a:pt x="82" y="653"/>
                    </a:lnTo>
                    <a:lnTo>
                      <a:pt x="80" y="653"/>
                    </a:lnTo>
                    <a:lnTo>
                      <a:pt x="78" y="655"/>
                    </a:lnTo>
                    <a:lnTo>
                      <a:pt x="76" y="657"/>
                    </a:lnTo>
                    <a:lnTo>
                      <a:pt x="76" y="659"/>
                    </a:lnTo>
                    <a:lnTo>
                      <a:pt x="76" y="659"/>
                    </a:lnTo>
                    <a:lnTo>
                      <a:pt x="76" y="659"/>
                    </a:lnTo>
                    <a:lnTo>
                      <a:pt x="76" y="659"/>
                    </a:lnTo>
                    <a:lnTo>
                      <a:pt x="78" y="659"/>
                    </a:lnTo>
                    <a:lnTo>
                      <a:pt x="80" y="660"/>
                    </a:lnTo>
                    <a:lnTo>
                      <a:pt x="80" y="660"/>
                    </a:lnTo>
                    <a:lnTo>
                      <a:pt x="80" y="660"/>
                    </a:lnTo>
                    <a:lnTo>
                      <a:pt x="80" y="662"/>
                    </a:lnTo>
                    <a:lnTo>
                      <a:pt x="76" y="666"/>
                    </a:lnTo>
                    <a:lnTo>
                      <a:pt x="76" y="666"/>
                    </a:lnTo>
                    <a:lnTo>
                      <a:pt x="76" y="668"/>
                    </a:lnTo>
                    <a:lnTo>
                      <a:pt x="76" y="668"/>
                    </a:lnTo>
                    <a:lnTo>
                      <a:pt x="76" y="668"/>
                    </a:lnTo>
                    <a:lnTo>
                      <a:pt x="78" y="670"/>
                    </a:lnTo>
                    <a:lnTo>
                      <a:pt x="78" y="672"/>
                    </a:lnTo>
                    <a:lnTo>
                      <a:pt x="78" y="674"/>
                    </a:lnTo>
                    <a:lnTo>
                      <a:pt x="80" y="674"/>
                    </a:lnTo>
                    <a:lnTo>
                      <a:pt x="80" y="676"/>
                    </a:lnTo>
                    <a:lnTo>
                      <a:pt x="80" y="676"/>
                    </a:lnTo>
                    <a:lnTo>
                      <a:pt x="82" y="676"/>
                    </a:lnTo>
                    <a:lnTo>
                      <a:pt x="82" y="678"/>
                    </a:lnTo>
                    <a:lnTo>
                      <a:pt x="83" y="678"/>
                    </a:lnTo>
                    <a:lnTo>
                      <a:pt x="83" y="679"/>
                    </a:lnTo>
                    <a:lnTo>
                      <a:pt x="83" y="681"/>
                    </a:lnTo>
                    <a:lnTo>
                      <a:pt x="83" y="681"/>
                    </a:lnTo>
                    <a:lnTo>
                      <a:pt x="83" y="683"/>
                    </a:lnTo>
                    <a:lnTo>
                      <a:pt x="83" y="685"/>
                    </a:lnTo>
                    <a:lnTo>
                      <a:pt x="85" y="687"/>
                    </a:lnTo>
                    <a:lnTo>
                      <a:pt x="85" y="687"/>
                    </a:lnTo>
                    <a:lnTo>
                      <a:pt x="83" y="687"/>
                    </a:lnTo>
                    <a:lnTo>
                      <a:pt x="83" y="689"/>
                    </a:lnTo>
                    <a:lnTo>
                      <a:pt x="82" y="687"/>
                    </a:lnTo>
                    <a:lnTo>
                      <a:pt x="80" y="687"/>
                    </a:lnTo>
                    <a:lnTo>
                      <a:pt x="78" y="687"/>
                    </a:lnTo>
                    <a:lnTo>
                      <a:pt x="76" y="685"/>
                    </a:lnTo>
                    <a:lnTo>
                      <a:pt x="76" y="685"/>
                    </a:lnTo>
                    <a:lnTo>
                      <a:pt x="76" y="683"/>
                    </a:lnTo>
                    <a:lnTo>
                      <a:pt x="76" y="683"/>
                    </a:lnTo>
                    <a:lnTo>
                      <a:pt x="76" y="681"/>
                    </a:lnTo>
                    <a:lnTo>
                      <a:pt x="76" y="681"/>
                    </a:lnTo>
                    <a:lnTo>
                      <a:pt x="74" y="678"/>
                    </a:lnTo>
                    <a:lnTo>
                      <a:pt x="72" y="674"/>
                    </a:lnTo>
                    <a:lnTo>
                      <a:pt x="72" y="674"/>
                    </a:lnTo>
                    <a:lnTo>
                      <a:pt x="70" y="672"/>
                    </a:lnTo>
                    <a:lnTo>
                      <a:pt x="70" y="672"/>
                    </a:lnTo>
                    <a:lnTo>
                      <a:pt x="68" y="672"/>
                    </a:lnTo>
                    <a:lnTo>
                      <a:pt x="68" y="672"/>
                    </a:lnTo>
                    <a:lnTo>
                      <a:pt x="66" y="672"/>
                    </a:lnTo>
                    <a:lnTo>
                      <a:pt x="66" y="672"/>
                    </a:lnTo>
                    <a:lnTo>
                      <a:pt x="64" y="672"/>
                    </a:lnTo>
                    <a:lnTo>
                      <a:pt x="57" y="674"/>
                    </a:lnTo>
                    <a:lnTo>
                      <a:pt x="55" y="674"/>
                    </a:lnTo>
                    <a:lnTo>
                      <a:pt x="51" y="674"/>
                    </a:lnTo>
                    <a:lnTo>
                      <a:pt x="49" y="674"/>
                    </a:lnTo>
                    <a:lnTo>
                      <a:pt x="49" y="674"/>
                    </a:lnTo>
                    <a:lnTo>
                      <a:pt x="47" y="672"/>
                    </a:lnTo>
                    <a:lnTo>
                      <a:pt x="47" y="672"/>
                    </a:lnTo>
                    <a:lnTo>
                      <a:pt x="45" y="670"/>
                    </a:lnTo>
                    <a:lnTo>
                      <a:pt x="45" y="670"/>
                    </a:lnTo>
                    <a:lnTo>
                      <a:pt x="43" y="670"/>
                    </a:lnTo>
                    <a:lnTo>
                      <a:pt x="43" y="668"/>
                    </a:lnTo>
                    <a:lnTo>
                      <a:pt x="40" y="668"/>
                    </a:lnTo>
                    <a:lnTo>
                      <a:pt x="38" y="668"/>
                    </a:lnTo>
                    <a:lnTo>
                      <a:pt x="36" y="666"/>
                    </a:lnTo>
                    <a:lnTo>
                      <a:pt x="34" y="666"/>
                    </a:lnTo>
                    <a:lnTo>
                      <a:pt x="34" y="666"/>
                    </a:lnTo>
                    <a:lnTo>
                      <a:pt x="34" y="664"/>
                    </a:lnTo>
                    <a:lnTo>
                      <a:pt x="32" y="662"/>
                    </a:lnTo>
                    <a:lnTo>
                      <a:pt x="32" y="660"/>
                    </a:lnTo>
                    <a:lnTo>
                      <a:pt x="32" y="655"/>
                    </a:lnTo>
                    <a:lnTo>
                      <a:pt x="30" y="653"/>
                    </a:lnTo>
                    <a:lnTo>
                      <a:pt x="30" y="653"/>
                    </a:lnTo>
                    <a:lnTo>
                      <a:pt x="30" y="651"/>
                    </a:lnTo>
                    <a:lnTo>
                      <a:pt x="30" y="653"/>
                    </a:lnTo>
                    <a:lnTo>
                      <a:pt x="28" y="653"/>
                    </a:lnTo>
                    <a:lnTo>
                      <a:pt x="28" y="653"/>
                    </a:lnTo>
                    <a:lnTo>
                      <a:pt x="28" y="651"/>
                    </a:lnTo>
                    <a:lnTo>
                      <a:pt x="26" y="651"/>
                    </a:lnTo>
                    <a:lnTo>
                      <a:pt x="24" y="649"/>
                    </a:lnTo>
                    <a:lnTo>
                      <a:pt x="24" y="649"/>
                    </a:lnTo>
                    <a:lnTo>
                      <a:pt x="24" y="649"/>
                    </a:lnTo>
                    <a:lnTo>
                      <a:pt x="22" y="651"/>
                    </a:lnTo>
                    <a:lnTo>
                      <a:pt x="22" y="651"/>
                    </a:lnTo>
                    <a:lnTo>
                      <a:pt x="22" y="653"/>
                    </a:lnTo>
                    <a:lnTo>
                      <a:pt x="20" y="653"/>
                    </a:lnTo>
                    <a:lnTo>
                      <a:pt x="20" y="653"/>
                    </a:lnTo>
                    <a:lnTo>
                      <a:pt x="19" y="653"/>
                    </a:lnTo>
                    <a:lnTo>
                      <a:pt x="19" y="655"/>
                    </a:lnTo>
                    <a:lnTo>
                      <a:pt x="19" y="655"/>
                    </a:lnTo>
                    <a:lnTo>
                      <a:pt x="19" y="657"/>
                    </a:lnTo>
                    <a:lnTo>
                      <a:pt x="26" y="664"/>
                    </a:lnTo>
                    <a:lnTo>
                      <a:pt x="26" y="666"/>
                    </a:lnTo>
                    <a:lnTo>
                      <a:pt x="26" y="666"/>
                    </a:lnTo>
                    <a:lnTo>
                      <a:pt x="26" y="666"/>
                    </a:lnTo>
                    <a:lnTo>
                      <a:pt x="26" y="668"/>
                    </a:lnTo>
                    <a:lnTo>
                      <a:pt x="26" y="668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26" y="674"/>
                    </a:lnTo>
                    <a:lnTo>
                      <a:pt x="28" y="674"/>
                    </a:lnTo>
                    <a:lnTo>
                      <a:pt x="28" y="674"/>
                    </a:lnTo>
                    <a:lnTo>
                      <a:pt x="30" y="676"/>
                    </a:lnTo>
                    <a:lnTo>
                      <a:pt x="32" y="679"/>
                    </a:lnTo>
                    <a:lnTo>
                      <a:pt x="32" y="681"/>
                    </a:lnTo>
                    <a:lnTo>
                      <a:pt x="34" y="683"/>
                    </a:lnTo>
                    <a:lnTo>
                      <a:pt x="36" y="683"/>
                    </a:lnTo>
                    <a:lnTo>
                      <a:pt x="36" y="685"/>
                    </a:lnTo>
                    <a:lnTo>
                      <a:pt x="36" y="687"/>
                    </a:lnTo>
                    <a:lnTo>
                      <a:pt x="36" y="687"/>
                    </a:lnTo>
                    <a:lnTo>
                      <a:pt x="34" y="687"/>
                    </a:lnTo>
                    <a:lnTo>
                      <a:pt x="34" y="687"/>
                    </a:lnTo>
                    <a:lnTo>
                      <a:pt x="34" y="689"/>
                    </a:lnTo>
                    <a:lnTo>
                      <a:pt x="34" y="689"/>
                    </a:lnTo>
                    <a:lnTo>
                      <a:pt x="32" y="691"/>
                    </a:lnTo>
                    <a:lnTo>
                      <a:pt x="32" y="691"/>
                    </a:lnTo>
                    <a:lnTo>
                      <a:pt x="32" y="691"/>
                    </a:lnTo>
                    <a:lnTo>
                      <a:pt x="32" y="693"/>
                    </a:lnTo>
                    <a:lnTo>
                      <a:pt x="30" y="695"/>
                    </a:lnTo>
                    <a:lnTo>
                      <a:pt x="28" y="695"/>
                    </a:lnTo>
                    <a:lnTo>
                      <a:pt x="28" y="697"/>
                    </a:lnTo>
                    <a:lnTo>
                      <a:pt x="28" y="698"/>
                    </a:lnTo>
                    <a:lnTo>
                      <a:pt x="30" y="702"/>
                    </a:lnTo>
                    <a:lnTo>
                      <a:pt x="30" y="704"/>
                    </a:lnTo>
                    <a:lnTo>
                      <a:pt x="30" y="706"/>
                    </a:lnTo>
                    <a:lnTo>
                      <a:pt x="32" y="706"/>
                    </a:lnTo>
                    <a:lnTo>
                      <a:pt x="32" y="706"/>
                    </a:lnTo>
                    <a:lnTo>
                      <a:pt x="32" y="704"/>
                    </a:lnTo>
                    <a:lnTo>
                      <a:pt x="32" y="704"/>
                    </a:lnTo>
                    <a:lnTo>
                      <a:pt x="34" y="702"/>
                    </a:lnTo>
                    <a:lnTo>
                      <a:pt x="34" y="702"/>
                    </a:lnTo>
                    <a:lnTo>
                      <a:pt x="34" y="702"/>
                    </a:lnTo>
                    <a:lnTo>
                      <a:pt x="34" y="702"/>
                    </a:lnTo>
                    <a:lnTo>
                      <a:pt x="34" y="702"/>
                    </a:lnTo>
                    <a:lnTo>
                      <a:pt x="36" y="702"/>
                    </a:lnTo>
                    <a:lnTo>
                      <a:pt x="36" y="704"/>
                    </a:lnTo>
                    <a:lnTo>
                      <a:pt x="38" y="706"/>
                    </a:lnTo>
                    <a:lnTo>
                      <a:pt x="38" y="706"/>
                    </a:lnTo>
                    <a:lnTo>
                      <a:pt x="40" y="706"/>
                    </a:lnTo>
                    <a:lnTo>
                      <a:pt x="40" y="706"/>
                    </a:lnTo>
                    <a:lnTo>
                      <a:pt x="41" y="706"/>
                    </a:lnTo>
                    <a:lnTo>
                      <a:pt x="41" y="704"/>
                    </a:lnTo>
                    <a:lnTo>
                      <a:pt x="41" y="704"/>
                    </a:lnTo>
                    <a:lnTo>
                      <a:pt x="41" y="704"/>
                    </a:lnTo>
                    <a:lnTo>
                      <a:pt x="43" y="704"/>
                    </a:lnTo>
                    <a:lnTo>
                      <a:pt x="45" y="704"/>
                    </a:lnTo>
                    <a:lnTo>
                      <a:pt x="47" y="704"/>
                    </a:lnTo>
                    <a:lnTo>
                      <a:pt x="47" y="704"/>
                    </a:lnTo>
                    <a:lnTo>
                      <a:pt x="49" y="704"/>
                    </a:lnTo>
                    <a:lnTo>
                      <a:pt x="51" y="704"/>
                    </a:lnTo>
                    <a:lnTo>
                      <a:pt x="51" y="702"/>
                    </a:lnTo>
                    <a:lnTo>
                      <a:pt x="51" y="702"/>
                    </a:lnTo>
                    <a:lnTo>
                      <a:pt x="51" y="700"/>
                    </a:lnTo>
                    <a:lnTo>
                      <a:pt x="51" y="698"/>
                    </a:lnTo>
                    <a:lnTo>
                      <a:pt x="51" y="697"/>
                    </a:lnTo>
                    <a:lnTo>
                      <a:pt x="51" y="697"/>
                    </a:lnTo>
                    <a:lnTo>
                      <a:pt x="49" y="695"/>
                    </a:lnTo>
                    <a:lnTo>
                      <a:pt x="49" y="695"/>
                    </a:lnTo>
                    <a:lnTo>
                      <a:pt x="47" y="695"/>
                    </a:lnTo>
                    <a:lnTo>
                      <a:pt x="47" y="693"/>
                    </a:lnTo>
                    <a:lnTo>
                      <a:pt x="47" y="693"/>
                    </a:lnTo>
                    <a:lnTo>
                      <a:pt x="47" y="693"/>
                    </a:lnTo>
                    <a:lnTo>
                      <a:pt x="47" y="691"/>
                    </a:lnTo>
                    <a:lnTo>
                      <a:pt x="49" y="691"/>
                    </a:lnTo>
                    <a:lnTo>
                      <a:pt x="49" y="691"/>
                    </a:lnTo>
                    <a:lnTo>
                      <a:pt x="51" y="691"/>
                    </a:lnTo>
                    <a:lnTo>
                      <a:pt x="51" y="689"/>
                    </a:lnTo>
                    <a:lnTo>
                      <a:pt x="51" y="689"/>
                    </a:lnTo>
                    <a:lnTo>
                      <a:pt x="51" y="689"/>
                    </a:lnTo>
                    <a:lnTo>
                      <a:pt x="51" y="689"/>
                    </a:lnTo>
                    <a:lnTo>
                      <a:pt x="51" y="687"/>
                    </a:lnTo>
                    <a:lnTo>
                      <a:pt x="51" y="687"/>
                    </a:lnTo>
                    <a:lnTo>
                      <a:pt x="51" y="687"/>
                    </a:lnTo>
                    <a:lnTo>
                      <a:pt x="51" y="685"/>
                    </a:lnTo>
                    <a:lnTo>
                      <a:pt x="53" y="685"/>
                    </a:lnTo>
                    <a:lnTo>
                      <a:pt x="53" y="685"/>
                    </a:lnTo>
                    <a:lnTo>
                      <a:pt x="53" y="687"/>
                    </a:lnTo>
                    <a:lnTo>
                      <a:pt x="53" y="687"/>
                    </a:lnTo>
                    <a:lnTo>
                      <a:pt x="53" y="689"/>
                    </a:lnTo>
                    <a:lnTo>
                      <a:pt x="53" y="689"/>
                    </a:lnTo>
                    <a:lnTo>
                      <a:pt x="55" y="691"/>
                    </a:lnTo>
                    <a:lnTo>
                      <a:pt x="55" y="691"/>
                    </a:lnTo>
                    <a:lnTo>
                      <a:pt x="57" y="689"/>
                    </a:lnTo>
                    <a:lnTo>
                      <a:pt x="59" y="687"/>
                    </a:lnTo>
                    <a:lnTo>
                      <a:pt x="59" y="687"/>
                    </a:lnTo>
                    <a:lnTo>
                      <a:pt x="61" y="689"/>
                    </a:lnTo>
                    <a:lnTo>
                      <a:pt x="62" y="691"/>
                    </a:lnTo>
                    <a:lnTo>
                      <a:pt x="62" y="691"/>
                    </a:lnTo>
                    <a:lnTo>
                      <a:pt x="66" y="691"/>
                    </a:lnTo>
                    <a:lnTo>
                      <a:pt x="66" y="691"/>
                    </a:lnTo>
                    <a:lnTo>
                      <a:pt x="68" y="693"/>
                    </a:lnTo>
                    <a:lnTo>
                      <a:pt x="70" y="693"/>
                    </a:lnTo>
                    <a:lnTo>
                      <a:pt x="70" y="693"/>
                    </a:lnTo>
                    <a:lnTo>
                      <a:pt x="72" y="693"/>
                    </a:lnTo>
                    <a:lnTo>
                      <a:pt x="74" y="693"/>
                    </a:lnTo>
                    <a:lnTo>
                      <a:pt x="74" y="693"/>
                    </a:lnTo>
                    <a:lnTo>
                      <a:pt x="76" y="693"/>
                    </a:lnTo>
                    <a:lnTo>
                      <a:pt x="80" y="695"/>
                    </a:lnTo>
                    <a:lnTo>
                      <a:pt x="83" y="695"/>
                    </a:lnTo>
                    <a:lnTo>
                      <a:pt x="83" y="695"/>
                    </a:lnTo>
                    <a:lnTo>
                      <a:pt x="83" y="695"/>
                    </a:lnTo>
                    <a:lnTo>
                      <a:pt x="83" y="697"/>
                    </a:lnTo>
                    <a:lnTo>
                      <a:pt x="83" y="697"/>
                    </a:lnTo>
                    <a:lnTo>
                      <a:pt x="85" y="698"/>
                    </a:lnTo>
                    <a:lnTo>
                      <a:pt x="87" y="698"/>
                    </a:lnTo>
                    <a:lnTo>
                      <a:pt x="87" y="700"/>
                    </a:lnTo>
                    <a:lnTo>
                      <a:pt x="87" y="702"/>
                    </a:lnTo>
                    <a:lnTo>
                      <a:pt x="89" y="702"/>
                    </a:lnTo>
                    <a:lnTo>
                      <a:pt x="89" y="706"/>
                    </a:lnTo>
                    <a:lnTo>
                      <a:pt x="89" y="706"/>
                    </a:lnTo>
                    <a:lnTo>
                      <a:pt x="89" y="710"/>
                    </a:lnTo>
                    <a:lnTo>
                      <a:pt x="89" y="712"/>
                    </a:lnTo>
                    <a:lnTo>
                      <a:pt x="91" y="712"/>
                    </a:lnTo>
                    <a:lnTo>
                      <a:pt x="91" y="714"/>
                    </a:lnTo>
                    <a:lnTo>
                      <a:pt x="93" y="712"/>
                    </a:lnTo>
                    <a:lnTo>
                      <a:pt x="93" y="712"/>
                    </a:lnTo>
                    <a:lnTo>
                      <a:pt x="95" y="712"/>
                    </a:lnTo>
                    <a:lnTo>
                      <a:pt x="97" y="712"/>
                    </a:lnTo>
                    <a:lnTo>
                      <a:pt x="97" y="712"/>
                    </a:lnTo>
                    <a:lnTo>
                      <a:pt x="101" y="710"/>
                    </a:lnTo>
                    <a:lnTo>
                      <a:pt x="104" y="708"/>
                    </a:lnTo>
                    <a:lnTo>
                      <a:pt x="104" y="708"/>
                    </a:lnTo>
                    <a:lnTo>
                      <a:pt x="108" y="708"/>
                    </a:lnTo>
                    <a:lnTo>
                      <a:pt x="108" y="708"/>
                    </a:lnTo>
                    <a:lnTo>
                      <a:pt x="108" y="708"/>
                    </a:lnTo>
                    <a:lnTo>
                      <a:pt x="108" y="706"/>
                    </a:lnTo>
                    <a:lnTo>
                      <a:pt x="108" y="704"/>
                    </a:lnTo>
                    <a:lnTo>
                      <a:pt x="108" y="704"/>
                    </a:lnTo>
                    <a:lnTo>
                      <a:pt x="110" y="704"/>
                    </a:lnTo>
                    <a:lnTo>
                      <a:pt x="110" y="702"/>
                    </a:lnTo>
                    <a:lnTo>
                      <a:pt x="112" y="702"/>
                    </a:lnTo>
                    <a:lnTo>
                      <a:pt x="112" y="702"/>
                    </a:lnTo>
                    <a:lnTo>
                      <a:pt x="114" y="702"/>
                    </a:lnTo>
                    <a:lnTo>
                      <a:pt x="116" y="702"/>
                    </a:lnTo>
                    <a:lnTo>
                      <a:pt x="116" y="704"/>
                    </a:lnTo>
                    <a:lnTo>
                      <a:pt x="116" y="704"/>
                    </a:lnTo>
                    <a:lnTo>
                      <a:pt x="118" y="704"/>
                    </a:lnTo>
                    <a:lnTo>
                      <a:pt x="118" y="704"/>
                    </a:lnTo>
                    <a:lnTo>
                      <a:pt x="120" y="704"/>
                    </a:lnTo>
                    <a:lnTo>
                      <a:pt x="120" y="702"/>
                    </a:lnTo>
                    <a:lnTo>
                      <a:pt x="120" y="700"/>
                    </a:lnTo>
                    <a:lnTo>
                      <a:pt x="120" y="700"/>
                    </a:lnTo>
                    <a:lnTo>
                      <a:pt x="122" y="698"/>
                    </a:lnTo>
                    <a:lnTo>
                      <a:pt x="122" y="698"/>
                    </a:lnTo>
                    <a:lnTo>
                      <a:pt x="125" y="698"/>
                    </a:lnTo>
                    <a:lnTo>
                      <a:pt x="125" y="697"/>
                    </a:lnTo>
                    <a:lnTo>
                      <a:pt x="127" y="697"/>
                    </a:lnTo>
                    <a:lnTo>
                      <a:pt x="127" y="695"/>
                    </a:lnTo>
                    <a:lnTo>
                      <a:pt x="129" y="695"/>
                    </a:lnTo>
                    <a:lnTo>
                      <a:pt x="131" y="693"/>
                    </a:lnTo>
                    <a:lnTo>
                      <a:pt x="133" y="691"/>
                    </a:lnTo>
                    <a:lnTo>
                      <a:pt x="133" y="691"/>
                    </a:lnTo>
                    <a:lnTo>
                      <a:pt x="133" y="689"/>
                    </a:lnTo>
                    <a:lnTo>
                      <a:pt x="133" y="689"/>
                    </a:lnTo>
                    <a:lnTo>
                      <a:pt x="133" y="689"/>
                    </a:lnTo>
                    <a:lnTo>
                      <a:pt x="133" y="687"/>
                    </a:lnTo>
                    <a:lnTo>
                      <a:pt x="131" y="687"/>
                    </a:lnTo>
                    <a:lnTo>
                      <a:pt x="131" y="685"/>
                    </a:lnTo>
                    <a:lnTo>
                      <a:pt x="131" y="685"/>
                    </a:lnTo>
                    <a:lnTo>
                      <a:pt x="131" y="683"/>
                    </a:lnTo>
                    <a:lnTo>
                      <a:pt x="131" y="683"/>
                    </a:lnTo>
                    <a:lnTo>
                      <a:pt x="133" y="681"/>
                    </a:lnTo>
                    <a:lnTo>
                      <a:pt x="133" y="681"/>
                    </a:lnTo>
                    <a:lnTo>
                      <a:pt x="135" y="681"/>
                    </a:lnTo>
                    <a:lnTo>
                      <a:pt x="137" y="683"/>
                    </a:lnTo>
                    <a:lnTo>
                      <a:pt x="139" y="683"/>
                    </a:lnTo>
                    <a:lnTo>
                      <a:pt x="141" y="683"/>
                    </a:lnTo>
                    <a:lnTo>
                      <a:pt x="141" y="683"/>
                    </a:lnTo>
                    <a:lnTo>
                      <a:pt x="143" y="683"/>
                    </a:lnTo>
                    <a:lnTo>
                      <a:pt x="143" y="685"/>
                    </a:lnTo>
                    <a:lnTo>
                      <a:pt x="144" y="685"/>
                    </a:lnTo>
                    <a:lnTo>
                      <a:pt x="146" y="685"/>
                    </a:lnTo>
                    <a:lnTo>
                      <a:pt x="146" y="683"/>
                    </a:lnTo>
                    <a:lnTo>
                      <a:pt x="148" y="683"/>
                    </a:lnTo>
                    <a:lnTo>
                      <a:pt x="148" y="681"/>
                    </a:lnTo>
                    <a:lnTo>
                      <a:pt x="148" y="681"/>
                    </a:lnTo>
                    <a:lnTo>
                      <a:pt x="148" y="679"/>
                    </a:lnTo>
                    <a:lnTo>
                      <a:pt x="150" y="679"/>
                    </a:lnTo>
                    <a:lnTo>
                      <a:pt x="152" y="679"/>
                    </a:lnTo>
                    <a:lnTo>
                      <a:pt x="152" y="679"/>
                    </a:lnTo>
                    <a:lnTo>
                      <a:pt x="152" y="679"/>
                    </a:lnTo>
                    <a:lnTo>
                      <a:pt x="152" y="679"/>
                    </a:lnTo>
                    <a:lnTo>
                      <a:pt x="152" y="681"/>
                    </a:lnTo>
                    <a:lnTo>
                      <a:pt x="152" y="685"/>
                    </a:lnTo>
                    <a:lnTo>
                      <a:pt x="152" y="685"/>
                    </a:lnTo>
                    <a:lnTo>
                      <a:pt x="152" y="685"/>
                    </a:lnTo>
                    <a:lnTo>
                      <a:pt x="152" y="685"/>
                    </a:lnTo>
                    <a:lnTo>
                      <a:pt x="148" y="687"/>
                    </a:lnTo>
                    <a:lnTo>
                      <a:pt x="148" y="689"/>
                    </a:lnTo>
                    <a:lnTo>
                      <a:pt x="148" y="689"/>
                    </a:lnTo>
                    <a:lnTo>
                      <a:pt x="148" y="691"/>
                    </a:lnTo>
                    <a:lnTo>
                      <a:pt x="148" y="693"/>
                    </a:lnTo>
                    <a:lnTo>
                      <a:pt x="148" y="695"/>
                    </a:lnTo>
                    <a:lnTo>
                      <a:pt x="150" y="695"/>
                    </a:lnTo>
                    <a:lnTo>
                      <a:pt x="150" y="697"/>
                    </a:lnTo>
                    <a:lnTo>
                      <a:pt x="150" y="695"/>
                    </a:lnTo>
                    <a:lnTo>
                      <a:pt x="152" y="695"/>
                    </a:lnTo>
                    <a:lnTo>
                      <a:pt x="154" y="693"/>
                    </a:lnTo>
                    <a:lnTo>
                      <a:pt x="154" y="691"/>
                    </a:lnTo>
                    <a:lnTo>
                      <a:pt x="156" y="691"/>
                    </a:lnTo>
                    <a:lnTo>
                      <a:pt x="158" y="691"/>
                    </a:lnTo>
                    <a:lnTo>
                      <a:pt x="160" y="691"/>
                    </a:lnTo>
                    <a:lnTo>
                      <a:pt x="160" y="691"/>
                    </a:lnTo>
                    <a:lnTo>
                      <a:pt x="160" y="691"/>
                    </a:lnTo>
                    <a:lnTo>
                      <a:pt x="164" y="689"/>
                    </a:lnTo>
                    <a:lnTo>
                      <a:pt x="169" y="693"/>
                    </a:lnTo>
                    <a:lnTo>
                      <a:pt x="171" y="697"/>
                    </a:lnTo>
                    <a:lnTo>
                      <a:pt x="171" y="698"/>
                    </a:lnTo>
                    <a:lnTo>
                      <a:pt x="171" y="700"/>
                    </a:lnTo>
                    <a:lnTo>
                      <a:pt x="171" y="702"/>
                    </a:lnTo>
                    <a:lnTo>
                      <a:pt x="171" y="704"/>
                    </a:lnTo>
                    <a:lnTo>
                      <a:pt x="169" y="706"/>
                    </a:lnTo>
                    <a:lnTo>
                      <a:pt x="171" y="706"/>
                    </a:lnTo>
                    <a:lnTo>
                      <a:pt x="171" y="708"/>
                    </a:lnTo>
                    <a:lnTo>
                      <a:pt x="173" y="710"/>
                    </a:lnTo>
                    <a:lnTo>
                      <a:pt x="173" y="712"/>
                    </a:lnTo>
                    <a:lnTo>
                      <a:pt x="173" y="712"/>
                    </a:lnTo>
                    <a:lnTo>
                      <a:pt x="173" y="714"/>
                    </a:lnTo>
                    <a:lnTo>
                      <a:pt x="171" y="714"/>
                    </a:lnTo>
                    <a:lnTo>
                      <a:pt x="171" y="714"/>
                    </a:lnTo>
                    <a:lnTo>
                      <a:pt x="169" y="714"/>
                    </a:lnTo>
                    <a:lnTo>
                      <a:pt x="167" y="714"/>
                    </a:lnTo>
                    <a:lnTo>
                      <a:pt x="167" y="714"/>
                    </a:lnTo>
                    <a:lnTo>
                      <a:pt x="167" y="716"/>
                    </a:lnTo>
                    <a:lnTo>
                      <a:pt x="167" y="716"/>
                    </a:lnTo>
                    <a:lnTo>
                      <a:pt x="169" y="718"/>
                    </a:lnTo>
                    <a:lnTo>
                      <a:pt x="169" y="719"/>
                    </a:lnTo>
                    <a:lnTo>
                      <a:pt x="171" y="719"/>
                    </a:lnTo>
                    <a:lnTo>
                      <a:pt x="173" y="718"/>
                    </a:lnTo>
                    <a:lnTo>
                      <a:pt x="173" y="718"/>
                    </a:lnTo>
                    <a:lnTo>
                      <a:pt x="175" y="718"/>
                    </a:lnTo>
                    <a:lnTo>
                      <a:pt x="175" y="718"/>
                    </a:lnTo>
                    <a:lnTo>
                      <a:pt x="177" y="719"/>
                    </a:lnTo>
                    <a:lnTo>
                      <a:pt x="181" y="723"/>
                    </a:lnTo>
                    <a:lnTo>
                      <a:pt x="183" y="725"/>
                    </a:lnTo>
                    <a:lnTo>
                      <a:pt x="183" y="725"/>
                    </a:lnTo>
                    <a:lnTo>
                      <a:pt x="183" y="725"/>
                    </a:lnTo>
                    <a:lnTo>
                      <a:pt x="184" y="725"/>
                    </a:lnTo>
                    <a:lnTo>
                      <a:pt x="186" y="725"/>
                    </a:lnTo>
                    <a:lnTo>
                      <a:pt x="188" y="727"/>
                    </a:lnTo>
                    <a:lnTo>
                      <a:pt x="192" y="727"/>
                    </a:lnTo>
                    <a:lnTo>
                      <a:pt x="192" y="727"/>
                    </a:lnTo>
                    <a:lnTo>
                      <a:pt x="194" y="727"/>
                    </a:lnTo>
                    <a:lnTo>
                      <a:pt x="194" y="727"/>
                    </a:lnTo>
                    <a:lnTo>
                      <a:pt x="196" y="725"/>
                    </a:lnTo>
                    <a:lnTo>
                      <a:pt x="198" y="725"/>
                    </a:lnTo>
                    <a:lnTo>
                      <a:pt x="198" y="725"/>
                    </a:lnTo>
                    <a:lnTo>
                      <a:pt x="198" y="725"/>
                    </a:lnTo>
                    <a:lnTo>
                      <a:pt x="200" y="727"/>
                    </a:lnTo>
                    <a:lnTo>
                      <a:pt x="202" y="727"/>
                    </a:lnTo>
                    <a:lnTo>
                      <a:pt x="202" y="727"/>
                    </a:lnTo>
                    <a:lnTo>
                      <a:pt x="202" y="727"/>
                    </a:lnTo>
                    <a:lnTo>
                      <a:pt x="204" y="727"/>
                    </a:lnTo>
                    <a:lnTo>
                      <a:pt x="205" y="727"/>
                    </a:lnTo>
                    <a:lnTo>
                      <a:pt x="205" y="727"/>
                    </a:lnTo>
                    <a:lnTo>
                      <a:pt x="207" y="727"/>
                    </a:lnTo>
                    <a:lnTo>
                      <a:pt x="207" y="729"/>
                    </a:lnTo>
                    <a:lnTo>
                      <a:pt x="207" y="729"/>
                    </a:lnTo>
                    <a:lnTo>
                      <a:pt x="205" y="731"/>
                    </a:lnTo>
                    <a:lnTo>
                      <a:pt x="205" y="733"/>
                    </a:lnTo>
                    <a:lnTo>
                      <a:pt x="205" y="735"/>
                    </a:lnTo>
                    <a:lnTo>
                      <a:pt x="205" y="738"/>
                    </a:lnTo>
                    <a:lnTo>
                      <a:pt x="205" y="738"/>
                    </a:lnTo>
                    <a:lnTo>
                      <a:pt x="205" y="740"/>
                    </a:lnTo>
                    <a:lnTo>
                      <a:pt x="205" y="740"/>
                    </a:lnTo>
                    <a:lnTo>
                      <a:pt x="205" y="742"/>
                    </a:lnTo>
                    <a:lnTo>
                      <a:pt x="205" y="744"/>
                    </a:lnTo>
                    <a:lnTo>
                      <a:pt x="205" y="750"/>
                    </a:lnTo>
                    <a:lnTo>
                      <a:pt x="205" y="750"/>
                    </a:lnTo>
                    <a:lnTo>
                      <a:pt x="205" y="752"/>
                    </a:lnTo>
                    <a:lnTo>
                      <a:pt x="204" y="752"/>
                    </a:lnTo>
                    <a:lnTo>
                      <a:pt x="204" y="752"/>
                    </a:lnTo>
                    <a:lnTo>
                      <a:pt x="204" y="754"/>
                    </a:lnTo>
                    <a:lnTo>
                      <a:pt x="204" y="754"/>
                    </a:lnTo>
                    <a:lnTo>
                      <a:pt x="204" y="756"/>
                    </a:lnTo>
                    <a:lnTo>
                      <a:pt x="205" y="756"/>
                    </a:lnTo>
                    <a:lnTo>
                      <a:pt x="205" y="757"/>
                    </a:lnTo>
                    <a:lnTo>
                      <a:pt x="207" y="757"/>
                    </a:lnTo>
                    <a:lnTo>
                      <a:pt x="207" y="759"/>
                    </a:lnTo>
                    <a:lnTo>
                      <a:pt x="207" y="761"/>
                    </a:lnTo>
                    <a:lnTo>
                      <a:pt x="209" y="761"/>
                    </a:lnTo>
                    <a:lnTo>
                      <a:pt x="209" y="761"/>
                    </a:lnTo>
                    <a:lnTo>
                      <a:pt x="211" y="761"/>
                    </a:lnTo>
                    <a:lnTo>
                      <a:pt x="211" y="761"/>
                    </a:lnTo>
                    <a:lnTo>
                      <a:pt x="213" y="761"/>
                    </a:lnTo>
                    <a:lnTo>
                      <a:pt x="213" y="761"/>
                    </a:lnTo>
                    <a:lnTo>
                      <a:pt x="215" y="761"/>
                    </a:lnTo>
                    <a:lnTo>
                      <a:pt x="215" y="763"/>
                    </a:lnTo>
                    <a:lnTo>
                      <a:pt x="215" y="763"/>
                    </a:lnTo>
                    <a:lnTo>
                      <a:pt x="217" y="761"/>
                    </a:lnTo>
                    <a:lnTo>
                      <a:pt x="217" y="761"/>
                    </a:lnTo>
                    <a:lnTo>
                      <a:pt x="219" y="763"/>
                    </a:lnTo>
                    <a:lnTo>
                      <a:pt x="223" y="767"/>
                    </a:lnTo>
                    <a:lnTo>
                      <a:pt x="225" y="767"/>
                    </a:lnTo>
                    <a:lnTo>
                      <a:pt x="225" y="767"/>
                    </a:lnTo>
                    <a:lnTo>
                      <a:pt x="225" y="767"/>
                    </a:lnTo>
                    <a:lnTo>
                      <a:pt x="226" y="767"/>
                    </a:lnTo>
                    <a:lnTo>
                      <a:pt x="226" y="767"/>
                    </a:lnTo>
                    <a:lnTo>
                      <a:pt x="228" y="765"/>
                    </a:lnTo>
                    <a:lnTo>
                      <a:pt x="228" y="763"/>
                    </a:lnTo>
                    <a:lnTo>
                      <a:pt x="230" y="765"/>
                    </a:lnTo>
                    <a:lnTo>
                      <a:pt x="230" y="765"/>
                    </a:lnTo>
                    <a:lnTo>
                      <a:pt x="230" y="765"/>
                    </a:lnTo>
                    <a:lnTo>
                      <a:pt x="230" y="767"/>
                    </a:lnTo>
                    <a:lnTo>
                      <a:pt x="230" y="769"/>
                    </a:lnTo>
                    <a:lnTo>
                      <a:pt x="230" y="769"/>
                    </a:lnTo>
                    <a:lnTo>
                      <a:pt x="230" y="773"/>
                    </a:lnTo>
                    <a:lnTo>
                      <a:pt x="230" y="773"/>
                    </a:lnTo>
                    <a:lnTo>
                      <a:pt x="230" y="775"/>
                    </a:lnTo>
                    <a:lnTo>
                      <a:pt x="230" y="775"/>
                    </a:lnTo>
                    <a:lnTo>
                      <a:pt x="230" y="775"/>
                    </a:lnTo>
                    <a:lnTo>
                      <a:pt x="230" y="776"/>
                    </a:lnTo>
                    <a:lnTo>
                      <a:pt x="230" y="778"/>
                    </a:lnTo>
                    <a:lnTo>
                      <a:pt x="228" y="780"/>
                    </a:lnTo>
                    <a:lnTo>
                      <a:pt x="228" y="782"/>
                    </a:lnTo>
                    <a:lnTo>
                      <a:pt x="226" y="784"/>
                    </a:lnTo>
                    <a:lnTo>
                      <a:pt x="225" y="784"/>
                    </a:lnTo>
                    <a:lnTo>
                      <a:pt x="225" y="786"/>
                    </a:lnTo>
                    <a:lnTo>
                      <a:pt x="225" y="790"/>
                    </a:lnTo>
                    <a:lnTo>
                      <a:pt x="225" y="792"/>
                    </a:lnTo>
                    <a:lnTo>
                      <a:pt x="225" y="794"/>
                    </a:lnTo>
                    <a:lnTo>
                      <a:pt x="223" y="794"/>
                    </a:lnTo>
                    <a:lnTo>
                      <a:pt x="223" y="796"/>
                    </a:lnTo>
                    <a:lnTo>
                      <a:pt x="219" y="796"/>
                    </a:lnTo>
                    <a:lnTo>
                      <a:pt x="219" y="797"/>
                    </a:lnTo>
                    <a:lnTo>
                      <a:pt x="219" y="797"/>
                    </a:lnTo>
                    <a:lnTo>
                      <a:pt x="217" y="799"/>
                    </a:lnTo>
                    <a:lnTo>
                      <a:pt x="217" y="801"/>
                    </a:lnTo>
                    <a:lnTo>
                      <a:pt x="217" y="803"/>
                    </a:lnTo>
                    <a:lnTo>
                      <a:pt x="217" y="803"/>
                    </a:lnTo>
                    <a:lnTo>
                      <a:pt x="215" y="805"/>
                    </a:lnTo>
                    <a:lnTo>
                      <a:pt x="211" y="809"/>
                    </a:lnTo>
                    <a:lnTo>
                      <a:pt x="211" y="811"/>
                    </a:lnTo>
                    <a:lnTo>
                      <a:pt x="211" y="811"/>
                    </a:lnTo>
                    <a:lnTo>
                      <a:pt x="211" y="813"/>
                    </a:lnTo>
                    <a:lnTo>
                      <a:pt x="213" y="813"/>
                    </a:lnTo>
                    <a:lnTo>
                      <a:pt x="215" y="813"/>
                    </a:lnTo>
                    <a:lnTo>
                      <a:pt x="217" y="815"/>
                    </a:lnTo>
                    <a:lnTo>
                      <a:pt x="219" y="816"/>
                    </a:lnTo>
                    <a:lnTo>
                      <a:pt x="219" y="818"/>
                    </a:lnTo>
                    <a:lnTo>
                      <a:pt x="219" y="820"/>
                    </a:lnTo>
                    <a:lnTo>
                      <a:pt x="217" y="820"/>
                    </a:lnTo>
                    <a:lnTo>
                      <a:pt x="217" y="820"/>
                    </a:lnTo>
                    <a:lnTo>
                      <a:pt x="215" y="820"/>
                    </a:lnTo>
                    <a:lnTo>
                      <a:pt x="207" y="815"/>
                    </a:lnTo>
                    <a:lnTo>
                      <a:pt x="205" y="815"/>
                    </a:lnTo>
                    <a:lnTo>
                      <a:pt x="205" y="813"/>
                    </a:lnTo>
                    <a:lnTo>
                      <a:pt x="205" y="813"/>
                    </a:lnTo>
                    <a:lnTo>
                      <a:pt x="204" y="813"/>
                    </a:lnTo>
                    <a:lnTo>
                      <a:pt x="204" y="815"/>
                    </a:lnTo>
                    <a:lnTo>
                      <a:pt x="204" y="815"/>
                    </a:lnTo>
                    <a:lnTo>
                      <a:pt x="202" y="816"/>
                    </a:lnTo>
                    <a:lnTo>
                      <a:pt x="202" y="818"/>
                    </a:lnTo>
                    <a:lnTo>
                      <a:pt x="202" y="820"/>
                    </a:lnTo>
                    <a:lnTo>
                      <a:pt x="202" y="820"/>
                    </a:lnTo>
                    <a:lnTo>
                      <a:pt x="200" y="820"/>
                    </a:lnTo>
                    <a:lnTo>
                      <a:pt x="200" y="820"/>
                    </a:lnTo>
                    <a:lnTo>
                      <a:pt x="200" y="820"/>
                    </a:lnTo>
                    <a:lnTo>
                      <a:pt x="198" y="820"/>
                    </a:lnTo>
                    <a:lnTo>
                      <a:pt x="198" y="820"/>
                    </a:lnTo>
                    <a:lnTo>
                      <a:pt x="196" y="822"/>
                    </a:lnTo>
                    <a:lnTo>
                      <a:pt x="196" y="822"/>
                    </a:lnTo>
                    <a:lnTo>
                      <a:pt x="196" y="822"/>
                    </a:lnTo>
                    <a:lnTo>
                      <a:pt x="196" y="822"/>
                    </a:lnTo>
                    <a:lnTo>
                      <a:pt x="194" y="822"/>
                    </a:lnTo>
                    <a:lnTo>
                      <a:pt x="194" y="822"/>
                    </a:lnTo>
                    <a:lnTo>
                      <a:pt x="192" y="820"/>
                    </a:lnTo>
                    <a:lnTo>
                      <a:pt x="192" y="820"/>
                    </a:lnTo>
                    <a:lnTo>
                      <a:pt x="190" y="822"/>
                    </a:lnTo>
                    <a:lnTo>
                      <a:pt x="190" y="822"/>
                    </a:lnTo>
                    <a:lnTo>
                      <a:pt x="190" y="822"/>
                    </a:lnTo>
                    <a:lnTo>
                      <a:pt x="190" y="822"/>
                    </a:lnTo>
                    <a:lnTo>
                      <a:pt x="190" y="824"/>
                    </a:lnTo>
                    <a:lnTo>
                      <a:pt x="190" y="828"/>
                    </a:lnTo>
                    <a:lnTo>
                      <a:pt x="190" y="830"/>
                    </a:lnTo>
                    <a:lnTo>
                      <a:pt x="190" y="832"/>
                    </a:lnTo>
                    <a:lnTo>
                      <a:pt x="190" y="832"/>
                    </a:lnTo>
                    <a:lnTo>
                      <a:pt x="188" y="834"/>
                    </a:lnTo>
                    <a:lnTo>
                      <a:pt x="194" y="841"/>
                    </a:lnTo>
                    <a:lnTo>
                      <a:pt x="198" y="845"/>
                    </a:lnTo>
                    <a:lnTo>
                      <a:pt x="204" y="849"/>
                    </a:lnTo>
                    <a:lnTo>
                      <a:pt x="207" y="849"/>
                    </a:lnTo>
                    <a:lnTo>
                      <a:pt x="209" y="851"/>
                    </a:lnTo>
                    <a:lnTo>
                      <a:pt x="209" y="851"/>
                    </a:lnTo>
                    <a:lnTo>
                      <a:pt x="213" y="851"/>
                    </a:lnTo>
                    <a:lnTo>
                      <a:pt x="213" y="849"/>
                    </a:lnTo>
                    <a:lnTo>
                      <a:pt x="215" y="849"/>
                    </a:lnTo>
                    <a:lnTo>
                      <a:pt x="215" y="849"/>
                    </a:lnTo>
                    <a:lnTo>
                      <a:pt x="221" y="843"/>
                    </a:lnTo>
                    <a:lnTo>
                      <a:pt x="223" y="841"/>
                    </a:lnTo>
                    <a:lnTo>
                      <a:pt x="223" y="839"/>
                    </a:lnTo>
                    <a:lnTo>
                      <a:pt x="223" y="837"/>
                    </a:lnTo>
                    <a:lnTo>
                      <a:pt x="223" y="835"/>
                    </a:lnTo>
                    <a:lnTo>
                      <a:pt x="223" y="835"/>
                    </a:lnTo>
                    <a:lnTo>
                      <a:pt x="223" y="835"/>
                    </a:lnTo>
                    <a:lnTo>
                      <a:pt x="225" y="835"/>
                    </a:lnTo>
                    <a:lnTo>
                      <a:pt x="225" y="837"/>
                    </a:lnTo>
                    <a:lnTo>
                      <a:pt x="226" y="837"/>
                    </a:lnTo>
                    <a:lnTo>
                      <a:pt x="226" y="837"/>
                    </a:lnTo>
                    <a:lnTo>
                      <a:pt x="232" y="834"/>
                    </a:lnTo>
                    <a:lnTo>
                      <a:pt x="232" y="832"/>
                    </a:lnTo>
                    <a:lnTo>
                      <a:pt x="232" y="832"/>
                    </a:lnTo>
                    <a:lnTo>
                      <a:pt x="236" y="822"/>
                    </a:lnTo>
                    <a:lnTo>
                      <a:pt x="238" y="813"/>
                    </a:lnTo>
                    <a:lnTo>
                      <a:pt x="240" y="811"/>
                    </a:lnTo>
                    <a:lnTo>
                      <a:pt x="240" y="811"/>
                    </a:lnTo>
                    <a:lnTo>
                      <a:pt x="240" y="807"/>
                    </a:lnTo>
                    <a:lnTo>
                      <a:pt x="240" y="805"/>
                    </a:lnTo>
                    <a:lnTo>
                      <a:pt x="240" y="803"/>
                    </a:lnTo>
                    <a:lnTo>
                      <a:pt x="242" y="801"/>
                    </a:lnTo>
                    <a:lnTo>
                      <a:pt x="244" y="801"/>
                    </a:lnTo>
                    <a:lnTo>
                      <a:pt x="244" y="801"/>
                    </a:lnTo>
                    <a:lnTo>
                      <a:pt x="246" y="801"/>
                    </a:lnTo>
                    <a:lnTo>
                      <a:pt x="247" y="799"/>
                    </a:lnTo>
                    <a:lnTo>
                      <a:pt x="247" y="799"/>
                    </a:lnTo>
                    <a:lnTo>
                      <a:pt x="249" y="797"/>
                    </a:lnTo>
                    <a:lnTo>
                      <a:pt x="249" y="796"/>
                    </a:lnTo>
                    <a:lnTo>
                      <a:pt x="251" y="796"/>
                    </a:lnTo>
                    <a:lnTo>
                      <a:pt x="251" y="796"/>
                    </a:lnTo>
                    <a:lnTo>
                      <a:pt x="257" y="794"/>
                    </a:lnTo>
                    <a:lnTo>
                      <a:pt x="261" y="794"/>
                    </a:lnTo>
                    <a:lnTo>
                      <a:pt x="263" y="794"/>
                    </a:lnTo>
                    <a:lnTo>
                      <a:pt x="268" y="792"/>
                    </a:lnTo>
                    <a:lnTo>
                      <a:pt x="268" y="794"/>
                    </a:lnTo>
                    <a:lnTo>
                      <a:pt x="270" y="794"/>
                    </a:lnTo>
                    <a:lnTo>
                      <a:pt x="270" y="796"/>
                    </a:lnTo>
                    <a:lnTo>
                      <a:pt x="270" y="797"/>
                    </a:lnTo>
                    <a:lnTo>
                      <a:pt x="272" y="797"/>
                    </a:lnTo>
                    <a:lnTo>
                      <a:pt x="272" y="797"/>
                    </a:lnTo>
                    <a:lnTo>
                      <a:pt x="274" y="797"/>
                    </a:lnTo>
                    <a:lnTo>
                      <a:pt x="276" y="796"/>
                    </a:lnTo>
                    <a:lnTo>
                      <a:pt x="276" y="796"/>
                    </a:lnTo>
                    <a:lnTo>
                      <a:pt x="276" y="794"/>
                    </a:lnTo>
                    <a:lnTo>
                      <a:pt x="276" y="792"/>
                    </a:lnTo>
                    <a:lnTo>
                      <a:pt x="278" y="792"/>
                    </a:lnTo>
                    <a:lnTo>
                      <a:pt x="278" y="790"/>
                    </a:lnTo>
                    <a:lnTo>
                      <a:pt x="280" y="790"/>
                    </a:lnTo>
                    <a:lnTo>
                      <a:pt x="284" y="792"/>
                    </a:lnTo>
                    <a:lnTo>
                      <a:pt x="284" y="792"/>
                    </a:lnTo>
                    <a:lnTo>
                      <a:pt x="286" y="792"/>
                    </a:lnTo>
                    <a:lnTo>
                      <a:pt x="286" y="792"/>
                    </a:lnTo>
                    <a:lnTo>
                      <a:pt x="286" y="794"/>
                    </a:lnTo>
                    <a:lnTo>
                      <a:pt x="286" y="796"/>
                    </a:lnTo>
                    <a:lnTo>
                      <a:pt x="287" y="796"/>
                    </a:lnTo>
                    <a:lnTo>
                      <a:pt x="287" y="796"/>
                    </a:lnTo>
                    <a:lnTo>
                      <a:pt x="291" y="796"/>
                    </a:lnTo>
                    <a:lnTo>
                      <a:pt x="293" y="797"/>
                    </a:lnTo>
                    <a:lnTo>
                      <a:pt x="293" y="797"/>
                    </a:lnTo>
                    <a:lnTo>
                      <a:pt x="295" y="797"/>
                    </a:lnTo>
                    <a:lnTo>
                      <a:pt x="297" y="797"/>
                    </a:lnTo>
                    <a:lnTo>
                      <a:pt x="299" y="797"/>
                    </a:lnTo>
                    <a:lnTo>
                      <a:pt x="305" y="797"/>
                    </a:lnTo>
                    <a:lnTo>
                      <a:pt x="305" y="797"/>
                    </a:lnTo>
                    <a:lnTo>
                      <a:pt x="307" y="796"/>
                    </a:lnTo>
                    <a:lnTo>
                      <a:pt x="308" y="796"/>
                    </a:lnTo>
                    <a:lnTo>
                      <a:pt x="310" y="792"/>
                    </a:lnTo>
                    <a:lnTo>
                      <a:pt x="316" y="784"/>
                    </a:lnTo>
                    <a:lnTo>
                      <a:pt x="316" y="784"/>
                    </a:lnTo>
                    <a:lnTo>
                      <a:pt x="318" y="784"/>
                    </a:lnTo>
                    <a:lnTo>
                      <a:pt x="320" y="784"/>
                    </a:lnTo>
                    <a:lnTo>
                      <a:pt x="322" y="784"/>
                    </a:lnTo>
                    <a:lnTo>
                      <a:pt x="322" y="786"/>
                    </a:lnTo>
                    <a:lnTo>
                      <a:pt x="324" y="786"/>
                    </a:lnTo>
                    <a:lnTo>
                      <a:pt x="326" y="786"/>
                    </a:lnTo>
                    <a:lnTo>
                      <a:pt x="326" y="784"/>
                    </a:lnTo>
                    <a:lnTo>
                      <a:pt x="329" y="780"/>
                    </a:lnTo>
                    <a:lnTo>
                      <a:pt x="331" y="778"/>
                    </a:lnTo>
                    <a:lnTo>
                      <a:pt x="333" y="776"/>
                    </a:lnTo>
                    <a:lnTo>
                      <a:pt x="333" y="776"/>
                    </a:lnTo>
                    <a:lnTo>
                      <a:pt x="337" y="775"/>
                    </a:lnTo>
                    <a:lnTo>
                      <a:pt x="339" y="773"/>
                    </a:lnTo>
                    <a:lnTo>
                      <a:pt x="339" y="771"/>
                    </a:lnTo>
                    <a:lnTo>
                      <a:pt x="339" y="771"/>
                    </a:lnTo>
                    <a:lnTo>
                      <a:pt x="339" y="769"/>
                    </a:lnTo>
                    <a:lnTo>
                      <a:pt x="339" y="769"/>
                    </a:lnTo>
                    <a:lnTo>
                      <a:pt x="339" y="765"/>
                    </a:lnTo>
                    <a:lnTo>
                      <a:pt x="341" y="765"/>
                    </a:lnTo>
                    <a:lnTo>
                      <a:pt x="341" y="763"/>
                    </a:lnTo>
                    <a:lnTo>
                      <a:pt x="341" y="761"/>
                    </a:lnTo>
                    <a:lnTo>
                      <a:pt x="341" y="761"/>
                    </a:lnTo>
                    <a:lnTo>
                      <a:pt x="341" y="759"/>
                    </a:lnTo>
                    <a:lnTo>
                      <a:pt x="345" y="759"/>
                    </a:lnTo>
                    <a:lnTo>
                      <a:pt x="347" y="759"/>
                    </a:lnTo>
                    <a:lnTo>
                      <a:pt x="348" y="759"/>
                    </a:lnTo>
                    <a:lnTo>
                      <a:pt x="350" y="759"/>
                    </a:lnTo>
                    <a:lnTo>
                      <a:pt x="352" y="759"/>
                    </a:lnTo>
                    <a:lnTo>
                      <a:pt x="354" y="761"/>
                    </a:lnTo>
                    <a:lnTo>
                      <a:pt x="354" y="763"/>
                    </a:lnTo>
                    <a:lnTo>
                      <a:pt x="356" y="765"/>
                    </a:lnTo>
                    <a:lnTo>
                      <a:pt x="356" y="767"/>
                    </a:lnTo>
                    <a:lnTo>
                      <a:pt x="358" y="767"/>
                    </a:lnTo>
                    <a:lnTo>
                      <a:pt x="360" y="767"/>
                    </a:lnTo>
                    <a:lnTo>
                      <a:pt x="369" y="765"/>
                    </a:lnTo>
                    <a:lnTo>
                      <a:pt x="371" y="765"/>
                    </a:lnTo>
                    <a:lnTo>
                      <a:pt x="371" y="767"/>
                    </a:lnTo>
                    <a:lnTo>
                      <a:pt x="371" y="769"/>
                    </a:lnTo>
                    <a:lnTo>
                      <a:pt x="371" y="769"/>
                    </a:lnTo>
                    <a:lnTo>
                      <a:pt x="371" y="771"/>
                    </a:lnTo>
                    <a:lnTo>
                      <a:pt x="371" y="771"/>
                    </a:lnTo>
                    <a:lnTo>
                      <a:pt x="373" y="773"/>
                    </a:lnTo>
                    <a:lnTo>
                      <a:pt x="375" y="775"/>
                    </a:lnTo>
                    <a:lnTo>
                      <a:pt x="377" y="775"/>
                    </a:lnTo>
                    <a:lnTo>
                      <a:pt x="381" y="775"/>
                    </a:lnTo>
                    <a:lnTo>
                      <a:pt x="381" y="775"/>
                    </a:lnTo>
                    <a:lnTo>
                      <a:pt x="383" y="775"/>
                    </a:lnTo>
                    <a:lnTo>
                      <a:pt x="383" y="775"/>
                    </a:lnTo>
                    <a:lnTo>
                      <a:pt x="385" y="773"/>
                    </a:lnTo>
                    <a:lnTo>
                      <a:pt x="385" y="771"/>
                    </a:lnTo>
                    <a:lnTo>
                      <a:pt x="385" y="771"/>
                    </a:lnTo>
                    <a:lnTo>
                      <a:pt x="383" y="771"/>
                    </a:lnTo>
                    <a:lnTo>
                      <a:pt x="383" y="769"/>
                    </a:lnTo>
                    <a:lnTo>
                      <a:pt x="381" y="769"/>
                    </a:lnTo>
                    <a:lnTo>
                      <a:pt x="381" y="769"/>
                    </a:lnTo>
                    <a:lnTo>
                      <a:pt x="381" y="769"/>
                    </a:lnTo>
                    <a:lnTo>
                      <a:pt x="379" y="767"/>
                    </a:lnTo>
                    <a:lnTo>
                      <a:pt x="379" y="767"/>
                    </a:lnTo>
                    <a:lnTo>
                      <a:pt x="381" y="765"/>
                    </a:lnTo>
                    <a:lnTo>
                      <a:pt x="381" y="765"/>
                    </a:lnTo>
                    <a:lnTo>
                      <a:pt x="383" y="765"/>
                    </a:lnTo>
                    <a:lnTo>
                      <a:pt x="383" y="765"/>
                    </a:lnTo>
                    <a:lnTo>
                      <a:pt x="385" y="765"/>
                    </a:lnTo>
                    <a:lnTo>
                      <a:pt x="389" y="765"/>
                    </a:lnTo>
                    <a:lnTo>
                      <a:pt x="394" y="761"/>
                    </a:lnTo>
                    <a:lnTo>
                      <a:pt x="406" y="756"/>
                    </a:lnTo>
                    <a:lnTo>
                      <a:pt x="406" y="754"/>
                    </a:lnTo>
                    <a:lnTo>
                      <a:pt x="406" y="754"/>
                    </a:lnTo>
                    <a:lnTo>
                      <a:pt x="406" y="752"/>
                    </a:lnTo>
                    <a:lnTo>
                      <a:pt x="406" y="752"/>
                    </a:lnTo>
                    <a:lnTo>
                      <a:pt x="406" y="750"/>
                    </a:lnTo>
                    <a:lnTo>
                      <a:pt x="406" y="750"/>
                    </a:lnTo>
                    <a:lnTo>
                      <a:pt x="408" y="748"/>
                    </a:lnTo>
                    <a:lnTo>
                      <a:pt x="409" y="746"/>
                    </a:lnTo>
                    <a:lnTo>
                      <a:pt x="411" y="744"/>
                    </a:lnTo>
                    <a:lnTo>
                      <a:pt x="413" y="742"/>
                    </a:lnTo>
                    <a:lnTo>
                      <a:pt x="415" y="742"/>
                    </a:lnTo>
                    <a:lnTo>
                      <a:pt x="417" y="742"/>
                    </a:lnTo>
                    <a:lnTo>
                      <a:pt x="417" y="740"/>
                    </a:lnTo>
                    <a:lnTo>
                      <a:pt x="417" y="740"/>
                    </a:lnTo>
                    <a:lnTo>
                      <a:pt x="417" y="738"/>
                    </a:lnTo>
                    <a:lnTo>
                      <a:pt x="417" y="738"/>
                    </a:lnTo>
                    <a:lnTo>
                      <a:pt x="415" y="738"/>
                    </a:lnTo>
                    <a:lnTo>
                      <a:pt x="415" y="737"/>
                    </a:lnTo>
                    <a:lnTo>
                      <a:pt x="415" y="737"/>
                    </a:lnTo>
                    <a:lnTo>
                      <a:pt x="413" y="735"/>
                    </a:lnTo>
                    <a:lnTo>
                      <a:pt x="415" y="735"/>
                    </a:lnTo>
                    <a:lnTo>
                      <a:pt x="415" y="735"/>
                    </a:lnTo>
                    <a:lnTo>
                      <a:pt x="415" y="735"/>
                    </a:lnTo>
                    <a:lnTo>
                      <a:pt x="417" y="735"/>
                    </a:lnTo>
                    <a:lnTo>
                      <a:pt x="419" y="737"/>
                    </a:lnTo>
                    <a:lnTo>
                      <a:pt x="421" y="737"/>
                    </a:lnTo>
                    <a:lnTo>
                      <a:pt x="425" y="737"/>
                    </a:lnTo>
                    <a:lnTo>
                      <a:pt x="425" y="737"/>
                    </a:lnTo>
                    <a:lnTo>
                      <a:pt x="425" y="738"/>
                    </a:lnTo>
                    <a:lnTo>
                      <a:pt x="425" y="738"/>
                    </a:lnTo>
                    <a:lnTo>
                      <a:pt x="425" y="740"/>
                    </a:lnTo>
                    <a:lnTo>
                      <a:pt x="423" y="740"/>
                    </a:lnTo>
                    <a:lnTo>
                      <a:pt x="423" y="742"/>
                    </a:lnTo>
                    <a:lnTo>
                      <a:pt x="423" y="742"/>
                    </a:lnTo>
                    <a:lnTo>
                      <a:pt x="423" y="742"/>
                    </a:lnTo>
                    <a:lnTo>
                      <a:pt x="423" y="744"/>
                    </a:lnTo>
                    <a:lnTo>
                      <a:pt x="425" y="744"/>
                    </a:lnTo>
                    <a:lnTo>
                      <a:pt x="429" y="744"/>
                    </a:lnTo>
                    <a:lnTo>
                      <a:pt x="430" y="744"/>
                    </a:lnTo>
                    <a:lnTo>
                      <a:pt x="436" y="744"/>
                    </a:lnTo>
                    <a:lnTo>
                      <a:pt x="438" y="744"/>
                    </a:lnTo>
                    <a:lnTo>
                      <a:pt x="444" y="742"/>
                    </a:lnTo>
                    <a:lnTo>
                      <a:pt x="444" y="742"/>
                    </a:lnTo>
                    <a:lnTo>
                      <a:pt x="444" y="742"/>
                    </a:lnTo>
                    <a:lnTo>
                      <a:pt x="444" y="742"/>
                    </a:lnTo>
                    <a:lnTo>
                      <a:pt x="442" y="742"/>
                    </a:lnTo>
                    <a:lnTo>
                      <a:pt x="442" y="742"/>
                    </a:lnTo>
                    <a:lnTo>
                      <a:pt x="440" y="740"/>
                    </a:lnTo>
                    <a:lnTo>
                      <a:pt x="440" y="740"/>
                    </a:lnTo>
                    <a:lnTo>
                      <a:pt x="438" y="740"/>
                    </a:lnTo>
                    <a:lnTo>
                      <a:pt x="432" y="740"/>
                    </a:lnTo>
                    <a:lnTo>
                      <a:pt x="430" y="738"/>
                    </a:lnTo>
                    <a:lnTo>
                      <a:pt x="427" y="738"/>
                    </a:lnTo>
                    <a:lnTo>
                      <a:pt x="425" y="738"/>
                    </a:lnTo>
                    <a:lnTo>
                      <a:pt x="425" y="737"/>
                    </a:lnTo>
                    <a:lnTo>
                      <a:pt x="423" y="733"/>
                    </a:lnTo>
                    <a:lnTo>
                      <a:pt x="419" y="729"/>
                    </a:lnTo>
                    <a:lnTo>
                      <a:pt x="417" y="727"/>
                    </a:lnTo>
                    <a:lnTo>
                      <a:pt x="417" y="723"/>
                    </a:lnTo>
                    <a:lnTo>
                      <a:pt x="421" y="719"/>
                    </a:lnTo>
                    <a:lnTo>
                      <a:pt x="423" y="718"/>
                    </a:lnTo>
                    <a:lnTo>
                      <a:pt x="423" y="716"/>
                    </a:lnTo>
                    <a:lnTo>
                      <a:pt x="423" y="714"/>
                    </a:lnTo>
                    <a:lnTo>
                      <a:pt x="423" y="714"/>
                    </a:lnTo>
                    <a:lnTo>
                      <a:pt x="425" y="716"/>
                    </a:lnTo>
                    <a:lnTo>
                      <a:pt x="425" y="716"/>
                    </a:lnTo>
                    <a:lnTo>
                      <a:pt x="427" y="718"/>
                    </a:lnTo>
                    <a:lnTo>
                      <a:pt x="425" y="721"/>
                    </a:lnTo>
                    <a:lnTo>
                      <a:pt x="427" y="721"/>
                    </a:lnTo>
                    <a:lnTo>
                      <a:pt x="429" y="723"/>
                    </a:lnTo>
                    <a:lnTo>
                      <a:pt x="429" y="719"/>
                    </a:lnTo>
                    <a:lnTo>
                      <a:pt x="429" y="708"/>
                    </a:lnTo>
                    <a:lnTo>
                      <a:pt x="430" y="710"/>
                    </a:lnTo>
                    <a:lnTo>
                      <a:pt x="434" y="716"/>
                    </a:lnTo>
                    <a:lnTo>
                      <a:pt x="436" y="719"/>
                    </a:lnTo>
                    <a:lnTo>
                      <a:pt x="442" y="727"/>
                    </a:lnTo>
                    <a:lnTo>
                      <a:pt x="446" y="737"/>
                    </a:lnTo>
                    <a:lnTo>
                      <a:pt x="446" y="737"/>
                    </a:lnTo>
                    <a:lnTo>
                      <a:pt x="446" y="735"/>
                    </a:lnTo>
                    <a:lnTo>
                      <a:pt x="448" y="735"/>
                    </a:lnTo>
                    <a:lnTo>
                      <a:pt x="448" y="735"/>
                    </a:lnTo>
                    <a:lnTo>
                      <a:pt x="444" y="727"/>
                    </a:lnTo>
                    <a:lnTo>
                      <a:pt x="440" y="718"/>
                    </a:lnTo>
                    <a:lnTo>
                      <a:pt x="440" y="716"/>
                    </a:lnTo>
                    <a:lnTo>
                      <a:pt x="438" y="714"/>
                    </a:lnTo>
                    <a:lnTo>
                      <a:pt x="440" y="710"/>
                    </a:lnTo>
                    <a:lnTo>
                      <a:pt x="442" y="706"/>
                    </a:lnTo>
                    <a:lnTo>
                      <a:pt x="442" y="700"/>
                    </a:lnTo>
                    <a:lnTo>
                      <a:pt x="440" y="695"/>
                    </a:lnTo>
                    <a:lnTo>
                      <a:pt x="430" y="676"/>
                    </a:lnTo>
                    <a:lnTo>
                      <a:pt x="429" y="670"/>
                    </a:lnTo>
                    <a:lnTo>
                      <a:pt x="427" y="655"/>
                    </a:lnTo>
                    <a:lnTo>
                      <a:pt x="427" y="649"/>
                    </a:lnTo>
                    <a:lnTo>
                      <a:pt x="429" y="645"/>
                    </a:lnTo>
                    <a:lnTo>
                      <a:pt x="427" y="643"/>
                    </a:lnTo>
                    <a:lnTo>
                      <a:pt x="425" y="643"/>
                    </a:lnTo>
                    <a:lnTo>
                      <a:pt x="423" y="645"/>
                    </a:lnTo>
                    <a:lnTo>
                      <a:pt x="419" y="647"/>
                    </a:lnTo>
                    <a:lnTo>
                      <a:pt x="417" y="649"/>
                    </a:lnTo>
                    <a:lnTo>
                      <a:pt x="417" y="647"/>
                    </a:lnTo>
                    <a:lnTo>
                      <a:pt x="417" y="645"/>
                    </a:lnTo>
                    <a:lnTo>
                      <a:pt x="419" y="645"/>
                    </a:lnTo>
                    <a:lnTo>
                      <a:pt x="419" y="643"/>
                    </a:lnTo>
                    <a:lnTo>
                      <a:pt x="421" y="641"/>
                    </a:lnTo>
                    <a:lnTo>
                      <a:pt x="423" y="641"/>
                    </a:lnTo>
                    <a:lnTo>
                      <a:pt x="427" y="641"/>
                    </a:lnTo>
                    <a:lnTo>
                      <a:pt x="429" y="640"/>
                    </a:lnTo>
                    <a:lnTo>
                      <a:pt x="430" y="632"/>
                    </a:lnTo>
                    <a:lnTo>
                      <a:pt x="432" y="630"/>
                    </a:lnTo>
                    <a:lnTo>
                      <a:pt x="432" y="624"/>
                    </a:lnTo>
                    <a:lnTo>
                      <a:pt x="432" y="613"/>
                    </a:lnTo>
                    <a:lnTo>
                      <a:pt x="434" y="605"/>
                    </a:lnTo>
                    <a:lnTo>
                      <a:pt x="434" y="603"/>
                    </a:lnTo>
                    <a:lnTo>
                      <a:pt x="434" y="603"/>
                    </a:lnTo>
                    <a:lnTo>
                      <a:pt x="436" y="601"/>
                    </a:lnTo>
                    <a:lnTo>
                      <a:pt x="436" y="601"/>
                    </a:lnTo>
                    <a:lnTo>
                      <a:pt x="434" y="600"/>
                    </a:lnTo>
                    <a:lnTo>
                      <a:pt x="434" y="600"/>
                    </a:lnTo>
                    <a:lnTo>
                      <a:pt x="430" y="601"/>
                    </a:lnTo>
                    <a:lnTo>
                      <a:pt x="429" y="601"/>
                    </a:lnTo>
                    <a:lnTo>
                      <a:pt x="429" y="600"/>
                    </a:lnTo>
                    <a:lnTo>
                      <a:pt x="430" y="600"/>
                    </a:lnTo>
                    <a:lnTo>
                      <a:pt x="432" y="598"/>
                    </a:lnTo>
                    <a:lnTo>
                      <a:pt x="432" y="598"/>
                    </a:lnTo>
                    <a:lnTo>
                      <a:pt x="432" y="596"/>
                    </a:lnTo>
                    <a:lnTo>
                      <a:pt x="432" y="594"/>
                    </a:lnTo>
                    <a:lnTo>
                      <a:pt x="432" y="592"/>
                    </a:lnTo>
                    <a:lnTo>
                      <a:pt x="430" y="588"/>
                    </a:lnTo>
                    <a:lnTo>
                      <a:pt x="430" y="586"/>
                    </a:lnTo>
                    <a:lnTo>
                      <a:pt x="427" y="584"/>
                    </a:lnTo>
                    <a:lnTo>
                      <a:pt x="425" y="584"/>
                    </a:lnTo>
                    <a:lnTo>
                      <a:pt x="425" y="582"/>
                    </a:lnTo>
                    <a:lnTo>
                      <a:pt x="425" y="582"/>
                    </a:lnTo>
                    <a:lnTo>
                      <a:pt x="425" y="575"/>
                    </a:lnTo>
                    <a:lnTo>
                      <a:pt x="419" y="556"/>
                    </a:lnTo>
                    <a:lnTo>
                      <a:pt x="419" y="552"/>
                    </a:lnTo>
                    <a:lnTo>
                      <a:pt x="419" y="548"/>
                    </a:lnTo>
                    <a:lnTo>
                      <a:pt x="417" y="542"/>
                    </a:lnTo>
                    <a:lnTo>
                      <a:pt x="417" y="533"/>
                    </a:lnTo>
                    <a:lnTo>
                      <a:pt x="421" y="518"/>
                    </a:lnTo>
                    <a:lnTo>
                      <a:pt x="423" y="506"/>
                    </a:lnTo>
                    <a:lnTo>
                      <a:pt x="423" y="504"/>
                    </a:lnTo>
                    <a:lnTo>
                      <a:pt x="427" y="497"/>
                    </a:lnTo>
                    <a:lnTo>
                      <a:pt x="427" y="495"/>
                    </a:lnTo>
                    <a:lnTo>
                      <a:pt x="429" y="491"/>
                    </a:lnTo>
                    <a:lnTo>
                      <a:pt x="432" y="487"/>
                    </a:lnTo>
                    <a:lnTo>
                      <a:pt x="434" y="485"/>
                    </a:lnTo>
                    <a:lnTo>
                      <a:pt x="436" y="482"/>
                    </a:lnTo>
                    <a:lnTo>
                      <a:pt x="436" y="480"/>
                    </a:lnTo>
                    <a:lnTo>
                      <a:pt x="436" y="480"/>
                    </a:lnTo>
                    <a:lnTo>
                      <a:pt x="436" y="478"/>
                    </a:lnTo>
                    <a:lnTo>
                      <a:pt x="438" y="474"/>
                    </a:lnTo>
                    <a:lnTo>
                      <a:pt x="438" y="470"/>
                    </a:lnTo>
                    <a:lnTo>
                      <a:pt x="444" y="457"/>
                    </a:lnTo>
                    <a:lnTo>
                      <a:pt x="446" y="453"/>
                    </a:lnTo>
                    <a:lnTo>
                      <a:pt x="455" y="444"/>
                    </a:lnTo>
                    <a:lnTo>
                      <a:pt x="459" y="442"/>
                    </a:lnTo>
                    <a:lnTo>
                      <a:pt x="465" y="440"/>
                    </a:lnTo>
                    <a:lnTo>
                      <a:pt x="467" y="440"/>
                    </a:lnTo>
                    <a:lnTo>
                      <a:pt x="469" y="438"/>
                    </a:lnTo>
                    <a:lnTo>
                      <a:pt x="469" y="436"/>
                    </a:lnTo>
                    <a:lnTo>
                      <a:pt x="471" y="436"/>
                    </a:lnTo>
                    <a:lnTo>
                      <a:pt x="471" y="436"/>
                    </a:lnTo>
                    <a:lnTo>
                      <a:pt x="472" y="436"/>
                    </a:lnTo>
                    <a:lnTo>
                      <a:pt x="476" y="434"/>
                    </a:lnTo>
                    <a:lnTo>
                      <a:pt x="478" y="432"/>
                    </a:lnTo>
                    <a:lnTo>
                      <a:pt x="480" y="430"/>
                    </a:lnTo>
                    <a:lnTo>
                      <a:pt x="480" y="430"/>
                    </a:lnTo>
                    <a:lnTo>
                      <a:pt x="482" y="432"/>
                    </a:lnTo>
                    <a:lnTo>
                      <a:pt x="484" y="432"/>
                    </a:lnTo>
                    <a:lnTo>
                      <a:pt x="486" y="430"/>
                    </a:lnTo>
                    <a:lnTo>
                      <a:pt x="488" y="430"/>
                    </a:lnTo>
                    <a:lnTo>
                      <a:pt x="493" y="428"/>
                    </a:lnTo>
                    <a:lnTo>
                      <a:pt x="493" y="428"/>
                    </a:lnTo>
                    <a:lnTo>
                      <a:pt x="493" y="428"/>
                    </a:lnTo>
                    <a:lnTo>
                      <a:pt x="495" y="426"/>
                    </a:lnTo>
                    <a:lnTo>
                      <a:pt x="495" y="426"/>
                    </a:lnTo>
                    <a:lnTo>
                      <a:pt x="495" y="428"/>
                    </a:lnTo>
                    <a:lnTo>
                      <a:pt x="497" y="428"/>
                    </a:lnTo>
                    <a:lnTo>
                      <a:pt x="503" y="428"/>
                    </a:lnTo>
                    <a:lnTo>
                      <a:pt x="507" y="428"/>
                    </a:lnTo>
                    <a:lnTo>
                      <a:pt x="509" y="430"/>
                    </a:lnTo>
                    <a:lnTo>
                      <a:pt x="511" y="436"/>
                    </a:lnTo>
                    <a:lnTo>
                      <a:pt x="512" y="440"/>
                    </a:lnTo>
                    <a:lnTo>
                      <a:pt x="512" y="451"/>
                    </a:lnTo>
                    <a:lnTo>
                      <a:pt x="514" y="451"/>
                    </a:lnTo>
                    <a:lnTo>
                      <a:pt x="514" y="447"/>
                    </a:lnTo>
                    <a:lnTo>
                      <a:pt x="518" y="438"/>
                    </a:lnTo>
                    <a:lnTo>
                      <a:pt x="522" y="428"/>
                    </a:lnTo>
                    <a:lnTo>
                      <a:pt x="524" y="423"/>
                    </a:lnTo>
                    <a:lnTo>
                      <a:pt x="522" y="417"/>
                    </a:lnTo>
                    <a:lnTo>
                      <a:pt x="520" y="413"/>
                    </a:lnTo>
                    <a:lnTo>
                      <a:pt x="522" y="413"/>
                    </a:lnTo>
                    <a:lnTo>
                      <a:pt x="522" y="413"/>
                    </a:lnTo>
                    <a:lnTo>
                      <a:pt x="522" y="415"/>
                    </a:lnTo>
                    <a:lnTo>
                      <a:pt x="524" y="413"/>
                    </a:lnTo>
                    <a:lnTo>
                      <a:pt x="522" y="411"/>
                    </a:lnTo>
                    <a:lnTo>
                      <a:pt x="524" y="411"/>
                    </a:lnTo>
                    <a:lnTo>
                      <a:pt x="524" y="415"/>
                    </a:lnTo>
                    <a:lnTo>
                      <a:pt x="524" y="417"/>
                    </a:lnTo>
                    <a:lnTo>
                      <a:pt x="524" y="419"/>
                    </a:lnTo>
                    <a:lnTo>
                      <a:pt x="524" y="428"/>
                    </a:lnTo>
                    <a:lnTo>
                      <a:pt x="524" y="432"/>
                    </a:lnTo>
                    <a:lnTo>
                      <a:pt x="524" y="434"/>
                    </a:lnTo>
                    <a:lnTo>
                      <a:pt x="526" y="436"/>
                    </a:lnTo>
                    <a:lnTo>
                      <a:pt x="528" y="436"/>
                    </a:lnTo>
                    <a:lnTo>
                      <a:pt x="530" y="438"/>
                    </a:lnTo>
                    <a:lnTo>
                      <a:pt x="533" y="440"/>
                    </a:lnTo>
                    <a:lnTo>
                      <a:pt x="535" y="442"/>
                    </a:lnTo>
                    <a:lnTo>
                      <a:pt x="535" y="444"/>
                    </a:lnTo>
                    <a:lnTo>
                      <a:pt x="537" y="444"/>
                    </a:lnTo>
                    <a:lnTo>
                      <a:pt x="537" y="444"/>
                    </a:lnTo>
                    <a:lnTo>
                      <a:pt x="539" y="444"/>
                    </a:lnTo>
                    <a:lnTo>
                      <a:pt x="539" y="442"/>
                    </a:lnTo>
                    <a:lnTo>
                      <a:pt x="537" y="440"/>
                    </a:lnTo>
                    <a:lnTo>
                      <a:pt x="537" y="438"/>
                    </a:lnTo>
                    <a:lnTo>
                      <a:pt x="537" y="438"/>
                    </a:lnTo>
                    <a:lnTo>
                      <a:pt x="535" y="436"/>
                    </a:lnTo>
                    <a:lnTo>
                      <a:pt x="535" y="434"/>
                    </a:lnTo>
                    <a:lnTo>
                      <a:pt x="539" y="430"/>
                    </a:lnTo>
                    <a:lnTo>
                      <a:pt x="541" y="428"/>
                    </a:lnTo>
                    <a:lnTo>
                      <a:pt x="547" y="425"/>
                    </a:lnTo>
                    <a:lnTo>
                      <a:pt x="553" y="419"/>
                    </a:lnTo>
                    <a:lnTo>
                      <a:pt x="554" y="419"/>
                    </a:lnTo>
                    <a:lnTo>
                      <a:pt x="556" y="417"/>
                    </a:lnTo>
                    <a:lnTo>
                      <a:pt x="556" y="409"/>
                    </a:lnTo>
                    <a:lnTo>
                      <a:pt x="556" y="407"/>
                    </a:lnTo>
                    <a:lnTo>
                      <a:pt x="558" y="404"/>
                    </a:lnTo>
                    <a:lnTo>
                      <a:pt x="560" y="396"/>
                    </a:lnTo>
                    <a:lnTo>
                      <a:pt x="564" y="388"/>
                    </a:lnTo>
                    <a:lnTo>
                      <a:pt x="566" y="383"/>
                    </a:lnTo>
                    <a:lnTo>
                      <a:pt x="568" y="379"/>
                    </a:lnTo>
                    <a:lnTo>
                      <a:pt x="568" y="377"/>
                    </a:lnTo>
                    <a:lnTo>
                      <a:pt x="568" y="375"/>
                    </a:lnTo>
                    <a:lnTo>
                      <a:pt x="568" y="375"/>
                    </a:lnTo>
                    <a:lnTo>
                      <a:pt x="568" y="373"/>
                    </a:lnTo>
                    <a:lnTo>
                      <a:pt x="568" y="371"/>
                    </a:lnTo>
                    <a:lnTo>
                      <a:pt x="575" y="367"/>
                    </a:lnTo>
                    <a:lnTo>
                      <a:pt x="577" y="367"/>
                    </a:lnTo>
                    <a:lnTo>
                      <a:pt x="579" y="366"/>
                    </a:lnTo>
                    <a:lnTo>
                      <a:pt x="581" y="366"/>
                    </a:lnTo>
                    <a:lnTo>
                      <a:pt x="583" y="367"/>
                    </a:lnTo>
                    <a:lnTo>
                      <a:pt x="585" y="366"/>
                    </a:lnTo>
                    <a:lnTo>
                      <a:pt x="587" y="366"/>
                    </a:lnTo>
                    <a:lnTo>
                      <a:pt x="587" y="366"/>
                    </a:lnTo>
                    <a:lnTo>
                      <a:pt x="589" y="366"/>
                    </a:lnTo>
                    <a:lnTo>
                      <a:pt x="591" y="367"/>
                    </a:lnTo>
                    <a:lnTo>
                      <a:pt x="589" y="367"/>
                    </a:lnTo>
                    <a:lnTo>
                      <a:pt x="589" y="369"/>
                    </a:lnTo>
                    <a:lnTo>
                      <a:pt x="589" y="371"/>
                    </a:lnTo>
                    <a:lnTo>
                      <a:pt x="596" y="367"/>
                    </a:lnTo>
                    <a:lnTo>
                      <a:pt x="598" y="367"/>
                    </a:lnTo>
                    <a:lnTo>
                      <a:pt x="604" y="369"/>
                    </a:lnTo>
                    <a:lnTo>
                      <a:pt x="606" y="369"/>
                    </a:lnTo>
                    <a:lnTo>
                      <a:pt x="604" y="366"/>
                    </a:lnTo>
                    <a:lnTo>
                      <a:pt x="606" y="366"/>
                    </a:lnTo>
                    <a:lnTo>
                      <a:pt x="608" y="367"/>
                    </a:lnTo>
                    <a:lnTo>
                      <a:pt x="608" y="367"/>
                    </a:lnTo>
                    <a:lnTo>
                      <a:pt x="608" y="369"/>
                    </a:lnTo>
                    <a:lnTo>
                      <a:pt x="610" y="369"/>
                    </a:lnTo>
                    <a:lnTo>
                      <a:pt x="614" y="371"/>
                    </a:lnTo>
                    <a:lnTo>
                      <a:pt x="615" y="371"/>
                    </a:lnTo>
                    <a:lnTo>
                      <a:pt x="619" y="371"/>
                    </a:lnTo>
                    <a:lnTo>
                      <a:pt x="621" y="371"/>
                    </a:lnTo>
                    <a:lnTo>
                      <a:pt x="623" y="373"/>
                    </a:lnTo>
                    <a:lnTo>
                      <a:pt x="625" y="375"/>
                    </a:lnTo>
                    <a:lnTo>
                      <a:pt x="627" y="375"/>
                    </a:lnTo>
                    <a:lnTo>
                      <a:pt x="633" y="373"/>
                    </a:lnTo>
                    <a:lnTo>
                      <a:pt x="635" y="371"/>
                    </a:lnTo>
                    <a:lnTo>
                      <a:pt x="644" y="366"/>
                    </a:lnTo>
                    <a:lnTo>
                      <a:pt x="646" y="366"/>
                    </a:lnTo>
                    <a:lnTo>
                      <a:pt x="650" y="364"/>
                    </a:lnTo>
                    <a:lnTo>
                      <a:pt x="654" y="364"/>
                    </a:lnTo>
                    <a:lnTo>
                      <a:pt x="655" y="364"/>
                    </a:lnTo>
                    <a:lnTo>
                      <a:pt x="655" y="362"/>
                    </a:lnTo>
                    <a:lnTo>
                      <a:pt x="657" y="362"/>
                    </a:lnTo>
                    <a:lnTo>
                      <a:pt x="659" y="362"/>
                    </a:lnTo>
                    <a:lnTo>
                      <a:pt x="661" y="362"/>
                    </a:lnTo>
                    <a:lnTo>
                      <a:pt x="663" y="360"/>
                    </a:lnTo>
                    <a:lnTo>
                      <a:pt x="665" y="358"/>
                    </a:lnTo>
                    <a:lnTo>
                      <a:pt x="667" y="356"/>
                    </a:lnTo>
                    <a:lnTo>
                      <a:pt x="671" y="356"/>
                    </a:lnTo>
                    <a:lnTo>
                      <a:pt x="673" y="356"/>
                    </a:lnTo>
                    <a:lnTo>
                      <a:pt x="676" y="352"/>
                    </a:lnTo>
                    <a:lnTo>
                      <a:pt x="684" y="350"/>
                    </a:lnTo>
                    <a:lnTo>
                      <a:pt x="686" y="348"/>
                    </a:lnTo>
                    <a:lnTo>
                      <a:pt x="688" y="348"/>
                    </a:lnTo>
                    <a:lnTo>
                      <a:pt x="694" y="341"/>
                    </a:lnTo>
                    <a:lnTo>
                      <a:pt x="699" y="339"/>
                    </a:lnTo>
                    <a:lnTo>
                      <a:pt x="699" y="337"/>
                    </a:lnTo>
                    <a:lnTo>
                      <a:pt x="697" y="335"/>
                    </a:lnTo>
                    <a:lnTo>
                      <a:pt x="697" y="333"/>
                    </a:lnTo>
                    <a:lnTo>
                      <a:pt x="697" y="333"/>
                    </a:lnTo>
                    <a:lnTo>
                      <a:pt x="697" y="333"/>
                    </a:lnTo>
                    <a:lnTo>
                      <a:pt x="699" y="335"/>
                    </a:lnTo>
                    <a:lnTo>
                      <a:pt x="699" y="335"/>
                    </a:lnTo>
                    <a:lnTo>
                      <a:pt x="701" y="335"/>
                    </a:lnTo>
                    <a:lnTo>
                      <a:pt x="701" y="335"/>
                    </a:lnTo>
                    <a:lnTo>
                      <a:pt x="701" y="333"/>
                    </a:lnTo>
                    <a:lnTo>
                      <a:pt x="701" y="333"/>
                    </a:lnTo>
                    <a:lnTo>
                      <a:pt x="703" y="326"/>
                    </a:lnTo>
                    <a:lnTo>
                      <a:pt x="705" y="324"/>
                    </a:lnTo>
                    <a:lnTo>
                      <a:pt x="705" y="316"/>
                    </a:lnTo>
                    <a:lnTo>
                      <a:pt x="707" y="308"/>
                    </a:lnTo>
                    <a:lnTo>
                      <a:pt x="707" y="303"/>
                    </a:lnTo>
                    <a:lnTo>
                      <a:pt x="707" y="297"/>
                    </a:lnTo>
                    <a:lnTo>
                      <a:pt x="707" y="293"/>
                    </a:lnTo>
                    <a:lnTo>
                      <a:pt x="705" y="289"/>
                    </a:lnTo>
                    <a:lnTo>
                      <a:pt x="707" y="293"/>
                    </a:lnTo>
                    <a:lnTo>
                      <a:pt x="707" y="299"/>
                    </a:lnTo>
                    <a:lnTo>
                      <a:pt x="707" y="303"/>
                    </a:lnTo>
                    <a:lnTo>
                      <a:pt x="705" y="305"/>
                    </a:lnTo>
                    <a:lnTo>
                      <a:pt x="703" y="303"/>
                    </a:lnTo>
                    <a:lnTo>
                      <a:pt x="703" y="303"/>
                    </a:lnTo>
                    <a:lnTo>
                      <a:pt x="703" y="305"/>
                    </a:lnTo>
                    <a:lnTo>
                      <a:pt x="701" y="305"/>
                    </a:lnTo>
                    <a:lnTo>
                      <a:pt x="701" y="305"/>
                    </a:lnTo>
                    <a:lnTo>
                      <a:pt x="699" y="305"/>
                    </a:lnTo>
                    <a:lnTo>
                      <a:pt x="699" y="303"/>
                    </a:lnTo>
                    <a:lnTo>
                      <a:pt x="699" y="303"/>
                    </a:lnTo>
                    <a:lnTo>
                      <a:pt x="696" y="301"/>
                    </a:lnTo>
                    <a:lnTo>
                      <a:pt x="694" y="299"/>
                    </a:lnTo>
                    <a:lnTo>
                      <a:pt x="694" y="297"/>
                    </a:lnTo>
                    <a:lnTo>
                      <a:pt x="694" y="293"/>
                    </a:lnTo>
                    <a:lnTo>
                      <a:pt x="697" y="284"/>
                    </a:lnTo>
                    <a:lnTo>
                      <a:pt x="699" y="280"/>
                    </a:lnTo>
                    <a:lnTo>
                      <a:pt x="701" y="278"/>
                    </a:lnTo>
                    <a:lnTo>
                      <a:pt x="705" y="274"/>
                    </a:lnTo>
                    <a:lnTo>
                      <a:pt x="709" y="270"/>
                    </a:lnTo>
                    <a:lnTo>
                      <a:pt x="711" y="268"/>
                    </a:lnTo>
                    <a:lnTo>
                      <a:pt x="715" y="267"/>
                    </a:lnTo>
                    <a:lnTo>
                      <a:pt x="717" y="265"/>
                    </a:lnTo>
                    <a:lnTo>
                      <a:pt x="718" y="261"/>
                    </a:lnTo>
                    <a:lnTo>
                      <a:pt x="720" y="257"/>
                    </a:lnTo>
                    <a:lnTo>
                      <a:pt x="751" y="238"/>
                    </a:lnTo>
                    <a:lnTo>
                      <a:pt x="757" y="238"/>
                    </a:lnTo>
                    <a:lnTo>
                      <a:pt x="762" y="234"/>
                    </a:lnTo>
                    <a:lnTo>
                      <a:pt x="766" y="232"/>
                    </a:lnTo>
                    <a:lnTo>
                      <a:pt x="768" y="232"/>
                    </a:lnTo>
                    <a:lnTo>
                      <a:pt x="770" y="230"/>
                    </a:lnTo>
                    <a:lnTo>
                      <a:pt x="772" y="229"/>
                    </a:lnTo>
                    <a:lnTo>
                      <a:pt x="774" y="230"/>
                    </a:lnTo>
                    <a:lnTo>
                      <a:pt x="774" y="230"/>
                    </a:lnTo>
                    <a:lnTo>
                      <a:pt x="779" y="227"/>
                    </a:lnTo>
                    <a:lnTo>
                      <a:pt x="781" y="227"/>
                    </a:lnTo>
                    <a:lnTo>
                      <a:pt x="783" y="225"/>
                    </a:lnTo>
                    <a:lnTo>
                      <a:pt x="783" y="225"/>
                    </a:lnTo>
                    <a:lnTo>
                      <a:pt x="787" y="223"/>
                    </a:lnTo>
                    <a:lnTo>
                      <a:pt x="789" y="219"/>
                    </a:lnTo>
                    <a:lnTo>
                      <a:pt x="793" y="217"/>
                    </a:lnTo>
                    <a:lnTo>
                      <a:pt x="799" y="215"/>
                    </a:lnTo>
                    <a:lnTo>
                      <a:pt x="808" y="211"/>
                    </a:lnTo>
                    <a:lnTo>
                      <a:pt x="812" y="210"/>
                    </a:lnTo>
                    <a:lnTo>
                      <a:pt x="814" y="208"/>
                    </a:lnTo>
                    <a:lnTo>
                      <a:pt x="816" y="208"/>
                    </a:lnTo>
                    <a:lnTo>
                      <a:pt x="818" y="206"/>
                    </a:lnTo>
                    <a:lnTo>
                      <a:pt x="816" y="204"/>
                    </a:lnTo>
                    <a:lnTo>
                      <a:pt x="814" y="202"/>
                    </a:lnTo>
                    <a:lnTo>
                      <a:pt x="818" y="202"/>
                    </a:lnTo>
                    <a:lnTo>
                      <a:pt x="819" y="200"/>
                    </a:lnTo>
                    <a:lnTo>
                      <a:pt x="821" y="200"/>
                    </a:lnTo>
                    <a:lnTo>
                      <a:pt x="823" y="198"/>
                    </a:lnTo>
                    <a:lnTo>
                      <a:pt x="825" y="198"/>
                    </a:lnTo>
                    <a:lnTo>
                      <a:pt x="825" y="196"/>
                    </a:lnTo>
                    <a:lnTo>
                      <a:pt x="823" y="196"/>
                    </a:lnTo>
                    <a:lnTo>
                      <a:pt x="821" y="194"/>
                    </a:lnTo>
                    <a:lnTo>
                      <a:pt x="818" y="192"/>
                    </a:lnTo>
                    <a:lnTo>
                      <a:pt x="818" y="192"/>
                    </a:lnTo>
                    <a:lnTo>
                      <a:pt x="818" y="190"/>
                    </a:lnTo>
                    <a:lnTo>
                      <a:pt x="821" y="190"/>
                    </a:lnTo>
                    <a:lnTo>
                      <a:pt x="821" y="190"/>
                    </a:lnTo>
                    <a:lnTo>
                      <a:pt x="821" y="192"/>
                    </a:lnTo>
                    <a:lnTo>
                      <a:pt x="823" y="192"/>
                    </a:lnTo>
                    <a:lnTo>
                      <a:pt x="823" y="192"/>
                    </a:lnTo>
                    <a:lnTo>
                      <a:pt x="823" y="192"/>
                    </a:lnTo>
                    <a:lnTo>
                      <a:pt x="823" y="194"/>
                    </a:lnTo>
                    <a:lnTo>
                      <a:pt x="823" y="194"/>
                    </a:lnTo>
                    <a:lnTo>
                      <a:pt x="825" y="194"/>
                    </a:lnTo>
                    <a:lnTo>
                      <a:pt x="825" y="194"/>
                    </a:lnTo>
                    <a:lnTo>
                      <a:pt x="827" y="192"/>
                    </a:lnTo>
                    <a:lnTo>
                      <a:pt x="827" y="192"/>
                    </a:lnTo>
                    <a:lnTo>
                      <a:pt x="829" y="190"/>
                    </a:lnTo>
                    <a:lnTo>
                      <a:pt x="837" y="181"/>
                    </a:lnTo>
                    <a:lnTo>
                      <a:pt x="839" y="179"/>
                    </a:lnTo>
                    <a:lnTo>
                      <a:pt x="840" y="173"/>
                    </a:lnTo>
                    <a:lnTo>
                      <a:pt x="840" y="171"/>
                    </a:lnTo>
                    <a:lnTo>
                      <a:pt x="844" y="170"/>
                    </a:lnTo>
                    <a:lnTo>
                      <a:pt x="844" y="168"/>
                    </a:lnTo>
                    <a:lnTo>
                      <a:pt x="842" y="166"/>
                    </a:lnTo>
                    <a:lnTo>
                      <a:pt x="844" y="164"/>
                    </a:lnTo>
                    <a:lnTo>
                      <a:pt x="844" y="166"/>
                    </a:lnTo>
                    <a:lnTo>
                      <a:pt x="846" y="166"/>
                    </a:lnTo>
                    <a:lnTo>
                      <a:pt x="846" y="166"/>
                    </a:lnTo>
                    <a:lnTo>
                      <a:pt x="848" y="164"/>
                    </a:lnTo>
                    <a:lnTo>
                      <a:pt x="854" y="160"/>
                    </a:lnTo>
                    <a:lnTo>
                      <a:pt x="854" y="160"/>
                    </a:lnTo>
                    <a:lnTo>
                      <a:pt x="854" y="158"/>
                    </a:lnTo>
                    <a:lnTo>
                      <a:pt x="858" y="156"/>
                    </a:lnTo>
                    <a:lnTo>
                      <a:pt x="858" y="156"/>
                    </a:lnTo>
                    <a:lnTo>
                      <a:pt x="858" y="154"/>
                    </a:lnTo>
                    <a:lnTo>
                      <a:pt x="860" y="152"/>
                    </a:lnTo>
                    <a:lnTo>
                      <a:pt x="860" y="151"/>
                    </a:lnTo>
                    <a:lnTo>
                      <a:pt x="863" y="147"/>
                    </a:lnTo>
                    <a:lnTo>
                      <a:pt x="884" y="135"/>
                    </a:lnTo>
                    <a:lnTo>
                      <a:pt x="922" y="118"/>
                    </a:lnTo>
                    <a:lnTo>
                      <a:pt x="926" y="114"/>
                    </a:lnTo>
                    <a:lnTo>
                      <a:pt x="928" y="109"/>
                    </a:lnTo>
                    <a:lnTo>
                      <a:pt x="928" y="109"/>
                    </a:lnTo>
                    <a:lnTo>
                      <a:pt x="930" y="107"/>
                    </a:lnTo>
                    <a:lnTo>
                      <a:pt x="930" y="105"/>
                    </a:lnTo>
                    <a:lnTo>
                      <a:pt x="930" y="103"/>
                    </a:lnTo>
                    <a:lnTo>
                      <a:pt x="932" y="103"/>
                    </a:lnTo>
                    <a:lnTo>
                      <a:pt x="934" y="101"/>
                    </a:lnTo>
                    <a:lnTo>
                      <a:pt x="936" y="97"/>
                    </a:lnTo>
                    <a:lnTo>
                      <a:pt x="942" y="93"/>
                    </a:lnTo>
                    <a:lnTo>
                      <a:pt x="943" y="92"/>
                    </a:lnTo>
                    <a:lnTo>
                      <a:pt x="949" y="86"/>
                    </a:lnTo>
                    <a:lnTo>
                      <a:pt x="955" y="82"/>
                    </a:lnTo>
                    <a:lnTo>
                      <a:pt x="957" y="80"/>
                    </a:lnTo>
                    <a:lnTo>
                      <a:pt x="953" y="82"/>
                    </a:lnTo>
                    <a:lnTo>
                      <a:pt x="949" y="86"/>
                    </a:lnTo>
                    <a:lnTo>
                      <a:pt x="947" y="88"/>
                    </a:lnTo>
                    <a:lnTo>
                      <a:pt x="943" y="88"/>
                    </a:lnTo>
                    <a:lnTo>
                      <a:pt x="942" y="86"/>
                    </a:lnTo>
                    <a:lnTo>
                      <a:pt x="943" y="84"/>
                    </a:lnTo>
                    <a:lnTo>
                      <a:pt x="943" y="84"/>
                    </a:lnTo>
                    <a:lnTo>
                      <a:pt x="947" y="84"/>
                    </a:lnTo>
                    <a:lnTo>
                      <a:pt x="947" y="84"/>
                    </a:lnTo>
                    <a:lnTo>
                      <a:pt x="949" y="84"/>
                    </a:lnTo>
                    <a:lnTo>
                      <a:pt x="951" y="82"/>
                    </a:lnTo>
                    <a:lnTo>
                      <a:pt x="951" y="80"/>
                    </a:lnTo>
                    <a:lnTo>
                      <a:pt x="955" y="80"/>
                    </a:lnTo>
                    <a:lnTo>
                      <a:pt x="957" y="78"/>
                    </a:lnTo>
                    <a:lnTo>
                      <a:pt x="959" y="74"/>
                    </a:lnTo>
                    <a:lnTo>
                      <a:pt x="966" y="69"/>
                    </a:lnTo>
                    <a:lnTo>
                      <a:pt x="966" y="69"/>
                    </a:lnTo>
                    <a:lnTo>
                      <a:pt x="966" y="65"/>
                    </a:lnTo>
                    <a:lnTo>
                      <a:pt x="968" y="63"/>
                    </a:lnTo>
                    <a:lnTo>
                      <a:pt x="980" y="52"/>
                    </a:lnTo>
                    <a:lnTo>
                      <a:pt x="982" y="48"/>
                    </a:lnTo>
                    <a:lnTo>
                      <a:pt x="991" y="33"/>
                    </a:lnTo>
                    <a:lnTo>
                      <a:pt x="995" y="31"/>
                    </a:lnTo>
                    <a:lnTo>
                      <a:pt x="997" y="29"/>
                    </a:lnTo>
                    <a:lnTo>
                      <a:pt x="1001" y="25"/>
                    </a:lnTo>
                    <a:lnTo>
                      <a:pt x="1004" y="17"/>
                    </a:lnTo>
                    <a:lnTo>
                      <a:pt x="1006" y="14"/>
                    </a:lnTo>
                    <a:lnTo>
                      <a:pt x="1010" y="10"/>
                    </a:lnTo>
                    <a:lnTo>
                      <a:pt x="1010" y="8"/>
                    </a:lnTo>
                    <a:lnTo>
                      <a:pt x="1010" y="8"/>
                    </a:lnTo>
                    <a:close/>
                    <a:moveTo>
                      <a:pt x="694" y="322"/>
                    </a:moveTo>
                    <a:lnTo>
                      <a:pt x="696" y="320"/>
                    </a:lnTo>
                    <a:lnTo>
                      <a:pt x="697" y="320"/>
                    </a:lnTo>
                    <a:lnTo>
                      <a:pt x="697" y="318"/>
                    </a:lnTo>
                    <a:lnTo>
                      <a:pt x="697" y="318"/>
                    </a:lnTo>
                    <a:lnTo>
                      <a:pt x="699" y="318"/>
                    </a:lnTo>
                    <a:lnTo>
                      <a:pt x="699" y="318"/>
                    </a:lnTo>
                    <a:lnTo>
                      <a:pt x="699" y="320"/>
                    </a:lnTo>
                    <a:lnTo>
                      <a:pt x="699" y="322"/>
                    </a:lnTo>
                    <a:lnTo>
                      <a:pt x="699" y="322"/>
                    </a:lnTo>
                    <a:lnTo>
                      <a:pt x="697" y="322"/>
                    </a:lnTo>
                    <a:lnTo>
                      <a:pt x="696" y="322"/>
                    </a:lnTo>
                    <a:lnTo>
                      <a:pt x="696" y="322"/>
                    </a:lnTo>
                    <a:lnTo>
                      <a:pt x="696" y="324"/>
                    </a:lnTo>
                    <a:lnTo>
                      <a:pt x="697" y="324"/>
                    </a:lnTo>
                    <a:lnTo>
                      <a:pt x="696" y="324"/>
                    </a:lnTo>
                    <a:lnTo>
                      <a:pt x="694" y="326"/>
                    </a:lnTo>
                    <a:lnTo>
                      <a:pt x="694" y="324"/>
                    </a:lnTo>
                    <a:lnTo>
                      <a:pt x="690" y="324"/>
                    </a:lnTo>
                    <a:lnTo>
                      <a:pt x="686" y="322"/>
                    </a:lnTo>
                    <a:lnTo>
                      <a:pt x="686" y="322"/>
                    </a:lnTo>
                    <a:lnTo>
                      <a:pt x="684" y="322"/>
                    </a:lnTo>
                    <a:lnTo>
                      <a:pt x="684" y="320"/>
                    </a:lnTo>
                    <a:lnTo>
                      <a:pt x="684" y="320"/>
                    </a:lnTo>
                    <a:lnTo>
                      <a:pt x="686" y="320"/>
                    </a:lnTo>
                    <a:lnTo>
                      <a:pt x="686" y="318"/>
                    </a:lnTo>
                    <a:lnTo>
                      <a:pt x="688" y="318"/>
                    </a:lnTo>
                    <a:lnTo>
                      <a:pt x="688" y="318"/>
                    </a:lnTo>
                    <a:lnTo>
                      <a:pt x="690" y="316"/>
                    </a:lnTo>
                    <a:lnTo>
                      <a:pt x="688" y="320"/>
                    </a:lnTo>
                    <a:lnTo>
                      <a:pt x="688" y="320"/>
                    </a:lnTo>
                    <a:lnTo>
                      <a:pt x="690" y="322"/>
                    </a:lnTo>
                    <a:lnTo>
                      <a:pt x="694" y="322"/>
                    </a:lnTo>
                    <a:close/>
                    <a:moveTo>
                      <a:pt x="532" y="442"/>
                    </a:moveTo>
                    <a:lnTo>
                      <a:pt x="528" y="438"/>
                    </a:lnTo>
                    <a:lnTo>
                      <a:pt x="522" y="434"/>
                    </a:lnTo>
                    <a:lnTo>
                      <a:pt x="520" y="436"/>
                    </a:lnTo>
                    <a:lnTo>
                      <a:pt x="520" y="440"/>
                    </a:lnTo>
                    <a:lnTo>
                      <a:pt x="526" y="447"/>
                    </a:lnTo>
                    <a:lnTo>
                      <a:pt x="530" y="449"/>
                    </a:lnTo>
                    <a:lnTo>
                      <a:pt x="530" y="449"/>
                    </a:lnTo>
                    <a:lnTo>
                      <a:pt x="533" y="447"/>
                    </a:lnTo>
                    <a:lnTo>
                      <a:pt x="533" y="445"/>
                    </a:lnTo>
                    <a:lnTo>
                      <a:pt x="535" y="445"/>
                    </a:lnTo>
                    <a:lnTo>
                      <a:pt x="533" y="444"/>
                    </a:lnTo>
                    <a:lnTo>
                      <a:pt x="532" y="442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7" name="Freeform 39">
                <a:extLst>
                  <a:ext uri="{FF2B5EF4-FFF2-40B4-BE49-F238E27FC236}">
                    <a16:creationId xmlns:a16="http://schemas.microsoft.com/office/drawing/2014/main" id="{5C0830C0-8292-47A8-9A31-081724974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8332" y="3270724"/>
                <a:ext cx="1152525" cy="568325"/>
              </a:xfrm>
              <a:custGeom>
                <a:avLst/>
                <a:gdLst>
                  <a:gd name="T0" fmla="*/ 600 w 726"/>
                  <a:gd name="T1" fmla="*/ 15 h 358"/>
                  <a:gd name="T2" fmla="*/ 577 w 726"/>
                  <a:gd name="T3" fmla="*/ 34 h 358"/>
                  <a:gd name="T4" fmla="*/ 612 w 726"/>
                  <a:gd name="T5" fmla="*/ 55 h 358"/>
                  <a:gd name="T6" fmla="*/ 621 w 726"/>
                  <a:gd name="T7" fmla="*/ 72 h 358"/>
                  <a:gd name="T8" fmla="*/ 608 w 726"/>
                  <a:gd name="T9" fmla="*/ 122 h 358"/>
                  <a:gd name="T10" fmla="*/ 631 w 726"/>
                  <a:gd name="T11" fmla="*/ 109 h 358"/>
                  <a:gd name="T12" fmla="*/ 677 w 726"/>
                  <a:gd name="T13" fmla="*/ 148 h 358"/>
                  <a:gd name="T14" fmla="*/ 705 w 726"/>
                  <a:gd name="T15" fmla="*/ 150 h 358"/>
                  <a:gd name="T16" fmla="*/ 719 w 726"/>
                  <a:gd name="T17" fmla="*/ 177 h 358"/>
                  <a:gd name="T18" fmla="*/ 722 w 726"/>
                  <a:gd name="T19" fmla="*/ 204 h 358"/>
                  <a:gd name="T20" fmla="*/ 717 w 726"/>
                  <a:gd name="T21" fmla="*/ 209 h 358"/>
                  <a:gd name="T22" fmla="*/ 703 w 726"/>
                  <a:gd name="T23" fmla="*/ 215 h 358"/>
                  <a:gd name="T24" fmla="*/ 690 w 726"/>
                  <a:gd name="T25" fmla="*/ 226 h 358"/>
                  <a:gd name="T26" fmla="*/ 684 w 726"/>
                  <a:gd name="T27" fmla="*/ 230 h 358"/>
                  <a:gd name="T28" fmla="*/ 644 w 726"/>
                  <a:gd name="T29" fmla="*/ 202 h 358"/>
                  <a:gd name="T30" fmla="*/ 606 w 726"/>
                  <a:gd name="T31" fmla="*/ 171 h 358"/>
                  <a:gd name="T32" fmla="*/ 577 w 726"/>
                  <a:gd name="T33" fmla="*/ 164 h 358"/>
                  <a:gd name="T34" fmla="*/ 535 w 726"/>
                  <a:gd name="T35" fmla="*/ 158 h 358"/>
                  <a:gd name="T36" fmla="*/ 463 w 726"/>
                  <a:gd name="T37" fmla="*/ 196 h 358"/>
                  <a:gd name="T38" fmla="*/ 417 w 726"/>
                  <a:gd name="T39" fmla="*/ 230 h 358"/>
                  <a:gd name="T40" fmla="*/ 370 w 726"/>
                  <a:gd name="T41" fmla="*/ 251 h 358"/>
                  <a:gd name="T42" fmla="*/ 322 w 726"/>
                  <a:gd name="T43" fmla="*/ 272 h 358"/>
                  <a:gd name="T44" fmla="*/ 295 w 726"/>
                  <a:gd name="T45" fmla="*/ 297 h 358"/>
                  <a:gd name="T46" fmla="*/ 274 w 726"/>
                  <a:gd name="T47" fmla="*/ 333 h 358"/>
                  <a:gd name="T48" fmla="*/ 215 w 726"/>
                  <a:gd name="T49" fmla="*/ 350 h 358"/>
                  <a:gd name="T50" fmla="*/ 141 w 726"/>
                  <a:gd name="T51" fmla="*/ 346 h 358"/>
                  <a:gd name="T52" fmla="*/ 78 w 726"/>
                  <a:gd name="T53" fmla="*/ 356 h 358"/>
                  <a:gd name="T54" fmla="*/ 61 w 726"/>
                  <a:gd name="T55" fmla="*/ 337 h 358"/>
                  <a:gd name="T56" fmla="*/ 53 w 726"/>
                  <a:gd name="T57" fmla="*/ 312 h 358"/>
                  <a:gd name="T58" fmla="*/ 57 w 726"/>
                  <a:gd name="T59" fmla="*/ 303 h 358"/>
                  <a:gd name="T60" fmla="*/ 49 w 726"/>
                  <a:gd name="T61" fmla="*/ 270 h 358"/>
                  <a:gd name="T62" fmla="*/ 21 w 726"/>
                  <a:gd name="T63" fmla="*/ 276 h 358"/>
                  <a:gd name="T64" fmla="*/ 7 w 726"/>
                  <a:gd name="T65" fmla="*/ 266 h 358"/>
                  <a:gd name="T66" fmla="*/ 7 w 726"/>
                  <a:gd name="T67" fmla="*/ 228 h 358"/>
                  <a:gd name="T68" fmla="*/ 49 w 726"/>
                  <a:gd name="T69" fmla="*/ 234 h 358"/>
                  <a:gd name="T70" fmla="*/ 82 w 726"/>
                  <a:gd name="T71" fmla="*/ 223 h 358"/>
                  <a:gd name="T72" fmla="*/ 85 w 726"/>
                  <a:gd name="T73" fmla="*/ 217 h 358"/>
                  <a:gd name="T74" fmla="*/ 95 w 726"/>
                  <a:gd name="T75" fmla="*/ 221 h 358"/>
                  <a:gd name="T76" fmla="*/ 104 w 726"/>
                  <a:gd name="T77" fmla="*/ 219 h 358"/>
                  <a:gd name="T78" fmla="*/ 125 w 726"/>
                  <a:gd name="T79" fmla="*/ 209 h 358"/>
                  <a:gd name="T80" fmla="*/ 139 w 726"/>
                  <a:gd name="T81" fmla="*/ 196 h 358"/>
                  <a:gd name="T82" fmla="*/ 133 w 726"/>
                  <a:gd name="T83" fmla="*/ 185 h 358"/>
                  <a:gd name="T84" fmla="*/ 152 w 726"/>
                  <a:gd name="T85" fmla="*/ 169 h 358"/>
                  <a:gd name="T86" fmla="*/ 165 w 726"/>
                  <a:gd name="T87" fmla="*/ 162 h 358"/>
                  <a:gd name="T88" fmla="*/ 192 w 726"/>
                  <a:gd name="T89" fmla="*/ 139 h 358"/>
                  <a:gd name="T90" fmla="*/ 219 w 726"/>
                  <a:gd name="T91" fmla="*/ 109 h 358"/>
                  <a:gd name="T92" fmla="*/ 261 w 726"/>
                  <a:gd name="T93" fmla="*/ 97 h 358"/>
                  <a:gd name="T94" fmla="*/ 288 w 726"/>
                  <a:gd name="T95" fmla="*/ 84 h 358"/>
                  <a:gd name="T96" fmla="*/ 293 w 726"/>
                  <a:gd name="T97" fmla="*/ 80 h 358"/>
                  <a:gd name="T98" fmla="*/ 303 w 726"/>
                  <a:gd name="T99" fmla="*/ 74 h 358"/>
                  <a:gd name="T100" fmla="*/ 341 w 726"/>
                  <a:gd name="T101" fmla="*/ 55 h 358"/>
                  <a:gd name="T102" fmla="*/ 347 w 726"/>
                  <a:gd name="T103" fmla="*/ 31 h 358"/>
                  <a:gd name="T104" fmla="*/ 368 w 726"/>
                  <a:gd name="T105" fmla="*/ 21 h 358"/>
                  <a:gd name="T106" fmla="*/ 398 w 726"/>
                  <a:gd name="T107" fmla="*/ 19 h 358"/>
                  <a:gd name="T108" fmla="*/ 415 w 726"/>
                  <a:gd name="T109" fmla="*/ 29 h 358"/>
                  <a:gd name="T110" fmla="*/ 429 w 726"/>
                  <a:gd name="T111" fmla="*/ 31 h 358"/>
                  <a:gd name="T112" fmla="*/ 455 w 726"/>
                  <a:gd name="T113" fmla="*/ 40 h 358"/>
                  <a:gd name="T114" fmla="*/ 476 w 726"/>
                  <a:gd name="T115" fmla="*/ 32 h 358"/>
                  <a:gd name="T116" fmla="*/ 493 w 726"/>
                  <a:gd name="T117" fmla="*/ 34 h 358"/>
                  <a:gd name="T118" fmla="*/ 499 w 726"/>
                  <a:gd name="T119" fmla="*/ 19 h 358"/>
                  <a:gd name="T120" fmla="*/ 520 w 726"/>
                  <a:gd name="T121" fmla="*/ 21 h 358"/>
                  <a:gd name="T122" fmla="*/ 556 w 726"/>
                  <a:gd name="T123" fmla="*/ 0 h 358"/>
                  <a:gd name="T124" fmla="*/ 585 w 726"/>
                  <a:gd name="T125" fmla="*/ 17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6" h="358">
                    <a:moveTo>
                      <a:pt x="585" y="17"/>
                    </a:moveTo>
                    <a:lnTo>
                      <a:pt x="589" y="17"/>
                    </a:lnTo>
                    <a:lnTo>
                      <a:pt x="593" y="15"/>
                    </a:lnTo>
                    <a:lnTo>
                      <a:pt x="595" y="13"/>
                    </a:lnTo>
                    <a:lnTo>
                      <a:pt x="596" y="13"/>
                    </a:lnTo>
                    <a:lnTo>
                      <a:pt x="598" y="13"/>
                    </a:lnTo>
                    <a:lnTo>
                      <a:pt x="600" y="15"/>
                    </a:lnTo>
                    <a:lnTo>
                      <a:pt x="600" y="17"/>
                    </a:lnTo>
                    <a:lnTo>
                      <a:pt x="598" y="23"/>
                    </a:lnTo>
                    <a:lnTo>
                      <a:pt x="596" y="27"/>
                    </a:lnTo>
                    <a:lnTo>
                      <a:pt x="595" y="29"/>
                    </a:lnTo>
                    <a:lnTo>
                      <a:pt x="581" y="32"/>
                    </a:lnTo>
                    <a:lnTo>
                      <a:pt x="579" y="32"/>
                    </a:lnTo>
                    <a:lnTo>
                      <a:pt x="577" y="34"/>
                    </a:lnTo>
                    <a:lnTo>
                      <a:pt x="577" y="36"/>
                    </a:lnTo>
                    <a:lnTo>
                      <a:pt x="579" y="50"/>
                    </a:lnTo>
                    <a:lnTo>
                      <a:pt x="591" y="42"/>
                    </a:lnTo>
                    <a:lnTo>
                      <a:pt x="598" y="38"/>
                    </a:lnTo>
                    <a:lnTo>
                      <a:pt x="600" y="48"/>
                    </a:lnTo>
                    <a:lnTo>
                      <a:pt x="612" y="53"/>
                    </a:lnTo>
                    <a:lnTo>
                      <a:pt x="612" y="55"/>
                    </a:lnTo>
                    <a:lnTo>
                      <a:pt x="612" y="57"/>
                    </a:lnTo>
                    <a:lnTo>
                      <a:pt x="612" y="57"/>
                    </a:lnTo>
                    <a:lnTo>
                      <a:pt x="614" y="57"/>
                    </a:lnTo>
                    <a:lnTo>
                      <a:pt x="617" y="59"/>
                    </a:lnTo>
                    <a:lnTo>
                      <a:pt x="617" y="63"/>
                    </a:lnTo>
                    <a:lnTo>
                      <a:pt x="619" y="69"/>
                    </a:lnTo>
                    <a:lnTo>
                      <a:pt x="621" y="72"/>
                    </a:lnTo>
                    <a:lnTo>
                      <a:pt x="627" y="80"/>
                    </a:lnTo>
                    <a:lnTo>
                      <a:pt x="629" y="88"/>
                    </a:lnTo>
                    <a:lnTo>
                      <a:pt x="629" y="93"/>
                    </a:lnTo>
                    <a:lnTo>
                      <a:pt x="617" y="103"/>
                    </a:lnTo>
                    <a:lnTo>
                      <a:pt x="610" y="109"/>
                    </a:lnTo>
                    <a:lnTo>
                      <a:pt x="614" y="114"/>
                    </a:lnTo>
                    <a:lnTo>
                      <a:pt x="608" y="122"/>
                    </a:lnTo>
                    <a:lnTo>
                      <a:pt x="614" y="126"/>
                    </a:lnTo>
                    <a:lnTo>
                      <a:pt x="617" y="135"/>
                    </a:lnTo>
                    <a:lnTo>
                      <a:pt x="619" y="133"/>
                    </a:lnTo>
                    <a:lnTo>
                      <a:pt x="619" y="126"/>
                    </a:lnTo>
                    <a:lnTo>
                      <a:pt x="621" y="120"/>
                    </a:lnTo>
                    <a:lnTo>
                      <a:pt x="625" y="112"/>
                    </a:lnTo>
                    <a:lnTo>
                      <a:pt x="631" y="109"/>
                    </a:lnTo>
                    <a:lnTo>
                      <a:pt x="642" y="110"/>
                    </a:lnTo>
                    <a:lnTo>
                      <a:pt x="652" y="122"/>
                    </a:lnTo>
                    <a:lnTo>
                      <a:pt x="659" y="128"/>
                    </a:lnTo>
                    <a:lnTo>
                      <a:pt x="665" y="133"/>
                    </a:lnTo>
                    <a:lnTo>
                      <a:pt x="667" y="145"/>
                    </a:lnTo>
                    <a:lnTo>
                      <a:pt x="673" y="147"/>
                    </a:lnTo>
                    <a:lnTo>
                      <a:pt x="677" y="148"/>
                    </a:lnTo>
                    <a:lnTo>
                      <a:pt x="680" y="147"/>
                    </a:lnTo>
                    <a:lnTo>
                      <a:pt x="684" y="145"/>
                    </a:lnTo>
                    <a:lnTo>
                      <a:pt x="690" y="141"/>
                    </a:lnTo>
                    <a:lnTo>
                      <a:pt x="696" y="143"/>
                    </a:lnTo>
                    <a:lnTo>
                      <a:pt x="703" y="150"/>
                    </a:lnTo>
                    <a:lnTo>
                      <a:pt x="705" y="150"/>
                    </a:lnTo>
                    <a:lnTo>
                      <a:pt x="705" y="150"/>
                    </a:lnTo>
                    <a:lnTo>
                      <a:pt x="707" y="150"/>
                    </a:lnTo>
                    <a:lnTo>
                      <a:pt x="707" y="154"/>
                    </a:lnTo>
                    <a:lnTo>
                      <a:pt x="709" y="156"/>
                    </a:lnTo>
                    <a:lnTo>
                      <a:pt x="717" y="162"/>
                    </a:lnTo>
                    <a:lnTo>
                      <a:pt x="720" y="164"/>
                    </a:lnTo>
                    <a:lnTo>
                      <a:pt x="722" y="168"/>
                    </a:lnTo>
                    <a:lnTo>
                      <a:pt x="719" y="177"/>
                    </a:lnTo>
                    <a:lnTo>
                      <a:pt x="717" y="181"/>
                    </a:lnTo>
                    <a:lnTo>
                      <a:pt x="719" y="185"/>
                    </a:lnTo>
                    <a:lnTo>
                      <a:pt x="724" y="192"/>
                    </a:lnTo>
                    <a:lnTo>
                      <a:pt x="726" y="196"/>
                    </a:lnTo>
                    <a:lnTo>
                      <a:pt x="724" y="198"/>
                    </a:lnTo>
                    <a:lnTo>
                      <a:pt x="722" y="202"/>
                    </a:lnTo>
                    <a:lnTo>
                      <a:pt x="722" y="204"/>
                    </a:lnTo>
                    <a:lnTo>
                      <a:pt x="722" y="207"/>
                    </a:lnTo>
                    <a:lnTo>
                      <a:pt x="722" y="209"/>
                    </a:lnTo>
                    <a:lnTo>
                      <a:pt x="722" y="209"/>
                    </a:lnTo>
                    <a:lnTo>
                      <a:pt x="720" y="211"/>
                    </a:lnTo>
                    <a:lnTo>
                      <a:pt x="717" y="213"/>
                    </a:lnTo>
                    <a:lnTo>
                      <a:pt x="717" y="211"/>
                    </a:lnTo>
                    <a:lnTo>
                      <a:pt x="717" y="209"/>
                    </a:lnTo>
                    <a:lnTo>
                      <a:pt x="715" y="207"/>
                    </a:lnTo>
                    <a:lnTo>
                      <a:pt x="713" y="207"/>
                    </a:lnTo>
                    <a:lnTo>
                      <a:pt x="711" y="207"/>
                    </a:lnTo>
                    <a:lnTo>
                      <a:pt x="709" y="209"/>
                    </a:lnTo>
                    <a:lnTo>
                      <a:pt x="707" y="211"/>
                    </a:lnTo>
                    <a:lnTo>
                      <a:pt x="705" y="213"/>
                    </a:lnTo>
                    <a:lnTo>
                      <a:pt x="703" y="215"/>
                    </a:lnTo>
                    <a:lnTo>
                      <a:pt x="698" y="221"/>
                    </a:lnTo>
                    <a:lnTo>
                      <a:pt x="696" y="221"/>
                    </a:lnTo>
                    <a:lnTo>
                      <a:pt x="694" y="223"/>
                    </a:lnTo>
                    <a:lnTo>
                      <a:pt x="694" y="223"/>
                    </a:lnTo>
                    <a:lnTo>
                      <a:pt x="692" y="225"/>
                    </a:lnTo>
                    <a:lnTo>
                      <a:pt x="692" y="225"/>
                    </a:lnTo>
                    <a:lnTo>
                      <a:pt x="690" y="226"/>
                    </a:lnTo>
                    <a:lnTo>
                      <a:pt x="688" y="226"/>
                    </a:lnTo>
                    <a:lnTo>
                      <a:pt x="688" y="228"/>
                    </a:lnTo>
                    <a:lnTo>
                      <a:pt x="688" y="230"/>
                    </a:lnTo>
                    <a:lnTo>
                      <a:pt x="688" y="230"/>
                    </a:lnTo>
                    <a:lnTo>
                      <a:pt x="686" y="230"/>
                    </a:lnTo>
                    <a:lnTo>
                      <a:pt x="684" y="232"/>
                    </a:lnTo>
                    <a:lnTo>
                      <a:pt x="684" y="230"/>
                    </a:lnTo>
                    <a:lnTo>
                      <a:pt x="684" y="225"/>
                    </a:lnTo>
                    <a:lnTo>
                      <a:pt x="675" y="221"/>
                    </a:lnTo>
                    <a:lnTo>
                      <a:pt x="675" y="217"/>
                    </a:lnTo>
                    <a:lnTo>
                      <a:pt x="663" y="211"/>
                    </a:lnTo>
                    <a:lnTo>
                      <a:pt x="654" y="209"/>
                    </a:lnTo>
                    <a:lnTo>
                      <a:pt x="650" y="204"/>
                    </a:lnTo>
                    <a:lnTo>
                      <a:pt x="644" y="202"/>
                    </a:lnTo>
                    <a:lnTo>
                      <a:pt x="637" y="202"/>
                    </a:lnTo>
                    <a:lnTo>
                      <a:pt x="633" y="196"/>
                    </a:lnTo>
                    <a:lnTo>
                      <a:pt x="627" y="188"/>
                    </a:lnTo>
                    <a:lnTo>
                      <a:pt x="621" y="187"/>
                    </a:lnTo>
                    <a:lnTo>
                      <a:pt x="617" y="183"/>
                    </a:lnTo>
                    <a:lnTo>
                      <a:pt x="610" y="175"/>
                    </a:lnTo>
                    <a:lnTo>
                      <a:pt x="606" y="171"/>
                    </a:lnTo>
                    <a:lnTo>
                      <a:pt x="602" y="173"/>
                    </a:lnTo>
                    <a:lnTo>
                      <a:pt x="600" y="177"/>
                    </a:lnTo>
                    <a:lnTo>
                      <a:pt x="596" y="179"/>
                    </a:lnTo>
                    <a:lnTo>
                      <a:pt x="589" y="175"/>
                    </a:lnTo>
                    <a:lnTo>
                      <a:pt x="587" y="168"/>
                    </a:lnTo>
                    <a:lnTo>
                      <a:pt x="583" y="166"/>
                    </a:lnTo>
                    <a:lnTo>
                      <a:pt x="577" y="164"/>
                    </a:lnTo>
                    <a:lnTo>
                      <a:pt x="572" y="168"/>
                    </a:lnTo>
                    <a:lnTo>
                      <a:pt x="562" y="168"/>
                    </a:lnTo>
                    <a:lnTo>
                      <a:pt x="553" y="171"/>
                    </a:lnTo>
                    <a:lnTo>
                      <a:pt x="547" y="169"/>
                    </a:lnTo>
                    <a:lnTo>
                      <a:pt x="539" y="164"/>
                    </a:lnTo>
                    <a:lnTo>
                      <a:pt x="537" y="160"/>
                    </a:lnTo>
                    <a:lnTo>
                      <a:pt x="535" y="158"/>
                    </a:lnTo>
                    <a:lnTo>
                      <a:pt x="528" y="158"/>
                    </a:lnTo>
                    <a:lnTo>
                      <a:pt x="511" y="166"/>
                    </a:lnTo>
                    <a:lnTo>
                      <a:pt x="490" y="175"/>
                    </a:lnTo>
                    <a:lnTo>
                      <a:pt x="476" y="179"/>
                    </a:lnTo>
                    <a:lnTo>
                      <a:pt x="465" y="185"/>
                    </a:lnTo>
                    <a:lnTo>
                      <a:pt x="463" y="190"/>
                    </a:lnTo>
                    <a:lnTo>
                      <a:pt x="463" y="196"/>
                    </a:lnTo>
                    <a:lnTo>
                      <a:pt x="461" y="204"/>
                    </a:lnTo>
                    <a:lnTo>
                      <a:pt x="459" y="207"/>
                    </a:lnTo>
                    <a:lnTo>
                      <a:pt x="448" y="213"/>
                    </a:lnTo>
                    <a:lnTo>
                      <a:pt x="440" y="219"/>
                    </a:lnTo>
                    <a:lnTo>
                      <a:pt x="431" y="223"/>
                    </a:lnTo>
                    <a:lnTo>
                      <a:pt x="423" y="226"/>
                    </a:lnTo>
                    <a:lnTo>
                      <a:pt x="417" y="230"/>
                    </a:lnTo>
                    <a:lnTo>
                      <a:pt x="415" y="232"/>
                    </a:lnTo>
                    <a:lnTo>
                      <a:pt x="408" y="236"/>
                    </a:lnTo>
                    <a:lnTo>
                      <a:pt x="402" y="238"/>
                    </a:lnTo>
                    <a:lnTo>
                      <a:pt x="402" y="238"/>
                    </a:lnTo>
                    <a:lnTo>
                      <a:pt x="391" y="244"/>
                    </a:lnTo>
                    <a:lnTo>
                      <a:pt x="375" y="249"/>
                    </a:lnTo>
                    <a:lnTo>
                      <a:pt x="370" y="251"/>
                    </a:lnTo>
                    <a:lnTo>
                      <a:pt x="364" y="253"/>
                    </a:lnTo>
                    <a:lnTo>
                      <a:pt x="356" y="253"/>
                    </a:lnTo>
                    <a:lnTo>
                      <a:pt x="345" y="257"/>
                    </a:lnTo>
                    <a:lnTo>
                      <a:pt x="335" y="259"/>
                    </a:lnTo>
                    <a:lnTo>
                      <a:pt x="335" y="259"/>
                    </a:lnTo>
                    <a:lnTo>
                      <a:pt x="329" y="259"/>
                    </a:lnTo>
                    <a:lnTo>
                      <a:pt x="322" y="272"/>
                    </a:lnTo>
                    <a:lnTo>
                      <a:pt x="318" y="276"/>
                    </a:lnTo>
                    <a:lnTo>
                      <a:pt x="316" y="280"/>
                    </a:lnTo>
                    <a:lnTo>
                      <a:pt x="309" y="285"/>
                    </a:lnTo>
                    <a:lnTo>
                      <a:pt x="303" y="289"/>
                    </a:lnTo>
                    <a:lnTo>
                      <a:pt x="301" y="289"/>
                    </a:lnTo>
                    <a:lnTo>
                      <a:pt x="299" y="293"/>
                    </a:lnTo>
                    <a:lnTo>
                      <a:pt x="295" y="297"/>
                    </a:lnTo>
                    <a:lnTo>
                      <a:pt x="291" y="303"/>
                    </a:lnTo>
                    <a:lnTo>
                      <a:pt x="286" y="308"/>
                    </a:lnTo>
                    <a:lnTo>
                      <a:pt x="284" y="308"/>
                    </a:lnTo>
                    <a:lnTo>
                      <a:pt x="280" y="312"/>
                    </a:lnTo>
                    <a:lnTo>
                      <a:pt x="276" y="320"/>
                    </a:lnTo>
                    <a:lnTo>
                      <a:pt x="276" y="327"/>
                    </a:lnTo>
                    <a:lnTo>
                      <a:pt x="274" y="333"/>
                    </a:lnTo>
                    <a:lnTo>
                      <a:pt x="268" y="339"/>
                    </a:lnTo>
                    <a:lnTo>
                      <a:pt x="261" y="341"/>
                    </a:lnTo>
                    <a:lnTo>
                      <a:pt x="253" y="346"/>
                    </a:lnTo>
                    <a:lnTo>
                      <a:pt x="244" y="346"/>
                    </a:lnTo>
                    <a:lnTo>
                      <a:pt x="232" y="348"/>
                    </a:lnTo>
                    <a:lnTo>
                      <a:pt x="225" y="352"/>
                    </a:lnTo>
                    <a:lnTo>
                      <a:pt x="215" y="350"/>
                    </a:lnTo>
                    <a:lnTo>
                      <a:pt x="204" y="354"/>
                    </a:lnTo>
                    <a:lnTo>
                      <a:pt x="192" y="356"/>
                    </a:lnTo>
                    <a:lnTo>
                      <a:pt x="173" y="354"/>
                    </a:lnTo>
                    <a:lnTo>
                      <a:pt x="165" y="352"/>
                    </a:lnTo>
                    <a:lnTo>
                      <a:pt x="158" y="352"/>
                    </a:lnTo>
                    <a:lnTo>
                      <a:pt x="150" y="352"/>
                    </a:lnTo>
                    <a:lnTo>
                      <a:pt x="141" y="346"/>
                    </a:lnTo>
                    <a:lnTo>
                      <a:pt x="133" y="341"/>
                    </a:lnTo>
                    <a:lnTo>
                      <a:pt x="125" y="341"/>
                    </a:lnTo>
                    <a:lnTo>
                      <a:pt x="118" y="344"/>
                    </a:lnTo>
                    <a:lnTo>
                      <a:pt x="110" y="350"/>
                    </a:lnTo>
                    <a:lnTo>
                      <a:pt x="101" y="352"/>
                    </a:lnTo>
                    <a:lnTo>
                      <a:pt x="85" y="354"/>
                    </a:lnTo>
                    <a:lnTo>
                      <a:pt x="78" y="356"/>
                    </a:lnTo>
                    <a:lnTo>
                      <a:pt x="70" y="358"/>
                    </a:lnTo>
                    <a:lnTo>
                      <a:pt x="57" y="356"/>
                    </a:lnTo>
                    <a:lnTo>
                      <a:pt x="63" y="352"/>
                    </a:lnTo>
                    <a:lnTo>
                      <a:pt x="63" y="346"/>
                    </a:lnTo>
                    <a:lnTo>
                      <a:pt x="64" y="344"/>
                    </a:lnTo>
                    <a:lnTo>
                      <a:pt x="61" y="337"/>
                    </a:lnTo>
                    <a:lnTo>
                      <a:pt x="61" y="337"/>
                    </a:lnTo>
                    <a:lnTo>
                      <a:pt x="59" y="333"/>
                    </a:lnTo>
                    <a:lnTo>
                      <a:pt x="53" y="325"/>
                    </a:lnTo>
                    <a:lnTo>
                      <a:pt x="51" y="322"/>
                    </a:lnTo>
                    <a:lnTo>
                      <a:pt x="51" y="320"/>
                    </a:lnTo>
                    <a:lnTo>
                      <a:pt x="51" y="316"/>
                    </a:lnTo>
                    <a:lnTo>
                      <a:pt x="53" y="314"/>
                    </a:lnTo>
                    <a:lnTo>
                      <a:pt x="53" y="312"/>
                    </a:lnTo>
                    <a:lnTo>
                      <a:pt x="53" y="312"/>
                    </a:lnTo>
                    <a:lnTo>
                      <a:pt x="55" y="310"/>
                    </a:lnTo>
                    <a:lnTo>
                      <a:pt x="55" y="308"/>
                    </a:lnTo>
                    <a:lnTo>
                      <a:pt x="57" y="308"/>
                    </a:lnTo>
                    <a:lnTo>
                      <a:pt x="57" y="306"/>
                    </a:lnTo>
                    <a:lnTo>
                      <a:pt x="57" y="305"/>
                    </a:lnTo>
                    <a:lnTo>
                      <a:pt x="57" y="303"/>
                    </a:lnTo>
                    <a:lnTo>
                      <a:pt x="59" y="301"/>
                    </a:lnTo>
                    <a:lnTo>
                      <a:pt x="63" y="297"/>
                    </a:lnTo>
                    <a:lnTo>
                      <a:pt x="64" y="295"/>
                    </a:lnTo>
                    <a:lnTo>
                      <a:pt x="64" y="293"/>
                    </a:lnTo>
                    <a:lnTo>
                      <a:pt x="53" y="272"/>
                    </a:lnTo>
                    <a:lnTo>
                      <a:pt x="49" y="270"/>
                    </a:lnTo>
                    <a:lnTo>
                      <a:pt x="49" y="270"/>
                    </a:lnTo>
                    <a:lnTo>
                      <a:pt x="45" y="272"/>
                    </a:lnTo>
                    <a:lnTo>
                      <a:pt x="43" y="274"/>
                    </a:lnTo>
                    <a:lnTo>
                      <a:pt x="38" y="274"/>
                    </a:lnTo>
                    <a:lnTo>
                      <a:pt x="36" y="274"/>
                    </a:lnTo>
                    <a:lnTo>
                      <a:pt x="26" y="278"/>
                    </a:lnTo>
                    <a:lnTo>
                      <a:pt x="22" y="278"/>
                    </a:lnTo>
                    <a:lnTo>
                      <a:pt x="21" y="276"/>
                    </a:lnTo>
                    <a:lnTo>
                      <a:pt x="21" y="274"/>
                    </a:lnTo>
                    <a:lnTo>
                      <a:pt x="19" y="272"/>
                    </a:lnTo>
                    <a:lnTo>
                      <a:pt x="19" y="272"/>
                    </a:lnTo>
                    <a:lnTo>
                      <a:pt x="17" y="270"/>
                    </a:lnTo>
                    <a:lnTo>
                      <a:pt x="13" y="270"/>
                    </a:lnTo>
                    <a:lnTo>
                      <a:pt x="9" y="268"/>
                    </a:lnTo>
                    <a:lnTo>
                      <a:pt x="7" y="266"/>
                    </a:lnTo>
                    <a:lnTo>
                      <a:pt x="7" y="265"/>
                    </a:lnTo>
                    <a:lnTo>
                      <a:pt x="3" y="261"/>
                    </a:lnTo>
                    <a:lnTo>
                      <a:pt x="1" y="259"/>
                    </a:lnTo>
                    <a:lnTo>
                      <a:pt x="0" y="249"/>
                    </a:lnTo>
                    <a:lnTo>
                      <a:pt x="0" y="244"/>
                    </a:lnTo>
                    <a:lnTo>
                      <a:pt x="5" y="236"/>
                    </a:lnTo>
                    <a:lnTo>
                      <a:pt x="7" y="228"/>
                    </a:lnTo>
                    <a:lnTo>
                      <a:pt x="24" y="228"/>
                    </a:lnTo>
                    <a:lnTo>
                      <a:pt x="30" y="230"/>
                    </a:lnTo>
                    <a:lnTo>
                      <a:pt x="34" y="232"/>
                    </a:lnTo>
                    <a:lnTo>
                      <a:pt x="36" y="234"/>
                    </a:lnTo>
                    <a:lnTo>
                      <a:pt x="42" y="232"/>
                    </a:lnTo>
                    <a:lnTo>
                      <a:pt x="47" y="234"/>
                    </a:lnTo>
                    <a:lnTo>
                      <a:pt x="49" y="234"/>
                    </a:lnTo>
                    <a:lnTo>
                      <a:pt x="55" y="232"/>
                    </a:lnTo>
                    <a:lnTo>
                      <a:pt x="63" y="225"/>
                    </a:lnTo>
                    <a:lnTo>
                      <a:pt x="66" y="223"/>
                    </a:lnTo>
                    <a:lnTo>
                      <a:pt x="68" y="221"/>
                    </a:lnTo>
                    <a:lnTo>
                      <a:pt x="80" y="223"/>
                    </a:lnTo>
                    <a:lnTo>
                      <a:pt x="82" y="223"/>
                    </a:lnTo>
                    <a:lnTo>
                      <a:pt x="82" y="223"/>
                    </a:lnTo>
                    <a:lnTo>
                      <a:pt x="82" y="221"/>
                    </a:lnTo>
                    <a:lnTo>
                      <a:pt x="82" y="219"/>
                    </a:lnTo>
                    <a:lnTo>
                      <a:pt x="82" y="217"/>
                    </a:lnTo>
                    <a:lnTo>
                      <a:pt x="82" y="217"/>
                    </a:lnTo>
                    <a:lnTo>
                      <a:pt x="83" y="213"/>
                    </a:lnTo>
                    <a:lnTo>
                      <a:pt x="83" y="215"/>
                    </a:lnTo>
                    <a:lnTo>
                      <a:pt x="85" y="217"/>
                    </a:lnTo>
                    <a:lnTo>
                      <a:pt x="87" y="221"/>
                    </a:lnTo>
                    <a:lnTo>
                      <a:pt x="89" y="225"/>
                    </a:lnTo>
                    <a:lnTo>
                      <a:pt x="91" y="225"/>
                    </a:lnTo>
                    <a:lnTo>
                      <a:pt x="93" y="223"/>
                    </a:lnTo>
                    <a:lnTo>
                      <a:pt x="95" y="219"/>
                    </a:lnTo>
                    <a:lnTo>
                      <a:pt x="95" y="219"/>
                    </a:lnTo>
                    <a:lnTo>
                      <a:pt x="95" y="221"/>
                    </a:lnTo>
                    <a:lnTo>
                      <a:pt x="97" y="223"/>
                    </a:lnTo>
                    <a:lnTo>
                      <a:pt x="99" y="223"/>
                    </a:lnTo>
                    <a:lnTo>
                      <a:pt x="101" y="221"/>
                    </a:lnTo>
                    <a:lnTo>
                      <a:pt x="101" y="217"/>
                    </a:lnTo>
                    <a:lnTo>
                      <a:pt x="103" y="215"/>
                    </a:lnTo>
                    <a:lnTo>
                      <a:pt x="104" y="215"/>
                    </a:lnTo>
                    <a:lnTo>
                      <a:pt x="104" y="219"/>
                    </a:lnTo>
                    <a:lnTo>
                      <a:pt x="106" y="221"/>
                    </a:lnTo>
                    <a:lnTo>
                      <a:pt x="108" y="221"/>
                    </a:lnTo>
                    <a:lnTo>
                      <a:pt x="112" y="217"/>
                    </a:lnTo>
                    <a:lnTo>
                      <a:pt x="118" y="215"/>
                    </a:lnTo>
                    <a:lnTo>
                      <a:pt x="120" y="213"/>
                    </a:lnTo>
                    <a:lnTo>
                      <a:pt x="124" y="209"/>
                    </a:lnTo>
                    <a:lnTo>
                      <a:pt x="125" y="209"/>
                    </a:lnTo>
                    <a:lnTo>
                      <a:pt x="129" y="209"/>
                    </a:lnTo>
                    <a:lnTo>
                      <a:pt x="131" y="207"/>
                    </a:lnTo>
                    <a:lnTo>
                      <a:pt x="137" y="204"/>
                    </a:lnTo>
                    <a:lnTo>
                      <a:pt x="139" y="200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39" y="196"/>
                    </a:lnTo>
                    <a:lnTo>
                      <a:pt x="141" y="192"/>
                    </a:lnTo>
                    <a:lnTo>
                      <a:pt x="141" y="190"/>
                    </a:lnTo>
                    <a:lnTo>
                      <a:pt x="139" y="188"/>
                    </a:lnTo>
                    <a:lnTo>
                      <a:pt x="135" y="188"/>
                    </a:lnTo>
                    <a:lnTo>
                      <a:pt x="133" y="187"/>
                    </a:lnTo>
                    <a:lnTo>
                      <a:pt x="133" y="185"/>
                    </a:lnTo>
                    <a:lnTo>
                      <a:pt x="135" y="181"/>
                    </a:lnTo>
                    <a:lnTo>
                      <a:pt x="139" y="177"/>
                    </a:lnTo>
                    <a:lnTo>
                      <a:pt x="143" y="173"/>
                    </a:lnTo>
                    <a:lnTo>
                      <a:pt x="150" y="168"/>
                    </a:lnTo>
                    <a:lnTo>
                      <a:pt x="150" y="168"/>
                    </a:lnTo>
                    <a:lnTo>
                      <a:pt x="152" y="168"/>
                    </a:lnTo>
                    <a:lnTo>
                      <a:pt x="152" y="169"/>
                    </a:lnTo>
                    <a:lnTo>
                      <a:pt x="152" y="169"/>
                    </a:lnTo>
                    <a:lnTo>
                      <a:pt x="154" y="169"/>
                    </a:lnTo>
                    <a:lnTo>
                      <a:pt x="156" y="169"/>
                    </a:lnTo>
                    <a:lnTo>
                      <a:pt x="158" y="169"/>
                    </a:lnTo>
                    <a:lnTo>
                      <a:pt x="160" y="168"/>
                    </a:lnTo>
                    <a:lnTo>
                      <a:pt x="162" y="166"/>
                    </a:lnTo>
                    <a:lnTo>
                      <a:pt x="165" y="162"/>
                    </a:lnTo>
                    <a:lnTo>
                      <a:pt x="165" y="160"/>
                    </a:lnTo>
                    <a:lnTo>
                      <a:pt x="169" y="158"/>
                    </a:lnTo>
                    <a:lnTo>
                      <a:pt x="173" y="156"/>
                    </a:lnTo>
                    <a:lnTo>
                      <a:pt x="175" y="154"/>
                    </a:lnTo>
                    <a:lnTo>
                      <a:pt x="179" y="150"/>
                    </a:lnTo>
                    <a:lnTo>
                      <a:pt x="190" y="143"/>
                    </a:lnTo>
                    <a:lnTo>
                      <a:pt x="192" y="139"/>
                    </a:lnTo>
                    <a:lnTo>
                      <a:pt x="196" y="135"/>
                    </a:lnTo>
                    <a:lnTo>
                      <a:pt x="198" y="129"/>
                    </a:lnTo>
                    <a:lnTo>
                      <a:pt x="198" y="124"/>
                    </a:lnTo>
                    <a:lnTo>
                      <a:pt x="202" y="122"/>
                    </a:lnTo>
                    <a:lnTo>
                      <a:pt x="206" y="118"/>
                    </a:lnTo>
                    <a:lnTo>
                      <a:pt x="211" y="114"/>
                    </a:lnTo>
                    <a:lnTo>
                      <a:pt x="219" y="109"/>
                    </a:lnTo>
                    <a:lnTo>
                      <a:pt x="223" y="107"/>
                    </a:lnTo>
                    <a:lnTo>
                      <a:pt x="234" y="99"/>
                    </a:lnTo>
                    <a:lnTo>
                      <a:pt x="247" y="99"/>
                    </a:lnTo>
                    <a:lnTo>
                      <a:pt x="255" y="99"/>
                    </a:lnTo>
                    <a:lnTo>
                      <a:pt x="257" y="99"/>
                    </a:lnTo>
                    <a:lnTo>
                      <a:pt x="259" y="99"/>
                    </a:lnTo>
                    <a:lnTo>
                      <a:pt x="261" y="97"/>
                    </a:lnTo>
                    <a:lnTo>
                      <a:pt x="263" y="95"/>
                    </a:lnTo>
                    <a:lnTo>
                      <a:pt x="265" y="95"/>
                    </a:lnTo>
                    <a:lnTo>
                      <a:pt x="267" y="97"/>
                    </a:lnTo>
                    <a:lnTo>
                      <a:pt x="268" y="95"/>
                    </a:lnTo>
                    <a:lnTo>
                      <a:pt x="278" y="88"/>
                    </a:lnTo>
                    <a:lnTo>
                      <a:pt x="280" y="88"/>
                    </a:lnTo>
                    <a:lnTo>
                      <a:pt x="288" y="84"/>
                    </a:lnTo>
                    <a:lnTo>
                      <a:pt x="288" y="84"/>
                    </a:lnTo>
                    <a:lnTo>
                      <a:pt x="289" y="82"/>
                    </a:lnTo>
                    <a:lnTo>
                      <a:pt x="289" y="82"/>
                    </a:lnTo>
                    <a:lnTo>
                      <a:pt x="291" y="82"/>
                    </a:lnTo>
                    <a:lnTo>
                      <a:pt x="293" y="82"/>
                    </a:lnTo>
                    <a:lnTo>
                      <a:pt x="293" y="80"/>
                    </a:lnTo>
                    <a:lnTo>
                      <a:pt x="293" y="80"/>
                    </a:lnTo>
                    <a:lnTo>
                      <a:pt x="291" y="78"/>
                    </a:lnTo>
                    <a:lnTo>
                      <a:pt x="291" y="78"/>
                    </a:lnTo>
                    <a:lnTo>
                      <a:pt x="293" y="76"/>
                    </a:lnTo>
                    <a:lnTo>
                      <a:pt x="297" y="76"/>
                    </a:lnTo>
                    <a:lnTo>
                      <a:pt x="299" y="76"/>
                    </a:lnTo>
                    <a:lnTo>
                      <a:pt x="301" y="76"/>
                    </a:lnTo>
                    <a:lnTo>
                      <a:pt x="303" y="74"/>
                    </a:lnTo>
                    <a:lnTo>
                      <a:pt x="305" y="74"/>
                    </a:lnTo>
                    <a:lnTo>
                      <a:pt x="307" y="72"/>
                    </a:lnTo>
                    <a:lnTo>
                      <a:pt x="314" y="69"/>
                    </a:lnTo>
                    <a:lnTo>
                      <a:pt x="320" y="67"/>
                    </a:lnTo>
                    <a:lnTo>
                      <a:pt x="326" y="63"/>
                    </a:lnTo>
                    <a:lnTo>
                      <a:pt x="335" y="63"/>
                    </a:lnTo>
                    <a:lnTo>
                      <a:pt x="341" y="55"/>
                    </a:lnTo>
                    <a:lnTo>
                      <a:pt x="347" y="50"/>
                    </a:lnTo>
                    <a:lnTo>
                      <a:pt x="343" y="44"/>
                    </a:lnTo>
                    <a:lnTo>
                      <a:pt x="337" y="38"/>
                    </a:lnTo>
                    <a:lnTo>
                      <a:pt x="339" y="31"/>
                    </a:lnTo>
                    <a:lnTo>
                      <a:pt x="345" y="32"/>
                    </a:lnTo>
                    <a:lnTo>
                      <a:pt x="347" y="31"/>
                    </a:lnTo>
                    <a:lnTo>
                      <a:pt x="347" y="31"/>
                    </a:lnTo>
                    <a:lnTo>
                      <a:pt x="349" y="27"/>
                    </a:lnTo>
                    <a:lnTo>
                      <a:pt x="350" y="25"/>
                    </a:lnTo>
                    <a:lnTo>
                      <a:pt x="354" y="23"/>
                    </a:lnTo>
                    <a:lnTo>
                      <a:pt x="356" y="23"/>
                    </a:lnTo>
                    <a:lnTo>
                      <a:pt x="364" y="23"/>
                    </a:lnTo>
                    <a:lnTo>
                      <a:pt x="366" y="21"/>
                    </a:lnTo>
                    <a:lnTo>
                      <a:pt x="368" y="21"/>
                    </a:lnTo>
                    <a:lnTo>
                      <a:pt x="370" y="19"/>
                    </a:lnTo>
                    <a:lnTo>
                      <a:pt x="377" y="10"/>
                    </a:lnTo>
                    <a:lnTo>
                      <a:pt x="379" y="8"/>
                    </a:lnTo>
                    <a:lnTo>
                      <a:pt x="383" y="8"/>
                    </a:lnTo>
                    <a:lnTo>
                      <a:pt x="389" y="8"/>
                    </a:lnTo>
                    <a:lnTo>
                      <a:pt x="392" y="11"/>
                    </a:lnTo>
                    <a:lnTo>
                      <a:pt x="398" y="19"/>
                    </a:lnTo>
                    <a:lnTo>
                      <a:pt x="400" y="21"/>
                    </a:lnTo>
                    <a:lnTo>
                      <a:pt x="400" y="27"/>
                    </a:lnTo>
                    <a:lnTo>
                      <a:pt x="402" y="29"/>
                    </a:lnTo>
                    <a:lnTo>
                      <a:pt x="404" y="29"/>
                    </a:lnTo>
                    <a:lnTo>
                      <a:pt x="406" y="29"/>
                    </a:lnTo>
                    <a:lnTo>
                      <a:pt x="411" y="29"/>
                    </a:lnTo>
                    <a:lnTo>
                      <a:pt x="415" y="29"/>
                    </a:lnTo>
                    <a:lnTo>
                      <a:pt x="425" y="34"/>
                    </a:lnTo>
                    <a:lnTo>
                      <a:pt x="429" y="34"/>
                    </a:lnTo>
                    <a:lnTo>
                      <a:pt x="427" y="34"/>
                    </a:lnTo>
                    <a:lnTo>
                      <a:pt x="425" y="31"/>
                    </a:lnTo>
                    <a:lnTo>
                      <a:pt x="423" y="29"/>
                    </a:lnTo>
                    <a:lnTo>
                      <a:pt x="427" y="31"/>
                    </a:lnTo>
                    <a:lnTo>
                      <a:pt x="429" y="31"/>
                    </a:lnTo>
                    <a:lnTo>
                      <a:pt x="436" y="32"/>
                    </a:lnTo>
                    <a:lnTo>
                      <a:pt x="442" y="36"/>
                    </a:lnTo>
                    <a:lnTo>
                      <a:pt x="444" y="36"/>
                    </a:lnTo>
                    <a:lnTo>
                      <a:pt x="453" y="38"/>
                    </a:lnTo>
                    <a:lnTo>
                      <a:pt x="455" y="38"/>
                    </a:lnTo>
                    <a:lnTo>
                      <a:pt x="455" y="40"/>
                    </a:lnTo>
                    <a:lnTo>
                      <a:pt x="455" y="40"/>
                    </a:lnTo>
                    <a:lnTo>
                      <a:pt x="455" y="42"/>
                    </a:lnTo>
                    <a:lnTo>
                      <a:pt x="457" y="44"/>
                    </a:lnTo>
                    <a:lnTo>
                      <a:pt x="457" y="44"/>
                    </a:lnTo>
                    <a:lnTo>
                      <a:pt x="465" y="46"/>
                    </a:lnTo>
                    <a:lnTo>
                      <a:pt x="463" y="36"/>
                    </a:lnTo>
                    <a:lnTo>
                      <a:pt x="469" y="32"/>
                    </a:lnTo>
                    <a:lnTo>
                      <a:pt x="476" y="32"/>
                    </a:lnTo>
                    <a:lnTo>
                      <a:pt x="480" y="34"/>
                    </a:lnTo>
                    <a:lnTo>
                      <a:pt x="482" y="27"/>
                    </a:lnTo>
                    <a:lnTo>
                      <a:pt x="486" y="27"/>
                    </a:lnTo>
                    <a:lnTo>
                      <a:pt x="486" y="31"/>
                    </a:lnTo>
                    <a:lnTo>
                      <a:pt x="488" y="34"/>
                    </a:lnTo>
                    <a:lnTo>
                      <a:pt x="490" y="32"/>
                    </a:lnTo>
                    <a:lnTo>
                      <a:pt x="493" y="34"/>
                    </a:lnTo>
                    <a:lnTo>
                      <a:pt x="495" y="32"/>
                    </a:lnTo>
                    <a:lnTo>
                      <a:pt x="495" y="29"/>
                    </a:lnTo>
                    <a:lnTo>
                      <a:pt x="493" y="25"/>
                    </a:lnTo>
                    <a:lnTo>
                      <a:pt x="493" y="23"/>
                    </a:lnTo>
                    <a:lnTo>
                      <a:pt x="499" y="23"/>
                    </a:lnTo>
                    <a:lnTo>
                      <a:pt x="499" y="21"/>
                    </a:lnTo>
                    <a:lnTo>
                      <a:pt x="499" y="19"/>
                    </a:lnTo>
                    <a:lnTo>
                      <a:pt x="499" y="19"/>
                    </a:lnTo>
                    <a:lnTo>
                      <a:pt x="499" y="17"/>
                    </a:lnTo>
                    <a:lnTo>
                      <a:pt x="501" y="17"/>
                    </a:lnTo>
                    <a:lnTo>
                      <a:pt x="503" y="17"/>
                    </a:lnTo>
                    <a:lnTo>
                      <a:pt x="503" y="17"/>
                    </a:lnTo>
                    <a:lnTo>
                      <a:pt x="511" y="19"/>
                    </a:lnTo>
                    <a:lnTo>
                      <a:pt x="520" y="21"/>
                    </a:lnTo>
                    <a:lnTo>
                      <a:pt x="524" y="13"/>
                    </a:lnTo>
                    <a:lnTo>
                      <a:pt x="522" y="4"/>
                    </a:lnTo>
                    <a:lnTo>
                      <a:pt x="526" y="4"/>
                    </a:lnTo>
                    <a:lnTo>
                      <a:pt x="530" y="2"/>
                    </a:lnTo>
                    <a:lnTo>
                      <a:pt x="537" y="6"/>
                    </a:lnTo>
                    <a:lnTo>
                      <a:pt x="549" y="2"/>
                    </a:lnTo>
                    <a:lnTo>
                      <a:pt x="556" y="0"/>
                    </a:lnTo>
                    <a:lnTo>
                      <a:pt x="564" y="0"/>
                    </a:lnTo>
                    <a:lnTo>
                      <a:pt x="572" y="0"/>
                    </a:lnTo>
                    <a:lnTo>
                      <a:pt x="574" y="2"/>
                    </a:lnTo>
                    <a:lnTo>
                      <a:pt x="575" y="10"/>
                    </a:lnTo>
                    <a:lnTo>
                      <a:pt x="577" y="11"/>
                    </a:lnTo>
                    <a:lnTo>
                      <a:pt x="581" y="15"/>
                    </a:lnTo>
                    <a:lnTo>
                      <a:pt x="585" y="17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8" name="Freeform 40">
                <a:extLst>
                  <a:ext uri="{FF2B5EF4-FFF2-40B4-BE49-F238E27FC236}">
                    <a16:creationId xmlns:a16="http://schemas.microsoft.com/office/drawing/2014/main" id="{4EF8AE39-CCDB-4D40-A8B4-A4D2BE912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2307" y="2373786"/>
                <a:ext cx="80963" cy="171450"/>
              </a:xfrm>
              <a:custGeom>
                <a:avLst/>
                <a:gdLst>
                  <a:gd name="T0" fmla="*/ 23 w 51"/>
                  <a:gd name="T1" fmla="*/ 108 h 108"/>
                  <a:gd name="T2" fmla="*/ 21 w 51"/>
                  <a:gd name="T3" fmla="*/ 108 h 108"/>
                  <a:gd name="T4" fmla="*/ 17 w 51"/>
                  <a:gd name="T5" fmla="*/ 107 h 108"/>
                  <a:gd name="T6" fmla="*/ 15 w 51"/>
                  <a:gd name="T7" fmla="*/ 107 h 108"/>
                  <a:gd name="T8" fmla="*/ 15 w 51"/>
                  <a:gd name="T9" fmla="*/ 95 h 108"/>
                  <a:gd name="T10" fmla="*/ 15 w 51"/>
                  <a:gd name="T11" fmla="*/ 89 h 108"/>
                  <a:gd name="T12" fmla="*/ 17 w 51"/>
                  <a:gd name="T13" fmla="*/ 84 h 108"/>
                  <a:gd name="T14" fmla="*/ 19 w 51"/>
                  <a:gd name="T15" fmla="*/ 78 h 108"/>
                  <a:gd name="T16" fmla="*/ 17 w 51"/>
                  <a:gd name="T17" fmla="*/ 70 h 108"/>
                  <a:gd name="T18" fmla="*/ 17 w 51"/>
                  <a:gd name="T19" fmla="*/ 65 h 108"/>
                  <a:gd name="T20" fmla="*/ 10 w 51"/>
                  <a:gd name="T21" fmla="*/ 59 h 108"/>
                  <a:gd name="T22" fmla="*/ 17 w 51"/>
                  <a:gd name="T23" fmla="*/ 51 h 108"/>
                  <a:gd name="T24" fmla="*/ 17 w 51"/>
                  <a:gd name="T25" fmla="*/ 46 h 108"/>
                  <a:gd name="T26" fmla="*/ 10 w 51"/>
                  <a:gd name="T27" fmla="*/ 36 h 108"/>
                  <a:gd name="T28" fmla="*/ 10 w 51"/>
                  <a:gd name="T29" fmla="*/ 34 h 108"/>
                  <a:gd name="T30" fmla="*/ 2 w 51"/>
                  <a:gd name="T31" fmla="*/ 32 h 108"/>
                  <a:gd name="T32" fmla="*/ 0 w 51"/>
                  <a:gd name="T33" fmla="*/ 25 h 108"/>
                  <a:gd name="T34" fmla="*/ 2 w 51"/>
                  <a:gd name="T35" fmla="*/ 19 h 108"/>
                  <a:gd name="T36" fmla="*/ 6 w 51"/>
                  <a:gd name="T37" fmla="*/ 15 h 108"/>
                  <a:gd name="T38" fmla="*/ 6 w 51"/>
                  <a:gd name="T39" fmla="*/ 10 h 108"/>
                  <a:gd name="T40" fmla="*/ 4 w 51"/>
                  <a:gd name="T41" fmla="*/ 0 h 108"/>
                  <a:gd name="T42" fmla="*/ 8 w 51"/>
                  <a:gd name="T43" fmla="*/ 0 h 108"/>
                  <a:gd name="T44" fmla="*/ 17 w 51"/>
                  <a:gd name="T45" fmla="*/ 4 h 108"/>
                  <a:gd name="T46" fmla="*/ 21 w 51"/>
                  <a:gd name="T47" fmla="*/ 6 h 108"/>
                  <a:gd name="T48" fmla="*/ 32 w 51"/>
                  <a:gd name="T49" fmla="*/ 6 h 108"/>
                  <a:gd name="T50" fmla="*/ 36 w 51"/>
                  <a:gd name="T51" fmla="*/ 10 h 108"/>
                  <a:gd name="T52" fmla="*/ 36 w 51"/>
                  <a:gd name="T53" fmla="*/ 13 h 108"/>
                  <a:gd name="T54" fmla="*/ 34 w 51"/>
                  <a:gd name="T55" fmla="*/ 17 h 108"/>
                  <a:gd name="T56" fmla="*/ 32 w 51"/>
                  <a:gd name="T57" fmla="*/ 21 h 108"/>
                  <a:gd name="T58" fmla="*/ 31 w 51"/>
                  <a:gd name="T59" fmla="*/ 23 h 108"/>
                  <a:gd name="T60" fmla="*/ 31 w 51"/>
                  <a:gd name="T61" fmla="*/ 30 h 108"/>
                  <a:gd name="T62" fmla="*/ 31 w 51"/>
                  <a:gd name="T63" fmla="*/ 34 h 108"/>
                  <a:gd name="T64" fmla="*/ 31 w 51"/>
                  <a:gd name="T65" fmla="*/ 40 h 108"/>
                  <a:gd name="T66" fmla="*/ 32 w 51"/>
                  <a:gd name="T67" fmla="*/ 44 h 108"/>
                  <a:gd name="T68" fmla="*/ 40 w 51"/>
                  <a:gd name="T69" fmla="*/ 49 h 108"/>
                  <a:gd name="T70" fmla="*/ 42 w 51"/>
                  <a:gd name="T71" fmla="*/ 55 h 108"/>
                  <a:gd name="T72" fmla="*/ 44 w 51"/>
                  <a:gd name="T73" fmla="*/ 59 h 108"/>
                  <a:gd name="T74" fmla="*/ 44 w 51"/>
                  <a:gd name="T75" fmla="*/ 63 h 108"/>
                  <a:gd name="T76" fmla="*/ 48 w 51"/>
                  <a:gd name="T77" fmla="*/ 68 h 108"/>
                  <a:gd name="T78" fmla="*/ 51 w 51"/>
                  <a:gd name="T79" fmla="*/ 70 h 108"/>
                  <a:gd name="T80" fmla="*/ 51 w 51"/>
                  <a:gd name="T81" fmla="*/ 76 h 108"/>
                  <a:gd name="T82" fmla="*/ 50 w 51"/>
                  <a:gd name="T83" fmla="*/ 82 h 108"/>
                  <a:gd name="T84" fmla="*/ 48 w 51"/>
                  <a:gd name="T85" fmla="*/ 86 h 108"/>
                  <a:gd name="T86" fmla="*/ 42 w 51"/>
                  <a:gd name="T87" fmla="*/ 93 h 108"/>
                  <a:gd name="T88" fmla="*/ 31 w 51"/>
                  <a:gd name="T89" fmla="*/ 103 h 108"/>
                  <a:gd name="T90" fmla="*/ 25 w 51"/>
                  <a:gd name="T91" fmla="*/ 108 h 108"/>
                  <a:gd name="T92" fmla="*/ 23 w 51"/>
                  <a:gd name="T93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1" h="108">
                    <a:moveTo>
                      <a:pt x="23" y="108"/>
                    </a:moveTo>
                    <a:lnTo>
                      <a:pt x="21" y="108"/>
                    </a:lnTo>
                    <a:lnTo>
                      <a:pt x="17" y="107"/>
                    </a:lnTo>
                    <a:lnTo>
                      <a:pt x="15" y="107"/>
                    </a:lnTo>
                    <a:lnTo>
                      <a:pt x="15" y="95"/>
                    </a:lnTo>
                    <a:lnTo>
                      <a:pt x="15" y="89"/>
                    </a:lnTo>
                    <a:lnTo>
                      <a:pt x="17" y="84"/>
                    </a:lnTo>
                    <a:lnTo>
                      <a:pt x="19" y="78"/>
                    </a:lnTo>
                    <a:lnTo>
                      <a:pt x="17" y="70"/>
                    </a:lnTo>
                    <a:lnTo>
                      <a:pt x="17" y="65"/>
                    </a:lnTo>
                    <a:lnTo>
                      <a:pt x="10" y="59"/>
                    </a:lnTo>
                    <a:lnTo>
                      <a:pt x="17" y="51"/>
                    </a:lnTo>
                    <a:lnTo>
                      <a:pt x="17" y="4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2" y="32"/>
                    </a:lnTo>
                    <a:lnTo>
                      <a:pt x="0" y="25"/>
                    </a:lnTo>
                    <a:lnTo>
                      <a:pt x="2" y="19"/>
                    </a:lnTo>
                    <a:lnTo>
                      <a:pt x="6" y="15"/>
                    </a:lnTo>
                    <a:lnTo>
                      <a:pt x="6" y="1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7" y="4"/>
                    </a:lnTo>
                    <a:lnTo>
                      <a:pt x="21" y="6"/>
                    </a:lnTo>
                    <a:lnTo>
                      <a:pt x="32" y="6"/>
                    </a:lnTo>
                    <a:lnTo>
                      <a:pt x="36" y="10"/>
                    </a:lnTo>
                    <a:lnTo>
                      <a:pt x="36" y="13"/>
                    </a:lnTo>
                    <a:lnTo>
                      <a:pt x="34" y="17"/>
                    </a:lnTo>
                    <a:lnTo>
                      <a:pt x="32" y="21"/>
                    </a:lnTo>
                    <a:lnTo>
                      <a:pt x="31" y="23"/>
                    </a:lnTo>
                    <a:lnTo>
                      <a:pt x="31" y="30"/>
                    </a:lnTo>
                    <a:lnTo>
                      <a:pt x="31" y="34"/>
                    </a:lnTo>
                    <a:lnTo>
                      <a:pt x="31" y="40"/>
                    </a:lnTo>
                    <a:lnTo>
                      <a:pt x="32" y="44"/>
                    </a:lnTo>
                    <a:lnTo>
                      <a:pt x="40" y="49"/>
                    </a:lnTo>
                    <a:lnTo>
                      <a:pt x="42" y="55"/>
                    </a:lnTo>
                    <a:lnTo>
                      <a:pt x="44" y="59"/>
                    </a:lnTo>
                    <a:lnTo>
                      <a:pt x="44" y="63"/>
                    </a:lnTo>
                    <a:lnTo>
                      <a:pt x="48" y="68"/>
                    </a:lnTo>
                    <a:lnTo>
                      <a:pt x="51" y="70"/>
                    </a:lnTo>
                    <a:lnTo>
                      <a:pt x="51" y="76"/>
                    </a:lnTo>
                    <a:lnTo>
                      <a:pt x="50" y="82"/>
                    </a:lnTo>
                    <a:lnTo>
                      <a:pt x="48" y="86"/>
                    </a:lnTo>
                    <a:lnTo>
                      <a:pt x="42" y="93"/>
                    </a:lnTo>
                    <a:lnTo>
                      <a:pt x="31" y="103"/>
                    </a:lnTo>
                    <a:lnTo>
                      <a:pt x="25" y="108"/>
                    </a:lnTo>
                    <a:lnTo>
                      <a:pt x="23" y="108"/>
                    </a:lnTo>
                    <a:close/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39" name="Freeform 41">
                <a:extLst>
                  <a:ext uri="{FF2B5EF4-FFF2-40B4-BE49-F238E27FC236}">
                    <a16:creationId xmlns:a16="http://schemas.microsoft.com/office/drawing/2014/main" id="{D3B8FED1-69A7-4A01-BDA3-1FCE8D1DB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2307" y="2373786"/>
                <a:ext cx="80963" cy="171450"/>
              </a:xfrm>
              <a:custGeom>
                <a:avLst/>
                <a:gdLst>
                  <a:gd name="T0" fmla="*/ 23 w 51"/>
                  <a:gd name="T1" fmla="*/ 108 h 108"/>
                  <a:gd name="T2" fmla="*/ 21 w 51"/>
                  <a:gd name="T3" fmla="*/ 108 h 108"/>
                  <a:gd name="T4" fmla="*/ 17 w 51"/>
                  <a:gd name="T5" fmla="*/ 107 h 108"/>
                  <a:gd name="T6" fmla="*/ 15 w 51"/>
                  <a:gd name="T7" fmla="*/ 107 h 108"/>
                  <a:gd name="T8" fmla="*/ 15 w 51"/>
                  <a:gd name="T9" fmla="*/ 95 h 108"/>
                  <a:gd name="T10" fmla="*/ 15 w 51"/>
                  <a:gd name="T11" fmla="*/ 89 h 108"/>
                  <a:gd name="T12" fmla="*/ 17 w 51"/>
                  <a:gd name="T13" fmla="*/ 84 h 108"/>
                  <a:gd name="T14" fmla="*/ 19 w 51"/>
                  <a:gd name="T15" fmla="*/ 78 h 108"/>
                  <a:gd name="T16" fmla="*/ 17 w 51"/>
                  <a:gd name="T17" fmla="*/ 70 h 108"/>
                  <a:gd name="T18" fmla="*/ 17 w 51"/>
                  <a:gd name="T19" fmla="*/ 65 h 108"/>
                  <a:gd name="T20" fmla="*/ 10 w 51"/>
                  <a:gd name="T21" fmla="*/ 59 h 108"/>
                  <a:gd name="T22" fmla="*/ 17 w 51"/>
                  <a:gd name="T23" fmla="*/ 51 h 108"/>
                  <a:gd name="T24" fmla="*/ 17 w 51"/>
                  <a:gd name="T25" fmla="*/ 46 h 108"/>
                  <a:gd name="T26" fmla="*/ 10 w 51"/>
                  <a:gd name="T27" fmla="*/ 36 h 108"/>
                  <a:gd name="T28" fmla="*/ 10 w 51"/>
                  <a:gd name="T29" fmla="*/ 34 h 108"/>
                  <a:gd name="T30" fmla="*/ 2 w 51"/>
                  <a:gd name="T31" fmla="*/ 32 h 108"/>
                  <a:gd name="T32" fmla="*/ 0 w 51"/>
                  <a:gd name="T33" fmla="*/ 25 h 108"/>
                  <a:gd name="T34" fmla="*/ 2 w 51"/>
                  <a:gd name="T35" fmla="*/ 19 h 108"/>
                  <a:gd name="T36" fmla="*/ 6 w 51"/>
                  <a:gd name="T37" fmla="*/ 15 h 108"/>
                  <a:gd name="T38" fmla="*/ 6 w 51"/>
                  <a:gd name="T39" fmla="*/ 10 h 108"/>
                  <a:gd name="T40" fmla="*/ 4 w 51"/>
                  <a:gd name="T41" fmla="*/ 0 h 108"/>
                  <a:gd name="T42" fmla="*/ 8 w 51"/>
                  <a:gd name="T43" fmla="*/ 0 h 108"/>
                  <a:gd name="T44" fmla="*/ 17 w 51"/>
                  <a:gd name="T45" fmla="*/ 4 h 108"/>
                  <a:gd name="T46" fmla="*/ 21 w 51"/>
                  <a:gd name="T47" fmla="*/ 6 h 108"/>
                  <a:gd name="T48" fmla="*/ 32 w 51"/>
                  <a:gd name="T49" fmla="*/ 6 h 108"/>
                  <a:gd name="T50" fmla="*/ 36 w 51"/>
                  <a:gd name="T51" fmla="*/ 10 h 108"/>
                  <a:gd name="T52" fmla="*/ 36 w 51"/>
                  <a:gd name="T53" fmla="*/ 13 h 108"/>
                  <a:gd name="T54" fmla="*/ 34 w 51"/>
                  <a:gd name="T55" fmla="*/ 17 h 108"/>
                  <a:gd name="T56" fmla="*/ 32 w 51"/>
                  <a:gd name="T57" fmla="*/ 21 h 108"/>
                  <a:gd name="T58" fmla="*/ 31 w 51"/>
                  <a:gd name="T59" fmla="*/ 23 h 108"/>
                  <a:gd name="T60" fmla="*/ 31 w 51"/>
                  <a:gd name="T61" fmla="*/ 30 h 108"/>
                  <a:gd name="T62" fmla="*/ 31 w 51"/>
                  <a:gd name="T63" fmla="*/ 34 h 108"/>
                  <a:gd name="T64" fmla="*/ 31 w 51"/>
                  <a:gd name="T65" fmla="*/ 40 h 108"/>
                  <a:gd name="T66" fmla="*/ 32 w 51"/>
                  <a:gd name="T67" fmla="*/ 44 h 108"/>
                  <a:gd name="T68" fmla="*/ 40 w 51"/>
                  <a:gd name="T69" fmla="*/ 49 h 108"/>
                  <a:gd name="T70" fmla="*/ 42 w 51"/>
                  <a:gd name="T71" fmla="*/ 55 h 108"/>
                  <a:gd name="T72" fmla="*/ 44 w 51"/>
                  <a:gd name="T73" fmla="*/ 59 h 108"/>
                  <a:gd name="T74" fmla="*/ 44 w 51"/>
                  <a:gd name="T75" fmla="*/ 63 h 108"/>
                  <a:gd name="T76" fmla="*/ 48 w 51"/>
                  <a:gd name="T77" fmla="*/ 68 h 108"/>
                  <a:gd name="T78" fmla="*/ 51 w 51"/>
                  <a:gd name="T79" fmla="*/ 70 h 108"/>
                  <a:gd name="T80" fmla="*/ 51 w 51"/>
                  <a:gd name="T81" fmla="*/ 76 h 108"/>
                  <a:gd name="T82" fmla="*/ 50 w 51"/>
                  <a:gd name="T83" fmla="*/ 82 h 108"/>
                  <a:gd name="T84" fmla="*/ 48 w 51"/>
                  <a:gd name="T85" fmla="*/ 86 h 108"/>
                  <a:gd name="T86" fmla="*/ 42 w 51"/>
                  <a:gd name="T87" fmla="*/ 93 h 108"/>
                  <a:gd name="T88" fmla="*/ 31 w 51"/>
                  <a:gd name="T89" fmla="*/ 103 h 108"/>
                  <a:gd name="T90" fmla="*/ 25 w 51"/>
                  <a:gd name="T91" fmla="*/ 108 h 108"/>
                  <a:gd name="T92" fmla="*/ 23 w 51"/>
                  <a:gd name="T93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1" h="108">
                    <a:moveTo>
                      <a:pt x="23" y="108"/>
                    </a:moveTo>
                    <a:lnTo>
                      <a:pt x="21" y="108"/>
                    </a:lnTo>
                    <a:lnTo>
                      <a:pt x="17" y="107"/>
                    </a:lnTo>
                    <a:lnTo>
                      <a:pt x="15" y="107"/>
                    </a:lnTo>
                    <a:lnTo>
                      <a:pt x="15" y="95"/>
                    </a:lnTo>
                    <a:lnTo>
                      <a:pt x="15" y="89"/>
                    </a:lnTo>
                    <a:lnTo>
                      <a:pt x="17" y="84"/>
                    </a:lnTo>
                    <a:lnTo>
                      <a:pt x="19" y="78"/>
                    </a:lnTo>
                    <a:lnTo>
                      <a:pt x="17" y="70"/>
                    </a:lnTo>
                    <a:lnTo>
                      <a:pt x="17" y="65"/>
                    </a:lnTo>
                    <a:lnTo>
                      <a:pt x="10" y="59"/>
                    </a:lnTo>
                    <a:lnTo>
                      <a:pt x="17" y="51"/>
                    </a:lnTo>
                    <a:lnTo>
                      <a:pt x="17" y="4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2" y="32"/>
                    </a:lnTo>
                    <a:lnTo>
                      <a:pt x="0" y="25"/>
                    </a:lnTo>
                    <a:lnTo>
                      <a:pt x="2" y="19"/>
                    </a:lnTo>
                    <a:lnTo>
                      <a:pt x="6" y="15"/>
                    </a:lnTo>
                    <a:lnTo>
                      <a:pt x="6" y="1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7" y="4"/>
                    </a:lnTo>
                    <a:lnTo>
                      <a:pt x="21" y="6"/>
                    </a:lnTo>
                    <a:lnTo>
                      <a:pt x="32" y="6"/>
                    </a:lnTo>
                    <a:lnTo>
                      <a:pt x="36" y="10"/>
                    </a:lnTo>
                    <a:lnTo>
                      <a:pt x="36" y="13"/>
                    </a:lnTo>
                    <a:lnTo>
                      <a:pt x="34" y="17"/>
                    </a:lnTo>
                    <a:lnTo>
                      <a:pt x="32" y="21"/>
                    </a:lnTo>
                    <a:lnTo>
                      <a:pt x="31" y="23"/>
                    </a:lnTo>
                    <a:lnTo>
                      <a:pt x="31" y="30"/>
                    </a:lnTo>
                    <a:lnTo>
                      <a:pt x="31" y="34"/>
                    </a:lnTo>
                    <a:lnTo>
                      <a:pt x="31" y="40"/>
                    </a:lnTo>
                    <a:lnTo>
                      <a:pt x="32" y="44"/>
                    </a:lnTo>
                    <a:lnTo>
                      <a:pt x="40" y="49"/>
                    </a:lnTo>
                    <a:lnTo>
                      <a:pt x="42" y="55"/>
                    </a:lnTo>
                    <a:lnTo>
                      <a:pt x="44" y="59"/>
                    </a:lnTo>
                    <a:lnTo>
                      <a:pt x="44" y="63"/>
                    </a:lnTo>
                    <a:lnTo>
                      <a:pt x="48" y="68"/>
                    </a:lnTo>
                    <a:lnTo>
                      <a:pt x="51" y="70"/>
                    </a:lnTo>
                    <a:lnTo>
                      <a:pt x="51" y="76"/>
                    </a:lnTo>
                    <a:lnTo>
                      <a:pt x="50" y="82"/>
                    </a:lnTo>
                    <a:lnTo>
                      <a:pt x="48" y="86"/>
                    </a:lnTo>
                    <a:lnTo>
                      <a:pt x="42" y="93"/>
                    </a:lnTo>
                    <a:lnTo>
                      <a:pt x="31" y="103"/>
                    </a:lnTo>
                    <a:lnTo>
                      <a:pt x="25" y="108"/>
                    </a:lnTo>
                    <a:lnTo>
                      <a:pt x="23" y="108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0" name="Freeform 42">
                <a:extLst>
                  <a:ext uri="{FF2B5EF4-FFF2-40B4-BE49-F238E27FC236}">
                    <a16:creationId xmlns:a16="http://schemas.microsoft.com/office/drawing/2014/main" id="{4E061603-C887-4A05-9BA7-8A9F1F6894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9432" y="2608736"/>
                <a:ext cx="73025" cy="82550"/>
              </a:xfrm>
              <a:custGeom>
                <a:avLst/>
                <a:gdLst>
                  <a:gd name="T0" fmla="*/ 42 w 46"/>
                  <a:gd name="T1" fmla="*/ 52 h 52"/>
                  <a:gd name="T2" fmla="*/ 39 w 46"/>
                  <a:gd name="T3" fmla="*/ 40 h 52"/>
                  <a:gd name="T4" fmla="*/ 29 w 46"/>
                  <a:gd name="T5" fmla="*/ 33 h 52"/>
                  <a:gd name="T6" fmla="*/ 19 w 46"/>
                  <a:gd name="T7" fmla="*/ 25 h 52"/>
                  <a:gd name="T8" fmla="*/ 12 w 46"/>
                  <a:gd name="T9" fmla="*/ 14 h 52"/>
                  <a:gd name="T10" fmla="*/ 8 w 46"/>
                  <a:gd name="T11" fmla="*/ 16 h 52"/>
                  <a:gd name="T12" fmla="*/ 0 w 46"/>
                  <a:gd name="T13" fmla="*/ 6 h 52"/>
                  <a:gd name="T14" fmla="*/ 12 w 46"/>
                  <a:gd name="T15" fmla="*/ 0 h 52"/>
                  <a:gd name="T16" fmla="*/ 12 w 46"/>
                  <a:gd name="T17" fmla="*/ 0 h 52"/>
                  <a:gd name="T18" fmla="*/ 18 w 46"/>
                  <a:gd name="T19" fmla="*/ 2 h 52"/>
                  <a:gd name="T20" fmla="*/ 19 w 46"/>
                  <a:gd name="T21" fmla="*/ 6 h 52"/>
                  <a:gd name="T22" fmla="*/ 21 w 46"/>
                  <a:gd name="T23" fmla="*/ 12 h 52"/>
                  <a:gd name="T24" fmla="*/ 35 w 46"/>
                  <a:gd name="T25" fmla="*/ 29 h 52"/>
                  <a:gd name="T26" fmla="*/ 39 w 46"/>
                  <a:gd name="T27" fmla="*/ 31 h 52"/>
                  <a:gd name="T28" fmla="*/ 44 w 46"/>
                  <a:gd name="T29" fmla="*/ 35 h 52"/>
                  <a:gd name="T30" fmla="*/ 44 w 46"/>
                  <a:gd name="T31" fmla="*/ 37 h 52"/>
                  <a:gd name="T32" fmla="*/ 46 w 46"/>
                  <a:gd name="T33" fmla="*/ 38 h 52"/>
                  <a:gd name="T34" fmla="*/ 46 w 46"/>
                  <a:gd name="T35" fmla="*/ 42 h 52"/>
                  <a:gd name="T36" fmla="*/ 42 w 46"/>
                  <a:gd name="T37" fmla="*/ 48 h 52"/>
                  <a:gd name="T38" fmla="*/ 42 w 46"/>
                  <a:gd name="T3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52">
                    <a:moveTo>
                      <a:pt x="42" y="52"/>
                    </a:moveTo>
                    <a:lnTo>
                      <a:pt x="39" y="40"/>
                    </a:lnTo>
                    <a:lnTo>
                      <a:pt x="29" y="33"/>
                    </a:lnTo>
                    <a:lnTo>
                      <a:pt x="19" y="25"/>
                    </a:lnTo>
                    <a:lnTo>
                      <a:pt x="12" y="14"/>
                    </a:lnTo>
                    <a:lnTo>
                      <a:pt x="8" y="16"/>
                    </a:lnTo>
                    <a:lnTo>
                      <a:pt x="0" y="6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8" y="2"/>
                    </a:lnTo>
                    <a:lnTo>
                      <a:pt x="19" y="6"/>
                    </a:lnTo>
                    <a:lnTo>
                      <a:pt x="21" y="12"/>
                    </a:lnTo>
                    <a:lnTo>
                      <a:pt x="35" y="29"/>
                    </a:lnTo>
                    <a:lnTo>
                      <a:pt x="39" y="31"/>
                    </a:lnTo>
                    <a:lnTo>
                      <a:pt x="44" y="35"/>
                    </a:lnTo>
                    <a:lnTo>
                      <a:pt x="44" y="37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42" y="48"/>
                    </a:lnTo>
                    <a:lnTo>
                      <a:pt x="42" y="52"/>
                    </a:lnTo>
                    <a:close/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1" name="Freeform 43">
                <a:extLst>
                  <a:ext uri="{FF2B5EF4-FFF2-40B4-BE49-F238E27FC236}">
                    <a16:creationId xmlns:a16="http://schemas.microsoft.com/office/drawing/2014/main" id="{E609FF43-97B7-4F16-9374-6DAC13935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9432" y="2608736"/>
                <a:ext cx="73025" cy="82550"/>
              </a:xfrm>
              <a:custGeom>
                <a:avLst/>
                <a:gdLst>
                  <a:gd name="T0" fmla="*/ 42 w 46"/>
                  <a:gd name="T1" fmla="*/ 52 h 52"/>
                  <a:gd name="T2" fmla="*/ 39 w 46"/>
                  <a:gd name="T3" fmla="*/ 40 h 52"/>
                  <a:gd name="T4" fmla="*/ 29 w 46"/>
                  <a:gd name="T5" fmla="*/ 33 h 52"/>
                  <a:gd name="T6" fmla="*/ 19 w 46"/>
                  <a:gd name="T7" fmla="*/ 25 h 52"/>
                  <a:gd name="T8" fmla="*/ 12 w 46"/>
                  <a:gd name="T9" fmla="*/ 14 h 52"/>
                  <a:gd name="T10" fmla="*/ 8 w 46"/>
                  <a:gd name="T11" fmla="*/ 16 h 52"/>
                  <a:gd name="T12" fmla="*/ 0 w 46"/>
                  <a:gd name="T13" fmla="*/ 6 h 52"/>
                  <a:gd name="T14" fmla="*/ 12 w 46"/>
                  <a:gd name="T15" fmla="*/ 0 h 52"/>
                  <a:gd name="T16" fmla="*/ 12 w 46"/>
                  <a:gd name="T17" fmla="*/ 0 h 52"/>
                  <a:gd name="T18" fmla="*/ 18 w 46"/>
                  <a:gd name="T19" fmla="*/ 2 h 52"/>
                  <a:gd name="T20" fmla="*/ 19 w 46"/>
                  <a:gd name="T21" fmla="*/ 6 h 52"/>
                  <a:gd name="T22" fmla="*/ 21 w 46"/>
                  <a:gd name="T23" fmla="*/ 12 h 52"/>
                  <a:gd name="T24" fmla="*/ 35 w 46"/>
                  <a:gd name="T25" fmla="*/ 29 h 52"/>
                  <a:gd name="T26" fmla="*/ 39 w 46"/>
                  <a:gd name="T27" fmla="*/ 31 h 52"/>
                  <a:gd name="T28" fmla="*/ 44 w 46"/>
                  <a:gd name="T29" fmla="*/ 35 h 52"/>
                  <a:gd name="T30" fmla="*/ 44 w 46"/>
                  <a:gd name="T31" fmla="*/ 37 h 52"/>
                  <a:gd name="T32" fmla="*/ 46 w 46"/>
                  <a:gd name="T33" fmla="*/ 38 h 52"/>
                  <a:gd name="T34" fmla="*/ 46 w 46"/>
                  <a:gd name="T35" fmla="*/ 42 h 52"/>
                  <a:gd name="T36" fmla="*/ 42 w 46"/>
                  <a:gd name="T37" fmla="*/ 48 h 52"/>
                  <a:gd name="T38" fmla="*/ 42 w 46"/>
                  <a:gd name="T3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52">
                    <a:moveTo>
                      <a:pt x="42" y="52"/>
                    </a:moveTo>
                    <a:lnTo>
                      <a:pt x="39" y="40"/>
                    </a:lnTo>
                    <a:lnTo>
                      <a:pt x="29" y="33"/>
                    </a:lnTo>
                    <a:lnTo>
                      <a:pt x="19" y="25"/>
                    </a:lnTo>
                    <a:lnTo>
                      <a:pt x="12" y="14"/>
                    </a:lnTo>
                    <a:lnTo>
                      <a:pt x="8" y="16"/>
                    </a:lnTo>
                    <a:lnTo>
                      <a:pt x="0" y="6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8" y="2"/>
                    </a:lnTo>
                    <a:lnTo>
                      <a:pt x="19" y="6"/>
                    </a:lnTo>
                    <a:lnTo>
                      <a:pt x="21" y="12"/>
                    </a:lnTo>
                    <a:lnTo>
                      <a:pt x="35" y="29"/>
                    </a:lnTo>
                    <a:lnTo>
                      <a:pt x="39" y="31"/>
                    </a:lnTo>
                    <a:lnTo>
                      <a:pt x="44" y="35"/>
                    </a:lnTo>
                    <a:lnTo>
                      <a:pt x="44" y="37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42" y="48"/>
                    </a:lnTo>
                    <a:lnTo>
                      <a:pt x="42" y="52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2" name="Freeform 44">
                <a:extLst>
                  <a:ext uri="{FF2B5EF4-FFF2-40B4-BE49-F238E27FC236}">
                    <a16:creationId xmlns:a16="http://schemas.microsoft.com/office/drawing/2014/main" id="{B9797D35-E4D9-4C10-AAA3-E6F2733C7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7307" y="1594324"/>
                <a:ext cx="320675" cy="238125"/>
              </a:xfrm>
              <a:custGeom>
                <a:avLst/>
                <a:gdLst>
                  <a:gd name="T0" fmla="*/ 51 w 202"/>
                  <a:gd name="T1" fmla="*/ 17 h 150"/>
                  <a:gd name="T2" fmla="*/ 66 w 202"/>
                  <a:gd name="T3" fmla="*/ 31 h 150"/>
                  <a:gd name="T4" fmla="*/ 83 w 202"/>
                  <a:gd name="T5" fmla="*/ 38 h 150"/>
                  <a:gd name="T6" fmla="*/ 103 w 202"/>
                  <a:gd name="T7" fmla="*/ 44 h 150"/>
                  <a:gd name="T8" fmla="*/ 110 w 202"/>
                  <a:gd name="T9" fmla="*/ 63 h 150"/>
                  <a:gd name="T10" fmla="*/ 110 w 202"/>
                  <a:gd name="T11" fmla="*/ 82 h 150"/>
                  <a:gd name="T12" fmla="*/ 129 w 202"/>
                  <a:gd name="T13" fmla="*/ 93 h 150"/>
                  <a:gd name="T14" fmla="*/ 146 w 202"/>
                  <a:gd name="T15" fmla="*/ 103 h 150"/>
                  <a:gd name="T16" fmla="*/ 154 w 202"/>
                  <a:gd name="T17" fmla="*/ 110 h 150"/>
                  <a:gd name="T18" fmla="*/ 177 w 202"/>
                  <a:gd name="T19" fmla="*/ 112 h 150"/>
                  <a:gd name="T20" fmla="*/ 190 w 202"/>
                  <a:gd name="T21" fmla="*/ 124 h 150"/>
                  <a:gd name="T22" fmla="*/ 202 w 202"/>
                  <a:gd name="T23" fmla="*/ 133 h 150"/>
                  <a:gd name="T24" fmla="*/ 202 w 202"/>
                  <a:gd name="T25" fmla="*/ 149 h 150"/>
                  <a:gd name="T26" fmla="*/ 198 w 202"/>
                  <a:gd name="T27" fmla="*/ 149 h 150"/>
                  <a:gd name="T28" fmla="*/ 185 w 202"/>
                  <a:gd name="T29" fmla="*/ 150 h 150"/>
                  <a:gd name="T30" fmla="*/ 175 w 202"/>
                  <a:gd name="T31" fmla="*/ 143 h 150"/>
                  <a:gd name="T32" fmla="*/ 169 w 202"/>
                  <a:gd name="T33" fmla="*/ 141 h 150"/>
                  <a:gd name="T34" fmla="*/ 156 w 202"/>
                  <a:gd name="T35" fmla="*/ 141 h 150"/>
                  <a:gd name="T36" fmla="*/ 148 w 202"/>
                  <a:gd name="T37" fmla="*/ 139 h 150"/>
                  <a:gd name="T38" fmla="*/ 144 w 202"/>
                  <a:gd name="T39" fmla="*/ 133 h 150"/>
                  <a:gd name="T40" fmla="*/ 139 w 202"/>
                  <a:gd name="T41" fmla="*/ 133 h 150"/>
                  <a:gd name="T42" fmla="*/ 129 w 202"/>
                  <a:gd name="T43" fmla="*/ 133 h 150"/>
                  <a:gd name="T44" fmla="*/ 123 w 202"/>
                  <a:gd name="T45" fmla="*/ 131 h 150"/>
                  <a:gd name="T46" fmla="*/ 120 w 202"/>
                  <a:gd name="T47" fmla="*/ 126 h 150"/>
                  <a:gd name="T48" fmla="*/ 116 w 202"/>
                  <a:gd name="T49" fmla="*/ 124 h 150"/>
                  <a:gd name="T50" fmla="*/ 110 w 202"/>
                  <a:gd name="T51" fmla="*/ 124 h 150"/>
                  <a:gd name="T52" fmla="*/ 106 w 202"/>
                  <a:gd name="T53" fmla="*/ 122 h 150"/>
                  <a:gd name="T54" fmla="*/ 101 w 202"/>
                  <a:gd name="T55" fmla="*/ 116 h 150"/>
                  <a:gd name="T56" fmla="*/ 87 w 202"/>
                  <a:gd name="T57" fmla="*/ 109 h 150"/>
                  <a:gd name="T58" fmla="*/ 82 w 202"/>
                  <a:gd name="T59" fmla="*/ 101 h 150"/>
                  <a:gd name="T60" fmla="*/ 82 w 202"/>
                  <a:gd name="T61" fmla="*/ 84 h 150"/>
                  <a:gd name="T62" fmla="*/ 74 w 202"/>
                  <a:gd name="T63" fmla="*/ 88 h 150"/>
                  <a:gd name="T64" fmla="*/ 68 w 202"/>
                  <a:gd name="T65" fmla="*/ 90 h 150"/>
                  <a:gd name="T66" fmla="*/ 66 w 202"/>
                  <a:gd name="T67" fmla="*/ 90 h 150"/>
                  <a:gd name="T68" fmla="*/ 62 w 202"/>
                  <a:gd name="T69" fmla="*/ 93 h 150"/>
                  <a:gd name="T70" fmla="*/ 61 w 202"/>
                  <a:gd name="T71" fmla="*/ 95 h 150"/>
                  <a:gd name="T72" fmla="*/ 55 w 202"/>
                  <a:gd name="T73" fmla="*/ 95 h 150"/>
                  <a:gd name="T74" fmla="*/ 49 w 202"/>
                  <a:gd name="T75" fmla="*/ 97 h 150"/>
                  <a:gd name="T76" fmla="*/ 45 w 202"/>
                  <a:gd name="T77" fmla="*/ 97 h 150"/>
                  <a:gd name="T78" fmla="*/ 36 w 202"/>
                  <a:gd name="T79" fmla="*/ 99 h 150"/>
                  <a:gd name="T80" fmla="*/ 30 w 202"/>
                  <a:gd name="T81" fmla="*/ 95 h 150"/>
                  <a:gd name="T82" fmla="*/ 28 w 202"/>
                  <a:gd name="T83" fmla="*/ 84 h 150"/>
                  <a:gd name="T84" fmla="*/ 22 w 202"/>
                  <a:gd name="T85" fmla="*/ 72 h 150"/>
                  <a:gd name="T86" fmla="*/ 9 w 202"/>
                  <a:gd name="T87" fmla="*/ 69 h 150"/>
                  <a:gd name="T88" fmla="*/ 1 w 202"/>
                  <a:gd name="T89" fmla="*/ 63 h 150"/>
                  <a:gd name="T90" fmla="*/ 0 w 202"/>
                  <a:gd name="T91" fmla="*/ 53 h 150"/>
                  <a:gd name="T92" fmla="*/ 1 w 202"/>
                  <a:gd name="T93" fmla="*/ 50 h 150"/>
                  <a:gd name="T94" fmla="*/ 9 w 202"/>
                  <a:gd name="T95" fmla="*/ 44 h 150"/>
                  <a:gd name="T96" fmla="*/ 9 w 202"/>
                  <a:gd name="T97" fmla="*/ 42 h 150"/>
                  <a:gd name="T98" fmla="*/ 7 w 202"/>
                  <a:gd name="T99" fmla="*/ 36 h 150"/>
                  <a:gd name="T100" fmla="*/ 13 w 202"/>
                  <a:gd name="T101" fmla="*/ 34 h 150"/>
                  <a:gd name="T102" fmla="*/ 13 w 202"/>
                  <a:gd name="T103" fmla="*/ 31 h 150"/>
                  <a:gd name="T104" fmla="*/ 9 w 202"/>
                  <a:gd name="T105" fmla="*/ 25 h 150"/>
                  <a:gd name="T106" fmla="*/ 7 w 202"/>
                  <a:gd name="T107" fmla="*/ 15 h 150"/>
                  <a:gd name="T108" fmla="*/ 9 w 202"/>
                  <a:gd name="T109" fmla="*/ 0 h 150"/>
                  <a:gd name="T110" fmla="*/ 41 w 202"/>
                  <a:gd name="T111" fmla="*/ 19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02" h="150">
                    <a:moveTo>
                      <a:pt x="41" y="19"/>
                    </a:moveTo>
                    <a:lnTo>
                      <a:pt x="51" y="17"/>
                    </a:lnTo>
                    <a:lnTo>
                      <a:pt x="61" y="21"/>
                    </a:lnTo>
                    <a:lnTo>
                      <a:pt x="66" y="31"/>
                    </a:lnTo>
                    <a:lnTo>
                      <a:pt x="70" y="34"/>
                    </a:lnTo>
                    <a:lnTo>
                      <a:pt x="83" y="38"/>
                    </a:lnTo>
                    <a:lnTo>
                      <a:pt x="95" y="38"/>
                    </a:lnTo>
                    <a:lnTo>
                      <a:pt x="103" y="44"/>
                    </a:lnTo>
                    <a:lnTo>
                      <a:pt x="106" y="51"/>
                    </a:lnTo>
                    <a:lnTo>
                      <a:pt x="110" y="63"/>
                    </a:lnTo>
                    <a:lnTo>
                      <a:pt x="110" y="72"/>
                    </a:lnTo>
                    <a:lnTo>
                      <a:pt x="110" y="82"/>
                    </a:lnTo>
                    <a:lnTo>
                      <a:pt x="118" y="90"/>
                    </a:lnTo>
                    <a:lnTo>
                      <a:pt x="129" y="93"/>
                    </a:lnTo>
                    <a:lnTo>
                      <a:pt x="139" y="97"/>
                    </a:lnTo>
                    <a:lnTo>
                      <a:pt x="146" y="103"/>
                    </a:lnTo>
                    <a:lnTo>
                      <a:pt x="148" y="109"/>
                    </a:lnTo>
                    <a:lnTo>
                      <a:pt x="154" y="110"/>
                    </a:lnTo>
                    <a:lnTo>
                      <a:pt x="164" y="114"/>
                    </a:lnTo>
                    <a:lnTo>
                      <a:pt x="177" y="112"/>
                    </a:lnTo>
                    <a:lnTo>
                      <a:pt x="181" y="112"/>
                    </a:lnTo>
                    <a:lnTo>
                      <a:pt x="190" y="124"/>
                    </a:lnTo>
                    <a:lnTo>
                      <a:pt x="196" y="122"/>
                    </a:lnTo>
                    <a:lnTo>
                      <a:pt x="202" y="133"/>
                    </a:lnTo>
                    <a:lnTo>
                      <a:pt x="202" y="149"/>
                    </a:lnTo>
                    <a:lnTo>
                      <a:pt x="202" y="149"/>
                    </a:lnTo>
                    <a:lnTo>
                      <a:pt x="202" y="149"/>
                    </a:lnTo>
                    <a:lnTo>
                      <a:pt x="198" y="149"/>
                    </a:lnTo>
                    <a:lnTo>
                      <a:pt x="188" y="150"/>
                    </a:lnTo>
                    <a:lnTo>
                      <a:pt x="185" y="150"/>
                    </a:lnTo>
                    <a:lnTo>
                      <a:pt x="181" y="149"/>
                    </a:lnTo>
                    <a:lnTo>
                      <a:pt x="175" y="143"/>
                    </a:lnTo>
                    <a:lnTo>
                      <a:pt x="173" y="141"/>
                    </a:lnTo>
                    <a:lnTo>
                      <a:pt x="169" y="141"/>
                    </a:lnTo>
                    <a:lnTo>
                      <a:pt x="160" y="143"/>
                    </a:lnTo>
                    <a:lnTo>
                      <a:pt x="156" y="141"/>
                    </a:lnTo>
                    <a:lnTo>
                      <a:pt x="150" y="139"/>
                    </a:lnTo>
                    <a:lnTo>
                      <a:pt x="148" y="139"/>
                    </a:lnTo>
                    <a:lnTo>
                      <a:pt x="146" y="135"/>
                    </a:lnTo>
                    <a:lnTo>
                      <a:pt x="144" y="133"/>
                    </a:lnTo>
                    <a:lnTo>
                      <a:pt x="143" y="133"/>
                    </a:lnTo>
                    <a:lnTo>
                      <a:pt x="139" y="133"/>
                    </a:lnTo>
                    <a:lnTo>
                      <a:pt x="135" y="133"/>
                    </a:lnTo>
                    <a:lnTo>
                      <a:pt x="129" y="133"/>
                    </a:lnTo>
                    <a:lnTo>
                      <a:pt x="127" y="133"/>
                    </a:lnTo>
                    <a:lnTo>
                      <a:pt x="123" y="131"/>
                    </a:lnTo>
                    <a:lnTo>
                      <a:pt x="122" y="130"/>
                    </a:lnTo>
                    <a:lnTo>
                      <a:pt x="120" y="126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0" y="124"/>
                    </a:lnTo>
                    <a:lnTo>
                      <a:pt x="110" y="124"/>
                    </a:lnTo>
                    <a:lnTo>
                      <a:pt x="108" y="124"/>
                    </a:lnTo>
                    <a:lnTo>
                      <a:pt x="106" y="122"/>
                    </a:lnTo>
                    <a:lnTo>
                      <a:pt x="104" y="120"/>
                    </a:lnTo>
                    <a:lnTo>
                      <a:pt x="101" y="116"/>
                    </a:lnTo>
                    <a:lnTo>
                      <a:pt x="97" y="112"/>
                    </a:lnTo>
                    <a:lnTo>
                      <a:pt x="87" y="109"/>
                    </a:lnTo>
                    <a:lnTo>
                      <a:pt x="83" y="107"/>
                    </a:lnTo>
                    <a:lnTo>
                      <a:pt x="82" y="101"/>
                    </a:lnTo>
                    <a:lnTo>
                      <a:pt x="83" y="90"/>
                    </a:lnTo>
                    <a:lnTo>
                      <a:pt x="82" y="84"/>
                    </a:lnTo>
                    <a:lnTo>
                      <a:pt x="80" y="84"/>
                    </a:lnTo>
                    <a:lnTo>
                      <a:pt x="74" y="88"/>
                    </a:lnTo>
                    <a:lnTo>
                      <a:pt x="72" y="90"/>
                    </a:lnTo>
                    <a:lnTo>
                      <a:pt x="68" y="90"/>
                    </a:lnTo>
                    <a:lnTo>
                      <a:pt x="68" y="90"/>
                    </a:lnTo>
                    <a:lnTo>
                      <a:pt x="66" y="90"/>
                    </a:lnTo>
                    <a:lnTo>
                      <a:pt x="64" y="91"/>
                    </a:lnTo>
                    <a:lnTo>
                      <a:pt x="62" y="93"/>
                    </a:lnTo>
                    <a:lnTo>
                      <a:pt x="62" y="95"/>
                    </a:lnTo>
                    <a:lnTo>
                      <a:pt x="61" y="95"/>
                    </a:lnTo>
                    <a:lnTo>
                      <a:pt x="59" y="95"/>
                    </a:lnTo>
                    <a:lnTo>
                      <a:pt x="55" y="95"/>
                    </a:lnTo>
                    <a:lnTo>
                      <a:pt x="51" y="97"/>
                    </a:lnTo>
                    <a:lnTo>
                      <a:pt x="49" y="97"/>
                    </a:lnTo>
                    <a:lnTo>
                      <a:pt x="47" y="97"/>
                    </a:lnTo>
                    <a:lnTo>
                      <a:pt x="45" y="97"/>
                    </a:lnTo>
                    <a:lnTo>
                      <a:pt x="41" y="97"/>
                    </a:lnTo>
                    <a:lnTo>
                      <a:pt x="36" y="99"/>
                    </a:lnTo>
                    <a:lnTo>
                      <a:pt x="32" y="99"/>
                    </a:lnTo>
                    <a:lnTo>
                      <a:pt x="30" y="95"/>
                    </a:lnTo>
                    <a:lnTo>
                      <a:pt x="28" y="90"/>
                    </a:lnTo>
                    <a:lnTo>
                      <a:pt x="28" y="84"/>
                    </a:lnTo>
                    <a:lnTo>
                      <a:pt x="26" y="78"/>
                    </a:lnTo>
                    <a:lnTo>
                      <a:pt x="22" y="72"/>
                    </a:lnTo>
                    <a:lnTo>
                      <a:pt x="21" y="71"/>
                    </a:lnTo>
                    <a:lnTo>
                      <a:pt x="9" y="69"/>
                    </a:lnTo>
                    <a:lnTo>
                      <a:pt x="5" y="67"/>
                    </a:lnTo>
                    <a:lnTo>
                      <a:pt x="1" y="63"/>
                    </a:lnTo>
                    <a:lnTo>
                      <a:pt x="0" y="59"/>
                    </a:lnTo>
                    <a:lnTo>
                      <a:pt x="0" y="53"/>
                    </a:lnTo>
                    <a:lnTo>
                      <a:pt x="0" y="51"/>
                    </a:lnTo>
                    <a:lnTo>
                      <a:pt x="1" y="50"/>
                    </a:lnTo>
                    <a:lnTo>
                      <a:pt x="7" y="46"/>
                    </a:lnTo>
                    <a:lnTo>
                      <a:pt x="9" y="44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7" y="38"/>
                    </a:lnTo>
                    <a:lnTo>
                      <a:pt x="7" y="36"/>
                    </a:lnTo>
                    <a:lnTo>
                      <a:pt x="9" y="34"/>
                    </a:lnTo>
                    <a:lnTo>
                      <a:pt x="13" y="34"/>
                    </a:lnTo>
                    <a:lnTo>
                      <a:pt x="13" y="32"/>
                    </a:lnTo>
                    <a:lnTo>
                      <a:pt x="13" y="31"/>
                    </a:lnTo>
                    <a:lnTo>
                      <a:pt x="13" y="29"/>
                    </a:lnTo>
                    <a:lnTo>
                      <a:pt x="9" y="25"/>
                    </a:lnTo>
                    <a:lnTo>
                      <a:pt x="7" y="21"/>
                    </a:lnTo>
                    <a:lnTo>
                      <a:pt x="7" y="15"/>
                    </a:lnTo>
                    <a:lnTo>
                      <a:pt x="11" y="4"/>
                    </a:lnTo>
                    <a:lnTo>
                      <a:pt x="9" y="0"/>
                    </a:lnTo>
                    <a:lnTo>
                      <a:pt x="30" y="2"/>
                    </a:lnTo>
                    <a:lnTo>
                      <a:pt x="41" y="1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3" name="Freeform 45">
                <a:extLst>
                  <a:ext uri="{FF2B5EF4-FFF2-40B4-BE49-F238E27FC236}">
                    <a16:creationId xmlns:a16="http://schemas.microsoft.com/office/drawing/2014/main" id="{6356D932-AA1A-4B10-A1E1-3382ABA88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5132" y="1708624"/>
                <a:ext cx="511175" cy="625475"/>
              </a:xfrm>
              <a:custGeom>
                <a:avLst/>
                <a:gdLst>
                  <a:gd name="T0" fmla="*/ 221 w 322"/>
                  <a:gd name="T1" fmla="*/ 18 h 394"/>
                  <a:gd name="T2" fmla="*/ 223 w 322"/>
                  <a:gd name="T3" fmla="*/ 23 h 394"/>
                  <a:gd name="T4" fmla="*/ 231 w 322"/>
                  <a:gd name="T5" fmla="*/ 29 h 394"/>
                  <a:gd name="T6" fmla="*/ 231 w 322"/>
                  <a:gd name="T7" fmla="*/ 40 h 394"/>
                  <a:gd name="T8" fmla="*/ 250 w 322"/>
                  <a:gd name="T9" fmla="*/ 56 h 394"/>
                  <a:gd name="T10" fmla="*/ 255 w 322"/>
                  <a:gd name="T11" fmla="*/ 65 h 394"/>
                  <a:gd name="T12" fmla="*/ 265 w 322"/>
                  <a:gd name="T13" fmla="*/ 56 h 394"/>
                  <a:gd name="T14" fmla="*/ 273 w 322"/>
                  <a:gd name="T15" fmla="*/ 78 h 394"/>
                  <a:gd name="T16" fmla="*/ 284 w 322"/>
                  <a:gd name="T17" fmla="*/ 88 h 394"/>
                  <a:gd name="T18" fmla="*/ 297 w 322"/>
                  <a:gd name="T19" fmla="*/ 67 h 394"/>
                  <a:gd name="T20" fmla="*/ 307 w 322"/>
                  <a:gd name="T21" fmla="*/ 73 h 394"/>
                  <a:gd name="T22" fmla="*/ 313 w 322"/>
                  <a:gd name="T23" fmla="*/ 73 h 394"/>
                  <a:gd name="T24" fmla="*/ 320 w 322"/>
                  <a:gd name="T25" fmla="*/ 73 h 394"/>
                  <a:gd name="T26" fmla="*/ 318 w 322"/>
                  <a:gd name="T27" fmla="*/ 90 h 394"/>
                  <a:gd name="T28" fmla="*/ 311 w 322"/>
                  <a:gd name="T29" fmla="*/ 115 h 394"/>
                  <a:gd name="T30" fmla="*/ 299 w 322"/>
                  <a:gd name="T31" fmla="*/ 134 h 394"/>
                  <a:gd name="T32" fmla="*/ 295 w 322"/>
                  <a:gd name="T33" fmla="*/ 174 h 394"/>
                  <a:gd name="T34" fmla="*/ 282 w 322"/>
                  <a:gd name="T35" fmla="*/ 200 h 394"/>
                  <a:gd name="T36" fmla="*/ 265 w 322"/>
                  <a:gd name="T37" fmla="*/ 202 h 394"/>
                  <a:gd name="T38" fmla="*/ 255 w 322"/>
                  <a:gd name="T39" fmla="*/ 212 h 394"/>
                  <a:gd name="T40" fmla="*/ 244 w 322"/>
                  <a:gd name="T41" fmla="*/ 219 h 394"/>
                  <a:gd name="T42" fmla="*/ 238 w 322"/>
                  <a:gd name="T43" fmla="*/ 227 h 394"/>
                  <a:gd name="T44" fmla="*/ 242 w 322"/>
                  <a:gd name="T45" fmla="*/ 234 h 394"/>
                  <a:gd name="T46" fmla="*/ 229 w 322"/>
                  <a:gd name="T47" fmla="*/ 240 h 394"/>
                  <a:gd name="T48" fmla="*/ 213 w 322"/>
                  <a:gd name="T49" fmla="*/ 242 h 394"/>
                  <a:gd name="T50" fmla="*/ 217 w 322"/>
                  <a:gd name="T51" fmla="*/ 274 h 394"/>
                  <a:gd name="T52" fmla="*/ 212 w 322"/>
                  <a:gd name="T53" fmla="*/ 278 h 394"/>
                  <a:gd name="T54" fmla="*/ 206 w 322"/>
                  <a:gd name="T55" fmla="*/ 292 h 394"/>
                  <a:gd name="T56" fmla="*/ 164 w 322"/>
                  <a:gd name="T57" fmla="*/ 299 h 394"/>
                  <a:gd name="T58" fmla="*/ 158 w 322"/>
                  <a:gd name="T59" fmla="*/ 303 h 394"/>
                  <a:gd name="T60" fmla="*/ 135 w 322"/>
                  <a:gd name="T61" fmla="*/ 311 h 394"/>
                  <a:gd name="T62" fmla="*/ 143 w 322"/>
                  <a:gd name="T63" fmla="*/ 331 h 394"/>
                  <a:gd name="T64" fmla="*/ 151 w 322"/>
                  <a:gd name="T65" fmla="*/ 347 h 394"/>
                  <a:gd name="T66" fmla="*/ 147 w 322"/>
                  <a:gd name="T67" fmla="*/ 358 h 394"/>
                  <a:gd name="T68" fmla="*/ 135 w 322"/>
                  <a:gd name="T69" fmla="*/ 364 h 394"/>
                  <a:gd name="T70" fmla="*/ 139 w 322"/>
                  <a:gd name="T71" fmla="*/ 379 h 394"/>
                  <a:gd name="T72" fmla="*/ 139 w 322"/>
                  <a:gd name="T73" fmla="*/ 394 h 394"/>
                  <a:gd name="T74" fmla="*/ 124 w 322"/>
                  <a:gd name="T75" fmla="*/ 341 h 394"/>
                  <a:gd name="T76" fmla="*/ 116 w 322"/>
                  <a:gd name="T77" fmla="*/ 290 h 394"/>
                  <a:gd name="T78" fmla="*/ 149 w 322"/>
                  <a:gd name="T79" fmla="*/ 267 h 394"/>
                  <a:gd name="T80" fmla="*/ 145 w 322"/>
                  <a:gd name="T81" fmla="*/ 252 h 394"/>
                  <a:gd name="T82" fmla="*/ 130 w 322"/>
                  <a:gd name="T83" fmla="*/ 242 h 394"/>
                  <a:gd name="T84" fmla="*/ 101 w 322"/>
                  <a:gd name="T85" fmla="*/ 219 h 394"/>
                  <a:gd name="T86" fmla="*/ 59 w 322"/>
                  <a:gd name="T87" fmla="*/ 202 h 394"/>
                  <a:gd name="T88" fmla="*/ 44 w 322"/>
                  <a:gd name="T89" fmla="*/ 158 h 394"/>
                  <a:gd name="T90" fmla="*/ 25 w 322"/>
                  <a:gd name="T91" fmla="*/ 109 h 394"/>
                  <a:gd name="T92" fmla="*/ 30 w 322"/>
                  <a:gd name="T93" fmla="*/ 75 h 394"/>
                  <a:gd name="T94" fmla="*/ 9 w 322"/>
                  <a:gd name="T95" fmla="*/ 84 h 394"/>
                  <a:gd name="T96" fmla="*/ 0 w 322"/>
                  <a:gd name="T97" fmla="*/ 75 h 394"/>
                  <a:gd name="T98" fmla="*/ 13 w 322"/>
                  <a:gd name="T99" fmla="*/ 75 h 394"/>
                  <a:gd name="T100" fmla="*/ 23 w 322"/>
                  <a:gd name="T101" fmla="*/ 63 h 394"/>
                  <a:gd name="T102" fmla="*/ 42 w 322"/>
                  <a:gd name="T103" fmla="*/ 61 h 394"/>
                  <a:gd name="T104" fmla="*/ 53 w 322"/>
                  <a:gd name="T105" fmla="*/ 52 h 394"/>
                  <a:gd name="T106" fmla="*/ 61 w 322"/>
                  <a:gd name="T107" fmla="*/ 42 h 394"/>
                  <a:gd name="T108" fmla="*/ 80 w 322"/>
                  <a:gd name="T109" fmla="*/ 33 h 394"/>
                  <a:gd name="T110" fmla="*/ 109 w 322"/>
                  <a:gd name="T111" fmla="*/ 19 h 394"/>
                  <a:gd name="T112" fmla="*/ 122 w 322"/>
                  <a:gd name="T113" fmla="*/ 8 h 394"/>
                  <a:gd name="T114" fmla="*/ 143 w 322"/>
                  <a:gd name="T115" fmla="*/ 12 h 394"/>
                  <a:gd name="T116" fmla="*/ 191 w 322"/>
                  <a:gd name="T117" fmla="*/ 0 h 394"/>
                  <a:gd name="T118" fmla="*/ 204 w 322"/>
                  <a:gd name="T119" fmla="*/ 1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22" h="394">
                    <a:moveTo>
                      <a:pt x="210" y="19"/>
                    </a:moveTo>
                    <a:lnTo>
                      <a:pt x="215" y="18"/>
                    </a:lnTo>
                    <a:lnTo>
                      <a:pt x="219" y="18"/>
                    </a:lnTo>
                    <a:lnTo>
                      <a:pt x="221" y="18"/>
                    </a:lnTo>
                    <a:lnTo>
                      <a:pt x="221" y="19"/>
                    </a:lnTo>
                    <a:lnTo>
                      <a:pt x="223" y="21"/>
                    </a:lnTo>
                    <a:lnTo>
                      <a:pt x="223" y="21"/>
                    </a:lnTo>
                    <a:lnTo>
                      <a:pt x="223" y="23"/>
                    </a:lnTo>
                    <a:lnTo>
                      <a:pt x="227" y="23"/>
                    </a:lnTo>
                    <a:lnTo>
                      <a:pt x="229" y="25"/>
                    </a:lnTo>
                    <a:lnTo>
                      <a:pt x="231" y="27"/>
                    </a:lnTo>
                    <a:lnTo>
                      <a:pt x="231" y="29"/>
                    </a:lnTo>
                    <a:lnTo>
                      <a:pt x="229" y="31"/>
                    </a:lnTo>
                    <a:lnTo>
                      <a:pt x="227" y="35"/>
                    </a:lnTo>
                    <a:lnTo>
                      <a:pt x="227" y="37"/>
                    </a:lnTo>
                    <a:lnTo>
                      <a:pt x="231" y="40"/>
                    </a:lnTo>
                    <a:lnTo>
                      <a:pt x="234" y="50"/>
                    </a:lnTo>
                    <a:lnTo>
                      <a:pt x="238" y="52"/>
                    </a:lnTo>
                    <a:lnTo>
                      <a:pt x="248" y="54"/>
                    </a:lnTo>
                    <a:lnTo>
                      <a:pt x="250" y="56"/>
                    </a:lnTo>
                    <a:lnTo>
                      <a:pt x="252" y="58"/>
                    </a:lnTo>
                    <a:lnTo>
                      <a:pt x="252" y="61"/>
                    </a:lnTo>
                    <a:lnTo>
                      <a:pt x="252" y="63"/>
                    </a:lnTo>
                    <a:lnTo>
                      <a:pt x="255" y="65"/>
                    </a:lnTo>
                    <a:lnTo>
                      <a:pt x="257" y="63"/>
                    </a:lnTo>
                    <a:lnTo>
                      <a:pt x="259" y="61"/>
                    </a:lnTo>
                    <a:lnTo>
                      <a:pt x="261" y="59"/>
                    </a:lnTo>
                    <a:lnTo>
                      <a:pt x="265" y="56"/>
                    </a:lnTo>
                    <a:lnTo>
                      <a:pt x="269" y="61"/>
                    </a:lnTo>
                    <a:lnTo>
                      <a:pt x="271" y="67"/>
                    </a:lnTo>
                    <a:lnTo>
                      <a:pt x="273" y="73"/>
                    </a:lnTo>
                    <a:lnTo>
                      <a:pt x="273" y="78"/>
                    </a:lnTo>
                    <a:lnTo>
                      <a:pt x="274" y="82"/>
                    </a:lnTo>
                    <a:lnTo>
                      <a:pt x="276" y="86"/>
                    </a:lnTo>
                    <a:lnTo>
                      <a:pt x="280" y="90"/>
                    </a:lnTo>
                    <a:lnTo>
                      <a:pt x="284" y="88"/>
                    </a:lnTo>
                    <a:lnTo>
                      <a:pt x="288" y="84"/>
                    </a:lnTo>
                    <a:lnTo>
                      <a:pt x="292" y="80"/>
                    </a:lnTo>
                    <a:lnTo>
                      <a:pt x="294" y="77"/>
                    </a:lnTo>
                    <a:lnTo>
                      <a:pt x="297" y="67"/>
                    </a:lnTo>
                    <a:lnTo>
                      <a:pt x="299" y="65"/>
                    </a:lnTo>
                    <a:lnTo>
                      <a:pt x="303" y="67"/>
                    </a:lnTo>
                    <a:lnTo>
                      <a:pt x="305" y="67"/>
                    </a:lnTo>
                    <a:lnTo>
                      <a:pt x="307" y="73"/>
                    </a:lnTo>
                    <a:lnTo>
                      <a:pt x="309" y="73"/>
                    </a:lnTo>
                    <a:lnTo>
                      <a:pt x="309" y="73"/>
                    </a:lnTo>
                    <a:lnTo>
                      <a:pt x="311" y="75"/>
                    </a:lnTo>
                    <a:lnTo>
                      <a:pt x="313" y="73"/>
                    </a:lnTo>
                    <a:lnTo>
                      <a:pt x="315" y="73"/>
                    </a:lnTo>
                    <a:lnTo>
                      <a:pt x="315" y="71"/>
                    </a:lnTo>
                    <a:lnTo>
                      <a:pt x="316" y="71"/>
                    </a:lnTo>
                    <a:lnTo>
                      <a:pt x="320" y="73"/>
                    </a:lnTo>
                    <a:lnTo>
                      <a:pt x="322" y="78"/>
                    </a:lnTo>
                    <a:lnTo>
                      <a:pt x="322" y="78"/>
                    </a:lnTo>
                    <a:lnTo>
                      <a:pt x="320" y="86"/>
                    </a:lnTo>
                    <a:lnTo>
                      <a:pt x="318" y="90"/>
                    </a:lnTo>
                    <a:lnTo>
                      <a:pt x="311" y="97"/>
                    </a:lnTo>
                    <a:lnTo>
                      <a:pt x="307" y="103"/>
                    </a:lnTo>
                    <a:lnTo>
                      <a:pt x="309" y="109"/>
                    </a:lnTo>
                    <a:lnTo>
                      <a:pt x="311" y="115"/>
                    </a:lnTo>
                    <a:lnTo>
                      <a:pt x="309" y="120"/>
                    </a:lnTo>
                    <a:lnTo>
                      <a:pt x="307" y="124"/>
                    </a:lnTo>
                    <a:lnTo>
                      <a:pt x="303" y="130"/>
                    </a:lnTo>
                    <a:lnTo>
                      <a:pt x="299" y="134"/>
                    </a:lnTo>
                    <a:lnTo>
                      <a:pt x="297" y="139"/>
                    </a:lnTo>
                    <a:lnTo>
                      <a:pt x="297" y="166"/>
                    </a:lnTo>
                    <a:lnTo>
                      <a:pt x="297" y="170"/>
                    </a:lnTo>
                    <a:lnTo>
                      <a:pt x="295" y="174"/>
                    </a:lnTo>
                    <a:lnTo>
                      <a:pt x="288" y="181"/>
                    </a:lnTo>
                    <a:lnTo>
                      <a:pt x="286" y="185"/>
                    </a:lnTo>
                    <a:lnTo>
                      <a:pt x="284" y="191"/>
                    </a:lnTo>
                    <a:lnTo>
                      <a:pt x="282" y="200"/>
                    </a:lnTo>
                    <a:lnTo>
                      <a:pt x="280" y="202"/>
                    </a:lnTo>
                    <a:lnTo>
                      <a:pt x="274" y="204"/>
                    </a:lnTo>
                    <a:lnTo>
                      <a:pt x="269" y="202"/>
                    </a:lnTo>
                    <a:lnTo>
                      <a:pt x="265" y="202"/>
                    </a:lnTo>
                    <a:lnTo>
                      <a:pt x="259" y="202"/>
                    </a:lnTo>
                    <a:lnTo>
                      <a:pt x="257" y="204"/>
                    </a:lnTo>
                    <a:lnTo>
                      <a:pt x="255" y="208"/>
                    </a:lnTo>
                    <a:lnTo>
                      <a:pt x="255" y="212"/>
                    </a:lnTo>
                    <a:lnTo>
                      <a:pt x="254" y="214"/>
                    </a:lnTo>
                    <a:lnTo>
                      <a:pt x="252" y="217"/>
                    </a:lnTo>
                    <a:lnTo>
                      <a:pt x="250" y="217"/>
                    </a:lnTo>
                    <a:lnTo>
                      <a:pt x="244" y="219"/>
                    </a:lnTo>
                    <a:lnTo>
                      <a:pt x="242" y="219"/>
                    </a:lnTo>
                    <a:lnTo>
                      <a:pt x="240" y="221"/>
                    </a:lnTo>
                    <a:lnTo>
                      <a:pt x="238" y="223"/>
                    </a:lnTo>
                    <a:lnTo>
                      <a:pt x="238" y="227"/>
                    </a:lnTo>
                    <a:lnTo>
                      <a:pt x="240" y="229"/>
                    </a:lnTo>
                    <a:lnTo>
                      <a:pt x="242" y="231"/>
                    </a:lnTo>
                    <a:lnTo>
                      <a:pt x="242" y="233"/>
                    </a:lnTo>
                    <a:lnTo>
                      <a:pt x="242" y="234"/>
                    </a:lnTo>
                    <a:lnTo>
                      <a:pt x="240" y="240"/>
                    </a:lnTo>
                    <a:lnTo>
                      <a:pt x="240" y="240"/>
                    </a:lnTo>
                    <a:lnTo>
                      <a:pt x="234" y="240"/>
                    </a:lnTo>
                    <a:lnTo>
                      <a:pt x="229" y="240"/>
                    </a:lnTo>
                    <a:lnTo>
                      <a:pt x="219" y="236"/>
                    </a:lnTo>
                    <a:lnTo>
                      <a:pt x="215" y="238"/>
                    </a:lnTo>
                    <a:lnTo>
                      <a:pt x="213" y="240"/>
                    </a:lnTo>
                    <a:lnTo>
                      <a:pt x="213" y="242"/>
                    </a:lnTo>
                    <a:lnTo>
                      <a:pt x="215" y="250"/>
                    </a:lnTo>
                    <a:lnTo>
                      <a:pt x="219" y="265"/>
                    </a:lnTo>
                    <a:lnTo>
                      <a:pt x="219" y="271"/>
                    </a:lnTo>
                    <a:lnTo>
                      <a:pt x="217" y="274"/>
                    </a:lnTo>
                    <a:lnTo>
                      <a:pt x="215" y="274"/>
                    </a:lnTo>
                    <a:lnTo>
                      <a:pt x="213" y="274"/>
                    </a:lnTo>
                    <a:lnTo>
                      <a:pt x="212" y="274"/>
                    </a:lnTo>
                    <a:lnTo>
                      <a:pt x="212" y="278"/>
                    </a:lnTo>
                    <a:lnTo>
                      <a:pt x="213" y="284"/>
                    </a:lnTo>
                    <a:lnTo>
                      <a:pt x="212" y="286"/>
                    </a:lnTo>
                    <a:lnTo>
                      <a:pt x="210" y="290"/>
                    </a:lnTo>
                    <a:lnTo>
                      <a:pt x="206" y="292"/>
                    </a:lnTo>
                    <a:lnTo>
                      <a:pt x="200" y="299"/>
                    </a:lnTo>
                    <a:lnTo>
                      <a:pt x="198" y="301"/>
                    </a:lnTo>
                    <a:lnTo>
                      <a:pt x="168" y="297"/>
                    </a:lnTo>
                    <a:lnTo>
                      <a:pt x="164" y="299"/>
                    </a:lnTo>
                    <a:lnTo>
                      <a:pt x="162" y="299"/>
                    </a:lnTo>
                    <a:lnTo>
                      <a:pt x="160" y="303"/>
                    </a:lnTo>
                    <a:lnTo>
                      <a:pt x="158" y="303"/>
                    </a:lnTo>
                    <a:lnTo>
                      <a:pt x="158" y="303"/>
                    </a:lnTo>
                    <a:lnTo>
                      <a:pt x="154" y="301"/>
                    </a:lnTo>
                    <a:lnTo>
                      <a:pt x="143" y="301"/>
                    </a:lnTo>
                    <a:lnTo>
                      <a:pt x="137" y="305"/>
                    </a:lnTo>
                    <a:lnTo>
                      <a:pt x="135" y="311"/>
                    </a:lnTo>
                    <a:lnTo>
                      <a:pt x="137" y="316"/>
                    </a:lnTo>
                    <a:lnTo>
                      <a:pt x="139" y="322"/>
                    </a:lnTo>
                    <a:lnTo>
                      <a:pt x="141" y="328"/>
                    </a:lnTo>
                    <a:lnTo>
                      <a:pt x="143" y="331"/>
                    </a:lnTo>
                    <a:lnTo>
                      <a:pt x="147" y="337"/>
                    </a:lnTo>
                    <a:lnTo>
                      <a:pt x="149" y="339"/>
                    </a:lnTo>
                    <a:lnTo>
                      <a:pt x="151" y="343"/>
                    </a:lnTo>
                    <a:lnTo>
                      <a:pt x="151" y="347"/>
                    </a:lnTo>
                    <a:lnTo>
                      <a:pt x="152" y="354"/>
                    </a:lnTo>
                    <a:lnTo>
                      <a:pt x="152" y="358"/>
                    </a:lnTo>
                    <a:lnTo>
                      <a:pt x="151" y="360"/>
                    </a:lnTo>
                    <a:lnTo>
                      <a:pt x="147" y="358"/>
                    </a:lnTo>
                    <a:lnTo>
                      <a:pt x="143" y="358"/>
                    </a:lnTo>
                    <a:lnTo>
                      <a:pt x="139" y="358"/>
                    </a:lnTo>
                    <a:lnTo>
                      <a:pt x="137" y="360"/>
                    </a:lnTo>
                    <a:lnTo>
                      <a:pt x="135" y="364"/>
                    </a:lnTo>
                    <a:lnTo>
                      <a:pt x="135" y="368"/>
                    </a:lnTo>
                    <a:lnTo>
                      <a:pt x="139" y="373"/>
                    </a:lnTo>
                    <a:lnTo>
                      <a:pt x="139" y="379"/>
                    </a:lnTo>
                    <a:lnTo>
                      <a:pt x="139" y="379"/>
                    </a:lnTo>
                    <a:lnTo>
                      <a:pt x="139" y="385"/>
                    </a:lnTo>
                    <a:lnTo>
                      <a:pt x="139" y="389"/>
                    </a:lnTo>
                    <a:lnTo>
                      <a:pt x="139" y="392"/>
                    </a:lnTo>
                    <a:lnTo>
                      <a:pt x="139" y="394"/>
                    </a:lnTo>
                    <a:lnTo>
                      <a:pt x="128" y="383"/>
                    </a:lnTo>
                    <a:lnTo>
                      <a:pt x="126" y="379"/>
                    </a:lnTo>
                    <a:lnTo>
                      <a:pt x="122" y="370"/>
                    </a:lnTo>
                    <a:lnTo>
                      <a:pt x="124" y="341"/>
                    </a:lnTo>
                    <a:lnTo>
                      <a:pt x="124" y="331"/>
                    </a:lnTo>
                    <a:lnTo>
                      <a:pt x="122" y="322"/>
                    </a:lnTo>
                    <a:lnTo>
                      <a:pt x="114" y="303"/>
                    </a:lnTo>
                    <a:lnTo>
                      <a:pt x="116" y="290"/>
                    </a:lnTo>
                    <a:lnTo>
                      <a:pt x="126" y="284"/>
                    </a:lnTo>
                    <a:lnTo>
                      <a:pt x="137" y="278"/>
                    </a:lnTo>
                    <a:lnTo>
                      <a:pt x="147" y="269"/>
                    </a:lnTo>
                    <a:lnTo>
                      <a:pt x="149" y="267"/>
                    </a:lnTo>
                    <a:lnTo>
                      <a:pt x="149" y="263"/>
                    </a:lnTo>
                    <a:lnTo>
                      <a:pt x="149" y="259"/>
                    </a:lnTo>
                    <a:lnTo>
                      <a:pt x="147" y="255"/>
                    </a:lnTo>
                    <a:lnTo>
                      <a:pt x="145" y="252"/>
                    </a:lnTo>
                    <a:lnTo>
                      <a:pt x="145" y="250"/>
                    </a:lnTo>
                    <a:lnTo>
                      <a:pt x="141" y="246"/>
                    </a:lnTo>
                    <a:lnTo>
                      <a:pt x="135" y="244"/>
                    </a:lnTo>
                    <a:lnTo>
                      <a:pt x="130" y="242"/>
                    </a:lnTo>
                    <a:lnTo>
                      <a:pt x="126" y="240"/>
                    </a:lnTo>
                    <a:lnTo>
                      <a:pt x="118" y="231"/>
                    </a:lnTo>
                    <a:lnTo>
                      <a:pt x="109" y="223"/>
                    </a:lnTo>
                    <a:lnTo>
                      <a:pt x="101" y="219"/>
                    </a:lnTo>
                    <a:lnTo>
                      <a:pt x="72" y="215"/>
                    </a:lnTo>
                    <a:lnTo>
                      <a:pt x="67" y="212"/>
                    </a:lnTo>
                    <a:lnTo>
                      <a:pt x="63" y="208"/>
                    </a:lnTo>
                    <a:lnTo>
                      <a:pt x="59" y="202"/>
                    </a:lnTo>
                    <a:lnTo>
                      <a:pt x="51" y="174"/>
                    </a:lnTo>
                    <a:lnTo>
                      <a:pt x="49" y="172"/>
                    </a:lnTo>
                    <a:lnTo>
                      <a:pt x="46" y="164"/>
                    </a:lnTo>
                    <a:lnTo>
                      <a:pt x="44" y="158"/>
                    </a:lnTo>
                    <a:lnTo>
                      <a:pt x="42" y="147"/>
                    </a:lnTo>
                    <a:lnTo>
                      <a:pt x="42" y="141"/>
                    </a:lnTo>
                    <a:lnTo>
                      <a:pt x="29" y="120"/>
                    </a:lnTo>
                    <a:lnTo>
                      <a:pt x="25" y="109"/>
                    </a:lnTo>
                    <a:lnTo>
                      <a:pt x="27" y="97"/>
                    </a:lnTo>
                    <a:lnTo>
                      <a:pt x="30" y="90"/>
                    </a:lnTo>
                    <a:lnTo>
                      <a:pt x="32" y="80"/>
                    </a:lnTo>
                    <a:lnTo>
                      <a:pt x="30" y="75"/>
                    </a:lnTo>
                    <a:lnTo>
                      <a:pt x="23" y="75"/>
                    </a:lnTo>
                    <a:lnTo>
                      <a:pt x="19" y="77"/>
                    </a:lnTo>
                    <a:lnTo>
                      <a:pt x="13" y="82"/>
                    </a:lnTo>
                    <a:lnTo>
                      <a:pt x="9" y="84"/>
                    </a:lnTo>
                    <a:lnTo>
                      <a:pt x="8" y="84"/>
                    </a:lnTo>
                    <a:lnTo>
                      <a:pt x="4" y="80"/>
                    </a:lnTo>
                    <a:lnTo>
                      <a:pt x="2" y="78"/>
                    </a:lnTo>
                    <a:lnTo>
                      <a:pt x="0" y="75"/>
                    </a:lnTo>
                    <a:lnTo>
                      <a:pt x="4" y="75"/>
                    </a:lnTo>
                    <a:lnTo>
                      <a:pt x="8" y="77"/>
                    </a:lnTo>
                    <a:lnTo>
                      <a:pt x="11" y="77"/>
                    </a:lnTo>
                    <a:lnTo>
                      <a:pt x="13" y="75"/>
                    </a:lnTo>
                    <a:lnTo>
                      <a:pt x="17" y="71"/>
                    </a:lnTo>
                    <a:lnTo>
                      <a:pt x="17" y="67"/>
                    </a:lnTo>
                    <a:lnTo>
                      <a:pt x="19" y="63"/>
                    </a:lnTo>
                    <a:lnTo>
                      <a:pt x="23" y="63"/>
                    </a:lnTo>
                    <a:lnTo>
                      <a:pt x="34" y="67"/>
                    </a:lnTo>
                    <a:lnTo>
                      <a:pt x="38" y="67"/>
                    </a:lnTo>
                    <a:lnTo>
                      <a:pt x="40" y="67"/>
                    </a:lnTo>
                    <a:lnTo>
                      <a:pt x="42" y="61"/>
                    </a:lnTo>
                    <a:lnTo>
                      <a:pt x="42" y="58"/>
                    </a:lnTo>
                    <a:lnTo>
                      <a:pt x="46" y="54"/>
                    </a:lnTo>
                    <a:lnTo>
                      <a:pt x="48" y="52"/>
                    </a:lnTo>
                    <a:lnTo>
                      <a:pt x="53" y="52"/>
                    </a:lnTo>
                    <a:lnTo>
                      <a:pt x="55" y="50"/>
                    </a:lnTo>
                    <a:lnTo>
                      <a:pt x="57" y="46"/>
                    </a:lnTo>
                    <a:lnTo>
                      <a:pt x="59" y="44"/>
                    </a:lnTo>
                    <a:lnTo>
                      <a:pt x="61" y="42"/>
                    </a:lnTo>
                    <a:lnTo>
                      <a:pt x="67" y="42"/>
                    </a:lnTo>
                    <a:lnTo>
                      <a:pt x="70" y="38"/>
                    </a:lnTo>
                    <a:lnTo>
                      <a:pt x="74" y="37"/>
                    </a:lnTo>
                    <a:lnTo>
                      <a:pt x="80" y="33"/>
                    </a:lnTo>
                    <a:lnTo>
                      <a:pt x="90" y="33"/>
                    </a:lnTo>
                    <a:lnTo>
                      <a:pt x="93" y="31"/>
                    </a:lnTo>
                    <a:lnTo>
                      <a:pt x="107" y="21"/>
                    </a:lnTo>
                    <a:lnTo>
                      <a:pt x="109" y="19"/>
                    </a:lnTo>
                    <a:lnTo>
                      <a:pt x="111" y="12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22" y="8"/>
                    </a:lnTo>
                    <a:lnTo>
                      <a:pt x="126" y="10"/>
                    </a:lnTo>
                    <a:lnTo>
                      <a:pt x="135" y="12"/>
                    </a:lnTo>
                    <a:lnTo>
                      <a:pt x="139" y="14"/>
                    </a:lnTo>
                    <a:lnTo>
                      <a:pt x="143" y="12"/>
                    </a:lnTo>
                    <a:lnTo>
                      <a:pt x="158" y="8"/>
                    </a:lnTo>
                    <a:lnTo>
                      <a:pt x="173" y="6"/>
                    </a:lnTo>
                    <a:lnTo>
                      <a:pt x="187" y="0"/>
                    </a:lnTo>
                    <a:lnTo>
                      <a:pt x="191" y="0"/>
                    </a:lnTo>
                    <a:lnTo>
                      <a:pt x="196" y="0"/>
                    </a:lnTo>
                    <a:lnTo>
                      <a:pt x="200" y="2"/>
                    </a:lnTo>
                    <a:lnTo>
                      <a:pt x="204" y="6"/>
                    </a:lnTo>
                    <a:lnTo>
                      <a:pt x="204" y="10"/>
                    </a:lnTo>
                    <a:lnTo>
                      <a:pt x="204" y="16"/>
                    </a:lnTo>
                    <a:lnTo>
                      <a:pt x="204" y="19"/>
                    </a:lnTo>
                    <a:lnTo>
                      <a:pt x="210" y="1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4" name="Freeform 46">
                <a:extLst>
                  <a:ext uri="{FF2B5EF4-FFF2-40B4-BE49-F238E27FC236}">
                    <a16:creationId xmlns:a16="http://schemas.microsoft.com/office/drawing/2014/main" id="{3C42B8A8-DA77-412D-A053-E12C090366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1032" y="1443511"/>
                <a:ext cx="903288" cy="625475"/>
              </a:xfrm>
              <a:custGeom>
                <a:avLst/>
                <a:gdLst>
                  <a:gd name="T0" fmla="*/ 302 w 569"/>
                  <a:gd name="T1" fmla="*/ 13 h 394"/>
                  <a:gd name="T2" fmla="*/ 351 w 569"/>
                  <a:gd name="T3" fmla="*/ 19 h 394"/>
                  <a:gd name="T4" fmla="*/ 376 w 569"/>
                  <a:gd name="T5" fmla="*/ 49 h 394"/>
                  <a:gd name="T6" fmla="*/ 435 w 569"/>
                  <a:gd name="T7" fmla="*/ 95 h 394"/>
                  <a:gd name="T8" fmla="*/ 433 w 569"/>
                  <a:gd name="T9" fmla="*/ 131 h 394"/>
                  <a:gd name="T10" fmla="*/ 427 w 569"/>
                  <a:gd name="T11" fmla="*/ 158 h 394"/>
                  <a:gd name="T12" fmla="*/ 462 w 569"/>
                  <a:gd name="T13" fmla="*/ 194 h 394"/>
                  <a:gd name="T14" fmla="*/ 488 w 569"/>
                  <a:gd name="T15" fmla="*/ 188 h 394"/>
                  <a:gd name="T16" fmla="*/ 508 w 569"/>
                  <a:gd name="T17" fmla="*/ 196 h 394"/>
                  <a:gd name="T18" fmla="*/ 569 w 569"/>
                  <a:gd name="T19" fmla="*/ 301 h 394"/>
                  <a:gd name="T20" fmla="*/ 551 w 569"/>
                  <a:gd name="T21" fmla="*/ 329 h 394"/>
                  <a:gd name="T22" fmla="*/ 519 w 569"/>
                  <a:gd name="T23" fmla="*/ 358 h 394"/>
                  <a:gd name="T24" fmla="*/ 445 w 569"/>
                  <a:gd name="T25" fmla="*/ 365 h 394"/>
                  <a:gd name="T26" fmla="*/ 410 w 569"/>
                  <a:gd name="T27" fmla="*/ 392 h 394"/>
                  <a:gd name="T28" fmla="*/ 340 w 569"/>
                  <a:gd name="T29" fmla="*/ 373 h 394"/>
                  <a:gd name="T30" fmla="*/ 332 w 569"/>
                  <a:gd name="T31" fmla="*/ 339 h 394"/>
                  <a:gd name="T32" fmla="*/ 309 w 569"/>
                  <a:gd name="T33" fmla="*/ 346 h 394"/>
                  <a:gd name="T34" fmla="*/ 252 w 569"/>
                  <a:gd name="T35" fmla="*/ 301 h 394"/>
                  <a:gd name="T36" fmla="*/ 204 w 569"/>
                  <a:gd name="T37" fmla="*/ 303 h 394"/>
                  <a:gd name="T38" fmla="*/ 202 w 569"/>
                  <a:gd name="T39" fmla="*/ 301 h 394"/>
                  <a:gd name="T40" fmla="*/ 201 w 569"/>
                  <a:gd name="T41" fmla="*/ 295 h 394"/>
                  <a:gd name="T42" fmla="*/ 191 w 569"/>
                  <a:gd name="T43" fmla="*/ 295 h 394"/>
                  <a:gd name="T44" fmla="*/ 187 w 569"/>
                  <a:gd name="T45" fmla="*/ 291 h 394"/>
                  <a:gd name="T46" fmla="*/ 181 w 569"/>
                  <a:gd name="T47" fmla="*/ 291 h 394"/>
                  <a:gd name="T48" fmla="*/ 170 w 569"/>
                  <a:gd name="T49" fmla="*/ 285 h 394"/>
                  <a:gd name="T50" fmla="*/ 159 w 569"/>
                  <a:gd name="T51" fmla="*/ 282 h 394"/>
                  <a:gd name="T52" fmla="*/ 153 w 569"/>
                  <a:gd name="T53" fmla="*/ 285 h 394"/>
                  <a:gd name="T54" fmla="*/ 151 w 569"/>
                  <a:gd name="T55" fmla="*/ 278 h 394"/>
                  <a:gd name="T56" fmla="*/ 149 w 569"/>
                  <a:gd name="T57" fmla="*/ 261 h 394"/>
                  <a:gd name="T58" fmla="*/ 160 w 569"/>
                  <a:gd name="T59" fmla="*/ 249 h 394"/>
                  <a:gd name="T60" fmla="*/ 157 w 569"/>
                  <a:gd name="T61" fmla="*/ 236 h 394"/>
                  <a:gd name="T62" fmla="*/ 120 w 569"/>
                  <a:gd name="T63" fmla="*/ 232 h 394"/>
                  <a:gd name="T64" fmla="*/ 111 w 569"/>
                  <a:gd name="T65" fmla="*/ 228 h 394"/>
                  <a:gd name="T66" fmla="*/ 101 w 569"/>
                  <a:gd name="T67" fmla="*/ 226 h 394"/>
                  <a:gd name="T68" fmla="*/ 98 w 569"/>
                  <a:gd name="T69" fmla="*/ 223 h 394"/>
                  <a:gd name="T70" fmla="*/ 77 w 569"/>
                  <a:gd name="T71" fmla="*/ 204 h 394"/>
                  <a:gd name="T72" fmla="*/ 80 w 569"/>
                  <a:gd name="T73" fmla="*/ 190 h 394"/>
                  <a:gd name="T74" fmla="*/ 73 w 569"/>
                  <a:gd name="T75" fmla="*/ 183 h 394"/>
                  <a:gd name="T76" fmla="*/ 67 w 569"/>
                  <a:gd name="T77" fmla="*/ 186 h 394"/>
                  <a:gd name="T78" fmla="*/ 59 w 569"/>
                  <a:gd name="T79" fmla="*/ 183 h 394"/>
                  <a:gd name="T80" fmla="*/ 35 w 569"/>
                  <a:gd name="T81" fmla="*/ 188 h 394"/>
                  <a:gd name="T82" fmla="*/ 10 w 569"/>
                  <a:gd name="T83" fmla="*/ 158 h 394"/>
                  <a:gd name="T84" fmla="*/ 2 w 569"/>
                  <a:gd name="T85" fmla="*/ 146 h 394"/>
                  <a:gd name="T86" fmla="*/ 6 w 569"/>
                  <a:gd name="T87" fmla="*/ 127 h 394"/>
                  <a:gd name="T88" fmla="*/ 17 w 569"/>
                  <a:gd name="T89" fmla="*/ 120 h 394"/>
                  <a:gd name="T90" fmla="*/ 35 w 569"/>
                  <a:gd name="T91" fmla="*/ 112 h 394"/>
                  <a:gd name="T92" fmla="*/ 48 w 569"/>
                  <a:gd name="T93" fmla="*/ 95 h 394"/>
                  <a:gd name="T94" fmla="*/ 59 w 569"/>
                  <a:gd name="T95" fmla="*/ 88 h 394"/>
                  <a:gd name="T96" fmla="*/ 69 w 569"/>
                  <a:gd name="T97" fmla="*/ 80 h 394"/>
                  <a:gd name="T98" fmla="*/ 71 w 569"/>
                  <a:gd name="T99" fmla="*/ 63 h 394"/>
                  <a:gd name="T100" fmla="*/ 82 w 569"/>
                  <a:gd name="T101" fmla="*/ 49 h 394"/>
                  <a:gd name="T102" fmla="*/ 96 w 569"/>
                  <a:gd name="T103" fmla="*/ 51 h 394"/>
                  <a:gd name="T104" fmla="*/ 132 w 569"/>
                  <a:gd name="T105" fmla="*/ 49 h 394"/>
                  <a:gd name="T106" fmla="*/ 138 w 569"/>
                  <a:gd name="T107" fmla="*/ 53 h 394"/>
                  <a:gd name="T108" fmla="*/ 149 w 569"/>
                  <a:gd name="T109" fmla="*/ 53 h 394"/>
                  <a:gd name="T110" fmla="*/ 162 w 569"/>
                  <a:gd name="T111" fmla="*/ 49 h 394"/>
                  <a:gd name="T112" fmla="*/ 172 w 569"/>
                  <a:gd name="T113" fmla="*/ 49 h 394"/>
                  <a:gd name="T114" fmla="*/ 170 w 569"/>
                  <a:gd name="T115" fmla="*/ 42 h 394"/>
                  <a:gd name="T116" fmla="*/ 153 w 569"/>
                  <a:gd name="T117" fmla="*/ 32 h 394"/>
                  <a:gd name="T118" fmla="*/ 159 w 569"/>
                  <a:gd name="T119" fmla="*/ 25 h 394"/>
                  <a:gd name="T120" fmla="*/ 201 w 569"/>
                  <a:gd name="T121" fmla="*/ 25 h 394"/>
                  <a:gd name="T122" fmla="*/ 246 w 569"/>
                  <a:gd name="T123" fmla="*/ 8 h 394"/>
                  <a:gd name="T124" fmla="*/ 256 w 569"/>
                  <a:gd name="T125" fmla="*/ 4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69" h="394">
                    <a:moveTo>
                      <a:pt x="290" y="10"/>
                    </a:moveTo>
                    <a:lnTo>
                      <a:pt x="290" y="10"/>
                    </a:lnTo>
                    <a:lnTo>
                      <a:pt x="294" y="13"/>
                    </a:lnTo>
                    <a:lnTo>
                      <a:pt x="296" y="15"/>
                    </a:lnTo>
                    <a:lnTo>
                      <a:pt x="296" y="21"/>
                    </a:lnTo>
                    <a:lnTo>
                      <a:pt x="296" y="23"/>
                    </a:lnTo>
                    <a:lnTo>
                      <a:pt x="298" y="21"/>
                    </a:lnTo>
                    <a:lnTo>
                      <a:pt x="300" y="21"/>
                    </a:lnTo>
                    <a:lnTo>
                      <a:pt x="300" y="15"/>
                    </a:lnTo>
                    <a:lnTo>
                      <a:pt x="302" y="13"/>
                    </a:lnTo>
                    <a:lnTo>
                      <a:pt x="303" y="13"/>
                    </a:lnTo>
                    <a:lnTo>
                      <a:pt x="305" y="11"/>
                    </a:lnTo>
                    <a:lnTo>
                      <a:pt x="309" y="10"/>
                    </a:lnTo>
                    <a:lnTo>
                      <a:pt x="315" y="10"/>
                    </a:lnTo>
                    <a:lnTo>
                      <a:pt x="324" y="10"/>
                    </a:lnTo>
                    <a:lnTo>
                      <a:pt x="326" y="10"/>
                    </a:lnTo>
                    <a:lnTo>
                      <a:pt x="328" y="10"/>
                    </a:lnTo>
                    <a:lnTo>
                      <a:pt x="332" y="13"/>
                    </a:lnTo>
                    <a:lnTo>
                      <a:pt x="338" y="15"/>
                    </a:lnTo>
                    <a:lnTo>
                      <a:pt x="351" y="19"/>
                    </a:lnTo>
                    <a:lnTo>
                      <a:pt x="357" y="21"/>
                    </a:lnTo>
                    <a:lnTo>
                      <a:pt x="361" y="25"/>
                    </a:lnTo>
                    <a:lnTo>
                      <a:pt x="363" y="29"/>
                    </a:lnTo>
                    <a:lnTo>
                      <a:pt x="363" y="34"/>
                    </a:lnTo>
                    <a:lnTo>
                      <a:pt x="363" y="42"/>
                    </a:lnTo>
                    <a:lnTo>
                      <a:pt x="365" y="48"/>
                    </a:lnTo>
                    <a:lnTo>
                      <a:pt x="366" y="51"/>
                    </a:lnTo>
                    <a:lnTo>
                      <a:pt x="374" y="51"/>
                    </a:lnTo>
                    <a:lnTo>
                      <a:pt x="374" y="51"/>
                    </a:lnTo>
                    <a:lnTo>
                      <a:pt x="376" y="49"/>
                    </a:lnTo>
                    <a:lnTo>
                      <a:pt x="376" y="48"/>
                    </a:lnTo>
                    <a:lnTo>
                      <a:pt x="384" y="44"/>
                    </a:lnTo>
                    <a:lnTo>
                      <a:pt x="393" y="46"/>
                    </a:lnTo>
                    <a:lnTo>
                      <a:pt x="405" y="51"/>
                    </a:lnTo>
                    <a:lnTo>
                      <a:pt x="412" y="57"/>
                    </a:lnTo>
                    <a:lnTo>
                      <a:pt x="420" y="63"/>
                    </a:lnTo>
                    <a:lnTo>
                      <a:pt x="422" y="67"/>
                    </a:lnTo>
                    <a:lnTo>
                      <a:pt x="435" y="91"/>
                    </a:lnTo>
                    <a:lnTo>
                      <a:pt x="435" y="91"/>
                    </a:lnTo>
                    <a:lnTo>
                      <a:pt x="435" y="95"/>
                    </a:lnTo>
                    <a:lnTo>
                      <a:pt x="437" y="99"/>
                    </a:lnTo>
                    <a:lnTo>
                      <a:pt x="433" y="110"/>
                    </a:lnTo>
                    <a:lnTo>
                      <a:pt x="433" y="116"/>
                    </a:lnTo>
                    <a:lnTo>
                      <a:pt x="435" y="120"/>
                    </a:lnTo>
                    <a:lnTo>
                      <a:pt x="439" y="124"/>
                    </a:lnTo>
                    <a:lnTo>
                      <a:pt x="439" y="126"/>
                    </a:lnTo>
                    <a:lnTo>
                      <a:pt x="439" y="127"/>
                    </a:lnTo>
                    <a:lnTo>
                      <a:pt x="439" y="129"/>
                    </a:lnTo>
                    <a:lnTo>
                      <a:pt x="435" y="129"/>
                    </a:lnTo>
                    <a:lnTo>
                      <a:pt x="433" y="131"/>
                    </a:lnTo>
                    <a:lnTo>
                      <a:pt x="433" y="133"/>
                    </a:lnTo>
                    <a:lnTo>
                      <a:pt x="435" y="137"/>
                    </a:lnTo>
                    <a:lnTo>
                      <a:pt x="435" y="139"/>
                    </a:lnTo>
                    <a:lnTo>
                      <a:pt x="435" y="139"/>
                    </a:lnTo>
                    <a:lnTo>
                      <a:pt x="433" y="141"/>
                    </a:lnTo>
                    <a:lnTo>
                      <a:pt x="427" y="145"/>
                    </a:lnTo>
                    <a:lnTo>
                      <a:pt x="426" y="146"/>
                    </a:lnTo>
                    <a:lnTo>
                      <a:pt x="426" y="148"/>
                    </a:lnTo>
                    <a:lnTo>
                      <a:pt x="426" y="154"/>
                    </a:lnTo>
                    <a:lnTo>
                      <a:pt x="427" y="158"/>
                    </a:lnTo>
                    <a:lnTo>
                      <a:pt x="431" y="162"/>
                    </a:lnTo>
                    <a:lnTo>
                      <a:pt x="435" y="164"/>
                    </a:lnTo>
                    <a:lnTo>
                      <a:pt x="447" y="166"/>
                    </a:lnTo>
                    <a:lnTo>
                      <a:pt x="448" y="167"/>
                    </a:lnTo>
                    <a:lnTo>
                      <a:pt x="452" y="173"/>
                    </a:lnTo>
                    <a:lnTo>
                      <a:pt x="454" y="179"/>
                    </a:lnTo>
                    <a:lnTo>
                      <a:pt x="454" y="185"/>
                    </a:lnTo>
                    <a:lnTo>
                      <a:pt x="456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7" y="192"/>
                    </a:lnTo>
                    <a:lnTo>
                      <a:pt x="471" y="192"/>
                    </a:lnTo>
                    <a:lnTo>
                      <a:pt x="473" y="192"/>
                    </a:lnTo>
                    <a:lnTo>
                      <a:pt x="475" y="192"/>
                    </a:lnTo>
                    <a:lnTo>
                      <a:pt x="477" y="192"/>
                    </a:lnTo>
                    <a:lnTo>
                      <a:pt x="481" y="190"/>
                    </a:lnTo>
                    <a:lnTo>
                      <a:pt x="485" y="190"/>
                    </a:lnTo>
                    <a:lnTo>
                      <a:pt x="487" y="190"/>
                    </a:lnTo>
                    <a:lnTo>
                      <a:pt x="488" y="190"/>
                    </a:lnTo>
                    <a:lnTo>
                      <a:pt x="488" y="188"/>
                    </a:lnTo>
                    <a:lnTo>
                      <a:pt x="490" y="186"/>
                    </a:lnTo>
                    <a:lnTo>
                      <a:pt x="492" y="185"/>
                    </a:lnTo>
                    <a:lnTo>
                      <a:pt x="494" y="185"/>
                    </a:lnTo>
                    <a:lnTo>
                      <a:pt x="494" y="185"/>
                    </a:lnTo>
                    <a:lnTo>
                      <a:pt x="498" y="185"/>
                    </a:lnTo>
                    <a:lnTo>
                      <a:pt x="500" y="183"/>
                    </a:lnTo>
                    <a:lnTo>
                      <a:pt x="506" y="179"/>
                    </a:lnTo>
                    <a:lnTo>
                      <a:pt x="508" y="179"/>
                    </a:lnTo>
                    <a:lnTo>
                      <a:pt x="509" y="185"/>
                    </a:lnTo>
                    <a:lnTo>
                      <a:pt x="508" y="196"/>
                    </a:lnTo>
                    <a:lnTo>
                      <a:pt x="509" y="202"/>
                    </a:lnTo>
                    <a:lnTo>
                      <a:pt x="513" y="204"/>
                    </a:lnTo>
                    <a:lnTo>
                      <a:pt x="523" y="207"/>
                    </a:lnTo>
                    <a:lnTo>
                      <a:pt x="527" y="211"/>
                    </a:lnTo>
                    <a:lnTo>
                      <a:pt x="530" y="215"/>
                    </a:lnTo>
                    <a:lnTo>
                      <a:pt x="532" y="217"/>
                    </a:lnTo>
                    <a:lnTo>
                      <a:pt x="534" y="219"/>
                    </a:lnTo>
                    <a:lnTo>
                      <a:pt x="536" y="219"/>
                    </a:lnTo>
                    <a:lnTo>
                      <a:pt x="553" y="259"/>
                    </a:lnTo>
                    <a:lnTo>
                      <a:pt x="569" y="301"/>
                    </a:lnTo>
                    <a:lnTo>
                      <a:pt x="569" y="301"/>
                    </a:lnTo>
                    <a:lnTo>
                      <a:pt x="567" y="304"/>
                    </a:lnTo>
                    <a:lnTo>
                      <a:pt x="567" y="308"/>
                    </a:lnTo>
                    <a:lnTo>
                      <a:pt x="569" y="312"/>
                    </a:lnTo>
                    <a:lnTo>
                      <a:pt x="567" y="316"/>
                    </a:lnTo>
                    <a:lnTo>
                      <a:pt x="565" y="320"/>
                    </a:lnTo>
                    <a:lnTo>
                      <a:pt x="557" y="325"/>
                    </a:lnTo>
                    <a:lnTo>
                      <a:pt x="555" y="327"/>
                    </a:lnTo>
                    <a:lnTo>
                      <a:pt x="553" y="329"/>
                    </a:lnTo>
                    <a:lnTo>
                      <a:pt x="551" y="329"/>
                    </a:lnTo>
                    <a:lnTo>
                      <a:pt x="548" y="327"/>
                    </a:lnTo>
                    <a:lnTo>
                      <a:pt x="546" y="325"/>
                    </a:lnTo>
                    <a:lnTo>
                      <a:pt x="540" y="327"/>
                    </a:lnTo>
                    <a:lnTo>
                      <a:pt x="536" y="327"/>
                    </a:lnTo>
                    <a:lnTo>
                      <a:pt x="532" y="331"/>
                    </a:lnTo>
                    <a:lnTo>
                      <a:pt x="532" y="333"/>
                    </a:lnTo>
                    <a:lnTo>
                      <a:pt x="532" y="342"/>
                    </a:lnTo>
                    <a:lnTo>
                      <a:pt x="530" y="344"/>
                    </a:lnTo>
                    <a:lnTo>
                      <a:pt x="519" y="356"/>
                    </a:lnTo>
                    <a:lnTo>
                      <a:pt x="519" y="358"/>
                    </a:lnTo>
                    <a:lnTo>
                      <a:pt x="508" y="360"/>
                    </a:lnTo>
                    <a:lnTo>
                      <a:pt x="506" y="360"/>
                    </a:lnTo>
                    <a:lnTo>
                      <a:pt x="504" y="358"/>
                    </a:lnTo>
                    <a:lnTo>
                      <a:pt x="498" y="354"/>
                    </a:lnTo>
                    <a:lnTo>
                      <a:pt x="492" y="354"/>
                    </a:lnTo>
                    <a:lnTo>
                      <a:pt x="488" y="356"/>
                    </a:lnTo>
                    <a:lnTo>
                      <a:pt x="471" y="365"/>
                    </a:lnTo>
                    <a:lnTo>
                      <a:pt x="458" y="369"/>
                    </a:lnTo>
                    <a:lnTo>
                      <a:pt x="452" y="369"/>
                    </a:lnTo>
                    <a:lnTo>
                      <a:pt x="445" y="365"/>
                    </a:lnTo>
                    <a:lnTo>
                      <a:pt x="441" y="367"/>
                    </a:lnTo>
                    <a:lnTo>
                      <a:pt x="439" y="369"/>
                    </a:lnTo>
                    <a:lnTo>
                      <a:pt x="437" y="373"/>
                    </a:lnTo>
                    <a:lnTo>
                      <a:pt x="435" y="375"/>
                    </a:lnTo>
                    <a:lnTo>
                      <a:pt x="433" y="375"/>
                    </a:lnTo>
                    <a:lnTo>
                      <a:pt x="429" y="377"/>
                    </a:lnTo>
                    <a:lnTo>
                      <a:pt x="422" y="382"/>
                    </a:lnTo>
                    <a:lnTo>
                      <a:pt x="414" y="390"/>
                    </a:lnTo>
                    <a:lnTo>
                      <a:pt x="412" y="392"/>
                    </a:lnTo>
                    <a:lnTo>
                      <a:pt x="410" y="392"/>
                    </a:lnTo>
                    <a:lnTo>
                      <a:pt x="405" y="392"/>
                    </a:lnTo>
                    <a:lnTo>
                      <a:pt x="403" y="392"/>
                    </a:lnTo>
                    <a:lnTo>
                      <a:pt x="395" y="394"/>
                    </a:lnTo>
                    <a:lnTo>
                      <a:pt x="389" y="394"/>
                    </a:lnTo>
                    <a:lnTo>
                      <a:pt x="357" y="384"/>
                    </a:lnTo>
                    <a:lnTo>
                      <a:pt x="351" y="382"/>
                    </a:lnTo>
                    <a:lnTo>
                      <a:pt x="345" y="379"/>
                    </a:lnTo>
                    <a:lnTo>
                      <a:pt x="344" y="377"/>
                    </a:lnTo>
                    <a:lnTo>
                      <a:pt x="342" y="373"/>
                    </a:lnTo>
                    <a:lnTo>
                      <a:pt x="340" y="373"/>
                    </a:lnTo>
                    <a:lnTo>
                      <a:pt x="340" y="373"/>
                    </a:lnTo>
                    <a:lnTo>
                      <a:pt x="342" y="371"/>
                    </a:lnTo>
                    <a:lnTo>
                      <a:pt x="342" y="371"/>
                    </a:lnTo>
                    <a:lnTo>
                      <a:pt x="344" y="363"/>
                    </a:lnTo>
                    <a:lnTo>
                      <a:pt x="344" y="363"/>
                    </a:lnTo>
                    <a:lnTo>
                      <a:pt x="344" y="360"/>
                    </a:lnTo>
                    <a:lnTo>
                      <a:pt x="344" y="354"/>
                    </a:lnTo>
                    <a:lnTo>
                      <a:pt x="342" y="348"/>
                    </a:lnTo>
                    <a:lnTo>
                      <a:pt x="338" y="344"/>
                    </a:lnTo>
                    <a:lnTo>
                      <a:pt x="332" y="339"/>
                    </a:lnTo>
                    <a:lnTo>
                      <a:pt x="330" y="337"/>
                    </a:lnTo>
                    <a:lnTo>
                      <a:pt x="330" y="337"/>
                    </a:lnTo>
                    <a:lnTo>
                      <a:pt x="328" y="337"/>
                    </a:lnTo>
                    <a:lnTo>
                      <a:pt x="328" y="337"/>
                    </a:lnTo>
                    <a:lnTo>
                      <a:pt x="323" y="342"/>
                    </a:lnTo>
                    <a:lnTo>
                      <a:pt x="321" y="342"/>
                    </a:lnTo>
                    <a:lnTo>
                      <a:pt x="321" y="342"/>
                    </a:lnTo>
                    <a:lnTo>
                      <a:pt x="317" y="344"/>
                    </a:lnTo>
                    <a:lnTo>
                      <a:pt x="313" y="344"/>
                    </a:lnTo>
                    <a:lnTo>
                      <a:pt x="309" y="346"/>
                    </a:lnTo>
                    <a:lnTo>
                      <a:pt x="303" y="346"/>
                    </a:lnTo>
                    <a:lnTo>
                      <a:pt x="303" y="346"/>
                    </a:lnTo>
                    <a:lnTo>
                      <a:pt x="296" y="344"/>
                    </a:lnTo>
                    <a:lnTo>
                      <a:pt x="286" y="341"/>
                    </a:lnTo>
                    <a:lnTo>
                      <a:pt x="269" y="329"/>
                    </a:lnTo>
                    <a:lnTo>
                      <a:pt x="267" y="327"/>
                    </a:lnTo>
                    <a:lnTo>
                      <a:pt x="263" y="322"/>
                    </a:lnTo>
                    <a:lnTo>
                      <a:pt x="260" y="310"/>
                    </a:lnTo>
                    <a:lnTo>
                      <a:pt x="256" y="304"/>
                    </a:lnTo>
                    <a:lnTo>
                      <a:pt x="252" y="301"/>
                    </a:lnTo>
                    <a:lnTo>
                      <a:pt x="248" y="299"/>
                    </a:lnTo>
                    <a:lnTo>
                      <a:pt x="244" y="299"/>
                    </a:lnTo>
                    <a:lnTo>
                      <a:pt x="244" y="299"/>
                    </a:lnTo>
                    <a:lnTo>
                      <a:pt x="239" y="301"/>
                    </a:lnTo>
                    <a:lnTo>
                      <a:pt x="231" y="303"/>
                    </a:lnTo>
                    <a:lnTo>
                      <a:pt x="221" y="304"/>
                    </a:lnTo>
                    <a:lnTo>
                      <a:pt x="221" y="304"/>
                    </a:lnTo>
                    <a:lnTo>
                      <a:pt x="210" y="303"/>
                    </a:lnTo>
                    <a:lnTo>
                      <a:pt x="208" y="303"/>
                    </a:lnTo>
                    <a:lnTo>
                      <a:pt x="204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3"/>
                    </a:lnTo>
                    <a:lnTo>
                      <a:pt x="202" y="301"/>
                    </a:lnTo>
                    <a:lnTo>
                      <a:pt x="202" y="301"/>
                    </a:lnTo>
                    <a:lnTo>
                      <a:pt x="202" y="301"/>
                    </a:lnTo>
                    <a:lnTo>
                      <a:pt x="202" y="301"/>
                    </a:lnTo>
                    <a:lnTo>
                      <a:pt x="202" y="301"/>
                    </a:lnTo>
                    <a:lnTo>
                      <a:pt x="201" y="299"/>
                    </a:lnTo>
                    <a:lnTo>
                      <a:pt x="201" y="299"/>
                    </a:lnTo>
                    <a:lnTo>
                      <a:pt x="201" y="297"/>
                    </a:lnTo>
                    <a:lnTo>
                      <a:pt x="201" y="297"/>
                    </a:lnTo>
                    <a:lnTo>
                      <a:pt x="201" y="297"/>
                    </a:lnTo>
                    <a:lnTo>
                      <a:pt x="201" y="297"/>
                    </a:lnTo>
                    <a:lnTo>
                      <a:pt x="201" y="295"/>
                    </a:lnTo>
                    <a:lnTo>
                      <a:pt x="199" y="295"/>
                    </a:lnTo>
                    <a:lnTo>
                      <a:pt x="199" y="295"/>
                    </a:lnTo>
                    <a:lnTo>
                      <a:pt x="199" y="295"/>
                    </a:lnTo>
                    <a:lnTo>
                      <a:pt x="199" y="295"/>
                    </a:lnTo>
                    <a:lnTo>
                      <a:pt x="197" y="295"/>
                    </a:lnTo>
                    <a:lnTo>
                      <a:pt x="197" y="295"/>
                    </a:lnTo>
                    <a:lnTo>
                      <a:pt x="193" y="295"/>
                    </a:lnTo>
                    <a:lnTo>
                      <a:pt x="191" y="295"/>
                    </a:lnTo>
                    <a:lnTo>
                      <a:pt x="191" y="295"/>
                    </a:lnTo>
                    <a:lnTo>
                      <a:pt x="191" y="295"/>
                    </a:lnTo>
                    <a:lnTo>
                      <a:pt x="191" y="295"/>
                    </a:lnTo>
                    <a:lnTo>
                      <a:pt x="191" y="295"/>
                    </a:lnTo>
                    <a:lnTo>
                      <a:pt x="187" y="293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7" y="291"/>
                    </a:lnTo>
                    <a:lnTo>
                      <a:pt x="185" y="291"/>
                    </a:lnTo>
                    <a:lnTo>
                      <a:pt x="185" y="291"/>
                    </a:lnTo>
                    <a:lnTo>
                      <a:pt x="183" y="291"/>
                    </a:lnTo>
                    <a:lnTo>
                      <a:pt x="183" y="291"/>
                    </a:lnTo>
                    <a:lnTo>
                      <a:pt x="181" y="291"/>
                    </a:lnTo>
                    <a:lnTo>
                      <a:pt x="181" y="291"/>
                    </a:lnTo>
                    <a:lnTo>
                      <a:pt x="181" y="291"/>
                    </a:lnTo>
                    <a:lnTo>
                      <a:pt x="181" y="291"/>
                    </a:lnTo>
                    <a:lnTo>
                      <a:pt x="181" y="291"/>
                    </a:lnTo>
                    <a:lnTo>
                      <a:pt x="181" y="291"/>
                    </a:lnTo>
                    <a:lnTo>
                      <a:pt x="178" y="287"/>
                    </a:lnTo>
                    <a:lnTo>
                      <a:pt x="176" y="287"/>
                    </a:lnTo>
                    <a:lnTo>
                      <a:pt x="176" y="285"/>
                    </a:lnTo>
                    <a:lnTo>
                      <a:pt x="174" y="285"/>
                    </a:lnTo>
                    <a:lnTo>
                      <a:pt x="174" y="285"/>
                    </a:lnTo>
                    <a:lnTo>
                      <a:pt x="174" y="285"/>
                    </a:lnTo>
                    <a:lnTo>
                      <a:pt x="170" y="285"/>
                    </a:lnTo>
                    <a:lnTo>
                      <a:pt x="170" y="285"/>
                    </a:lnTo>
                    <a:lnTo>
                      <a:pt x="170" y="285"/>
                    </a:lnTo>
                    <a:lnTo>
                      <a:pt x="170" y="285"/>
                    </a:lnTo>
                    <a:lnTo>
                      <a:pt x="170" y="285"/>
                    </a:lnTo>
                    <a:lnTo>
                      <a:pt x="170" y="285"/>
                    </a:lnTo>
                    <a:lnTo>
                      <a:pt x="166" y="283"/>
                    </a:lnTo>
                    <a:lnTo>
                      <a:pt x="164" y="282"/>
                    </a:lnTo>
                    <a:lnTo>
                      <a:pt x="164" y="282"/>
                    </a:lnTo>
                    <a:lnTo>
                      <a:pt x="162" y="282"/>
                    </a:lnTo>
                    <a:lnTo>
                      <a:pt x="162" y="282"/>
                    </a:lnTo>
                    <a:lnTo>
                      <a:pt x="162" y="282"/>
                    </a:lnTo>
                    <a:lnTo>
                      <a:pt x="162" y="282"/>
                    </a:lnTo>
                    <a:lnTo>
                      <a:pt x="159" y="282"/>
                    </a:lnTo>
                    <a:lnTo>
                      <a:pt x="159" y="282"/>
                    </a:lnTo>
                    <a:lnTo>
                      <a:pt x="159" y="282"/>
                    </a:lnTo>
                    <a:lnTo>
                      <a:pt x="159" y="282"/>
                    </a:lnTo>
                    <a:lnTo>
                      <a:pt x="155" y="285"/>
                    </a:lnTo>
                    <a:lnTo>
                      <a:pt x="155" y="285"/>
                    </a:lnTo>
                    <a:lnTo>
                      <a:pt x="155" y="285"/>
                    </a:lnTo>
                    <a:lnTo>
                      <a:pt x="155" y="285"/>
                    </a:lnTo>
                    <a:lnTo>
                      <a:pt x="153" y="285"/>
                    </a:lnTo>
                    <a:lnTo>
                      <a:pt x="153" y="285"/>
                    </a:lnTo>
                    <a:lnTo>
                      <a:pt x="153" y="285"/>
                    </a:lnTo>
                    <a:lnTo>
                      <a:pt x="153" y="285"/>
                    </a:lnTo>
                    <a:lnTo>
                      <a:pt x="153" y="285"/>
                    </a:lnTo>
                    <a:lnTo>
                      <a:pt x="153" y="283"/>
                    </a:lnTo>
                    <a:lnTo>
                      <a:pt x="151" y="283"/>
                    </a:lnTo>
                    <a:lnTo>
                      <a:pt x="151" y="282"/>
                    </a:lnTo>
                    <a:lnTo>
                      <a:pt x="151" y="282"/>
                    </a:lnTo>
                    <a:lnTo>
                      <a:pt x="151" y="282"/>
                    </a:lnTo>
                    <a:lnTo>
                      <a:pt x="151" y="278"/>
                    </a:lnTo>
                    <a:lnTo>
                      <a:pt x="151" y="278"/>
                    </a:lnTo>
                    <a:lnTo>
                      <a:pt x="151" y="278"/>
                    </a:lnTo>
                    <a:lnTo>
                      <a:pt x="147" y="270"/>
                    </a:lnTo>
                    <a:lnTo>
                      <a:pt x="147" y="270"/>
                    </a:lnTo>
                    <a:lnTo>
                      <a:pt x="147" y="270"/>
                    </a:lnTo>
                    <a:lnTo>
                      <a:pt x="147" y="268"/>
                    </a:lnTo>
                    <a:lnTo>
                      <a:pt x="149" y="264"/>
                    </a:lnTo>
                    <a:lnTo>
                      <a:pt x="149" y="264"/>
                    </a:lnTo>
                    <a:lnTo>
                      <a:pt x="147" y="263"/>
                    </a:lnTo>
                    <a:lnTo>
                      <a:pt x="149" y="263"/>
                    </a:lnTo>
                    <a:lnTo>
                      <a:pt x="149" y="263"/>
                    </a:lnTo>
                    <a:lnTo>
                      <a:pt x="149" y="261"/>
                    </a:lnTo>
                    <a:lnTo>
                      <a:pt x="151" y="257"/>
                    </a:lnTo>
                    <a:lnTo>
                      <a:pt x="153" y="255"/>
                    </a:lnTo>
                    <a:lnTo>
                      <a:pt x="153" y="255"/>
                    </a:lnTo>
                    <a:lnTo>
                      <a:pt x="153" y="253"/>
                    </a:lnTo>
                    <a:lnTo>
                      <a:pt x="153" y="253"/>
                    </a:lnTo>
                    <a:lnTo>
                      <a:pt x="155" y="251"/>
                    </a:lnTo>
                    <a:lnTo>
                      <a:pt x="159" y="249"/>
                    </a:lnTo>
                    <a:lnTo>
                      <a:pt x="159" y="249"/>
                    </a:lnTo>
                    <a:lnTo>
                      <a:pt x="160" y="249"/>
                    </a:lnTo>
                    <a:lnTo>
                      <a:pt x="160" y="249"/>
                    </a:lnTo>
                    <a:lnTo>
                      <a:pt x="160" y="249"/>
                    </a:lnTo>
                    <a:lnTo>
                      <a:pt x="160" y="247"/>
                    </a:lnTo>
                    <a:lnTo>
                      <a:pt x="160" y="247"/>
                    </a:lnTo>
                    <a:lnTo>
                      <a:pt x="160" y="247"/>
                    </a:lnTo>
                    <a:lnTo>
                      <a:pt x="159" y="240"/>
                    </a:lnTo>
                    <a:lnTo>
                      <a:pt x="159" y="240"/>
                    </a:lnTo>
                    <a:lnTo>
                      <a:pt x="159" y="238"/>
                    </a:lnTo>
                    <a:lnTo>
                      <a:pt x="159" y="238"/>
                    </a:lnTo>
                    <a:lnTo>
                      <a:pt x="159" y="238"/>
                    </a:lnTo>
                    <a:lnTo>
                      <a:pt x="157" y="236"/>
                    </a:lnTo>
                    <a:lnTo>
                      <a:pt x="157" y="236"/>
                    </a:lnTo>
                    <a:lnTo>
                      <a:pt x="141" y="234"/>
                    </a:lnTo>
                    <a:lnTo>
                      <a:pt x="132" y="234"/>
                    </a:lnTo>
                    <a:lnTo>
                      <a:pt x="124" y="236"/>
                    </a:lnTo>
                    <a:lnTo>
                      <a:pt x="124" y="236"/>
                    </a:lnTo>
                    <a:lnTo>
                      <a:pt x="124" y="236"/>
                    </a:lnTo>
                    <a:lnTo>
                      <a:pt x="124" y="236"/>
                    </a:lnTo>
                    <a:lnTo>
                      <a:pt x="120" y="232"/>
                    </a:lnTo>
                    <a:lnTo>
                      <a:pt x="120" y="232"/>
                    </a:lnTo>
                    <a:lnTo>
                      <a:pt x="120" y="232"/>
                    </a:lnTo>
                    <a:lnTo>
                      <a:pt x="120" y="232"/>
                    </a:lnTo>
                    <a:lnTo>
                      <a:pt x="117" y="230"/>
                    </a:lnTo>
                    <a:lnTo>
                      <a:pt x="113" y="234"/>
                    </a:lnTo>
                    <a:lnTo>
                      <a:pt x="113" y="234"/>
                    </a:lnTo>
                    <a:lnTo>
                      <a:pt x="113" y="234"/>
                    </a:lnTo>
                    <a:lnTo>
                      <a:pt x="113" y="234"/>
                    </a:lnTo>
                    <a:lnTo>
                      <a:pt x="111" y="230"/>
                    </a:lnTo>
                    <a:lnTo>
                      <a:pt x="111" y="228"/>
                    </a:lnTo>
                    <a:lnTo>
                      <a:pt x="111" y="228"/>
                    </a:lnTo>
                    <a:lnTo>
                      <a:pt x="111" y="228"/>
                    </a:lnTo>
                    <a:lnTo>
                      <a:pt x="109" y="226"/>
                    </a:lnTo>
                    <a:lnTo>
                      <a:pt x="109" y="226"/>
                    </a:lnTo>
                    <a:lnTo>
                      <a:pt x="109" y="226"/>
                    </a:lnTo>
                    <a:lnTo>
                      <a:pt x="109" y="226"/>
                    </a:lnTo>
                    <a:lnTo>
                      <a:pt x="107" y="226"/>
                    </a:lnTo>
                    <a:lnTo>
                      <a:pt x="107" y="226"/>
                    </a:lnTo>
                    <a:lnTo>
                      <a:pt x="105" y="226"/>
                    </a:lnTo>
                    <a:lnTo>
                      <a:pt x="105" y="226"/>
                    </a:lnTo>
                    <a:lnTo>
                      <a:pt x="103" y="226"/>
                    </a:lnTo>
                    <a:lnTo>
                      <a:pt x="101" y="226"/>
                    </a:lnTo>
                    <a:lnTo>
                      <a:pt x="101" y="225"/>
                    </a:lnTo>
                    <a:lnTo>
                      <a:pt x="99" y="225"/>
                    </a:lnTo>
                    <a:lnTo>
                      <a:pt x="99" y="225"/>
                    </a:lnTo>
                    <a:lnTo>
                      <a:pt x="99" y="225"/>
                    </a:lnTo>
                    <a:lnTo>
                      <a:pt x="99" y="225"/>
                    </a:lnTo>
                    <a:lnTo>
                      <a:pt x="99" y="225"/>
                    </a:lnTo>
                    <a:lnTo>
                      <a:pt x="99" y="223"/>
                    </a:lnTo>
                    <a:lnTo>
                      <a:pt x="99" y="223"/>
                    </a:lnTo>
                    <a:lnTo>
                      <a:pt x="98" y="223"/>
                    </a:lnTo>
                    <a:lnTo>
                      <a:pt x="98" y="223"/>
                    </a:lnTo>
                    <a:lnTo>
                      <a:pt x="98" y="221"/>
                    </a:lnTo>
                    <a:lnTo>
                      <a:pt x="94" y="219"/>
                    </a:lnTo>
                    <a:lnTo>
                      <a:pt x="92" y="217"/>
                    </a:lnTo>
                    <a:lnTo>
                      <a:pt x="92" y="217"/>
                    </a:lnTo>
                    <a:lnTo>
                      <a:pt x="90" y="215"/>
                    </a:lnTo>
                    <a:lnTo>
                      <a:pt x="78" y="207"/>
                    </a:lnTo>
                    <a:lnTo>
                      <a:pt x="78" y="207"/>
                    </a:lnTo>
                    <a:lnTo>
                      <a:pt x="77" y="205"/>
                    </a:lnTo>
                    <a:lnTo>
                      <a:pt x="77" y="205"/>
                    </a:lnTo>
                    <a:lnTo>
                      <a:pt x="77" y="204"/>
                    </a:lnTo>
                    <a:lnTo>
                      <a:pt x="77" y="204"/>
                    </a:lnTo>
                    <a:lnTo>
                      <a:pt x="78" y="194"/>
                    </a:lnTo>
                    <a:lnTo>
                      <a:pt x="78" y="194"/>
                    </a:lnTo>
                    <a:lnTo>
                      <a:pt x="78" y="194"/>
                    </a:lnTo>
                    <a:lnTo>
                      <a:pt x="80" y="192"/>
                    </a:lnTo>
                    <a:lnTo>
                      <a:pt x="80" y="190"/>
                    </a:lnTo>
                    <a:lnTo>
                      <a:pt x="80" y="190"/>
                    </a:lnTo>
                    <a:lnTo>
                      <a:pt x="80" y="190"/>
                    </a:lnTo>
                    <a:lnTo>
                      <a:pt x="80" y="190"/>
                    </a:lnTo>
                    <a:lnTo>
                      <a:pt x="80" y="190"/>
                    </a:lnTo>
                    <a:lnTo>
                      <a:pt x="78" y="188"/>
                    </a:lnTo>
                    <a:lnTo>
                      <a:pt x="77" y="186"/>
                    </a:lnTo>
                    <a:lnTo>
                      <a:pt x="77" y="186"/>
                    </a:lnTo>
                    <a:lnTo>
                      <a:pt x="77" y="186"/>
                    </a:lnTo>
                    <a:lnTo>
                      <a:pt x="75" y="186"/>
                    </a:lnTo>
                    <a:lnTo>
                      <a:pt x="73" y="185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3" y="183"/>
                    </a:lnTo>
                    <a:lnTo>
                      <a:pt x="71" y="183"/>
                    </a:lnTo>
                    <a:lnTo>
                      <a:pt x="71" y="185"/>
                    </a:lnTo>
                    <a:lnTo>
                      <a:pt x="71" y="185"/>
                    </a:lnTo>
                    <a:lnTo>
                      <a:pt x="69" y="185"/>
                    </a:lnTo>
                    <a:lnTo>
                      <a:pt x="69" y="186"/>
                    </a:lnTo>
                    <a:lnTo>
                      <a:pt x="69" y="186"/>
                    </a:lnTo>
                    <a:lnTo>
                      <a:pt x="67" y="186"/>
                    </a:lnTo>
                    <a:lnTo>
                      <a:pt x="65" y="186"/>
                    </a:lnTo>
                    <a:lnTo>
                      <a:pt x="63" y="185"/>
                    </a:lnTo>
                    <a:lnTo>
                      <a:pt x="63" y="185"/>
                    </a:lnTo>
                    <a:lnTo>
                      <a:pt x="63" y="185"/>
                    </a:lnTo>
                    <a:lnTo>
                      <a:pt x="63" y="185"/>
                    </a:lnTo>
                    <a:lnTo>
                      <a:pt x="61" y="185"/>
                    </a:lnTo>
                    <a:lnTo>
                      <a:pt x="61" y="185"/>
                    </a:lnTo>
                    <a:lnTo>
                      <a:pt x="59" y="183"/>
                    </a:lnTo>
                    <a:lnTo>
                      <a:pt x="59" y="183"/>
                    </a:lnTo>
                    <a:lnTo>
                      <a:pt x="59" y="183"/>
                    </a:lnTo>
                    <a:lnTo>
                      <a:pt x="57" y="183"/>
                    </a:lnTo>
                    <a:lnTo>
                      <a:pt x="46" y="183"/>
                    </a:lnTo>
                    <a:lnTo>
                      <a:pt x="44" y="183"/>
                    </a:lnTo>
                    <a:lnTo>
                      <a:pt x="44" y="185"/>
                    </a:lnTo>
                    <a:lnTo>
                      <a:pt x="38" y="186"/>
                    </a:lnTo>
                    <a:lnTo>
                      <a:pt x="38" y="186"/>
                    </a:lnTo>
                    <a:lnTo>
                      <a:pt x="38" y="188"/>
                    </a:lnTo>
                    <a:lnTo>
                      <a:pt x="37" y="188"/>
                    </a:lnTo>
                    <a:lnTo>
                      <a:pt x="37" y="188"/>
                    </a:lnTo>
                    <a:lnTo>
                      <a:pt x="35" y="188"/>
                    </a:lnTo>
                    <a:lnTo>
                      <a:pt x="31" y="188"/>
                    </a:lnTo>
                    <a:lnTo>
                      <a:pt x="17" y="186"/>
                    </a:lnTo>
                    <a:lnTo>
                      <a:pt x="17" y="186"/>
                    </a:lnTo>
                    <a:lnTo>
                      <a:pt x="6" y="181"/>
                    </a:lnTo>
                    <a:lnTo>
                      <a:pt x="0" y="179"/>
                    </a:lnTo>
                    <a:lnTo>
                      <a:pt x="0" y="179"/>
                    </a:lnTo>
                    <a:lnTo>
                      <a:pt x="10" y="162"/>
                    </a:lnTo>
                    <a:lnTo>
                      <a:pt x="10" y="162"/>
                    </a:lnTo>
                    <a:lnTo>
                      <a:pt x="10" y="160"/>
                    </a:lnTo>
                    <a:lnTo>
                      <a:pt x="10" y="158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2" y="150"/>
                    </a:lnTo>
                    <a:lnTo>
                      <a:pt x="2" y="148"/>
                    </a:lnTo>
                    <a:lnTo>
                      <a:pt x="2" y="148"/>
                    </a:lnTo>
                    <a:lnTo>
                      <a:pt x="2" y="146"/>
                    </a:lnTo>
                    <a:lnTo>
                      <a:pt x="2" y="146"/>
                    </a:lnTo>
                    <a:lnTo>
                      <a:pt x="2" y="145"/>
                    </a:lnTo>
                    <a:lnTo>
                      <a:pt x="6" y="141"/>
                    </a:lnTo>
                    <a:lnTo>
                      <a:pt x="6" y="141"/>
                    </a:lnTo>
                    <a:lnTo>
                      <a:pt x="6" y="139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6" y="135"/>
                    </a:lnTo>
                    <a:lnTo>
                      <a:pt x="6" y="127"/>
                    </a:lnTo>
                    <a:lnTo>
                      <a:pt x="8" y="127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10" y="124"/>
                    </a:lnTo>
                    <a:lnTo>
                      <a:pt x="10" y="122"/>
                    </a:lnTo>
                    <a:lnTo>
                      <a:pt x="12" y="122"/>
                    </a:lnTo>
                    <a:lnTo>
                      <a:pt x="14" y="120"/>
                    </a:lnTo>
                    <a:lnTo>
                      <a:pt x="16" y="120"/>
                    </a:lnTo>
                    <a:lnTo>
                      <a:pt x="17" y="120"/>
                    </a:lnTo>
                    <a:lnTo>
                      <a:pt x="17" y="120"/>
                    </a:lnTo>
                    <a:lnTo>
                      <a:pt x="21" y="122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25" y="118"/>
                    </a:lnTo>
                    <a:lnTo>
                      <a:pt x="27" y="118"/>
                    </a:lnTo>
                    <a:lnTo>
                      <a:pt x="29" y="116"/>
                    </a:lnTo>
                    <a:lnTo>
                      <a:pt x="31" y="114"/>
                    </a:lnTo>
                    <a:lnTo>
                      <a:pt x="33" y="114"/>
                    </a:lnTo>
                    <a:lnTo>
                      <a:pt x="33" y="114"/>
                    </a:lnTo>
                    <a:lnTo>
                      <a:pt x="35" y="112"/>
                    </a:lnTo>
                    <a:lnTo>
                      <a:pt x="38" y="107"/>
                    </a:lnTo>
                    <a:lnTo>
                      <a:pt x="40" y="107"/>
                    </a:lnTo>
                    <a:lnTo>
                      <a:pt x="40" y="105"/>
                    </a:lnTo>
                    <a:lnTo>
                      <a:pt x="46" y="105"/>
                    </a:lnTo>
                    <a:lnTo>
                      <a:pt x="46" y="105"/>
                    </a:lnTo>
                    <a:lnTo>
                      <a:pt x="46" y="103"/>
                    </a:lnTo>
                    <a:lnTo>
                      <a:pt x="48" y="103"/>
                    </a:lnTo>
                    <a:lnTo>
                      <a:pt x="48" y="101"/>
                    </a:lnTo>
                    <a:lnTo>
                      <a:pt x="48" y="99"/>
                    </a:lnTo>
                    <a:lnTo>
                      <a:pt x="48" y="95"/>
                    </a:lnTo>
                    <a:lnTo>
                      <a:pt x="48" y="93"/>
                    </a:lnTo>
                    <a:lnTo>
                      <a:pt x="48" y="93"/>
                    </a:lnTo>
                    <a:lnTo>
                      <a:pt x="48" y="91"/>
                    </a:lnTo>
                    <a:lnTo>
                      <a:pt x="50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1"/>
                    </a:lnTo>
                    <a:lnTo>
                      <a:pt x="59" y="89"/>
                    </a:lnTo>
                    <a:lnTo>
                      <a:pt x="59" y="89"/>
                    </a:lnTo>
                    <a:lnTo>
                      <a:pt x="59" y="88"/>
                    </a:lnTo>
                    <a:lnTo>
                      <a:pt x="59" y="88"/>
                    </a:lnTo>
                    <a:lnTo>
                      <a:pt x="59" y="88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9" y="86"/>
                    </a:lnTo>
                    <a:lnTo>
                      <a:pt x="59" y="84"/>
                    </a:lnTo>
                    <a:lnTo>
                      <a:pt x="59" y="84"/>
                    </a:lnTo>
                    <a:lnTo>
                      <a:pt x="67" y="82"/>
                    </a:lnTo>
                    <a:lnTo>
                      <a:pt x="67" y="80"/>
                    </a:lnTo>
                    <a:lnTo>
                      <a:pt x="69" y="80"/>
                    </a:lnTo>
                    <a:lnTo>
                      <a:pt x="69" y="78"/>
                    </a:lnTo>
                    <a:lnTo>
                      <a:pt x="69" y="78"/>
                    </a:lnTo>
                    <a:lnTo>
                      <a:pt x="71" y="76"/>
                    </a:lnTo>
                    <a:lnTo>
                      <a:pt x="71" y="74"/>
                    </a:lnTo>
                    <a:lnTo>
                      <a:pt x="73" y="72"/>
                    </a:lnTo>
                    <a:lnTo>
                      <a:pt x="73" y="70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3" y="68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1" y="57"/>
                    </a:lnTo>
                    <a:lnTo>
                      <a:pt x="71" y="57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5" y="55"/>
                    </a:lnTo>
                    <a:lnTo>
                      <a:pt x="78" y="53"/>
                    </a:lnTo>
                    <a:lnTo>
                      <a:pt x="78" y="53"/>
                    </a:lnTo>
                    <a:lnTo>
                      <a:pt x="82" y="49"/>
                    </a:lnTo>
                    <a:lnTo>
                      <a:pt x="84" y="49"/>
                    </a:lnTo>
                    <a:lnTo>
                      <a:pt x="84" y="49"/>
                    </a:lnTo>
                    <a:lnTo>
                      <a:pt x="84" y="49"/>
                    </a:lnTo>
                    <a:lnTo>
                      <a:pt x="86" y="49"/>
                    </a:lnTo>
                    <a:lnTo>
                      <a:pt x="88" y="51"/>
                    </a:lnTo>
                    <a:lnTo>
                      <a:pt x="88" y="53"/>
                    </a:lnTo>
                    <a:lnTo>
                      <a:pt x="88" y="53"/>
                    </a:lnTo>
                    <a:lnTo>
                      <a:pt x="88" y="53"/>
                    </a:lnTo>
                    <a:lnTo>
                      <a:pt x="92" y="51"/>
                    </a:lnTo>
                    <a:lnTo>
                      <a:pt x="96" y="51"/>
                    </a:lnTo>
                    <a:lnTo>
                      <a:pt x="98" y="51"/>
                    </a:lnTo>
                    <a:lnTo>
                      <a:pt x="99" y="51"/>
                    </a:lnTo>
                    <a:lnTo>
                      <a:pt x="101" y="51"/>
                    </a:lnTo>
                    <a:lnTo>
                      <a:pt x="113" y="48"/>
                    </a:lnTo>
                    <a:lnTo>
                      <a:pt x="115" y="48"/>
                    </a:lnTo>
                    <a:lnTo>
                      <a:pt x="119" y="48"/>
                    </a:lnTo>
                    <a:lnTo>
                      <a:pt x="126" y="49"/>
                    </a:lnTo>
                    <a:lnTo>
                      <a:pt x="126" y="49"/>
                    </a:lnTo>
                    <a:lnTo>
                      <a:pt x="130" y="49"/>
                    </a:lnTo>
                    <a:lnTo>
                      <a:pt x="132" y="49"/>
                    </a:lnTo>
                    <a:lnTo>
                      <a:pt x="132" y="49"/>
                    </a:lnTo>
                    <a:lnTo>
                      <a:pt x="132" y="49"/>
                    </a:lnTo>
                    <a:lnTo>
                      <a:pt x="134" y="51"/>
                    </a:lnTo>
                    <a:lnTo>
                      <a:pt x="134" y="49"/>
                    </a:lnTo>
                    <a:lnTo>
                      <a:pt x="136" y="49"/>
                    </a:lnTo>
                    <a:lnTo>
                      <a:pt x="136" y="49"/>
                    </a:lnTo>
                    <a:lnTo>
                      <a:pt x="136" y="49"/>
                    </a:lnTo>
                    <a:lnTo>
                      <a:pt x="138" y="49"/>
                    </a:lnTo>
                    <a:lnTo>
                      <a:pt x="138" y="51"/>
                    </a:lnTo>
                    <a:lnTo>
                      <a:pt x="138" y="53"/>
                    </a:lnTo>
                    <a:lnTo>
                      <a:pt x="139" y="53"/>
                    </a:lnTo>
                    <a:lnTo>
                      <a:pt x="139" y="53"/>
                    </a:lnTo>
                    <a:lnTo>
                      <a:pt x="139" y="53"/>
                    </a:lnTo>
                    <a:lnTo>
                      <a:pt x="139" y="53"/>
                    </a:lnTo>
                    <a:lnTo>
                      <a:pt x="143" y="53"/>
                    </a:lnTo>
                    <a:lnTo>
                      <a:pt x="145" y="53"/>
                    </a:lnTo>
                    <a:lnTo>
                      <a:pt x="145" y="53"/>
                    </a:lnTo>
                    <a:lnTo>
                      <a:pt x="147" y="53"/>
                    </a:lnTo>
                    <a:lnTo>
                      <a:pt x="147" y="53"/>
                    </a:lnTo>
                    <a:lnTo>
                      <a:pt x="149" y="53"/>
                    </a:lnTo>
                    <a:lnTo>
                      <a:pt x="151" y="51"/>
                    </a:lnTo>
                    <a:lnTo>
                      <a:pt x="153" y="51"/>
                    </a:lnTo>
                    <a:lnTo>
                      <a:pt x="153" y="51"/>
                    </a:lnTo>
                    <a:lnTo>
                      <a:pt x="155" y="51"/>
                    </a:lnTo>
                    <a:lnTo>
                      <a:pt x="157" y="51"/>
                    </a:lnTo>
                    <a:lnTo>
                      <a:pt x="157" y="51"/>
                    </a:lnTo>
                    <a:lnTo>
                      <a:pt x="159" y="51"/>
                    </a:lnTo>
                    <a:lnTo>
                      <a:pt x="160" y="49"/>
                    </a:lnTo>
                    <a:lnTo>
                      <a:pt x="160" y="49"/>
                    </a:lnTo>
                    <a:lnTo>
                      <a:pt x="162" y="49"/>
                    </a:lnTo>
                    <a:lnTo>
                      <a:pt x="166" y="51"/>
                    </a:lnTo>
                    <a:lnTo>
                      <a:pt x="168" y="53"/>
                    </a:lnTo>
                    <a:lnTo>
                      <a:pt x="172" y="53"/>
                    </a:lnTo>
                    <a:lnTo>
                      <a:pt x="172" y="53"/>
                    </a:lnTo>
                    <a:lnTo>
                      <a:pt x="172" y="53"/>
                    </a:lnTo>
                    <a:lnTo>
                      <a:pt x="174" y="51"/>
                    </a:lnTo>
                    <a:lnTo>
                      <a:pt x="174" y="51"/>
                    </a:lnTo>
                    <a:lnTo>
                      <a:pt x="172" y="49"/>
                    </a:lnTo>
                    <a:lnTo>
                      <a:pt x="172" y="49"/>
                    </a:lnTo>
                    <a:lnTo>
                      <a:pt x="172" y="49"/>
                    </a:lnTo>
                    <a:lnTo>
                      <a:pt x="174" y="48"/>
                    </a:lnTo>
                    <a:lnTo>
                      <a:pt x="174" y="48"/>
                    </a:lnTo>
                    <a:lnTo>
                      <a:pt x="174" y="46"/>
                    </a:lnTo>
                    <a:lnTo>
                      <a:pt x="174" y="46"/>
                    </a:lnTo>
                    <a:lnTo>
                      <a:pt x="174" y="44"/>
                    </a:lnTo>
                    <a:lnTo>
                      <a:pt x="172" y="44"/>
                    </a:lnTo>
                    <a:lnTo>
                      <a:pt x="172" y="44"/>
                    </a:lnTo>
                    <a:lnTo>
                      <a:pt x="172" y="44"/>
                    </a:lnTo>
                    <a:lnTo>
                      <a:pt x="172" y="44"/>
                    </a:lnTo>
                    <a:lnTo>
                      <a:pt x="170" y="42"/>
                    </a:lnTo>
                    <a:lnTo>
                      <a:pt x="170" y="42"/>
                    </a:lnTo>
                    <a:lnTo>
                      <a:pt x="164" y="36"/>
                    </a:lnTo>
                    <a:lnTo>
                      <a:pt x="164" y="36"/>
                    </a:lnTo>
                    <a:lnTo>
                      <a:pt x="162" y="34"/>
                    </a:lnTo>
                    <a:lnTo>
                      <a:pt x="162" y="34"/>
                    </a:lnTo>
                    <a:lnTo>
                      <a:pt x="160" y="34"/>
                    </a:lnTo>
                    <a:lnTo>
                      <a:pt x="159" y="32"/>
                    </a:lnTo>
                    <a:lnTo>
                      <a:pt x="155" y="32"/>
                    </a:lnTo>
                    <a:lnTo>
                      <a:pt x="153" y="32"/>
                    </a:lnTo>
                    <a:lnTo>
                      <a:pt x="153" y="32"/>
                    </a:lnTo>
                    <a:lnTo>
                      <a:pt x="153" y="32"/>
                    </a:lnTo>
                    <a:lnTo>
                      <a:pt x="151" y="30"/>
                    </a:lnTo>
                    <a:lnTo>
                      <a:pt x="151" y="30"/>
                    </a:lnTo>
                    <a:lnTo>
                      <a:pt x="151" y="30"/>
                    </a:lnTo>
                    <a:lnTo>
                      <a:pt x="151" y="30"/>
                    </a:lnTo>
                    <a:lnTo>
                      <a:pt x="151" y="29"/>
                    </a:lnTo>
                    <a:lnTo>
                      <a:pt x="151" y="29"/>
                    </a:lnTo>
                    <a:lnTo>
                      <a:pt x="151" y="25"/>
                    </a:lnTo>
                    <a:lnTo>
                      <a:pt x="151" y="25"/>
                    </a:lnTo>
                    <a:lnTo>
                      <a:pt x="159" y="25"/>
                    </a:lnTo>
                    <a:lnTo>
                      <a:pt x="166" y="27"/>
                    </a:lnTo>
                    <a:lnTo>
                      <a:pt x="170" y="29"/>
                    </a:lnTo>
                    <a:lnTo>
                      <a:pt x="180" y="34"/>
                    </a:lnTo>
                    <a:lnTo>
                      <a:pt x="183" y="36"/>
                    </a:lnTo>
                    <a:lnTo>
                      <a:pt x="187" y="36"/>
                    </a:lnTo>
                    <a:lnTo>
                      <a:pt x="191" y="36"/>
                    </a:lnTo>
                    <a:lnTo>
                      <a:pt x="199" y="34"/>
                    </a:lnTo>
                    <a:lnTo>
                      <a:pt x="201" y="32"/>
                    </a:lnTo>
                    <a:lnTo>
                      <a:pt x="201" y="27"/>
                    </a:lnTo>
                    <a:lnTo>
                      <a:pt x="201" y="25"/>
                    </a:lnTo>
                    <a:lnTo>
                      <a:pt x="202" y="23"/>
                    </a:lnTo>
                    <a:lnTo>
                      <a:pt x="204" y="23"/>
                    </a:lnTo>
                    <a:lnTo>
                      <a:pt x="214" y="25"/>
                    </a:lnTo>
                    <a:lnTo>
                      <a:pt x="216" y="23"/>
                    </a:lnTo>
                    <a:lnTo>
                      <a:pt x="223" y="19"/>
                    </a:lnTo>
                    <a:lnTo>
                      <a:pt x="233" y="11"/>
                    </a:lnTo>
                    <a:lnTo>
                      <a:pt x="237" y="10"/>
                    </a:lnTo>
                    <a:lnTo>
                      <a:pt x="242" y="8"/>
                    </a:lnTo>
                    <a:lnTo>
                      <a:pt x="244" y="8"/>
                    </a:lnTo>
                    <a:lnTo>
                      <a:pt x="246" y="8"/>
                    </a:lnTo>
                    <a:lnTo>
                      <a:pt x="246" y="8"/>
                    </a:lnTo>
                    <a:lnTo>
                      <a:pt x="248" y="10"/>
                    </a:lnTo>
                    <a:lnTo>
                      <a:pt x="250" y="11"/>
                    </a:lnTo>
                    <a:lnTo>
                      <a:pt x="252" y="15"/>
                    </a:lnTo>
                    <a:lnTo>
                      <a:pt x="254" y="13"/>
                    </a:lnTo>
                    <a:lnTo>
                      <a:pt x="256" y="10"/>
                    </a:lnTo>
                    <a:lnTo>
                      <a:pt x="256" y="8"/>
                    </a:lnTo>
                    <a:lnTo>
                      <a:pt x="256" y="6"/>
                    </a:lnTo>
                    <a:lnTo>
                      <a:pt x="256" y="6"/>
                    </a:lnTo>
                    <a:lnTo>
                      <a:pt x="256" y="4"/>
                    </a:lnTo>
                    <a:lnTo>
                      <a:pt x="258" y="4"/>
                    </a:lnTo>
                    <a:lnTo>
                      <a:pt x="265" y="2"/>
                    </a:lnTo>
                    <a:lnTo>
                      <a:pt x="269" y="0"/>
                    </a:lnTo>
                    <a:lnTo>
                      <a:pt x="271" y="0"/>
                    </a:lnTo>
                    <a:lnTo>
                      <a:pt x="273" y="2"/>
                    </a:lnTo>
                    <a:lnTo>
                      <a:pt x="277" y="6"/>
                    </a:lnTo>
                    <a:lnTo>
                      <a:pt x="286" y="6"/>
                    </a:lnTo>
                    <a:lnTo>
                      <a:pt x="290" y="10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5" name="Freeform 47">
                <a:extLst>
                  <a:ext uri="{FF2B5EF4-FFF2-40B4-BE49-F238E27FC236}">
                    <a16:creationId xmlns:a16="http://schemas.microsoft.com/office/drawing/2014/main" id="{E97A08BD-0379-40A4-93D1-E5E3B562C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7244" y="1918174"/>
                <a:ext cx="369888" cy="549275"/>
              </a:xfrm>
              <a:custGeom>
                <a:avLst/>
                <a:gdLst>
                  <a:gd name="T0" fmla="*/ 217 w 233"/>
                  <a:gd name="T1" fmla="*/ 38 h 346"/>
                  <a:gd name="T2" fmla="*/ 233 w 233"/>
                  <a:gd name="T3" fmla="*/ 55 h 346"/>
                  <a:gd name="T4" fmla="*/ 229 w 233"/>
                  <a:gd name="T5" fmla="*/ 74 h 346"/>
                  <a:gd name="T6" fmla="*/ 128 w 233"/>
                  <a:gd name="T7" fmla="*/ 55 h 346"/>
                  <a:gd name="T8" fmla="*/ 70 w 233"/>
                  <a:gd name="T9" fmla="*/ 70 h 346"/>
                  <a:gd name="T10" fmla="*/ 57 w 233"/>
                  <a:gd name="T11" fmla="*/ 95 h 346"/>
                  <a:gd name="T12" fmla="*/ 48 w 233"/>
                  <a:gd name="T13" fmla="*/ 110 h 346"/>
                  <a:gd name="T14" fmla="*/ 65 w 233"/>
                  <a:gd name="T15" fmla="*/ 123 h 346"/>
                  <a:gd name="T16" fmla="*/ 72 w 233"/>
                  <a:gd name="T17" fmla="*/ 146 h 346"/>
                  <a:gd name="T18" fmla="*/ 72 w 233"/>
                  <a:gd name="T19" fmla="*/ 169 h 346"/>
                  <a:gd name="T20" fmla="*/ 109 w 233"/>
                  <a:gd name="T21" fmla="*/ 171 h 346"/>
                  <a:gd name="T22" fmla="*/ 80 w 233"/>
                  <a:gd name="T23" fmla="*/ 196 h 346"/>
                  <a:gd name="T24" fmla="*/ 70 w 233"/>
                  <a:gd name="T25" fmla="*/ 219 h 346"/>
                  <a:gd name="T26" fmla="*/ 93 w 233"/>
                  <a:gd name="T27" fmla="*/ 258 h 346"/>
                  <a:gd name="T28" fmla="*/ 76 w 233"/>
                  <a:gd name="T29" fmla="*/ 279 h 346"/>
                  <a:gd name="T30" fmla="*/ 95 w 233"/>
                  <a:gd name="T31" fmla="*/ 314 h 346"/>
                  <a:gd name="T32" fmla="*/ 118 w 233"/>
                  <a:gd name="T33" fmla="*/ 342 h 346"/>
                  <a:gd name="T34" fmla="*/ 70 w 233"/>
                  <a:gd name="T35" fmla="*/ 319 h 346"/>
                  <a:gd name="T36" fmla="*/ 57 w 233"/>
                  <a:gd name="T37" fmla="*/ 317 h 346"/>
                  <a:gd name="T38" fmla="*/ 48 w 233"/>
                  <a:gd name="T39" fmla="*/ 316 h 346"/>
                  <a:gd name="T40" fmla="*/ 32 w 233"/>
                  <a:gd name="T41" fmla="*/ 297 h 346"/>
                  <a:gd name="T42" fmla="*/ 28 w 233"/>
                  <a:gd name="T43" fmla="*/ 287 h 346"/>
                  <a:gd name="T44" fmla="*/ 25 w 233"/>
                  <a:gd name="T45" fmla="*/ 287 h 346"/>
                  <a:gd name="T46" fmla="*/ 23 w 233"/>
                  <a:gd name="T47" fmla="*/ 285 h 346"/>
                  <a:gd name="T48" fmla="*/ 25 w 233"/>
                  <a:gd name="T49" fmla="*/ 276 h 346"/>
                  <a:gd name="T50" fmla="*/ 23 w 233"/>
                  <a:gd name="T51" fmla="*/ 262 h 346"/>
                  <a:gd name="T52" fmla="*/ 28 w 233"/>
                  <a:gd name="T53" fmla="*/ 253 h 346"/>
                  <a:gd name="T54" fmla="*/ 28 w 233"/>
                  <a:gd name="T55" fmla="*/ 241 h 346"/>
                  <a:gd name="T56" fmla="*/ 27 w 233"/>
                  <a:gd name="T57" fmla="*/ 230 h 346"/>
                  <a:gd name="T58" fmla="*/ 27 w 233"/>
                  <a:gd name="T59" fmla="*/ 215 h 346"/>
                  <a:gd name="T60" fmla="*/ 23 w 233"/>
                  <a:gd name="T61" fmla="*/ 184 h 346"/>
                  <a:gd name="T62" fmla="*/ 11 w 233"/>
                  <a:gd name="T63" fmla="*/ 150 h 346"/>
                  <a:gd name="T64" fmla="*/ 9 w 233"/>
                  <a:gd name="T65" fmla="*/ 129 h 346"/>
                  <a:gd name="T66" fmla="*/ 2 w 233"/>
                  <a:gd name="T67" fmla="*/ 112 h 346"/>
                  <a:gd name="T68" fmla="*/ 4 w 233"/>
                  <a:gd name="T69" fmla="*/ 101 h 346"/>
                  <a:gd name="T70" fmla="*/ 6 w 233"/>
                  <a:gd name="T71" fmla="*/ 97 h 346"/>
                  <a:gd name="T72" fmla="*/ 6 w 233"/>
                  <a:gd name="T73" fmla="*/ 89 h 346"/>
                  <a:gd name="T74" fmla="*/ 9 w 233"/>
                  <a:gd name="T75" fmla="*/ 83 h 346"/>
                  <a:gd name="T76" fmla="*/ 17 w 233"/>
                  <a:gd name="T77" fmla="*/ 83 h 346"/>
                  <a:gd name="T78" fmla="*/ 25 w 233"/>
                  <a:gd name="T79" fmla="*/ 82 h 346"/>
                  <a:gd name="T80" fmla="*/ 27 w 233"/>
                  <a:gd name="T81" fmla="*/ 82 h 346"/>
                  <a:gd name="T82" fmla="*/ 28 w 233"/>
                  <a:gd name="T83" fmla="*/ 85 h 346"/>
                  <a:gd name="T84" fmla="*/ 34 w 233"/>
                  <a:gd name="T85" fmla="*/ 72 h 346"/>
                  <a:gd name="T86" fmla="*/ 36 w 233"/>
                  <a:gd name="T87" fmla="*/ 62 h 346"/>
                  <a:gd name="T88" fmla="*/ 44 w 233"/>
                  <a:gd name="T89" fmla="*/ 51 h 346"/>
                  <a:gd name="T90" fmla="*/ 51 w 233"/>
                  <a:gd name="T91" fmla="*/ 49 h 346"/>
                  <a:gd name="T92" fmla="*/ 61 w 233"/>
                  <a:gd name="T93" fmla="*/ 47 h 346"/>
                  <a:gd name="T94" fmla="*/ 65 w 233"/>
                  <a:gd name="T95" fmla="*/ 45 h 346"/>
                  <a:gd name="T96" fmla="*/ 69 w 233"/>
                  <a:gd name="T97" fmla="*/ 42 h 346"/>
                  <a:gd name="T98" fmla="*/ 72 w 233"/>
                  <a:gd name="T99" fmla="*/ 38 h 346"/>
                  <a:gd name="T100" fmla="*/ 78 w 233"/>
                  <a:gd name="T101" fmla="*/ 36 h 346"/>
                  <a:gd name="T102" fmla="*/ 80 w 233"/>
                  <a:gd name="T103" fmla="*/ 32 h 346"/>
                  <a:gd name="T104" fmla="*/ 84 w 233"/>
                  <a:gd name="T105" fmla="*/ 28 h 346"/>
                  <a:gd name="T106" fmla="*/ 88 w 233"/>
                  <a:gd name="T107" fmla="*/ 19 h 346"/>
                  <a:gd name="T108" fmla="*/ 90 w 233"/>
                  <a:gd name="T109" fmla="*/ 17 h 346"/>
                  <a:gd name="T110" fmla="*/ 86 w 233"/>
                  <a:gd name="T111" fmla="*/ 13 h 346"/>
                  <a:gd name="T112" fmla="*/ 84 w 233"/>
                  <a:gd name="T113" fmla="*/ 9 h 346"/>
                  <a:gd name="T114" fmla="*/ 93 w 233"/>
                  <a:gd name="T115" fmla="*/ 4 h 346"/>
                  <a:gd name="T116" fmla="*/ 133 w 233"/>
                  <a:gd name="T117" fmla="*/ 0 h 346"/>
                  <a:gd name="T118" fmla="*/ 156 w 233"/>
                  <a:gd name="T119" fmla="*/ 2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3" h="346">
                    <a:moveTo>
                      <a:pt x="198" y="47"/>
                    </a:moveTo>
                    <a:lnTo>
                      <a:pt x="202" y="45"/>
                    </a:lnTo>
                    <a:lnTo>
                      <a:pt x="206" y="45"/>
                    </a:lnTo>
                    <a:lnTo>
                      <a:pt x="210" y="43"/>
                    </a:lnTo>
                    <a:lnTo>
                      <a:pt x="210" y="43"/>
                    </a:lnTo>
                    <a:lnTo>
                      <a:pt x="212" y="43"/>
                    </a:lnTo>
                    <a:lnTo>
                      <a:pt x="217" y="38"/>
                    </a:lnTo>
                    <a:lnTo>
                      <a:pt x="217" y="38"/>
                    </a:lnTo>
                    <a:lnTo>
                      <a:pt x="219" y="38"/>
                    </a:lnTo>
                    <a:lnTo>
                      <a:pt x="219" y="38"/>
                    </a:lnTo>
                    <a:lnTo>
                      <a:pt x="221" y="40"/>
                    </a:lnTo>
                    <a:lnTo>
                      <a:pt x="227" y="45"/>
                    </a:lnTo>
                    <a:lnTo>
                      <a:pt x="231" y="49"/>
                    </a:lnTo>
                    <a:lnTo>
                      <a:pt x="233" y="55"/>
                    </a:lnTo>
                    <a:lnTo>
                      <a:pt x="233" y="61"/>
                    </a:lnTo>
                    <a:lnTo>
                      <a:pt x="233" y="64"/>
                    </a:lnTo>
                    <a:lnTo>
                      <a:pt x="233" y="64"/>
                    </a:lnTo>
                    <a:lnTo>
                      <a:pt x="231" y="72"/>
                    </a:lnTo>
                    <a:lnTo>
                      <a:pt x="231" y="72"/>
                    </a:lnTo>
                    <a:lnTo>
                      <a:pt x="229" y="74"/>
                    </a:lnTo>
                    <a:lnTo>
                      <a:pt x="229" y="74"/>
                    </a:lnTo>
                    <a:lnTo>
                      <a:pt x="229" y="74"/>
                    </a:lnTo>
                    <a:lnTo>
                      <a:pt x="229" y="72"/>
                    </a:lnTo>
                    <a:lnTo>
                      <a:pt x="223" y="72"/>
                    </a:lnTo>
                    <a:lnTo>
                      <a:pt x="215" y="74"/>
                    </a:lnTo>
                    <a:lnTo>
                      <a:pt x="204" y="74"/>
                    </a:lnTo>
                    <a:lnTo>
                      <a:pt x="160" y="66"/>
                    </a:lnTo>
                    <a:lnTo>
                      <a:pt x="128" y="55"/>
                    </a:lnTo>
                    <a:lnTo>
                      <a:pt x="120" y="53"/>
                    </a:lnTo>
                    <a:lnTo>
                      <a:pt x="112" y="53"/>
                    </a:lnTo>
                    <a:lnTo>
                      <a:pt x="103" y="57"/>
                    </a:lnTo>
                    <a:lnTo>
                      <a:pt x="95" y="64"/>
                    </a:lnTo>
                    <a:lnTo>
                      <a:pt x="91" y="66"/>
                    </a:lnTo>
                    <a:lnTo>
                      <a:pt x="70" y="68"/>
                    </a:lnTo>
                    <a:lnTo>
                      <a:pt x="70" y="70"/>
                    </a:lnTo>
                    <a:lnTo>
                      <a:pt x="67" y="72"/>
                    </a:lnTo>
                    <a:lnTo>
                      <a:pt x="65" y="76"/>
                    </a:lnTo>
                    <a:lnTo>
                      <a:pt x="67" y="80"/>
                    </a:lnTo>
                    <a:lnTo>
                      <a:pt x="67" y="85"/>
                    </a:lnTo>
                    <a:lnTo>
                      <a:pt x="65" y="87"/>
                    </a:lnTo>
                    <a:lnTo>
                      <a:pt x="59" y="91"/>
                    </a:lnTo>
                    <a:lnTo>
                      <a:pt x="57" y="95"/>
                    </a:lnTo>
                    <a:lnTo>
                      <a:pt x="57" y="95"/>
                    </a:lnTo>
                    <a:lnTo>
                      <a:pt x="57" y="101"/>
                    </a:lnTo>
                    <a:lnTo>
                      <a:pt x="55" y="102"/>
                    </a:lnTo>
                    <a:lnTo>
                      <a:pt x="55" y="104"/>
                    </a:lnTo>
                    <a:lnTo>
                      <a:pt x="51" y="106"/>
                    </a:lnTo>
                    <a:lnTo>
                      <a:pt x="49" y="106"/>
                    </a:lnTo>
                    <a:lnTo>
                      <a:pt x="48" y="110"/>
                    </a:lnTo>
                    <a:lnTo>
                      <a:pt x="48" y="114"/>
                    </a:lnTo>
                    <a:lnTo>
                      <a:pt x="49" y="118"/>
                    </a:lnTo>
                    <a:lnTo>
                      <a:pt x="51" y="121"/>
                    </a:lnTo>
                    <a:lnTo>
                      <a:pt x="55" y="123"/>
                    </a:lnTo>
                    <a:lnTo>
                      <a:pt x="57" y="123"/>
                    </a:lnTo>
                    <a:lnTo>
                      <a:pt x="61" y="123"/>
                    </a:lnTo>
                    <a:lnTo>
                      <a:pt x="65" y="123"/>
                    </a:lnTo>
                    <a:lnTo>
                      <a:pt x="69" y="123"/>
                    </a:lnTo>
                    <a:lnTo>
                      <a:pt x="70" y="127"/>
                    </a:lnTo>
                    <a:lnTo>
                      <a:pt x="72" y="135"/>
                    </a:lnTo>
                    <a:lnTo>
                      <a:pt x="74" y="137"/>
                    </a:lnTo>
                    <a:lnTo>
                      <a:pt x="76" y="141"/>
                    </a:lnTo>
                    <a:lnTo>
                      <a:pt x="76" y="144"/>
                    </a:lnTo>
                    <a:lnTo>
                      <a:pt x="72" y="146"/>
                    </a:lnTo>
                    <a:lnTo>
                      <a:pt x="65" y="150"/>
                    </a:lnTo>
                    <a:lnTo>
                      <a:pt x="63" y="152"/>
                    </a:lnTo>
                    <a:lnTo>
                      <a:pt x="61" y="158"/>
                    </a:lnTo>
                    <a:lnTo>
                      <a:pt x="63" y="161"/>
                    </a:lnTo>
                    <a:lnTo>
                      <a:pt x="65" y="165"/>
                    </a:lnTo>
                    <a:lnTo>
                      <a:pt x="69" y="169"/>
                    </a:lnTo>
                    <a:lnTo>
                      <a:pt x="72" y="169"/>
                    </a:lnTo>
                    <a:lnTo>
                      <a:pt x="82" y="167"/>
                    </a:lnTo>
                    <a:lnTo>
                      <a:pt x="84" y="167"/>
                    </a:lnTo>
                    <a:lnTo>
                      <a:pt x="91" y="169"/>
                    </a:lnTo>
                    <a:lnTo>
                      <a:pt x="95" y="169"/>
                    </a:lnTo>
                    <a:lnTo>
                      <a:pt x="101" y="169"/>
                    </a:lnTo>
                    <a:lnTo>
                      <a:pt x="105" y="169"/>
                    </a:lnTo>
                    <a:lnTo>
                      <a:pt x="109" y="171"/>
                    </a:lnTo>
                    <a:lnTo>
                      <a:pt x="110" y="177"/>
                    </a:lnTo>
                    <a:lnTo>
                      <a:pt x="109" y="180"/>
                    </a:lnTo>
                    <a:lnTo>
                      <a:pt x="107" y="184"/>
                    </a:lnTo>
                    <a:lnTo>
                      <a:pt x="103" y="188"/>
                    </a:lnTo>
                    <a:lnTo>
                      <a:pt x="99" y="192"/>
                    </a:lnTo>
                    <a:lnTo>
                      <a:pt x="93" y="194"/>
                    </a:lnTo>
                    <a:lnTo>
                      <a:pt x="80" y="196"/>
                    </a:lnTo>
                    <a:lnTo>
                      <a:pt x="78" y="199"/>
                    </a:lnTo>
                    <a:lnTo>
                      <a:pt x="72" y="207"/>
                    </a:lnTo>
                    <a:lnTo>
                      <a:pt x="72" y="209"/>
                    </a:lnTo>
                    <a:lnTo>
                      <a:pt x="72" y="211"/>
                    </a:lnTo>
                    <a:lnTo>
                      <a:pt x="70" y="213"/>
                    </a:lnTo>
                    <a:lnTo>
                      <a:pt x="70" y="217"/>
                    </a:lnTo>
                    <a:lnTo>
                      <a:pt x="70" y="219"/>
                    </a:lnTo>
                    <a:lnTo>
                      <a:pt x="72" y="220"/>
                    </a:lnTo>
                    <a:lnTo>
                      <a:pt x="72" y="222"/>
                    </a:lnTo>
                    <a:lnTo>
                      <a:pt x="78" y="228"/>
                    </a:lnTo>
                    <a:lnTo>
                      <a:pt x="88" y="232"/>
                    </a:lnTo>
                    <a:lnTo>
                      <a:pt x="93" y="238"/>
                    </a:lnTo>
                    <a:lnTo>
                      <a:pt x="95" y="247"/>
                    </a:lnTo>
                    <a:lnTo>
                      <a:pt x="93" y="258"/>
                    </a:lnTo>
                    <a:lnTo>
                      <a:pt x="90" y="268"/>
                    </a:lnTo>
                    <a:lnTo>
                      <a:pt x="88" y="272"/>
                    </a:lnTo>
                    <a:lnTo>
                      <a:pt x="86" y="274"/>
                    </a:lnTo>
                    <a:lnTo>
                      <a:pt x="86" y="276"/>
                    </a:lnTo>
                    <a:lnTo>
                      <a:pt x="84" y="277"/>
                    </a:lnTo>
                    <a:lnTo>
                      <a:pt x="78" y="279"/>
                    </a:lnTo>
                    <a:lnTo>
                      <a:pt x="76" y="279"/>
                    </a:lnTo>
                    <a:lnTo>
                      <a:pt x="74" y="283"/>
                    </a:lnTo>
                    <a:lnTo>
                      <a:pt x="74" y="289"/>
                    </a:lnTo>
                    <a:lnTo>
                      <a:pt x="76" y="295"/>
                    </a:lnTo>
                    <a:lnTo>
                      <a:pt x="80" y="297"/>
                    </a:lnTo>
                    <a:lnTo>
                      <a:pt x="84" y="300"/>
                    </a:lnTo>
                    <a:lnTo>
                      <a:pt x="88" y="304"/>
                    </a:lnTo>
                    <a:lnTo>
                      <a:pt x="95" y="314"/>
                    </a:lnTo>
                    <a:lnTo>
                      <a:pt x="99" y="317"/>
                    </a:lnTo>
                    <a:lnTo>
                      <a:pt x="112" y="319"/>
                    </a:lnTo>
                    <a:lnTo>
                      <a:pt x="114" y="321"/>
                    </a:lnTo>
                    <a:lnTo>
                      <a:pt x="116" y="325"/>
                    </a:lnTo>
                    <a:lnTo>
                      <a:pt x="116" y="333"/>
                    </a:lnTo>
                    <a:lnTo>
                      <a:pt x="118" y="340"/>
                    </a:lnTo>
                    <a:lnTo>
                      <a:pt x="118" y="342"/>
                    </a:lnTo>
                    <a:lnTo>
                      <a:pt x="116" y="346"/>
                    </a:lnTo>
                    <a:lnTo>
                      <a:pt x="116" y="346"/>
                    </a:lnTo>
                    <a:lnTo>
                      <a:pt x="74" y="325"/>
                    </a:lnTo>
                    <a:lnTo>
                      <a:pt x="72" y="323"/>
                    </a:lnTo>
                    <a:lnTo>
                      <a:pt x="70" y="319"/>
                    </a:lnTo>
                    <a:lnTo>
                      <a:pt x="70" y="319"/>
                    </a:lnTo>
                    <a:lnTo>
                      <a:pt x="70" y="319"/>
                    </a:lnTo>
                    <a:lnTo>
                      <a:pt x="70" y="319"/>
                    </a:lnTo>
                    <a:lnTo>
                      <a:pt x="69" y="317"/>
                    </a:lnTo>
                    <a:lnTo>
                      <a:pt x="67" y="316"/>
                    </a:lnTo>
                    <a:lnTo>
                      <a:pt x="65" y="316"/>
                    </a:lnTo>
                    <a:lnTo>
                      <a:pt x="61" y="316"/>
                    </a:lnTo>
                    <a:lnTo>
                      <a:pt x="59" y="316"/>
                    </a:lnTo>
                    <a:lnTo>
                      <a:pt x="57" y="317"/>
                    </a:lnTo>
                    <a:lnTo>
                      <a:pt x="57" y="317"/>
                    </a:lnTo>
                    <a:lnTo>
                      <a:pt x="55" y="317"/>
                    </a:lnTo>
                    <a:lnTo>
                      <a:pt x="55" y="317"/>
                    </a:lnTo>
                    <a:lnTo>
                      <a:pt x="53" y="317"/>
                    </a:lnTo>
                    <a:lnTo>
                      <a:pt x="51" y="317"/>
                    </a:lnTo>
                    <a:lnTo>
                      <a:pt x="49" y="317"/>
                    </a:lnTo>
                    <a:lnTo>
                      <a:pt x="48" y="316"/>
                    </a:lnTo>
                    <a:lnTo>
                      <a:pt x="46" y="314"/>
                    </a:lnTo>
                    <a:lnTo>
                      <a:pt x="42" y="312"/>
                    </a:lnTo>
                    <a:lnTo>
                      <a:pt x="34" y="308"/>
                    </a:lnTo>
                    <a:lnTo>
                      <a:pt x="30" y="304"/>
                    </a:lnTo>
                    <a:lnTo>
                      <a:pt x="28" y="302"/>
                    </a:lnTo>
                    <a:lnTo>
                      <a:pt x="32" y="298"/>
                    </a:lnTo>
                    <a:lnTo>
                      <a:pt x="32" y="297"/>
                    </a:lnTo>
                    <a:lnTo>
                      <a:pt x="32" y="297"/>
                    </a:lnTo>
                    <a:lnTo>
                      <a:pt x="32" y="295"/>
                    </a:lnTo>
                    <a:lnTo>
                      <a:pt x="32" y="293"/>
                    </a:lnTo>
                    <a:lnTo>
                      <a:pt x="32" y="291"/>
                    </a:lnTo>
                    <a:lnTo>
                      <a:pt x="30" y="291"/>
                    </a:lnTo>
                    <a:lnTo>
                      <a:pt x="28" y="289"/>
                    </a:lnTo>
                    <a:lnTo>
                      <a:pt x="28" y="287"/>
                    </a:lnTo>
                    <a:lnTo>
                      <a:pt x="28" y="287"/>
                    </a:lnTo>
                    <a:lnTo>
                      <a:pt x="28" y="285"/>
                    </a:lnTo>
                    <a:lnTo>
                      <a:pt x="28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3" y="285"/>
                    </a:lnTo>
                    <a:lnTo>
                      <a:pt x="23" y="285"/>
                    </a:lnTo>
                    <a:lnTo>
                      <a:pt x="23" y="285"/>
                    </a:lnTo>
                    <a:lnTo>
                      <a:pt x="23" y="285"/>
                    </a:lnTo>
                    <a:lnTo>
                      <a:pt x="25" y="285"/>
                    </a:lnTo>
                    <a:lnTo>
                      <a:pt x="25" y="285"/>
                    </a:lnTo>
                    <a:lnTo>
                      <a:pt x="25" y="283"/>
                    </a:lnTo>
                    <a:lnTo>
                      <a:pt x="27" y="283"/>
                    </a:lnTo>
                    <a:lnTo>
                      <a:pt x="27" y="281"/>
                    </a:lnTo>
                    <a:lnTo>
                      <a:pt x="25" y="277"/>
                    </a:lnTo>
                    <a:lnTo>
                      <a:pt x="25" y="276"/>
                    </a:lnTo>
                    <a:lnTo>
                      <a:pt x="25" y="274"/>
                    </a:lnTo>
                    <a:lnTo>
                      <a:pt x="27" y="272"/>
                    </a:lnTo>
                    <a:lnTo>
                      <a:pt x="27" y="270"/>
                    </a:lnTo>
                    <a:lnTo>
                      <a:pt x="25" y="270"/>
                    </a:lnTo>
                    <a:lnTo>
                      <a:pt x="25" y="268"/>
                    </a:lnTo>
                    <a:lnTo>
                      <a:pt x="23" y="264"/>
                    </a:lnTo>
                    <a:lnTo>
                      <a:pt x="23" y="262"/>
                    </a:lnTo>
                    <a:lnTo>
                      <a:pt x="23" y="260"/>
                    </a:lnTo>
                    <a:lnTo>
                      <a:pt x="25" y="258"/>
                    </a:lnTo>
                    <a:lnTo>
                      <a:pt x="27" y="255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28" y="253"/>
                    </a:lnTo>
                    <a:lnTo>
                      <a:pt x="28" y="253"/>
                    </a:lnTo>
                    <a:lnTo>
                      <a:pt x="28" y="253"/>
                    </a:lnTo>
                    <a:lnTo>
                      <a:pt x="28" y="251"/>
                    </a:lnTo>
                    <a:lnTo>
                      <a:pt x="28" y="251"/>
                    </a:lnTo>
                    <a:lnTo>
                      <a:pt x="28" y="249"/>
                    </a:lnTo>
                    <a:lnTo>
                      <a:pt x="28" y="243"/>
                    </a:lnTo>
                    <a:lnTo>
                      <a:pt x="28" y="243"/>
                    </a:lnTo>
                    <a:lnTo>
                      <a:pt x="28" y="241"/>
                    </a:lnTo>
                    <a:lnTo>
                      <a:pt x="28" y="241"/>
                    </a:lnTo>
                    <a:lnTo>
                      <a:pt x="30" y="241"/>
                    </a:lnTo>
                    <a:lnTo>
                      <a:pt x="30" y="239"/>
                    </a:lnTo>
                    <a:lnTo>
                      <a:pt x="30" y="238"/>
                    </a:lnTo>
                    <a:lnTo>
                      <a:pt x="28" y="234"/>
                    </a:lnTo>
                    <a:lnTo>
                      <a:pt x="28" y="232"/>
                    </a:lnTo>
                    <a:lnTo>
                      <a:pt x="27" y="230"/>
                    </a:lnTo>
                    <a:lnTo>
                      <a:pt x="23" y="226"/>
                    </a:lnTo>
                    <a:lnTo>
                      <a:pt x="23" y="226"/>
                    </a:lnTo>
                    <a:lnTo>
                      <a:pt x="23" y="222"/>
                    </a:lnTo>
                    <a:lnTo>
                      <a:pt x="23" y="222"/>
                    </a:lnTo>
                    <a:lnTo>
                      <a:pt x="23" y="220"/>
                    </a:lnTo>
                    <a:lnTo>
                      <a:pt x="25" y="217"/>
                    </a:lnTo>
                    <a:lnTo>
                      <a:pt x="27" y="215"/>
                    </a:lnTo>
                    <a:lnTo>
                      <a:pt x="27" y="211"/>
                    </a:lnTo>
                    <a:lnTo>
                      <a:pt x="25" y="209"/>
                    </a:lnTo>
                    <a:lnTo>
                      <a:pt x="25" y="205"/>
                    </a:lnTo>
                    <a:lnTo>
                      <a:pt x="23" y="203"/>
                    </a:lnTo>
                    <a:lnTo>
                      <a:pt x="21" y="199"/>
                    </a:lnTo>
                    <a:lnTo>
                      <a:pt x="23" y="188"/>
                    </a:lnTo>
                    <a:lnTo>
                      <a:pt x="23" y="184"/>
                    </a:lnTo>
                    <a:lnTo>
                      <a:pt x="15" y="169"/>
                    </a:lnTo>
                    <a:lnTo>
                      <a:pt x="15" y="169"/>
                    </a:lnTo>
                    <a:lnTo>
                      <a:pt x="15" y="169"/>
                    </a:lnTo>
                    <a:lnTo>
                      <a:pt x="15" y="169"/>
                    </a:lnTo>
                    <a:lnTo>
                      <a:pt x="15" y="160"/>
                    </a:lnTo>
                    <a:lnTo>
                      <a:pt x="11" y="150"/>
                    </a:lnTo>
                    <a:lnTo>
                      <a:pt x="11" y="150"/>
                    </a:lnTo>
                    <a:lnTo>
                      <a:pt x="11" y="148"/>
                    </a:lnTo>
                    <a:lnTo>
                      <a:pt x="11" y="148"/>
                    </a:lnTo>
                    <a:lnTo>
                      <a:pt x="11" y="148"/>
                    </a:lnTo>
                    <a:lnTo>
                      <a:pt x="11" y="142"/>
                    </a:lnTo>
                    <a:lnTo>
                      <a:pt x="11" y="141"/>
                    </a:lnTo>
                    <a:lnTo>
                      <a:pt x="9" y="129"/>
                    </a:lnTo>
                    <a:lnTo>
                      <a:pt x="9" y="129"/>
                    </a:lnTo>
                    <a:lnTo>
                      <a:pt x="8" y="127"/>
                    </a:lnTo>
                    <a:lnTo>
                      <a:pt x="8" y="125"/>
                    </a:lnTo>
                    <a:lnTo>
                      <a:pt x="8" y="123"/>
                    </a:lnTo>
                    <a:lnTo>
                      <a:pt x="2" y="116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2" y="112"/>
                    </a:lnTo>
                    <a:lnTo>
                      <a:pt x="2" y="110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1"/>
                    </a:lnTo>
                    <a:lnTo>
                      <a:pt x="4" y="99"/>
                    </a:lnTo>
                    <a:lnTo>
                      <a:pt x="4" y="99"/>
                    </a:lnTo>
                    <a:lnTo>
                      <a:pt x="4" y="99"/>
                    </a:lnTo>
                    <a:lnTo>
                      <a:pt x="4" y="99"/>
                    </a:lnTo>
                    <a:lnTo>
                      <a:pt x="6" y="97"/>
                    </a:lnTo>
                    <a:lnTo>
                      <a:pt x="6" y="97"/>
                    </a:lnTo>
                    <a:lnTo>
                      <a:pt x="6" y="97"/>
                    </a:lnTo>
                    <a:lnTo>
                      <a:pt x="6" y="97"/>
                    </a:lnTo>
                    <a:lnTo>
                      <a:pt x="6" y="91"/>
                    </a:lnTo>
                    <a:lnTo>
                      <a:pt x="6" y="91"/>
                    </a:lnTo>
                    <a:lnTo>
                      <a:pt x="6" y="91"/>
                    </a:lnTo>
                    <a:lnTo>
                      <a:pt x="6" y="89"/>
                    </a:lnTo>
                    <a:lnTo>
                      <a:pt x="6" y="89"/>
                    </a:lnTo>
                    <a:lnTo>
                      <a:pt x="6" y="89"/>
                    </a:lnTo>
                    <a:lnTo>
                      <a:pt x="6" y="87"/>
                    </a:lnTo>
                    <a:lnTo>
                      <a:pt x="6" y="85"/>
                    </a:lnTo>
                    <a:lnTo>
                      <a:pt x="8" y="85"/>
                    </a:lnTo>
                    <a:lnTo>
                      <a:pt x="8" y="85"/>
                    </a:lnTo>
                    <a:lnTo>
                      <a:pt x="8" y="83"/>
                    </a:lnTo>
                    <a:lnTo>
                      <a:pt x="9" y="83"/>
                    </a:lnTo>
                    <a:lnTo>
                      <a:pt x="9" y="83"/>
                    </a:lnTo>
                    <a:lnTo>
                      <a:pt x="13" y="83"/>
                    </a:lnTo>
                    <a:lnTo>
                      <a:pt x="13" y="83"/>
                    </a:lnTo>
                    <a:lnTo>
                      <a:pt x="13" y="83"/>
                    </a:lnTo>
                    <a:lnTo>
                      <a:pt x="13" y="83"/>
                    </a:lnTo>
                    <a:lnTo>
                      <a:pt x="17" y="83"/>
                    </a:lnTo>
                    <a:lnTo>
                      <a:pt x="17" y="83"/>
                    </a:lnTo>
                    <a:lnTo>
                      <a:pt x="17" y="83"/>
                    </a:lnTo>
                    <a:lnTo>
                      <a:pt x="17" y="83"/>
                    </a:lnTo>
                    <a:lnTo>
                      <a:pt x="17" y="83"/>
                    </a:lnTo>
                    <a:lnTo>
                      <a:pt x="19" y="82"/>
                    </a:lnTo>
                    <a:lnTo>
                      <a:pt x="21" y="82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7" y="83"/>
                    </a:lnTo>
                    <a:lnTo>
                      <a:pt x="27" y="83"/>
                    </a:lnTo>
                    <a:lnTo>
                      <a:pt x="28" y="83"/>
                    </a:lnTo>
                    <a:lnTo>
                      <a:pt x="28" y="85"/>
                    </a:lnTo>
                    <a:lnTo>
                      <a:pt x="28" y="85"/>
                    </a:lnTo>
                    <a:lnTo>
                      <a:pt x="28" y="85"/>
                    </a:lnTo>
                    <a:lnTo>
                      <a:pt x="28" y="85"/>
                    </a:lnTo>
                    <a:lnTo>
                      <a:pt x="28" y="85"/>
                    </a:lnTo>
                    <a:lnTo>
                      <a:pt x="30" y="83"/>
                    </a:lnTo>
                    <a:lnTo>
                      <a:pt x="30" y="82"/>
                    </a:lnTo>
                    <a:lnTo>
                      <a:pt x="32" y="74"/>
                    </a:lnTo>
                    <a:lnTo>
                      <a:pt x="34" y="74"/>
                    </a:lnTo>
                    <a:lnTo>
                      <a:pt x="34" y="72"/>
                    </a:lnTo>
                    <a:lnTo>
                      <a:pt x="32" y="72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36" y="62"/>
                    </a:lnTo>
                    <a:lnTo>
                      <a:pt x="36" y="61"/>
                    </a:lnTo>
                    <a:lnTo>
                      <a:pt x="38" y="57"/>
                    </a:lnTo>
                    <a:lnTo>
                      <a:pt x="38" y="55"/>
                    </a:lnTo>
                    <a:lnTo>
                      <a:pt x="38" y="55"/>
                    </a:lnTo>
                    <a:lnTo>
                      <a:pt x="40" y="55"/>
                    </a:lnTo>
                    <a:lnTo>
                      <a:pt x="40" y="53"/>
                    </a:lnTo>
                    <a:lnTo>
                      <a:pt x="44" y="51"/>
                    </a:lnTo>
                    <a:lnTo>
                      <a:pt x="44" y="51"/>
                    </a:lnTo>
                    <a:lnTo>
                      <a:pt x="44" y="51"/>
                    </a:lnTo>
                    <a:lnTo>
                      <a:pt x="46" y="49"/>
                    </a:lnTo>
                    <a:lnTo>
                      <a:pt x="48" y="49"/>
                    </a:lnTo>
                    <a:lnTo>
                      <a:pt x="49" y="49"/>
                    </a:lnTo>
                    <a:lnTo>
                      <a:pt x="49" y="49"/>
                    </a:lnTo>
                    <a:lnTo>
                      <a:pt x="51" y="49"/>
                    </a:lnTo>
                    <a:lnTo>
                      <a:pt x="51" y="49"/>
                    </a:lnTo>
                    <a:lnTo>
                      <a:pt x="53" y="47"/>
                    </a:lnTo>
                    <a:lnTo>
                      <a:pt x="53" y="47"/>
                    </a:lnTo>
                    <a:lnTo>
                      <a:pt x="53" y="47"/>
                    </a:lnTo>
                    <a:lnTo>
                      <a:pt x="55" y="47"/>
                    </a:lnTo>
                    <a:lnTo>
                      <a:pt x="61" y="47"/>
                    </a:lnTo>
                    <a:lnTo>
                      <a:pt x="61" y="47"/>
                    </a:lnTo>
                    <a:lnTo>
                      <a:pt x="61" y="47"/>
                    </a:lnTo>
                    <a:lnTo>
                      <a:pt x="63" y="47"/>
                    </a:lnTo>
                    <a:lnTo>
                      <a:pt x="63" y="47"/>
                    </a:lnTo>
                    <a:lnTo>
                      <a:pt x="65" y="45"/>
                    </a:lnTo>
                    <a:lnTo>
                      <a:pt x="65" y="45"/>
                    </a:lnTo>
                    <a:lnTo>
                      <a:pt x="65" y="45"/>
                    </a:lnTo>
                    <a:lnTo>
                      <a:pt x="65" y="45"/>
                    </a:lnTo>
                    <a:lnTo>
                      <a:pt x="67" y="43"/>
                    </a:lnTo>
                    <a:lnTo>
                      <a:pt x="67" y="43"/>
                    </a:lnTo>
                    <a:lnTo>
                      <a:pt x="67" y="43"/>
                    </a:lnTo>
                    <a:lnTo>
                      <a:pt x="67" y="43"/>
                    </a:lnTo>
                    <a:lnTo>
                      <a:pt x="67" y="43"/>
                    </a:lnTo>
                    <a:lnTo>
                      <a:pt x="69" y="42"/>
                    </a:lnTo>
                    <a:lnTo>
                      <a:pt x="69" y="42"/>
                    </a:lnTo>
                    <a:lnTo>
                      <a:pt x="69" y="40"/>
                    </a:lnTo>
                    <a:lnTo>
                      <a:pt x="69" y="40"/>
                    </a:lnTo>
                    <a:lnTo>
                      <a:pt x="69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2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6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0" y="32"/>
                    </a:lnTo>
                    <a:lnTo>
                      <a:pt x="80" y="32"/>
                    </a:lnTo>
                    <a:lnTo>
                      <a:pt x="80" y="32"/>
                    </a:lnTo>
                    <a:lnTo>
                      <a:pt x="80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28"/>
                    </a:lnTo>
                    <a:lnTo>
                      <a:pt x="82" y="28"/>
                    </a:lnTo>
                    <a:lnTo>
                      <a:pt x="84" y="28"/>
                    </a:lnTo>
                    <a:lnTo>
                      <a:pt x="84" y="26"/>
                    </a:lnTo>
                    <a:lnTo>
                      <a:pt x="84" y="26"/>
                    </a:lnTo>
                    <a:lnTo>
                      <a:pt x="84" y="24"/>
                    </a:lnTo>
                    <a:lnTo>
                      <a:pt x="84" y="23"/>
                    </a:lnTo>
                    <a:lnTo>
                      <a:pt x="84" y="21"/>
                    </a:lnTo>
                    <a:lnTo>
                      <a:pt x="86" y="19"/>
                    </a:lnTo>
                    <a:lnTo>
                      <a:pt x="88" y="19"/>
                    </a:lnTo>
                    <a:lnTo>
                      <a:pt x="88" y="19"/>
                    </a:lnTo>
                    <a:lnTo>
                      <a:pt x="88" y="17"/>
                    </a:lnTo>
                    <a:lnTo>
                      <a:pt x="88" y="17"/>
                    </a:lnTo>
                    <a:lnTo>
                      <a:pt x="88" y="17"/>
                    </a:lnTo>
                    <a:lnTo>
                      <a:pt x="88" y="17"/>
                    </a:lnTo>
                    <a:lnTo>
                      <a:pt x="90" y="17"/>
                    </a:lnTo>
                    <a:lnTo>
                      <a:pt x="90" y="17"/>
                    </a:lnTo>
                    <a:lnTo>
                      <a:pt x="88" y="15"/>
                    </a:lnTo>
                    <a:lnTo>
                      <a:pt x="88" y="15"/>
                    </a:lnTo>
                    <a:lnTo>
                      <a:pt x="88" y="13"/>
                    </a:lnTo>
                    <a:lnTo>
                      <a:pt x="88" y="13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84" y="13"/>
                    </a:lnTo>
                    <a:lnTo>
                      <a:pt x="84" y="13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4" y="9"/>
                    </a:lnTo>
                    <a:lnTo>
                      <a:pt x="86" y="7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8" y="5"/>
                    </a:lnTo>
                    <a:lnTo>
                      <a:pt x="88" y="4"/>
                    </a:lnTo>
                    <a:lnTo>
                      <a:pt x="91" y="4"/>
                    </a:lnTo>
                    <a:lnTo>
                      <a:pt x="93" y="4"/>
                    </a:lnTo>
                    <a:lnTo>
                      <a:pt x="97" y="4"/>
                    </a:lnTo>
                    <a:lnTo>
                      <a:pt x="99" y="4"/>
                    </a:lnTo>
                    <a:lnTo>
                      <a:pt x="110" y="5"/>
                    </a:lnTo>
                    <a:lnTo>
                      <a:pt x="110" y="5"/>
                    </a:lnTo>
                    <a:lnTo>
                      <a:pt x="120" y="4"/>
                    </a:lnTo>
                    <a:lnTo>
                      <a:pt x="128" y="2"/>
                    </a:lnTo>
                    <a:lnTo>
                      <a:pt x="133" y="0"/>
                    </a:lnTo>
                    <a:lnTo>
                      <a:pt x="133" y="0"/>
                    </a:lnTo>
                    <a:lnTo>
                      <a:pt x="137" y="0"/>
                    </a:lnTo>
                    <a:lnTo>
                      <a:pt x="141" y="2"/>
                    </a:lnTo>
                    <a:lnTo>
                      <a:pt x="145" y="5"/>
                    </a:lnTo>
                    <a:lnTo>
                      <a:pt x="149" y="11"/>
                    </a:lnTo>
                    <a:lnTo>
                      <a:pt x="152" y="23"/>
                    </a:lnTo>
                    <a:lnTo>
                      <a:pt x="156" y="28"/>
                    </a:lnTo>
                    <a:lnTo>
                      <a:pt x="158" y="30"/>
                    </a:lnTo>
                    <a:lnTo>
                      <a:pt x="175" y="42"/>
                    </a:lnTo>
                    <a:lnTo>
                      <a:pt x="185" y="45"/>
                    </a:lnTo>
                    <a:lnTo>
                      <a:pt x="192" y="47"/>
                    </a:lnTo>
                    <a:lnTo>
                      <a:pt x="192" y="47"/>
                    </a:lnTo>
                    <a:lnTo>
                      <a:pt x="198" y="47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6" name="Freeform 48">
                <a:extLst>
                  <a:ext uri="{FF2B5EF4-FFF2-40B4-BE49-F238E27FC236}">
                    <a16:creationId xmlns:a16="http://schemas.microsoft.com/office/drawing/2014/main" id="{6D42C0EA-CEBA-4063-A84E-AAE5E86DBC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1932" y="1791174"/>
                <a:ext cx="203200" cy="130175"/>
              </a:xfrm>
              <a:custGeom>
                <a:avLst/>
                <a:gdLst>
                  <a:gd name="T0" fmla="*/ 25 w 128"/>
                  <a:gd name="T1" fmla="*/ 9 h 82"/>
                  <a:gd name="T2" fmla="*/ 29 w 128"/>
                  <a:gd name="T3" fmla="*/ 9 h 82"/>
                  <a:gd name="T4" fmla="*/ 33 w 128"/>
                  <a:gd name="T5" fmla="*/ 9 h 82"/>
                  <a:gd name="T6" fmla="*/ 34 w 128"/>
                  <a:gd name="T7" fmla="*/ 9 h 82"/>
                  <a:gd name="T8" fmla="*/ 36 w 128"/>
                  <a:gd name="T9" fmla="*/ 11 h 82"/>
                  <a:gd name="T10" fmla="*/ 38 w 128"/>
                  <a:gd name="T11" fmla="*/ 15 h 82"/>
                  <a:gd name="T12" fmla="*/ 40 w 128"/>
                  <a:gd name="T13" fmla="*/ 15 h 82"/>
                  <a:gd name="T14" fmla="*/ 46 w 128"/>
                  <a:gd name="T15" fmla="*/ 17 h 82"/>
                  <a:gd name="T16" fmla="*/ 50 w 128"/>
                  <a:gd name="T17" fmla="*/ 19 h 82"/>
                  <a:gd name="T18" fmla="*/ 59 w 128"/>
                  <a:gd name="T19" fmla="*/ 17 h 82"/>
                  <a:gd name="T20" fmla="*/ 63 w 128"/>
                  <a:gd name="T21" fmla="*/ 17 h 82"/>
                  <a:gd name="T22" fmla="*/ 65 w 128"/>
                  <a:gd name="T23" fmla="*/ 19 h 82"/>
                  <a:gd name="T24" fmla="*/ 71 w 128"/>
                  <a:gd name="T25" fmla="*/ 25 h 82"/>
                  <a:gd name="T26" fmla="*/ 75 w 128"/>
                  <a:gd name="T27" fmla="*/ 26 h 82"/>
                  <a:gd name="T28" fmla="*/ 78 w 128"/>
                  <a:gd name="T29" fmla="*/ 26 h 82"/>
                  <a:gd name="T30" fmla="*/ 88 w 128"/>
                  <a:gd name="T31" fmla="*/ 25 h 82"/>
                  <a:gd name="T32" fmla="*/ 92 w 128"/>
                  <a:gd name="T33" fmla="*/ 25 h 82"/>
                  <a:gd name="T34" fmla="*/ 92 w 128"/>
                  <a:gd name="T35" fmla="*/ 25 h 82"/>
                  <a:gd name="T36" fmla="*/ 111 w 128"/>
                  <a:gd name="T37" fmla="*/ 28 h 82"/>
                  <a:gd name="T38" fmla="*/ 115 w 128"/>
                  <a:gd name="T39" fmla="*/ 26 h 82"/>
                  <a:gd name="T40" fmla="*/ 116 w 128"/>
                  <a:gd name="T41" fmla="*/ 25 h 82"/>
                  <a:gd name="T42" fmla="*/ 120 w 128"/>
                  <a:gd name="T43" fmla="*/ 23 h 82"/>
                  <a:gd name="T44" fmla="*/ 122 w 128"/>
                  <a:gd name="T45" fmla="*/ 23 h 82"/>
                  <a:gd name="T46" fmla="*/ 124 w 128"/>
                  <a:gd name="T47" fmla="*/ 23 h 82"/>
                  <a:gd name="T48" fmla="*/ 128 w 128"/>
                  <a:gd name="T49" fmla="*/ 23 h 82"/>
                  <a:gd name="T50" fmla="*/ 80 w 128"/>
                  <a:gd name="T51" fmla="*/ 51 h 82"/>
                  <a:gd name="T52" fmla="*/ 33 w 128"/>
                  <a:gd name="T53" fmla="*/ 82 h 82"/>
                  <a:gd name="T54" fmla="*/ 17 w 128"/>
                  <a:gd name="T55" fmla="*/ 40 h 82"/>
                  <a:gd name="T56" fmla="*/ 0 w 128"/>
                  <a:gd name="T57" fmla="*/ 0 h 82"/>
                  <a:gd name="T58" fmla="*/ 0 w 128"/>
                  <a:gd name="T59" fmla="*/ 0 h 82"/>
                  <a:gd name="T60" fmla="*/ 6 w 128"/>
                  <a:gd name="T61" fmla="*/ 0 h 82"/>
                  <a:gd name="T62" fmla="*/ 8 w 128"/>
                  <a:gd name="T63" fmla="*/ 0 h 82"/>
                  <a:gd name="T64" fmla="*/ 10 w 128"/>
                  <a:gd name="T65" fmla="*/ 2 h 82"/>
                  <a:gd name="T66" fmla="*/ 12 w 128"/>
                  <a:gd name="T67" fmla="*/ 6 h 82"/>
                  <a:gd name="T68" fmla="*/ 13 w 128"/>
                  <a:gd name="T69" fmla="*/ 7 h 82"/>
                  <a:gd name="T70" fmla="*/ 17 w 128"/>
                  <a:gd name="T71" fmla="*/ 9 h 82"/>
                  <a:gd name="T72" fmla="*/ 19 w 128"/>
                  <a:gd name="T73" fmla="*/ 9 h 82"/>
                  <a:gd name="T74" fmla="*/ 25 w 128"/>
                  <a:gd name="T75" fmla="*/ 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8" h="82">
                    <a:moveTo>
                      <a:pt x="25" y="9"/>
                    </a:moveTo>
                    <a:lnTo>
                      <a:pt x="29" y="9"/>
                    </a:lnTo>
                    <a:lnTo>
                      <a:pt x="33" y="9"/>
                    </a:lnTo>
                    <a:lnTo>
                      <a:pt x="34" y="9"/>
                    </a:lnTo>
                    <a:lnTo>
                      <a:pt x="36" y="11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6" y="17"/>
                    </a:lnTo>
                    <a:lnTo>
                      <a:pt x="50" y="19"/>
                    </a:lnTo>
                    <a:lnTo>
                      <a:pt x="59" y="17"/>
                    </a:lnTo>
                    <a:lnTo>
                      <a:pt x="63" y="17"/>
                    </a:lnTo>
                    <a:lnTo>
                      <a:pt x="65" y="19"/>
                    </a:lnTo>
                    <a:lnTo>
                      <a:pt x="71" y="25"/>
                    </a:lnTo>
                    <a:lnTo>
                      <a:pt x="75" y="26"/>
                    </a:lnTo>
                    <a:lnTo>
                      <a:pt x="78" y="26"/>
                    </a:lnTo>
                    <a:lnTo>
                      <a:pt x="88" y="25"/>
                    </a:lnTo>
                    <a:lnTo>
                      <a:pt x="92" y="25"/>
                    </a:lnTo>
                    <a:lnTo>
                      <a:pt x="92" y="25"/>
                    </a:lnTo>
                    <a:lnTo>
                      <a:pt x="111" y="28"/>
                    </a:lnTo>
                    <a:lnTo>
                      <a:pt x="115" y="26"/>
                    </a:lnTo>
                    <a:lnTo>
                      <a:pt x="116" y="25"/>
                    </a:lnTo>
                    <a:lnTo>
                      <a:pt x="120" y="23"/>
                    </a:lnTo>
                    <a:lnTo>
                      <a:pt x="122" y="23"/>
                    </a:lnTo>
                    <a:lnTo>
                      <a:pt x="124" y="23"/>
                    </a:lnTo>
                    <a:lnTo>
                      <a:pt x="128" y="23"/>
                    </a:lnTo>
                    <a:lnTo>
                      <a:pt x="80" y="51"/>
                    </a:lnTo>
                    <a:lnTo>
                      <a:pt x="33" y="82"/>
                    </a:lnTo>
                    <a:lnTo>
                      <a:pt x="17" y="4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2" y="6"/>
                    </a:lnTo>
                    <a:lnTo>
                      <a:pt x="13" y="7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25" y="9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7" name="Freeform 49">
                <a:extLst>
                  <a:ext uri="{FF2B5EF4-FFF2-40B4-BE49-F238E27FC236}">
                    <a16:creationId xmlns:a16="http://schemas.microsoft.com/office/drawing/2014/main" id="{3C536447-DC0A-4226-8BE9-CBF9D7565B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3094" y="2792886"/>
                <a:ext cx="106363" cy="85725"/>
              </a:xfrm>
              <a:custGeom>
                <a:avLst/>
                <a:gdLst>
                  <a:gd name="T0" fmla="*/ 67 w 67"/>
                  <a:gd name="T1" fmla="*/ 54 h 54"/>
                  <a:gd name="T2" fmla="*/ 67 w 67"/>
                  <a:gd name="T3" fmla="*/ 54 h 54"/>
                  <a:gd name="T4" fmla="*/ 48 w 67"/>
                  <a:gd name="T5" fmla="*/ 54 h 54"/>
                  <a:gd name="T6" fmla="*/ 37 w 67"/>
                  <a:gd name="T7" fmla="*/ 50 h 54"/>
                  <a:gd name="T8" fmla="*/ 23 w 67"/>
                  <a:gd name="T9" fmla="*/ 52 h 54"/>
                  <a:gd name="T10" fmla="*/ 14 w 67"/>
                  <a:gd name="T11" fmla="*/ 48 h 54"/>
                  <a:gd name="T12" fmla="*/ 12 w 67"/>
                  <a:gd name="T13" fmla="*/ 46 h 54"/>
                  <a:gd name="T14" fmla="*/ 12 w 67"/>
                  <a:gd name="T15" fmla="*/ 42 h 54"/>
                  <a:gd name="T16" fmla="*/ 10 w 67"/>
                  <a:gd name="T17" fmla="*/ 37 h 54"/>
                  <a:gd name="T18" fmla="*/ 6 w 67"/>
                  <a:gd name="T19" fmla="*/ 31 h 54"/>
                  <a:gd name="T20" fmla="*/ 2 w 67"/>
                  <a:gd name="T21" fmla="*/ 23 h 54"/>
                  <a:gd name="T22" fmla="*/ 0 w 67"/>
                  <a:gd name="T23" fmla="*/ 21 h 54"/>
                  <a:gd name="T24" fmla="*/ 2 w 67"/>
                  <a:gd name="T25" fmla="*/ 21 h 54"/>
                  <a:gd name="T26" fmla="*/ 4 w 67"/>
                  <a:gd name="T27" fmla="*/ 21 h 54"/>
                  <a:gd name="T28" fmla="*/ 4 w 67"/>
                  <a:gd name="T29" fmla="*/ 21 h 54"/>
                  <a:gd name="T30" fmla="*/ 6 w 67"/>
                  <a:gd name="T31" fmla="*/ 19 h 54"/>
                  <a:gd name="T32" fmla="*/ 6 w 67"/>
                  <a:gd name="T33" fmla="*/ 18 h 54"/>
                  <a:gd name="T34" fmla="*/ 8 w 67"/>
                  <a:gd name="T35" fmla="*/ 12 h 54"/>
                  <a:gd name="T36" fmla="*/ 12 w 67"/>
                  <a:gd name="T37" fmla="*/ 14 h 54"/>
                  <a:gd name="T38" fmla="*/ 14 w 67"/>
                  <a:gd name="T39" fmla="*/ 18 h 54"/>
                  <a:gd name="T40" fmla="*/ 16 w 67"/>
                  <a:gd name="T41" fmla="*/ 18 h 54"/>
                  <a:gd name="T42" fmla="*/ 18 w 67"/>
                  <a:gd name="T43" fmla="*/ 14 h 54"/>
                  <a:gd name="T44" fmla="*/ 20 w 67"/>
                  <a:gd name="T45" fmla="*/ 8 h 54"/>
                  <a:gd name="T46" fmla="*/ 21 w 67"/>
                  <a:gd name="T47" fmla="*/ 2 h 54"/>
                  <a:gd name="T48" fmla="*/ 27 w 67"/>
                  <a:gd name="T49" fmla="*/ 0 h 54"/>
                  <a:gd name="T50" fmla="*/ 29 w 67"/>
                  <a:gd name="T51" fmla="*/ 2 h 54"/>
                  <a:gd name="T52" fmla="*/ 33 w 67"/>
                  <a:gd name="T53" fmla="*/ 4 h 54"/>
                  <a:gd name="T54" fmla="*/ 37 w 67"/>
                  <a:gd name="T55" fmla="*/ 8 h 54"/>
                  <a:gd name="T56" fmla="*/ 37 w 67"/>
                  <a:gd name="T57" fmla="*/ 10 h 54"/>
                  <a:gd name="T58" fmla="*/ 39 w 67"/>
                  <a:gd name="T59" fmla="*/ 12 h 54"/>
                  <a:gd name="T60" fmla="*/ 39 w 67"/>
                  <a:gd name="T61" fmla="*/ 14 h 54"/>
                  <a:gd name="T62" fmla="*/ 41 w 67"/>
                  <a:gd name="T63" fmla="*/ 14 h 54"/>
                  <a:gd name="T64" fmla="*/ 42 w 67"/>
                  <a:gd name="T65" fmla="*/ 16 h 54"/>
                  <a:gd name="T66" fmla="*/ 44 w 67"/>
                  <a:gd name="T67" fmla="*/ 16 h 54"/>
                  <a:gd name="T68" fmla="*/ 44 w 67"/>
                  <a:gd name="T69" fmla="*/ 18 h 54"/>
                  <a:gd name="T70" fmla="*/ 44 w 67"/>
                  <a:gd name="T71" fmla="*/ 18 h 54"/>
                  <a:gd name="T72" fmla="*/ 44 w 67"/>
                  <a:gd name="T73" fmla="*/ 19 h 54"/>
                  <a:gd name="T74" fmla="*/ 44 w 67"/>
                  <a:gd name="T75" fmla="*/ 21 h 54"/>
                  <a:gd name="T76" fmla="*/ 44 w 67"/>
                  <a:gd name="T77" fmla="*/ 23 h 54"/>
                  <a:gd name="T78" fmla="*/ 46 w 67"/>
                  <a:gd name="T79" fmla="*/ 23 h 54"/>
                  <a:gd name="T80" fmla="*/ 46 w 67"/>
                  <a:gd name="T81" fmla="*/ 25 h 54"/>
                  <a:gd name="T82" fmla="*/ 46 w 67"/>
                  <a:gd name="T83" fmla="*/ 27 h 54"/>
                  <a:gd name="T84" fmla="*/ 46 w 67"/>
                  <a:gd name="T85" fmla="*/ 27 h 54"/>
                  <a:gd name="T86" fmla="*/ 46 w 67"/>
                  <a:gd name="T87" fmla="*/ 29 h 54"/>
                  <a:gd name="T88" fmla="*/ 46 w 67"/>
                  <a:gd name="T89" fmla="*/ 31 h 54"/>
                  <a:gd name="T90" fmla="*/ 48 w 67"/>
                  <a:gd name="T91" fmla="*/ 31 h 54"/>
                  <a:gd name="T92" fmla="*/ 50 w 67"/>
                  <a:gd name="T93" fmla="*/ 33 h 54"/>
                  <a:gd name="T94" fmla="*/ 52 w 67"/>
                  <a:gd name="T95" fmla="*/ 33 h 54"/>
                  <a:gd name="T96" fmla="*/ 54 w 67"/>
                  <a:gd name="T97" fmla="*/ 37 h 54"/>
                  <a:gd name="T98" fmla="*/ 54 w 67"/>
                  <a:gd name="T99" fmla="*/ 39 h 54"/>
                  <a:gd name="T100" fmla="*/ 54 w 67"/>
                  <a:gd name="T101" fmla="*/ 42 h 54"/>
                  <a:gd name="T102" fmla="*/ 54 w 67"/>
                  <a:gd name="T103" fmla="*/ 44 h 54"/>
                  <a:gd name="T104" fmla="*/ 56 w 67"/>
                  <a:gd name="T105" fmla="*/ 46 h 54"/>
                  <a:gd name="T106" fmla="*/ 60 w 67"/>
                  <a:gd name="T107" fmla="*/ 48 h 54"/>
                  <a:gd name="T108" fmla="*/ 63 w 67"/>
                  <a:gd name="T109" fmla="*/ 50 h 54"/>
                  <a:gd name="T110" fmla="*/ 65 w 67"/>
                  <a:gd name="T111" fmla="*/ 50 h 54"/>
                  <a:gd name="T112" fmla="*/ 67 w 67"/>
                  <a:gd name="T113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7" h="54">
                    <a:moveTo>
                      <a:pt x="67" y="54"/>
                    </a:moveTo>
                    <a:lnTo>
                      <a:pt x="67" y="54"/>
                    </a:lnTo>
                    <a:lnTo>
                      <a:pt x="48" y="54"/>
                    </a:lnTo>
                    <a:lnTo>
                      <a:pt x="37" y="50"/>
                    </a:lnTo>
                    <a:lnTo>
                      <a:pt x="23" y="52"/>
                    </a:lnTo>
                    <a:lnTo>
                      <a:pt x="14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0" y="37"/>
                    </a:lnTo>
                    <a:lnTo>
                      <a:pt x="6" y="31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2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6" y="19"/>
                    </a:lnTo>
                    <a:lnTo>
                      <a:pt x="6" y="18"/>
                    </a:lnTo>
                    <a:lnTo>
                      <a:pt x="8" y="12"/>
                    </a:lnTo>
                    <a:lnTo>
                      <a:pt x="12" y="14"/>
                    </a:lnTo>
                    <a:lnTo>
                      <a:pt x="14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8"/>
                    </a:lnTo>
                    <a:lnTo>
                      <a:pt x="21" y="2"/>
                    </a:lnTo>
                    <a:lnTo>
                      <a:pt x="27" y="0"/>
                    </a:lnTo>
                    <a:lnTo>
                      <a:pt x="29" y="2"/>
                    </a:lnTo>
                    <a:lnTo>
                      <a:pt x="33" y="4"/>
                    </a:lnTo>
                    <a:lnTo>
                      <a:pt x="37" y="8"/>
                    </a:lnTo>
                    <a:lnTo>
                      <a:pt x="37" y="10"/>
                    </a:lnTo>
                    <a:lnTo>
                      <a:pt x="39" y="12"/>
                    </a:lnTo>
                    <a:lnTo>
                      <a:pt x="39" y="14"/>
                    </a:lnTo>
                    <a:lnTo>
                      <a:pt x="41" y="14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4" y="21"/>
                    </a:lnTo>
                    <a:lnTo>
                      <a:pt x="44" y="23"/>
                    </a:lnTo>
                    <a:lnTo>
                      <a:pt x="46" y="23"/>
                    </a:lnTo>
                    <a:lnTo>
                      <a:pt x="46" y="25"/>
                    </a:lnTo>
                    <a:lnTo>
                      <a:pt x="46" y="27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6" y="31"/>
                    </a:lnTo>
                    <a:lnTo>
                      <a:pt x="48" y="31"/>
                    </a:lnTo>
                    <a:lnTo>
                      <a:pt x="50" y="33"/>
                    </a:lnTo>
                    <a:lnTo>
                      <a:pt x="52" y="33"/>
                    </a:lnTo>
                    <a:lnTo>
                      <a:pt x="54" y="37"/>
                    </a:lnTo>
                    <a:lnTo>
                      <a:pt x="54" y="39"/>
                    </a:lnTo>
                    <a:lnTo>
                      <a:pt x="54" y="42"/>
                    </a:lnTo>
                    <a:lnTo>
                      <a:pt x="54" y="44"/>
                    </a:lnTo>
                    <a:lnTo>
                      <a:pt x="56" y="46"/>
                    </a:lnTo>
                    <a:lnTo>
                      <a:pt x="60" y="48"/>
                    </a:lnTo>
                    <a:lnTo>
                      <a:pt x="63" y="50"/>
                    </a:lnTo>
                    <a:lnTo>
                      <a:pt x="65" y="50"/>
                    </a:lnTo>
                    <a:lnTo>
                      <a:pt x="67" y="54"/>
                    </a:lnTo>
                    <a:close/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8" name="Freeform 50">
                <a:extLst>
                  <a:ext uri="{FF2B5EF4-FFF2-40B4-BE49-F238E27FC236}">
                    <a16:creationId xmlns:a16="http://schemas.microsoft.com/office/drawing/2014/main" id="{A96DC751-CB27-49BD-94C7-76D5251CCE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3094" y="2792886"/>
                <a:ext cx="106363" cy="85725"/>
              </a:xfrm>
              <a:custGeom>
                <a:avLst/>
                <a:gdLst>
                  <a:gd name="T0" fmla="*/ 67 w 67"/>
                  <a:gd name="T1" fmla="*/ 54 h 54"/>
                  <a:gd name="T2" fmla="*/ 67 w 67"/>
                  <a:gd name="T3" fmla="*/ 54 h 54"/>
                  <a:gd name="T4" fmla="*/ 48 w 67"/>
                  <a:gd name="T5" fmla="*/ 54 h 54"/>
                  <a:gd name="T6" fmla="*/ 37 w 67"/>
                  <a:gd name="T7" fmla="*/ 50 h 54"/>
                  <a:gd name="T8" fmla="*/ 23 w 67"/>
                  <a:gd name="T9" fmla="*/ 52 h 54"/>
                  <a:gd name="T10" fmla="*/ 14 w 67"/>
                  <a:gd name="T11" fmla="*/ 48 h 54"/>
                  <a:gd name="T12" fmla="*/ 12 w 67"/>
                  <a:gd name="T13" fmla="*/ 46 h 54"/>
                  <a:gd name="T14" fmla="*/ 12 w 67"/>
                  <a:gd name="T15" fmla="*/ 42 h 54"/>
                  <a:gd name="T16" fmla="*/ 10 w 67"/>
                  <a:gd name="T17" fmla="*/ 37 h 54"/>
                  <a:gd name="T18" fmla="*/ 6 w 67"/>
                  <a:gd name="T19" fmla="*/ 31 h 54"/>
                  <a:gd name="T20" fmla="*/ 2 w 67"/>
                  <a:gd name="T21" fmla="*/ 23 h 54"/>
                  <a:gd name="T22" fmla="*/ 0 w 67"/>
                  <a:gd name="T23" fmla="*/ 21 h 54"/>
                  <a:gd name="T24" fmla="*/ 2 w 67"/>
                  <a:gd name="T25" fmla="*/ 21 h 54"/>
                  <a:gd name="T26" fmla="*/ 4 w 67"/>
                  <a:gd name="T27" fmla="*/ 21 h 54"/>
                  <a:gd name="T28" fmla="*/ 4 w 67"/>
                  <a:gd name="T29" fmla="*/ 21 h 54"/>
                  <a:gd name="T30" fmla="*/ 6 w 67"/>
                  <a:gd name="T31" fmla="*/ 19 h 54"/>
                  <a:gd name="T32" fmla="*/ 6 w 67"/>
                  <a:gd name="T33" fmla="*/ 18 h 54"/>
                  <a:gd name="T34" fmla="*/ 8 w 67"/>
                  <a:gd name="T35" fmla="*/ 12 h 54"/>
                  <a:gd name="T36" fmla="*/ 12 w 67"/>
                  <a:gd name="T37" fmla="*/ 14 h 54"/>
                  <a:gd name="T38" fmla="*/ 14 w 67"/>
                  <a:gd name="T39" fmla="*/ 18 h 54"/>
                  <a:gd name="T40" fmla="*/ 16 w 67"/>
                  <a:gd name="T41" fmla="*/ 18 h 54"/>
                  <a:gd name="T42" fmla="*/ 18 w 67"/>
                  <a:gd name="T43" fmla="*/ 14 h 54"/>
                  <a:gd name="T44" fmla="*/ 20 w 67"/>
                  <a:gd name="T45" fmla="*/ 8 h 54"/>
                  <a:gd name="T46" fmla="*/ 21 w 67"/>
                  <a:gd name="T47" fmla="*/ 2 h 54"/>
                  <a:gd name="T48" fmla="*/ 27 w 67"/>
                  <a:gd name="T49" fmla="*/ 0 h 54"/>
                  <a:gd name="T50" fmla="*/ 29 w 67"/>
                  <a:gd name="T51" fmla="*/ 2 h 54"/>
                  <a:gd name="T52" fmla="*/ 33 w 67"/>
                  <a:gd name="T53" fmla="*/ 4 h 54"/>
                  <a:gd name="T54" fmla="*/ 37 w 67"/>
                  <a:gd name="T55" fmla="*/ 8 h 54"/>
                  <a:gd name="T56" fmla="*/ 37 w 67"/>
                  <a:gd name="T57" fmla="*/ 10 h 54"/>
                  <a:gd name="T58" fmla="*/ 39 w 67"/>
                  <a:gd name="T59" fmla="*/ 12 h 54"/>
                  <a:gd name="T60" fmla="*/ 39 w 67"/>
                  <a:gd name="T61" fmla="*/ 14 h 54"/>
                  <a:gd name="T62" fmla="*/ 41 w 67"/>
                  <a:gd name="T63" fmla="*/ 14 h 54"/>
                  <a:gd name="T64" fmla="*/ 42 w 67"/>
                  <a:gd name="T65" fmla="*/ 16 h 54"/>
                  <a:gd name="T66" fmla="*/ 44 w 67"/>
                  <a:gd name="T67" fmla="*/ 16 h 54"/>
                  <a:gd name="T68" fmla="*/ 44 w 67"/>
                  <a:gd name="T69" fmla="*/ 18 h 54"/>
                  <a:gd name="T70" fmla="*/ 44 w 67"/>
                  <a:gd name="T71" fmla="*/ 18 h 54"/>
                  <a:gd name="T72" fmla="*/ 44 w 67"/>
                  <a:gd name="T73" fmla="*/ 19 h 54"/>
                  <a:gd name="T74" fmla="*/ 44 w 67"/>
                  <a:gd name="T75" fmla="*/ 21 h 54"/>
                  <a:gd name="T76" fmla="*/ 44 w 67"/>
                  <a:gd name="T77" fmla="*/ 23 h 54"/>
                  <a:gd name="T78" fmla="*/ 46 w 67"/>
                  <a:gd name="T79" fmla="*/ 23 h 54"/>
                  <a:gd name="T80" fmla="*/ 46 w 67"/>
                  <a:gd name="T81" fmla="*/ 25 h 54"/>
                  <a:gd name="T82" fmla="*/ 46 w 67"/>
                  <a:gd name="T83" fmla="*/ 27 h 54"/>
                  <a:gd name="T84" fmla="*/ 46 w 67"/>
                  <a:gd name="T85" fmla="*/ 27 h 54"/>
                  <a:gd name="T86" fmla="*/ 46 w 67"/>
                  <a:gd name="T87" fmla="*/ 29 h 54"/>
                  <a:gd name="T88" fmla="*/ 46 w 67"/>
                  <a:gd name="T89" fmla="*/ 31 h 54"/>
                  <a:gd name="T90" fmla="*/ 48 w 67"/>
                  <a:gd name="T91" fmla="*/ 31 h 54"/>
                  <a:gd name="T92" fmla="*/ 50 w 67"/>
                  <a:gd name="T93" fmla="*/ 33 h 54"/>
                  <a:gd name="T94" fmla="*/ 52 w 67"/>
                  <a:gd name="T95" fmla="*/ 33 h 54"/>
                  <a:gd name="T96" fmla="*/ 54 w 67"/>
                  <a:gd name="T97" fmla="*/ 37 h 54"/>
                  <a:gd name="T98" fmla="*/ 54 w 67"/>
                  <a:gd name="T99" fmla="*/ 39 h 54"/>
                  <a:gd name="T100" fmla="*/ 54 w 67"/>
                  <a:gd name="T101" fmla="*/ 42 h 54"/>
                  <a:gd name="T102" fmla="*/ 54 w 67"/>
                  <a:gd name="T103" fmla="*/ 44 h 54"/>
                  <a:gd name="T104" fmla="*/ 56 w 67"/>
                  <a:gd name="T105" fmla="*/ 46 h 54"/>
                  <a:gd name="T106" fmla="*/ 60 w 67"/>
                  <a:gd name="T107" fmla="*/ 48 h 54"/>
                  <a:gd name="T108" fmla="*/ 63 w 67"/>
                  <a:gd name="T109" fmla="*/ 50 h 54"/>
                  <a:gd name="T110" fmla="*/ 65 w 67"/>
                  <a:gd name="T111" fmla="*/ 50 h 54"/>
                  <a:gd name="T112" fmla="*/ 67 w 67"/>
                  <a:gd name="T113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7" h="54">
                    <a:moveTo>
                      <a:pt x="67" y="54"/>
                    </a:moveTo>
                    <a:lnTo>
                      <a:pt x="67" y="54"/>
                    </a:lnTo>
                    <a:lnTo>
                      <a:pt x="48" y="54"/>
                    </a:lnTo>
                    <a:lnTo>
                      <a:pt x="37" y="50"/>
                    </a:lnTo>
                    <a:lnTo>
                      <a:pt x="23" y="52"/>
                    </a:lnTo>
                    <a:lnTo>
                      <a:pt x="14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0" y="37"/>
                    </a:lnTo>
                    <a:lnTo>
                      <a:pt x="6" y="31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2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6" y="19"/>
                    </a:lnTo>
                    <a:lnTo>
                      <a:pt x="6" y="18"/>
                    </a:lnTo>
                    <a:lnTo>
                      <a:pt x="8" y="12"/>
                    </a:lnTo>
                    <a:lnTo>
                      <a:pt x="12" y="14"/>
                    </a:lnTo>
                    <a:lnTo>
                      <a:pt x="14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8"/>
                    </a:lnTo>
                    <a:lnTo>
                      <a:pt x="21" y="2"/>
                    </a:lnTo>
                    <a:lnTo>
                      <a:pt x="27" y="0"/>
                    </a:lnTo>
                    <a:lnTo>
                      <a:pt x="29" y="2"/>
                    </a:lnTo>
                    <a:lnTo>
                      <a:pt x="33" y="4"/>
                    </a:lnTo>
                    <a:lnTo>
                      <a:pt x="37" y="8"/>
                    </a:lnTo>
                    <a:lnTo>
                      <a:pt x="37" y="10"/>
                    </a:lnTo>
                    <a:lnTo>
                      <a:pt x="39" y="12"/>
                    </a:lnTo>
                    <a:lnTo>
                      <a:pt x="39" y="14"/>
                    </a:lnTo>
                    <a:lnTo>
                      <a:pt x="41" y="14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4" y="21"/>
                    </a:lnTo>
                    <a:lnTo>
                      <a:pt x="44" y="23"/>
                    </a:lnTo>
                    <a:lnTo>
                      <a:pt x="46" y="23"/>
                    </a:lnTo>
                    <a:lnTo>
                      <a:pt x="46" y="25"/>
                    </a:lnTo>
                    <a:lnTo>
                      <a:pt x="46" y="27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6" y="31"/>
                    </a:lnTo>
                    <a:lnTo>
                      <a:pt x="48" y="31"/>
                    </a:lnTo>
                    <a:lnTo>
                      <a:pt x="50" y="33"/>
                    </a:lnTo>
                    <a:lnTo>
                      <a:pt x="52" y="33"/>
                    </a:lnTo>
                    <a:lnTo>
                      <a:pt x="54" y="37"/>
                    </a:lnTo>
                    <a:lnTo>
                      <a:pt x="54" y="39"/>
                    </a:lnTo>
                    <a:lnTo>
                      <a:pt x="54" y="42"/>
                    </a:lnTo>
                    <a:lnTo>
                      <a:pt x="54" y="44"/>
                    </a:lnTo>
                    <a:lnTo>
                      <a:pt x="56" y="46"/>
                    </a:lnTo>
                    <a:lnTo>
                      <a:pt x="60" y="48"/>
                    </a:lnTo>
                    <a:lnTo>
                      <a:pt x="63" y="50"/>
                    </a:lnTo>
                    <a:lnTo>
                      <a:pt x="65" y="50"/>
                    </a:lnTo>
                    <a:lnTo>
                      <a:pt x="67" y="54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49" name="Freeform 51">
                <a:extLst>
                  <a:ext uri="{FF2B5EF4-FFF2-40B4-BE49-F238E27FC236}">
                    <a16:creationId xmlns:a16="http://schemas.microsoft.com/office/drawing/2014/main" id="{C30A323A-385F-4297-814F-2312745634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5819" y="2923061"/>
                <a:ext cx="63500" cy="73025"/>
              </a:xfrm>
              <a:custGeom>
                <a:avLst/>
                <a:gdLst>
                  <a:gd name="T0" fmla="*/ 23 w 40"/>
                  <a:gd name="T1" fmla="*/ 16 h 46"/>
                  <a:gd name="T2" fmla="*/ 25 w 40"/>
                  <a:gd name="T3" fmla="*/ 16 h 46"/>
                  <a:gd name="T4" fmla="*/ 29 w 40"/>
                  <a:gd name="T5" fmla="*/ 12 h 46"/>
                  <a:gd name="T6" fmla="*/ 30 w 40"/>
                  <a:gd name="T7" fmla="*/ 12 h 46"/>
                  <a:gd name="T8" fmla="*/ 32 w 40"/>
                  <a:gd name="T9" fmla="*/ 14 h 46"/>
                  <a:gd name="T10" fmla="*/ 34 w 40"/>
                  <a:gd name="T11" fmla="*/ 19 h 46"/>
                  <a:gd name="T12" fmla="*/ 38 w 40"/>
                  <a:gd name="T13" fmla="*/ 21 h 46"/>
                  <a:gd name="T14" fmla="*/ 40 w 40"/>
                  <a:gd name="T15" fmla="*/ 23 h 46"/>
                  <a:gd name="T16" fmla="*/ 36 w 40"/>
                  <a:gd name="T17" fmla="*/ 29 h 46"/>
                  <a:gd name="T18" fmla="*/ 36 w 40"/>
                  <a:gd name="T19" fmla="*/ 29 h 46"/>
                  <a:gd name="T20" fmla="*/ 34 w 40"/>
                  <a:gd name="T21" fmla="*/ 29 h 46"/>
                  <a:gd name="T22" fmla="*/ 34 w 40"/>
                  <a:gd name="T23" fmla="*/ 29 h 46"/>
                  <a:gd name="T24" fmla="*/ 32 w 40"/>
                  <a:gd name="T25" fmla="*/ 29 h 46"/>
                  <a:gd name="T26" fmla="*/ 32 w 40"/>
                  <a:gd name="T27" fmla="*/ 31 h 46"/>
                  <a:gd name="T28" fmla="*/ 32 w 40"/>
                  <a:gd name="T29" fmla="*/ 33 h 46"/>
                  <a:gd name="T30" fmla="*/ 32 w 40"/>
                  <a:gd name="T31" fmla="*/ 33 h 46"/>
                  <a:gd name="T32" fmla="*/ 34 w 40"/>
                  <a:gd name="T33" fmla="*/ 35 h 46"/>
                  <a:gd name="T34" fmla="*/ 36 w 40"/>
                  <a:gd name="T35" fmla="*/ 36 h 46"/>
                  <a:gd name="T36" fmla="*/ 36 w 40"/>
                  <a:gd name="T37" fmla="*/ 40 h 46"/>
                  <a:gd name="T38" fmla="*/ 36 w 40"/>
                  <a:gd name="T39" fmla="*/ 42 h 46"/>
                  <a:gd name="T40" fmla="*/ 34 w 40"/>
                  <a:gd name="T41" fmla="*/ 44 h 46"/>
                  <a:gd name="T42" fmla="*/ 32 w 40"/>
                  <a:gd name="T43" fmla="*/ 46 h 46"/>
                  <a:gd name="T44" fmla="*/ 30 w 40"/>
                  <a:gd name="T45" fmla="*/ 42 h 46"/>
                  <a:gd name="T46" fmla="*/ 27 w 40"/>
                  <a:gd name="T47" fmla="*/ 35 h 46"/>
                  <a:gd name="T48" fmla="*/ 21 w 40"/>
                  <a:gd name="T49" fmla="*/ 29 h 46"/>
                  <a:gd name="T50" fmla="*/ 11 w 40"/>
                  <a:gd name="T51" fmla="*/ 27 h 46"/>
                  <a:gd name="T52" fmla="*/ 11 w 40"/>
                  <a:gd name="T53" fmla="*/ 17 h 46"/>
                  <a:gd name="T54" fmla="*/ 11 w 40"/>
                  <a:gd name="T55" fmla="*/ 12 h 46"/>
                  <a:gd name="T56" fmla="*/ 4 w 40"/>
                  <a:gd name="T57" fmla="*/ 8 h 46"/>
                  <a:gd name="T58" fmla="*/ 0 w 40"/>
                  <a:gd name="T59" fmla="*/ 0 h 46"/>
                  <a:gd name="T60" fmla="*/ 2 w 40"/>
                  <a:gd name="T61" fmla="*/ 0 h 46"/>
                  <a:gd name="T62" fmla="*/ 11 w 40"/>
                  <a:gd name="T63" fmla="*/ 4 h 46"/>
                  <a:gd name="T64" fmla="*/ 13 w 40"/>
                  <a:gd name="T65" fmla="*/ 8 h 46"/>
                  <a:gd name="T66" fmla="*/ 17 w 40"/>
                  <a:gd name="T67" fmla="*/ 10 h 46"/>
                  <a:gd name="T68" fmla="*/ 19 w 40"/>
                  <a:gd name="T69" fmla="*/ 14 h 46"/>
                  <a:gd name="T70" fmla="*/ 23 w 40"/>
                  <a:gd name="T71" fmla="*/ 1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0" h="46">
                    <a:moveTo>
                      <a:pt x="23" y="16"/>
                    </a:moveTo>
                    <a:lnTo>
                      <a:pt x="25" y="16"/>
                    </a:lnTo>
                    <a:lnTo>
                      <a:pt x="29" y="12"/>
                    </a:lnTo>
                    <a:lnTo>
                      <a:pt x="30" y="12"/>
                    </a:lnTo>
                    <a:lnTo>
                      <a:pt x="32" y="14"/>
                    </a:lnTo>
                    <a:lnTo>
                      <a:pt x="34" y="19"/>
                    </a:lnTo>
                    <a:lnTo>
                      <a:pt x="38" y="21"/>
                    </a:lnTo>
                    <a:lnTo>
                      <a:pt x="40" y="23"/>
                    </a:lnTo>
                    <a:lnTo>
                      <a:pt x="36" y="29"/>
                    </a:lnTo>
                    <a:lnTo>
                      <a:pt x="36" y="29"/>
                    </a:lnTo>
                    <a:lnTo>
                      <a:pt x="34" y="29"/>
                    </a:lnTo>
                    <a:lnTo>
                      <a:pt x="34" y="29"/>
                    </a:lnTo>
                    <a:lnTo>
                      <a:pt x="32" y="29"/>
                    </a:lnTo>
                    <a:lnTo>
                      <a:pt x="32" y="31"/>
                    </a:lnTo>
                    <a:lnTo>
                      <a:pt x="32" y="33"/>
                    </a:lnTo>
                    <a:lnTo>
                      <a:pt x="32" y="33"/>
                    </a:lnTo>
                    <a:lnTo>
                      <a:pt x="34" y="35"/>
                    </a:lnTo>
                    <a:lnTo>
                      <a:pt x="36" y="36"/>
                    </a:lnTo>
                    <a:lnTo>
                      <a:pt x="36" y="40"/>
                    </a:lnTo>
                    <a:lnTo>
                      <a:pt x="36" y="42"/>
                    </a:lnTo>
                    <a:lnTo>
                      <a:pt x="34" y="44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27" y="35"/>
                    </a:lnTo>
                    <a:lnTo>
                      <a:pt x="21" y="29"/>
                    </a:lnTo>
                    <a:lnTo>
                      <a:pt x="11" y="27"/>
                    </a:lnTo>
                    <a:lnTo>
                      <a:pt x="11" y="17"/>
                    </a:lnTo>
                    <a:lnTo>
                      <a:pt x="11" y="12"/>
                    </a:lnTo>
                    <a:lnTo>
                      <a:pt x="4" y="8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1" y="4"/>
                    </a:lnTo>
                    <a:lnTo>
                      <a:pt x="13" y="8"/>
                    </a:lnTo>
                    <a:lnTo>
                      <a:pt x="17" y="10"/>
                    </a:lnTo>
                    <a:lnTo>
                      <a:pt x="19" y="14"/>
                    </a:lnTo>
                    <a:lnTo>
                      <a:pt x="23" y="16"/>
                    </a:lnTo>
                    <a:close/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50" name="Freeform 52">
                <a:extLst>
                  <a:ext uri="{FF2B5EF4-FFF2-40B4-BE49-F238E27FC236}">
                    <a16:creationId xmlns:a16="http://schemas.microsoft.com/office/drawing/2014/main" id="{CB37A508-7C99-4D08-82A7-D9570C132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5819" y="2923061"/>
                <a:ext cx="63500" cy="73025"/>
              </a:xfrm>
              <a:custGeom>
                <a:avLst/>
                <a:gdLst>
                  <a:gd name="T0" fmla="*/ 23 w 40"/>
                  <a:gd name="T1" fmla="*/ 16 h 46"/>
                  <a:gd name="T2" fmla="*/ 25 w 40"/>
                  <a:gd name="T3" fmla="*/ 16 h 46"/>
                  <a:gd name="T4" fmla="*/ 29 w 40"/>
                  <a:gd name="T5" fmla="*/ 12 h 46"/>
                  <a:gd name="T6" fmla="*/ 30 w 40"/>
                  <a:gd name="T7" fmla="*/ 12 h 46"/>
                  <a:gd name="T8" fmla="*/ 32 w 40"/>
                  <a:gd name="T9" fmla="*/ 14 h 46"/>
                  <a:gd name="T10" fmla="*/ 34 w 40"/>
                  <a:gd name="T11" fmla="*/ 19 h 46"/>
                  <a:gd name="T12" fmla="*/ 38 w 40"/>
                  <a:gd name="T13" fmla="*/ 21 h 46"/>
                  <a:gd name="T14" fmla="*/ 40 w 40"/>
                  <a:gd name="T15" fmla="*/ 23 h 46"/>
                  <a:gd name="T16" fmla="*/ 36 w 40"/>
                  <a:gd name="T17" fmla="*/ 29 h 46"/>
                  <a:gd name="T18" fmla="*/ 36 w 40"/>
                  <a:gd name="T19" fmla="*/ 29 h 46"/>
                  <a:gd name="T20" fmla="*/ 34 w 40"/>
                  <a:gd name="T21" fmla="*/ 29 h 46"/>
                  <a:gd name="T22" fmla="*/ 34 w 40"/>
                  <a:gd name="T23" fmla="*/ 29 h 46"/>
                  <a:gd name="T24" fmla="*/ 32 w 40"/>
                  <a:gd name="T25" fmla="*/ 29 h 46"/>
                  <a:gd name="T26" fmla="*/ 32 w 40"/>
                  <a:gd name="T27" fmla="*/ 31 h 46"/>
                  <a:gd name="T28" fmla="*/ 32 w 40"/>
                  <a:gd name="T29" fmla="*/ 33 h 46"/>
                  <a:gd name="T30" fmla="*/ 32 w 40"/>
                  <a:gd name="T31" fmla="*/ 33 h 46"/>
                  <a:gd name="T32" fmla="*/ 34 w 40"/>
                  <a:gd name="T33" fmla="*/ 35 h 46"/>
                  <a:gd name="T34" fmla="*/ 36 w 40"/>
                  <a:gd name="T35" fmla="*/ 36 h 46"/>
                  <a:gd name="T36" fmla="*/ 36 w 40"/>
                  <a:gd name="T37" fmla="*/ 40 h 46"/>
                  <a:gd name="T38" fmla="*/ 36 w 40"/>
                  <a:gd name="T39" fmla="*/ 42 h 46"/>
                  <a:gd name="T40" fmla="*/ 34 w 40"/>
                  <a:gd name="T41" fmla="*/ 44 h 46"/>
                  <a:gd name="T42" fmla="*/ 32 w 40"/>
                  <a:gd name="T43" fmla="*/ 46 h 46"/>
                  <a:gd name="T44" fmla="*/ 30 w 40"/>
                  <a:gd name="T45" fmla="*/ 42 h 46"/>
                  <a:gd name="T46" fmla="*/ 27 w 40"/>
                  <a:gd name="T47" fmla="*/ 35 h 46"/>
                  <a:gd name="T48" fmla="*/ 21 w 40"/>
                  <a:gd name="T49" fmla="*/ 29 h 46"/>
                  <a:gd name="T50" fmla="*/ 11 w 40"/>
                  <a:gd name="T51" fmla="*/ 27 h 46"/>
                  <a:gd name="T52" fmla="*/ 11 w 40"/>
                  <a:gd name="T53" fmla="*/ 17 h 46"/>
                  <a:gd name="T54" fmla="*/ 11 w 40"/>
                  <a:gd name="T55" fmla="*/ 12 h 46"/>
                  <a:gd name="T56" fmla="*/ 4 w 40"/>
                  <a:gd name="T57" fmla="*/ 8 h 46"/>
                  <a:gd name="T58" fmla="*/ 0 w 40"/>
                  <a:gd name="T59" fmla="*/ 0 h 46"/>
                  <a:gd name="T60" fmla="*/ 2 w 40"/>
                  <a:gd name="T61" fmla="*/ 0 h 46"/>
                  <a:gd name="T62" fmla="*/ 11 w 40"/>
                  <a:gd name="T63" fmla="*/ 4 h 46"/>
                  <a:gd name="T64" fmla="*/ 13 w 40"/>
                  <a:gd name="T65" fmla="*/ 8 h 46"/>
                  <a:gd name="T66" fmla="*/ 17 w 40"/>
                  <a:gd name="T67" fmla="*/ 10 h 46"/>
                  <a:gd name="T68" fmla="*/ 19 w 40"/>
                  <a:gd name="T69" fmla="*/ 14 h 46"/>
                  <a:gd name="T70" fmla="*/ 23 w 40"/>
                  <a:gd name="T71" fmla="*/ 1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0" h="46">
                    <a:moveTo>
                      <a:pt x="23" y="16"/>
                    </a:moveTo>
                    <a:lnTo>
                      <a:pt x="25" y="16"/>
                    </a:lnTo>
                    <a:lnTo>
                      <a:pt x="29" y="12"/>
                    </a:lnTo>
                    <a:lnTo>
                      <a:pt x="30" y="12"/>
                    </a:lnTo>
                    <a:lnTo>
                      <a:pt x="32" y="14"/>
                    </a:lnTo>
                    <a:lnTo>
                      <a:pt x="34" y="19"/>
                    </a:lnTo>
                    <a:lnTo>
                      <a:pt x="38" y="21"/>
                    </a:lnTo>
                    <a:lnTo>
                      <a:pt x="40" y="23"/>
                    </a:lnTo>
                    <a:lnTo>
                      <a:pt x="36" y="29"/>
                    </a:lnTo>
                    <a:lnTo>
                      <a:pt x="36" y="29"/>
                    </a:lnTo>
                    <a:lnTo>
                      <a:pt x="34" y="29"/>
                    </a:lnTo>
                    <a:lnTo>
                      <a:pt x="34" y="29"/>
                    </a:lnTo>
                    <a:lnTo>
                      <a:pt x="32" y="29"/>
                    </a:lnTo>
                    <a:lnTo>
                      <a:pt x="32" y="31"/>
                    </a:lnTo>
                    <a:lnTo>
                      <a:pt x="32" y="33"/>
                    </a:lnTo>
                    <a:lnTo>
                      <a:pt x="32" y="33"/>
                    </a:lnTo>
                    <a:lnTo>
                      <a:pt x="34" y="35"/>
                    </a:lnTo>
                    <a:lnTo>
                      <a:pt x="36" y="36"/>
                    </a:lnTo>
                    <a:lnTo>
                      <a:pt x="36" y="40"/>
                    </a:lnTo>
                    <a:lnTo>
                      <a:pt x="36" y="42"/>
                    </a:lnTo>
                    <a:lnTo>
                      <a:pt x="34" y="44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27" y="35"/>
                    </a:lnTo>
                    <a:lnTo>
                      <a:pt x="21" y="29"/>
                    </a:lnTo>
                    <a:lnTo>
                      <a:pt x="11" y="27"/>
                    </a:lnTo>
                    <a:lnTo>
                      <a:pt x="11" y="17"/>
                    </a:lnTo>
                    <a:lnTo>
                      <a:pt x="11" y="12"/>
                    </a:lnTo>
                    <a:lnTo>
                      <a:pt x="4" y="8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1" y="4"/>
                    </a:lnTo>
                    <a:lnTo>
                      <a:pt x="13" y="8"/>
                    </a:lnTo>
                    <a:lnTo>
                      <a:pt x="17" y="10"/>
                    </a:lnTo>
                    <a:lnTo>
                      <a:pt x="19" y="14"/>
                    </a:lnTo>
                    <a:lnTo>
                      <a:pt x="23" y="1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  <p:sp>
            <p:nvSpPr>
              <p:cNvPr id="351" name="Freeform 24">
                <a:extLst>
                  <a:ext uri="{FF2B5EF4-FFF2-40B4-BE49-F238E27FC236}">
                    <a16:creationId xmlns:a16="http://schemas.microsoft.com/office/drawing/2014/main" id="{3BBCEE1E-7416-4EA8-9A4D-D24365D7B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9394" y="5645624"/>
                <a:ext cx="889000" cy="1406525"/>
              </a:xfrm>
              <a:custGeom>
                <a:avLst/>
                <a:gdLst>
                  <a:gd name="T0" fmla="*/ 534 w 560"/>
                  <a:gd name="T1" fmla="*/ 660 h 886"/>
                  <a:gd name="T2" fmla="*/ 516 w 560"/>
                  <a:gd name="T3" fmla="*/ 633 h 886"/>
                  <a:gd name="T4" fmla="*/ 499 w 560"/>
                  <a:gd name="T5" fmla="*/ 601 h 886"/>
                  <a:gd name="T6" fmla="*/ 476 w 560"/>
                  <a:gd name="T7" fmla="*/ 591 h 886"/>
                  <a:gd name="T8" fmla="*/ 450 w 560"/>
                  <a:gd name="T9" fmla="*/ 610 h 886"/>
                  <a:gd name="T10" fmla="*/ 417 w 560"/>
                  <a:gd name="T11" fmla="*/ 610 h 886"/>
                  <a:gd name="T12" fmla="*/ 381 w 560"/>
                  <a:gd name="T13" fmla="*/ 593 h 886"/>
                  <a:gd name="T14" fmla="*/ 371 w 560"/>
                  <a:gd name="T15" fmla="*/ 614 h 886"/>
                  <a:gd name="T16" fmla="*/ 366 w 560"/>
                  <a:gd name="T17" fmla="*/ 593 h 886"/>
                  <a:gd name="T18" fmla="*/ 360 w 560"/>
                  <a:gd name="T19" fmla="*/ 561 h 886"/>
                  <a:gd name="T20" fmla="*/ 404 w 560"/>
                  <a:gd name="T21" fmla="*/ 586 h 886"/>
                  <a:gd name="T22" fmla="*/ 410 w 560"/>
                  <a:gd name="T23" fmla="*/ 570 h 886"/>
                  <a:gd name="T24" fmla="*/ 417 w 560"/>
                  <a:gd name="T25" fmla="*/ 542 h 886"/>
                  <a:gd name="T26" fmla="*/ 391 w 560"/>
                  <a:gd name="T27" fmla="*/ 540 h 886"/>
                  <a:gd name="T28" fmla="*/ 347 w 560"/>
                  <a:gd name="T29" fmla="*/ 536 h 886"/>
                  <a:gd name="T30" fmla="*/ 339 w 560"/>
                  <a:gd name="T31" fmla="*/ 515 h 886"/>
                  <a:gd name="T32" fmla="*/ 337 w 560"/>
                  <a:gd name="T33" fmla="*/ 458 h 886"/>
                  <a:gd name="T34" fmla="*/ 370 w 560"/>
                  <a:gd name="T35" fmla="*/ 452 h 886"/>
                  <a:gd name="T36" fmla="*/ 360 w 560"/>
                  <a:gd name="T37" fmla="*/ 388 h 886"/>
                  <a:gd name="T38" fmla="*/ 368 w 560"/>
                  <a:gd name="T39" fmla="*/ 352 h 886"/>
                  <a:gd name="T40" fmla="*/ 431 w 560"/>
                  <a:gd name="T41" fmla="*/ 285 h 886"/>
                  <a:gd name="T42" fmla="*/ 419 w 560"/>
                  <a:gd name="T43" fmla="*/ 237 h 886"/>
                  <a:gd name="T44" fmla="*/ 415 w 560"/>
                  <a:gd name="T45" fmla="*/ 173 h 886"/>
                  <a:gd name="T46" fmla="*/ 438 w 560"/>
                  <a:gd name="T47" fmla="*/ 116 h 886"/>
                  <a:gd name="T48" fmla="*/ 432 w 560"/>
                  <a:gd name="T49" fmla="*/ 79 h 886"/>
                  <a:gd name="T50" fmla="*/ 425 w 560"/>
                  <a:gd name="T51" fmla="*/ 22 h 886"/>
                  <a:gd name="T52" fmla="*/ 379 w 560"/>
                  <a:gd name="T53" fmla="*/ 28 h 886"/>
                  <a:gd name="T54" fmla="*/ 335 w 560"/>
                  <a:gd name="T55" fmla="*/ 74 h 886"/>
                  <a:gd name="T56" fmla="*/ 297 w 560"/>
                  <a:gd name="T57" fmla="*/ 97 h 886"/>
                  <a:gd name="T58" fmla="*/ 286 w 560"/>
                  <a:gd name="T59" fmla="*/ 140 h 886"/>
                  <a:gd name="T60" fmla="*/ 228 w 560"/>
                  <a:gd name="T61" fmla="*/ 148 h 886"/>
                  <a:gd name="T62" fmla="*/ 183 w 560"/>
                  <a:gd name="T63" fmla="*/ 140 h 886"/>
                  <a:gd name="T64" fmla="*/ 194 w 560"/>
                  <a:gd name="T65" fmla="*/ 192 h 886"/>
                  <a:gd name="T66" fmla="*/ 139 w 560"/>
                  <a:gd name="T67" fmla="*/ 209 h 886"/>
                  <a:gd name="T68" fmla="*/ 95 w 560"/>
                  <a:gd name="T69" fmla="*/ 213 h 886"/>
                  <a:gd name="T70" fmla="*/ 72 w 560"/>
                  <a:gd name="T71" fmla="*/ 243 h 886"/>
                  <a:gd name="T72" fmla="*/ 40 w 560"/>
                  <a:gd name="T73" fmla="*/ 245 h 886"/>
                  <a:gd name="T74" fmla="*/ 17 w 560"/>
                  <a:gd name="T75" fmla="*/ 260 h 886"/>
                  <a:gd name="T76" fmla="*/ 32 w 560"/>
                  <a:gd name="T77" fmla="*/ 272 h 886"/>
                  <a:gd name="T78" fmla="*/ 47 w 560"/>
                  <a:gd name="T79" fmla="*/ 308 h 886"/>
                  <a:gd name="T80" fmla="*/ 24 w 560"/>
                  <a:gd name="T81" fmla="*/ 357 h 886"/>
                  <a:gd name="T82" fmla="*/ 11 w 560"/>
                  <a:gd name="T83" fmla="*/ 369 h 886"/>
                  <a:gd name="T84" fmla="*/ 19 w 560"/>
                  <a:gd name="T85" fmla="*/ 420 h 886"/>
                  <a:gd name="T86" fmla="*/ 3 w 560"/>
                  <a:gd name="T87" fmla="*/ 466 h 886"/>
                  <a:gd name="T88" fmla="*/ 5 w 560"/>
                  <a:gd name="T89" fmla="*/ 483 h 886"/>
                  <a:gd name="T90" fmla="*/ 30 w 560"/>
                  <a:gd name="T91" fmla="*/ 511 h 886"/>
                  <a:gd name="T92" fmla="*/ 43 w 560"/>
                  <a:gd name="T93" fmla="*/ 546 h 886"/>
                  <a:gd name="T94" fmla="*/ 78 w 560"/>
                  <a:gd name="T95" fmla="*/ 626 h 886"/>
                  <a:gd name="T96" fmla="*/ 80 w 560"/>
                  <a:gd name="T97" fmla="*/ 677 h 886"/>
                  <a:gd name="T98" fmla="*/ 106 w 560"/>
                  <a:gd name="T99" fmla="*/ 740 h 886"/>
                  <a:gd name="T100" fmla="*/ 125 w 560"/>
                  <a:gd name="T101" fmla="*/ 755 h 886"/>
                  <a:gd name="T102" fmla="*/ 150 w 560"/>
                  <a:gd name="T103" fmla="*/ 776 h 886"/>
                  <a:gd name="T104" fmla="*/ 166 w 560"/>
                  <a:gd name="T105" fmla="*/ 801 h 886"/>
                  <a:gd name="T106" fmla="*/ 217 w 560"/>
                  <a:gd name="T107" fmla="*/ 844 h 886"/>
                  <a:gd name="T108" fmla="*/ 268 w 560"/>
                  <a:gd name="T109" fmla="*/ 863 h 886"/>
                  <a:gd name="T110" fmla="*/ 309 w 560"/>
                  <a:gd name="T111" fmla="*/ 884 h 886"/>
                  <a:gd name="T112" fmla="*/ 396 w 560"/>
                  <a:gd name="T113" fmla="*/ 861 h 886"/>
                  <a:gd name="T114" fmla="*/ 461 w 560"/>
                  <a:gd name="T115" fmla="*/ 827 h 886"/>
                  <a:gd name="T116" fmla="*/ 438 w 560"/>
                  <a:gd name="T117" fmla="*/ 776 h 886"/>
                  <a:gd name="T118" fmla="*/ 465 w 560"/>
                  <a:gd name="T119" fmla="*/ 728 h 886"/>
                  <a:gd name="T120" fmla="*/ 522 w 560"/>
                  <a:gd name="T121" fmla="*/ 728 h 886"/>
                  <a:gd name="T122" fmla="*/ 541 w 560"/>
                  <a:gd name="T123" fmla="*/ 721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60" h="886">
                    <a:moveTo>
                      <a:pt x="560" y="675"/>
                    </a:moveTo>
                    <a:lnTo>
                      <a:pt x="560" y="673"/>
                    </a:lnTo>
                    <a:lnTo>
                      <a:pt x="560" y="673"/>
                    </a:lnTo>
                    <a:lnTo>
                      <a:pt x="560" y="673"/>
                    </a:lnTo>
                    <a:lnTo>
                      <a:pt x="558" y="671"/>
                    </a:lnTo>
                    <a:lnTo>
                      <a:pt x="558" y="673"/>
                    </a:lnTo>
                    <a:lnTo>
                      <a:pt x="556" y="675"/>
                    </a:lnTo>
                    <a:lnTo>
                      <a:pt x="556" y="675"/>
                    </a:lnTo>
                    <a:lnTo>
                      <a:pt x="555" y="675"/>
                    </a:lnTo>
                    <a:lnTo>
                      <a:pt x="555" y="675"/>
                    </a:lnTo>
                    <a:lnTo>
                      <a:pt x="555" y="675"/>
                    </a:lnTo>
                    <a:lnTo>
                      <a:pt x="553" y="675"/>
                    </a:lnTo>
                    <a:lnTo>
                      <a:pt x="549" y="671"/>
                    </a:lnTo>
                    <a:lnTo>
                      <a:pt x="547" y="669"/>
                    </a:lnTo>
                    <a:lnTo>
                      <a:pt x="547" y="669"/>
                    </a:lnTo>
                    <a:lnTo>
                      <a:pt x="545" y="671"/>
                    </a:lnTo>
                    <a:lnTo>
                      <a:pt x="545" y="671"/>
                    </a:lnTo>
                    <a:lnTo>
                      <a:pt x="545" y="669"/>
                    </a:lnTo>
                    <a:lnTo>
                      <a:pt x="543" y="669"/>
                    </a:lnTo>
                    <a:lnTo>
                      <a:pt x="543" y="669"/>
                    </a:lnTo>
                    <a:lnTo>
                      <a:pt x="541" y="669"/>
                    </a:lnTo>
                    <a:lnTo>
                      <a:pt x="541" y="669"/>
                    </a:lnTo>
                    <a:lnTo>
                      <a:pt x="539" y="669"/>
                    </a:lnTo>
                    <a:lnTo>
                      <a:pt x="539" y="669"/>
                    </a:lnTo>
                    <a:lnTo>
                      <a:pt x="537" y="669"/>
                    </a:lnTo>
                    <a:lnTo>
                      <a:pt x="537" y="667"/>
                    </a:lnTo>
                    <a:lnTo>
                      <a:pt x="537" y="665"/>
                    </a:lnTo>
                    <a:lnTo>
                      <a:pt x="535" y="665"/>
                    </a:lnTo>
                    <a:lnTo>
                      <a:pt x="535" y="664"/>
                    </a:lnTo>
                    <a:lnTo>
                      <a:pt x="534" y="664"/>
                    </a:lnTo>
                    <a:lnTo>
                      <a:pt x="534" y="662"/>
                    </a:lnTo>
                    <a:lnTo>
                      <a:pt x="534" y="662"/>
                    </a:lnTo>
                    <a:lnTo>
                      <a:pt x="534" y="660"/>
                    </a:lnTo>
                    <a:lnTo>
                      <a:pt x="534" y="660"/>
                    </a:lnTo>
                    <a:lnTo>
                      <a:pt x="535" y="660"/>
                    </a:lnTo>
                    <a:lnTo>
                      <a:pt x="535" y="658"/>
                    </a:lnTo>
                    <a:lnTo>
                      <a:pt x="535" y="658"/>
                    </a:lnTo>
                    <a:lnTo>
                      <a:pt x="535" y="652"/>
                    </a:lnTo>
                    <a:lnTo>
                      <a:pt x="535" y="650"/>
                    </a:lnTo>
                    <a:lnTo>
                      <a:pt x="535" y="648"/>
                    </a:lnTo>
                    <a:lnTo>
                      <a:pt x="535" y="648"/>
                    </a:lnTo>
                    <a:lnTo>
                      <a:pt x="535" y="646"/>
                    </a:lnTo>
                    <a:lnTo>
                      <a:pt x="535" y="646"/>
                    </a:lnTo>
                    <a:lnTo>
                      <a:pt x="535" y="643"/>
                    </a:lnTo>
                    <a:lnTo>
                      <a:pt x="535" y="641"/>
                    </a:lnTo>
                    <a:lnTo>
                      <a:pt x="535" y="639"/>
                    </a:lnTo>
                    <a:lnTo>
                      <a:pt x="537" y="637"/>
                    </a:lnTo>
                    <a:lnTo>
                      <a:pt x="537" y="637"/>
                    </a:lnTo>
                    <a:lnTo>
                      <a:pt x="537" y="635"/>
                    </a:lnTo>
                    <a:lnTo>
                      <a:pt x="535" y="635"/>
                    </a:lnTo>
                    <a:lnTo>
                      <a:pt x="535" y="635"/>
                    </a:lnTo>
                    <a:lnTo>
                      <a:pt x="534" y="635"/>
                    </a:lnTo>
                    <a:lnTo>
                      <a:pt x="532" y="635"/>
                    </a:lnTo>
                    <a:lnTo>
                      <a:pt x="532" y="635"/>
                    </a:lnTo>
                    <a:lnTo>
                      <a:pt x="532" y="635"/>
                    </a:lnTo>
                    <a:lnTo>
                      <a:pt x="530" y="635"/>
                    </a:lnTo>
                    <a:lnTo>
                      <a:pt x="528" y="633"/>
                    </a:lnTo>
                    <a:lnTo>
                      <a:pt x="528" y="633"/>
                    </a:lnTo>
                    <a:lnTo>
                      <a:pt x="528" y="633"/>
                    </a:lnTo>
                    <a:lnTo>
                      <a:pt x="526" y="633"/>
                    </a:lnTo>
                    <a:lnTo>
                      <a:pt x="524" y="635"/>
                    </a:lnTo>
                    <a:lnTo>
                      <a:pt x="524" y="635"/>
                    </a:lnTo>
                    <a:lnTo>
                      <a:pt x="522" y="635"/>
                    </a:lnTo>
                    <a:lnTo>
                      <a:pt x="522" y="635"/>
                    </a:lnTo>
                    <a:lnTo>
                      <a:pt x="518" y="635"/>
                    </a:lnTo>
                    <a:lnTo>
                      <a:pt x="516" y="633"/>
                    </a:lnTo>
                    <a:lnTo>
                      <a:pt x="514" y="633"/>
                    </a:lnTo>
                    <a:lnTo>
                      <a:pt x="513" y="633"/>
                    </a:lnTo>
                    <a:lnTo>
                      <a:pt x="513" y="633"/>
                    </a:lnTo>
                    <a:lnTo>
                      <a:pt x="513" y="633"/>
                    </a:lnTo>
                    <a:lnTo>
                      <a:pt x="511" y="631"/>
                    </a:lnTo>
                    <a:lnTo>
                      <a:pt x="507" y="627"/>
                    </a:lnTo>
                    <a:lnTo>
                      <a:pt x="505" y="626"/>
                    </a:lnTo>
                    <a:lnTo>
                      <a:pt x="505" y="626"/>
                    </a:lnTo>
                    <a:lnTo>
                      <a:pt x="503" y="626"/>
                    </a:lnTo>
                    <a:lnTo>
                      <a:pt x="503" y="626"/>
                    </a:lnTo>
                    <a:lnTo>
                      <a:pt x="501" y="627"/>
                    </a:lnTo>
                    <a:lnTo>
                      <a:pt x="499" y="627"/>
                    </a:lnTo>
                    <a:lnTo>
                      <a:pt x="499" y="626"/>
                    </a:lnTo>
                    <a:lnTo>
                      <a:pt x="497" y="624"/>
                    </a:lnTo>
                    <a:lnTo>
                      <a:pt x="497" y="624"/>
                    </a:lnTo>
                    <a:lnTo>
                      <a:pt x="497" y="622"/>
                    </a:lnTo>
                    <a:lnTo>
                      <a:pt x="497" y="622"/>
                    </a:lnTo>
                    <a:lnTo>
                      <a:pt x="499" y="622"/>
                    </a:lnTo>
                    <a:lnTo>
                      <a:pt x="501" y="622"/>
                    </a:lnTo>
                    <a:lnTo>
                      <a:pt x="501" y="622"/>
                    </a:lnTo>
                    <a:lnTo>
                      <a:pt x="503" y="622"/>
                    </a:lnTo>
                    <a:lnTo>
                      <a:pt x="503" y="620"/>
                    </a:lnTo>
                    <a:lnTo>
                      <a:pt x="503" y="620"/>
                    </a:lnTo>
                    <a:lnTo>
                      <a:pt x="503" y="618"/>
                    </a:lnTo>
                    <a:lnTo>
                      <a:pt x="501" y="616"/>
                    </a:lnTo>
                    <a:lnTo>
                      <a:pt x="501" y="614"/>
                    </a:lnTo>
                    <a:lnTo>
                      <a:pt x="499" y="614"/>
                    </a:lnTo>
                    <a:lnTo>
                      <a:pt x="501" y="612"/>
                    </a:lnTo>
                    <a:lnTo>
                      <a:pt x="501" y="610"/>
                    </a:lnTo>
                    <a:lnTo>
                      <a:pt x="501" y="608"/>
                    </a:lnTo>
                    <a:lnTo>
                      <a:pt x="501" y="606"/>
                    </a:lnTo>
                    <a:lnTo>
                      <a:pt x="501" y="605"/>
                    </a:lnTo>
                    <a:lnTo>
                      <a:pt x="499" y="601"/>
                    </a:lnTo>
                    <a:lnTo>
                      <a:pt x="494" y="597"/>
                    </a:lnTo>
                    <a:lnTo>
                      <a:pt x="490" y="599"/>
                    </a:lnTo>
                    <a:lnTo>
                      <a:pt x="490" y="599"/>
                    </a:lnTo>
                    <a:lnTo>
                      <a:pt x="490" y="599"/>
                    </a:lnTo>
                    <a:lnTo>
                      <a:pt x="488" y="599"/>
                    </a:lnTo>
                    <a:lnTo>
                      <a:pt x="486" y="599"/>
                    </a:lnTo>
                    <a:lnTo>
                      <a:pt x="484" y="599"/>
                    </a:lnTo>
                    <a:lnTo>
                      <a:pt x="484" y="601"/>
                    </a:lnTo>
                    <a:lnTo>
                      <a:pt x="482" y="603"/>
                    </a:lnTo>
                    <a:lnTo>
                      <a:pt x="480" y="603"/>
                    </a:lnTo>
                    <a:lnTo>
                      <a:pt x="480" y="605"/>
                    </a:lnTo>
                    <a:lnTo>
                      <a:pt x="480" y="603"/>
                    </a:lnTo>
                    <a:lnTo>
                      <a:pt x="478" y="603"/>
                    </a:lnTo>
                    <a:lnTo>
                      <a:pt x="478" y="601"/>
                    </a:lnTo>
                    <a:lnTo>
                      <a:pt x="478" y="599"/>
                    </a:lnTo>
                    <a:lnTo>
                      <a:pt x="478" y="597"/>
                    </a:lnTo>
                    <a:lnTo>
                      <a:pt x="478" y="597"/>
                    </a:lnTo>
                    <a:lnTo>
                      <a:pt x="478" y="595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93"/>
                    </a:lnTo>
                    <a:lnTo>
                      <a:pt x="482" y="589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2" y="587"/>
                    </a:lnTo>
                    <a:lnTo>
                      <a:pt x="480" y="587"/>
                    </a:lnTo>
                    <a:lnTo>
                      <a:pt x="478" y="587"/>
                    </a:lnTo>
                    <a:lnTo>
                      <a:pt x="478" y="589"/>
                    </a:lnTo>
                    <a:lnTo>
                      <a:pt x="478" y="589"/>
                    </a:lnTo>
                    <a:lnTo>
                      <a:pt x="478" y="591"/>
                    </a:lnTo>
                    <a:lnTo>
                      <a:pt x="476" y="591"/>
                    </a:lnTo>
                    <a:lnTo>
                      <a:pt x="476" y="593"/>
                    </a:lnTo>
                    <a:lnTo>
                      <a:pt x="474" y="593"/>
                    </a:lnTo>
                    <a:lnTo>
                      <a:pt x="473" y="593"/>
                    </a:lnTo>
                    <a:lnTo>
                      <a:pt x="473" y="591"/>
                    </a:lnTo>
                    <a:lnTo>
                      <a:pt x="471" y="591"/>
                    </a:lnTo>
                    <a:lnTo>
                      <a:pt x="471" y="591"/>
                    </a:lnTo>
                    <a:lnTo>
                      <a:pt x="469" y="591"/>
                    </a:lnTo>
                    <a:lnTo>
                      <a:pt x="467" y="591"/>
                    </a:lnTo>
                    <a:lnTo>
                      <a:pt x="465" y="589"/>
                    </a:lnTo>
                    <a:lnTo>
                      <a:pt x="463" y="589"/>
                    </a:lnTo>
                    <a:lnTo>
                      <a:pt x="463" y="589"/>
                    </a:lnTo>
                    <a:lnTo>
                      <a:pt x="461" y="591"/>
                    </a:lnTo>
                    <a:lnTo>
                      <a:pt x="461" y="591"/>
                    </a:lnTo>
                    <a:lnTo>
                      <a:pt x="461" y="593"/>
                    </a:lnTo>
                    <a:lnTo>
                      <a:pt x="461" y="593"/>
                    </a:lnTo>
                    <a:lnTo>
                      <a:pt x="461" y="595"/>
                    </a:lnTo>
                    <a:lnTo>
                      <a:pt x="463" y="595"/>
                    </a:lnTo>
                    <a:lnTo>
                      <a:pt x="463" y="597"/>
                    </a:lnTo>
                    <a:lnTo>
                      <a:pt x="463" y="597"/>
                    </a:lnTo>
                    <a:lnTo>
                      <a:pt x="463" y="597"/>
                    </a:lnTo>
                    <a:lnTo>
                      <a:pt x="463" y="599"/>
                    </a:lnTo>
                    <a:lnTo>
                      <a:pt x="463" y="599"/>
                    </a:lnTo>
                    <a:lnTo>
                      <a:pt x="461" y="601"/>
                    </a:lnTo>
                    <a:lnTo>
                      <a:pt x="459" y="603"/>
                    </a:lnTo>
                    <a:lnTo>
                      <a:pt x="457" y="603"/>
                    </a:lnTo>
                    <a:lnTo>
                      <a:pt x="457" y="605"/>
                    </a:lnTo>
                    <a:lnTo>
                      <a:pt x="455" y="605"/>
                    </a:lnTo>
                    <a:lnTo>
                      <a:pt x="455" y="606"/>
                    </a:lnTo>
                    <a:lnTo>
                      <a:pt x="452" y="606"/>
                    </a:lnTo>
                    <a:lnTo>
                      <a:pt x="452" y="606"/>
                    </a:lnTo>
                    <a:lnTo>
                      <a:pt x="450" y="608"/>
                    </a:lnTo>
                    <a:lnTo>
                      <a:pt x="450" y="608"/>
                    </a:lnTo>
                    <a:lnTo>
                      <a:pt x="450" y="610"/>
                    </a:lnTo>
                    <a:lnTo>
                      <a:pt x="450" y="612"/>
                    </a:lnTo>
                    <a:lnTo>
                      <a:pt x="448" y="612"/>
                    </a:lnTo>
                    <a:lnTo>
                      <a:pt x="448" y="612"/>
                    </a:lnTo>
                    <a:lnTo>
                      <a:pt x="446" y="612"/>
                    </a:lnTo>
                    <a:lnTo>
                      <a:pt x="446" y="612"/>
                    </a:lnTo>
                    <a:lnTo>
                      <a:pt x="446" y="610"/>
                    </a:lnTo>
                    <a:lnTo>
                      <a:pt x="444" y="610"/>
                    </a:lnTo>
                    <a:lnTo>
                      <a:pt x="442" y="610"/>
                    </a:lnTo>
                    <a:lnTo>
                      <a:pt x="442" y="610"/>
                    </a:lnTo>
                    <a:lnTo>
                      <a:pt x="440" y="610"/>
                    </a:lnTo>
                    <a:lnTo>
                      <a:pt x="440" y="612"/>
                    </a:lnTo>
                    <a:lnTo>
                      <a:pt x="438" y="612"/>
                    </a:lnTo>
                    <a:lnTo>
                      <a:pt x="438" y="612"/>
                    </a:lnTo>
                    <a:lnTo>
                      <a:pt x="438" y="614"/>
                    </a:lnTo>
                    <a:lnTo>
                      <a:pt x="438" y="616"/>
                    </a:lnTo>
                    <a:lnTo>
                      <a:pt x="438" y="616"/>
                    </a:lnTo>
                    <a:lnTo>
                      <a:pt x="438" y="616"/>
                    </a:lnTo>
                    <a:lnTo>
                      <a:pt x="434" y="616"/>
                    </a:lnTo>
                    <a:lnTo>
                      <a:pt x="434" y="616"/>
                    </a:lnTo>
                    <a:lnTo>
                      <a:pt x="431" y="618"/>
                    </a:lnTo>
                    <a:lnTo>
                      <a:pt x="427" y="620"/>
                    </a:lnTo>
                    <a:lnTo>
                      <a:pt x="427" y="620"/>
                    </a:lnTo>
                    <a:lnTo>
                      <a:pt x="425" y="620"/>
                    </a:lnTo>
                    <a:lnTo>
                      <a:pt x="423" y="620"/>
                    </a:lnTo>
                    <a:lnTo>
                      <a:pt x="423" y="620"/>
                    </a:lnTo>
                    <a:lnTo>
                      <a:pt x="421" y="622"/>
                    </a:lnTo>
                    <a:lnTo>
                      <a:pt x="421" y="620"/>
                    </a:lnTo>
                    <a:lnTo>
                      <a:pt x="419" y="620"/>
                    </a:lnTo>
                    <a:lnTo>
                      <a:pt x="419" y="618"/>
                    </a:lnTo>
                    <a:lnTo>
                      <a:pt x="419" y="614"/>
                    </a:lnTo>
                    <a:lnTo>
                      <a:pt x="419" y="614"/>
                    </a:lnTo>
                    <a:lnTo>
                      <a:pt x="419" y="610"/>
                    </a:lnTo>
                    <a:lnTo>
                      <a:pt x="417" y="610"/>
                    </a:lnTo>
                    <a:lnTo>
                      <a:pt x="417" y="608"/>
                    </a:lnTo>
                    <a:lnTo>
                      <a:pt x="417" y="606"/>
                    </a:lnTo>
                    <a:lnTo>
                      <a:pt x="415" y="606"/>
                    </a:lnTo>
                    <a:lnTo>
                      <a:pt x="413" y="605"/>
                    </a:lnTo>
                    <a:lnTo>
                      <a:pt x="413" y="605"/>
                    </a:lnTo>
                    <a:lnTo>
                      <a:pt x="413" y="603"/>
                    </a:lnTo>
                    <a:lnTo>
                      <a:pt x="413" y="603"/>
                    </a:lnTo>
                    <a:lnTo>
                      <a:pt x="413" y="603"/>
                    </a:lnTo>
                    <a:lnTo>
                      <a:pt x="410" y="603"/>
                    </a:lnTo>
                    <a:lnTo>
                      <a:pt x="406" y="601"/>
                    </a:lnTo>
                    <a:lnTo>
                      <a:pt x="404" y="601"/>
                    </a:lnTo>
                    <a:lnTo>
                      <a:pt x="404" y="601"/>
                    </a:lnTo>
                    <a:lnTo>
                      <a:pt x="402" y="601"/>
                    </a:lnTo>
                    <a:lnTo>
                      <a:pt x="400" y="601"/>
                    </a:lnTo>
                    <a:lnTo>
                      <a:pt x="400" y="601"/>
                    </a:lnTo>
                    <a:lnTo>
                      <a:pt x="398" y="601"/>
                    </a:lnTo>
                    <a:lnTo>
                      <a:pt x="396" y="599"/>
                    </a:lnTo>
                    <a:lnTo>
                      <a:pt x="396" y="599"/>
                    </a:lnTo>
                    <a:lnTo>
                      <a:pt x="392" y="599"/>
                    </a:lnTo>
                    <a:lnTo>
                      <a:pt x="392" y="599"/>
                    </a:lnTo>
                    <a:lnTo>
                      <a:pt x="391" y="597"/>
                    </a:lnTo>
                    <a:lnTo>
                      <a:pt x="389" y="595"/>
                    </a:lnTo>
                    <a:lnTo>
                      <a:pt x="389" y="595"/>
                    </a:lnTo>
                    <a:lnTo>
                      <a:pt x="387" y="597"/>
                    </a:lnTo>
                    <a:lnTo>
                      <a:pt x="385" y="599"/>
                    </a:lnTo>
                    <a:lnTo>
                      <a:pt x="385" y="599"/>
                    </a:lnTo>
                    <a:lnTo>
                      <a:pt x="383" y="597"/>
                    </a:lnTo>
                    <a:lnTo>
                      <a:pt x="383" y="597"/>
                    </a:lnTo>
                    <a:lnTo>
                      <a:pt x="383" y="595"/>
                    </a:lnTo>
                    <a:lnTo>
                      <a:pt x="383" y="595"/>
                    </a:lnTo>
                    <a:lnTo>
                      <a:pt x="383" y="593"/>
                    </a:lnTo>
                    <a:lnTo>
                      <a:pt x="383" y="593"/>
                    </a:lnTo>
                    <a:lnTo>
                      <a:pt x="381" y="593"/>
                    </a:lnTo>
                    <a:lnTo>
                      <a:pt x="381" y="595"/>
                    </a:lnTo>
                    <a:lnTo>
                      <a:pt x="381" y="595"/>
                    </a:lnTo>
                    <a:lnTo>
                      <a:pt x="381" y="595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7"/>
                    </a:lnTo>
                    <a:lnTo>
                      <a:pt x="381" y="599"/>
                    </a:lnTo>
                    <a:lnTo>
                      <a:pt x="379" y="599"/>
                    </a:lnTo>
                    <a:lnTo>
                      <a:pt x="379" y="599"/>
                    </a:lnTo>
                    <a:lnTo>
                      <a:pt x="377" y="599"/>
                    </a:lnTo>
                    <a:lnTo>
                      <a:pt x="377" y="601"/>
                    </a:lnTo>
                    <a:lnTo>
                      <a:pt x="377" y="601"/>
                    </a:lnTo>
                    <a:lnTo>
                      <a:pt x="377" y="601"/>
                    </a:lnTo>
                    <a:lnTo>
                      <a:pt x="377" y="603"/>
                    </a:lnTo>
                    <a:lnTo>
                      <a:pt x="379" y="603"/>
                    </a:lnTo>
                    <a:lnTo>
                      <a:pt x="379" y="603"/>
                    </a:lnTo>
                    <a:lnTo>
                      <a:pt x="381" y="605"/>
                    </a:lnTo>
                    <a:lnTo>
                      <a:pt x="381" y="605"/>
                    </a:lnTo>
                    <a:lnTo>
                      <a:pt x="381" y="606"/>
                    </a:lnTo>
                    <a:lnTo>
                      <a:pt x="381" y="608"/>
                    </a:lnTo>
                    <a:lnTo>
                      <a:pt x="381" y="610"/>
                    </a:lnTo>
                    <a:lnTo>
                      <a:pt x="381" y="610"/>
                    </a:lnTo>
                    <a:lnTo>
                      <a:pt x="381" y="612"/>
                    </a:lnTo>
                    <a:lnTo>
                      <a:pt x="379" y="612"/>
                    </a:lnTo>
                    <a:lnTo>
                      <a:pt x="377" y="612"/>
                    </a:lnTo>
                    <a:lnTo>
                      <a:pt x="377" y="612"/>
                    </a:lnTo>
                    <a:lnTo>
                      <a:pt x="375" y="612"/>
                    </a:lnTo>
                    <a:lnTo>
                      <a:pt x="373" y="612"/>
                    </a:lnTo>
                    <a:lnTo>
                      <a:pt x="371" y="612"/>
                    </a:lnTo>
                    <a:lnTo>
                      <a:pt x="371" y="612"/>
                    </a:lnTo>
                    <a:lnTo>
                      <a:pt x="371" y="612"/>
                    </a:lnTo>
                    <a:lnTo>
                      <a:pt x="371" y="614"/>
                    </a:lnTo>
                    <a:lnTo>
                      <a:pt x="370" y="614"/>
                    </a:lnTo>
                    <a:lnTo>
                      <a:pt x="370" y="614"/>
                    </a:lnTo>
                    <a:lnTo>
                      <a:pt x="368" y="614"/>
                    </a:lnTo>
                    <a:lnTo>
                      <a:pt x="368" y="614"/>
                    </a:lnTo>
                    <a:lnTo>
                      <a:pt x="366" y="612"/>
                    </a:lnTo>
                    <a:lnTo>
                      <a:pt x="366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4" y="610"/>
                    </a:lnTo>
                    <a:lnTo>
                      <a:pt x="362" y="612"/>
                    </a:lnTo>
                    <a:lnTo>
                      <a:pt x="362" y="612"/>
                    </a:lnTo>
                    <a:lnTo>
                      <a:pt x="362" y="614"/>
                    </a:lnTo>
                    <a:lnTo>
                      <a:pt x="362" y="614"/>
                    </a:lnTo>
                    <a:lnTo>
                      <a:pt x="360" y="614"/>
                    </a:lnTo>
                    <a:lnTo>
                      <a:pt x="360" y="612"/>
                    </a:lnTo>
                    <a:lnTo>
                      <a:pt x="360" y="610"/>
                    </a:lnTo>
                    <a:lnTo>
                      <a:pt x="358" y="606"/>
                    </a:lnTo>
                    <a:lnTo>
                      <a:pt x="358" y="605"/>
                    </a:lnTo>
                    <a:lnTo>
                      <a:pt x="358" y="603"/>
                    </a:lnTo>
                    <a:lnTo>
                      <a:pt x="360" y="603"/>
                    </a:lnTo>
                    <a:lnTo>
                      <a:pt x="362" y="601"/>
                    </a:lnTo>
                    <a:lnTo>
                      <a:pt x="362" y="599"/>
                    </a:lnTo>
                    <a:lnTo>
                      <a:pt x="362" y="599"/>
                    </a:lnTo>
                    <a:lnTo>
                      <a:pt x="362" y="599"/>
                    </a:lnTo>
                    <a:lnTo>
                      <a:pt x="364" y="597"/>
                    </a:lnTo>
                    <a:lnTo>
                      <a:pt x="364" y="597"/>
                    </a:lnTo>
                    <a:lnTo>
                      <a:pt x="364" y="595"/>
                    </a:lnTo>
                    <a:lnTo>
                      <a:pt x="364" y="595"/>
                    </a:lnTo>
                    <a:lnTo>
                      <a:pt x="366" y="595"/>
                    </a:lnTo>
                    <a:lnTo>
                      <a:pt x="366" y="595"/>
                    </a:lnTo>
                    <a:lnTo>
                      <a:pt x="366" y="593"/>
                    </a:lnTo>
                    <a:lnTo>
                      <a:pt x="366" y="591"/>
                    </a:lnTo>
                    <a:lnTo>
                      <a:pt x="364" y="591"/>
                    </a:lnTo>
                    <a:lnTo>
                      <a:pt x="362" y="589"/>
                    </a:lnTo>
                    <a:lnTo>
                      <a:pt x="362" y="587"/>
                    </a:lnTo>
                    <a:lnTo>
                      <a:pt x="360" y="584"/>
                    </a:lnTo>
                    <a:lnTo>
                      <a:pt x="358" y="582"/>
                    </a:lnTo>
                    <a:lnTo>
                      <a:pt x="358" y="582"/>
                    </a:lnTo>
                    <a:lnTo>
                      <a:pt x="356" y="582"/>
                    </a:lnTo>
                    <a:lnTo>
                      <a:pt x="356" y="580"/>
                    </a:lnTo>
                    <a:lnTo>
                      <a:pt x="356" y="580"/>
                    </a:lnTo>
                    <a:lnTo>
                      <a:pt x="356" y="576"/>
                    </a:lnTo>
                    <a:lnTo>
                      <a:pt x="356" y="576"/>
                    </a:lnTo>
                    <a:lnTo>
                      <a:pt x="356" y="574"/>
                    </a:lnTo>
                    <a:lnTo>
                      <a:pt x="356" y="574"/>
                    </a:lnTo>
                    <a:lnTo>
                      <a:pt x="356" y="574"/>
                    </a:lnTo>
                    <a:lnTo>
                      <a:pt x="356" y="572"/>
                    </a:lnTo>
                    <a:lnTo>
                      <a:pt x="349" y="565"/>
                    </a:lnTo>
                    <a:lnTo>
                      <a:pt x="349" y="563"/>
                    </a:lnTo>
                    <a:lnTo>
                      <a:pt x="349" y="563"/>
                    </a:lnTo>
                    <a:lnTo>
                      <a:pt x="349" y="561"/>
                    </a:lnTo>
                    <a:lnTo>
                      <a:pt x="350" y="561"/>
                    </a:lnTo>
                    <a:lnTo>
                      <a:pt x="350" y="561"/>
                    </a:lnTo>
                    <a:lnTo>
                      <a:pt x="352" y="561"/>
                    </a:lnTo>
                    <a:lnTo>
                      <a:pt x="352" y="559"/>
                    </a:lnTo>
                    <a:lnTo>
                      <a:pt x="352" y="559"/>
                    </a:lnTo>
                    <a:lnTo>
                      <a:pt x="354" y="557"/>
                    </a:lnTo>
                    <a:lnTo>
                      <a:pt x="354" y="557"/>
                    </a:lnTo>
                    <a:lnTo>
                      <a:pt x="354" y="557"/>
                    </a:lnTo>
                    <a:lnTo>
                      <a:pt x="356" y="559"/>
                    </a:lnTo>
                    <a:lnTo>
                      <a:pt x="358" y="559"/>
                    </a:lnTo>
                    <a:lnTo>
                      <a:pt x="358" y="561"/>
                    </a:lnTo>
                    <a:lnTo>
                      <a:pt x="358" y="561"/>
                    </a:lnTo>
                    <a:lnTo>
                      <a:pt x="360" y="561"/>
                    </a:lnTo>
                    <a:lnTo>
                      <a:pt x="360" y="559"/>
                    </a:lnTo>
                    <a:lnTo>
                      <a:pt x="360" y="561"/>
                    </a:lnTo>
                    <a:lnTo>
                      <a:pt x="360" y="561"/>
                    </a:lnTo>
                    <a:lnTo>
                      <a:pt x="362" y="563"/>
                    </a:lnTo>
                    <a:lnTo>
                      <a:pt x="362" y="568"/>
                    </a:lnTo>
                    <a:lnTo>
                      <a:pt x="362" y="570"/>
                    </a:lnTo>
                    <a:lnTo>
                      <a:pt x="364" y="572"/>
                    </a:lnTo>
                    <a:lnTo>
                      <a:pt x="364" y="574"/>
                    </a:lnTo>
                    <a:lnTo>
                      <a:pt x="364" y="574"/>
                    </a:lnTo>
                    <a:lnTo>
                      <a:pt x="366" y="574"/>
                    </a:lnTo>
                    <a:lnTo>
                      <a:pt x="368" y="576"/>
                    </a:lnTo>
                    <a:lnTo>
                      <a:pt x="370" y="576"/>
                    </a:lnTo>
                    <a:lnTo>
                      <a:pt x="373" y="576"/>
                    </a:lnTo>
                    <a:lnTo>
                      <a:pt x="373" y="578"/>
                    </a:lnTo>
                    <a:lnTo>
                      <a:pt x="375" y="578"/>
                    </a:lnTo>
                    <a:lnTo>
                      <a:pt x="375" y="578"/>
                    </a:lnTo>
                    <a:lnTo>
                      <a:pt x="377" y="580"/>
                    </a:lnTo>
                    <a:lnTo>
                      <a:pt x="377" y="580"/>
                    </a:lnTo>
                    <a:lnTo>
                      <a:pt x="379" y="582"/>
                    </a:lnTo>
                    <a:lnTo>
                      <a:pt x="379" y="582"/>
                    </a:lnTo>
                    <a:lnTo>
                      <a:pt x="381" y="582"/>
                    </a:lnTo>
                    <a:lnTo>
                      <a:pt x="385" y="582"/>
                    </a:lnTo>
                    <a:lnTo>
                      <a:pt x="387" y="582"/>
                    </a:lnTo>
                    <a:lnTo>
                      <a:pt x="394" y="580"/>
                    </a:lnTo>
                    <a:lnTo>
                      <a:pt x="396" y="580"/>
                    </a:lnTo>
                    <a:lnTo>
                      <a:pt x="396" y="580"/>
                    </a:lnTo>
                    <a:lnTo>
                      <a:pt x="398" y="580"/>
                    </a:lnTo>
                    <a:lnTo>
                      <a:pt x="398" y="580"/>
                    </a:lnTo>
                    <a:lnTo>
                      <a:pt x="400" y="580"/>
                    </a:lnTo>
                    <a:lnTo>
                      <a:pt x="400" y="580"/>
                    </a:lnTo>
                    <a:lnTo>
                      <a:pt x="402" y="582"/>
                    </a:lnTo>
                    <a:lnTo>
                      <a:pt x="402" y="582"/>
                    </a:lnTo>
                    <a:lnTo>
                      <a:pt x="404" y="586"/>
                    </a:lnTo>
                    <a:lnTo>
                      <a:pt x="406" y="589"/>
                    </a:lnTo>
                    <a:lnTo>
                      <a:pt x="406" y="589"/>
                    </a:lnTo>
                    <a:lnTo>
                      <a:pt x="406" y="591"/>
                    </a:lnTo>
                    <a:lnTo>
                      <a:pt x="406" y="591"/>
                    </a:lnTo>
                    <a:lnTo>
                      <a:pt x="406" y="593"/>
                    </a:lnTo>
                    <a:lnTo>
                      <a:pt x="406" y="593"/>
                    </a:lnTo>
                    <a:lnTo>
                      <a:pt x="408" y="595"/>
                    </a:lnTo>
                    <a:lnTo>
                      <a:pt x="410" y="595"/>
                    </a:lnTo>
                    <a:lnTo>
                      <a:pt x="412" y="595"/>
                    </a:lnTo>
                    <a:lnTo>
                      <a:pt x="413" y="597"/>
                    </a:lnTo>
                    <a:lnTo>
                      <a:pt x="413" y="595"/>
                    </a:lnTo>
                    <a:lnTo>
                      <a:pt x="415" y="595"/>
                    </a:lnTo>
                    <a:lnTo>
                      <a:pt x="415" y="595"/>
                    </a:lnTo>
                    <a:lnTo>
                      <a:pt x="413" y="593"/>
                    </a:lnTo>
                    <a:lnTo>
                      <a:pt x="413" y="591"/>
                    </a:lnTo>
                    <a:lnTo>
                      <a:pt x="413" y="589"/>
                    </a:lnTo>
                    <a:lnTo>
                      <a:pt x="413" y="589"/>
                    </a:lnTo>
                    <a:lnTo>
                      <a:pt x="413" y="587"/>
                    </a:lnTo>
                    <a:lnTo>
                      <a:pt x="413" y="586"/>
                    </a:lnTo>
                    <a:lnTo>
                      <a:pt x="412" y="586"/>
                    </a:lnTo>
                    <a:lnTo>
                      <a:pt x="412" y="584"/>
                    </a:lnTo>
                    <a:lnTo>
                      <a:pt x="410" y="584"/>
                    </a:lnTo>
                    <a:lnTo>
                      <a:pt x="410" y="584"/>
                    </a:lnTo>
                    <a:lnTo>
                      <a:pt x="410" y="582"/>
                    </a:lnTo>
                    <a:lnTo>
                      <a:pt x="408" y="582"/>
                    </a:lnTo>
                    <a:lnTo>
                      <a:pt x="408" y="580"/>
                    </a:lnTo>
                    <a:lnTo>
                      <a:pt x="408" y="578"/>
                    </a:lnTo>
                    <a:lnTo>
                      <a:pt x="406" y="576"/>
                    </a:lnTo>
                    <a:lnTo>
                      <a:pt x="406" y="576"/>
                    </a:lnTo>
                    <a:lnTo>
                      <a:pt x="406" y="576"/>
                    </a:lnTo>
                    <a:lnTo>
                      <a:pt x="406" y="574"/>
                    </a:lnTo>
                    <a:lnTo>
                      <a:pt x="406" y="574"/>
                    </a:lnTo>
                    <a:lnTo>
                      <a:pt x="410" y="570"/>
                    </a:lnTo>
                    <a:lnTo>
                      <a:pt x="410" y="568"/>
                    </a:lnTo>
                    <a:lnTo>
                      <a:pt x="410" y="568"/>
                    </a:lnTo>
                    <a:lnTo>
                      <a:pt x="410" y="568"/>
                    </a:lnTo>
                    <a:lnTo>
                      <a:pt x="408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7"/>
                    </a:lnTo>
                    <a:lnTo>
                      <a:pt x="406" y="565"/>
                    </a:lnTo>
                    <a:lnTo>
                      <a:pt x="408" y="563"/>
                    </a:lnTo>
                    <a:lnTo>
                      <a:pt x="410" y="561"/>
                    </a:lnTo>
                    <a:lnTo>
                      <a:pt x="412" y="561"/>
                    </a:lnTo>
                    <a:lnTo>
                      <a:pt x="412" y="561"/>
                    </a:lnTo>
                    <a:lnTo>
                      <a:pt x="413" y="559"/>
                    </a:lnTo>
                    <a:lnTo>
                      <a:pt x="419" y="559"/>
                    </a:lnTo>
                    <a:lnTo>
                      <a:pt x="421" y="559"/>
                    </a:lnTo>
                    <a:lnTo>
                      <a:pt x="423" y="559"/>
                    </a:lnTo>
                    <a:lnTo>
                      <a:pt x="423" y="557"/>
                    </a:lnTo>
                    <a:lnTo>
                      <a:pt x="423" y="557"/>
                    </a:lnTo>
                    <a:lnTo>
                      <a:pt x="423" y="557"/>
                    </a:lnTo>
                    <a:lnTo>
                      <a:pt x="423" y="555"/>
                    </a:lnTo>
                    <a:lnTo>
                      <a:pt x="421" y="553"/>
                    </a:lnTo>
                    <a:lnTo>
                      <a:pt x="421" y="551"/>
                    </a:lnTo>
                    <a:lnTo>
                      <a:pt x="421" y="549"/>
                    </a:lnTo>
                    <a:lnTo>
                      <a:pt x="421" y="549"/>
                    </a:lnTo>
                    <a:lnTo>
                      <a:pt x="423" y="546"/>
                    </a:lnTo>
                    <a:lnTo>
                      <a:pt x="423" y="546"/>
                    </a:lnTo>
                    <a:lnTo>
                      <a:pt x="423" y="544"/>
                    </a:lnTo>
                    <a:lnTo>
                      <a:pt x="421" y="544"/>
                    </a:lnTo>
                    <a:lnTo>
                      <a:pt x="417" y="544"/>
                    </a:lnTo>
                    <a:lnTo>
                      <a:pt x="417" y="544"/>
                    </a:lnTo>
                    <a:lnTo>
                      <a:pt x="417" y="544"/>
                    </a:lnTo>
                    <a:lnTo>
                      <a:pt x="417" y="542"/>
                    </a:lnTo>
                    <a:lnTo>
                      <a:pt x="415" y="542"/>
                    </a:lnTo>
                    <a:lnTo>
                      <a:pt x="415" y="540"/>
                    </a:lnTo>
                    <a:lnTo>
                      <a:pt x="415" y="540"/>
                    </a:lnTo>
                    <a:lnTo>
                      <a:pt x="415" y="540"/>
                    </a:lnTo>
                    <a:lnTo>
                      <a:pt x="413" y="538"/>
                    </a:lnTo>
                    <a:lnTo>
                      <a:pt x="412" y="538"/>
                    </a:lnTo>
                    <a:lnTo>
                      <a:pt x="412" y="538"/>
                    </a:lnTo>
                    <a:lnTo>
                      <a:pt x="410" y="540"/>
                    </a:lnTo>
                    <a:lnTo>
                      <a:pt x="410" y="540"/>
                    </a:lnTo>
                    <a:lnTo>
                      <a:pt x="410" y="542"/>
                    </a:lnTo>
                    <a:lnTo>
                      <a:pt x="410" y="542"/>
                    </a:lnTo>
                    <a:lnTo>
                      <a:pt x="410" y="544"/>
                    </a:lnTo>
                    <a:lnTo>
                      <a:pt x="410" y="546"/>
                    </a:lnTo>
                    <a:lnTo>
                      <a:pt x="413" y="548"/>
                    </a:lnTo>
                    <a:lnTo>
                      <a:pt x="413" y="549"/>
                    </a:lnTo>
                    <a:lnTo>
                      <a:pt x="413" y="551"/>
                    </a:lnTo>
                    <a:lnTo>
                      <a:pt x="412" y="551"/>
                    </a:lnTo>
                    <a:lnTo>
                      <a:pt x="410" y="551"/>
                    </a:lnTo>
                    <a:lnTo>
                      <a:pt x="410" y="549"/>
                    </a:lnTo>
                    <a:lnTo>
                      <a:pt x="408" y="549"/>
                    </a:lnTo>
                    <a:lnTo>
                      <a:pt x="406" y="546"/>
                    </a:lnTo>
                    <a:lnTo>
                      <a:pt x="404" y="546"/>
                    </a:lnTo>
                    <a:lnTo>
                      <a:pt x="402" y="544"/>
                    </a:lnTo>
                    <a:lnTo>
                      <a:pt x="400" y="544"/>
                    </a:lnTo>
                    <a:lnTo>
                      <a:pt x="398" y="544"/>
                    </a:lnTo>
                    <a:lnTo>
                      <a:pt x="398" y="542"/>
                    </a:lnTo>
                    <a:lnTo>
                      <a:pt x="398" y="542"/>
                    </a:lnTo>
                    <a:lnTo>
                      <a:pt x="398" y="540"/>
                    </a:lnTo>
                    <a:lnTo>
                      <a:pt x="396" y="540"/>
                    </a:lnTo>
                    <a:lnTo>
                      <a:pt x="396" y="538"/>
                    </a:lnTo>
                    <a:lnTo>
                      <a:pt x="396" y="538"/>
                    </a:lnTo>
                    <a:lnTo>
                      <a:pt x="394" y="540"/>
                    </a:lnTo>
                    <a:lnTo>
                      <a:pt x="391" y="540"/>
                    </a:lnTo>
                    <a:lnTo>
                      <a:pt x="387" y="540"/>
                    </a:lnTo>
                    <a:lnTo>
                      <a:pt x="385" y="540"/>
                    </a:lnTo>
                    <a:lnTo>
                      <a:pt x="385" y="540"/>
                    </a:lnTo>
                    <a:lnTo>
                      <a:pt x="383" y="538"/>
                    </a:lnTo>
                    <a:lnTo>
                      <a:pt x="381" y="538"/>
                    </a:lnTo>
                    <a:lnTo>
                      <a:pt x="379" y="538"/>
                    </a:lnTo>
                    <a:lnTo>
                      <a:pt x="379" y="540"/>
                    </a:lnTo>
                    <a:lnTo>
                      <a:pt x="377" y="542"/>
                    </a:lnTo>
                    <a:lnTo>
                      <a:pt x="375" y="544"/>
                    </a:lnTo>
                    <a:lnTo>
                      <a:pt x="375" y="546"/>
                    </a:lnTo>
                    <a:lnTo>
                      <a:pt x="375" y="546"/>
                    </a:lnTo>
                    <a:lnTo>
                      <a:pt x="375" y="549"/>
                    </a:lnTo>
                    <a:lnTo>
                      <a:pt x="375" y="551"/>
                    </a:lnTo>
                    <a:lnTo>
                      <a:pt x="373" y="551"/>
                    </a:lnTo>
                    <a:lnTo>
                      <a:pt x="373" y="551"/>
                    </a:lnTo>
                    <a:lnTo>
                      <a:pt x="371" y="551"/>
                    </a:lnTo>
                    <a:lnTo>
                      <a:pt x="370" y="551"/>
                    </a:lnTo>
                    <a:lnTo>
                      <a:pt x="368" y="551"/>
                    </a:lnTo>
                    <a:lnTo>
                      <a:pt x="364" y="551"/>
                    </a:lnTo>
                    <a:lnTo>
                      <a:pt x="360" y="549"/>
                    </a:lnTo>
                    <a:lnTo>
                      <a:pt x="352" y="549"/>
                    </a:lnTo>
                    <a:lnTo>
                      <a:pt x="352" y="548"/>
                    </a:lnTo>
                    <a:lnTo>
                      <a:pt x="352" y="546"/>
                    </a:lnTo>
                    <a:lnTo>
                      <a:pt x="354" y="546"/>
                    </a:lnTo>
                    <a:lnTo>
                      <a:pt x="354" y="544"/>
                    </a:lnTo>
                    <a:lnTo>
                      <a:pt x="354" y="544"/>
                    </a:lnTo>
                    <a:lnTo>
                      <a:pt x="354" y="542"/>
                    </a:lnTo>
                    <a:lnTo>
                      <a:pt x="354" y="542"/>
                    </a:lnTo>
                    <a:lnTo>
                      <a:pt x="350" y="540"/>
                    </a:lnTo>
                    <a:lnTo>
                      <a:pt x="349" y="540"/>
                    </a:lnTo>
                    <a:lnTo>
                      <a:pt x="349" y="538"/>
                    </a:lnTo>
                    <a:lnTo>
                      <a:pt x="347" y="538"/>
                    </a:lnTo>
                    <a:lnTo>
                      <a:pt x="347" y="536"/>
                    </a:lnTo>
                    <a:lnTo>
                      <a:pt x="347" y="534"/>
                    </a:lnTo>
                    <a:lnTo>
                      <a:pt x="347" y="532"/>
                    </a:lnTo>
                    <a:lnTo>
                      <a:pt x="347" y="532"/>
                    </a:lnTo>
                    <a:lnTo>
                      <a:pt x="347" y="530"/>
                    </a:lnTo>
                    <a:lnTo>
                      <a:pt x="349" y="530"/>
                    </a:lnTo>
                    <a:lnTo>
                      <a:pt x="349" y="530"/>
                    </a:lnTo>
                    <a:lnTo>
                      <a:pt x="349" y="528"/>
                    </a:lnTo>
                    <a:lnTo>
                      <a:pt x="350" y="528"/>
                    </a:lnTo>
                    <a:lnTo>
                      <a:pt x="350" y="528"/>
                    </a:lnTo>
                    <a:lnTo>
                      <a:pt x="350" y="530"/>
                    </a:lnTo>
                    <a:lnTo>
                      <a:pt x="352" y="528"/>
                    </a:lnTo>
                    <a:lnTo>
                      <a:pt x="352" y="528"/>
                    </a:lnTo>
                    <a:lnTo>
                      <a:pt x="352" y="528"/>
                    </a:lnTo>
                    <a:lnTo>
                      <a:pt x="354" y="527"/>
                    </a:lnTo>
                    <a:lnTo>
                      <a:pt x="354" y="527"/>
                    </a:lnTo>
                    <a:lnTo>
                      <a:pt x="356" y="525"/>
                    </a:lnTo>
                    <a:lnTo>
                      <a:pt x="356" y="525"/>
                    </a:lnTo>
                    <a:lnTo>
                      <a:pt x="356" y="523"/>
                    </a:lnTo>
                    <a:lnTo>
                      <a:pt x="356" y="521"/>
                    </a:lnTo>
                    <a:lnTo>
                      <a:pt x="354" y="521"/>
                    </a:lnTo>
                    <a:lnTo>
                      <a:pt x="354" y="519"/>
                    </a:lnTo>
                    <a:lnTo>
                      <a:pt x="352" y="519"/>
                    </a:lnTo>
                    <a:lnTo>
                      <a:pt x="350" y="519"/>
                    </a:lnTo>
                    <a:lnTo>
                      <a:pt x="349" y="519"/>
                    </a:lnTo>
                    <a:lnTo>
                      <a:pt x="347" y="519"/>
                    </a:lnTo>
                    <a:lnTo>
                      <a:pt x="347" y="519"/>
                    </a:lnTo>
                    <a:lnTo>
                      <a:pt x="345" y="521"/>
                    </a:lnTo>
                    <a:lnTo>
                      <a:pt x="343" y="521"/>
                    </a:lnTo>
                    <a:lnTo>
                      <a:pt x="343" y="521"/>
                    </a:lnTo>
                    <a:lnTo>
                      <a:pt x="343" y="519"/>
                    </a:lnTo>
                    <a:lnTo>
                      <a:pt x="341" y="519"/>
                    </a:lnTo>
                    <a:lnTo>
                      <a:pt x="341" y="517"/>
                    </a:lnTo>
                    <a:lnTo>
                      <a:pt x="339" y="515"/>
                    </a:lnTo>
                    <a:lnTo>
                      <a:pt x="339" y="513"/>
                    </a:lnTo>
                    <a:lnTo>
                      <a:pt x="339" y="511"/>
                    </a:lnTo>
                    <a:lnTo>
                      <a:pt x="337" y="511"/>
                    </a:lnTo>
                    <a:lnTo>
                      <a:pt x="337" y="511"/>
                    </a:lnTo>
                    <a:lnTo>
                      <a:pt x="335" y="509"/>
                    </a:lnTo>
                    <a:lnTo>
                      <a:pt x="333" y="509"/>
                    </a:lnTo>
                    <a:lnTo>
                      <a:pt x="333" y="509"/>
                    </a:lnTo>
                    <a:lnTo>
                      <a:pt x="331" y="504"/>
                    </a:lnTo>
                    <a:lnTo>
                      <a:pt x="331" y="500"/>
                    </a:lnTo>
                    <a:lnTo>
                      <a:pt x="331" y="498"/>
                    </a:lnTo>
                    <a:lnTo>
                      <a:pt x="331" y="496"/>
                    </a:lnTo>
                    <a:lnTo>
                      <a:pt x="333" y="492"/>
                    </a:lnTo>
                    <a:lnTo>
                      <a:pt x="335" y="490"/>
                    </a:lnTo>
                    <a:lnTo>
                      <a:pt x="335" y="489"/>
                    </a:lnTo>
                    <a:lnTo>
                      <a:pt x="335" y="487"/>
                    </a:lnTo>
                    <a:lnTo>
                      <a:pt x="335" y="483"/>
                    </a:lnTo>
                    <a:lnTo>
                      <a:pt x="335" y="483"/>
                    </a:lnTo>
                    <a:lnTo>
                      <a:pt x="335" y="481"/>
                    </a:lnTo>
                    <a:lnTo>
                      <a:pt x="337" y="481"/>
                    </a:lnTo>
                    <a:lnTo>
                      <a:pt x="339" y="481"/>
                    </a:lnTo>
                    <a:lnTo>
                      <a:pt x="339" y="481"/>
                    </a:lnTo>
                    <a:lnTo>
                      <a:pt x="339" y="479"/>
                    </a:lnTo>
                    <a:lnTo>
                      <a:pt x="341" y="471"/>
                    </a:lnTo>
                    <a:lnTo>
                      <a:pt x="341" y="468"/>
                    </a:lnTo>
                    <a:lnTo>
                      <a:pt x="341" y="466"/>
                    </a:lnTo>
                    <a:lnTo>
                      <a:pt x="343" y="464"/>
                    </a:lnTo>
                    <a:lnTo>
                      <a:pt x="343" y="462"/>
                    </a:lnTo>
                    <a:lnTo>
                      <a:pt x="341" y="460"/>
                    </a:lnTo>
                    <a:lnTo>
                      <a:pt x="341" y="460"/>
                    </a:lnTo>
                    <a:lnTo>
                      <a:pt x="339" y="458"/>
                    </a:lnTo>
                    <a:lnTo>
                      <a:pt x="339" y="458"/>
                    </a:lnTo>
                    <a:lnTo>
                      <a:pt x="337" y="458"/>
                    </a:lnTo>
                    <a:lnTo>
                      <a:pt x="337" y="458"/>
                    </a:lnTo>
                    <a:lnTo>
                      <a:pt x="335" y="456"/>
                    </a:lnTo>
                    <a:lnTo>
                      <a:pt x="333" y="456"/>
                    </a:lnTo>
                    <a:lnTo>
                      <a:pt x="330" y="456"/>
                    </a:lnTo>
                    <a:lnTo>
                      <a:pt x="330" y="454"/>
                    </a:lnTo>
                    <a:lnTo>
                      <a:pt x="330" y="454"/>
                    </a:lnTo>
                    <a:lnTo>
                      <a:pt x="330" y="454"/>
                    </a:lnTo>
                    <a:lnTo>
                      <a:pt x="330" y="452"/>
                    </a:lnTo>
                    <a:lnTo>
                      <a:pt x="331" y="452"/>
                    </a:lnTo>
                    <a:lnTo>
                      <a:pt x="331" y="450"/>
                    </a:lnTo>
                    <a:lnTo>
                      <a:pt x="331" y="450"/>
                    </a:lnTo>
                    <a:lnTo>
                      <a:pt x="331" y="449"/>
                    </a:lnTo>
                    <a:lnTo>
                      <a:pt x="331" y="447"/>
                    </a:lnTo>
                    <a:lnTo>
                      <a:pt x="333" y="445"/>
                    </a:lnTo>
                    <a:lnTo>
                      <a:pt x="335" y="441"/>
                    </a:lnTo>
                    <a:lnTo>
                      <a:pt x="337" y="441"/>
                    </a:lnTo>
                    <a:lnTo>
                      <a:pt x="347" y="447"/>
                    </a:lnTo>
                    <a:lnTo>
                      <a:pt x="349" y="449"/>
                    </a:lnTo>
                    <a:lnTo>
                      <a:pt x="352" y="449"/>
                    </a:lnTo>
                    <a:lnTo>
                      <a:pt x="354" y="449"/>
                    </a:lnTo>
                    <a:lnTo>
                      <a:pt x="356" y="450"/>
                    </a:lnTo>
                    <a:lnTo>
                      <a:pt x="358" y="450"/>
                    </a:lnTo>
                    <a:lnTo>
                      <a:pt x="358" y="450"/>
                    </a:lnTo>
                    <a:lnTo>
                      <a:pt x="360" y="449"/>
                    </a:lnTo>
                    <a:lnTo>
                      <a:pt x="362" y="449"/>
                    </a:lnTo>
                    <a:lnTo>
                      <a:pt x="364" y="449"/>
                    </a:lnTo>
                    <a:lnTo>
                      <a:pt x="364" y="449"/>
                    </a:lnTo>
                    <a:lnTo>
                      <a:pt x="366" y="449"/>
                    </a:lnTo>
                    <a:lnTo>
                      <a:pt x="366" y="449"/>
                    </a:lnTo>
                    <a:lnTo>
                      <a:pt x="366" y="450"/>
                    </a:lnTo>
                    <a:lnTo>
                      <a:pt x="368" y="450"/>
                    </a:lnTo>
                    <a:lnTo>
                      <a:pt x="368" y="452"/>
                    </a:lnTo>
                    <a:lnTo>
                      <a:pt x="368" y="452"/>
                    </a:lnTo>
                    <a:lnTo>
                      <a:pt x="370" y="452"/>
                    </a:lnTo>
                    <a:lnTo>
                      <a:pt x="371" y="450"/>
                    </a:lnTo>
                    <a:lnTo>
                      <a:pt x="371" y="450"/>
                    </a:lnTo>
                    <a:lnTo>
                      <a:pt x="375" y="449"/>
                    </a:lnTo>
                    <a:lnTo>
                      <a:pt x="375" y="447"/>
                    </a:lnTo>
                    <a:lnTo>
                      <a:pt x="375" y="445"/>
                    </a:lnTo>
                    <a:lnTo>
                      <a:pt x="377" y="441"/>
                    </a:lnTo>
                    <a:lnTo>
                      <a:pt x="377" y="441"/>
                    </a:lnTo>
                    <a:lnTo>
                      <a:pt x="379" y="439"/>
                    </a:lnTo>
                    <a:lnTo>
                      <a:pt x="379" y="437"/>
                    </a:lnTo>
                    <a:lnTo>
                      <a:pt x="379" y="437"/>
                    </a:lnTo>
                    <a:lnTo>
                      <a:pt x="381" y="435"/>
                    </a:lnTo>
                    <a:lnTo>
                      <a:pt x="381" y="435"/>
                    </a:lnTo>
                    <a:lnTo>
                      <a:pt x="381" y="433"/>
                    </a:lnTo>
                    <a:lnTo>
                      <a:pt x="381" y="430"/>
                    </a:lnTo>
                    <a:lnTo>
                      <a:pt x="381" y="428"/>
                    </a:lnTo>
                    <a:lnTo>
                      <a:pt x="379" y="422"/>
                    </a:lnTo>
                    <a:lnTo>
                      <a:pt x="377" y="412"/>
                    </a:lnTo>
                    <a:lnTo>
                      <a:pt x="375" y="411"/>
                    </a:lnTo>
                    <a:lnTo>
                      <a:pt x="375" y="411"/>
                    </a:lnTo>
                    <a:lnTo>
                      <a:pt x="373" y="409"/>
                    </a:lnTo>
                    <a:lnTo>
                      <a:pt x="370" y="409"/>
                    </a:lnTo>
                    <a:lnTo>
                      <a:pt x="368" y="409"/>
                    </a:lnTo>
                    <a:lnTo>
                      <a:pt x="368" y="407"/>
                    </a:lnTo>
                    <a:lnTo>
                      <a:pt x="368" y="405"/>
                    </a:lnTo>
                    <a:lnTo>
                      <a:pt x="366" y="399"/>
                    </a:lnTo>
                    <a:lnTo>
                      <a:pt x="366" y="397"/>
                    </a:lnTo>
                    <a:lnTo>
                      <a:pt x="364" y="395"/>
                    </a:lnTo>
                    <a:lnTo>
                      <a:pt x="364" y="395"/>
                    </a:lnTo>
                    <a:lnTo>
                      <a:pt x="364" y="393"/>
                    </a:lnTo>
                    <a:lnTo>
                      <a:pt x="362" y="393"/>
                    </a:lnTo>
                    <a:lnTo>
                      <a:pt x="362" y="390"/>
                    </a:lnTo>
                    <a:lnTo>
                      <a:pt x="360" y="388"/>
                    </a:lnTo>
                    <a:lnTo>
                      <a:pt x="360" y="388"/>
                    </a:lnTo>
                    <a:lnTo>
                      <a:pt x="360" y="388"/>
                    </a:lnTo>
                    <a:lnTo>
                      <a:pt x="360" y="386"/>
                    </a:lnTo>
                    <a:lnTo>
                      <a:pt x="360" y="386"/>
                    </a:lnTo>
                    <a:lnTo>
                      <a:pt x="362" y="386"/>
                    </a:lnTo>
                    <a:lnTo>
                      <a:pt x="364" y="388"/>
                    </a:lnTo>
                    <a:lnTo>
                      <a:pt x="364" y="388"/>
                    </a:lnTo>
                    <a:lnTo>
                      <a:pt x="366" y="388"/>
                    </a:lnTo>
                    <a:lnTo>
                      <a:pt x="366" y="386"/>
                    </a:lnTo>
                    <a:lnTo>
                      <a:pt x="366" y="384"/>
                    </a:lnTo>
                    <a:lnTo>
                      <a:pt x="366" y="378"/>
                    </a:lnTo>
                    <a:lnTo>
                      <a:pt x="364" y="372"/>
                    </a:lnTo>
                    <a:lnTo>
                      <a:pt x="364" y="372"/>
                    </a:lnTo>
                    <a:lnTo>
                      <a:pt x="364" y="372"/>
                    </a:lnTo>
                    <a:lnTo>
                      <a:pt x="364" y="371"/>
                    </a:lnTo>
                    <a:lnTo>
                      <a:pt x="366" y="369"/>
                    </a:lnTo>
                    <a:lnTo>
                      <a:pt x="368" y="369"/>
                    </a:lnTo>
                    <a:lnTo>
                      <a:pt x="368" y="367"/>
                    </a:lnTo>
                    <a:lnTo>
                      <a:pt x="370" y="367"/>
                    </a:lnTo>
                    <a:lnTo>
                      <a:pt x="370" y="367"/>
                    </a:lnTo>
                    <a:lnTo>
                      <a:pt x="371" y="367"/>
                    </a:lnTo>
                    <a:lnTo>
                      <a:pt x="373" y="367"/>
                    </a:lnTo>
                    <a:lnTo>
                      <a:pt x="373" y="369"/>
                    </a:lnTo>
                    <a:lnTo>
                      <a:pt x="375" y="367"/>
                    </a:lnTo>
                    <a:lnTo>
                      <a:pt x="375" y="367"/>
                    </a:lnTo>
                    <a:lnTo>
                      <a:pt x="373" y="363"/>
                    </a:lnTo>
                    <a:lnTo>
                      <a:pt x="371" y="361"/>
                    </a:lnTo>
                    <a:lnTo>
                      <a:pt x="371" y="357"/>
                    </a:lnTo>
                    <a:lnTo>
                      <a:pt x="370" y="357"/>
                    </a:lnTo>
                    <a:lnTo>
                      <a:pt x="370" y="355"/>
                    </a:lnTo>
                    <a:lnTo>
                      <a:pt x="370" y="355"/>
                    </a:lnTo>
                    <a:lnTo>
                      <a:pt x="368" y="355"/>
                    </a:lnTo>
                    <a:lnTo>
                      <a:pt x="368" y="353"/>
                    </a:lnTo>
                    <a:lnTo>
                      <a:pt x="368" y="352"/>
                    </a:lnTo>
                    <a:lnTo>
                      <a:pt x="368" y="346"/>
                    </a:lnTo>
                    <a:lnTo>
                      <a:pt x="368" y="342"/>
                    </a:lnTo>
                    <a:lnTo>
                      <a:pt x="370" y="342"/>
                    </a:lnTo>
                    <a:lnTo>
                      <a:pt x="368" y="340"/>
                    </a:lnTo>
                    <a:lnTo>
                      <a:pt x="373" y="333"/>
                    </a:lnTo>
                    <a:lnTo>
                      <a:pt x="383" y="329"/>
                    </a:lnTo>
                    <a:lnTo>
                      <a:pt x="385" y="327"/>
                    </a:lnTo>
                    <a:lnTo>
                      <a:pt x="392" y="327"/>
                    </a:lnTo>
                    <a:lnTo>
                      <a:pt x="394" y="327"/>
                    </a:lnTo>
                    <a:lnTo>
                      <a:pt x="396" y="327"/>
                    </a:lnTo>
                    <a:lnTo>
                      <a:pt x="398" y="329"/>
                    </a:lnTo>
                    <a:lnTo>
                      <a:pt x="402" y="329"/>
                    </a:lnTo>
                    <a:lnTo>
                      <a:pt x="417" y="329"/>
                    </a:lnTo>
                    <a:lnTo>
                      <a:pt x="419" y="329"/>
                    </a:lnTo>
                    <a:lnTo>
                      <a:pt x="421" y="329"/>
                    </a:lnTo>
                    <a:lnTo>
                      <a:pt x="421" y="327"/>
                    </a:lnTo>
                    <a:lnTo>
                      <a:pt x="423" y="325"/>
                    </a:lnTo>
                    <a:lnTo>
                      <a:pt x="425" y="323"/>
                    </a:lnTo>
                    <a:lnTo>
                      <a:pt x="425" y="323"/>
                    </a:lnTo>
                    <a:lnTo>
                      <a:pt x="425" y="317"/>
                    </a:lnTo>
                    <a:lnTo>
                      <a:pt x="425" y="313"/>
                    </a:lnTo>
                    <a:lnTo>
                      <a:pt x="425" y="312"/>
                    </a:lnTo>
                    <a:lnTo>
                      <a:pt x="425" y="308"/>
                    </a:lnTo>
                    <a:lnTo>
                      <a:pt x="425" y="302"/>
                    </a:lnTo>
                    <a:lnTo>
                      <a:pt x="425" y="298"/>
                    </a:lnTo>
                    <a:lnTo>
                      <a:pt x="425" y="296"/>
                    </a:lnTo>
                    <a:lnTo>
                      <a:pt x="425" y="294"/>
                    </a:lnTo>
                    <a:lnTo>
                      <a:pt x="425" y="294"/>
                    </a:lnTo>
                    <a:lnTo>
                      <a:pt x="425" y="291"/>
                    </a:lnTo>
                    <a:lnTo>
                      <a:pt x="427" y="289"/>
                    </a:lnTo>
                    <a:lnTo>
                      <a:pt x="427" y="287"/>
                    </a:lnTo>
                    <a:lnTo>
                      <a:pt x="427" y="287"/>
                    </a:lnTo>
                    <a:lnTo>
                      <a:pt x="431" y="285"/>
                    </a:lnTo>
                    <a:lnTo>
                      <a:pt x="432" y="283"/>
                    </a:lnTo>
                    <a:lnTo>
                      <a:pt x="432" y="283"/>
                    </a:lnTo>
                    <a:lnTo>
                      <a:pt x="434" y="281"/>
                    </a:lnTo>
                    <a:lnTo>
                      <a:pt x="434" y="279"/>
                    </a:lnTo>
                    <a:lnTo>
                      <a:pt x="432" y="277"/>
                    </a:lnTo>
                    <a:lnTo>
                      <a:pt x="432" y="277"/>
                    </a:lnTo>
                    <a:lnTo>
                      <a:pt x="431" y="275"/>
                    </a:lnTo>
                    <a:lnTo>
                      <a:pt x="427" y="274"/>
                    </a:lnTo>
                    <a:lnTo>
                      <a:pt x="423" y="274"/>
                    </a:lnTo>
                    <a:lnTo>
                      <a:pt x="415" y="274"/>
                    </a:lnTo>
                    <a:lnTo>
                      <a:pt x="413" y="274"/>
                    </a:lnTo>
                    <a:lnTo>
                      <a:pt x="402" y="270"/>
                    </a:lnTo>
                    <a:lnTo>
                      <a:pt x="400" y="268"/>
                    </a:lnTo>
                    <a:lnTo>
                      <a:pt x="396" y="264"/>
                    </a:lnTo>
                    <a:lnTo>
                      <a:pt x="396" y="264"/>
                    </a:lnTo>
                    <a:lnTo>
                      <a:pt x="398" y="262"/>
                    </a:lnTo>
                    <a:lnTo>
                      <a:pt x="404" y="260"/>
                    </a:lnTo>
                    <a:lnTo>
                      <a:pt x="408" y="256"/>
                    </a:lnTo>
                    <a:lnTo>
                      <a:pt x="412" y="254"/>
                    </a:lnTo>
                    <a:lnTo>
                      <a:pt x="412" y="253"/>
                    </a:lnTo>
                    <a:lnTo>
                      <a:pt x="412" y="253"/>
                    </a:lnTo>
                    <a:lnTo>
                      <a:pt x="413" y="251"/>
                    </a:lnTo>
                    <a:lnTo>
                      <a:pt x="413" y="249"/>
                    </a:lnTo>
                    <a:lnTo>
                      <a:pt x="413" y="249"/>
                    </a:lnTo>
                    <a:lnTo>
                      <a:pt x="417" y="247"/>
                    </a:lnTo>
                    <a:lnTo>
                      <a:pt x="417" y="247"/>
                    </a:lnTo>
                    <a:lnTo>
                      <a:pt x="419" y="245"/>
                    </a:lnTo>
                    <a:lnTo>
                      <a:pt x="419" y="243"/>
                    </a:lnTo>
                    <a:lnTo>
                      <a:pt x="419" y="241"/>
                    </a:lnTo>
                    <a:lnTo>
                      <a:pt x="419" y="241"/>
                    </a:lnTo>
                    <a:lnTo>
                      <a:pt x="421" y="239"/>
                    </a:lnTo>
                    <a:lnTo>
                      <a:pt x="421" y="239"/>
                    </a:lnTo>
                    <a:lnTo>
                      <a:pt x="419" y="237"/>
                    </a:lnTo>
                    <a:lnTo>
                      <a:pt x="419" y="237"/>
                    </a:lnTo>
                    <a:lnTo>
                      <a:pt x="417" y="237"/>
                    </a:lnTo>
                    <a:lnTo>
                      <a:pt x="415" y="239"/>
                    </a:lnTo>
                    <a:lnTo>
                      <a:pt x="415" y="239"/>
                    </a:lnTo>
                    <a:lnTo>
                      <a:pt x="415" y="237"/>
                    </a:lnTo>
                    <a:lnTo>
                      <a:pt x="417" y="235"/>
                    </a:lnTo>
                    <a:lnTo>
                      <a:pt x="417" y="235"/>
                    </a:lnTo>
                    <a:lnTo>
                      <a:pt x="419" y="234"/>
                    </a:lnTo>
                    <a:lnTo>
                      <a:pt x="421" y="234"/>
                    </a:lnTo>
                    <a:lnTo>
                      <a:pt x="419" y="232"/>
                    </a:lnTo>
                    <a:lnTo>
                      <a:pt x="419" y="232"/>
                    </a:lnTo>
                    <a:lnTo>
                      <a:pt x="417" y="230"/>
                    </a:lnTo>
                    <a:lnTo>
                      <a:pt x="415" y="230"/>
                    </a:lnTo>
                    <a:lnTo>
                      <a:pt x="415" y="228"/>
                    </a:lnTo>
                    <a:lnTo>
                      <a:pt x="415" y="226"/>
                    </a:lnTo>
                    <a:lnTo>
                      <a:pt x="417" y="220"/>
                    </a:lnTo>
                    <a:lnTo>
                      <a:pt x="417" y="220"/>
                    </a:lnTo>
                    <a:lnTo>
                      <a:pt x="417" y="218"/>
                    </a:lnTo>
                    <a:lnTo>
                      <a:pt x="419" y="218"/>
                    </a:lnTo>
                    <a:lnTo>
                      <a:pt x="419" y="216"/>
                    </a:lnTo>
                    <a:lnTo>
                      <a:pt x="419" y="201"/>
                    </a:lnTo>
                    <a:lnTo>
                      <a:pt x="419" y="197"/>
                    </a:lnTo>
                    <a:lnTo>
                      <a:pt x="419" y="196"/>
                    </a:lnTo>
                    <a:lnTo>
                      <a:pt x="421" y="194"/>
                    </a:lnTo>
                    <a:lnTo>
                      <a:pt x="423" y="192"/>
                    </a:lnTo>
                    <a:lnTo>
                      <a:pt x="423" y="190"/>
                    </a:lnTo>
                    <a:lnTo>
                      <a:pt x="423" y="186"/>
                    </a:lnTo>
                    <a:lnTo>
                      <a:pt x="419" y="182"/>
                    </a:lnTo>
                    <a:lnTo>
                      <a:pt x="419" y="180"/>
                    </a:lnTo>
                    <a:lnTo>
                      <a:pt x="417" y="175"/>
                    </a:lnTo>
                    <a:lnTo>
                      <a:pt x="417" y="175"/>
                    </a:lnTo>
                    <a:lnTo>
                      <a:pt x="417" y="173"/>
                    </a:lnTo>
                    <a:lnTo>
                      <a:pt x="415" y="173"/>
                    </a:lnTo>
                    <a:lnTo>
                      <a:pt x="413" y="171"/>
                    </a:lnTo>
                    <a:lnTo>
                      <a:pt x="412" y="171"/>
                    </a:lnTo>
                    <a:lnTo>
                      <a:pt x="412" y="171"/>
                    </a:lnTo>
                    <a:lnTo>
                      <a:pt x="410" y="169"/>
                    </a:lnTo>
                    <a:lnTo>
                      <a:pt x="410" y="167"/>
                    </a:lnTo>
                    <a:lnTo>
                      <a:pt x="412" y="163"/>
                    </a:lnTo>
                    <a:lnTo>
                      <a:pt x="427" y="144"/>
                    </a:lnTo>
                    <a:lnTo>
                      <a:pt x="429" y="140"/>
                    </a:lnTo>
                    <a:lnTo>
                      <a:pt x="429" y="137"/>
                    </a:lnTo>
                    <a:lnTo>
                      <a:pt x="431" y="137"/>
                    </a:lnTo>
                    <a:lnTo>
                      <a:pt x="432" y="135"/>
                    </a:lnTo>
                    <a:lnTo>
                      <a:pt x="432" y="135"/>
                    </a:lnTo>
                    <a:lnTo>
                      <a:pt x="434" y="135"/>
                    </a:lnTo>
                    <a:lnTo>
                      <a:pt x="436" y="135"/>
                    </a:lnTo>
                    <a:lnTo>
                      <a:pt x="436" y="133"/>
                    </a:lnTo>
                    <a:lnTo>
                      <a:pt x="436" y="131"/>
                    </a:lnTo>
                    <a:lnTo>
                      <a:pt x="438" y="129"/>
                    </a:lnTo>
                    <a:lnTo>
                      <a:pt x="440" y="129"/>
                    </a:lnTo>
                    <a:lnTo>
                      <a:pt x="446" y="127"/>
                    </a:lnTo>
                    <a:lnTo>
                      <a:pt x="446" y="127"/>
                    </a:lnTo>
                    <a:lnTo>
                      <a:pt x="446" y="127"/>
                    </a:lnTo>
                    <a:lnTo>
                      <a:pt x="450" y="119"/>
                    </a:lnTo>
                    <a:lnTo>
                      <a:pt x="450" y="118"/>
                    </a:lnTo>
                    <a:lnTo>
                      <a:pt x="450" y="118"/>
                    </a:lnTo>
                    <a:lnTo>
                      <a:pt x="450" y="118"/>
                    </a:lnTo>
                    <a:lnTo>
                      <a:pt x="446" y="118"/>
                    </a:lnTo>
                    <a:lnTo>
                      <a:pt x="446" y="118"/>
                    </a:lnTo>
                    <a:lnTo>
                      <a:pt x="442" y="119"/>
                    </a:lnTo>
                    <a:lnTo>
                      <a:pt x="440" y="121"/>
                    </a:lnTo>
                    <a:lnTo>
                      <a:pt x="440" y="121"/>
                    </a:lnTo>
                    <a:lnTo>
                      <a:pt x="438" y="119"/>
                    </a:lnTo>
                    <a:lnTo>
                      <a:pt x="438" y="119"/>
                    </a:lnTo>
                    <a:lnTo>
                      <a:pt x="438" y="116"/>
                    </a:lnTo>
                    <a:lnTo>
                      <a:pt x="432" y="118"/>
                    </a:lnTo>
                    <a:lnTo>
                      <a:pt x="432" y="118"/>
                    </a:lnTo>
                    <a:lnTo>
                      <a:pt x="429" y="118"/>
                    </a:lnTo>
                    <a:lnTo>
                      <a:pt x="427" y="118"/>
                    </a:lnTo>
                    <a:lnTo>
                      <a:pt x="427" y="118"/>
                    </a:lnTo>
                    <a:lnTo>
                      <a:pt x="425" y="116"/>
                    </a:lnTo>
                    <a:lnTo>
                      <a:pt x="423" y="116"/>
                    </a:lnTo>
                    <a:lnTo>
                      <a:pt x="421" y="114"/>
                    </a:lnTo>
                    <a:lnTo>
                      <a:pt x="417" y="112"/>
                    </a:lnTo>
                    <a:lnTo>
                      <a:pt x="415" y="110"/>
                    </a:lnTo>
                    <a:lnTo>
                      <a:pt x="417" y="106"/>
                    </a:lnTo>
                    <a:lnTo>
                      <a:pt x="421" y="102"/>
                    </a:lnTo>
                    <a:lnTo>
                      <a:pt x="423" y="98"/>
                    </a:lnTo>
                    <a:lnTo>
                      <a:pt x="423" y="98"/>
                    </a:lnTo>
                    <a:lnTo>
                      <a:pt x="425" y="97"/>
                    </a:lnTo>
                    <a:lnTo>
                      <a:pt x="429" y="95"/>
                    </a:lnTo>
                    <a:lnTo>
                      <a:pt x="431" y="95"/>
                    </a:lnTo>
                    <a:lnTo>
                      <a:pt x="431" y="93"/>
                    </a:lnTo>
                    <a:lnTo>
                      <a:pt x="431" y="93"/>
                    </a:lnTo>
                    <a:lnTo>
                      <a:pt x="431" y="91"/>
                    </a:lnTo>
                    <a:lnTo>
                      <a:pt x="431" y="89"/>
                    </a:lnTo>
                    <a:lnTo>
                      <a:pt x="429" y="89"/>
                    </a:lnTo>
                    <a:lnTo>
                      <a:pt x="429" y="87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7" y="85"/>
                    </a:lnTo>
                    <a:lnTo>
                      <a:pt x="429" y="83"/>
                    </a:lnTo>
                    <a:lnTo>
                      <a:pt x="429" y="81"/>
                    </a:lnTo>
                    <a:lnTo>
                      <a:pt x="431" y="81"/>
                    </a:lnTo>
                    <a:lnTo>
                      <a:pt x="431" y="79"/>
                    </a:lnTo>
                    <a:lnTo>
                      <a:pt x="432" y="79"/>
                    </a:lnTo>
                    <a:lnTo>
                      <a:pt x="432" y="79"/>
                    </a:lnTo>
                    <a:lnTo>
                      <a:pt x="434" y="78"/>
                    </a:lnTo>
                    <a:lnTo>
                      <a:pt x="442" y="70"/>
                    </a:lnTo>
                    <a:lnTo>
                      <a:pt x="442" y="70"/>
                    </a:lnTo>
                    <a:lnTo>
                      <a:pt x="442" y="68"/>
                    </a:lnTo>
                    <a:lnTo>
                      <a:pt x="442" y="66"/>
                    </a:lnTo>
                    <a:lnTo>
                      <a:pt x="442" y="62"/>
                    </a:lnTo>
                    <a:lnTo>
                      <a:pt x="440" y="59"/>
                    </a:lnTo>
                    <a:lnTo>
                      <a:pt x="440" y="57"/>
                    </a:lnTo>
                    <a:lnTo>
                      <a:pt x="438" y="55"/>
                    </a:lnTo>
                    <a:lnTo>
                      <a:pt x="434" y="51"/>
                    </a:lnTo>
                    <a:lnTo>
                      <a:pt x="434" y="51"/>
                    </a:lnTo>
                    <a:lnTo>
                      <a:pt x="434" y="49"/>
                    </a:lnTo>
                    <a:lnTo>
                      <a:pt x="434" y="49"/>
                    </a:lnTo>
                    <a:lnTo>
                      <a:pt x="434" y="47"/>
                    </a:lnTo>
                    <a:lnTo>
                      <a:pt x="436" y="47"/>
                    </a:lnTo>
                    <a:lnTo>
                      <a:pt x="438" y="47"/>
                    </a:lnTo>
                    <a:lnTo>
                      <a:pt x="438" y="47"/>
                    </a:lnTo>
                    <a:lnTo>
                      <a:pt x="438" y="47"/>
                    </a:lnTo>
                    <a:lnTo>
                      <a:pt x="440" y="45"/>
                    </a:lnTo>
                    <a:lnTo>
                      <a:pt x="440" y="45"/>
                    </a:lnTo>
                    <a:lnTo>
                      <a:pt x="438" y="38"/>
                    </a:lnTo>
                    <a:lnTo>
                      <a:pt x="436" y="32"/>
                    </a:lnTo>
                    <a:lnTo>
                      <a:pt x="436" y="30"/>
                    </a:lnTo>
                    <a:lnTo>
                      <a:pt x="436" y="28"/>
                    </a:lnTo>
                    <a:lnTo>
                      <a:pt x="436" y="26"/>
                    </a:lnTo>
                    <a:lnTo>
                      <a:pt x="438" y="24"/>
                    </a:lnTo>
                    <a:lnTo>
                      <a:pt x="438" y="24"/>
                    </a:lnTo>
                    <a:lnTo>
                      <a:pt x="438" y="22"/>
                    </a:lnTo>
                    <a:lnTo>
                      <a:pt x="434" y="20"/>
                    </a:lnTo>
                    <a:lnTo>
                      <a:pt x="429" y="20"/>
                    </a:lnTo>
                    <a:lnTo>
                      <a:pt x="427" y="20"/>
                    </a:lnTo>
                    <a:lnTo>
                      <a:pt x="427" y="20"/>
                    </a:lnTo>
                    <a:lnTo>
                      <a:pt x="425" y="22"/>
                    </a:lnTo>
                    <a:lnTo>
                      <a:pt x="423" y="24"/>
                    </a:lnTo>
                    <a:lnTo>
                      <a:pt x="421" y="24"/>
                    </a:lnTo>
                    <a:lnTo>
                      <a:pt x="419" y="24"/>
                    </a:lnTo>
                    <a:lnTo>
                      <a:pt x="419" y="22"/>
                    </a:lnTo>
                    <a:lnTo>
                      <a:pt x="417" y="22"/>
                    </a:lnTo>
                    <a:lnTo>
                      <a:pt x="417" y="19"/>
                    </a:lnTo>
                    <a:lnTo>
                      <a:pt x="417" y="19"/>
                    </a:lnTo>
                    <a:lnTo>
                      <a:pt x="415" y="19"/>
                    </a:lnTo>
                    <a:lnTo>
                      <a:pt x="412" y="17"/>
                    </a:lnTo>
                    <a:lnTo>
                      <a:pt x="410" y="15"/>
                    </a:lnTo>
                    <a:lnTo>
                      <a:pt x="408" y="15"/>
                    </a:lnTo>
                    <a:lnTo>
                      <a:pt x="408" y="13"/>
                    </a:lnTo>
                    <a:lnTo>
                      <a:pt x="408" y="13"/>
                    </a:lnTo>
                    <a:lnTo>
                      <a:pt x="408" y="5"/>
                    </a:lnTo>
                    <a:lnTo>
                      <a:pt x="408" y="5"/>
                    </a:lnTo>
                    <a:lnTo>
                      <a:pt x="406" y="3"/>
                    </a:lnTo>
                    <a:lnTo>
                      <a:pt x="406" y="1"/>
                    </a:lnTo>
                    <a:lnTo>
                      <a:pt x="404" y="1"/>
                    </a:lnTo>
                    <a:lnTo>
                      <a:pt x="402" y="0"/>
                    </a:lnTo>
                    <a:lnTo>
                      <a:pt x="400" y="0"/>
                    </a:lnTo>
                    <a:lnTo>
                      <a:pt x="400" y="0"/>
                    </a:lnTo>
                    <a:lnTo>
                      <a:pt x="398" y="1"/>
                    </a:lnTo>
                    <a:lnTo>
                      <a:pt x="394" y="7"/>
                    </a:lnTo>
                    <a:lnTo>
                      <a:pt x="392" y="9"/>
                    </a:lnTo>
                    <a:lnTo>
                      <a:pt x="392" y="11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92" y="19"/>
                    </a:lnTo>
                    <a:lnTo>
                      <a:pt x="392" y="20"/>
                    </a:lnTo>
                    <a:lnTo>
                      <a:pt x="391" y="20"/>
                    </a:lnTo>
                    <a:lnTo>
                      <a:pt x="391" y="20"/>
                    </a:lnTo>
                    <a:lnTo>
                      <a:pt x="387" y="22"/>
                    </a:lnTo>
                    <a:lnTo>
                      <a:pt x="379" y="28"/>
                    </a:lnTo>
                    <a:lnTo>
                      <a:pt x="377" y="30"/>
                    </a:lnTo>
                    <a:lnTo>
                      <a:pt x="377" y="30"/>
                    </a:lnTo>
                    <a:lnTo>
                      <a:pt x="375" y="32"/>
                    </a:lnTo>
                    <a:lnTo>
                      <a:pt x="375" y="34"/>
                    </a:lnTo>
                    <a:lnTo>
                      <a:pt x="375" y="36"/>
                    </a:lnTo>
                    <a:lnTo>
                      <a:pt x="375" y="36"/>
                    </a:lnTo>
                    <a:lnTo>
                      <a:pt x="373" y="36"/>
                    </a:lnTo>
                    <a:lnTo>
                      <a:pt x="371" y="36"/>
                    </a:lnTo>
                    <a:lnTo>
                      <a:pt x="370" y="36"/>
                    </a:lnTo>
                    <a:lnTo>
                      <a:pt x="368" y="36"/>
                    </a:lnTo>
                    <a:lnTo>
                      <a:pt x="366" y="38"/>
                    </a:lnTo>
                    <a:lnTo>
                      <a:pt x="366" y="38"/>
                    </a:lnTo>
                    <a:lnTo>
                      <a:pt x="364" y="38"/>
                    </a:lnTo>
                    <a:lnTo>
                      <a:pt x="360" y="38"/>
                    </a:lnTo>
                    <a:lnTo>
                      <a:pt x="358" y="38"/>
                    </a:lnTo>
                    <a:lnTo>
                      <a:pt x="354" y="39"/>
                    </a:lnTo>
                    <a:lnTo>
                      <a:pt x="352" y="39"/>
                    </a:lnTo>
                    <a:lnTo>
                      <a:pt x="350" y="41"/>
                    </a:lnTo>
                    <a:lnTo>
                      <a:pt x="352" y="47"/>
                    </a:lnTo>
                    <a:lnTo>
                      <a:pt x="352" y="49"/>
                    </a:lnTo>
                    <a:lnTo>
                      <a:pt x="350" y="51"/>
                    </a:lnTo>
                    <a:lnTo>
                      <a:pt x="350" y="57"/>
                    </a:lnTo>
                    <a:lnTo>
                      <a:pt x="349" y="59"/>
                    </a:lnTo>
                    <a:lnTo>
                      <a:pt x="349" y="60"/>
                    </a:lnTo>
                    <a:lnTo>
                      <a:pt x="350" y="64"/>
                    </a:lnTo>
                    <a:lnTo>
                      <a:pt x="350" y="66"/>
                    </a:lnTo>
                    <a:lnTo>
                      <a:pt x="349" y="70"/>
                    </a:lnTo>
                    <a:lnTo>
                      <a:pt x="347" y="74"/>
                    </a:lnTo>
                    <a:lnTo>
                      <a:pt x="345" y="76"/>
                    </a:lnTo>
                    <a:lnTo>
                      <a:pt x="345" y="76"/>
                    </a:lnTo>
                    <a:lnTo>
                      <a:pt x="343" y="76"/>
                    </a:lnTo>
                    <a:lnTo>
                      <a:pt x="335" y="74"/>
                    </a:lnTo>
                    <a:lnTo>
                      <a:pt x="335" y="74"/>
                    </a:lnTo>
                    <a:lnTo>
                      <a:pt x="333" y="74"/>
                    </a:lnTo>
                    <a:lnTo>
                      <a:pt x="331" y="74"/>
                    </a:lnTo>
                    <a:lnTo>
                      <a:pt x="331" y="78"/>
                    </a:lnTo>
                    <a:lnTo>
                      <a:pt x="333" y="81"/>
                    </a:lnTo>
                    <a:lnTo>
                      <a:pt x="333" y="83"/>
                    </a:lnTo>
                    <a:lnTo>
                      <a:pt x="333" y="83"/>
                    </a:lnTo>
                    <a:lnTo>
                      <a:pt x="333" y="85"/>
                    </a:lnTo>
                    <a:lnTo>
                      <a:pt x="331" y="85"/>
                    </a:lnTo>
                    <a:lnTo>
                      <a:pt x="331" y="87"/>
                    </a:lnTo>
                    <a:lnTo>
                      <a:pt x="328" y="87"/>
                    </a:lnTo>
                    <a:lnTo>
                      <a:pt x="328" y="89"/>
                    </a:lnTo>
                    <a:lnTo>
                      <a:pt x="326" y="91"/>
                    </a:lnTo>
                    <a:lnTo>
                      <a:pt x="326" y="93"/>
                    </a:lnTo>
                    <a:lnTo>
                      <a:pt x="324" y="100"/>
                    </a:lnTo>
                    <a:lnTo>
                      <a:pt x="322" y="98"/>
                    </a:lnTo>
                    <a:lnTo>
                      <a:pt x="318" y="97"/>
                    </a:lnTo>
                    <a:lnTo>
                      <a:pt x="318" y="97"/>
                    </a:lnTo>
                    <a:lnTo>
                      <a:pt x="316" y="95"/>
                    </a:lnTo>
                    <a:lnTo>
                      <a:pt x="314" y="93"/>
                    </a:lnTo>
                    <a:lnTo>
                      <a:pt x="312" y="91"/>
                    </a:lnTo>
                    <a:lnTo>
                      <a:pt x="312" y="91"/>
                    </a:lnTo>
                    <a:lnTo>
                      <a:pt x="310" y="91"/>
                    </a:lnTo>
                    <a:lnTo>
                      <a:pt x="309" y="91"/>
                    </a:lnTo>
                    <a:lnTo>
                      <a:pt x="307" y="91"/>
                    </a:lnTo>
                    <a:lnTo>
                      <a:pt x="305" y="91"/>
                    </a:lnTo>
                    <a:lnTo>
                      <a:pt x="303" y="91"/>
                    </a:lnTo>
                    <a:lnTo>
                      <a:pt x="303" y="91"/>
                    </a:lnTo>
                    <a:lnTo>
                      <a:pt x="301" y="95"/>
                    </a:lnTo>
                    <a:lnTo>
                      <a:pt x="301" y="95"/>
                    </a:lnTo>
                    <a:lnTo>
                      <a:pt x="301" y="95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7" y="97"/>
                    </a:lnTo>
                    <a:lnTo>
                      <a:pt x="297" y="98"/>
                    </a:lnTo>
                    <a:lnTo>
                      <a:pt x="297" y="98"/>
                    </a:lnTo>
                    <a:lnTo>
                      <a:pt x="297" y="100"/>
                    </a:lnTo>
                    <a:lnTo>
                      <a:pt x="297" y="100"/>
                    </a:lnTo>
                    <a:lnTo>
                      <a:pt x="295" y="102"/>
                    </a:lnTo>
                    <a:lnTo>
                      <a:pt x="293" y="102"/>
                    </a:lnTo>
                    <a:lnTo>
                      <a:pt x="291" y="104"/>
                    </a:lnTo>
                    <a:lnTo>
                      <a:pt x="291" y="104"/>
                    </a:lnTo>
                    <a:lnTo>
                      <a:pt x="291" y="104"/>
                    </a:lnTo>
                    <a:lnTo>
                      <a:pt x="289" y="106"/>
                    </a:lnTo>
                    <a:lnTo>
                      <a:pt x="288" y="108"/>
                    </a:lnTo>
                    <a:lnTo>
                      <a:pt x="280" y="112"/>
                    </a:lnTo>
                    <a:lnTo>
                      <a:pt x="278" y="112"/>
                    </a:lnTo>
                    <a:lnTo>
                      <a:pt x="278" y="114"/>
                    </a:lnTo>
                    <a:lnTo>
                      <a:pt x="278" y="114"/>
                    </a:lnTo>
                    <a:lnTo>
                      <a:pt x="280" y="118"/>
                    </a:lnTo>
                    <a:lnTo>
                      <a:pt x="282" y="118"/>
                    </a:lnTo>
                    <a:lnTo>
                      <a:pt x="282" y="119"/>
                    </a:lnTo>
                    <a:lnTo>
                      <a:pt x="282" y="119"/>
                    </a:lnTo>
                    <a:lnTo>
                      <a:pt x="280" y="121"/>
                    </a:lnTo>
                    <a:lnTo>
                      <a:pt x="280" y="123"/>
                    </a:lnTo>
                    <a:lnTo>
                      <a:pt x="282" y="123"/>
                    </a:lnTo>
                    <a:lnTo>
                      <a:pt x="282" y="125"/>
                    </a:lnTo>
                    <a:lnTo>
                      <a:pt x="282" y="125"/>
                    </a:lnTo>
                    <a:lnTo>
                      <a:pt x="280" y="127"/>
                    </a:lnTo>
                    <a:lnTo>
                      <a:pt x="278" y="129"/>
                    </a:lnTo>
                    <a:lnTo>
                      <a:pt x="278" y="131"/>
                    </a:lnTo>
                    <a:lnTo>
                      <a:pt x="280" y="131"/>
                    </a:lnTo>
                    <a:lnTo>
                      <a:pt x="280" y="133"/>
                    </a:lnTo>
                    <a:lnTo>
                      <a:pt x="282" y="135"/>
                    </a:lnTo>
                    <a:lnTo>
                      <a:pt x="282" y="137"/>
                    </a:lnTo>
                    <a:lnTo>
                      <a:pt x="282" y="138"/>
                    </a:lnTo>
                    <a:lnTo>
                      <a:pt x="286" y="140"/>
                    </a:lnTo>
                    <a:lnTo>
                      <a:pt x="286" y="140"/>
                    </a:lnTo>
                    <a:lnTo>
                      <a:pt x="286" y="142"/>
                    </a:lnTo>
                    <a:lnTo>
                      <a:pt x="286" y="144"/>
                    </a:lnTo>
                    <a:lnTo>
                      <a:pt x="284" y="146"/>
                    </a:lnTo>
                    <a:lnTo>
                      <a:pt x="282" y="146"/>
                    </a:lnTo>
                    <a:lnTo>
                      <a:pt x="280" y="146"/>
                    </a:lnTo>
                    <a:lnTo>
                      <a:pt x="276" y="146"/>
                    </a:lnTo>
                    <a:lnTo>
                      <a:pt x="276" y="146"/>
                    </a:lnTo>
                    <a:lnTo>
                      <a:pt x="272" y="146"/>
                    </a:lnTo>
                    <a:lnTo>
                      <a:pt x="270" y="144"/>
                    </a:lnTo>
                    <a:lnTo>
                      <a:pt x="270" y="144"/>
                    </a:lnTo>
                    <a:lnTo>
                      <a:pt x="267" y="142"/>
                    </a:lnTo>
                    <a:lnTo>
                      <a:pt x="267" y="142"/>
                    </a:lnTo>
                    <a:lnTo>
                      <a:pt x="265" y="142"/>
                    </a:lnTo>
                    <a:lnTo>
                      <a:pt x="265" y="142"/>
                    </a:lnTo>
                    <a:lnTo>
                      <a:pt x="263" y="142"/>
                    </a:lnTo>
                    <a:lnTo>
                      <a:pt x="259" y="144"/>
                    </a:lnTo>
                    <a:lnTo>
                      <a:pt x="259" y="144"/>
                    </a:lnTo>
                    <a:lnTo>
                      <a:pt x="257" y="144"/>
                    </a:lnTo>
                    <a:lnTo>
                      <a:pt x="255" y="142"/>
                    </a:lnTo>
                    <a:lnTo>
                      <a:pt x="253" y="142"/>
                    </a:lnTo>
                    <a:lnTo>
                      <a:pt x="251" y="142"/>
                    </a:lnTo>
                    <a:lnTo>
                      <a:pt x="246" y="146"/>
                    </a:lnTo>
                    <a:lnTo>
                      <a:pt x="244" y="146"/>
                    </a:lnTo>
                    <a:lnTo>
                      <a:pt x="242" y="146"/>
                    </a:lnTo>
                    <a:lnTo>
                      <a:pt x="242" y="146"/>
                    </a:lnTo>
                    <a:lnTo>
                      <a:pt x="240" y="146"/>
                    </a:lnTo>
                    <a:lnTo>
                      <a:pt x="238" y="146"/>
                    </a:lnTo>
                    <a:lnTo>
                      <a:pt x="234" y="148"/>
                    </a:lnTo>
                    <a:lnTo>
                      <a:pt x="232" y="148"/>
                    </a:lnTo>
                    <a:lnTo>
                      <a:pt x="230" y="150"/>
                    </a:lnTo>
                    <a:lnTo>
                      <a:pt x="230" y="150"/>
                    </a:lnTo>
                    <a:lnTo>
                      <a:pt x="228" y="148"/>
                    </a:lnTo>
                    <a:lnTo>
                      <a:pt x="228" y="146"/>
                    </a:lnTo>
                    <a:lnTo>
                      <a:pt x="227" y="146"/>
                    </a:lnTo>
                    <a:lnTo>
                      <a:pt x="225" y="144"/>
                    </a:lnTo>
                    <a:lnTo>
                      <a:pt x="225" y="142"/>
                    </a:lnTo>
                    <a:lnTo>
                      <a:pt x="225" y="140"/>
                    </a:lnTo>
                    <a:lnTo>
                      <a:pt x="223" y="138"/>
                    </a:lnTo>
                    <a:lnTo>
                      <a:pt x="223" y="138"/>
                    </a:lnTo>
                    <a:lnTo>
                      <a:pt x="219" y="140"/>
                    </a:lnTo>
                    <a:lnTo>
                      <a:pt x="217" y="138"/>
                    </a:lnTo>
                    <a:lnTo>
                      <a:pt x="215" y="138"/>
                    </a:lnTo>
                    <a:lnTo>
                      <a:pt x="213" y="142"/>
                    </a:lnTo>
                    <a:lnTo>
                      <a:pt x="211" y="142"/>
                    </a:lnTo>
                    <a:lnTo>
                      <a:pt x="209" y="142"/>
                    </a:lnTo>
                    <a:lnTo>
                      <a:pt x="209" y="142"/>
                    </a:lnTo>
                    <a:lnTo>
                      <a:pt x="209" y="140"/>
                    </a:lnTo>
                    <a:lnTo>
                      <a:pt x="207" y="138"/>
                    </a:lnTo>
                    <a:lnTo>
                      <a:pt x="206" y="138"/>
                    </a:lnTo>
                    <a:lnTo>
                      <a:pt x="206" y="137"/>
                    </a:lnTo>
                    <a:lnTo>
                      <a:pt x="202" y="138"/>
                    </a:lnTo>
                    <a:lnTo>
                      <a:pt x="198" y="137"/>
                    </a:lnTo>
                    <a:lnTo>
                      <a:pt x="198" y="135"/>
                    </a:lnTo>
                    <a:lnTo>
                      <a:pt x="196" y="131"/>
                    </a:lnTo>
                    <a:lnTo>
                      <a:pt x="194" y="129"/>
                    </a:lnTo>
                    <a:lnTo>
                      <a:pt x="192" y="129"/>
                    </a:lnTo>
                    <a:lnTo>
                      <a:pt x="192" y="129"/>
                    </a:lnTo>
                    <a:lnTo>
                      <a:pt x="190" y="131"/>
                    </a:lnTo>
                    <a:lnTo>
                      <a:pt x="190" y="131"/>
                    </a:lnTo>
                    <a:lnTo>
                      <a:pt x="188" y="133"/>
                    </a:lnTo>
                    <a:lnTo>
                      <a:pt x="186" y="137"/>
                    </a:lnTo>
                    <a:lnTo>
                      <a:pt x="186" y="138"/>
                    </a:lnTo>
                    <a:lnTo>
                      <a:pt x="185" y="138"/>
                    </a:lnTo>
                    <a:lnTo>
                      <a:pt x="185" y="140"/>
                    </a:lnTo>
                    <a:lnTo>
                      <a:pt x="183" y="140"/>
                    </a:lnTo>
                    <a:lnTo>
                      <a:pt x="183" y="144"/>
                    </a:lnTo>
                    <a:lnTo>
                      <a:pt x="185" y="148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6" y="154"/>
                    </a:lnTo>
                    <a:lnTo>
                      <a:pt x="186" y="156"/>
                    </a:lnTo>
                    <a:lnTo>
                      <a:pt x="188" y="156"/>
                    </a:lnTo>
                    <a:lnTo>
                      <a:pt x="190" y="157"/>
                    </a:lnTo>
                    <a:lnTo>
                      <a:pt x="190" y="157"/>
                    </a:lnTo>
                    <a:lnTo>
                      <a:pt x="192" y="161"/>
                    </a:lnTo>
                    <a:lnTo>
                      <a:pt x="192" y="161"/>
                    </a:lnTo>
                    <a:lnTo>
                      <a:pt x="192" y="163"/>
                    </a:lnTo>
                    <a:lnTo>
                      <a:pt x="190" y="165"/>
                    </a:lnTo>
                    <a:lnTo>
                      <a:pt x="190" y="165"/>
                    </a:lnTo>
                    <a:lnTo>
                      <a:pt x="190" y="167"/>
                    </a:lnTo>
                    <a:lnTo>
                      <a:pt x="188" y="169"/>
                    </a:lnTo>
                    <a:lnTo>
                      <a:pt x="188" y="171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92" y="175"/>
                    </a:lnTo>
                    <a:lnTo>
                      <a:pt x="192" y="176"/>
                    </a:lnTo>
                    <a:lnTo>
                      <a:pt x="194" y="178"/>
                    </a:lnTo>
                    <a:lnTo>
                      <a:pt x="194" y="180"/>
                    </a:lnTo>
                    <a:lnTo>
                      <a:pt x="194" y="182"/>
                    </a:lnTo>
                    <a:lnTo>
                      <a:pt x="194" y="182"/>
                    </a:lnTo>
                    <a:lnTo>
                      <a:pt x="192" y="184"/>
                    </a:lnTo>
                    <a:lnTo>
                      <a:pt x="192" y="184"/>
                    </a:lnTo>
                    <a:lnTo>
                      <a:pt x="192" y="186"/>
                    </a:lnTo>
                    <a:lnTo>
                      <a:pt x="192" y="186"/>
                    </a:lnTo>
                    <a:lnTo>
                      <a:pt x="194" y="188"/>
                    </a:lnTo>
                    <a:lnTo>
                      <a:pt x="194" y="190"/>
                    </a:lnTo>
                    <a:lnTo>
                      <a:pt x="194" y="192"/>
                    </a:lnTo>
                    <a:lnTo>
                      <a:pt x="194" y="192"/>
                    </a:lnTo>
                    <a:lnTo>
                      <a:pt x="194" y="194"/>
                    </a:lnTo>
                    <a:lnTo>
                      <a:pt x="192" y="194"/>
                    </a:lnTo>
                    <a:lnTo>
                      <a:pt x="192" y="196"/>
                    </a:lnTo>
                    <a:lnTo>
                      <a:pt x="190" y="196"/>
                    </a:lnTo>
                    <a:lnTo>
                      <a:pt x="188" y="196"/>
                    </a:lnTo>
                    <a:lnTo>
                      <a:pt x="186" y="194"/>
                    </a:lnTo>
                    <a:lnTo>
                      <a:pt x="185" y="192"/>
                    </a:lnTo>
                    <a:lnTo>
                      <a:pt x="183" y="190"/>
                    </a:lnTo>
                    <a:lnTo>
                      <a:pt x="183" y="190"/>
                    </a:lnTo>
                    <a:lnTo>
                      <a:pt x="181" y="190"/>
                    </a:lnTo>
                    <a:lnTo>
                      <a:pt x="181" y="194"/>
                    </a:lnTo>
                    <a:lnTo>
                      <a:pt x="179" y="194"/>
                    </a:lnTo>
                    <a:lnTo>
                      <a:pt x="179" y="196"/>
                    </a:lnTo>
                    <a:lnTo>
                      <a:pt x="177" y="196"/>
                    </a:lnTo>
                    <a:lnTo>
                      <a:pt x="173" y="197"/>
                    </a:lnTo>
                    <a:lnTo>
                      <a:pt x="171" y="197"/>
                    </a:lnTo>
                    <a:lnTo>
                      <a:pt x="171" y="197"/>
                    </a:lnTo>
                    <a:lnTo>
                      <a:pt x="169" y="196"/>
                    </a:lnTo>
                    <a:lnTo>
                      <a:pt x="169" y="196"/>
                    </a:lnTo>
                    <a:lnTo>
                      <a:pt x="167" y="196"/>
                    </a:lnTo>
                    <a:lnTo>
                      <a:pt x="167" y="194"/>
                    </a:lnTo>
                    <a:lnTo>
                      <a:pt x="160" y="194"/>
                    </a:lnTo>
                    <a:lnTo>
                      <a:pt x="158" y="196"/>
                    </a:lnTo>
                    <a:lnTo>
                      <a:pt x="156" y="196"/>
                    </a:lnTo>
                    <a:lnTo>
                      <a:pt x="154" y="197"/>
                    </a:lnTo>
                    <a:lnTo>
                      <a:pt x="152" y="197"/>
                    </a:lnTo>
                    <a:lnTo>
                      <a:pt x="146" y="197"/>
                    </a:lnTo>
                    <a:lnTo>
                      <a:pt x="145" y="197"/>
                    </a:lnTo>
                    <a:lnTo>
                      <a:pt x="145" y="199"/>
                    </a:lnTo>
                    <a:lnTo>
                      <a:pt x="145" y="201"/>
                    </a:lnTo>
                    <a:lnTo>
                      <a:pt x="145" y="203"/>
                    </a:lnTo>
                    <a:lnTo>
                      <a:pt x="145" y="205"/>
                    </a:lnTo>
                    <a:lnTo>
                      <a:pt x="139" y="209"/>
                    </a:lnTo>
                    <a:lnTo>
                      <a:pt x="135" y="209"/>
                    </a:lnTo>
                    <a:lnTo>
                      <a:pt x="133" y="209"/>
                    </a:lnTo>
                    <a:lnTo>
                      <a:pt x="131" y="209"/>
                    </a:lnTo>
                    <a:lnTo>
                      <a:pt x="129" y="209"/>
                    </a:lnTo>
                    <a:lnTo>
                      <a:pt x="127" y="207"/>
                    </a:lnTo>
                    <a:lnTo>
                      <a:pt x="127" y="207"/>
                    </a:lnTo>
                    <a:lnTo>
                      <a:pt x="125" y="205"/>
                    </a:lnTo>
                    <a:lnTo>
                      <a:pt x="125" y="205"/>
                    </a:lnTo>
                    <a:lnTo>
                      <a:pt x="125" y="205"/>
                    </a:lnTo>
                    <a:lnTo>
                      <a:pt x="124" y="203"/>
                    </a:lnTo>
                    <a:lnTo>
                      <a:pt x="122" y="203"/>
                    </a:lnTo>
                    <a:lnTo>
                      <a:pt x="122" y="201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20" y="199"/>
                    </a:lnTo>
                    <a:lnTo>
                      <a:pt x="114" y="199"/>
                    </a:lnTo>
                    <a:lnTo>
                      <a:pt x="110" y="197"/>
                    </a:lnTo>
                    <a:lnTo>
                      <a:pt x="108" y="197"/>
                    </a:lnTo>
                    <a:lnTo>
                      <a:pt x="108" y="199"/>
                    </a:lnTo>
                    <a:lnTo>
                      <a:pt x="106" y="203"/>
                    </a:lnTo>
                    <a:lnTo>
                      <a:pt x="106" y="203"/>
                    </a:lnTo>
                    <a:lnTo>
                      <a:pt x="104" y="205"/>
                    </a:lnTo>
                    <a:lnTo>
                      <a:pt x="104" y="205"/>
                    </a:lnTo>
                    <a:lnTo>
                      <a:pt x="104" y="207"/>
                    </a:lnTo>
                    <a:lnTo>
                      <a:pt x="103" y="207"/>
                    </a:lnTo>
                    <a:lnTo>
                      <a:pt x="101" y="209"/>
                    </a:lnTo>
                    <a:lnTo>
                      <a:pt x="95" y="211"/>
                    </a:lnTo>
                    <a:lnTo>
                      <a:pt x="95" y="211"/>
                    </a:lnTo>
                    <a:lnTo>
                      <a:pt x="93" y="211"/>
                    </a:lnTo>
                    <a:lnTo>
                      <a:pt x="93" y="211"/>
                    </a:lnTo>
                    <a:lnTo>
                      <a:pt x="93" y="211"/>
                    </a:lnTo>
                    <a:lnTo>
                      <a:pt x="95" y="213"/>
                    </a:lnTo>
                    <a:lnTo>
                      <a:pt x="95" y="215"/>
                    </a:lnTo>
                    <a:lnTo>
                      <a:pt x="95" y="216"/>
                    </a:lnTo>
                    <a:lnTo>
                      <a:pt x="97" y="222"/>
                    </a:lnTo>
                    <a:lnTo>
                      <a:pt x="97" y="222"/>
                    </a:lnTo>
                    <a:lnTo>
                      <a:pt x="97" y="222"/>
                    </a:lnTo>
                    <a:lnTo>
                      <a:pt x="97" y="224"/>
                    </a:lnTo>
                    <a:lnTo>
                      <a:pt x="95" y="224"/>
                    </a:lnTo>
                    <a:lnTo>
                      <a:pt x="95" y="224"/>
                    </a:lnTo>
                    <a:lnTo>
                      <a:pt x="93" y="224"/>
                    </a:lnTo>
                    <a:lnTo>
                      <a:pt x="91" y="222"/>
                    </a:lnTo>
                    <a:lnTo>
                      <a:pt x="89" y="222"/>
                    </a:lnTo>
                    <a:lnTo>
                      <a:pt x="87" y="222"/>
                    </a:lnTo>
                    <a:lnTo>
                      <a:pt x="87" y="224"/>
                    </a:lnTo>
                    <a:lnTo>
                      <a:pt x="85" y="224"/>
                    </a:lnTo>
                    <a:lnTo>
                      <a:pt x="84" y="226"/>
                    </a:lnTo>
                    <a:lnTo>
                      <a:pt x="82" y="226"/>
                    </a:lnTo>
                    <a:lnTo>
                      <a:pt x="82" y="226"/>
                    </a:lnTo>
                    <a:lnTo>
                      <a:pt x="80" y="226"/>
                    </a:lnTo>
                    <a:lnTo>
                      <a:pt x="80" y="228"/>
                    </a:lnTo>
                    <a:lnTo>
                      <a:pt x="78" y="230"/>
                    </a:lnTo>
                    <a:lnTo>
                      <a:pt x="78" y="230"/>
                    </a:lnTo>
                    <a:lnTo>
                      <a:pt x="76" y="230"/>
                    </a:lnTo>
                    <a:lnTo>
                      <a:pt x="76" y="230"/>
                    </a:lnTo>
                    <a:lnTo>
                      <a:pt x="74" y="230"/>
                    </a:lnTo>
                    <a:lnTo>
                      <a:pt x="74" y="230"/>
                    </a:lnTo>
                    <a:lnTo>
                      <a:pt x="72" y="234"/>
                    </a:lnTo>
                    <a:lnTo>
                      <a:pt x="72" y="235"/>
                    </a:lnTo>
                    <a:lnTo>
                      <a:pt x="72" y="235"/>
                    </a:lnTo>
                    <a:lnTo>
                      <a:pt x="70" y="235"/>
                    </a:lnTo>
                    <a:lnTo>
                      <a:pt x="68" y="237"/>
                    </a:lnTo>
                    <a:lnTo>
                      <a:pt x="72" y="241"/>
                    </a:lnTo>
                    <a:lnTo>
                      <a:pt x="72" y="243"/>
                    </a:lnTo>
                    <a:lnTo>
                      <a:pt x="72" y="243"/>
                    </a:lnTo>
                    <a:lnTo>
                      <a:pt x="70" y="245"/>
                    </a:lnTo>
                    <a:lnTo>
                      <a:pt x="68" y="245"/>
                    </a:lnTo>
                    <a:lnTo>
                      <a:pt x="66" y="245"/>
                    </a:lnTo>
                    <a:lnTo>
                      <a:pt x="66" y="245"/>
                    </a:lnTo>
                    <a:lnTo>
                      <a:pt x="64" y="245"/>
                    </a:lnTo>
                    <a:lnTo>
                      <a:pt x="61" y="249"/>
                    </a:lnTo>
                    <a:lnTo>
                      <a:pt x="61" y="251"/>
                    </a:lnTo>
                    <a:lnTo>
                      <a:pt x="59" y="251"/>
                    </a:lnTo>
                    <a:lnTo>
                      <a:pt x="59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51"/>
                    </a:lnTo>
                    <a:lnTo>
                      <a:pt x="57" y="249"/>
                    </a:lnTo>
                    <a:lnTo>
                      <a:pt x="57" y="249"/>
                    </a:lnTo>
                    <a:lnTo>
                      <a:pt x="57" y="249"/>
                    </a:lnTo>
                    <a:lnTo>
                      <a:pt x="57" y="247"/>
                    </a:lnTo>
                    <a:lnTo>
                      <a:pt x="55" y="247"/>
                    </a:lnTo>
                    <a:lnTo>
                      <a:pt x="55" y="245"/>
                    </a:lnTo>
                    <a:lnTo>
                      <a:pt x="55" y="245"/>
                    </a:lnTo>
                    <a:lnTo>
                      <a:pt x="55" y="243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47" y="241"/>
                    </a:lnTo>
                    <a:lnTo>
                      <a:pt x="47" y="239"/>
                    </a:lnTo>
                    <a:lnTo>
                      <a:pt x="45" y="239"/>
                    </a:lnTo>
                    <a:lnTo>
                      <a:pt x="43" y="239"/>
                    </a:lnTo>
                    <a:lnTo>
                      <a:pt x="43" y="239"/>
                    </a:lnTo>
                    <a:lnTo>
                      <a:pt x="42" y="239"/>
                    </a:lnTo>
                    <a:lnTo>
                      <a:pt x="42" y="239"/>
                    </a:lnTo>
                    <a:lnTo>
                      <a:pt x="40" y="243"/>
                    </a:lnTo>
                    <a:lnTo>
                      <a:pt x="40" y="245"/>
                    </a:lnTo>
                    <a:lnTo>
                      <a:pt x="40" y="245"/>
                    </a:lnTo>
                    <a:lnTo>
                      <a:pt x="40" y="247"/>
                    </a:lnTo>
                    <a:lnTo>
                      <a:pt x="38" y="247"/>
                    </a:lnTo>
                    <a:lnTo>
                      <a:pt x="36" y="247"/>
                    </a:lnTo>
                    <a:lnTo>
                      <a:pt x="36" y="249"/>
                    </a:lnTo>
                    <a:lnTo>
                      <a:pt x="36" y="249"/>
                    </a:lnTo>
                    <a:lnTo>
                      <a:pt x="34" y="251"/>
                    </a:lnTo>
                    <a:lnTo>
                      <a:pt x="32" y="253"/>
                    </a:lnTo>
                    <a:lnTo>
                      <a:pt x="32" y="253"/>
                    </a:lnTo>
                    <a:lnTo>
                      <a:pt x="30" y="253"/>
                    </a:lnTo>
                    <a:lnTo>
                      <a:pt x="30" y="251"/>
                    </a:lnTo>
                    <a:lnTo>
                      <a:pt x="30" y="251"/>
                    </a:lnTo>
                    <a:lnTo>
                      <a:pt x="28" y="251"/>
                    </a:lnTo>
                    <a:lnTo>
                      <a:pt x="28" y="249"/>
                    </a:lnTo>
                    <a:lnTo>
                      <a:pt x="28" y="249"/>
                    </a:lnTo>
                    <a:lnTo>
                      <a:pt x="26" y="249"/>
                    </a:lnTo>
                    <a:lnTo>
                      <a:pt x="26" y="251"/>
                    </a:lnTo>
                    <a:lnTo>
                      <a:pt x="26" y="253"/>
                    </a:lnTo>
                    <a:lnTo>
                      <a:pt x="26" y="253"/>
                    </a:lnTo>
                    <a:lnTo>
                      <a:pt x="24" y="254"/>
                    </a:lnTo>
                    <a:lnTo>
                      <a:pt x="24" y="254"/>
                    </a:lnTo>
                    <a:lnTo>
                      <a:pt x="22" y="254"/>
                    </a:lnTo>
                    <a:lnTo>
                      <a:pt x="22" y="253"/>
                    </a:lnTo>
                    <a:lnTo>
                      <a:pt x="21" y="253"/>
                    </a:lnTo>
                    <a:lnTo>
                      <a:pt x="21" y="253"/>
                    </a:lnTo>
                    <a:lnTo>
                      <a:pt x="19" y="253"/>
                    </a:lnTo>
                    <a:lnTo>
                      <a:pt x="19" y="253"/>
                    </a:lnTo>
                    <a:lnTo>
                      <a:pt x="19" y="254"/>
                    </a:lnTo>
                    <a:lnTo>
                      <a:pt x="17" y="258"/>
                    </a:lnTo>
                    <a:lnTo>
                      <a:pt x="17" y="258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7" y="260"/>
                    </a:lnTo>
                    <a:lnTo>
                      <a:pt x="19" y="260"/>
                    </a:lnTo>
                    <a:lnTo>
                      <a:pt x="19" y="260"/>
                    </a:lnTo>
                    <a:lnTo>
                      <a:pt x="19" y="258"/>
                    </a:lnTo>
                    <a:lnTo>
                      <a:pt x="21" y="258"/>
                    </a:lnTo>
                    <a:lnTo>
                      <a:pt x="21" y="258"/>
                    </a:lnTo>
                    <a:lnTo>
                      <a:pt x="21" y="258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2" y="260"/>
                    </a:lnTo>
                    <a:lnTo>
                      <a:pt x="22" y="260"/>
                    </a:lnTo>
                    <a:lnTo>
                      <a:pt x="22" y="262"/>
                    </a:lnTo>
                    <a:lnTo>
                      <a:pt x="22" y="262"/>
                    </a:lnTo>
                    <a:lnTo>
                      <a:pt x="22" y="262"/>
                    </a:lnTo>
                    <a:lnTo>
                      <a:pt x="24" y="262"/>
                    </a:lnTo>
                    <a:lnTo>
                      <a:pt x="24" y="264"/>
                    </a:lnTo>
                    <a:lnTo>
                      <a:pt x="24" y="264"/>
                    </a:lnTo>
                    <a:lnTo>
                      <a:pt x="26" y="262"/>
                    </a:lnTo>
                    <a:lnTo>
                      <a:pt x="26" y="262"/>
                    </a:lnTo>
                    <a:lnTo>
                      <a:pt x="28" y="264"/>
                    </a:lnTo>
                    <a:lnTo>
                      <a:pt x="28" y="264"/>
                    </a:lnTo>
                    <a:lnTo>
                      <a:pt x="28" y="264"/>
                    </a:lnTo>
                    <a:lnTo>
                      <a:pt x="28" y="266"/>
                    </a:lnTo>
                    <a:lnTo>
                      <a:pt x="28" y="266"/>
                    </a:lnTo>
                    <a:lnTo>
                      <a:pt x="28" y="268"/>
                    </a:lnTo>
                    <a:lnTo>
                      <a:pt x="28" y="268"/>
                    </a:lnTo>
                    <a:lnTo>
                      <a:pt x="30" y="268"/>
                    </a:lnTo>
                    <a:lnTo>
                      <a:pt x="30" y="270"/>
                    </a:lnTo>
                    <a:lnTo>
                      <a:pt x="32" y="270"/>
                    </a:lnTo>
                    <a:lnTo>
                      <a:pt x="32" y="270"/>
                    </a:lnTo>
                    <a:lnTo>
                      <a:pt x="32" y="270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0" y="272"/>
                    </a:lnTo>
                    <a:lnTo>
                      <a:pt x="28" y="274"/>
                    </a:lnTo>
                    <a:lnTo>
                      <a:pt x="26" y="274"/>
                    </a:lnTo>
                    <a:lnTo>
                      <a:pt x="26" y="274"/>
                    </a:lnTo>
                    <a:lnTo>
                      <a:pt x="26" y="275"/>
                    </a:lnTo>
                    <a:lnTo>
                      <a:pt x="26" y="277"/>
                    </a:lnTo>
                    <a:lnTo>
                      <a:pt x="26" y="277"/>
                    </a:lnTo>
                    <a:lnTo>
                      <a:pt x="26" y="279"/>
                    </a:lnTo>
                    <a:lnTo>
                      <a:pt x="28" y="281"/>
                    </a:lnTo>
                    <a:lnTo>
                      <a:pt x="28" y="281"/>
                    </a:lnTo>
                    <a:lnTo>
                      <a:pt x="28" y="281"/>
                    </a:lnTo>
                    <a:lnTo>
                      <a:pt x="28" y="285"/>
                    </a:lnTo>
                    <a:lnTo>
                      <a:pt x="28" y="285"/>
                    </a:lnTo>
                    <a:lnTo>
                      <a:pt x="28" y="287"/>
                    </a:lnTo>
                    <a:lnTo>
                      <a:pt x="28" y="287"/>
                    </a:lnTo>
                    <a:lnTo>
                      <a:pt x="30" y="287"/>
                    </a:lnTo>
                    <a:lnTo>
                      <a:pt x="30" y="287"/>
                    </a:lnTo>
                    <a:lnTo>
                      <a:pt x="30" y="285"/>
                    </a:lnTo>
                    <a:lnTo>
                      <a:pt x="32" y="285"/>
                    </a:lnTo>
                    <a:lnTo>
                      <a:pt x="32" y="285"/>
                    </a:lnTo>
                    <a:lnTo>
                      <a:pt x="34" y="285"/>
                    </a:lnTo>
                    <a:lnTo>
                      <a:pt x="34" y="285"/>
                    </a:lnTo>
                    <a:lnTo>
                      <a:pt x="45" y="291"/>
                    </a:lnTo>
                    <a:lnTo>
                      <a:pt x="45" y="291"/>
                    </a:lnTo>
                    <a:lnTo>
                      <a:pt x="47" y="291"/>
                    </a:lnTo>
                    <a:lnTo>
                      <a:pt x="47" y="293"/>
                    </a:lnTo>
                    <a:lnTo>
                      <a:pt x="47" y="293"/>
                    </a:lnTo>
                    <a:lnTo>
                      <a:pt x="47" y="294"/>
                    </a:lnTo>
                    <a:lnTo>
                      <a:pt x="47" y="296"/>
                    </a:lnTo>
                    <a:lnTo>
                      <a:pt x="47" y="302"/>
                    </a:lnTo>
                    <a:lnTo>
                      <a:pt x="47" y="306"/>
                    </a:lnTo>
                    <a:lnTo>
                      <a:pt x="47" y="308"/>
                    </a:lnTo>
                    <a:lnTo>
                      <a:pt x="45" y="310"/>
                    </a:lnTo>
                    <a:lnTo>
                      <a:pt x="45" y="310"/>
                    </a:lnTo>
                    <a:lnTo>
                      <a:pt x="40" y="310"/>
                    </a:lnTo>
                    <a:lnTo>
                      <a:pt x="40" y="312"/>
                    </a:lnTo>
                    <a:lnTo>
                      <a:pt x="38" y="312"/>
                    </a:lnTo>
                    <a:lnTo>
                      <a:pt x="36" y="313"/>
                    </a:lnTo>
                    <a:lnTo>
                      <a:pt x="36" y="313"/>
                    </a:lnTo>
                    <a:lnTo>
                      <a:pt x="36" y="315"/>
                    </a:lnTo>
                    <a:lnTo>
                      <a:pt x="38" y="315"/>
                    </a:lnTo>
                    <a:lnTo>
                      <a:pt x="38" y="315"/>
                    </a:lnTo>
                    <a:lnTo>
                      <a:pt x="40" y="317"/>
                    </a:lnTo>
                    <a:lnTo>
                      <a:pt x="42" y="317"/>
                    </a:lnTo>
                    <a:lnTo>
                      <a:pt x="42" y="317"/>
                    </a:lnTo>
                    <a:lnTo>
                      <a:pt x="42" y="317"/>
                    </a:lnTo>
                    <a:lnTo>
                      <a:pt x="42" y="319"/>
                    </a:lnTo>
                    <a:lnTo>
                      <a:pt x="42" y="321"/>
                    </a:lnTo>
                    <a:lnTo>
                      <a:pt x="42" y="323"/>
                    </a:lnTo>
                    <a:lnTo>
                      <a:pt x="42" y="327"/>
                    </a:lnTo>
                    <a:lnTo>
                      <a:pt x="40" y="327"/>
                    </a:lnTo>
                    <a:lnTo>
                      <a:pt x="38" y="331"/>
                    </a:lnTo>
                    <a:lnTo>
                      <a:pt x="36" y="334"/>
                    </a:lnTo>
                    <a:lnTo>
                      <a:pt x="32" y="340"/>
                    </a:lnTo>
                    <a:lnTo>
                      <a:pt x="32" y="340"/>
                    </a:lnTo>
                    <a:lnTo>
                      <a:pt x="32" y="340"/>
                    </a:lnTo>
                    <a:lnTo>
                      <a:pt x="34" y="342"/>
                    </a:lnTo>
                    <a:lnTo>
                      <a:pt x="34" y="344"/>
                    </a:lnTo>
                    <a:lnTo>
                      <a:pt x="34" y="344"/>
                    </a:lnTo>
                    <a:lnTo>
                      <a:pt x="34" y="346"/>
                    </a:lnTo>
                    <a:lnTo>
                      <a:pt x="32" y="350"/>
                    </a:lnTo>
                    <a:lnTo>
                      <a:pt x="30" y="353"/>
                    </a:lnTo>
                    <a:lnTo>
                      <a:pt x="28" y="355"/>
                    </a:lnTo>
                    <a:lnTo>
                      <a:pt x="26" y="357"/>
                    </a:lnTo>
                    <a:lnTo>
                      <a:pt x="24" y="357"/>
                    </a:lnTo>
                    <a:lnTo>
                      <a:pt x="22" y="357"/>
                    </a:lnTo>
                    <a:lnTo>
                      <a:pt x="21" y="359"/>
                    </a:lnTo>
                    <a:lnTo>
                      <a:pt x="17" y="359"/>
                    </a:lnTo>
                    <a:lnTo>
                      <a:pt x="15" y="359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7"/>
                    </a:lnTo>
                    <a:lnTo>
                      <a:pt x="15" y="355"/>
                    </a:lnTo>
                    <a:lnTo>
                      <a:pt x="15" y="353"/>
                    </a:lnTo>
                    <a:lnTo>
                      <a:pt x="15" y="353"/>
                    </a:lnTo>
                    <a:lnTo>
                      <a:pt x="15" y="353"/>
                    </a:lnTo>
                    <a:lnTo>
                      <a:pt x="13" y="353"/>
                    </a:lnTo>
                    <a:lnTo>
                      <a:pt x="13" y="353"/>
                    </a:lnTo>
                    <a:lnTo>
                      <a:pt x="11" y="353"/>
                    </a:lnTo>
                    <a:lnTo>
                      <a:pt x="5" y="357"/>
                    </a:lnTo>
                    <a:lnTo>
                      <a:pt x="3" y="359"/>
                    </a:lnTo>
                    <a:lnTo>
                      <a:pt x="3" y="363"/>
                    </a:lnTo>
                    <a:lnTo>
                      <a:pt x="2" y="365"/>
                    </a:lnTo>
                    <a:lnTo>
                      <a:pt x="2" y="365"/>
                    </a:lnTo>
                    <a:lnTo>
                      <a:pt x="0" y="365"/>
                    </a:lnTo>
                    <a:lnTo>
                      <a:pt x="0" y="367"/>
                    </a:lnTo>
                    <a:lnTo>
                      <a:pt x="0" y="367"/>
                    </a:lnTo>
                    <a:lnTo>
                      <a:pt x="0" y="367"/>
                    </a:lnTo>
                    <a:lnTo>
                      <a:pt x="2" y="371"/>
                    </a:lnTo>
                    <a:lnTo>
                      <a:pt x="2" y="371"/>
                    </a:lnTo>
                    <a:lnTo>
                      <a:pt x="3" y="371"/>
                    </a:lnTo>
                    <a:lnTo>
                      <a:pt x="5" y="371"/>
                    </a:lnTo>
                    <a:lnTo>
                      <a:pt x="7" y="371"/>
                    </a:lnTo>
                    <a:lnTo>
                      <a:pt x="7" y="369"/>
                    </a:lnTo>
                    <a:lnTo>
                      <a:pt x="9" y="369"/>
                    </a:lnTo>
                    <a:lnTo>
                      <a:pt x="9" y="369"/>
                    </a:lnTo>
                    <a:lnTo>
                      <a:pt x="11" y="369"/>
                    </a:lnTo>
                    <a:lnTo>
                      <a:pt x="13" y="369"/>
                    </a:lnTo>
                    <a:lnTo>
                      <a:pt x="17" y="371"/>
                    </a:lnTo>
                    <a:lnTo>
                      <a:pt x="17" y="372"/>
                    </a:lnTo>
                    <a:lnTo>
                      <a:pt x="19" y="372"/>
                    </a:lnTo>
                    <a:lnTo>
                      <a:pt x="19" y="376"/>
                    </a:lnTo>
                    <a:lnTo>
                      <a:pt x="21" y="384"/>
                    </a:lnTo>
                    <a:lnTo>
                      <a:pt x="21" y="386"/>
                    </a:lnTo>
                    <a:lnTo>
                      <a:pt x="21" y="388"/>
                    </a:lnTo>
                    <a:lnTo>
                      <a:pt x="19" y="390"/>
                    </a:lnTo>
                    <a:lnTo>
                      <a:pt x="17" y="391"/>
                    </a:lnTo>
                    <a:lnTo>
                      <a:pt x="19" y="393"/>
                    </a:lnTo>
                    <a:lnTo>
                      <a:pt x="19" y="395"/>
                    </a:lnTo>
                    <a:lnTo>
                      <a:pt x="21" y="395"/>
                    </a:lnTo>
                    <a:lnTo>
                      <a:pt x="21" y="397"/>
                    </a:lnTo>
                    <a:lnTo>
                      <a:pt x="21" y="399"/>
                    </a:lnTo>
                    <a:lnTo>
                      <a:pt x="21" y="399"/>
                    </a:lnTo>
                    <a:lnTo>
                      <a:pt x="21" y="401"/>
                    </a:lnTo>
                    <a:lnTo>
                      <a:pt x="21" y="401"/>
                    </a:lnTo>
                    <a:lnTo>
                      <a:pt x="21" y="403"/>
                    </a:lnTo>
                    <a:lnTo>
                      <a:pt x="21" y="403"/>
                    </a:lnTo>
                    <a:lnTo>
                      <a:pt x="24" y="407"/>
                    </a:lnTo>
                    <a:lnTo>
                      <a:pt x="24" y="409"/>
                    </a:lnTo>
                    <a:lnTo>
                      <a:pt x="26" y="409"/>
                    </a:lnTo>
                    <a:lnTo>
                      <a:pt x="26" y="411"/>
                    </a:lnTo>
                    <a:lnTo>
                      <a:pt x="26" y="414"/>
                    </a:lnTo>
                    <a:lnTo>
                      <a:pt x="26" y="416"/>
                    </a:lnTo>
                    <a:lnTo>
                      <a:pt x="26" y="418"/>
                    </a:lnTo>
                    <a:lnTo>
                      <a:pt x="24" y="418"/>
                    </a:lnTo>
                    <a:lnTo>
                      <a:pt x="22" y="418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0"/>
                    </a:lnTo>
                    <a:lnTo>
                      <a:pt x="19" y="422"/>
                    </a:lnTo>
                    <a:lnTo>
                      <a:pt x="19" y="422"/>
                    </a:lnTo>
                    <a:lnTo>
                      <a:pt x="19" y="424"/>
                    </a:lnTo>
                    <a:lnTo>
                      <a:pt x="22" y="426"/>
                    </a:lnTo>
                    <a:lnTo>
                      <a:pt x="24" y="426"/>
                    </a:lnTo>
                    <a:lnTo>
                      <a:pt x="24" y="428"/>
                    </a:lnTo>
                    <a:lnTo>
                      <a:pt x="24" y="428"/>
                    </a:lnTo>
                    <a:lnTo>
                      <a:pt x="24" y="428"/>
                    </a:lnTo>
                    <a:lnTo>
                      <a:pt x="24" y="430"/>
                    </a:lnTo>
                    <a:lnTo>
                      <a:pt x="24" y="431"/>
                    </a:lnTo>
                    <a:lnTo>
                      <a:pt x="21" y="437"/>
                    </a:lnTo>
                    <a:lnTo>
                      <a:pt x="21" y="437"/>
                    </a:lnTo>
                    <a:lnTo>
                      <a:pt x="21" y="441"/>
                    </a:lnTo>
                    <a:lnTo>
                      <a:pt x="21" y="441"/>
                    </a:lnTo>
                    <a:lnTo>
                      <a:pt x="21" y="443"/>
                    </a:lnTo>
                    <a:lnTo>
                      <a:pt x="21" y="447"/>
                    </a:lnTo>
                    <a:lnTo>
                      <a:pt x="21" y="447"/>
                    </a:lnTo>
                    <a:lnTo>
                      <a:pt x="21" y="449"/>
                    </a:lnTo>
                    <a:lnTo>
                      <a:pt x="21" y="450"/>
                    </a:lnTo>
                    <a:lnTo>
                      <a:pt x="21" y="450"/>
                    </a:lnTo>
                    <a:lnTo>
                      <a:pt x="21" y="452"/>
                    </a:lnTo>
                    <a:lnTo>
                      <a:pt x="19" y="456"/>
                    </a:lnTo>
                    <a:lnTo>
                      <a:pt x="19" y="458"/>
                    </a:lnTo>
                    <a:lnTo>
                      <a:pt x="19" y="458"/>
                    </a:lnTo>
                    <a:lnTo>
                      <a:pt x="19" y="458"/>
                    </a:lnTo>
                    <a:lnTo>
                      <a:pt x="17" y="460"/>
                    </a:lnTo>
                    <a:lnTo>
                      <a:pt x="15" y="462"/>
                    </a:lnTo>
                    <a:lnTo>
                      <a:pt x="13" y="462"/>
                    </a:lnTo>
                    <a:lnTo>
                      <a:pt x="11" y="462"/>
                    </a:lnTo>
                    <a:lnTo>
                      <a:pt x="7" y="462"/>
                    </a:lnTo>
                    <a:lnTo>
                      <a:pt x="7" y="462"/>
                    </a:lnTo>
                    <a:lnTo>
                      <a:pt x="7" y="462"/>
                    </a:lnTo>
                    <a:lnTo>
                      <a:pt x="3" y="466"/>
                    </a:lnTo>
                    <a:lnTo>
                      <a:pt x="0" y="468"/>
                    </a:lnTo>
                    <a:lnTo>
                      <a:pt x="2" y="471"/>
                    </a:lnTo>
                    <a:lnTo>
                      <a:pt x="2" y="473"/>
                    </a:lnTo>
                    <a:lnTo>
                      <a:pt x="3" y="473"/>
                    </a:lnTo>
                    <a:lnTo>
                      <a:pt x="5" y="471"/>
                    </a:lnTo>
                    <a:lnTo>
                      <a:pt x="7" y="471"/>
                    </a:lnTo>
                    <a:lnTo>
                      <a:pt x="7" y="469"/>
                    </a:lnTo>
                    <a:lnTo>
                      <a:pt x="9" y="469"/>
                    </a:lnTo>
                    <a:lnTo>
                      <a:pt x="13" y="468"/>
                    </a:lnTo>
                    <a:lnTo>
                      <a:pt x="15" y="466"/>
                    </a:lnTo>
                    <a:lnTo>
                      <a:pt x="15" y="468"/>
                    </a:lnTo>
                    <a:lnTo>
                      <a:pt x="15" y="468"/>
                    </a:lnTo>
                    <a:lnTo>
                      <a:pt x="17" y="468"/>
                    </a:lnTo>
                    <a:lnTo>
                      <a:pt x="17" y="469"/>
                    </a:lnTo>
                    <a:lnTo>
                      <a:pt x="17" y="469"/>
                    </a:lnTo>
                    <a:lnTo>
                      <a:pt x="17" y="471"/>
                    </a:lnTo>
                    <a:lnTo>
                      <a:pt x="15" y="469"/>
                    </a:lnTo>
                    <a:lnTo>
                      <a:pt x="15" y="469"/>
                    </a:lnTo>
                    <a:lnTo>
                      <a:pt x="11" y="469"/>
                    </a:lnTo>
                    <a:lnTo>
                      <a:pt x="11" y="471"/>
                    </a:lnTo>
                    <a:lnTo>
                      <a:pt x="9" y="473"/>
                    </a:lnTo>
                    <a:lnTo>
                      <a:pt x="7" y="475"/>
                    </a:lnTo>
                    <a:lnTo>
                      <a:pt x="7" y="473"/>
                    </a:lnTo>
                    <a:lnTo>
                      <a:pt x="5" y="473"/>
                    </a:lnTo>
                    <a:lnTo>
                      <a:pt x="3" y="473"/>
                    </a:lnTo>
                    <a:lnTo>
                      <a:pt x="3" y="475"/>
                    </a:lnTo>
                    <a:lnTo>
                      <a:pt x="2" y="475"/>
                    </a:lnTo>
                    <a:lnTo>
                      <a:pt x="2" y="477"/>
                    </a:lnTo>
                    <a:lnTo>
                      <a:pt x="2" y="479"/>
                    </a:lnTo>
                    <a:lnTo>
                      <a:pt x="0" y="477"/>
                    </a:lnTo>
                    <a:lnTo>
                      <a:pt x="0" y="479"/>
                    </a:lnTo>
                    <a:lnTo>
                      <a:pt x="2" y="481"/>
                    </a:lnTo>
                    <a:lnTo>
                      <a:pt x="5" y="483"/>
                    </a:lnTo>
                    <a:lnTo>
                      <a:pt x="7" y="483"/>
                    </a:lnTo>
                    <a:lnTo>
                      <a:pt x="7" y="485"/>
                    </a:lnTo>
                    <a:lnTo>
                      <a:pt x="7" y="485"/>
                    </a:lnTo>
                    <a:lnTo>
                      <a:pt x="9" y="485"/>
                    </a:lnTo>
                    <a:lnTo>
                      <a:pt x="9" y="485"/>
                    </a:lnTo>
                    <a:lnTo>
                      <a:pt x="11" y="487"/>
                    </a:lnTo>
                    <a:lnTo>
                      <a:pt x="13" y="490"/>
                    </a:lnTo>
                    <a:lnTo>
                      <a:pt x="15" y="487"/>
                    </a:lnTo>
                    <a:lnTo>
                      <a:pt x="15" y="487"/>
                    </a:lnTo>
                    <a:lnTo>
                      <a:pt x="17" y="487"/>
                    </a:lnTo>
                    <a:lnTo>
                      <a:pt x="21" y="489"/>
                    </a:lnTo>
                    <a:lnTo>
                      <a:pt x="21" y="490"/>
                    </a:lnTo>
                    <a:lnTo>
                      <a:pt x="22" y="496"/>
                    </a:lnTo>
                    <a:lnTo>
                      <a:pt x="22" y="500"/>
                    </a:lnTo>
                    <a:lnTo>
                      <a:pt x="21" y="500"/>
                    </a:lnTo>
                    <a:lnTo>
                      <a:pt x="22" y="502"/>
                    </a:lnTo>
                    <a:lnTo>
                      <a:pt x="22" y="504"/>
                    </a:lnTo>
                    <a:lnTo>
                      <a:pt x="24" y="504"/>
                    </a:lnTo>
                    <a:lnTo>
                      <a:pt x="26" y="504"/>
                    </a:lnTo>
                    <a:lnTo>
                      <a:pt x="26" y="502"/>
                    </a:lnTo>
                    <a:lnTo>
                      <a:pt x="28" y="502"/>
                    </a:lnTo>
                    <a:lnTo>
                      <a:pt x="30" y="504"/>
                    </a:lnTo>
                    <a:lnTo>
                      <a:pt x="30" y="504"/>
                    </a:lnTo>
                    <a:lnTo>
                      <a:pt x="26" y="504"/>
                    </a:lnTo>
                    <a:lnTo>
                      <a:pt x="24" y="506"/>
                    </a:lnTo>
                    <a:lnTo>
                      <a:pt x="24" y="509"/>
                    </a:lnTo>
                    <a:lnTo>
                      <a:pt x="26" y="513"/>
                    </a:lnTo>
                    <a:lnTo>
                      <a:pt x="26" y="513"/>
                    </a:lnTo>
                    <a:lnTo>
                      <a:pt x="26" y="515"/>
                    </a:lnTo>
                    <a:lnTo>
                      <a:pt x="28" y="515"/>
                    </a:lnTo>
                    <a:lnTo>
                      <a:pt x="30" y="515"/>
                    </a:lnTo>
                    <a:lnTo>
                      <a:pt x="30" y="513"/>
                    </a:lnTo>
                    <a:lnTo>
                      <a:pt x="30" y="511"/>
                    </a:lnTo>
                    <a:lnTo>
                      <a:pt x="30" y="509"/>
                    </a:lnTo>
                    <a:lnTo>
                      <a:pt x="32" y="508"/>
                    </a:lnTo>
                    <a:lnTo>
                      <a:pt x="32" y="509"/>
                    </a:lnTo>
                    <a:lnTo>
                      <a:pt x="32" y="509"/>
                    </a:lnTo>
                    <a:lnTo>
                      <a:pt x="32" y="511"/>
                    </a:lnTo>
                    <a:lnTo>
                      <a:pt x="34" y="511"/>
                    </a:lnTo>
                    <a:lnTo>
                      <a:pt x="34" y="511"/>
                    </a:lnTo>
                    <a:lnTo>
                      <a:pt x="36" y="511"/>
                    </a:lnTo>
                    <a:lnTo>
                      <a:pt x="36" y="511"/>
                    </a:lnTo>
                    <a:lnTo>
                      <a:pt x="36" y="513"/>
                    </a:lnTo>
                    <a:lnTo>
                      <a:pt x="34" y="513"/>
                    </a:lnTo>
                    <a:lnTo>
                      <a:pt x="36" y="515"/>
                    </a:lnTo>
                    <a:lnTo>
                      <a:pt x="42" y="521"/>
                    </a:lnTo>
                    <a:lnTo>
                      <a:pt x="38" y="521"/>
                    </a:lnTo>
                    <a:lnTo>
                      <a:pt x="38" y="521"/>
                    </a:lnTo>
                    <a:lnTo>
                      <a:pt x="40" y="523"/>
                    </a:lnTo>
                    <a:lnTo>
                      <a:pt x="36" y="523"/>
                    </a:lnTo>
                    <a:lnTo>
                      <a:pt x="36" y="519"/>
                    </a:lnTo>
                    <a:lnTo>
                      <a:pt x="34" y="515"/>
                    </a:lnTo>
                    <a:lnTo>
                      <a:pt x="32" y="513"/>
                    </a:lnTo>
                    <a:lnTo>
                      <a:pt x="32" y="517"/>
                    </a:lnTo>
                    <a:lnTo>
                      <a:pt x="36" y="521"/>
                    </a:lnTo>
                    <a:lnTo>
                      <a:pt x="36" y="527"/>
                    </a:lnTo>
                    <a:lnTo>
                      <a:pt x="36" y="527"/>
                    </a:lnTo>
                    <a:lnTo>
                      <a:pt x="38" y="528"/>
                    </a:lnTo>
                    <a:lnTo>
                      <a:pt x="38" y="528"/>
                    </a:lnTo>
                    <a:lnTo>
                      <a:pt x="38" y="532"/>
                    </a:lnTo>
                    <a:lnTo>
                      <a:pt x="38" y="534"/>
                    </a:lnTo>
                    <a:lnTo>
                      <a:pt x="38" y="534"/>
                    </a:lnTo>
                    <a:lnTo>
                      <a:pt x="40" y="538"/>
                    </a:lnTo>
                    <a:lnTo>
                      <a:pt x="40" y="544"/>
                    </a:lnTo>
                    <a:lnTo>
                      <a:pt x="42" y="546"/>
                    </a:lnTo>
                    <a:lnTo>
                      <a:pt x="43" y="546"/>
                    </a:lnTo>
                    <a:lnTo>
                      <a:pt x="51" y="549"/>
                    </a:lnTo>
                    <a:lnTo>
                      <a:pt x="51" y="549"/>
                    </a:lnTo>
                    <a:lnTo>
                      <a:pt x="49" y="549"/>
                    </a:lnTo>
                    <a:lnTo>
                      <a:pt x="47" y="549"/>
                    </a:lnTo>
                    <a:lnTo>
                      <a:pt x="43" y="549"/>
                    </a:lnTo>
                    <a:lnTo>
                      <a:pt x="42" y="548"/>
                    </a:lnTo>
                    <a:lnTo>
                      <a:pt x="42" y="551"/>
                    </a:lnTo>
                    <a:lnTo>
                      <a:pt x="43" y="553"/>
                    </a:lnTo>
                    <a:lnTo>
                      <a:pt x="47" y="559"/>
                    </a:lnTo>
                    <a:lnTo>
                      <a:pt x="47" y="561"/>
                    </a:lnTo>
                    <a:lnTo>
                      <a:pt x="47" y="568"/>
                    </a:lnTo>
                    <a:lnTo>
                      <a:pt x="47" y="570"/>
                    </a:lnTo>
                    <a:lnTo>
                      <a:pt x="49" y="572"/>
                    </a:lnTo>
                    <a:lnTo>
                      <a:pt x="49" y="572"/>
                    </a:lnTo>
                    <a:lnTo>
                      <a:pt x="51" y="574"/>
                    </a:lnTo>
                    <a:lnTo>
                      <a:pt x="49" y="576"/>
                    </a:lnTo>
                    <a:lnTo>
                      <a:pt x="49" y="578"/>
                    </a:lnTo>
                    <a:lnTo>
                      <a:pt x="51" y="580"/>
                    </a:lnTo>
                    <a:lnTo>
                      <a:pt x="55" y="586"/>
                    </a:lnTo>
                    <a:lnTo>
                      <a:pt x="57" y="589"/>
                    </a:lnTo>
                    <a:lnTo>
                      <a:pt x="61" y="595"/>
                    </a:lnTo>
                    <a:lnTo>
                      <a:pt x="63" y="599"/>
                    </a:lnTo>
                    <a:lnTo>
                      <a:pt x="64" y="603"/>
                    </a:lnTo>
                    <a:lnTo>
                      <a:pt x="66" y="610"/>
                    </a:lnTo>
                    <a:lnTo>
                      <a:pt x="68" y="622"/>
                    </a:lnTo>
                    <a:lnTo>
                      <a:pt x="70" y="626"/>
                    </a:lnTo>
                    <a:lnTo>
                      <a:pt x="72" y="620"/>
                    </a:lnTo>
                    <a:lnTo>
                      <a:pt x="74" y="620"/>
                    </a:lnTo>
                    <a:lnTo>
                      <a:pt x="76" y="622"/>
                    </a:lnTo>
                    <a:lnTo>
                      <a:pt x="74" y="622"/>
                    </a:lnTo>
                    <a:lnTo>
                      <a:pt x="74" y="622"/>
                    </a:lnTo>
                    <a:lnTo>
                      <a:pt x="76" y="624"/>
                    </a:lnTo>
                    <a:lnTo>
                      <a:pt x="78" y="626"/>
                    </a:lnTo>
                    <a:lnTo>
                      <a:pt x="78" y="627"/>
                    </a:lnTo>
                    <a:lnTo>
                      <a:pt x="80" y="627"/>
                    </a:lnTo>
                    <a:lnTo>
                      <a:pt x="80" y="627"/>
                    </a:lnTo>
                    <a:lnTo>
                      <a:pt x="78" y="627"/>
                    </a:lnTo>
                    <a:lnTo>
                      <a:pt x="76" y="627"/>
                    </a:lnTo>
                    <a:lnTo>
                      <a:pt x="74" y="627"/>
                    </a:lnTo>
                    <a:lnTo>
                      <a:pt x="74" y="627"/>
                    </a:lnTo>
                    <a:lnTo>
                      <a:pt x="74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29"/>
                    </a:lnTo>
                    <a:lnTo>
                      <a:pt x="72" y="631"/>
                    </a:lnTo>
                    <a:lnTo>
                      <a:pt x="72" y="631"/>
                    </a:lnTo>
                    <a:lnTo>
                      <a:pt x="72" y="631"/>
                    </a:lnTo>
                    <a:lnTo>
                      <a:pt x="72" y="633"/>
                    </a:lnTo>
                    <a:lnTo>
                      <a:pt x="72" y="641"/>
                    </a:lnTo>
                    <a:lnTo>
                      <a:pt x="72" y="643"/>
                    </a:lnTo>
                    <a:lnTo>
                      <a:pt x="76" y="652"/>
                    </a:lnTo>
                    <a:lnTo>
                      <a:pt x="76" y="654"/>
                    </a:lnTo>
                    <a:lnTo>
                      <a:pt x="76" y="656"/>
                    </a:lnTo>
                    <a:lnTo>
                      <a:pt x="76" y="658"/>
                    </a:lnTo>
                    <a:lnTo>
                      <a:pt x="76" y="658"/>
                    </a:lnTo>
                    <a:lnTo>
                      <a:pt x="74" y="654"/>
                    </a:lnTo>
                    <a:lnTo>
                      <a:pt x="74" y="650"/>
                    </a:lnTo>
                    <a:lnTo>
                      <a:pt x="74" y="654"/>
                    </a:lnTo>
                    <a:lnTo>
                      <a:pt x="74" y="658"/>
                    </a:lnTo>
                    <a:lnTo>
                      <a:pt x="76" y="660"/>
                    </a:lnTo>
                    <a:lnTo>
                      <a:pt x="74" y="662"/>
                    </a:lnTo>
                    <a:lnTo>
                      <a:pt x="76" y="664"/>
                    </a:lnTo>
                    <a:lnTo>
                      <a:pt x="76" y="665"/>
                    </a:lnTo>
                    <a:lnTo>
                      <a:pt x="78" y="667"/>
                    </a:lnTo>
                    <a:lnTo>
                      <a:pt x="80" y="677"/>
                    </a:lnTo>
                    <a:lnTo>
                      <a:pt x="80" y="683"/>
                    </a:lnTo>
                    <a:lnTo>
                      <a:pt x="82" y="688"/>
                    </a:lnTo>
                    <a:lnTo>
                      <a:pt x="82" y="690"/>
                    </a:lnTo>
                    <a:lnTo>
                      <a:pt x="84" y="690"/>
                    </a:lnTo>
                    <a:lnTo>
                      <a:pt x="84" y="692"/>
                    </a:lnTo>
                    <a:lnTo>
                      <a:pt x="84" y="696"/>
                    </a:lnTo>
                    <a:lnTo>
                      <a:pt x="84" y="698"/>
                    </a:lnTo>
                    <a:lnTo>
                      <a:pt x="85" y="698"/>
                    </a:lnTo>
                    <a:lnTo>
                      <a:pt x="85" y="700"/>
                    </a:lnTo>
                    <a:lnTo>
                      <a:pt x="85" y="704"/>
                    </a:lnTo>
                    <a:lnTo>
                      <a:pt x="91" y="728"/>
                    </a:lnTo>
                    <a:lnTo>
                      <a:pt x="95" y="728"/>
                    </a:lnTo>
                    <a:lnTo>
                      <a:pt x="101" y="726"/>
                    </a:lnTo>
                    <a:lnTo>
                      <a:pt x="106" y="726"/>
                    </a:lnTo>
                    <a:lnTo>
                      <a:pt x="104" y="728"/>
                    </a:lnTo>
                    <a:lnTo>
                      <a:pt x="103" y="728"/>
                    </a:lnTo>
                    <a:lnTo>
                      <a:pt x="101" y="730"/>
                    </a:lnTo>
                    <a:lnTo>
                      <a:pt x="99" y="730"/>
                    </a:lnTo>
                    <a:lnTo>
                      <a:pt x="99" y="730"/>
                    </a:lnTo>
                    <a:lnTo>
                      <a:pt x="97" y="732"/>
                    </a:lnTo>
                    <a:lnTo>
                      <a:pt x="95" y="734"/>
                    </a:lnTo>
                    <a:lnTo>
                      <a:pt x="95" y="734"/>
                    </a:lnTo>
                    <a:lnTo>
                      <a:pt x="91" y="732"/>
                    </a:lnTo>
                    <a:lnTo>
                      <a:pt x="91" y="734"/>
                    </a:lnTo>
                    <a:lnTo>
                      <a:pt x="93" y="734"/>
                    </a:lnTo>
                    <a:lnTo>
                      <a:pt x="93" y="736"/>
                    </a:lnTo>
                    <a:lnTo>
                      <a:pt x="95" y="736"/>
                    </a:lnTo>
                    <a:lnTo>
                      <a:pt x="95" y="738"/>
                    </a:lnTo>
                    <a:lnTo>
                      <a:pt x="95" y="742"/>
                    </a:lnTo>
                    <a:lnTo>
                      <a:pt x="101" y="740"/>
                    </a:lnTo>
                    <a:lnTo>
                      <a:pt x="103" y="740"/>
                    </a:lnTo>
                    <a:lnTo>
                      <a:pt x="104" y="740"/>
                    </a:lnTo>
                    <a:lnTo>
                      <a:pt x="106" y="740"/>
                    </a:lnTo>
                    <a:lnTo>
                      <a:pt x="106" y="740"/>
                    </a:lnTo>
                    <a:lnTo>
                      <a:pt x="106" y="740"/>
                    </a:lnTo>
                    <a:lnTo>
                      <a:pt x="106" y="742"/>
                    </a:lnTo>
                    <a:lnTo>
                      <a:pt x="106" y="742"/>
                    </a:lnTo>
                    <a:lnTo>
                      <a:pt x="108" y="743"/>
                    </a:lnTo>
                    <a:lnTo>
                      <a:pt x="108" y="743"/>
                    </a:lnTo>
                    <a:lnTo>
                      <a:pt x="108" y="745"/>
                    </a:lnTo>
                    <a:lnTo>
                      <a:pt x="108" y="745"/>
                    </a:lnTo>
                    <a:lnTo>
                      <a:pt x="110" y="745"/>
                    </a:lnTo>
                    <a:lnTo>
                      <a:pt x="110" y="747"/>
                    </a:lnTo>
                    <a:lnTo>
                      <a:pt x="112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7"/>
                    </a:lnTo>
                    <a:lnTo>
                      <a:pt x="114" y="749"/>
                    </a:lnTo>
                    <a:lnTo>
                      <a:pt x="114" y="749"/>
                    </a:lnTo>
                    <a:lnTo>
                      <a:pt x="114" y="749"/>
                    </a:lnTo>
                    <a:lnTo>
                      <a:pt x="114" y="751"/>
                    </a:lnTo>
                    <a:lnTo>
                      <a:pt x="116" y="751"/>
                    </a:lnTo>
                    <a:lnTo>
                      <a:pt x="116" y="751"/>
                    </a:lnTo>
                    <a:lnTo>
                      <a:pt x="116" y="751"/>
                    </a:lnTo>
                    <a:lnTo>
                      <a:pt x="118" y="751"/>
                    </a:lnTo>
                    <a:lnTo>
                      <a:pt x="118" y="749"/>
                    </a:lnTo>
                    <a:lnTo>
                      <a:pt x="120" y="749"/>
                    </a:lnTo>
                    <a:lnTo>
                      <a:pt x="122" y="749"/>
                    </a:lnTo>
                    <a:lnTo>
                      <a:pt x="122" y="749"/>
                    </a:lnTo>
                    <a:lnTo>
                      <a:pt x="125" y="751"/>
                    </a:lnTo>
                    <a:lnTo>
                      <a:pt x="125" y="751"/>
                    </a:lnTo>
                    <a:lnTo>
                      <a:pt x="125" y="751"/>
                    </a:lnTo>
                    <a:lnTo>
                      <a:pt x="125" y="753"/>
                    </a:lnTo>
                    <a:lnTo>
                      <a:pt x="125" y="753"/>
                    </a:lnTo>
                    <a:lnTo>
                      <a:pt x="125" y="755"/>
                    </a:lnTo>
                    <a:lnTo>
                      <a:pt x="125" y="755"/>
                    </a:lnTo>
                    <a:lnTo>
                      <a:pt x="125" y="757"/>
                    </a:lnTo>
                    <a:lnTo>
                      <a:pt x="125" y="757"/>
                    </a:lnTo>
                    <a:lnTo>
                      <a:pt x="127" y="759"/>
                    </a:lnTo>
                    <a:lnTo>
                      <a:pt x="127" y="759"/>
                    </a:lnTo>
                    <a:lnTo>
                      <a:pt x="129" y="759"/>
                    </a:lnTo>
                    <a:lnTo>
                      <a:pt x="129" y="759"/>
                    </a:lnTo>
                    <a:lnTo>
                      <a:pt x="131" y="757"/>
                    </a:lnTo>
                    <a:lnTo>
                      <a:pt x="131" y="759"/>
                    </a:lnTo>
                    <a:lnTo>
                      <a:pt x="133" y="759"/>
                    </a:lnTo>
                    <a:lnTo>
                      <a:pt x="135" y="761"/>
                    </a:lnTo>
                    <a:lnTo>
                      <a:pt x="135" y="762"/>
                    </a:lnTo>
                    <a:lnTo>
                      <a:pt x="137" y="762"/>
                    </a:lnTo>
                    <a:lnTo>
                      <a:pt x="137" y="762"/>
                    </a:lnTo>
                    <a:lnTo>
                      <a:pt x="139" y="762"/>
                    </a:lnTo>
                    <a:lnTo>
                      <a:pt x="139" y="762"/>
                    </a:lnTo>
                    <a:lnTo>
                      <a:pt x="139" y="761"/>
                    </a:lnTo>
                    <a:lnTo>
                      <a:pt x="141" y="761"/>
                    </a:lnTo>
                    <a:lnTo>
                      <a:pt x="143" y="761"/>
                    </a:lnTo>
                    <a:lnTo>
                      <a:pt x="148" y="762"/>
                    </a:lnTo>
                    <a:lnTo>
                      <a:pt x="146" y="764"/>
                    </a:lnTo>
                    <a:lnTo>
                      <a:pt x="145" y="766"/>
                    </a:lnTo>
                    <a:lnTo>
                      <a:pt x="145" y="768"/>
                    </a:lnTo>
                    <a:lnTo>
                      <a:pt x="145" y="770"/>
                    </a:lnTo>
                    <a:lnTo>
                      <a:pt x="145" y="770"/>
                    </a:lnTo>
                    <a:lnTo>
                      <a:pt x="146" y="772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48" y="774"/>
                    </a:lnTo>
                    <a:lnTo>
                      <a:pt x="150" y="776"/>
                    </a:lnTo>
                    <a:lnTo>
                      <a:pt x="150" y="776"/>
                    </a:lnTo>
                    <a:lnTo>
                      <a:pt x="152" y="778"/>
                    </a:lnTo>
                    <a:lnTo>
                      <a:pt x="152" y="778"/>
                    </a:lnTo>
                    <a:lnTo>
                      <a:pt x="152" y="778"/>
                    </a:lnTo>
                    <a:lnTo>
                      <a:pt x="152" y="780"/>
                    </a:lnTo>
                    <a:lnTo>
                      <a:pt x="152" y="780"/>
                    </a:lnTo>
                    <a:lnTo>
                      <a:pt x="154" y="780"/>
                    </a:lnTo>
                    <a:lnTo>
                      <a:pt x="158" y="778"/>
                    </a:lnTo>
                    <a:lnTo>
                      <a:pt x="158" y="778"/>
                    </a:lnTo>
                    <a:lnTo>
                      <a:pt x="160" y="778"/>
                    </a:lnTo>
                    <a:lnTo>
                      <a:pt x="160" y="778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0"/>
                    </a:lnTo>
                    <a:lnTo>
                      <a:pt x="160" y="782"/>
                    </a:lnTo>
                    <a:lnTo>
                      <a:pt x="158" y="782"/>
                    </a:lnTo>
                    <a:lnTo>
                      <a:pt x="156" y="783"/>
                    </a:lnTo>
                    <a:lnTo>
                      <a:pt x="156" y="783"/>
                    </a:lnTo>
                    <a:lnTo>
                      <a:pt x="156" y="785"/>
                    </a:lnTo>
                    <a:lnTo>
                      <a:pt x="156" y="787"/>
                    </a:lnTo>
                    <a:lnTo>
                      <a:pt x="156" y="787"/>
                    </a:lnTo>
                    <a:lnTo>
                      <a:pt x="156" y="789"/>
                    </a:lnTo>
                    <a:lnTo>
                      <a:pt x="158" y="791"/>
                    </a:lnTo>
                    <a:lnTo>
                      <a:pt x="160" y="793"/>
                    </a:lnTo>
                    <a:lnTo>
                      <a:pt x="160" y="795"/>
                    </a:lnTo>
                    <a:lnTo>
                      <a:pt x="162" y="799"/>
                    </a:lnTo>
                    <a:lnTo>
                      <a:pt x="162" y="801"/>
                    </a:lnTo>
                    <a:lnTo>
                      <a:pt x="162" y="801"/>
                    </a:lnTo>
                    <a:lnTo>
                      <a:pt x="164" y="801"/>
                    </a:lnTo>
                    <a:lnTo>
                      <a:pt x="164" y="802"/>
                    </a:lnTo>
                    <a:lnTo>
                      <a:pt x="164" y="802"/>
                    </a:lnTo>
                    <a:lnTo>
                      <a:pt x="166" y="801"/>
                    </a:lnTo>
                    <a:lnTo>
                      <a:pt x="166" y="801"/>
                    </a:lnTo>
                    <a:lnTo>
                      <a:pt x="167" y="802"/>
                    </a:lnTo>
                    <a:lnTo>
                      <a:pt x="169" y="802"/>
                    </a:lnTo>
                    <a:lnTo>
                      <a:pt x="181" y="818"/>
                    </a:lnTo>
                    <a:lnTo>
                      <a:pt x="183" y="820"/>
                    </a:lnTo>
                    <a:lnTo>
                      <a:pt x="186" y="820"/>
                    </a:lnTo>
                    <a:lnTo>
                      <a:pt x="188" y="821"/>
                    </a:lnTo>
                    <a:lnTo>
                      <a:pt x="190" y="821"/>
                    </a:lnTo>
                    <a:lnTo>
                      <a:pt x="190" y="823"/>
                    </a:lnTo>
                    <a:lnTo>
                      <a:pt x="190" y="823"/>
                    </a:lnTo>
                    <a:lnTo>
                      <a:pt x="192" y="825"/>
                    </a:lnTo>
                    <a:lnTo>
                      <a:pt x="192" y="825"/>
                    </a:lnTo>
                    <a:lnTo>
                      <a:pt x="192" y="825"/>
                    </a:lnTo>
                    <a:lnTo>
                      <a:pt x="194" y="825"/>
                    </a:lnTo>
                    <a:lnTo>
                      <a:pt x="196" y="825"/>
                    </a:lnTo>
                    <a:lnTo>
                      <a:pt x="196" y="825"/>
                    </a:lnTo>
                    <a:lnTo>
                      <a:pt x="198" y="827"/>
                    </a:lnTo>
                    <a:lnTo>
                      <a:pt x="200" y="829"/>
                    </a:lnTo>
                    <a:lnTo>
                      <a:pt x="202" y="829"/>
                    </a:lnTo>
                    <a:lnTo>
                      <a:pt x="202" y="829"/>
                    </a:lnTo>
                    <a:lnTo>
                      <a:pt x="204" y="829"/>
                    </a:lnTo>
                    <a:lnTo>
                      <a:pt x="204" y="829"/>
                    </a:lnTo>
                    <a:lnTo>
                      <a:pt x="206" y="829"/>
                    </a:lnTo>
                    <a:lnTo>
                      <a:pt x="206" y="829"/>
                    </a:lnTo>
                    <a:lnTo>
                      <a:pt x="207" y="829"/>
                    </a:lnTo>
                    <a:lnTo>
                      <a:pt x="207" y="829"/>
                    </a:lnTo>
                    <a:lnTo>
                      <a:pt x="209" y="831"/>
                    </a:lnTo>
                    <a:lnTo>
                      <a:pt x="209" y="831"/>
                    </a:lnTo>
                    <a:lnTo>
                      <a:pt x="209" y="835"/>
                    </a:lnTo>
                    <a:lnTo>
                      <a:pt x="211" y="839"/>
                    </a:lnTo>
                    <a:lnTo>
                      <a:pt x="211" y="839"/>
                    </a:lnTo>
                    <a:lnTo>
                      <a:pt x="213" y="841"/>
                    </a:lnTo>
                    <a:lnTo>
                      <a:pt x="215" y="842"/>
                    </a:lnTo>
                    <a:lnTo>
                      <a:pt x="217" y="844"/>
                    </a:lnTo>
                    <a:lnTo>
                      <a:pt x="219" y="844"/>
                    </a:lnTo>
                    <a:lnTo>
                      <a:pt x="221" y="846"/>
                    </a:lnTo>
                    <a:lnTo>
                      <a:pt x="225" y="846"/>
                    </a:lnTo>
                    <a:lnTo>
                      <a:pt x="227" y="846"/>
                    </a:lnTo>
                    <a:lnTo>
                      <a:pt x="234" y="848"/>
                    </a:lnTo>
                    <a:lnTo>
                      <a:pt x="236" y="848"/>
                    </a:lnTo>
                    <a:lnTo>
                      <a:pt x="242" y="844"/>
                    </a:lnTo>
                    <a:lnTo>
                      <a:pt x="246" y="844"/>
                    </a:lnTo>
                    <a:lnTo>
                      <a:pt x="248" y="844"/>
                    </a:lnTo>
                    <a:lnTo>
                      <a:pt x="249" y="844"/>
                    </a:lnTo>
                    <a:lnTo>
                      <a:pt x="249" y="846"/>
                    </a:lnTo>
                    <a:lnTo>
                      <a:pt x="249" y="848"/>
                    </a:lnTo>
                    <a:lnTo>
                      <a:pt x="249" y="854"/>
                    </a:lnTo>
                    <a:lnTo>
                      <a:pt x="249" y="854"/>
                    </a:lnTo>
                    <a:lnTo>
                      <a:pt x="249" y="856"/>
                    </a:lnTo>
                    <a:lnTo>
                      <a:pt x="251" y="858"/>
                    </a:lnTo>
                    <a:lnTo>
                      <a:pt x="253" y="858"/>
                    </a:lnTo>
                    <a:lnTo>
                      <a:pt x="253" y="858"/>
                    </a:lnTo>
                    <a:lnTo>
                      <a:pt x="255" y="856"/>
                    </a:lnTo>
                    <a:lnTo>
                      <a:pt x="255" y="856"/>
                    </a:lnTo>
                    <a:lnTo>
                      <a:pt x="257" y="856"/>
                    </a:lnTo>
                    <a:lnTo>
                      <a:pt x="259" y="856"/>
                    </a:lnTo>
                    <a:lnTo>
                      <a:pt x="259" y="856"/>
                    </a:lnTo>
                    <a:lnTo>
                      <a:pt x="261" y="858"/>
                    </a:lnTo>
                    <a:lnTo>
                      <a:pt x="263" y="858"/>
                    </a:lnTo>
                    <a:lnTo>
                      <a:pt x="263" y="860"/>
                    </a:lnTo>
                    <a:lnTo>
                      <a:pt x="265" y="861"/>
                    </a:lnTo>
                    <a:lnTo>
                      <a:pt x="265" y="863"/>
                    </a:lnTo>
                    <a:lnTo>
                      <a:pt x="265" y="863"/>
                    </a:lnTo>
                    <a:lnTo>
                      <a:pt x="267" y="863"/>
                    </a:lnTo>
                    <a:lnTo>
                      <a:pt x="267" y="863"/>
                    </a:lnTo>
                    <a:lnTo>
                      <a:pt x="268" y="863"/>
                    </a:lnTo>
                    <a:lnTo>
                      <a:pt x="268" y="863"/>
                    </a:lnTo>
                    <a:lnTo>
                      <a:pt x="270" y="863"/>
                    </a:lnTo>
                    <a:lnTo>
                      <a:pt x="270" y="863"/>
                    </a:lnTo>
                    <a:lnTo>
                      <a:pt x="272" y="865"/>
                    </a:lnTo>
                    <a:lnTo>
                      <a:pt x="274" y="869"/>
                    </a:lnTo>
                    <a:lnTo>
                      <a:pt x="276" y="871"/>
                    </a:lnTo>
                    <a:lnTo>
                      <a:pt x="278" y="871"/>
                    </a:lnTo>
                    <a:lnTo>
                      <a:pt x="278" y="871"/>
                    </a:lnTo>
                    <a:lnTo>
                      <a:pt x="282" y="871"/>
                    </a:lnTo>
                    <a:lnTo>
                      <a:pt x="282" y="871"/>
                    </a:lnTo>
                    <a:lnTo>
                      <a:pt x="284" y="871"/>
                    </a:lnTo>
                    <a:lnTo>
                      <a:pt x="284" y="871"/>
                    </a:lnTo>
                    <a:lnTo>
                      <a:pt x="286" y="871"/>
                    </a:lnTo>
                    <a:lnTo>
                      <a:pt x="288" y="871"/>
                    </a:lnTo>
                    <a:lnTo>
                      <a:pt x="288" y="871"/>
                    </a:lnTo>
                    <a:lnTo>
                      <a:pt x="288" y="873"/>
                    </a:lnTo>
                    <a:lnTo>
                      <a:pt x="289" y="875"/>
                    </a:lnTo>
                    <a:lnTo>
                      <a:pt x="289" y="877"/>
                    </a:lnTo>
                    <a:lnTo>
                      <a:pt x="289" y="879"/>
                    </a:lnTo>
                    <a:lnTo>
                      <a:pt x="291" y="882"/>
                    </a:lnTo>
                    <a:lnTo>
                      <a:pt x="291" y="880"/>
                    </a:lnTo>
                    <a:lnTo>
                      <a:pt x="291" y="879"/>
                    </a:lnTo>
                    <a:lnTo>
                      <a:pt x="293" y="879"/>
                    </a:lnTo>
                    <a:lnTo>
                      <a:pt x="293" y="877"/>
                    </a:lnTo>
                    <a:lnTo>
                      <a:pt x="295" y="877"/>
                    </a:lnTo>
                    <a:lnTo>
                      <a:pt x="297" y="875"/>
                    </a:lnTo>
                    <a:lnTo>
                      <a:pt x="299" y="875"/>
                    </a:lnTo>
                    <a:lnTo>
                      <a:pt x="303" y="875"/>
                    </a:lnTo>
                    <a:lnTo>
                      <a:pt x="305" y="877"/>
                    </a:lnTo>
                    <a:lnTo>
                      <a:pt x="307" y="879"/>
                    </a:lnTo>
                    <a:lnTo>
                      <a:pt x="309" y="879"/>
                    </a:lnTo>
                    <a:lnTo>
                      <a:pt x="307" y="882"/>
                    </a:lnTo>
                    <a:lnTo>
                      <a:pt x="307" y="882"/>
                    </a:lnTo>
                    <a:lnTo>
                      <a:pt x="309" y="884"/>
                    </a:lnTo>
                    <a:lnTo>
                      <a:pt x="309" y="884"/>
                    </a:lnTo>
                    <a:lnTo>
                      <a:pt x="310" y="886"/>
                    </a:lnTo>
                    <a:lnTo>
                      <a:pt x="312" y="886"/>
                    </a:lnTo>
                    <a:lnTo>
                      <a:pt x="314" y="886"/>
                    </a:lnTo>
                    <a:lnTo>
                      <a:pt x="333" y="884"/>
                    </a:lnTo>
                    <a:lnTo>
                      <a:pt x="335" y="884"/>
                    </a:lnTo>
                    <a:lnTo>
                      <a:pt x="341" y="886"/>
                    </a:lnTo>
                    <a:lnTo>
                      <a:pt x="343" y="886"/>
                    </a:lnTo>
                    <a:lnTo>
                      <a:pt x="343" y="884"/>
                    </a:lnTo>
                    <a:lnTo>
                      <a:pt x="345" y="877"/>
                    </a:lnTo>
                    <a:lnTo>
                      <a:pt x="349" y="871"/>
                    </a:lnTo>
                    <a:lnTo>
                      <a:pt x="352" y="865"/>
                    </a:lnTo>
                    <a:lnTo>
                      <a:pt x="354" y="863"/>
                    </a:lnTo>
                    <a:lnTo>
                      <a:pt x="356" y="863"/>
                    </a:lnTo>
                    <a:lnTo>
                      <a:pt x="358" y="863"/>
                    </a:lnTo>
                    <a:lnTo>
                      <a:pt x="360" y="863"/>
                    </a:lnTo>
                    <a:lnTo>
                      <a:pt x="362" y="861"/>
                    </a:lnTo>
                    <a:lnTo>
                      <a:pt x="364" y="861"/>
                    </a:lnTo>
                    <a:lnTo>
                      <a:pt x="366" y="861"/>
                    </a:lnTo>
                    <a:lnTo>
                      <a:pt x="368" y="863"/>
                    </a:lnTo>
                    <a:lnTo>
                      <a:pt x="375" y="871"/>
                    </a:lnTo>
                    <a:lnTo>
                      <a:pt x="377" y="871"/>
                    </a:lnTo>
                    <a:lnTo>
                      <a:pt x="377" y="871"/>
                    </a:lnTo>
                    <a:lnTo>
                      <a:pt x="379" y="869"/>
                    </a:lnTo>
                    <a:lnTo>
                      <a:pt x="379" y="867"/>
                    </a:lnTo>
                    <a:lnTo>
                      <a:pt x="379" y="865"/>
                    </a:lnTo>
                    <a:lnTo>
                      <a:pt x="381" y="865"/>
                    </a:lnTo>
                    <a:lnTo>
                      <a:pt x="383" y="865"/>
                    </a:lnTo>
                    <a:lnTo>
                      <a:pt x="387" y="863"/>
                    </a:lnTo>
                    <a:lnTo>
                      <a:pt x="392" y="863"/>
                    </a:lnTo>
                    <a:lnTo>
                      <a:pt x="394" y="863"/>
                    </a:lnTo>
                    <a:lnTo>
                      <a:pt x="396" y="863"/>
                    </a:lnTo>
                    <a:lnTo>
                      <a:pt x="396" y="861"/>
                    </a:lnTo>
                    <a:lnTo>
                      <a:pt x="398" y="863"/>
                    </a:lnTo>
                    <a:lnTo>
                      <a:pt x="400" y="863"/>
                    </a:lnTo>
                    <a:lnTo>
                      <a:pt x="402" y="863"/>
                    </a:lnTo>
                    <a:lnTo>
                      <a:pt x="402" y="863"/>
                    </a:lnTo>
                    <a:lnTo>
                      <a:pt x="406" y="865"/>
                    </a:lnTo>
                    <a:lnTo>
                      <a:pt x="408" y="867"/>
                    </a:lnTo>
                    <a:lnTo>
                      <a:pt x="410" y="867"/>
                    </a:lnTo>
                    <a:lnTo>
                      <a:pt x="412" y="865"/>
                    </a:lnTo>
                    <a:lnTo>
                      <a:pt x="415" y="865"/>
                    </a:lnTo>
                    <a:lnTo>
                      <a:pt x="417" y="865"/>
                    </a:lnTo>
                    <a:lnTo>
                      <a:pt x="419" y="863"/>
                    </a:lnTo>
                    <a:lnTo>
                      <a:pt x="419" y="861"/>
                    </a:lnTo>
                    <a:lnTo>
                      <a:pt x="423" y="854"/>
                    </a:lnTo>
                    <a:lnTo>
                      <a:pt x="423" y="852"/>
                    </a:lnTo>
                    <a:lnTo>
                      <a:pt x="425" y="850"/>
                    </a:lnTo>
                    <a:lnTo>
                      <a:pt x="425" y="848"/>
                    </a:lnTo>
                    <a:lnTo>
                      <a:pt x="429" y="848"/>
                    </a:lnTo>
                    <a:lnTo>
                      <a:pt x="429" y="846"/>
                    </a:lnTo>
                    <a:lnTo>
                      <a:pt x="442" y="846"/>
                    </a:lnTo>
                    <a:lnTo>
                      <a:pt x="446" y="844"/>
                    </a:lnTo>
                    <a:lnTo>
                      <a:pt x="446" y="844"/>
                    </a:lnTo>
                    <a:lnTo>
                      <a:pt x="448" y="844"/>
                    </a:lnTo>
                    <a:lnTo>
                      <a:pt x="448" y="842"/>
                    </a:lnTo>
                    <a:lnTo>
                      <a:pt x="450" y="839"/>
                    </a:lnTo>
                    <a:lnTo>
                      <a:pt x="453" y="835"/>
                    </a:lnTo>
                    <a:lnTo>
                      <a:pt x="455" y="831"/>
                    </a:lnTo>
                    <a:lnTo>
                      <a:pt x="457" y="831"/>
                    </a:lnTo>
                    <a:lnTo>
                      <a:pt x="457" y="829"/>
                    </a:lnTo>
                    <a:lnTo>
                      <a:pt x="459" y="829"/>
                    </a:lnTo>
                    <a:lnTo>
                      <a:pt x="459" y="827"/>
                    </a:lnTo>
                    <a:lnTo>
                      <a:pt x="459" y="827"/>
                    </a:lnTo>
                    <a:lnTo>
                      <a:pt x="459" y="827"/>
                    </a:lnTo>
                    <a:lnTo>
                      <a:pt x="461" y="827"/>
                    </a:lnTo>
                    <a:lnTo>
                      <a:pt x="461" y="825"/>
                    </a:lnTo>
                    <a:lnTo>
                      <a:pt x="461" y="825"/>
                    </a:lnTo>
                    <a:lnTo>
                      <a:pt x="461" y="823"/>
                    </a:lnTo>
                    <a:lnTo>
                      <a:pt x="461" y="823"/>
                    </a:lnTo>
                    <a:lnTo>
                      <a:pt x="461" y="821"/>
                    </a:lnTo>
                    <a:lnTo>
                      <a:pt x="457" y="816"/>
                    </a:lnTo>
                    <a:lnTo>
                      <a:pt x="455" y="816"/>
                    </a:lnTo>
                    <a:lnTo>
                      <a:pt x="455" y="816"/>
                    </a:lnTo>
                    <a:lnTo>
                      <a:pt x="452" y="814"/>
                    </a:lnTo>
                    <a:lnTo>
                      <a:pt x="448" y="812"/>
                    </a:lnTo>
                    <a:lnTo>
                      <a:pt x="427" y="812"/>
                    </a:lnTo>
                    <a:lnTo>
                      <a:pt x="425" y="812"/>
                    </a:lnTo>
                    <a:lnTo>
                      <a:pt x="425" y="812"/>
                    </a:lnTo>
                    <a:lnTo>
                      <a:pt x="425" y="810"/>
                    </a:lnTo>
                    <a:lnTo>
                      <a:pt x="425" y="808"/>
                    </a:lnTo>
                    <a:lnTo>
                      <a:pt x="423" y="806"/>
                    </a:lnTo>
                    <a:lnTo>
                      <a:pt x="423" y="806"/>
                    </a:lnTo>
                    <a:lnTo>
                      <a:pt x="423" y="804"/>
                    </a:lnTo>
                    <a:lnTo>
                      <a:pt x="423" y="804"/>
                    </a:lnTo>
                    <a:lnTo>
                      <a:pt x="425" y="802"/>
                    </a:lnTo>
                    <a:lnTo>
                      <a:pt x="425" y="802"/>
                    </a:lnTo>
                    <a:lnTo>
                      <a:pt x="431" y="799"/>
                    </a:lnTo>
                    <a:lnTo>
                      <a:pt x="434" y="795"/>
                    </a:lnTo>
                    <a:lnTo>
                      <a:pt x="436" y="793"/>
                    </a:lnTo>
                    <a:lnTo>
                      <a:pt x="438" y="791"/>
                    </a:lnTo>
                    <a:lnTo>
                      <a:pt x="440" y="789"/>
                    </a:lnTo>
                    <a:lnTo>
                      <a:pt x="440" y="787"/>
                    </a:lnTo>
                    <a:lnTo>
                      <a:pt x="442" y="780"/>
                    </a:lnTo>
                    <a:lnTo>
                      <a:pt x="442" y="778"/>
                    </a:lnTo>
                    <a:lnTo>
                      <a:pt x="442" y="776"/>
                    </a:lnTo>
                    <a:lnTo>
                      <a:pt x="440" y="776"/>
                    </a:lnTo>
                    <a:lnTo>
                      <a:pt x="440" y="776"/>
                    </a:lnTo>
                    <a:lnTo>
                      <a:pt x="438" y="776"/>
                    </a:lnTo>
                    <a:lnTo>
                      <a:pt x="438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6"/>
                    </a:lnTo>
                    <a:lnTo>
                      <a:pt x="436" y="772"/>
                    </a:lnTo>
                    <a:lnTo>
                      <a:pt x="436" y="772"/>
                    </a:lnTo>
                    <a:lnTo>
                      <a:pt x="436" y="770"/>
                    </a:lnTo>
                    <a:lnTo>
                      <a:pt x="436" y="768"/>
                    </a:lnTo>
                    <a:lnTo>
                      <a:pt x="436" y="766"/>
                    </a:lnTo>
                    <a:lnTo>
                      <a:pt x="436" y="764"/>
                    </a:lnTo>
                    <a:lnTo>
                      <a:pt x="438" y="759"/>
                    </a:lnTo>
                    <a:lnTo>
                      <a:pt x="440" y="753"/>
                    </a:lnTo>
                    <a:lnTo>
                      <a:pt x="444" y="751"/>
                    </a:lnTo>
                    <a:lnTo>
                      <a:pt x="444" y="751"/>
                    </a:lnTo>
                    <a:lnTo>
                      <a:pt x="446" y="751"/>
                    </a:lnTo>
                    <a:lnTo>
                      <a:pt x="448" y="753"/>
                    </a:lnTo>
                    <a:lnTo>
                      <a:pt x="450" y="753"/>
                    </a:lnTo>
                    <a:lnTo>
                      <a:pt x="452" y="753"/>
                    </a:lnTo>
                    <a:lnTo>
                      <a:pt x="452" y="751"/>
                    </a:lnTo>
                    <a:lnTo>
                      <a:pt x="457" y="749"/>
                    </a:lnTo>
                    <a:lnTo>
                      <a:pt x="459" y="747"/>
                    </a:lnTo>
                    <a:lnTo>
                      <a:pt x="459" y="747"/>
                    </a:lnTo>
                    <a:lnTo>
                      <a:pt x="461" y="747"/>
                    </a:lnTo>
                    <a:lnTo>
                      <a:pt x="461" y="745"/>
                    </a:lnTo>
                    <a:lnTo>
                      <a:pt x="459" y="745"/>
                    </a:lnTo>
                    <a:lnTo>
                      <a:pt x="459" y="743"/>
                    </a:lnTo>
                    <a:lnTo>
                      <a:pt x="459" y="743"/>
                    </a:lnTo>
                    <a:lnTo>
                      <a:pt x="459" y="742"/>
                    </a:lnTo>
                    <a:lnTo>
                      <a:pt x="459" y="742"/>
                    </a:lnTo>
                    <a:lnTo>
                      <a:pt x="461" y="738"/>
                    </a:lnTo>
                    <a:lnTo>
                      <a:pt x="463" y="736"/>
                    </a:lnTo>
                    <a:lnTo>
                      <a:pt x="465" y="728"/>
                    </a:lnTo>
                    <a:lnTo>
                      <a:pt x="471" y="726"/>
                    </a:lnTo>
                    <a:lnTo>
                      <a:pt x="476" y="726"/>
                    </a:lnTo>
                    <a:lnTo>
                      <a:pt x="478" y="726"/>
                    </a:lnTo>
                    <a:lnTo>
                      <a:pt x="478" y="728"/>
                    </a:lnTo>
                    <a:lnTo>
                      <a:pt x="480" y="728"/>
                    </a:lnTo>
                    <a:lnTo>
                      <a:pt x="482" y="730"/>
                    </a:lnTo>
                    <a:lnTo>
                      <a:pt x="482" y="730"/>
                    </a:lnTo>
                    <a:lnTo>
                      <a:pt x="484" y="732"/>
                    </a:lnTo>
                    <a:lnTo>
                      <a:pt x="486" y="734"/>
                    </a:lnTo>
                    <a:lnTo>
                      <a:pt x="486" y="736"/>
                    </a:lnTo>
                    <a:lnTo>
                      <a:pt x="488" y="736"/>
                    </a:lnTo>
                    <a:lnTo>
                      <a:pt x="490" y="736"/>
                    </a:lnTo>
                    <a:lnTo>
                      <a:pt x="490" y="736"/>
                    </a:lnTo>
                    <a:lnTo>
                      <a:pt x="492" y="734"/>
                    </a:lnTo>
                    <a:lnTo>
                      <a:pt x="492" y="734"/>
                    </a:lnTo>
                    <a:lnTo>
                      <a:pt x="492" y="732"/>
                    </a:lnTo>
                    <a:lnTo>
                      <a:pt x="494" y="730"/>
                    </a:lnTo>
                    <a:lnTo>
                      <a:pt x="495" y="730"/>
                    </a:lnTo>
                    <a:lnTo>
                      <a:pt x="497" y="730"/>
                    </a:lnTo>
                    <a:lnTo>
                      <a:pt x="501" y="734"/>
                    </a:lnTo>
                    <a:lnTo>
                      <a:pt x="507" y="738"/>
                    </a:lnTo>
                    <a:lnTo>
                      <a:pt x="511" y="740"/>
                    </a:lnTo>
                    <a:lnTo>
                      <a:pt x="518" y="742"/>
                    </a:lnTo>
                    <a:lnTo>
                      <a:pt x="520" y="740"/>
                    </a:lnTo>
                    <a:lnTo>
                      <a:pt x="520" y="740"/>
                    </a:lnTo>
                    <a:lnTo>
                      <a:pt x="520" y="738"/>
                    </a:lnTo>
                    <a:lnTo>
                      <a:pt x="520" y="736"/>
                    </a:lnTo>
                    <a:lnTo>
                      <a:pt x="520" y="732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0" y="730"/>
                    </a:lnTo>
                    <a:lnTo>
                      <a:pt x="522" y="728"/>
                    </a:lnTo>
                    <a:lnTo>
                      <a:pt x="522" y="728"/>
                    </a:lnTo>
                    <a:lnTo>
                      <a:pt x="524" y="730"/>
                    </a:lnTo>
                    <a:lnTo>
                      <a:pt x="524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6" y="730"/>
                    </a:lnTo>
                    <a:lnTo>
                      <a:pt x="528" y="728"/>
                    </a:lnTo>
                    <a:lnTo>
                      <a:pt x="528" y="728"/>
                    </a:lnTo>
                    <a:lnTo>
                      <a:pt x="530" y="728"/>
                    </a:lnTo>
                    <a:lnTo>
                      <a:pt x="530" y="728"/>
                    </a:lnTo>
                    <a:lnTo>
                      <a:pt x="530" y="728"/>
                    </a:lnTo>
                    <a:lnTo>
                      <a:pt x="532" y="728"/>
                    </a:lnTo>
                    <a:lnTo>
                      <a:pt x="532" y="728"/>
                    </a:lnTo>
                    <a:lnTo>
                      <a:pt x="532" y="726"/>
                    </a:lnTo>
                    <a:lnTo>
                      <a:pt x="532" y="724"/>
                    </a:lnTo>
                    <a:lnTo>
                      <a:pt x="534" y="723"/>
                    </a:lnTo>
                    <a:lnTo>
                      <a:pt x="534" y="723"/>
                    </a:lnTo>
                    <a:lnTo>
                      <a:pt x="534" y="721"/>
                    </a:lnTo>
                    <a:lnTo>
                      <a:pt x="535" y="721"/>
                    </a:lnTo>
                    <a:lnTo>
                      <a:pt x="535" y="721"/>
                    </a:lnTo>
                    <a:lnTo>
                      <a:pt x="535" y="723"/>
                    </a:lnTo>
                    <a:lnTo>
                      <a:pt x="537" y="723"/>
                    </a:lnTo>
                    <a:lnTo>
                      <a:pt x="545" y="728"/>
                    </a:lnTo>
                    <a:lnTo>
                      <a:pt x="547" y="728"/>
                    </a:lnTo>
                    <a:lnTo>
                      <a:pt x="547" y="728"/>
                    </a:lnTo>
                    <a:lnTo>
                      <a:pt x="549" y="728"/>
                    </a:lnTo>
                    <a:lnTo>
                      <a:pt x="549" y="726"/>
                    </a:lnTo>
                    <a:lnTo>
                      <a:pt x="549" y="724"/>
                    </a:lnTo>
                    <a:lnTo>
                      <a:pt x="547" y="723"/>
                    </a:lnTo>
                    <a:lnTo>
                      <a:pt x="545" y="721"/>
                    </a:lnTo>
                    <a:lnTo>
                      <a:pt x="543" y="721"/>
                    </a:lnTo>
                    <a:lnTo>
                      <a:pt x="541" y="721"/>
                    </a:lnTo>
                    <a:lnTo>
                      <a:pt x="541" y="719"/>
                    </a:lnTo>
                    <a:lnTo>
                      <a:pt x="541" y="719"/>
                    </a:lnTo>
                    <a:lnTo>
                      <a:pt x="541" y="717"/>
                    </a:lnTo>
                    <a:lnTo>
                      <a:pt x="545" y="713"/>
                    </a:lnTo>
                    <a:lnTo>
                      <a:pt x="547" y="711"/>
                    </a:lnTo>
                    <a:lnTo>
                      <a:pt x="547" y="711"/>
                    </a:lnTo>
                    <a:lnTo>
                      <a:pt x="547" y="709"/>
                    </a:lnTo>
                    <a:lnTo>
                      <a:pt x="547" y="707"/>
                    </a:lnTo>
                    <a:lnTo>
                      <a:pt x="549" y="705"/>
                    </a:lnTo>
                    <a:lnTo>
                      <a:pt x="549" y="705"/>
                    </a:lnTo>
                    <a:lnTo>
                      <a:pt x="549" y="704"/>
                    </a:lnTo>
                    <a:lnTo>
                      <a:pt x="553" y="704"/>
                    </a:lnTo>
                    <a:lnTo>
                      <a:pt x="553" y="702"/>
                    </a:lnTo>
                    <a:lnTo>
                      <a:pt x="555" y="702"/>
                    </a:lnTo>
                    <a:lnTo>
                      <a:pt x="555" y="700"/>
                    </a:lnTo>
                    <a:lnTo>
                      <a:pt x="555" y="698"/>
                    </a:lnTo>
                    <a:lnTo>
                      <a:pt x="555" y="694"/>
                    </a:lnTo>
                    <a:lnTo>
                      <a:pt x="555" y="692"/>
                    </a:lnTo>
                    <a:lnTo>
                      <a:pt x="556" y="692"/>
                    </a:lnTo>
                    <a:lnTo>
                      <a:pt x="558" y="690"/>
                    </a:lnTo>
                    <a:lnTo>
                      <a:pt x="558" y="688"/>
                    </a:lnTo>
                    <a:lnTo>
                      <a:pt x="560" y="686"/>
                    </a:lnTo>
                    <a:lnTo>
                      <a:pt x="560" y="684"/>
                    </a:lnTo>
                    <a:lnTo>
                      <a:pt x="560" y="683"/>
                    </a:lnTo>
                    <a:lnTo>
                      <a:pt x="560" y="683"/>
                    </a:lnTo>
                    <a:lnTo>
                      <a:pt x="560" y="683"/>
                    </a:lnTo>
                    <a:lnTo>
                      <a:pt x="560" y="681"/>
                    </a:lnTo>
                    <a:lnTo>
                      <a:pt x="560" y="681"/>
                    </a:lnTo>
                    <a:lnTo>
                      <a:pt x="560" y="677"/>
                    </a:lnTo>
                    <a:lnTo>
                      <a:pt x="560" y="677"/>
                    </a:lnTo>
                    <a:lnTo>
                      <a:pt x="560" y="675"/>
                    </a:lnTo>
                    <a:close/>
                  </a:path>
                </a:pathLst>
              </a:custGeom>
              <a:grpFill/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i-I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3243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78309-5435-4DEF-9DC3-259DF3171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87BD1D-F093-42A4-B7D9-DC77D7D955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3A522123-3945-45C8-B90D-805454BAEF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62B78F05-08B0-4453-82CA-F7F4DC6146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051594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48FAD-7966-45F9-910D-A3FDE92ED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43477E0-0966-4B5D-9013-8594C745B2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7D8E9F-D0B1-4DB2-909A-D91393258B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7B99E8F-1DA6-4270-8DEC-51A01FF436CD}"/>
              </a:ext>
            </a:extLst>
          </p:cNvPr>
          <p:cNvSpPr/>
          <p:nvPr userDrawn="1"/>
        </p:nvSpPr>
        <p:spPr>
          <a:xfrm>
            <a:off x="521196" y="5409047"/>
            <a:ext cx="1057192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spc="300" dirty="0">
                <a:solidFill>
                  <a:schemeClr val="bg1"/>
                </a:solidFill>
              </a:rPr>
              <a:t>DO NOT USE </a:t>
            </a:r>
            <a:br>
              <a:rPr lang="en-US" sz="1800" spc="300" dirty="0">
                <a:solidFill>
                  <a:schemeClr val="bg1"/>
                </a:solidFill>
              </a:rPr>
            </a:br>
            <a:br>
              <a:rPr lang="en-US" sz="1800" spc="300" dirty="0">
                <a:solidFill>
                  <a:schemeClr val="bg1"/>
                </a:solidFill>
              </a:rPr>
            </a:br>
            <a:r>
              <a:rPr lang="en-US" sz="1800" spc="300" dirty="0">
                <a:solidFill>
                  <a:schemeClr val="bg1"/>
                </a:solidFill>
              </a:rPr>
              <a:t>ALL LAYOUTS PAST THIS ARE NOT PART OF THIS TEMPLAT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389680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here </a:t>
            </a: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 bwMode="gray">
          <a:xfrm>
            <a:off x="4165600" y="6567102"/>
            <a:ext cx="68072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COMPANY CONFIDENTIAL  |  FOR INTERNAL USE ONLY  |  DO NOT COPY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 bwMode="gray">
          <a:xfrm>
            <a:off x="11074400" y="6567102"/>
            <a:ext cx="50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2DCB2D-F3A1-47AC-A248-15826C4C808C}" type="slidenum">
              <a:rPr lang="en-US" sz="9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sz="9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68" y="6419404"/>
            <a:ext cx="2068033" cy="438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52459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Blue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1400" y="6472464"/>
            <a:ext cx="838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defRPr>
            </a:lvl1pPr>
          </a:lstStyle>
          <a:p>
            <a:fld id="{B39F3810-4318-4880-9D52-993D34A8444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6863993" y="6586980"/>
            <a:ext cx="4756507" cy="141812"/>
          </a:xfrm>
        </p:spPr>
        <p:txBody>
          <a:bodyPr lIns="0" rIns="0"/>
          <a:lstStyle>
            <a:lvl1pPr algn="r">
              <a:defRPr sz="9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OMPANY CONFIDENTIAL  |  FOR INTERNAL USE ONLY  |  DO NOT COPY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1542" y="6236593"/>
            <a:ext cx="1013975" cy="32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3870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56C67-0566-46EA-99CA-DFC60BB0A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8918E3-301F-4E1E-940A-74848AD8BE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B8C686-300A-4C0A-A9C2-2A566CE81D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9763" y="334702"/>
            <a:ext cx="2540000" cy="37306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ABA5C9A-28D5-450E-953C-A7428C90DF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407946"/>
            <a:ext cx="12192000" cy="2682875"/>
          </a:xfrm>
          <a:prstGeom prst="parallelogram">
            <a:avLst>
              <a:gd name="adj" fmla="val 42041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79BE8A1-6B66-4F94-B876-BA800A2DE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4075" y="4632325"/>
            <a:ext cx="10418763" cy="1347788"/>
          </a:xfrm>
        </p:spPr>
        <p:txBody>
          <a:bodyPr/>
          <a:lstStyle>
            <a:lvl1pPr mar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lvl1pPr>
            <a:lvl2pPr marL="457200" indent="0" algn="ctr">
              <a:buFont typeface="Arial" panose="020B0604020202020204" pitchFamily="34" charset="0"/>
              <a:buNone/>
              <a:defRPr/>
            </a:lvl2pPr>
            <a:lvl3pPr marL="914400" indent="0" algn="ctr">
              <a:buFont typeface="Arial" panose="020B0604020202020204" pitchFamily="34" charset="0"/>
              <a:buNone/>
              <a:defRPr/>
            </a:lvl3pPr>
            <a:lvl4pPr marL="1371600" indent="0" algn="ctr">
              <a:buFont typeface="Arial" panose="020B0604020202020204" pitchFamily="34" charset="0"/>
              <a:buNone/>
              <a:defRPr/>
            </a:lvl4pPr>
            <a:lvl5pPr marL="1828800" indent="0" algn="ctr">
              <a:buFont typeface="Arial" panose="020B0604020202020204" pitchFamily="34" charset="0"/>
              <a:buNone/>
              <a:defRPr/>
            </a:lvl5pPr>
          </a:lstStyle>
          <a:p>
            <a:pPr marL="0" lvl="0" indent="0" algn="ctr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endParaRPr lang="en-IN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1283B4-D186-4525-8CC4-36A4A7AF25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D8052AC-CE54-412B-810B-F6AE64E6CA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30034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9F22B9-ED37-44F4-B3EC-6E0BA04D532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5A98028-6D5A-40C4-AD2A-4D437B9CDAC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570538" cy="65087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618A05-7D2F-4B5D-A520-1BF7D0A5C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335960"/>
            <a:ext cx="3213517" cy="399403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3D6032-4889-4E33-950D-4964A47968C0}"/>
              </a:ext>
            </a:extLst>
          </p:cNvPr>
          <p:cNvSpPr/>
          <p:nvPr userDrawn="1"/>
        </p:nvSpPr>
        <p:spPr>
          <a:xfrm>
            <a:off x="6641432" y="132347"/>
            <a:ext cx="601579" cy="1034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4677D23-37EB-4C3B-88C8-1D669DFCDE7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84900" y="1793172"/>
            <a:ext cx="5570538" cy="3079606"/>
          </a:xfrm>
        </p:spPr>
        <p:txBody>
          <a:bodyPr/>
          <a:lstStyle>
            <a:lvl1pPr>
              <a:lnSpc>
                <a:spcPct val="150000"/>
              </a:lnSpc>
              <a:defRPr lang="en-IN" b="0" i="0" smtClean="0">
                <a:effectLst/>
              </a:defRPr>
            </a:lvl1pPr>
          </a:lstStyle>
          <a:p>
            <a:pPr lvl="0"/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orem ipsum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sit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m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onsecte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dipiscing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spendiss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fficitu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ll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convalli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just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ari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. Cras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mperdie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odale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mi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nte ipsum,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p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un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hendrer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.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ibero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dio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tia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orna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d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l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ifen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aucib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ellentesqu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ra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,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ignissi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,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uc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rcu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onec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vestibulum porta ligula i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lementum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raesen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rna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lore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Vivam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lectu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ex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blandi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suere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non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t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ipsum.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Mauris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uismod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porta </a:t>
            </a:r>
            <a:r>
              <a:rPr lang="en-IN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porttitor</a:t>
            </a:r>
            <a:r>
              <a:rPr lang="en-IN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.</a:t>
            </a:r>
            <a:endParaRPr lang="en-IN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2E8AB6E-DEF3-44C4-944F-BEAE03A5D5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DE67661-40FD-4C55-80BB-0F114F2B0F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916013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31E50-9EB7-4433-A416-737F3C1B1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429" y="217714"/>
            <a:ext cx="6222093" cy="617492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8E4841-3781-4F05-98CF-6F72B24FF9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73449" y="395854"/>
            <a:ext cx="2359902" cy="261211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0979B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42DF75-CD97-45C5-8811-F50667D87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t>‹#›</a:t>
            </a:fld>
            <a:endParaRPr lang="en-IN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96936A4-4E3D-4C7E-9FD3-A0F55696E5C3}"/>
              </a:ext>
            </a:extLst>
          </p:cNvPr>
          <p:cNvCxnSpPr/>
          <p:nvPr userDrawn="1"/>
        </p:nvCxnSpPr>
        <p:spPr>
          <a:xfrm>
            <a:off x="6807985" y="217714"/>
            <a:ext cx="0" cy="617492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8879F32-32FB-4E68-BA91-3BB62230CF91}"/>
              </a:ext>
            </a:extLst>
          </p:cNvPr>
          <p:cNvSpPr/>
          <p:nvPr userDrawn="1"/>
        </p:nvSpPr>
        <p:spPr>
          <a:xfrm>
            <a:off x="6642522" y="2879300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F78B1E6-2511-4819-9212-F4E0DD3E7CD2}"/>
              </a:ext>
            </a:extLst>
          </p:cNvPr>
          <p:cNvSpPr/>
          <p:nvPr userDrawn="1"/>
        </p:nvSpPr>
        <p:spPr>
          <a:xfrm>
            <a:off x="9015416" y="1344730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00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E628B574-4373-4E73-85A5-31B04E1B3557}"/>
              </a:ext>
            </a:extLst>
          </p:cNvPr>
          <p:cNvSpPr/>
          <p:nvPr userDrawn="1"/>
        </p:nvSpPr>
        <p:spPr>
          <a:xfrm>
            <a:off x="7729481" y="4413999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E337B47F-7C0A-4899-ADAF-062F2929E4E8}"/>
              </a:ext>
            </a:extLst>
          </p:cNvPr>
          <p:cNvSpPr/>
          <p:nvPr userDrawn="1"/>
        </p:nvSpPr>
        <p:spPr>
          <a:xfrm>
            <a:off x="5555563" y="1344730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4E881D5-ACAB-4FDF-B184-CCB62A6FC890}"/>
              </a:ext>
            </a:extLst>
          </p:cNvPr>
          <p:cNvSpPr/>
          <p:nvPr userDrawn="1"/>
        </p:nvSpPr>
        <p:spPr>
          <a:xfrm>
            <a:off x="4269627" y="4413999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00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FD8526EE-B11D-4F4B-8C0F-A2C251F77BA1}"/>
              </a:ext>
            </a:extLst>
          </p:cNvPr>
          <p:cNvSpPr/>
          <p:nvPr userDrawn="1"/>
        </p:nvSpPr>
        <p:spPr>
          <a:xfrm>
            <a:off x="3182668" y="2879300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054718E2-1005-49A1-A63F-2882DB0BE8CF}"/>
              </a:ext>
            </a:extLst>
          </p:cNvPr>
          <p:cNvSpPr/>
          <p:nvPr userDrawn="1"/>
        </p:nvSpPr>
        <p:spPr>
          <a:xfrm>
            <a:off x="809774" y="4413999"/>
            <a:ext cx="2372895" cy="1534699"/>
          </a:xfrm>
          <a:prstGeom prst="parallelogram">
            <a:avLst>
              <a:gd name="adj" fmla="val 42022"/>
            </a:avLst>
          </a:prstGeom>
          <a:solidFill>
            <a:srgbClr val="06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D51979D-2320-42EB-8118-06A5A13826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7818" y="5242559"/>
            <a:ext cx="1358900" cy="435429"/>
          </a:xfrm>
        </p:spPr>
        <p:txBody>
          <a:bodyPr>
            <a:noAutofit/>
          </a:bodyPr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 b="0">
                <a:solidFill>
                  <a:schemeClr val="bg1"/>
                </a:solidFill>
              </a:defRPr>
            </a:lvl2pPr>
            <a:lvl3pPr marL="914400" indent="0" algn="r">
              <a:buNone/>
              <a:defRPr sz="1050" b="1">
                <a:solidFill>
                  <a:schemeClr val="bg1"/>
                </a:solidFill>
              </a:defRPr>
            </a:lvl3pPr>
            <a:lvl4pPr marL="1371600" indent="0" algn="r">
              <a:buNone/>
              <a:defRPr sz="1050" b="1">
                <a:solidFill>
                  <a:schemeClr val="bg1"/>
                </a:solidFill>
              </a:defRPr>
            </a:lvl4pPr>
            <a:lvl5pPr marL="1828800" indent="0" algn="r">
              <a:buNone/>
              <a:defRPr sz="105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F2CA3A5-C1D2-4676-9BCE-483B3A1C6C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90177" y="3744051"/>
            <a:ext cx="1358900" cy="436563"/>
          </a:xfrm>
        </p:spPr>
        <p:txBody>
          <a:bodyPr/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>
                <a:solidFill>
                  <a:schemeClr val="bg1"/>
                </a:solidFill>
              </a:defRPr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4A5ABB9-E8F0-4FAF-A807-A53D500E78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63072" y="2191635"/>
            <a:ext cx="1358900" cy="436563"/>
          </a:xfrm>
        </p:spPr>
        <p:txBody>
          <a:bodyPr/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>
                <a:solidFill>
                  <a:schemeClr val="bg1"/>
                </a:solidFill>
              </a:defRPr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375BC81-AC37-4539-BF64-0CBD13AD40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7019" y="5241425"/>
            <a:ext cx="1422854" cy="436563"/>
          </a:xfrm>
        </p:spPr>
        <p:txBody>
          <a:bodyPr/>
          <a:lstStyle>
            <a:lvl1pPr marL="0" indent="0" algn="r">
              <a:buNone/>
              <a:defRPr b="1">
                <a:solidFill>
                  <a:schemeClr val="bg1"/>
                </a:solidFill>
              </a:defRPr>
            </a:lvl1pPr>
            <a:lvl2pPr marL="457200" indent="0" algn="r">
              <a:buNone/>
              <a:defRPr lang="en-US" sz="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r">
              <a:buNone/>
              <a:defRPr>
                <a:solidFill>
                  <a:schemeClr val="bg1"/>
                </a:solidFill>
              </a:defRPr>
            </a:lvl3pPr>
            <a:lvl4pPr marL="1371600" indent="0" algn="r">
              <a:buNone/>
              <a:defRPr>
                <a:solidFill>
                  <a:schemeClr val="bg1"/>
                </a:solidFill>
              </a:defRPr>
            </a:lvl4pPr>
            <a:lvl5pPr marL="1828800" indent="0" algn="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</a:p>
          <a:p>
            <a:pPr marL="457200" lvl="1" indent="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A011959-F9FF-47F3-90A1-63DD10BCA6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7273" y="5241425"/>
            <a:ext cx="1423987" cy="437063"/>
          </a:xfrm>
        </p:spPr>
        <p:txBody>
          <a:bodyPr/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>
                <a:solidFill>
                  <a:schemeClr val="bg1"/>
                </a:solidFill>
              </a:defRPr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94627FE-9FD0-418E-8F91-AE33453C36C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62651" y="3706726"/>
            <a:ext cx="1378823" cy="437063"/>
          </a:xfrm>
        </p:spPr>
        <p:txBody>
          <a:bodyPr/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4D1C18CF-F19D-452E-803A-B05413EB6B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74656" y="2190371"/>
            <a:ext cx="1423988" cy="436563"/>
          </a:xfrm>
        </p:spPr>
        <p:txBody>
          <a:bodyPr/>
          <a:lstStyle>
            <a:lvl1pPr marL="0" indent="0" algn="r">
              <a:buNone/>
              <a:defRPr sz="1050" b="1">
                <a:solidFill>
                  <a:schemeClr val="bg1"/>
                </a:solidFill>
              </a:defRPr>
            </a:lvl1pPr>
            <a:lvl2pPr marL="457200" indent="0" algn="r">
              <a:buNone/>
              <a:defRPr sz="800">
                <a:solidFill>
                  <a:schemeClr val="bg1"/>
                </a:solidFill>
              </a:defRPr>
            </a:lvl2pPr>
            <a:lvl3pPr marL="914400" indent="0" algn="r">
              <a:buNone/>
              <a:defRPr>
                <a:solidFill>
                  <a:schemeClr val="bg1"/>
                </a:solidFill>
              </a:defRPr>
            </a:lvl3pPr>
            <a:lvl4pPr marL="1371600" indent="0" algn="r">
              <a:buNone/>
              <a:defRPr>
                <a:solidFill>
                  <a:schemeClr val="bg1"/>
                </a:solidFill>
              </a:defRPr>
            </a:lvl4pPr>
            <a:lvl5pPr marL="1828800" indent="0" algn="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8527C31-B82A-496F-B5A0-AD6C0DB45E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F25882E2-B81F-4A37-A735-BA7147B9A4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90510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F0583-1320-4247-A6D3-38AF838A8E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am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686E83-3733-4054-81E9-831D871CB8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BC246DA-CE35-4D18-AC87-195F6ECA29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0174" y="357255"/>
            <a:ext cx="2601026" cy="2843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F2DA44B4-E9CE-4F54-BAF4-23FA2AB6D871}"/>
              </a:ext>
            </a:extLst>
          </p:cNvPr>
          <p:cNvSpPr/>
          <p:nvPr userDrawn="1"/>
        </p:nvSpPr>
        <p:spPr>
          <a:xfrm>
            <a:off x="2210518" y="1885203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485AB8E6-59E3-44D2-AA07-4D9DC48AE261}"/>
              </a:ext>
            </a:extLst>
          </p:cNvPr>
          <p:cNvSpPr/>
          <p:nvPr userDrawn="1"/>
        </p:nvSpPr>
        <p:spPr>
          <a:xfrm>
            <a:off x="774072" y="1885202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983A5A29-8F01-47BE-ABC5-6951FFCD9183}"/>
              </a:ext>
            </a:extLst>
          </p:cNvPr>
          <p:cNvSpPr/>
          <p:nvPr userDrawn="1"/>
        </p:nvSpPr>
        <p:spPr>
          <a:xfrm>
            <a:off x="2210518" y="3273534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31C600A-4727-4A01-A54B-D2A79516618E}"/>
              </a:ext>
            </a:extLst>
          </p:cNvPr>
          <p:cNvSpPr/>
          <p:nvPr userDrawn="1"/>
        </p:nvSpPr>
        <p:spPr>
          <a:xfrm>
            <a:off x="774072" y="32735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7B7D9E5F-85C3-4615-B55E-4DB5E1DD6D9D}"/>
              </a:ext>
            </a:extLst>
          </p:cNvPr>
          <p:cNvSpPr/>
          <p:nvPr userDrawn="1"/>
        </p:nvSpPr>
        <p:spPr>
          <a:xfrm>
            <a:off x="2018015" y="4695394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CCF8EB60-054B-46E1-895E-DEB6E9849080}"/>
              </a:ext>
            </a:extLst>
          </p:cNvPr>
          <p:cNvSpPr/>
          <p:nvPr userDrawn="1"/>
        </p:nvSpPr>
        <p:spPr>
          <a:xfrm>
            <a:off x="774072" y="46451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C8F742F3-159A-46EF-BF46-7B649CADF042}"/>
              </a:ext>
            </a:extLst>
          </p:cNvPr>
          <p:cNvSpPr/>
          <p:nvPr userDrawn="1"/>
        </p:nvSpPr>
        <p:spPr>
          <a:xfrm>
            <a:off x="7628698" y="1885203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96A0460-3C31-458E-A8E5-444C0D9FA19C}"/>
              </a:ext>
            </a:extLst>
          </p:cNvPr>
          <p:cNvSpPr/>
          <p:nvPr userDrawn="1"/>
        </p:nvSpPr>
        <p:spPr>
          <a:xfrm>
            <a:off x="6192252" y="1885202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914304DF-1EA7-4494-824F-A376A78F0B0F}"/>
              </a:ext>
            </a:extLst>
          </p:cNvPr>
          <p:cNvSpPr/>
          <p:nvPr userDrawn="1"/>
        </p:nvSpPr>
        <p:spPr>
          <a:xfrm>
            <a:off x="7628698" y="3273534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AAE97F7C-267D-4276-AB3D-D9E6FE5F8985}"/>
              </a:ext>
            </a:extLst>
          </p:cNvPr>
          <p:cNvSpPr/>
          <p:nvPr userDrawn="1"/>
        </p:nvSpPr>
        <p:spPr>
          <a:xfrm>
            <a:off x="6192252" y="32735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0060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BDE11779-24E2-4427-A3E0-C4C00AB9A1EF}"/>
              </a:ext>
            </a:extLst>
          </p:cNvPr>
          <p:cNvSpPr/>
          <p:nvPr userDrawn="1"/>
        </p:nvSpPr>
        <p:spPr>
          <a:xfrm>
            <a:off x="7628698" y="4645134"/>
            <a:ext cx="3981734" cy="885959"/>
          </a:xfrm>
          <a:prstGeom prst="parallelogram">
            <a:avLst>
              <a:gd name="adj" fmla="val 4202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2A3F2417-9425-44CE-93E8-7F7BDBD91358}"/>
              </a:ext>
            </a:extLst>
          </p:cNvPr>
          <p:cNvSpPr/>
          <p:nvPr userDrawn="1"/>
        </p:nvSpPr>
        <p:spPr>
          <a:xfrm>
            <a:off x="6192252" y="46451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00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Parallelogram 17">
            <a:extLst>
              <a:ext uri="{FF2B5EF4-FFF2-40B4-BE49-F238E27FC236}">
                <a16:creationId xmlns:a16="http://schemas.microsoft.com/office/drawing/2014/main" id="{D0E6EE27-8ACA-4C87-AD21-ACBE8B9737F0}"/>
              </a:ext>
            </a:extLst>
          </p:cNvPr>
          <p:cNvSpPr/>
          <p:nvPr userDrawn="1"/>
        </p:nvSpPr>
        <p:spPr>
          <a:xfrm>
            <a:off x="786250" y="1885202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Parallelogram 18">
            <a:extLst>
              <a:ext uri="{FF2B5EF4-FFF2-40B4-BE49-F238E27FC236}">
                <a16:creationId xmlns:a16="http://schemas.microsoft.com/office/drawing/2014/main" id="{F9AFF52B-0E26-4EEA-A0BD-206E1F403D22}"/>
              </a:ext>
            </a:extLst>
          </p:cNvPr>
          <p:cNvSpPr/>
          <p:nvPr userDrawn="1"/>
        </p:nvSpPr>
        <p:spPr>
          <a:xfrm>
            <a:off x="786250" y="32735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0060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F0F7CF08-97B9-460A-8F4E-0F5A2C8802C6}"/>
              </a:ext>
            </a:extLst>
          </p:cNvPr>
          <p:cNvSpPr/>
          <p:nvPr userDrawn="1"/>
        </p:nvSpPr>
        <p:spPr>
          <a:xfrm>
            <a:off x="786250" y="4645133"/>
            <a:ext cx="1656308" cy="1071237"/>
          </a:xfrm>
          <a:prstGeom prst="parallelogram">
            <a:avLst>
              <a:gd name="adj" fmla="val 42022"/>
            </a:avLst>
          </a:prstGeom>
          <a:solidFill>
            <a:srgbClr val="002E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070D8AB9-0836-4FCE-BCCA-14FB5AF5C959}"/>
              </a:ext>
            </a:extLst>
          </p:cNvPr>
          <p:cNvSpPr/>
          <p:nvPr userDrawn="1"/>
        </p:nvSpPr>
        <p:spPr>
          <a:xfrm>
            <a:off x="6360126" y="1854370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2" name="Parallelogram 21">
            <a:extLst>
              <a:ext uri="{FF2B5EF4-FFF2-40B4-BE49-F238E27FC236}">
                <a16:creationId xmlns:a16="http://schemas.microsoft.com/office/drawing/2014/main" id="{2B361310-3429-430A-87CB-C00FE3EA09B9}"/>
              </a:ext>
            </a:extLst>
          </p:cNvPr>
          <p:cNvSpPr/>
          <p:nvPr userDrawn="1"/>
        </p:nvSpPr>
        <p:spPr>
          <a:xfrm>
            <a:off x="6360126" y="3242701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3" name="Parallelogram 22">
            <a:extLst>
              <a:ext uri="{FF2B5EF4-FFF2-40B4-BE49-F238E27FC236}">
                <a16:creationId xmlns:a16="http://schemas.microsoft.com/office/drawing/2014/main" id="{6034511E-7C48-40D9-9889-7FEF10839E75}"/>
              </a:ext>
            </a:extLst>
          </p:cNvPr>
          <p:cNvSpPr/>
          <p:nvPr userDrawn="1"/>
        </p:nvSpPr>
        <p:spPr>
          <a:xfrm>
            <a:off x="6360126" y="4614301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4" name="Parallelogram 23">
            <a:extLst>
              <a:ext uri="{FF2B5EF4-FFF2-40B4-BE49-F238E27FC236}">
                <a16:creationId xmlns:a16="http://schemas.microsoft.com/office/drawing/2014/main" id="{27519C98-BB41-44E7-BB5C-7FF5C5C5D370}"/>
              </a:ext>
            </a:extLst>
          </p:cNvPr>
          <p:cNvSpPr/>
          <p:nvPr userDrawn="1"/>
        </p:nvSpPr>
        <p:spPr>
          <a:xfrm>
            <a:off x="954124" y="1854370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5" name="Parallelogram 24">
            <a:extLst>
              <a:ext uri="{FF2B5EF4-FFF2-40B4-BE49-F238E27FC236}">
                <a16:creationId xmlns:a16="http://schemas.microsoft.com/office/drawing/2014/main" id="{3C2902E5-AC5C-42FF-9DE0-D4913D156872}"/>
              </a:ext>
            </a:extLst>
          </p:cNvPr>
          <p:cNvSpPr/>
          <p:nvPr userDrawn="1"/>
        </p:nvSpPr>
        <p:spPr>
          <a:xfrm>
            <a:off x="954124" y="3242701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6" name="Parallelogram 25">
            <a:extLst>
              <a:ext uri="{FF2B5EF4-FFF2-40B4-BE49-F238E27FC236}">
                <a16:creationId xmlns:a16="http://schemas.microsoft.com/office/drawing/2014/main" id="{E72604B9-F7AC-4AF2-B45A-907A71A225D7}"/>
              </a:ext>
            </a:extLst>
          </p:cNvPr>
          <p:cNvSpPr/>
          <p:nvPr userDrawn="1"/>
        </p:nvSpPr>
        <p:spPr>
          <a:xfrm>
            <a:off x="954124" y="4614301"/>
            <a:ext cx="1524676" cy="986102"/>
          </a:xfrm>
          <a:prstGeom prst="parallelogram">
            <a:avLst>
              <a:gd name="adj" fmla="val 420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E0F99FEF-A8A6-4272-BC14-78FDE6D1A5C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54124" y="1709466"/>
            <a:ext cx="1704939" cy="1128680"/>
          </a:xfrm>
          <a:prstGeom prst="parallelogram">
            <a:avLst>
              <a:gd name="adj" fmla="val 40749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02C11F03-7897-44B7-99B1-15C52D9902D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54124" y="3071525"/>
            <a:ext cx="1704939" cy="1147737"/>
          </a:xfrm>
          <a:prstGeom prst="parallelogram">
            <a:avLst>
              <a:gd name="adj" fmla="val 41869"/>
            </a:avLst>
          </a:prstGeom>
          <a:solidFill>
            <a:srgbClr val="D9D9D9"/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5881B86-7ACA-4248-8043-A96EBEFD856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46425" y="4452641"/>
            <a:ext cx="1712638" cy="1147762"/>
          </a:xfrm>
          <a:prstGeom prst="parallelogram">
            <a:avLst>
              <a:gd name="adj" fmla="val 40934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A15DB1E7-3F4A-4372-A1FD-415A29A37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60126" y="1709466"/>
            <a:ext cx="1704939" cy="1128680"/>
          </a:xfrm>
          <a:prstGeom prst="parallelogram">
            <a:avLst>
              <a:gd name="adj" fmla="val 41718"/>
            </a:avLst>
          </a:prstGeom>
          <a:solidFill>
            <a:srgbClr val="D9D9D9"/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8928B4E1-13E7-439B-A7C7-FD0FD90F229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3806" y="1709466"/>
            <a:ext cx="1704939" cy="1128712"/>
          </a:xfrm>
          <a:prstGeom prst="parallelogram">
            <a:avLst>
              <a:gd name="adj" fmla="val 41974"/>
            </a:avLst>
          </a:prstGeom>
          <a:solidFill>
            <a:srgbClr val="D9D9D9"/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D4590F2C-E425-4EB3-A4BF-818417D90E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63806" y="3096564"/>
            <a:ext cx="1717385" cy="1128712"/>
          </a:xfrm>
          <a:prstGeom prst="parallelogram">
            <a:avLst>
              <a:gd name="adj" fmla="val 41974"/>
            </a:avLst>
          </a:prstGeom>
          <a:solidFill>
            <a:srgbClr val="D9D9D9"/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685A473F-E13C-4119-BDC4-38AA864FD68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60126" y="4452641"/>
            <a:ext cx="1721065" cy="1128712"/>
          </a:xfrm>
          <a:prstGeom prst="parallelogram">
            <a:avLst>
              <a:gd name="adj" fmla="val 42746"/>
            </a:avLst>
          </a:prstGeom>
          <a:solidFill>
            <a:srgbClr val="D9D9D9"/>
          </a:solidFill>
        </p:spPr>
        <p:txBody>
          <a:bodyPr/>
          <a:lstStyle/>
          <a:p>
            <a:endParaRPr lang="en-IN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B69AAFE9-F279-4F6F-8DFE-143B00B962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588906" y="6223380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21413C1B-8701-4A82-AA4A-AEE53E9260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588906" y="6376191"/>
            <a:ext cx="1174187" cy="20523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0142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1A59B5-2945-48FC-BFA5-4E314646E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17023"/>
            <a:ext cx="6322418" cy="608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C5D1D-E663-40DC-9205-144E2487B5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00174" y="357255"/>
            <a:ext cx="2601026" cy="2843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3F123-399D-46FD-B5E6-EB3070A03E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9904" y="6332377"/>
            <a:ext cx="466458" cy="3691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67D77EB-B0DC-4CE2-89F6-1F0BBE29D2F2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0964" y="217023"/>
            <a:ext cx="1360409" cy="37083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EC9BB9-8ED6-46CE-A91F-B087F4FE4835}"/>
              </a:ext>
            </a:extLst>
          </p:cNvPr>
          <p:cNvCxnSpPr/>
          <p:nvPr userDrawn="1"/>
        </p:nvCxnSpPr>
        <p:spPr>
          <a:xfrm>
            <a:off x="6807985" y="217714"/>
            <a:ext cx="0" cy="617492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24DF2324-48DA-43D1-BEBA-9DEECBCD80F9}"/>
              </a:ext>
            </a:extLst>
          </p:cNvPr>
          <p:cNvSpPr/>
          <p:nvPr userDrawn="1"/>
        </p:nvSpPr>
        <p:spPr>
          <a:xfrm>
            <a:off x="4928006" y="660513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1000" b="0" i="0" dirty="0">
                <a:solidFill>
                  <a:srgbClr val="262626"/>
                </a:solidFill>
                <a:effectLst/>
                <a:latin typeface="+mj-lt"/>
              </a:rPr>
              <a:t>Company Confidential | For Internal use only</a:t>
            </a:r>
            <a:endParaRPr lang="en-IN" sz="1000" b="0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9F82410-5C80-4DD2-B017-C100D2EA8140}"/>
              </a:ext>
            </a:extLst>
          </p:cNvPr>
          <p:cNvSpPr/>
          <p:nvPr userDrawn="1"/>
        </p:nvSpPr>
        <p:spPr>
          <a:xfrm>
            <a:off x="0" y="6226218"/>
            <a:ext cx="11861656" cy="370833"/>
          </a:xfrm>
          <a:custGeom>
            <a:avLst/>
            <a:gdLst>
              <a:gd name="connsiteX0" fmla="*/ 0 w 5510213"/>
              <a:gd name="connsiteY0" fmla="*/ 0 h 87754"/>
              <a:gd name="connsiteX1" fmla="*/ 5510213 w 5510213"/>
              <a:gd name="connsiteY1" fmla="*/ 0 h 87754"/>
              <a:gd name="connsiteX2" fmla="*/ 5473086 w 5510213"/>
              <a:gd name="connsiteY2" fmla="*/ 87754 h 87754"/>
              <a:gd name="connsiteX3" fmla="*/ 0 w 5510213"/>
              <a:gd name="connsiteY3" fmla="*/ 87754 h 87754"/>
              <a:gd name="connsiteX4" fmla="*/ 0 w 5510213"/>
              <a:gd name="connsiteY4" fmla="*/ 0 h 87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0213" h="87754">
                <a:moveTo>
                  <a:pt x="0" y="0"/>
                </a:moveTo>
                <a:lnTo>
                  <a:pt x="5510213" y="0"/>
                </a:lnTo>
                <a:lnTo>
                  <a:pt x="5473086" y="87754"/>
                </a:lnTo>
                <a:lnTo>
                  <a:pt x="0" y="87754"/>
                </a:lnTo>
                <a:lnTo>
                  <a:pt x="0" y="0"/>
                </a:lnTo>
                <a:close/>
              </a:path>
            </a:pathLst>
          </a:cu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921396F2-8ED7-4CFD-A6AD-5D3FC7E64928}"/>
              </a:ext>
            </a:extLst>
          </p:cNvPr>
          <p:cNvSpPr/>
          <p:nvPr userDrawn="1"/>
        </p:nvSpPr>
        <p:spPr>
          <a:xfrm>
            <a:off x="0" y="6193846"/>
            <a:ext cx="10607039" cy="395158"/>
          </a:xfrm>
          <a:custGeom>
            <a:avLst/>
            <a:gdLst>
              <a:gd name="connsiteX0" fmla="*/ 0 w 5510213"/>
              <a:gd name="connsiteY0" fmla="*/ 0 h 87754"/>
              <a:gd name="connsiteX1" fmla="*/ 5510213 w 5510213"/>
              <a:gd name="connsiteY1" fmla="*/ 0 h 87754"/>
              <a:gd name="connsiteX2" fmla="*/ 5473086 w 5510213"/>
              <a:gd name="connsiteY2" fmla="*/ 87754 h 87754"/>
              <a:gd name="connsiteX3" fmla="*/ 0 w 5510213"/>
              <a:gd name="connsiteY3" fmla="*/ 87754 h 87754"/>
              <a:gd name="connsiteX4" fmla="*/ 0 w 5510213"/>
              <a:gd name="connsiteY4" fmla="*/ 0 h 87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0213" h="87754">
                <a:moveTo>
                  <a:pt x="0" y="0"/>
                </a:moveTo>
                <a:lnTo>
                  <a:pt x="5510213" y="0"/>
                </a:lnTo>
                <a:lnTo>
                  <a:pt x="5473086" y="87754"/>
                </a:lnTo>
                <a:lnTo>
                  <a:pt x="0" y="8775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553A1FE-E270-4B67-9E47-89FE933C89B3}"/>
              </a:ext>
            </a:extLst>
          </p:cNvPr>
          <p:cNvSpPr/>
          <p:nvPr userDrawn="1"/>
        </p:nvSpPr>
        <p:spPr>
          <a:xfrm>
            <a:off x="0" y="6024615"/>
            <a:ext cx="10607039" cy="395158"/>
          </a:xfrm>
          <a:custGeom>
            <a:avLst/>
            <a:gdLst>
              <a:gd name="connsiteX0" fmla="*/ 0 w 5510213"/>
              <a:gd name="connsiteY0" fmla="*/ 0 h 87754"/>
              <a:gd name="connsiteX1" fmla="*/ 5510213 w 5510213"/>
              <a:gd name="connsiteY1" fmla="*/ 0 h 87754"/>
              <a:gd name="connsiteX2" fmla="*/ 5473086 w 5510213"/>
              <a:gd name="connsiteY2" fmla="*/ 87754 h 87754"/>
              <a:gd name="connsiteX3" fmla="*/ 0 w 5510213"/>
              <a:gd name="connsiteY3" fmla="*/ 87754 h 87754"/>
              <a:gd name="connsiteX4" fmla="*/ 0 w 5510213"/>
              <a:gd name="connsiteY4" fmla="*/ 0 h 87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0213" h="87754">
                <a:moveTo>
                  <a:pt x="0" y="0"/>
                </a:moveTo>
                <a:lnTo>
                  <a:pt x="5510213" y="0"/>
                </a:lnTo>
                <a:lnTo>
                  <a:pt x="5473086" y="87754"/>
                </a:lnTo>
                <a:lnTo>
                  <a:pt x="0" y="8775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53340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2" r:id="rId2"/>
    <p:sldLayoutId id="2147483731" r:id="rId3"/>
    <p:sldLayoutId id="2147483711" r:id="rId4"/>
    <p:sldLayoutId id="2147483712" r:id="rId5"/>
    <p:sldLayoutId id="2147483713" r:id="rId6"/>
    <p:sldLayoutId id="2147483714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  <p:sldLayoutId id="2147483704" r:id="rId22"/>
    <p:sldLayoutId id="2147483705" r:id="rId23"/>
    <p:sldLayoutId id="2147483729" r:id="rId24"/>
    <p:sldLayoutId id="2147483706" r:id="rId25"/>
    <p:sldLayoutId id="2147483774" r:id="rId2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rgbClr val="0979BF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4DF2324-48DA-43D1-BEBA-9DEECBCD80F9}"/>
              </a:ext>
            </a:extLst>
          </p:cNvPr>
          <p:cNvSpPr/>
          <p:nvPr userDrawn="1"/>
        </p:nvSpPr>
        <p:spPr>
          <a:xfrm>
            <a:off x="4928006" y="660513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1000" b="0" i="0" dirty="0">
                <a:solidFill>
                  <a:srgbClr val="262626"/>
                </a:solidFill>
                <a:effectLst/>
                <a:latin typeface="+mj-lt"/>
              </a:rPr>
              <a:t>Company Confidential | For Internal use only</a:t>
            </a:r>
            <a:endParaRPr lang="en-IN" sz="1000" b="0" dirty="0">
              <a:solidFill>
                <a:srgbClr val="262626"/>
              </a:solidFill>
              <a:latin typeface="+mj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67D77EB-B0DC-4CE2-89F6-1F0BBE29D2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3289" y="1470776"/>
            <a:ext cx="2968024" cy="80905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1A59B5-2945-48FC-BFA5-4E314646E5C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666448" y="3142887"/>
            <a:ext cx="4750128" cy="9798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HANK YOU</a:t>
            </a:r>
            <a:endParaRPr lang="en-IN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499880B-B28F-4AD4-B146-960186834200}"/>
              </a:ext>
            </a:extLst>
          </p:cNvPr>
          <p:cNvGrpSpPr/>
          <p:nvPr userDrawn="1"/>
        </p:nvGrpSpPr>
        <p:grpSpPr>
          <a:xfrm>
            <a:off x="0" y="6641"/>
            <a:ext cx="6890598" cy="6865031"/>
            <a:chOff x="0" y="6641"/>
            <a:chExt cx="6890598" cy="6865031"/>
          </a:xfrm>
        </p:grpSpPr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6E48177F-62B6-474A-B3DF-DC5C4CAF21DF}"/>
                </a:ext>
              </a:extLst>
            </p:cNvPr>
            <p:cNvSpPr/>
            <p:nvPr userDrawn="1"/>
          </p:nvSpPr>
          <p:spPr>
            <a:xfrm>
              <a:off x="0" y="1555445"/>
              <a:ext cx="2215004" cy="5302556"/>
            </a:xfrm>
            <a:prstGeom prst="triangle">
              <a:avLst>
                <a:gd name="adj" fmla="val 0"/>
              </a:avLst>
            </a:prstGeom>
            <a:solidFill>
              <a:srgbClr val="062E58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062E58"/>
                </a:solidFill>
              </a:endParaRPr>
            </a:p>
          </p:txBody>
        </p:sp>
        <p:sp>
          <p:nvSpPr>
            <p:cNvPr id="24" name="Parallelogram 23">
              <a:extLst>
                <a:ext uri="{FF2B5EF4-FFF2-40B4-BE49-F238E27FC236}">
                  <a16:creationId xmlns:a16="http://schemas.microsoft.com/office/drawing/2014/main" id="{B88AC849-9350-47A1-8065-098C159CC38E}"/>
                </a:ext>
              </a:extLst>
            </p:cNvPr>
            <p:cNvSpPr/>
            <p:nvPr userDrawn="1"/>
          </p:nvSpPr>
          <p:spPr>
            <a:xfrm flipV="1">
              <a:off x="126787" y="6642"/>
              <a:ext cx="6628789" cy="6565372"/>
            </a:xfrm>
            <a:prstGeom prst="parallelogram">
              <a:avLst>
                <a:gd name="adj" fmla="val 41321"/>
              </a:avLst>
            </a:prstGeom>
            <a:solidFill>
              <a:srgbClr val="0079C2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39FB40F-A28C-46C6-A855-0E9F18B2BFD2}"/>
                </a:ext>
              </a:extLst>
            </p:cNvPr>
            <p:cNvGrpSpPr/>
            <p:nvPr userDrawn="1"/>
          </p:nvGrpSpPr>
          <p:grpSpPr>
            <a:xfrm flipV="1">
              <a:off x="0" y="6641"/>
              <a:ext cx="6890598" cy="6865031"/>
              <a:chOff x="482311" y="1968988"/>
              <a:chExt cx="6164976" cy="4889011"/>
            </a:xfrm>
          </p:grpSpPr>
          <p:sp>
            <p:nvSpPr>
              <p:cNvPr id="26" name="Parallelogram 25">
                <a:extLst>
                  <a:ext uri="{FF2B5EF4-FFF2-40B4-BE49-F238E27FC236}">
                    <a16:creationId xmlns:a16="http://schemas.microsoft.com/office/drawing/2014/main" id="{E367EBE1-B76D-4225-BB26-02753BC04AC8}"/>
                  </a:ext>
                </a:extLst>
              </p:cNvPr>
              <p:cNvSpPr/>
              <p:nvPr userDrawn="1"/>
            </p:nvSpPr>
            <p:spPr>
              <a:xfrm>
                <a:off x="3062334" y="1968988"/>
                <a:ext cx="3584953" cy="175349"/>
              </a:xfrm>
              <a:custGeom>
                <a:avLst/>
                <a:gdLst>
                  <a:gd name="connsiteX0" fmla="*/ 0 w 3925184"/>
                  <a:gd name="connsiteY0" fmla="*/ 246221 h 246221"/>
                  <a:gd name="connsiteX1" fmla="*/ 111762 w 3925184"/>
                  <a:gd name="connsiteY1" fmla="*/ 0 h 246221"/>
                  <a:gd name="connsiteX2" fmla="*/ 3925184 w 3925184"/>
                  <a:gd name="connsiteY2" fmla="*/ 0 h 246221"/>
                  <a:gd name="connsiteX3" fmla="*/ 3813422 w 3925184"/>
                  <a:gd name="connsiteY3" fmla="*/ 246221 h 246221"/>
                  <a:gd name="connsiteX4" fmla="*/ 0 w 3925184"/>
                  <a:gd name="connsiteY4" fmla="*/ 246221 h 246221"/>
                  <a:gd name="connsiteX0" fmla="*/ 2538 w 3927722"/>
                  <a:gd name="connsiteY0" fmla="*/ 246221 h 246221"/>
                  <a:gd name="connsiteX1" fmla="*/ 0 w 3927722"/>
                  <a:gd name="connsiteY1" fmla="*/ 0 h 246221"/>
                  <a:gd name="connsiteX2" fmla="*/ 3927722 w 3927722"/>
                  <a:gd name="connsiteY2" fmla="*/ 0 h 246221"/>
                  <a:gd name="connsiteX3" fmla="*/ 3815960 w 3927722"/>
                  <a:gd name="connsiteY3" fmla="*/ 246221 h 246221"/>
                  <a:gd name="connsiteX4" fmla="*/ 2538 w 3927722"/>
                  <a:gd name="connsiteY4" fmla="*/ 246221 h 246221"/>
                  <a:gd name="connsiteX0" fmla="*/ 74576 w 3999760"/>
                  <a:gd name="connsiteY0" fmla="*/ 246221 h 246221"/>
                  <a:gd name="connsiteX1" fmla="*/ 0 w 3999760"/>
                  <a:gd name="connsiteY1" fmla="*/ 147022 h 246221"/>
                  <a:gd name="connsiteX2" fmla="*/ 72038 w 3999760"/>
                  <a:gd name="connsiteY2" fmla="*/ 0 h 246221"/>
                  <a:gd name="connsiteX3" fmla="*/ 3999760 w 3999760"/>
                  <a:gd name="connsiteY3" fmla="*/ 0 h 246221"/>
                  <a:gd name="connsiteX4" fmla="*/ 3887998 w 3999760"/>
                  <a:gd name="connsiteY4" fmla="*/ 246221 h 246221"/>
                  <a:gd name="connsiteX5" fmla="*/ 74576 w 3999760"/>
                  <a:gd name="connsiteY5" fmla="*/ 246221 h 246221"/>
                  <a:gd name="connsiteX0" fmla="*/ 81720 w 4006904"/>
                  <a:gd name="connsiteY0" fmla="*/ 246221 h 246221"/>
                  <a:gd name="connsiteX1" fmla="*/ 0 w 4006904"/>
                  <a:gd name="connsiteY1" fmla="*/ 147022 h 246221"/>
                  <a:gd name="connsiteX2" fmla="*/ 79182 w 4006904"/>
                  <a:gd name="connsiteY2" fmla="*/ 0 h 246221"/>
                  <a:gd name="connsiteX3" fmla="*/ 4006904 w 4006904"/>
                  <a:gd name="connsiteY3" fmla="*/ 0 h 246221"/>
                  <a:gd name="connsiteX4" fmla="*/ 3895142 w 4006904"/>
                  <a:gd name="connsiteY4" fmla="*/ 246221 h 246221"/>
                  <a:gd name="connsiteX5" fmla="*/ 81720 w 4006904"/>
                  <a:gd name="connsiteY5" fmla="*/ 246221 h 246221"/>
                  <a:gd name="connsiteX0" fmla="*/ 81720 w 4006904"/>
                  <a:gd name="connsiteY0" fmla="*/ 246221 h 246221"/>
                  <a:gd name="connsiteX1" fmla="*/ 0 w 4006904"/>
                  <a:gd name="connsiteY1" fmla="*/ 147022 h 246221"/>
                  <a:gd name="connsiteX2" fmla="*/ 64894 w 4006904"/>
                  <a:gd name="connsiteY2" fmla="*/ 9525 h 246221"/>
                  <a:gd name="connsiteX3" fmla="*/ 4006904 w 4006904"/>
                  <a:gd name="connsiteY3" fmla="*/ 0 h 246221"/>
                  <a:gd name="connsiteX4" fmla="*/ 3895142 w 4006904"/>
                  <a:gd name="connsiteY4" fmla="*/ 246221 h 246221"/>
                  <a:gd name="connsiteX5" fmla="*/ 81720 w 4006904"/>
                  <a:gd name="connsiteY5" fmla="*/ 246221 h 246221"/>
                  <a:gd name="connsiteX0" fmla="*/ 81720 w 4006904"/>
                  <a:gd name="connsiteY0" fmla="*/ 246221 h 246221"/>
                  <a:gd name="connsiteX1" fmla="*/ 0 w 4006904"/>
                  <a:gd name="connsiteY1" fmla="*/ 147022 h 246221"/>
                  <a:gd name="connsiteX2" fmla="*/ 64894 w 4006904"/>
                  <a:gd name="connsiteY2" fmla="*/ 9525 h 246221"/>
                  <a:gd name="connsiteX3" fmla="*/ 4006904 w 4006904"/>
                  <a:gd name="connsiteY3" fmla="*/ 0 h 246221"/>
                  <a:gd name="connsiteX4" fmla="*/ 3895142 w 4006904"/>
                  <a:gd name="connsiteY4" fmla="*/ 246221 h 246221"/>
                  <a:gd name="connsiteX5" fmla="*/ 81720 w 4006904"/>
                  <a:gd name="connsiteY5" fmla="*/ 246221 h 246221"/>
                  <a:gd name="connsiteX0" fmla="*/ 81720 w 4006904"/>
                  <a:gd name="connsiteY0" fmla="*/ 246221 h 246221"/>
                  <a:gd name="connsiteX1" fmla="*/ 0 w 4006904"/>
                  <a:gd name="connsiteY1" fmla="*/ 147022 h 246221"/>
                  <a:gd name="connsiteX2" fmla="*/ 64894 w 4006904"/>
                  <a:gd name="connsiteY2" fmla="*/ 9525 h 246221"/>
                  <a:gd name="connsiteX3" fmla="*/ 4006904 w 4006904"/>
                  <a:gd name="connsiteY3" fmla="*/ 0 h 246221"/>
                  <a:gd name="connsiteX4" fmla="*/ 3895142 w 4006904"/>
                  <a:gd name="connsiteY4" fmla="*/ 246221 h 246221"/>
                  <a:gd name="connsiteX5" fmla="*/ 81720 w 4006904"/>
                  <a:gd name="connsiteY5" fmla="*/ 246221 h 246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06904" h="246221">
                    <a:moveTo>
                      <a:pt x="81720" y="246221"/>
                    </a:moveTo>
                    <a:cubicBezTo>
                      <a:pt x="54480" y="213948"/>
                      <a:pt x="20096" y="184057"/>
                      <a:pt x="0" y="147022"/>
                    </a:cubicBezTo>
                    <a:lnTo>
                      <a:pt x="64894" y="9525"/>
                    </a:lnTo>
                    <a:lnTo>
                      <a:pt x="4006904" y="0"/>
                    </a:lnTo>
                    <a:lnTo>
                      <a:pt x="3895142" y="246221"/>
                    </a:lnTo>
                    <a:lnTo>
                      <a:pt x="81720" y="246221"/>
                    </a:lnTo>
                    <a:close/>
                  </a:path>
                </a:pathLst>
              </a:custGeom>
              <a:solidFill>
                <a:srgbClr val="262626">
                  <a:alpha val="7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7" name="Parallelogram 16">
                <a:extLst>
                  <a:ext uri="{FF2B5EF4-FFF2-40B4-BE49-F238E27FC236}">
                    <a16:creationId xmlns:a16="http://schemas.microsoft.com/office/drawing/2014/main" id="{540321A2-C15D-4AC2-91D9-5895232DEED1}"/>
                  </a:ext>
                </a:extLst>
              </p:cNvPr>
              <p:cNvSpPr/>
              <p:nvPr userDrawn="1"/>
            </p:nvSpPr>
            <p:spPr>
              <a:xfrm>
                <a:off x="482311" y="2182393"/>
                <a:ext cx="5930737" cy="4675606"/>
              </a:xfrm>
              <a:prstGeom prst="parallelogram">
                <a:avLst>
                  <a:gd name="adj" fmla="val 42308"/>
                </a:avLst>
              </a:prstGeom>
              <a:solidFill>
                <a:srgbClr val="0079C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21" name="Parallelogram 20">
                <a:extLst>
                  <a:ext uri="{FF2B5EF4-FFF2-40B4-BE49-F238E27FC236}">
                    <a16:creationId xmlns:a16="http://schemas.microsoft.com/office/drawing/2014/main" id="{83BE2E07-2DD7-4687-AB16-8A148D72414A}"/>
                  </a:ext>
                </a:extLst>
              </p:cNvPr>
              <p:cNvSpPr/>
              <p:nvPr userDrawn="1"/>
            </p:nvSpPr>
            <p:spPr>
              <a:xfrm>
                <a:off x="3061261" y="1968988"/>
                <a:ext cx="3511838" cy="111488"/>
              </a:xfrm>
              <a:prstGeom prst="parallelogram">
                <a:avLst>
                  <a:gd name="adj" fmla="val 45391"/>
                </a:avLst>
              </a:prstGeom>
              <a:solidFill>
                <a:srgbClr val="26262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</p:grpSp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20711A2E-1EFF-4F1B-B193-95236489F540}"/>
                </a:ext>
              </a:extLst>
            </p:cNvPr>
            <p:cNvSpPr/>
            <p:nvPr userDrawn="1"/>
          </p:nvSpPr>
          <p:spPr>
            <a:xfrm>
              <a:off x="0" y="1934065"/>
              <a:ext cx="2056845" cy="4923935"/>
            </a:xfrm>
            <a:prstGeom prst="triangle">
              <a:avLst>
                <a:gd name="adj" fmla="val 0"/>
              </a:avLst>
            </a:prstGeom>
            <a:solidFill>
              <a:srgbClr val="062E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rgbClr val="062E5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8259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</p:sldLayoutIdLst>
  <p:hf hdr="0" ftr="0"/>
  <p:txStyles>
    <p:titleStyle>
      <a:lvl1pPr algn="ctr" defTabSz="914400" rtl="0" eaLnBrk="1" latinLnBrk="0" hangingPunct="1">
        <a:lnSpc>
          <a:spcPct val="100000"/>
        </a:lnSpc>
        <a:spcBef>
          <a:spcPct val="0"/>
        </a:spcBef>
        <a:buNone/>
        <a:defRPr sz="5400" b="1" kern="1200">
          <a:solidFill>
            <a:srgbClr val="062E5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rgbClr val="0979BF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1A59B5-2945-48FC-BFA5-4E314646E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17023"/>
            <a:ext cx="6322418" cy="608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1C5D1D-E663-40DC-9205-144E2487B5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00174" y="357255"/>
            <a:ext cx="2601026" cy="2843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3F123-399D-46FD-B5E6-EB3070A03E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9904" y="6332377"/>
            <a:ext cx="466458" cy="3691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1340A0AD-2651-47AF-9778-9E71D5E42D97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67D77EB-B0DC-4CE2-89F6-1F0BBE29D2F2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0964" y="217023"/>
            <a:ext cx="1360409" cy="37083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EC9BB9-8ED6-46CE-A91F-B087F4FE4835}"/>
              </a:ext>
            </a:extLst>
          </p:cNvPr>
          <p:cNvCxnSpPr/>
          <p:nvPr userDrawn="1"/>
        </p:nvCxnSpPr>
        <p:spPr>
          <a:xfrm>
            <a:off x="6807985" y="217714"/>
            <a:ext cx="0" cy="617492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24DF2324-48DA-43D1-BEBA-9DEECBCD80F9}"/>
              </a:ext>
            </a:extLst>
          </p:cNvPr>
          <p:cNvSpPr/>
          <p:nvPr userDrawn="1"/>
        </p:nvSpPr>
        <p:spPr>
          <a:xfrm>
            <a:off x="4928006" y="660513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1000" b="0" i="0" dirty="0">
                <a:solidFill>
                  <a:srgbClr val="262626"/>
                </a:solidFill>
                <a:effectLst/>
                <a:latin typeface="+mj-lt"/>
              </a:rPr>
              <a:t>Company Confidential | For Internal use only</a:t>
            </a:r>
            <a:endParaRPr lang="en-IN" sz="1000" b="0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9F82410-5C80-4DD2-B017-C100D2EA8140}"/>
              </a:ext>
            </a:extLst>
          </p:cNvPr>
          <p:cNvSpPr/>
          <p:nvPr userDrawn="1"/>
        </p:nvSpPr>
        <p:spPr>
          <a:xfrm>
            <a:off x="0" y="6226218"/>
            <a:ext cx="11861656" cy="370833"/>
          </a:xfrm>
          <a:custGeom>
            <a:avLst/>
            <a:gdLst>
              <a:gd name="connsiteX0" fmla="*/ 0 w 5510213"/>
              <a:gd name="connsiteY0" fmla="*/ 0 h 87754"/>
              <a:gd name="connsiteX1" fmla="*/ 5510213 w 5510213"/>
              <a:gd name="connsiteY1" fmla="*/ 0 h 87754"/>
              <a:gd name="connsiteX2" fmla="*/ 5473086 w 5510213"/>
              <a:gd name="connsiteY2" fmla="*/ 87754 h 87754"/>
              <a:gd name="connsiteX3" fmla="*/ 0 w 5510213"/>
              <a:gd name="connsiteY3" fmla="*/ 87754 h 87754"/>
              <a:gd name="connsiteX4" fmla="*/ 0 w 5510213"/>
              <a:gd name="connsiteY4" fmla="*/ 0 h 87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0213" h="87754">
                <a:moveTo>
                  <a:pt x="0" y="0"/>
                </a:moveTo>
                <a:lnTo>
                  <a:pt x="5510213" y="0"/>
                </a:lnTo>
                <a:lnTo>
                  <a:pt x="5473086" y="87754"/>
                </a:lnTo>
                <a:lnTo>
                  <a:pt x="0" y="87754"/>
                </a:lnTo>
                <a:lnTo>
                  <a:pt x="0" y="0"/>
                </a:lnTo>
                <a:close/>
              </a:path>
            </a:pathLst>
          </a:custGeom>
          <a:solidFill>
            <a:srgbClr val="157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921396F2-8ED7-4CFD-A6AD-5D3FC7E64928}"/>
              </a:ext>
            </a:extLst>
          </p:cNvPr>
          <p:cNvSpPr/>
          <p:nvPr userDrawn="1"/>
        </p:nvSpPr>
        <p:spPr>
          <a:xfrm>
            <a:off x="0" y="6193846"/>
            <a:ext cx="10677377" cy="403206"/>
          </a:xfrm>
          <a:custGeom>
            <a:avLst/>
            <a:gdLst>
              <a:gd name="connsiteX0" fmla="*/ 0 w 5510213"/>
              <a:gd name="connsiteY0" fmla="*/ 0 h 87754"/>
              <a:gd name="connsiteX1" fmla="*/ 5510213 w 5510213"/>
              <a:gd name="connsiteY1" fmla="*/ 0 h 87754"/>
              <a:gd name="connsiteX2" fmla="*/ 5473086 w 5510213"/>
              <a:gd name="connsiteY2" fmla="*/ 87754 h 87754"/>
              <a:gd name="connsiteX3" fmla="*/ 0 w 5510213"/>
              <a:gd name="connsiteY3" fmla="*/ 87754 h 87754"/>
              <a:gd name="connsiteX4" fmla="*/ 0 w 5510213"/>
              <a:gd name="connsiteY4" fmla="*/ 0 h 87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0213" h="87754">
                <a:moveTo>
                  <a:pt x="0" y="0"/>
                </a:moveTo>
                <a:lnTo>
                  <a:pt x="5510213" y="0"/>
                </a:lnTo>
                <a:lnTo>
                  <a:pt x="5473086" y="87754"/>
                </a:lnTo>
                <a:lnTo>
                  <a:pt x="0" y="8775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553A1FE-E270-4B67-9E47-89FE933C89B3}"/>
              </a:ext>
            </a:extLst>
          </p:cNvPr>
          <p:cNvSpPr/>
          <p:nvPr userDrawn="1"/>
        </p:nvSpPr>
        <p:spPr>
          <a:xfrm>
            <a:off x="0" y="6013507"/>
            <a:ext cx="10604355" cy="403206"/>
          </a:xfrm>
          <a:custGeom>
            <a:avLst/>
            <a:gdLst>
              <a:gd name="connsiteX0" fmla="*/ 0 w 5510213"/>
              <a:gd name="connsiteY0" fmla="*/ 0 h 87754"/>
              <a:gd name="connsiteX1" fmla="*/ 5510213 w 5510213"/>
              <a:gd name="connsiteY1" fmla="*/ 0 h 87754"/>
              <a:gd name="connsiteX2" fmla="*/ 5473086 w 5510213"/>
              <a:gd name="connsiteY2" fmla="*/ 87754 h 87754"/>
              <a:gd name="connsiteX3" fmla="*/ 0 w 5510213"/>
              <a:gd name="connsiteY3" fmla="*/ 87754 h 87754"/>
              <a:gd name="connsiteX4" fmla="*/ 0 w 5510213"/>
              <a:gd name="connsiteY4" fmla="*/ 0 h 87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0213" h="87754">
                <a:moveTo>
                  <a:pt x="0" y="0"/>
                </a:moveTo>
                <a:lnTo>
                  <a:pt x="5510213" y="0"/>
                </a:lnTo>
                <a:lnTo>
                  <a:pt x="5473086" y="87754"/>
                </a:lnTo>
                <a:lnTo>
                  <a:pt x="0" y="8775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452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9" r:id="rId26"/>
    <p:sldLayoutId id="2147483770" r:id="rId2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rgbClr val="0979BF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dn2.vectorstock.com/i/1000x1000/59/31/bronchial-asthma-diagnosis-abstract-concept-vector-38995931.jp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cdn2.vectorstock.com/i/1000x1000/59/31/bronchial-asthma-diagnosis-abstract-concept-vector-38995931.jpg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cdn2.vectorstock.com/i/1000x1000/59/31/bronchial-asthma-diagnosis-abstract-concept-vector-38995931.jpg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dn2.vectorstock.com/i/1000x1000/59/31/bronchial-asthma-diagnosis-abstract-concept-vector-38995931.jpg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ho.int/news-room/fact-sheets/detail/asthma#:~:text=Asthma%20is%20a%20long%2Dterm,of%20breath%20and%20chest%20tightness.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hyperlink" Target="https://cdn2.vectorstock.com/i/1000x1000/59/31/bronchial-asthma-diagnosis-abstract-concept-vector-38995931.jpg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https://cdn2.vectorstock.com/i/1000x1000/59/31/bronchial-asthma-diagnosis-abstract-concept-vector-38995931.jpg" TargetMode="External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1.png"/><Relationship Id="rId5" Type="http://schemas.openxmlformats.org/officeDocument/2006/relationships/hyperlink" Target="https://www.aafa.org/asthma-facts/#:~:text=Approximately%2025%20million%20people%20in,about%201%20in%2013%20people.&amp;text=About%2020%20million%20U.S.%20adults%20age%2018%20and%20older%20have%20asthma.&amp;text=Asthma%20rates%20are%20highest%20in%20Black%20adults%20in%20the%20U.S." TargetMode="Externa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hyperlink" Target="https://cdn2.vectorstock.com/i/1000x1000/59/31/bronchial-asthma-diagnosis-abstract-concept-vector-38995931.jpg" TargetMode="External"/><Relationship Id="rId7" Type="http://schemas.openxmlformats.org/officeDocument/2006/relationships/hyperlink" Target="https://www.abs.gov.au/statistics/health/health-conditions-and-risks/asthma/latest-release#characteristics-of-people-with-asthma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7.png"/><Relationship Id="rId4" Type="http://schemas.openxmlformats.org/officeDocument/2006/relationships/image" Target="../media/image9.png"/><Relationship Id="rId9" Type="http://schemas.openxmlformats.org/officeDocument/2006/relationships/hyperlink" Target="https://www.aihw.gov.au/reports/chronic-respiratory-conditions/asthma/contents/death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8.png"/><Relationship Id="rId5" Type="http://schemas.openxmlformats.org/officeDocument/2006/relationships/image" Target="../media/image9.png"/><Relationship Id="rId4" Type="http://schemas.openxmlformats.org/officeDocument/2006/relationships/hyperlink" Target="https://cdn2.vectorstock.com/i/1000x1000/59/31/bronchial-asthma-diagnosis-abstract-concept-vector-38995931.jpg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hyperlink" Target="https://cdn2.vectorstock.com/i/1000x1000/59/31/bronchial-asthma-diagnosis-abstract-concept-vector-38995931.jpg" TargetMode="External"/><Relationship Id="rId7" Type="http://schemas.openxmlformats.org/officeDocument/2006/relationships/hyperlink" Target="https://hitconsultant.net/2020/09/17/anthem-apple-launches-digital-asthma-study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www.businesswire.com/news/home/20200916005283/en/Anthem-Announces-Research-Study-with-Apple-Watch-to-Help-Improve-Asthma-Management" TargetMode="External"/><Relationship Id="rId5" Type="http://schemas.openxmlformats.org/officeDocument/2006/relationships/hyperlink" Target="https://www.cnbc.com/2020/09/16/anthem-to-study-whether-apple-watch-could-help-people-with-asthma.html#:~:text=Anthem%20is%20teaming%20up%20with,to%20better%20manage%20their%20asthma." TargetMode="Externa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bi.nlm.nih.gov/pmc/articles/PMC3359228/#:~:text=A%20score%20%E2%89%A5%2020%20indicates,indicate%20uncontrolled%20asthma%20%5B11%5D." TargetMode="External"/><Relationship Id="rId3" Type="http://schemas.openxmlformats.org/officeDocument/2006/relationships/hyperlink" Target="https://cdn2.vectorstock.com/i/1000x1000/59/31/bronchial-asthma-diagnosis-abstract-concept-vector-38995931.jpg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www.thoracic.org/members/assemblies/assemblies/srn/questionaires/act.php#:~:text=The%20scores%20range%20from%205,19%20indicates%20well%2Dcontrolled%20asthma." TargetMode="External"/><Relationship Id="rId11" Type="http://schemas.openxmlformats.org/officeDocument/2006/relationships/image" Target="../media/image23.png"/><Relationship Id="rId5" Type="http://schemas.openxmlformats.org/officeDocument/2006/relationships/hyperlink" Target="https://github.com/1191402606/Optimised-deep-neural-network-model/blob/v1.0.0/210526WeAdatasetRegression.csv" TargetMode="External"/><Relationship Id="rId10" Type="http://schemas.openxmlformats.org/officeDocument/2006/relationships/image" Target="../media/image22.png"/><Relationship Id="rId4" Type="http://schemas.openxmlformats.org/officeDocument/2006/relationships/image" Target="../media/image9.png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hyperlink" Target="https://cdn2.vectorstock.com/i/1000x1000/59/31/bronchial-asthma-diagnosis-abstract-concept-vector-38995931.jpg" TargetMode="External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dn2.vectorstock.com/i/1000x1000/59/31/bronchial-asthma-diagnosis-abstract-concept-vector-38995931.jpg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970" y="2746060"/>
            <a:ext cx="6808226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ing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1</a:t>
            </a:fld>
            <a:endParaRPr lang="en-IN"/>
          </a:p>
        </p:txBody>
      </p:sp>
      <p:pic>
        <p:nvPicPr>
          <p:cNvPr id="4" name="Picture 3">
            <a:hlinkClick r:id="rId3"/>
            <a:extLst>
              <a:ext uri="{FF2B5EF4-FFF2-40B4-BE49-F238E27FC236}">
                <a16:creationId xmlns:a16="http://schemas.microsoft.com/office/drawing/2014/main" id="{AD07EADA-C12B-5AF9-D87F-0506C6CAE2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9416" y="2063120"/>
            <a:ext cx="1959594" cy="19743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A282A53-EFA0-0158-597A-966FBA430A0B}"/>
              </a:ext>
            </a:extLst>
          </p:cNvPr>
          <p:cNvSpPr txBox="1"/>
          <p:nvPr/>
        </p:nvSpPr>
        <p:spPr>
          <a:xfrm>
            <a:off x="3949970" y="3275111"/>
            <a:ext cx="26797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by Joyojyoti Acharya (AI04834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2245B7-9B43-C8CF-8182-1F4A84A4AF5E}"/>
              </a:ext>
            </a:extLst>
          </p:cNvPr>
          <p:cNvSpPr txBox="1"/>
          <p:nvPr/>
        </p:nvSpPr>
        <p:spPr>
          <a:xfrm>
            <a:off x="3949970" y="3582888"/>
            <a:ext cx="304282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 Guidance of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ova</a:t>
            </a: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, </a:t>
            </a:r>
            <a:r>
              <a:rPr lang="en-US" sz="14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ageshwara</a:t>
            </a: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Ra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, Sai Kishore Reddy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ndaru</a:t>
            </a: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arendra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03608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36" y="179830"/>
            <a:ext cx="5784955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10</a:t>
            </a:fld>
            <a:endParaRPr lang="en-IN"/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F4870FE9-FDE2-27D6-7356-4207FF886D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264" y="121268"/>
            <a:ext cx="697172" cy="702404"/>
          </a:xfrm>
          <a:prstGeom prst="rect">
            <a:avLst/>
          </a:prstGeom>
        </p:spPr>
      </p:pic>
      <p:sp>
        <p:nvSpPr>
          <p:cNvPr id="13" name="Title 9">
            <a:extLst>
              <a:ext uri="{FF2B5EF4-FFF2-40B4-BE49-F238E27FC236}">
                <a16:creationId xmlns:a16="http://schemas.microsoft.com/office/drawing/2014/main" id="{965F321F-05E1-CE80-6803-C690E7D64600}"/>
              </a:ext>
            </a:extLst>
          </p:cNvPr>
          <p:cNvSpPr txBox="1">
            <a:spLocks/>
          </p:cNvSpPr>
          <p:nvPr/>
        </p:nvSpPr>
        <p:spPr>
          <a:xfrm>
            <a:off x="3072881" y="2774674"/>
            <a:ext cx="6046237" cy="6543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1" algn="ctr"/>
            <a:r>
              <a:rPr lang="en-US" sz="3000" b="1" dirty="0">
                <a:latin typeface="Arial" panose="020B0604020202020204" pitchFamily="34" charset="0"/>
                <a:cs typeface="Arial" panose="020B0604020202020204" pitchFamily="34" charset="0"/>
              </a:rPr>
              <a:t>Let’s Look at a Live Demo?</a:t>
            </a:r>
          </a:p>
        </p:txBody>
      </p:sp>
    </p:spTree>
    <p:extLst>
      <p:ext uri="{BB962C8B-B14F-4D97-AF65-F5344CB8AC3E}">
        <p14:creationId xmlns:p14="http://schemas.microsoft.com/office/powerpoint/2010/main" val="3759242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36" y="179830"/>
            <a:ext cx="5784955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11</a:t>
            </a:fld>
            <a:endParaRPr lang="en-IN"/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F4870FE9-FDE2-27D6-7356-4207FF886D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264" y="121268"/>
            <a:ext cx="697172" cy="702404"/>
          </a:xfrm>
          <a:prstGeom prst="rect">
            <a:avLst/>
          </a:prstGeom>
        </p:spPr>
      </p:pic>
      <p:sp>
        <p:nvSpPr>
          <p:cNvPr id="8" name="Title 9">
            <a:extLst>
              <a:ext uri="{FF2B5EF4-FFF2-40B4-BE49-F238E27FC236}">
                <a16:creationId xmlns:a16="http://schemas.microsoft.com/office/drawing/2014/main" id="{241E81F9-AF84-4389-27C6-5F2A4F64A645}"/>
              </a:ext>
            </a:extLst>
          </p:cNvPr>
          <p:cNvSpPr txBox="1">
            <a:spLocks/>
          </p:cNvSpPr>
          <p:nvPr/>
        </p:nvSpPr>
        <p:spPr>
          <a:xfrm>
            <a:off x="2724538" y="2395042"/>
            <a:ext cx="6742923" cy="20679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1" algn="ctr"/>
            <a:r>
              <a:rPr lang="en-US" sz="3000" b="1" dirty="0">
                <a:latin typeface="Arial" panose="020B0604020202020204" pitchFamily="34" charset="0"/>
                <a:cs typeface="Arial" panose="020B0604020202020204" pitchFamily="34" charset="0"/>
              </a:rPr>
              <a:t>Prevention is Better than Cure!</a:t>
            </a:r>
          </a:p>
          <a:p>
            <a:pPr lvl="1" algn="ctr"/>
            <a:endParaRPr lang="en-US" sz="3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ctr"/>
            <a:r>
              <a:rPr lang="en-US" sz="3000" b="1" dirty="0">
                <a:latin typeface="Arial" panose="020B0604020202020204" pitchFamily="34" charset="0"/>
                <a:cs typeface="Arial" panose="020B0604020202020204" pitchFamily="34" charset="0"/>
              </a:rPr>
              <a:t>Say NO to Asthma!</a:t>
            </a:r>
          </a:p>
        </p:txBody>
      </p:sp>
    </p:spTree>
    <p:extLst>
      <p:ext uri="{BB962C8B-B14F-4D97-AF65-F5344CB8AC3E}">
        <p14:creationId xmlns:p14="http://schemas.microsoft.com/office/powerpoint/2010/main" val="4217147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36" y="179830"/>
            <a:ext cx="5784955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12</a:t>
            </a:fld>
            <a:endParaRPr lang="en-IN"/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F4870FE9-FDE2-27D6-7356-4207FF886D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264" y="121268"/>
            <a:ext cx="697172" cy="702404"/>
          </a:xfrm>
          <a:prstGeom prst="rect">
            <a:avLst/>
          </a:prstGeom>
        </p:spPr>
      </p:pic>
      <p:sp>
        <p:nvSpPr>
          <p:cNvPr id="8" name="Title 9">
            <a:extLst>
              <a:ext uri="{FF2B5EF4-FFF2-40B4-BE49-F238E27FC236}">
                <a16:creationId xmlns:a16="http://schemas.microsoft.com/office/drawing/2014/main" id="{241E81F9-AF84-4389-27C6-5F2A4F64A645}"/>
              </a:ext>
            </a:extLst>
          </p:cNvPr>
          <p:cNvSpPr txBox="1">
            <a:spLocks/>
          </p:cNvSpPr>
          <p:nvPr/>
        </p:nvSpPr>
        <p:spPr>
          <a:xfrm>
            <a:off x="2724538" y="2395042"/>
            <a:ext cx="6742923" cy="20679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1"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87780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36" y="179830"/>
            <a:ext cx="5784955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2</a:t>
            </a:fld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5C63945-6377-4F30-AF89-925F761CCA22}"/>
              </a:ext>
            </a:extLst>
          </p:cNvPr>
          <p:cNvSpPr txBox="1"/>
          <p:nvPr/>
        </p:nvSpPr>
        <p:spPr>
          <a:xfrm>
            <a:off x="670430" y="5996048"/>
            <a:ext cx="39347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ference: </a:t>
            </a:r>
            <a:r>
              <a:rPr lang="en-US" sz="1400" dirty="0">
                <a:hlinkClick r:id="rId3"/>
              </a:rPr>
              <a:t>World Health Organization (WHO)</a:t>
            </a:r>
            <a:endParaRPr lang="en-US" sz="1400" dirty="0"/>
          </a:p>
        </p:txBody>
      </p:sp>
      <p:pic>
        <p:nvPicPr>
          <p:cNvPr id="11" name="Picture 10">
            <a:hlinkClick r:id="rId4"/>
            <a:extLst>
              <a:ext uri="{FF2B5EF4-FFF2-40B4-BE49-F238E27FC236}">
                <a16:creationId xmlns:a16="http://schemas.microsoft.com/office/drawing/2014/main" id="{F4870FE9-FDE2-27D6-7356-4207FF886D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1264" y="121268"/>
            <a:ext cx="697172" cy="702404"/>
          </a:xfrm>
          <a:prstGeom prst="rect">
            <a:avLst/>
          </a:prstGeom>
        </p:spPr>
      </p:pic>
      <p:sp>
        <p:nvSpPr>
          <p:cNvPr id="15" name="Title 9">
            <a:extLst>
              <a:ext uri="{FF2B5EF4-FFF2-40B4-BE49-F238E27FC236}">
                <a16:creationId xmlns:a16="http://schemas.microsoft.com/office/drawing/2014/main" id="{4935C849-E9D6-9357-C1E9-0EE5E552D310}"/>
              </a:ext>
            </a:extLst>
          </p:cNvPr>
          <p:cNvSpPr txBox="1">
            <a:spLocks/>
          </p:cNvSpPr>
          <p:nvPr/>
        </p:nvSpPr>
        <p:spPr>
          <a:xfrm>
            <a:off x="469177" y="891565"/>
            <a:ext cx="5784955" cy="608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hat is Asthma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F050E4-0055-53AD-9B6E-F1E56FC52315}"/>
              </a:ext>
            </a:extLst>
          </p:cNvPr>
          <p:cNvSpPr txBox="1"/>
          <p:nvPr/>
        </p:nvSpPr>
        <p:spPr>
          <a:xfrm>
            <a:off x="828026" y="1427918"/>
            <a:ext cx="10471345" cy="377026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1400" b="0" i="0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Asthma is a long-term condition affecting children and adults. </a:t>
            </a:r>
            <a:r>
              <a:rPr lang="en-US" sz="1400" b="1" i="0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The air passages in the lungs become narrow due to inflammation and tightening of the muscles around the small airways</a:t>
            </a:r>
            <a:r>
              <a:rPr lang="en-US" sz="1400" b="0" i="0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. This causes asthma symptoms such as cough, wheeze, shortness of breath and chest tightness.</a:t>
            </a:r>
          </a:p>
          <a:p>
            <a:pPr algn="just"/>
            <a:endParaRPr lang="en-US" sz="1400" dirty="0">
              <a:solidFill>
                <a:srgbClr val="3C4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400" b="1" dirty="0">
                <a:solidFill>
                  <a:srgbClr val="3C42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Facts:</a:t>
            </a:r>
          </a:p>
          <a:p>
            <a:pPr algn="just"/>
            <a:endParaRPr lang="en-US" sz="1300" dirty="0">
              <a:solidFill>
                <a:srgbClr val="3C42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rgbClr val="3C4245"/>
                </a:solidFill>
                <a:latin typeface="Arial" panose="020B0604020202020204" pitchFamily="34" charset="0"/>
              </a:rPr>
              <a:t>. Asthma is a major </a:t>
            </a:r>
            <a:r>
              <a:rPr lang="en-US" sz="1300" b="1" dirty="0">
                <a:solidFill>
                  <a:srgbClr val="3C4245"/>
                </a:solidFill>
                <a:latin typeface="Arial" panose="020B0604020202020204" pitchFamily="34" charset="0"/>
              </a:rPr>
              <a:t>noncommunicable disease (NCD), </a:t>
            </a:r>
            <a:r>
              <a:rPr lang="en-US" sz="1300" dirty="0">
                <a:solidFill>
                  <a:srgbClr val="3C4245"/>
                </a:solidFill>
                <a:latin typeface="Arial" panose="020B0604020202020204" pitchFamily="34" charset="0"/>
              </a:rPr>
              <a:t>affecting both children and adults, and is the most common chronic disease among children</a:t>
            </a:r>
            <a:endParaRPr lang="en-US" sz="1300" i="0" dirty="0">
              <a:solidFill>
                <a:srgbClr val="3C4245"/>
              </a:solidFill>
              <a:effectLst/>
              <a:latin typeface="Arial" panose="020B0604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en-US" sz="1300" i="0" dirty="0">
              <a:solidFill>
                <a:srgbClr val="3C4245"/>
              </a:solidFill>
              <a:effectLst/>
              <a:latin typeface="Arial" panose="020B0604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00" i="0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Inflammation and narrowing of the small airways in the lungs cause asthma symptoms, which can be any combination of cough, wheeze, shortness of breath and chest tightness.</a:t>
            </a:r>
          </a:p>
          <a:p>
            <a:pPr lvl="1"/>
            <a:endParaRPr lang="en-US" sz="1300" i="0" dirty="0">
              <a:solidFill>
                <a:srgbClr val="3C4245"/>
              </a:solidFill>
              <a:effectLst/>
              <a:latin typeface="Arial" panose="020B0604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00" b="1" i="0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Asthma affected an estimated 262 million people in 2019 and caused 455 000 deaths worldwide</a:t>
            </a:r>
            <a:r>
              <a:rPr lang="en-US" sz="1300" i="0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.	</a:t>
            </a:r>
          </a:p>
          <a:p>
            <a:pPr lvl="1"/>
            <a:endParaRPr lang="en-US" sz="1300" i="0" dirty="0">
              <a:solidFill>
                <a:srgbClr val="3C4245"/>
              </a:solidFill>
              <a:effectLst/>
              <a:latin typeface="Arial" panose="020B0604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00" i="0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Inhaled medication can control asthma symptoms and allow people with asthma to lead a normal, active life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300" i="0" dirty="0">
              <a:solidFill>
                <a:srgbClr val="3C4245"/>
              </a:solidFill>
              <a:effectLst/>
              <a:latin typeface="Arial" panose="020B0604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300" i="0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Avoiding asthma triggers can also help to reduce asthma symptoms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5C87A0-273E-BD00-1111-584E3BC12D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0126" y="5898325"/>
            <a:ext cx="558102" cy="504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967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36" y="179830"/>
            <a:ext cx="5784955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3</a:t>
            </a:fld>
            <a:endParaRPr lang="en-IN"/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F4870FE9-FDE2-27D6-7356-4207FF886D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264" y="121268"/>
            <a:ext cx="697172" cy="702404"/>
          </a:xfrm>
          <a:prstGeom prst="rect">
            <a:avLst/>
          </a:prstGeom>
        </p:spPr>
      </p:pic>
      <p:sp>
        <p:nvSpPr>
          <p:cNvPr id="15" name="Title 9">
            <a:extLst>
              <a:ext uri="{FF2B5EF4-FFF2-40B4-BE49-F238E27FC236}">
                <a16:creationId xmlns:a16="http://schemas.microsoft.com/office/drawing/2014/main" id="{4935C849-E9D6-9357-C1E9-0EE5E552D310}"/>
              </a:ext>
            </a:extLst>
          </p:cNvPr>
          <p:cNvSpPr txBox="1">
            <a:spLocks/>
          </p:cNvSpPr>
          <p:nvPr/>
        </p:nvSpPr>
        <p:spPr>
          <a:xfrm>
            <a:off x="469177" y="891565"/>
            <a:ext cx="5784955" cy="608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hy Asthma? U.S. Report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163983-1F67-52E2-B874-362CC168B82C}"/>
              </a:ext>
            </a:extLst>
          </p:cNvPr>
          <p:cNvSpPr txBox="1"/>
          <p:nvPr/>
        </p:nvSpPr>
        <p:spPr>
          <a:xfrm>
            <a:off x="828026" y="1427918"/>
            <a:ext cx="6636464" cy="440120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ughly 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 in 13 Americans have asthma</a:t>
            </a: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which is about 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5 million</a:t>
            </a: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people in the US Popul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bout 20 million U.S. adults aged 18 and above have Asthm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round 9.8% of female adults have asthma, compared to 6.1% of male adul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round 5.1 million children under the age of 18 reported of having Asthm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sthma Attack Rat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2019, 44.3% of children under the age 18 had reported one of more Asthma Attack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2019, 40.4% of adults aged 18 or above had reported one of more Asthma Attack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sthma Death Coun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1 people in the U.S. die from asthma each da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2020, 4,145 people died from asthma and most of these deaths are avoidable with the right treatment and car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2020, deaths due to asthma rose for the first time in 20 years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CB3C583-350A-B6C8-FC38-9AA378E8B1E3}"/>
              </a:ext>
            </a:extLst>
          </p:cNvPr>
          <p:cNvSpPr txBox="1"/>
          <p:nvPr/>
        </p:nvSpPr>
        <p:spPr>
          <a:xfrm>
            <a:off x="1433261" y="5937590"/>
            <a:ext cx="45940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ference: </a:t>
            </a:r>
            <a:r>
              <a:rPr lang="en-US" sz="1400" dirty="0">
                <a:hlinkClick r:id="rId5"/>
              </a:rPr>
              <a:t>Asthma &amp; Allergy Foundation of America</a:t>
            </a:r>
            <a:endParaRPr lang="en-US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3E00144-F26D-F715-6F43-4974EBA876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264" y="5878576"/>
            <a:ext cx="1271997" cy="42580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5443769-B2C2-9075-62A0-DA00DF8D5B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8214" y="3250209"/>
            <a:ext cx="3569155" cy="260970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F63CC14-D1FF-D10A-2E6E-98C01F27FF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48883" y="715072"/>
            <a:ext cx="3471382" cy="2538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0643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36" y="179830"/>
            <a:ext cx="5784955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4</a:t>
            </a:fld>
            <a:endParaRPr lang="en-IN"/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F4870FE9-FDE2-27D6-7356-4207FF886D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264" y="121268"/>
            <a:ext cx="697172" cy="702404"/>
          </a:xfrm>
          <a:prstGeom prst="rect">
            <a:avLst/>
          </a:prstGeom>
        </p:spPr>
      </p:pic>
      <p:sp>
        <p:nvSpPr>
          <p:cNvPr id="15" name="Title 9">
            <a:extLst>
              <a:ext uri="{FF2B5EF4-FFF2-40B4-BE49-F238E27FC236}">
                <a16:creationId xmlns:a16="http://schemas.microsoft.com/office/drawing/2014/main" id="{4935C849-E9D6-9357-C1E9-0EE5E552D310}"/>
              </a:ext>
            </a:extLst>
          </p:cNvPr>
          <p:cNvSpPr txBox="1">
            <a:spLocks/>
          </p:cNvSpPr>
          <p:nvPr/>
        </p:nvSpPr>
        <p:spPr>
          <a:xfrm>
            <a:off x="469177" y="891565"/>
            <a:ext cx="5784955" cy="608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hy Asthma? Australian Report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163983-1F67-52E2-B874-362CC168B82C}"/>
              </a:ext>
            </a:extLst>
          </p:cNvPr>
          <p:cNvSpPr txBox="1"/>
          <p:nvPr/>
        </p:nvSpPr>
        <p:spPr>
          <a:xfrm>
            <a:off x="828027" y="1427918"/>
            <a:ext cx="5055329" cy="353943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ughly 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.7 million people had Asthma in 2020-21, which is around 10.7% of the total population in Australia</a:t>
            </a:r>
            <a:r>
              <a:rPr lang="en-US" sz="140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round 12.0% of female adults have asthma, compared to 9.4% of male adul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mong children (aged 0-14) 9.5% of male and around 7.9% of female children reported Asthm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2018, there were 389 deaths due to asthma in Australia (0.2% of all deaths), which corresponds to a mortality rate of 1.3 per 100,000 population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 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ath from asthma is uncommon and effective management can reduce the risk even further. 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A559E2-F922-4CF9-374E-82D5E5C8F5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38106" y="1043445"/>
            <a:ext cx="4435773" cy="271258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4416930-D8AE-2858-3B8C-2B5CF3ED4A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92858" y="3756028"/>
            <a:ext cx="4126271" cy="2548355"/>
          </a:xfrm>
          <a:prstGeom prst="rect">
            <a:avLst/>
          </a:prstGeom>
        </p:spPr>
      </p:pic>
      <p:pic>
        <p:nvPicPr>
          <p:cNvPr id="12" name="Picture 11">
            <a:hlinkClick r:id="rId7"/>
            <a:extLst>
              <a:ext uri="{FF2B5EF4-FFF2-40B4-BE49-F238E27FC236}">
                <a16:creationId xmlns:a16="http://schemas.microsoft.com/office/drawing/2014/main" id="{08B5B4C2-1B3A-88B9-A6A8-624487AB26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992" y="5755576"/>
            <a:ext cx="749444" cy="608420"/>
          </a:xfrm>
          <a:prstGeom prst="rect">
            <a:avLst/>
          </a:prstGeom>
        </p:spPr>
      </p:pic>
      <p:pic>
        <p:nvPicPr>
          <p:cNvPr id="14" name="Picture 13">
            <a:hlinkClick r:id="rId9"/>
            <a:extLst>
              <a:ext uri="{FF2B5EF4-FFF2-40B4-BE49-F238E27FC236}">
                <a16:creationId xmlns:a16="http://schemas.microsoft.com/office/drawing/2014/main" id="{A7BA945E-B51B-92BF-4825-7D36AA31960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8598" y="5815190"/>
            <a:ext cx="1321503" cy="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397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36" y="179830"/>
            <a:ext cx="5784955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5</a:t>
            </a:fld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5C63945-6377-4F30-AF89-925F761CCA22}"/>
              </a:ext>
            </a:extLst>
          </p:cNvPr>
          <p:cNvSpPr txBox="1"/>
          <p:nvPr/>
        </p:nvSpPr>
        <p:spPr>
          <a:xfrm>
            <a:off x="858436" y="5939837"/>
            <a:ext cx="47404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ference: </a:t>
            </a:r>
            <a:r>
              <a:rPr lang="en-US" sz="1400" dirty="0">
                <a:hlinkClick r:id="rId3"/>
              </a:rPr>
              <a:t>Centers for Disease Control and Prevention</a:t>
            </a:r>
            <a:endParaRPr lang="en-US" sz="1400" dirty="0"/>
          </a:p>
        </p:txBody>
      </p:sp>
      <p:pic>
        <p:nvPicPr>
          <p:cNvPr id="11" name="Picture 10">
            <a:hlinkClick r:id="rId4"/>
            <a:extLst>
              <a:ext uri="{FF2B5EF4-FFF2-40B4-BE49-F238E27FC236}">
                <a16:creationId xmlns:a16="http://schemas.microsoft.com/office/drawing/2014/main" id="{F4870FE9-FDE2-27D6-7356-4207FF886D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1264" y="121268"/>
            <a:ext cx="697172" cy="702404"/>
          </a:xfrm>
          <a:prstGeom prst="rect">
            <a:avLst/>
          </a:prstGeom>
        </p:spPr>
      </p:pic>
      <p:sp>
        <p:nvSpPr>
          <p:cNvPr id="15" name="Title 9">
            <a:extLst>
              <a:ext uri="{FF2B5EF4-FFF2-40B4-BE49-F238E27FC236}">
                <a16:creationId xmlns:a16="http://schemas.microsoft.com/office/drawing/2014/main" id="{4935C849-E9D6-9357-C1E9-0EE5E552D310}"/>
              </a:ext>
            </a:extLst>
          </p:cNvPr>
          <p:cNvSpPr txBox="1">
            <a:spLocks/>
          </p:cNvSpPr>
          <p:nvPr/>
        </p:nvSpPr>
        <p:spPr>
          <a:xfrm>
            <a:off x="1262743" y="2070212"/>
            <a:ext cx="9666514" cy="25845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1"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The counts are endless and increasing every year &amp;</a:t>
            </a:r>
          </a:p>
          <a:p>
            <a:pPr lvl="1"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with the certain rise of COVID pandemic,</a:t>
            </a:r>
          </a:p>
          <a:p>
            <a:pPr lvl="1"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sthma Counts are also forced to increase.</a:t>
            </a:r>
          </a:p>
          <a:p>
            <a:pPr lvl="1" algn="ctr"/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Hence,</a:t>
            </a:r>
          </a:p>
          <a:p>
            <a:pPr lvl="1" algn="ctr"/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STHMA is declared as one of the most COMMON RESPIRATORY DISEASES</a:t>
            </a:r>
          </a:p>
          <a:p>
            <a:pPr lvl="1"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ll over the world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91562B-61CE-8CA8-97D2-496D9B45A3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264" y="5883070"/>
            <a:ext cx="697172" cy="421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8516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36" y="179830"/>
            <a:ext cx="5784955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6</a:t>
            </a:fld>
            <a:endParaRPr lang="en-IN"/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F4870FE9-FDE2-27D6-7356-4207FF886D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264" y="121268"/>
            <a:ext cx="697172" cy="702404"/>
          </a:xfrm>
          <a:prstGeom prst="rect">
            <a:avLst/>
          </a:prstGeom>
        </p:spPr>
      </p:pic>
      <p:sp>
        <p:nvSpPr>
          <p:cNvPr id="15" name="Title 9">
            <a:extLst>
              <a:ext uri="{FF2B5EF4-FFF2-40B4-BE49-F238E27FC236}">
                <a16:creationId xmlns:a16="http://schemas.microsoft.com/office/drawing/2014/main" id="{4935C849-E9D6-9357-C1E9-0EE5E552D310}"/>
              </a:ext>
            </a:extLst>
          </p:cNvPr>
          <p:cNvSpPr txBox="1">
            <a:spLocks/>
          </p:cNvSpPr>
          <p:nvPr/>
        </p:nvSpPr>
        <p:spPr>
          <a:xfrm>
            <a:off x="469177" y="891565"/>
            <a:ext cx="5784955" cy="608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ur Goal and Anthem Study on Asthma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163983-1F67-52E2-B874-362CC168B82C}"/>
              </a:ext>
            </a:extLst>
          </p:cNvPr>
          <p:cNvSpPr txBox="1"/>
          <p:nvPr/>
        </p:nvSpPr>
        <p:spPr>
          <a:xfrm>
            <a:off x="725390" y="1413989"/>
            <a:ext cx="3109492" cy="160043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Goal:</a:t>
            </a:r>
          </a:p>
          <a:p>
            <a:pPr lvl="1"/>
            <a:r>
              <a:rPr lang="en-US" sz="1400" dirty="0"/>
              <a:t>Designing a personalized AI based prototype for users to detect if a certain weather is asthma prone or not.</a:t>
            </a:r>
          </a:p>
          <a:p>
            <a:pPr lvl="1"/>
            <a:r>
              <a:rPr lang="en-US" sz="1400" dirty="0"/>
              <a:t>The prototype will alert the user about the Asthma Risk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C218616-62CE-9467-F2EC-01D0B24C8A19}"/>
              </a:ext>
            </a:extLst>
          </p:cNvPr>
          <p:cNvSpPr txBox="1"/>
          <p:nvPr/>
        </p:nvSpPr>
        <p:spPr>
          <a:xfrm>
            <a:off x="7720704" y="1413989"/>
            <a:ext cx="3109492" cy="160043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Motivation/Similar Work:</a:t>
            </a:r>
          </a:p>
          <a:p>
            <a:pPr lvl="1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Anthem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announced Research Study with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Apple Inc.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University of California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400" b="1" i="0" dirty="0" err="1">
                <a:solidFill>
                  <a:srgbClr val="44444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reEvolution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to help improving Asthma Management, 2020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C3421C6-BDC1-3507-75B2-8CD32913E374}"/>
              </a:ext>
            </a:extLst>
          </p:cNvPr>
          <p:cNvSpPr txBox="1"/>
          <p:nvPr/>
        </p:nvSpPr>
        <p:spPr>
          <a:xfrm>
            <a:off x="161264" y="5966435"/>
            <a:ext cx="2636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Reference: </a:t>
            </a:r>
            <a:r>
              <a:rPr lang="en-US" sz="1400" dirty="0">
                <a:solidFill>
                  <a:schemeClr val="accent3">
                    <a:lumMod val="75000"/>
                    <a:lumOff val="25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1</a:t>
            </a:r>
            <a:r>
              <a:rPr lang="en-US" sz="1400" dirty="0"/>
              <a:t>, </a:t>
            </a:r>
            <a:r>
              <a:rPr lang="en-US" sz="1400" dirty="0">
                <a:hlinkClick r:id="rId6"/>
              </a:rPr>
              <a:t>Link2</a:t>
            </a:r>
            <a:r>
              <a:rPr lang="en-US" sz="1400" dirty="0"/>
              <a:t>, </a:t>
            </a:r>
            <a:r>
              <a:rPr lang="en-US" sz="1400" dirty="0">
                <a:hlinkClick r:id="rId7"/>
              </a:rPr>
              <a:t>Link3</a:t>
            </a:r>
            <a:endParaRPr lang="en-US" sz="1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EBE072-CBEE-A7C6-8273-A13A14A90C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68018" y="3033089"/>
            <a:ext cx="4019550" cy="297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237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36" y="179830"/>
            <a:ext cx="5784955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7</a:t>
            </a:fld>
            <a:endParaRPr lang="en-IN"/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F4870FE9-FDE2-27D6-7356-4207FF886D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264" y="121268"/>
            <a:ext cx="697172" cy="702404"/>
          </a:xfrm>
          <a:prstGeom prst="rect">
            <a:avLst/>
          </a:prstGeom>
        </p:spPr>
      </p:pic>
      <p:sp>
        <p:nvSpPr>
          <p:cNvPr id="15" name="Title 9">
            <a:extLst>
              <a:ext uri="{FF2B5EF4-FFF2-40B4-BE49-F238E27FC236}">
                <a16:creationId xmlns:a16="http://schemas.microsoft.com/office/drawing/2014/main" id="{4935C849-E9D6-9357-C1E9-0EE5E552D310}"/>
              </a:ext>
            </a:extLst>
          </p:cNvPr>
          <p:cNvSpPr txBox="1">
            <a:spLocks/>
          </p:cNvSpPr>
          <p:nvPr/>
        </p:nvSpPr>
        <p:spPr>
          <a:xfrm>
            <a:off x="469177" y="891565"/>
            <a:ext cx="5784955" cy="608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roposed Methodology with Live Demo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163983-1F67-52E2-B874-362CC168B82C}"/>
              </a:ext>
            </a:extLst>
          </p:cNvPr>
          <p:cNvSpPr txBox="1"/>
          <p:nvPr/>
        </p:nvSpPr>
        <p:spPr>
          <a:xfrm>
            <a:off x="725390" y="1413989"/>
            <a:ext cx="7700153" cy="418576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Insights of Asthma:</a:t>
            </a:r>
          </a:p>
          <a:p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pendency of Environment Variables (Temperature, Humidity, UV Index, Windspeed, Pressure etc.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nnection with Personalized Features (Gender, Age etc.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pendency of Individual Habits (Smoking, Outdoor Activities etc.)</a:t>
            </a:r>
          </a:p>
          <a:p>
            <a:pPr lvl="1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Dataset &amp; Target Variable:</a:t>
            </a:r>
          </a:p>
          <a:p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ataset: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Link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arget Variable: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ACTScor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ccording to American Thoracic Society (ATS), Asthma Control Test Score (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ACTScore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) typically ranges from 5 (Poor Control of Asthma) to 25 (Complete Control of Asthma)</a:t>
            </a:r>
          </a:p>
          <a:p>
            <a:pPr lvl="2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gain, according to National Library of medicine, </a:t>
            </a: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ACT</a:t>
            </a:r>
            <a:r>
              <a:rPr lang="en-US" sz="1400" b="0" i="0" dirty="0">
                <a:solidFill>
                  <a:srgbClr val="21212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core ≥ 20 indicates controlled asthma (Low Risk), scores from 16 to 19 indicate partly controlled asthma (Moderate Risk), and scores &lt; 16 indicate uncontrolled asthma (High Risk).</a:t>
            </a:r>
          </a:p>
        </p:txBody>
      </p:sp>
      <p:pic>
        <p:nvPicPr>
          <p:cNvPr id="4" name="Picture 3">
            <a:hlinkClick r:id="rId6"/>
            <a:extLst>
              <a:ext uri="{FF2B5EF4-FFF2-40B4-BE49-F238E27FC236}">
                <a16:creationId xmlns:a16="http://schemas.microsoft.com/office/drawing/2014/main" id="{9DFF719C-E245-0ED4-E488-F0D310A358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257" y="5854340"/>
            <a:ext cx="1792637" cy="478037"/>
          </a:xfrm>
          <a:prstGeom prst="rect">
            <a:avLst/>
          </a:prstGeom>
        </p:spPr>
      </p:pic>
      <p:pic>
        <p:nvPicPr>
          <p:cNvPr id="7" name="Picture 6">
            <a:hlinkClick r:id="rId8"/>
            <a:extLst>
              <a:ext uri="{FF2B5EF4-FFF2-40B4-BE49-F238E27FC236}">
                <a16:creationId xmlns:a16="http://schemas.microsoft.com/office/drawing/2014/main" id="{FDF26105-3639-BEA4-9815-6770A87B14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01609" y="5904735"/>
            <a:ext cx="2215824" cy="37724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C0853B6-15F6-18EC-6B68-ED8D7FD3850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49936" y="3581516"/>
            <a:ext cx="2971950" cy="200151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7924154-2FF3-A2A1-0AC7-A91D6617848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49936" y="1335740"/>
            <a:ext cx="2971950" cy="220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493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36" y="179830"/>
            <a:ext cx="5784955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8</a:t>
            </a:fld>
            <a:endParaRPr lang="en-IN"/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F4870FE9-FDE2-27D6-7356-4207FF886D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264" y="121268"/>
            <a:ext cx="697172" cy="702404"/>
          </a:xfrm>
          <a:prstGeom prst="rect">
            <a:avLst/>
          </a:prstGeom>
        </p:spPr>
      </p:pic>
      <p:sp>
        <p:nvSpPr>
          <p:cNvPr id="15" name="Title 9">
            <a:extLst>
              <a:ext uri="{FF2B5EF4-FFF2-40B4-BE49-F238E27FC236}">
                <a16:creationId xmlns:a16="http://schemas.microsoft.com/office/drawing/2014/main" id="{4935C849-E9D6-9357-C1E9-0EE5E552D310}"/>
              </a:ext>
            </a:extLst>
          </p:cNvPr>
          <p:cNvSpPr txBox="1">
            <a:spLocks/>
          </p:cNvSpPr>
          <p:nvPr/>
        </p:nvSpPr>
        <p:spPr>
          <a:xfrm>
            <a:off x="469177" y="891565"/>
            <a:ext cx="5784955" cy="608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roposed Methodology with Live Demo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163983-1F67-52E2-B874-362CC168B82C}"/>
              </a:ext>
            </a:extLst>
          </p:cNvPr>
          <p:cNvSpPr txBox="1"/>
          <p:nvPr/>
        </p:nvSpPr>
        <p:spPr>
          <a:xfrm>
            <a:off x="858436" y="1443253"/>
            <a:ext cx="7613760" cy="28931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Model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e classified the Target variabl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e handled the Data Class imbalance using SMOTE algorith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sed different Machine Learning Algorithm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andom Forest provided the Evaluation Measur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sed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StreamLit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to design an UI for the Model to extract personalized data from user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e also used “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OpenWeatherAPI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” to extract relevant features from the Given Loc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e added “Geocoder” to detect location from IP Addres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inally, We used Explainable AI to unfold the contribution of different features towards the end resul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nd the final output is also produced to the user via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StreamLit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UI.</a:t>
            </a:r>
          </a:p>
          <a:p>
            <a:pPr lvl="1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20E211-F702-2755-E184-89B5D4C0F2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1264" y="5753937"/>
            <a:ext cx="1146402" cy="57844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8FA915E-F187-0855-040B-813A52FF56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04937" y="5797262"/>
            <a:ext cx="962062" cy="49178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1469721-2F52-A44D-480C-1BD9F3543D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21728" y="823672"/>
            <a:ext cx="3411405" cy="260646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F798B68-2791-33F0-270F-8DB640557C0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65535" y="4471794"/>
            <a:ext cx="5050154" cy="1860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598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2EC45D0-8D03-4DD9-A791-6D88E4C0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36" y="179830"/>
            <a:ext cx="5784955" cy="60842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ersonalized Asthma Alert Prototyp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87ABFD-D859-4E57-94D4-F5F28DAAC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A0AD-2651-47AF-9778-9E71D5E42D97}" type="slidenum">
              <a:rPr lang="en-IN" smtClean="0"/>
              <a:pPr/>
              <a:t>9</a:t>
            </a:fld>
            <a:endParaRPr lang="en-IN"/>
          </a:p>
        </p:txBody>
      </p:sp>
      <p:pic>
        <p:nvPicPr>
          <p:cNvPr id="11" name="Picture 10">
            <a:hlinkClick r:id="rId3"/>
            <a:extLst>
              <a:ext uri="{FF2B5EF4-FFF2-40B4-BE49-F238E27FC236}">
                <a16:creationId xmlns:a16="http://schemas.microsoft.com/office/drawing/2014/main" id="{F4870FE9-FDE2-27D6-7356-4207FF886D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264" y="121268"/>
            <a:ext cx="697172" cy="702404"/>
          </a:xfrm>
          <a:prstGeom prst="rect">
            <a:avLst/>
          </a:prstGeom>
        </p:spPr>
      </p:pic>
      <p:sp>
        <p:nvSpPr>
          <p:cNvPr id="15" name="Title 9">
            <a:extLst>
              <a:ext uri="{FF2B5EF4-FFF2-40B4-BE49-F238E27FC236}">
                <a16:creationId xmlns:a16="http://schemas.microsoft.com/office/drawing/2014/main" id="{4935C849-E9D6-9357-C1E9-0EE5E552D310}"/>
              </a:ext>
            </a:extLst>
          </p:cNvPr>
          <p:cNvSpPr txBox="1">
            <a:spLocks/>
          </p:cNvSpPr>
          <p:nvPr/>
        </p:nvSpPr>
        <p:spPr>
          <a:xfrm>
            <a:off x="5003854" y="1912639"/>
            <a:ext cx="5784955" cy="608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uture Scope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163983-1F67-52E2-B874-362CC168B82C}"/>
              </a:ext>
            </a:extLst>
          </p:cNvPr>
          <p:cNvSpPr txBox="1"/>
          <p:nvPr/>
        </p:nvSpPr>
        <p:spPr>
          <a:xfrm>
            <a:off x="3161532" y="2521059"/>
            <a:ext cx="5868935" cy="181588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 anchor="t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ith more data available the dependency of different features with Asthma can be detecte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e can implement the whole prototype into smart wearables to alert the user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e can also implement the prototype into different mobile applications to alert the users about their current Asthma Conditions.</a:t>
            </a:r>
          </a:p>
        </p:txBody>
      </p:sp>
    </p:spTree>
    <p:extLst>
      <p:ext uri="{BB962C8B-B14F-4D97-AF65-F5344CB8AC3E}">
        <p14:creationId xmlns:p14="http://schemas.microsoft.com/office/powerpoint/2010/main" val="1708304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LEGAT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9C2"/>
      </a:accent1>
      <a:accent2>
        <a:srgbClr val="00609A"/>
      </a:accent2>
      <a:accent3>
        <a:srgbClr val="062E58"/>
      </a:accent3>
      <a:accent4>
        <a:srgbClr val="E6E6E6"/>
      </a:accent4>
      <a:accent5>
        <a:srgbClr val="262626"/>
      </a:accent5>
      <a:accent6>
        <a:srgbClr val="A5A5A5"/>
      </a:accent6>
      <a:hlink>
        <a:srgbClr val="0563C1"/>
      </a:hlink>
      <a:folHlink>
        <a:srgbClr val="954F72"/>
      </a:folHlink>
    </a:clrScheme>
    <a:fontScheme name="legato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5C14AB06-C915-472D-938E-8ACCE6768D3C}" vid="{ECAB9E46-8EAD-41BE-BA47-8399F730134E}"/>
    </a:ext>
  </a:extLst>
</a:theme>
</file>

<file path=ppt/theme/theme2.xml><?xml version="1.0" encoding="utf-8"?>
<a:theme xmlns:a="http://schemas.openxmlformats.org/drawingml/2006/main" name="Thank You">
  <a:themeElements>
    <a:clrScheme name="LEGAT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9C2"/>
      </a:accent1>
      <a:accent2>
        <a:srgbClr val="00609A"/>
      </a:accent2>
      <a:accent3>
        <a:srgbClr val="062E58"/>
      </a:accent3>
      <a:accent4>
        <a:srgbClr val="E6E6E6"/>
      </a:accent4>
      <a:accent5>
        <a:srgbClr val="262626"/>
      </a:accent5>
      <a:accent6>
        <a:srgbClr val="A5A5A5"/>
      </a:accent6>
      <a:hlink>
        <a:srgbClr val="0563C1"/>
      </a:hlink>
      <a:folHlink>
        <a:srgbClr val="954F72"/>
      </a:folHlink>
    </a:clrScheme>
    <a:fontScheme name="legato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A Dashboard - 2-May.potx" id="{3C3EEF7A-068F-4FA5-948A-1B5563808CC4}" vid="{126F502F-01C6-454E-8C2C-F598104288B4}"/>
    </a:ext>
  </a:extLst>
</a:theme>
</file>

<file path=ppt/theme/theme3.xml><?xml version="1.0" encoding="utf-8"?>
<a:theme xmlns:a="http://schemas.openxmlformats.org/drawingml/2006/main" name="2_Office Theme">
  <a:themeElements>
    <a:clrScheme name="LEGAT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9C2"/>
      </a:accent1>
      <a:accent2>
        <a:srgbClr val="00609A"/>
      </a:accent2>
      <a:accent3>
        <a:srgbClr val="062E58"/>
      </a:accent3>
      <a:accent4>
        <a:srgbClr val="E6E6E6"/>
      </a:accent4>
      <a:accent5>
        <a:srgbClr val="262626"/>
      </a:accent5>
      <a:accent6>
        <a:srgbClr val="A5A5A5"/>
      </a:accent6>
      <a:hlink>
        <a:srgbClr val="0563C1"/>
      </a:hlink>
      <a:folHlink>
        <a:srgbClr val="954F72"/>
      </a:folHlink>
    </a:clrScheme>
    <a:fontScheme name="legato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5C14AB06-C915-472D-938E-8ACCE6768D3C}" vid="{ECAB9E46-8EAD-41BE-BA47-8399F730134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7BD67DECBA634695E7B3C3877E69E1" ma:contentTypeVersion="11" ma:contentTypeDescription="Create a new document." ma:contentTypeScope="" ma:versionID="e29bd76bb5fe06a736390446e95dc0a5">
  <xsd:schema xmlns:xsd="http://www.w3.org/2001/XMLSchema" xmlns:xs="http://www.w3.org/2001/XMLSchema" xmlns:p="http://schemas.microsoft.com/office/2006/metadata/properties" xmlns:ns3="ed5dd24f-5f2f-4cff-88b0-869811a1bcd9" xmlns:ns4="a40c3c70-18ba-4dfa-971a-fddd63f124b6" targetNamespace="http://schemas.microsoft.com/office/2006/metadata/properties" ma:root="true" ma:fieldsID="285257dd916fd7e47682fe605441d2d9" ns3:_="" ns4:_="">
    <xsd:import namespace="ed5dd24f-5f2f-4cff-88b0-869811a1bcd9"/>
    <xsd:import namespace="a40c3c70-18ba-4dfa-971a-fddd63f124b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dd24f-5f2f-4cff-88b0-869811a1bc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0c3c70-18ba-4dfa-971a-fddd63f124b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C29EF2C-073D-4D37-B2ED-288BA7A9C7F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8547A9C-BC23-4D71-8364-DA7FDDBB3F2A}">
  <ds:schemaRefs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microsoft.com/office/2006/metadata/properties"/>
    <ds:schemaRef ds:uri="http://purl.org/dc/elements/1.1/"/>
    <ds:schemaRef ds:uri="a40c3c70-18ba-4dfa-971a-fddd63f124b6"/>
    <ds:schemaRef ds:uri="http://schemas.openxmlformats.org/package/2006/metadata/core-properties"/>
    <ds:schemaRef ds:uri="ed5dd24f-5f2f-4cff-88b0-869811a1bcd9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588E925-13C3-4A5C-8C07-E2E1825BED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d5dd24f-5f2f-4cff-88b0-869811a1bcd9"/>
    <ds:schemaRef ds:uri="a40c3c70-18ba-4dfa-971a-fddd63f124b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2949</TotalTime>
  <Words>998</Words>
  <Application>Microsoft Office PowerPoint</Application>
  <PresentationFormat>Widescreen</PresentationFormat>
  <Paragraphs>135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Open Sans</vt:lpstr>
      <vt:lpstr>Open Sans bold</vt:lpstr>
      <vt:lpstr>1_Office Theme</vt:lpstr>
      <vt:lpstr>Thank You</vt:lpstr>
      <vt:lpstr>2_Office Theme</vt:lpstr>
      <vt:lpstr>think-cell Slide</vt:lpstr>
      <vt:lpstr>Personalized Asthma Alerting Prototype</vt:lpstr>
      <vt:lpstr>Personalized Asthma Alert Prototype</vt:lpstr>
      <vt:lpstr>Personalized Asthma Alert Prototype</vt:lpstr>
      <vt:lpstr>Personalized Asthma Alert Prototype</vt:lpstr>
      <vt:lpstr>Personalized Asthma Alert Prototype</vt:lpstr>
      <vt:lpstr>Personalized Asthma Alert Prototype</vt:lpstr>
      <vt:lpstr>Personalized Asthma Alert Prototype</vt:lpstr>
      <vt:lpstr>Personalized Asthma Alert Prototype</vt:lpstr>
      <vt:lpstr>Personalized Asthma Alert Prototype</vt:lpstr>
      <vt:lpstr>Personalized Asthma Alert Prototype</vt:lpstr>
      <vt:lpstr>Personalized Asthma Alert Prototype</vt:lpstr>
      <vt:lpstr>Personalized Asthma Alert Prototype</vt:lpstr>
    </vt:vector>
  </TitlesOfParts>
  <Company>WellPoint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varakonda Durga Prakash</dc:creator>
  <cp:lastModifiedBy>Acharya, Joyojyoti</cp:lastModifiedBy>
  <cp:revision>858</cp:revision>
  <dcterms:created xsi:type="dcterms:W3CDTF">2020-01-29T06:22:48Z</dcterms:created>
  <dcterms:modified xsi:type="dcterms:W3CDTF">2022-07-16T18:1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67BD67DECBA634695E7B3C3877E69E1</vt:lpwstr>
  </property>
</Properties>
</file>